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Ex1.xml" ContentType="application/vnd.ms-office.chartex+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Ex2.xml" ContentType="application/vnd.ms-office.chartex+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4"/>
    <p:sldMasterId id="2147483651" r:id="rId5"/>
  </p:sldMasterIdLst>
  <p:notesMasterIdLst>
    <p:notesMasterId r:id="rId15"/>
  </p:notesMasterIdLst>
  <p:sldIdLst>
    <p:sldId id="256" r:id="rId6"/>
    <p:sldId id="257" r:id="rId7"/>
    <p:sldId id="262" r:id="rId8"/>
    <p:sldId id="259" r:id="rId9"/>
    <p:sldId id="263" r:id="rId10"/>
    <p:sldId id="260" r:id="rId11"/>
    <p:sldId id="261" r:id="rId12"/>
    <p:sldId id="264" r:id="rId13"/>
    <p:sldId id="265" r:id="rId14"/>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6"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27544C-2626-E9CC-5421-AADDD461C1C5}" v="117" dt="2020-07-17T09:26:31.4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5" d="100"/>
          <a:sy n="95" d="100"/>
        </p:scale>
        <p:origin x="1147" y="67"/>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customschemas.google.com/relationships/presentationmetadata" Target="metadata"/><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charts/_rels/chart1.xml.rels><?xml version="1.0" encoding="UTF-8" standalone="yes"?>
<Relationships xmlns="http://schemas.openxmlformats.org/package/2006/relationships"><Relationship Id="rId3" Type="http://schemas.openxmlformats.org/officeDocument/2006/relationships/oleObject" Target="https://springboarddac-my.sharepoint.com/personal/nidhi_kakkar_springboarddac_onmicrosoft_com/Documents/airline%201%20new.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pringboarddac-my.sharepoint.com/personal/nidhi_kakkar_springboarddac_onmicrosoft_com/Documents/airline%201%20new.xlsx" TargetMode="External"/><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3" Type="http://schemas.openxmlformats.org/officeDocument/2006/relationships/oleObject" Target="https://springboarddac-my.sharepoint.com/personal/nidhi_kakkar_springboarddac_onmicrosoft_com/Documents/airline%201%20new.xlsx" TargetMode="External"/><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https://springboarddac-my.sharepoint.com/personal/nidhi_kakkar_springboarddac_onmicrosoft_com/Documents/airline%201%20new.xlsx" TargetMode="External"/><Relationship Id="rId4" Type="http://schemas.openxmlformats.org/officeDocument/2006/relationships/themeOverride" Target="../theme/themeOverride1.xml"/></Relationships>
</file>

<file path=ppt/charts/_rels/chartEx2.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https://springboarddac-my.sharepoint.com/personal/nidhi_kakkar_springboarddac_onmicrosoft_com/Documents/airline%201%20new.xlsx" TargetMode="External"/><Relationship Id="rId4"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dirty="0"/>
              <a:t>Regression Equation to model Customer satisfac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RMSE from @Reg2'!$P$1</c:f>
              <c:strCache>
                <c:ptCount val="1"/>
                <c:pt idx="0">
                  <c:v>satisfaction no</c:v>
                </c:pt>
              </c:strCache>
            </c:strRef>
          </c:tx>
          <c:spPr>
            <a:ln w="28575" cap="rnd">
              <a:solidFill>
                <a:schemeClr val="tx2">
                  <a:lumMod val="60000"/>
                  <a:lumOff val="40000"/>
                </a:schemeClr>
              </a:solidFill>
              <a:round/>
            </a:ln>
            <a:effectLst/>
          </c:spPr>
          <c:marker>
            <c:symbol val="none"/>
          </c:marker>
          <c:val>
            <c:numRef>
              <c:f>'RMSE from @Reg2'!$P$2:$P$100</c:f>
              <c:numCache>
                <c:formatCode>General</c:formatCode>
                <c:ptCount val="99"/>
                <c:pt idx="0">
                  <c:v>0</c:v>
                </c:pt>
                <c:pt idx="1">
                  <c:v>0</c:v>
                </c:pt>
                <c:pt idx="2">
                  <c:v>1</c:v>
                </c:pt>
                <c:pt idx="3">
                  <c:v>0</c:v>
                </c:pt>
                <c:pt idx="4">
                  <c:v>1</c:v>
                </c:pt>
                <c:pt idx="5">
                  <c:v>0</c:v>
                </c:pt>
                <c:pt idx="6">
                  <c:v>0</c:v>
                </c:pt>
                <c:pt idx="7">
                  <c:v>1</c:v>
                </c:pt>
                <c:pt idx="8">
                  <c:v>0</c:v>
                </c:pt>
                <c:pt idx="9">
                  <c:v>0</c:v>
                </c:pt>
                <c:pt idx="10">
                  <c:v>0</c:v>
                </c:pt>
                <c:pt idx="11">
                  <c:v>0</c:v>
                </c:pt>
                <c:pt idx="12">
                  <c:v>0</c:v>
                </c:pt>
                <c:pt idx="13">
                  <c:v>1</c:v>
                </c:pt>
                <c:pt idx="14">
                  <c:v>0</c:v>
                </c:pt>
                <c:pt idx="15">
                  <c:v>0</c:v>
                </c:pt>
                <c:pt idx="16">
                  <c:v>1</c:v>
                </c:pt>
                <c:pt idx="17">
                  <c:v>1</c:v>
                </c:pt>
                <c:pt idx="18">
                  <c:v>1</c:v>
                </c:pt>
                <c:pt idx="19">
                  <c:v>0</c:v>
                </c:pt>
                <c:pt idx="20">
                  <c:v>0</c:v>
                </c:pt>
                <c:pt idx="21">
                  <c:v>0</c:v>
                </c:pt>
                <c:pt idx="22">
                  <c:v>0</c:v>
                </c:pt>
                <c:pt idx="23">
                  <c:v>0</c:v>
                </c:pt>
                <c:pt idx="24">
                  <c:v>1</c:v>
                </c:pt>
                <c:pt idx="25">
                  <c:v>0</c:v>
                </c:pt>
                <c:pt idx="26">
                  <c:v>1</c:v>
                </c:pt>
                <c:pt idx="27">
                  <c:v>1</c:v>
                </c:pt>
                <c:pt idx="28">
                  <c:v>0</c:v>
                </c:pt>
                <c:pt idx="29">
                  <c:v>0</c:v>
                </c:pt>
                <c:pt idx="30">
                  <c:v>1</c:v>
                </c:pt>
                <c:pt idx="31">
                  <c:v>0</c:v>
                </c:pt>
                <c:pt idx="32">
                  <c:v>1</c:v>
                </c:pt>
                <c:pt idx="33">
                  <c:v>0</c:v>
                </c:pt>
                <c:pt idx="34">
                  <c:v>0</c:v>
                </c:pt>
                <c:pt idx="35">
                  <c:v>0</c:v>
                </c:pt>
                <c:pt idx="36">
                  <c:v>0</c:v>
                </c:pt>
                <c:pt idx="37">
                  <c:v>0</c:v>
                </c:pt>
                <c:pt idx="38">
                  <c:v>1</c:v>
                </c:pt>
                <c:pt idx="39">
                  <c:v>0</c:v>
                </c:pt>
                <c:pt idx="40">
                  <c:v>1</c:v>
                </c:pt>
                <c:pt idx="41">
                  <c:v>0</c:v>
                </c:pt>
                <c:pt idx="42">
                  <c:v>1</c:v>
                </c:pt>
                <c:pt idx="43">
                  <c:v>1</c:v>
                </c:pt>
                <c:pt idx="44">
                  <c:v>1</c:v>
                </c:pt>
                <c:pt idx="45">
                  <c:v>1</c:v>
                </c:pt>
                <c:pt idx="46">
                  <c:v>0</c:v>
                </c:pt>
                <c:pt idx="47">
                  <c:v>0</c:v>
                </c:pt>
                <c:pt idx="48">
                  <c:v>1</c:v>
                </c:pt>
                <c:pt idx="49">
                  <c:v>0</c:v>
                </c:pt>
                <c:pt idx="50">
                  <c:v>0</c:v>
                </c:pt>
                <c:pt idx="51">
                  <c:v>1</c:v>
                </c:pt>
                <c:pt idx="52">
                  <c:v>1</c:v>
                </c:pt>
                <c:pt idx="53">
                  <c:v>0</c:v>
                </c:pt>
                <c:pt idx="54">
                  <c:v>0</c:v>
                </c:pt>
                <c:pt idx="55">
                  <c:v>1</c:v>
                </c:pt>
                <c:pt idx="56">
                  <c:v>1</c:v>
                </c:pt>
                <c:pt idx="57">
                  <c:v>1</c:v>
                </c:pt>
                <c:pt idx="58">
                  <c:v>0</c:v>
                </c:pt>
                <c:pt idx="59">
                  <c:v>0</c:v>
                </c:pt>
                <c:pt idx="60">
                  <c:v>0</c:v>
                </c:pt>
                <c:pt idx="61">
                  <c:v>1</c:v>
                </c:pt>
                <c:pt idx="62">
                  <c:v>0</c:v>
                </c:pt>
                <c:pt idx="63">
                  <c:v>1</c:v>
                </c:pt>
                <c:pt idx="64">
                  <c:v>1</c:v>
                </c:pt>
                <c:pt idx="65">
                  <c:v>1</c:v>
                </c:pt>
                <c:pt idx="66">
                  <c:v>0</c:v>
                </c:pt>
                <c:pt idx="67">
                  <c:v>1</c:v>
                </c:pt>
                <c:pt idx="68">
                  <c:v>0</c:v>
                </c:pt>
                <c:pt idx="69">
                  <c:v>1</c:v>
                </c:pt>
                <c:pt idx="70">
                  <c:v>1</c:v>
                </c:pt>
                <c:pt idx="71">
                  <c:v>0</c:v>
                </c:pt>
                <c:pt idx="72">
                  <c:v>0</c:v>
                </c:pt>
                <c:pt idx="73">
                  <c:v>0</c:v>
                </c:pt>
                <c:pt idx="74">
                  <c:v>0</c:v>
                </c:pt>
                <c:pt idx="75">
                  <c:v>1</c:v>
                </c:pt>
                <c:pt idx="76">
                  <c:v>0</c:v>
                </c:pt>
                <c:pt idx="77">
                  <c:v>1</c:v>
                </c:pt>
                <c:pt idx="78">
                  <c:v>0</c:v>
                </c:pt>
                <c:pt idx="79">
                  <c:v>0</c:v>
                </c:pt>
                <c:pt idx="80">
                  <c:v>1</c:v>
                </c:pt>
                <c:pt idx="81">
                  <c:v>0</c:v>
                </c:pt>
                <c:pt idx="82">
                  <c:v>0</c:v>
                </c:pt>
                <c:pt idx="83">
                  <c:v>1</c:v>
                </c:pt>
                <c:pt idx="84">
                  <c:v>1</c:v>
                </c:pt>
                <c:pt idx="85">
                  <c:v>1</c:v>
                </c:pt>
                <c:pt idx="86">
                  <c:v>0</c:v>
                </c:pt>
                <c:pt idx="87">
                  <c:v>0</c:v>
                </c:pt>
                <c:pt idx="88">
                  <c:v>1</c:v>
                </c:pt>
                <c:pt idx="89">
                  <c:v>0</c:v>
                </c:pt>
                <c:pt idx="90">
                  <c:v>1</c:v>
                </c:pt>
                <c:pt idx="91">
                  <c:v>1</c:v>
                </c:pt>
                <c:pt idx="92">
                  <c:v>0</c:v>
                </c:pt>
                <c:pt idx="93">
                  <c:v>1</c:v>
                </c:pt>
                <c:pt idx="94">
                  <c:v>1</c:v>
                </c:pt>
                <c:pt idx="95">
                  <c:v>1</c:v>
                </c:pt>
                <c:pt idx="96">
                  <c:v>0</c:v>
                </c:pt>
                <c:pt idx="97">
                  <c:v>0</c:v>
                </c:pt>
                <c:pt idx="98">
                  <c:v>0</c:v>
                </c:pt>
              </c:numCache>
            </c:numRef>
          </c:val>
          <c:smooth val="0"/>
          <c:extLst>
            <c:ext xmlns:c16="http://schemas.microsoft.com/office/drawing/2014/chart" uri="{C3380CC4-5D6E-409C-BE32-E72D297353CC}">
              <c16:uniqueId val="{00000000-F0E5-431B-857E-26616079B3D7}"/>
            </c:ext>
          </c:extLst>
        </c:ser>
        <c:ser>
          <c:idx val="1"/>
          <c:order val="1"/>
          <c:tx>
            <c:strRef>
              <c:f>'RMSE from @Reg2'!$Q$1</c:f>
              <c:strCache>
                <c:ptCount val="1"/>
                <c:pt idx="0">
                  <c:v>predicted</c:v>
                </c:pt>
              </c:strCache>
            </c:strRef>
          </c:tx>
          <c:spPr>
            <a:ln w="28575" cap="rnd">
              <a:solidFill>
                <a:schemeClr val="tx2"/>
              </a:solidFill>
              <a:round/>
            </a:ln>
            <a:effectLst/>
          </c:spPr>
          <c:marker>
            <c:symbol val="none"/>
          </c:marker>
          <c:val>
            <c:numRef>
              <c:f>'RMSE from @Reg2'!$Q$2:$Q$100</c:f>
              <c:numCache>
                <c:formatCode>General</c:formatCode>
                <c:ptCount val="99"/>
                <c:pt idx="0">
                  <c:v>0.34472120545495322</c:v>
                </c:pt>
                <c:pt idx="1">
                  <c:v>0.16302178979304802</c:v>
                </c:pt>
                <c:pt idx="2">
                  <c:v>0.92724150964805863</c:v>
                </c:pt>
                <c:pt idx="3">
                  <c:v>0.28976066786254501</c:v>
                </c:pt>
                <c:pt idx="4">
                  <c:v>0.83692098825731864</c:v>
                </c:pt>
                <c:pt idx="5">
                  <c:v>7.45192533819303E-2</c:v>
                </c:pt>
                <c:pt idx="6">
                  <c:v>-2.8505084309212947E-2</c:v>
                </c:pt>
                <c:pt idx="7">
                  <c:v>1.0881427784842921</c:v>
                </c:pt>
                <c:pt idx="8">
                  <c:v>0.35297128332941341</c:v>
                </c:pt>
                <c:pt idx="9">
                  <c:v>0.18659169410689713</c:v>
                </c:pt>
                <c:pt idx="10">
                  <c:v>0.35718821904836306</c:v>
                </c:pt>
                <c:pt idx="11">
                  <c:v>3.1108624686151387E-3</c:v>
                </c:pt>
                <c:pt idx="12">
                  <c:v>-6.6462970435180901E-2</c:v>
                </c:pt>
                <c:pt idx="13">
                  <c:v>0.23948730454128697</c:v>
                </c:pt>
                <c:pt idx="14">
                  <c:v>-2.0203045778105264E-2</c:v>
                </c:pt>
                <c:pt idx="15">
                  <c:v>-0.11124976230333372</c:v>
                </c:pt>
                <c:pt idx="16">
                  <c:v>0.90281782938210642</c:v>
                </c:pt>
                <c:pt idx="17">
                  <c:v>1.0408710191736059</c:v>
                </c:pt>
                <c:pt idx="18">
                  <c:v>0.95293688768071128</c:v>
                </c:pt>
                <c:pt idx="19">
                  <c:v>-4.8640069025714744E-2</c:v>
                </c:pt>
                <c:pt idx="20">
                  <c:v>0.36197278742750116</c:v>
                </c:pt>
                <c:pt idx="21">
                  <c:v>0.20265617879146958</c:v>
                </c:pt>
                <c:pt idx="22">
                  <c:v>0.24787129591511622</c:v>
                </c:pt>
                <c:pt idx="23">
                  <c:v>0.17547672086443994</c:v>
                </c:pt>
                <c:pt idx="24">
                  <c:v>0.49485574840501795</c:v>
                </c:pt>
                <c:pt idx="25">
                  <c:v>0.27197078993636459</c:v>
                </c:pt>
                <c:pt idx="26">
                  <c:v>0.8594336808879347</c:v>
                </c:pt>
                <c:pt idx="27">
                  <c:v>0.45897082915524745</c:v>
                </c:pt>
                <c:pt idx="28">
                  <c:v>0.4984897729910584</c:v>
                </c:pt>
                <c:pt idx="29">
                  <c:v>4.8333669968198795E-2</c:v>
                </c:pt>
                <c:pt idx="30">
                  <c:v>0.92539903511953792</c:v>
                </c:pt>
                <c:pt idx="31">
                  <c:v>8.902356304390896E-2</c:v>
                </c:pt>
                <c:pt idx="32">
                  <c:v>0.83733063621236581</c:v>
                </c:pt>
                <c:pt idx="33">
                  <c:v>0.39084745962918854</c:v>
                </c:pt>
                <c:pt idx="34">
                  <c:v>0.12713609097109468</c:v>
                </c:pt>
                <c:pt idx="35">
                  <c:v>0.10766458808415358</c:v>
                </c:pt>
                <c:pt idx="36">
                  <c:v>0.54435189049922816</c:v>
                </c:pt>
                <c:pt idx="37">
                  <c:v>0.22475269156843986</c:v>
                </c:pt>
                <c:pt idx="38">
                  <c:v>0.33305296557901054</c:v>
                </c:pt>
                <c:pt idx="39">
                  <c:v>7.2475691586428859E-2</c:v>
                </c:pt>
                <c:pt idx="40">
                  <c:v>0.96407216956066022</c:v>
                </c:pt>
                <c:pt idx="41">
                  <c:v>0.51673573011062635</c:v>
                </c:pt>
                <c:pt idx="42">
                  <c:v>0.82329258923981008</c:v>
                </c:pt>
                <c:pt idx="43">
                  <c:v>0.61943619235996539</c:v>
                </c:pt>
                <c:pt idx="44">
                  <c:v>0.78160818123682341</c:v>
                </c:pt>
                <c:pt idx="45">
                  <c:v>0.9219273860359245</c:v>
                </c:pt>
                <c:pt idx="46">
                  <c:v>0.32627933670255815</c:v>
                </c:pt>
                <c:pt idx="47">
                  <c:v>0.35102771210009986</c:v>
                </c:pt>
                <c:pt idx="48">
                  <c:v>0.76196183512435312</c:v>
                </c:pt>
                <c:pt idx="49">
                  <c:v>-5.9630598370788601E-2</c:v>
                </c:pt>
                <c:pt idx="50">
                  <c:v>0.36448555870980104</c:v>
                </c:pt>
                <c:pt idx="51">
                  <c:v>0.84496817530697221</c:v>
                </c:pt>
                <c:pt idx="52">
                  <c:v>0.61586557093594319</c:v>
                </c:pt>
                <c:pt idx="53">
                  <c:v>6.6504765416378925E-2</c:v>
                </c:pt>
                <c:pt idx="54">
                  <c:v>9.4726848095873256E-2</c:v>
                </c:pt>
                <c:pt idx="55">
                  <c:v>0.9050585115292199</c:v>
                </c:pt>
                <c:pt idx="56">
                  <c:v>0.90329689063627905</c:v>
                </c:pt>
                <c:pt idx="57">
                  <c:v>1.0402700620760459</c:v>
                </c:pt>
                <c:pt idx="58">
                  <c:v>0.15113758986319165</c:v>
                </c:pt>
                <c:pt idx="59">
                  <c:v>0.24148389309591919</c:v>
                </c:pt>
                <c:pt idx="60">
                  <c:v>6.8641349871734036E-2</c:v>
                </c:pt>
                <c:pt idx="61">
                  <c:v>0.82610972098794722</c:v>
                </c:pt>
                <c:pt idx="62">
                  <c:v>0.10473398992638272</c:v>
                </c:pt>
                <c:pt idx="63">
                  <c:v>0.96793463161776405</c:v>
                </c:pt>
                <c:pt idx="64">
                  <c:v>0.80870814580106054</c:v>
                </c:pt>
                <c:pt idx="65">
                  <c:v>0.98513411777611948</c:v>
                </c:pt>
                <c:pt idx="66">
                  <c:v>4.7988450149443307E-2</c:v>
                </c:pt>
                <c:pt idx="67">
                  <c:v>0.96998193626552154</c:v>
                </c:pt>
                <c:pt idx="68">
                  <c:v>0.26976974313855345</c:v>
                </c:pt>
                <c:pt idx="69">
                  <c:v>0.56893327639729541</c:v>
                </c:pt>
                <c:pt idx="70">
                  <c:v>0.97622399132510063</c:v>
                </c:pt>
                <c:pt idx="71">
                  <c:v>0.4815285972293093</c:v>
                </c:pt>
                <c:pt idx="72">
                  <c:v>0.48939804978913864</c:v>
                </c:pt>
                <c:pt idx="73">
                  <c:v>6.8238144501822695E-2</c:v>
                </c:pt>
                <c:pt idx="74">
                  <c:v>0.11108441419509965</c:v>
                </c:pt>
                <c:pt idx="75">
                  <c:v>0.54319529506818787</c:v>
                </c:pt>
                <c:pt idx="76">
                  <c:v>0.33006232126518292</c:v>
                </c:pt>
                <c:pt idx="77">
                  <c:v>0.26563740602892694</c:v>
                </c:pt>
                <c:pt idx="78">
                  <c:v>0.34587430509893269</c:v>
                </c:pt>
                <c:pt idx="79">
                  <c:v>0.3963575381997374</c:v>
                </c:pt>
                <c:pt idx="80">
                  <c:v>0.78364539050367921</c:v>
                </c:pt>
                <c:pt idx="81">
                  <c:v>0.22273567983691031</c:v>
                </c:pt>
                <c:pt idx="82">
                  <c:v>0.31757978208422161</c:v>
                </c:pt>
                <c:pt idx="83">
                  <c:v>0.45673153741900085</c:v>
                </c:pt>
                <c:pt idx="84">
                  <c:v>0.94939397773830103</c:v>
                </c:pt>
                <c:pt idx="85">
                  <c:v>0.55165504060789305</c:v>
                </c:pt>
                <c:pt idx="86">
                  <c:v>0.41687956225428069</c:v>
                </c:pt>
                <c:pt idx="87">
                  <c:v>0.20331678570167019</c:v>
                </c:pt>
                <c:pt idx="88">
                  <c:v>0.50137245778987072</c:v>
                </c:pt>
                <c:pt idx="89">
                  <c:v>-3.7105339475995813E-2</c:v>
                </c:pt>
                <c:pt idx="90">
                  <c:v>-3.6707385404649767E-2</c:v>
                </c:pt>
                <c:pt idx="91">
                  <c:v>0.55343760246403018</c:v>
                </c:pt>
                <c:pt idx="92">
                  <c:v>0.81968061394641678</c:v>
                </c:pt>
                <c:pt idx="93">
                  <c:v>0.70818381918808548</c:v>
                </c:pt>
                <c:pt idx="94">
                  <c:v>0.20294109265237739</c:v>
                </c:pt>
                <c:pt idx="95">
                  <c:v>0.8066751750579626</c:v>
                </c:pt>
                <c:pt idx="96">
                  <c:v>0.12518840827663202</c:v>
                </c:pt>
                <c:pt idx="97">
                  <c:v>1.445408478689824E-2</c:v>
                </c:pt>
                <c:pt idx="98">
                  <c:v>-6.1056233220686817E-3</c:v>
                </c:pt>
              </c:numCache>
            </c:numRef>
          </c:val>
          <c:smooth val="0"/>
          <c:extLst>
            <c:ext xmlns:c16="http://schemas.microsoft.com/office/drawing/2014/chart" uri="{C3380CC4-5D6E-409C-BE32-E72D297353CC}">
              <c16:uniqueId val="{00000001-F0E5-431B-857E-26616079B3D7}"/>
            </c:ext>
          </c:extLst>
        </c:ser>
        <c:dLbls>
          <c:showLegendKey val="0"/>
          <c:showVal val="0"/>
          <c:showCatName val="0"/>
          <c:showSerName val="0"/>
          <c:showPercent val="0"/>
          <c:showBubbleSize val="0"/>
        </c:dLbls>
        <c:smooth val="0"/>
        <c:axId val="2045033424"/>
        <c:axId val="575292800"/>
      </c:lineChart>
      <c:catAx>
        <c:axId val="2045033424"/>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5292800"/>
        <c:crosses val="autoZero"/>
        <c:auto val="1"/>
        <c:lblAlgn val="ctr"/>
        <c:lblOffset val="100"/>
        <c:noMultiLvlLbl val="0"/>
      </c:catAx>
      <c:valAx>
        <c:axId val="57529280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45033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408428113152523E-2"/>
          <c:y val="1.8109197774610519E-2"/>
          <c:w val="0.92878530408057969"/>
          <c:h val="0.70618939694852678"/>
        </c:manualLayout>
      </c:layout>
      <c:barChart>
        <c:barDir val="col"/>
        <c:grouping val="clustered"/>
        <c:varyColors val="0"/>
        <c:ser>
          <c:idx val="0"/>
          <c:order val="0"/>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A956-4AEA-BCD5-FD2B9946976E}"/>
                </c:ext>
              </c:extLst>
            </c:dLbl>
            <c:dLbl>
              <c:idx val="1"/>
              <c:delete val="1"/>
              <c:extLst>
                <c:ext xmlns:c15="http://schemas.microsoft.com/office/drawing/2012/chart" uri="{CE6537A1-D6FC-4f65-9D91-7224C49458BB}"/>
                <c:ext xmlns:c16="http://schemas.microsoft.com/office/drawing/2014/chart" uri="{C3380CC4-5D6E-409C-BE32-E72D297353CC}">
                  <c16:uniqueId val="{00000008-A956-4AEA-BCD5-FD2B9946976E}"/>
                </c:ext>
              </c:extLst>
            </c:dLbl>
            <c:dLbl>
              <c:idx val="2"/>
              <c:delete val="1"/>
              <c:extLst>
                <c:ext xmlns:c15="http://schemas.microsoft.com/office/drawing/2012/chart" uri="{CE6537A1-D6FC-4f65-9D91-7224C49458BB}"/>
                <c:ext xmlns:c16="http://schemas.microsoft.com/office/drawing/2014/chart" uri="{C3380CC4-5D6E-409C-BE32-E72D297353CC}">
                  <c16:uniqueId val="{00000009-A956-4AEA-BCD5-FD2B9946976E}"/>
                </c:ext>
              </c:extLst>
            </c:dLbl>
            <c:dLbl>
              <c:idx val="3"/>
              <c:delete val="1"/>
              <c:extLst>
                <c:ext xmlns:c15="http://schemas.microsoft.com/office/drawing/2012/chart" uri="{CE6537A1-D6FC-4f65-9D91-7224C49458BB}"/>
                <c:ext xmlns:c16="http://schemas.microsoft.com/office/drawing/2014/chart" uri="{C3380CC4-5D6E-409C-BE32-E72D297353CC}">
                  <c16:uniqueId val="{00000000-A956-4AEA-BCD5-FD2B9946976E}"/>
                </c:ext>
              </c:extLst>
            </c:dLbl>
            <c:dLbl>
              <c:idx val="4"/>
              <c:delete val="1"/>
              <c:extLst>
                <c:ext xmlns:c15="http://schemas.microsoft.com/office/drawing/2012/chart" uri="{CE6537A1-D6FC-4f65-9D91-7224C49458BB}"/>
                <c:ext xmlns:c16="http://schemas.microsoft.com/office/drawing/2014/chart" uri="{C3380CC4-5D6E-409C-BE32-E72D297353CC}">
                  <c16:uniqueId val="{0000000A-A956-4AEA-BCD5-FD2B9946976E}"/>
                </c:ext>
              </c:extLst>
            </c:dLbl>
            <c:dLbl>
              <c:idx val="5"/>
              <c:delete val="1"/>
              <c:extLst>
                <c:ext xmlns:c15="http://schemas.microsoft.com/office/drawing/2012/chart" uri="{CE6537A1-D6FC-4f65-9D91-7224C49458BB}"/>
                <c:ext xmlns:c16="http://schemas.microsoft.com/office/drawing/2014/chart" uri="{C3380CC4-5D6E-409C-BE32-E72D297353CC}">
                  <c16:uniqueId val="{0000000B-A956-4AEA-BCD5-FD2B9946976E}"/>
                </c:ext>
              </c:extLst>
            </c:dLbl>
            <c:dLbl>
              <c:idx val="6"/>
              <c:delete val="1"/>
              <c:extLst>
                <c:ext xmlns:c15="http://schemas.microsoft.com/office/drawing/2012/chart" uri="{CE6537A1-D6FC-4f65-9D91-7224C49458BB}"/>
                <c:ext xmlns:c16="http://schemas.microsoft.com/office/drawing/2014/chart" uri="{C3380CC4-5D6E-409C-BE32-E72D297353CC}">
                  <c16:uniqueId val="{0000000C-A956-4AEA-BCD5-FD2B9946976E}"/>
                </c:ext>
              </c:extLst>
            </c:dLbl>
            <c:dLbl>
              <c:idx val="7"/>
              <c:numFmt formatCode="#,##0.00" sourceLinked="0"/>
              <c:spPr>
                <a:noFill/>
                <a:ln>
                  <a:solidFill>
                    <a:schemeClr val="bg2">
                      <a:lumMod val="75000"/>
                    </a:schemeClr>
                  </a:solid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4-A956-4AEA-BCD5-FD2B9946976E}"/>
                </c:ext>
              </c:extLst>
            </c:dLbl>
            <c:dLbl>
              <c:idx val="8"/>
              <c:numFmt formatCode="#,##0.00" sourceLinked="0"/>
              <c:spPr>
                <a:noFill/>
                <a:ln>
                  <a:solidFill>
                    <a:schemeClr val="bg2">
                      <a:lumMod val="75000"/>
                    </a:schemeClr>
                  </a:solid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5-A956-4AEA-BCD5-FD2B9946976E}"/>
                </c:ext>
              </c:extLst>
            </c:dLbl>
            <c:dLbl>
              <c:idx val="9"/>
              <c:numFmt formatCode="#,##0.00" sourceLinked="0"/>
              <c:spPr>
                <a:noFill/>
                <a:ln>
                  <a:solidFill>
                    <a:schemeClr val="bg2">
                      <a:lumMod val="75000"/>
                    </a:schemeClr>
                  </a:solid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6-A956-4AEA-BCD5-FD2B9946976E}"/>
                </c:ext>
              </c:extLst>
            </c:dLbl>
            <c:dLbl>
              <c:idx val="10"/>
              <c:delete val="1"/>
              <c:extLst>
                <c:ext xmlns:c15="http://schemas.microsoft.com/office/drawing/2012/chart" uri="{CE6537A1-D6FC-4f65-9D91-7224C49458BB}"/>
                <c:ext xmlns:c16="http://schemas.microsoft.com/office/drawing/2014/chart" uri="{C3380CC4-5D6E-409C-BE32-E72D297353CC}">
                  <c16:uniqueId val="{0000000D-A956-4AEA-BCD5-FD2B9946976E}"/>
                </c:ext>
              </c:extLst>
            </c:dLbl>
            <c:dLbl>
              <c:idx val="11"/>
              <c:delete val="1"/>
              <c:extLst>
                <c:ext xmlns:c15="http://schemas.microsoft.com/office/drawing/2012/chart" uri="{CE6537A1-D6FC-4f65-9D91-7224C49458BB}"/>
                <c:ext xmlns:c16="http://schemas.microsoft.com/office/drawing/2014/chart" uri="{C3380CC4-5D6E-409C-BE32-E72D297353CC}">
                  <c16:uniqueId val="{0000000E-A956-4AEA-BCD5-FD2B9946976E}"/>
                </c:ext>
              </c:extLst>
            </c:dLbl>
            <c:dLbl>
              <c:idx val="12"/>
              <c:delete val="1"/>
              <c:extLst>
                <c:ext xmlns:c15="http://schemas.microsoft.com/office/drawing/2012/chart" uri="{CE6537A1-D6FC-4f65-9D91-7224C49458BB}"/>
                <c:ext xmlns:c16="http://schemas.microsoft.com/office/drawing/2014/chart" uri="{C3380CC4-5D6E-409C-BE32-E72D297353CC}">
                  <c16:uniqueId val="{0000000F-A956-4AEA-BCD5-FD2B9946976E}"/>
                </c:ext>
              </c:extLst>
            </c:dLbl>
            <c:dLbl>
              <c:idx val="13"/>
              <c:delete val="1"/>
              <c:extLst>
                <c:ext xmlns:c15="http://schemas.microsoft.com/office/drawing/2012/chart" uri="{CE6537A1-D6FC-4f65-9D91-7224C49458BB}"/>
                <c:ext xmlns:c16="http://schemas.microsoft.com/office/drawing/2014/chart" uri="{C3380CC4-5D6E-409C-BE32-E72D297353CC}">
                  <c16:uniqueId val="{00000010-A956-4AEA-BCD5-FD2B9946976E}"/>
                </c:ext>
              </c:extLst>
            </c:dLbl>
            <c:dLbl>
              <c:idx val="14"/>
              <c:delete val="1"/>
              <c:extLst>
                <c:ext xmlns:c15="http://schemas.microsoft.com/office/drawing/2012/chart" uri="{CE6537A1-D6FC-4f65-9D91-7224C49458BB}"/>
                <c:ext xmlns:c16="http://schemas.microsoft.com/office/drawing/2014/chart" uri="{C3380CC4-5D6E-409C-BE32-E72D297353CC}">
                  <c16:uniqueId val="{00000011-A956-4AEA-BCD5-FD2B9946976E}"/>
                </c:ext>
              </c:extLst>
            </c:dLbl>
            <c:dLbl>
              <c:idx val="15"/>
              <c:delete val="1"/>
              <c:extLst>
                <c:ext xmlns:c15="http://schemas.microsoft.com/office/drawing/2012/chart" uri="{CE6537A1-D6FC-4f65-9D91-7224C49458BB}"/>
                <c:ext xmlns:c16="http://schemas.microsoft.com/office/drawing/2014/chart" uri="{C3380CC4-5D6E-409C-BE32-E72D297353CC}">
                  <c16:uniqueId val="{00000012-A956-4AEA-BCD5-FD2B9946976E}"/>
                </c:ext>
              </c:extLst>
            </c:dLbl>
            <c:dLbl>
              <c:idx val="16"/>
              <c:layout>
                <c:manualLayout>
                  <c:x val="-1.3354560647867735E-2"/>
                  <c:y val="0.16485354019174903"/>
                </c:manualLayout>
              </c:layout>
              <c:showLegendKey val="0"/>
              <c:showVal val="1"/>
              <c:showCatName val="0"/>
              <c:showSerName val="0"/>
              <c:showPercent val="0"/>
              <c:showBubbleSize val="0"/>
              <c:extLst>
                <c:ext xmlns:c15="http://schemas.microsoft.com/office/drawing/2012/chart" uri="{CE6537A1-D6FC-4f65-9D91-7224C49458BB}">
                  <c15:layout>
                    <c:manualLayout>
                      <c:w val="5.1112821634475177E-2"/>
                      <c:h val="0.11205090461615147"/>
                    </c:manualLayout>
                  </c15:layout>
                </c:ext>
                <c:ext xmlns:c16="http://schemas.microsoft.com/office/drawing/2014/chart" uri="{C3380CC4-5D6E-409C-BE32-E72D297353CC}">
                  <c16:uniqueId val="{00000001-A956-4AEA-BCD5-FD2B9946976E}"/>
                </c:ext>
              </c:extLst>
            </c:dLbl>
            <c:dLbl>
              <c:idx val="17"/>
              <c:delete val="1"/>
              <c:extLst>
                <c:ext xmlns:c15="http://schemas.microsoft.com/office/drawing/2012/chart" uri="{CE6537A1-D6FC-4f65-9D91-7224C49458BB}"/>
                <c:ext xmlns:c16="http://schemas.microsoft.com/office/drawing/2014/chart" uri="{C3380CC4-5D6E-409C-BE32-E72D297353CC}">
                  <c16:uniqueId val="{00000002-A956-4AEA-BCD5-FD2B9946976E}"/>
                </c:ext>
              </c:extLst>
            </c:dLbl>
            <c:numFmt formatCode="#,##0.00" sourceLinked="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orr partial corr'!$B$1:$S$1</c:f>
              <c:strCache>
                <c:ptCount val="18"/>
                <c:pt idx="0">
                  <c:v>Age</c:v>
                </c:pt>
                <c:pt idx="1">
                  <c:v>Flight Distance</c:v>
                </c:pt>
                <c:pt idx="2">
                  <c:v>Inflight wifi service</c:v>
                </c:pt>
                <c:pt idx="3">
                  <c:v>Departure/Arrival time convenient</c:v>
                </c:pt>
                <c:pt idx="4">
                  <c:v>Ease of Online booking</c:v>
                </c:pt>
                <c:pt idx="5">
                  <c:v>Gate location</c:v>
                </c:pt>
                <c:pt idx="6">
                  <c:v>Food and drink</c:v>
                </c:pt>
                <c:pt idx="7">
                  <c:v>Online boarding</c:v>
                </c:pt>
                <c:pt idx="8">
                  <c:v>Seat comfort</c:v>
                </c:pt>
                <c:pt idx="9">
                  <c:v>Inflight entertainment</c:v>
                </c:pt>
                <c:pt idx="10">
                  <c:v>On-board service</c:v>
                </c:pt>
                <c:pt idx="11">
                  <c:v>Leg room service</c:v>
                </c:pt>
                <c:pt idx="12">
                  <c:v>Baggage handling</c:v>
                </c:pt>
                <c:pt idx="13">
                  <c:v>Checkin service</c:v>
                </c:pt>
                <c:pt idx="14">
                  <c:v>Inflight service</c:v>
                </c:pt>
                <c:pt idx="15">
                  <c:v>Cleanliness</c:v>
                </c:pt>
                <c:pt idx="16">
                  <c:v>Departure Delay in Minutes</c:v>
                </c:pt>
                <c:pt idx="17">
                  <c:v>Arrival Delay in Minutes</c:v>
                </c:pt>
              </c:strCache>
            </c:strRef>
          </c:cat>
          <c:val>
            <c:numRef>
              <c:f>'@corr partial corr'!$B$20:$S$20</c:f>
              <c:numCache>
                <c:formatCode>General</c:formatCode>
                <c:ptCount val="18"/>
                <c:pt idx="0">
                  <c:v>0.13716730496344817</c:v>
                </c:pt>
                <c:pt idx="1">
                  <c:v>0.29877978580002534</c:v>
                </c:pt>
                <c:pt idx="2">
                  <c:v>0.28424504696513847</c:v>
                </c:pt>
                <c:pt idx="3">
                  <c:v>-5.1600617697135871E-2</c:v>
                </c:pt>
                <c:pt idx="4">
                  <c:v>0.17167043070816526</c:v>
                </c:pt>
                <c:pt idx="5">
                  <c:v>6.8202745623420003E-4</c:v>
                </c:pt>
                <c:pt idx="6">
                  <c:v>0.20993624044644479</c:v>
                </c:pt>
                <c:pt idx="7">
                  <c:v>0.50355732164734368</c:v>
                </c:pt>
                <c:pt idx="8">
                  <c:v>0.34945875813671745</c:v>
                </c:pt>
                <c:pt idx="9">
                  <c:v>0.3980594210995187</c:v>
                </c:pt>
                <c:pt idx="10">
                  <c:v>0.32238252147813429</c:v>
                </c:pt>
                <c:pt idx="11">
                  <c:v>0.31313080170004609</c:v>
                </c:pt>
                <c:pt idx="12">
                  <c:v>0.24774936539508399</c:v>
                </c:pt>
                <c:pt idx="13">
                  <c:v>0.23617374284172979</c:v>
                </c:pt>
                <c:pt idx="14">
                  <c:v>0.24474073867059293</c:v>
                </c:pt>
                <c:pt idx="15">
                  <c:v>0.30519801179699324</c:v>
                </c:pt>
                <c:pt idx="16">
                  <c:v>-5.0494210261231194E-2</c:v>
                </c:pt>
                <c:pt idx="17">
                  <c:v>-5.7581823725825022E-2</c:v>
                </c:pt>
              </c:numCache>
            </c:numRef>
          </c:val>
          <c:extLst>
            <c:ext xmlns:c16="http://schemas.microsoft.com/office/drawing/2014/chart" uri="{C3380CC4-5D6E-409C-BE32-E72D297353CC}">
              <c16:uniqueId val="{00000003-A956-4AEA-BCD5-FD2B9946976E}"/>
            </c:ext>
          </c:extLst>
        </c:ser>
        <c:dLbls>
          <c:showLegendKey val="0"/>
          <c:showVal val="0"/>
          <c:showCatName val="0"/>
          <c:showSerName val="0"/>
          <c:showPercent val="0"/>
          <c:showBubbleSize val="0"/>
        </c:dLbls>
        <c:gapWidth val="219"/>
        <c:overlap val="-27"/>
        <c:axId val="425347744"/>
        <c:axId val="425228032"/>
      </c:barChart>
      <c:catAx>
        <c:axId val="425347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25228032"/>
        <c:crosses val="autoZero"/>
        <c:auto val="1"/>
        <c:lblAlgn val="ctr"/>
        <c:lblOffset val="100"/>
        <c:noMultiLvlLbl val="0"/>
      </c:catAx>
      <c:valAx>
        <c:axId val="425228032"/>
        <c:scaling>
          <c:orientation val="minMax"/>
        </c:scaling>
        <c:delete val="1"/>
        <c:axPos val="l"/>
        <c:numFmt formatCode="General" sourceLinked="1"/>
        <c:majorTickMark val="none"/>
        <c:minorTickMark val="none"/>
        <c:tickLblPos val="nextTo"/>
        <c:crossAx val="425347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dirty="0"/>
              <a:t>Partial Correlation for</a:t>
            </a:r>
            <a:r>
              <a:rPr lang="en-US" baseline="0" dirty="0"/>
              <a:t> </a:t>
            </a:r>
            <a:r>
              <a:rPr lang="en-US" dirty="0"/>
              <a:t>Online Boarding​</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corr partial corr'!$G$143</c:f>
              <c:strCache>
                <c:ptCount val="1"/>
                <c:pt idx="0">
                  <c:v>Onlineboarding​</c:v>
                </c:pt>
              </c:strCache>
            </c:strRef>
          </c:tx>
          <c:spPr>
            <a:solidFill>
              <a:schemeClr val="accent1"/>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5721-4982-8E9A-C61791F0A5DF}"/>
                </c:ext>
              </c:extLst>
            </c:dLbl>
            <c:dLbl>
              <c:idx val="2"/>
              <c:delete val="1"/>
              <c:extLst>
                <c:ext xmlns:c15="http://schemas.microsoft.com/office/drawing/2012/chart" uri="{CE6537A1-D6FC-4f65-9D91-7224C49458BB}"/>
                <c:ext xmlns:c16="http://schemas.microsoft.com/office/drawing/2014/chart" uri="{C3380CC4-5D6E-409C-BE32-E72D297353CC}">
                  <c16:uniqueId val="{00000002-5721-4982-8E9A-C61791F0A5DF}"/>
                </c:ext>
              </c:extLst>
            </c:dLbl>
            <c:dLbl>
              <c:idx val="4"/>
              <c:delete val="1"/>
              <c:extLst>
                <c:ext xmlns:c15="http://schemas.microsoft.com/office/drawing/2012/chart" uri="{CE6537A1-D6FC-4f65-9D91-7224C49458BB}"/>
                <c:ext xmlns:c16="http://schemas.microsoft.com/office/drawing/2014/chart" uri="{C3380CC4-5D6E-409C-BE32-E72D297353CC}">
                  <c16:uniqueId val="{00000003-5721-4982-8E9A-C61791F0A5DF}"/>
                </c:ext>
              </c:extLst>
            </c:dLbl>
            <c:dLbl>
              <c:idx val="6"/>
              <c:delete val="1"/>
              <c:extLst>
                <c:ext xmlns:c15="http://schemas.microsoft.com/office/drawing/2012/chart" uri="{CE6537A1-D6FC-4f65-9D91-7224C49458BB}"/>
                <c:ext xmlns:c16="http://schemas.microsoft.com/office/drawing/2014/chart" uri="{C3380CC4-5D6E-409C-BE32-E72D297353CC}">
                  <c16:uniqueId val="{00000004-5721-4982-8E9A-C61791F0A5DF}"/>
                </c:ext>
              </c:extLst>
            </c:dLbl>
            <c:dLbl>
              <c:idx val="7"/>
              <c:delete val="1"/>
              <c:extLst>
                <c:ext xmlns:c15="http://schemas.microsoft.com/office/drawing/2012/chart" uri="{CE6537A1-D6FC-4f65-9D91-7224C49458BB}"/>
                <c:ext xmlns:c16="http://schemas.microsoft.com/office/drawing/2014/chart" uri="{C3380CC4-5D6E-409C-BE32-E72D297353CC}">
                  <c16:uniqueId val="{00000005-5721-4982-8E9A-C61791F0A5DF}"/>
                </c:ext>
              </c:extLst>
            </c:dLbl>
            <c:dLbl>
              <c:idx val="9"/>
              <c:delete val="1"/>
              <c:extLst>
                <c:ext xmlns:c15="http://schemas.microsoft.com/office/drawing/2012/chart" uri="{CE6537A1-D6FC-4f65-9D91-7224C49458BB}"/>
                <c:ext xmlns:c16="http://schemas.microsoft.com/office/drawing/2014/chart" uri="{C3380CC4-5D6E-409C-BE32-E72D297353CC}">
                  <c16:uniqueId val="{00000006-5721-4982-8E9A-C61791F0A5DF}"/>
                </c:ext>
              </c:extLst>
            </c:dLbl>
            <c:dLbl>
              <c:idx val="10"/>
              <c:delete val="1"/>
              <c:extLst>
                <c:ext xmlns:c15="http://schemas.microsoft.com/office/drawing/2012/chart" uri="{CE6537A1-D6FC-4f65-9D91-7224C49458BB}"/>
                <c:ext xmlns:c16="http://schemas.microsoft.com/office/drawing/2014/chart" uri="{C3380CC4-5D6E-409C-BE32-E72D297353CC}">
                  <c16:uniqueId val="{00000007-5721-4982-8E9A-C61791F0A5DF}"/>
                </c:ext>
              </c:extLst>
            </c:dLbl>
            <c:dLbl>
              <c:idx val="11"/>
              <c:delete val="1"/>
              <c:extLst>
                <c:ext xmlns:c15="http://schemas.microsoft.com/office/drawing/2012/chart" uri="{CE6537A1-D6FC-4f65-9D91-7224C49458BB}"/>
                <c:ext xmlns:c16="http://schemas.microsoft.com/office/drawing/2014/chart" uri="{C3380CC4-5D6E-409C-BE32-E72D297353CC}">
                  <c16:uniqueId val="{00000008-5721-4982-8E9A-C61791F0A5DF}"/>
                </c:ext>
              </c:extLst>
            </c:dLbl>
            <c:dLbl>
              <c:idx val="12"/>
              <c:delete val="1"/>
              <c:extLst>
                <c:ext xmlns:c15="http://schemas.microsoft.com/office/drawing/2012/chart" uri="{CE6537A1-D6FC-4f65-9D91-7224C49458BB}"/>
                <c:ext xmlns:c16="http://schemas.microsoft.com/office/drawing/2014/chart" uri="{C3380CC4-5D6E-409C-BE32-E72D297353CC}">
                  <c16:uniqueId val="{00000009-5721-4982-8E9A-C61791F0A5DF}"/>
                </c:ext>
              </c:extLst>
            </c:dLbl>
            <c:dLbl>
              <c:idx val="13"/>
              <c:delete val="1"/>
              <c:extLst>
                <c:ext xmlns:c15="http://schemas.microsoft.com/office/drawing/2012/chart" uri="{CE6537A1-D6FC-4f65-9D91-7224C49458BB}"/>
                <c:ext xmlns:c16="http://schemas.microsoft.com/office/drawing/2014/chart" uri="{C3380CC4-5D6E-409C-BE32-E72D297353CC}">
                  <c16:uniqueId val="{0000000A-5721-4982-8E9A-C61791F0A5DF}"/>
                </c:ext>
              </c:extLst>
            </c:dLbl>
            <c:dLbl>
              <c:idx val="14"/>
              <c:delete val="1"/>
              <c:extLst>
                <c:ext xmlns:c15="http://schemas.microsoft.com/office/drawing/2012/chart" uri="{CE6537A1-D6FC-4f65-9D91-7224C49458BB}"/>
                <c:ext xmlns:c16="http://schemas.microsoft.com/office/drawing/2014/chart" uri="{C3380CC4-5D6E-409C-BE32-E72D297353CC}">
                  <c16:uniqueId val="{0000000B-5721-4982-8E9A-C61791F0A5DF}"/>
                </c:ext>
              </c:extLst>
            </c:dLbl>
            <c:dLbl>
              <c:idx val="15"/>
              <c:delete val="1"/>
              <c:extLst>
                <c:ext xmlns:c15="http://schemas.microsoft.com/office/drawing/2012/chart" uri="{CE6537A1-D6FC-4f65-9D91-7224C49458BB}"/>
                <c:ext xmlns:c16="http://schemas.microsoft.com/office/drawing/2014/chart" uri="{C3380CC4-5D6E-409C-BE32-E72D297353CC}">
                  <c16:uniqueId val="{0000000C-5721-4982-8E9A-C61791F0A5DF}"/>
                </c:ext>
              </c:extLst>
            </c:dLbl>
            <c:dLbl>
              <c:idx val="16"/>
              <c:delete val="1"/>
              <c:extLst>
                <c:ext xmlns:c15="http://schemas.microsoft.com/office/drawing/2012/chart" uri="{CE6537A1-D6FC-4f65-9D91-7224C49458BB}"/>
                <c:ext xmlns:c16="http://schemas.microsoft.com/office/drawing/2014/chart" uri="{C3380CC4-5D6E-409C-BE32-E72D297353CC}">
                  <c16:uniqueId val="{0000000D-5721-4982-8E9A-C61791F0A5DF}"/>
                </c:ext>
              </c:extLst>
            </c:dLbl>
            <c:dLbl>
              <c:idx val="17"/>
              <c:delete val="1"/>
              <c:extLst>
                <c:ext xmlns:c15="http://schemas.microsoft.com/office/drawing/2012/chart" uri="{CE6537A1-D6FC-4f65-9D91-7224C49458BB}"/>
                <c:ext xmlns:c16="http://schemas.microsoft.com/office/drawing/2014/chart" uri="{C3380CC4-5D6E-409C-BE32-E72D297353CC}">
                  <c16:uniqueId val="{0000000E-5721-4982-8E9A-C61791F0A5DF}"/>
                </c:ext>
              </c:extLst>
            </c:dLbl>
            <c:spPr>
              <a:noFill/>
              <a:ln>
                <a:solidFill>
                  <a:schemeClr val="bg2">
                    <a:lumMod val="75000"/>
                  </a:schemeClr>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rr partial corr'!$H$142:$Z$142</c:f>
              <c:strCache>
                <c:ptCount val="19"/>
                <c:pt idx="1">
                  <c:v>Age​</c:v>
                </c:pt>
                <c:pt idx="2">
                  <c:v>Flight Distance​</c:v>
                </c:pt>
                <c:pt idx="3">
                  <c:v>Inflight wifi service​</c:v>
                </c:pt>
                <c:pt idx="4">
                  <c:v>Departure/Arrival time convenient​</c:v>
                </c:pt>
                <c:pt idx="5">
                  <c:v>Ease of Online booking​</c:v>
                </c:pt>
                <c:pt idx="6">
                  <c:v>Gate location​</c:v>
                </c:pt>
                <c:pt idx="7">
                  <c:v>Food and drink​</c:v>
                </c:pt>
                <c:pt idx="8">
                  <c:v>Seat comfort​</c:v>
                </c:pt>
                <c:pt idx="9">
                  <c:v>Inflight entertainment​</c:v>
                </c:pt>
                <c:pt idx="10">
                  <c:v>On-board service​</c:v>
                </c:pt>
                <c:pt idx="11">
                  <c:v>Leg room service​</c:v>
                </c:pt>
                <c:pt idx="12">
                  <c:v>Baggage handling​</c:v>
                </c:pt>
                <c:pt idx="13">
                  <c:v>Checkin service​</c:v>
                </c:pt>
                <c:pt idx="14">
                  <c:v>Inflight service​</c:v>
                </c:pt>
                <c:pt idx="15">
                  <c:v>Cleanliness​</c:v>
                </c:pt>
                <c:pt idx="16">
                  <c:v>Departure Delay in Minutes​</c:v>
                </c:pt>
                <c:pt idx="17">
                  <c:v>Arrival Delay in Minutes​</c:v>
                </c:pt>
                <c:pt idx="18">
                  <c:v>satisfaction no​</c:v>
                </c:pt>
              </c:strCache>
            </c:strRef>
          </c:cat>
          <c:val>
            <c:numRef>
              <c:f>'@corr partial corr'!$H$143:$Z$143</c:f>
              <c:numCache>
                <c:formatCode>0.00</c:formatCode>
                <c:ptCount val="19"/>
                <c:pt idx="1">
                  <c:v>0.21</c:v>
                </c:pt>
                <c:pt idx="2">
                  <c:v>0.21</c:v>
                </c:pt>
                <c:pt idx="3">
                  <c:v>0.46</c:v>
                </c:pt>
                <c:pt idx="4">
                  <c:v>7.0000000000000007E-2</c:v>
                </c:pt>
                <c:pt idx="5">
                  <c:v>0.4</c:v>
                </c:pt>
                <c:pt idx="6">
                  <c:v>0</c:v>
                </c:pt>
                <c:pt idx="7">
                  <c:v>0.23</c:v>
                </c:pt>
                <c:pt idx="8">
                  <c:v>0.42</c:v>
                </c:pt>
                <c:pt idx="9">
                  <c:v>0.28999999999999998</c:v>
                </c:pt>
                <c:pt idx="10">
                  <c:v>0.16</c:v>
                </c:pt>
                <c:pt idx="11">
                  <c:v>0.12</c:v>
                </c:pt>
                <c:pt idx="12">
                  <c:v>0.08</c:v>
                </c:pt>
                <c:pt idx="13">
                  <c:v>0.2</c:v>
                </c:pt>
                <c:pt idx="14" formatCode="0.0000">
                  <c:v>7.0000000000000007E-2</c:v>
                </c:pt>
                <c:pt idx="15">
                  <c:v>0.33</c:v>
                </c:pt>
                <c:pt idx="16">
                  <c:v>0.02</c:v>
                </c:pt>
                <c:pt idx="17">
                  <c:v>0.02</c:v>
                </c:pt>
                <c:pt idx="18">
                  <c:v>0.5</c:v>
                </c:pt>
              </c:numCache>
            </c:numRef>
          </c:val>
          <c:extLst>
            <c:ext xmlns:c16="http://schemas.microsoft.com/office/drawing/2014/chart" uri="{C3380CC4-5D6E-409C-BE32-E72D297353CC}">
              <c16:uniqueId val="{00000000-5721-4982-8E9A-C61791F0A5DF}"/>
            </c:ext>
          </c:extLst>
        </c:ser>
        <c:dLbls>
          <c:dLblPos val="outEnd"/>
          <c:showLegendKey val="0"/>
          <c:showVal val="1"/>
          <c:showCatName val="0"/>
          <c:showSerName val="0"/>
          <c:showPercent val="0"/>
          <c:showBubbleSize val="0"/>
        </c:dLbls>
        <c:gapWidth val="219"/>
        <c:overlap val="-27"/>
        <c:axId val="658952080"/>
        <c:axId val="2097035984"/>
      </c:barChart>
      <c:catAx>
        <c:axId val="658952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97035984"/>
        <c:crosses val="autoZero"/>
        <c:auto val="1"/>
        <c:lblAlgn val="ctr"/>
        <c:lblOffset val="100"/>
        <c:noMultiLvlLbl val="0"/>
      </c:catAx>
      <c:valAx>
        <c:axId val="2097035984"/>
        <c:scaling>
          <c:orientation val="minMax"/>
          <c:max val="0.60000000000000009"/>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5895208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at comfort'!$B$2:$B$103905</cx:f>
        <cx:lvl ptCount="103904">
          <cx:pt idx="0">0</cx:pt>
          <cx:pt idx="1">0</cx:pt>
          <cx:pt idx="2">1</cx:pt>
          <cx:pt idx="3">0</cx:pt>
          <cx:pt idx="4">1</cx:pt>
          <cx:pt idx="5">0</cx:pt>
          <cx:pt idx="6">0</cx:pt>
          <cx:pt idx="7">1</cx:pt>
          <cx:pt idx="8">0</cx:pt>
          <cx:pt idx="9">0</cx:pt>
          <cx:pt idx="10">0</cx:pt>
          <cx:pt idx="11">0</cx:pt>
          <cx:pt idx="12">0</cx:pt>
          <cx:pt idx="13">1</cx:pt>
          <cx:pt idx="14">0</cx:pt>
          <cx:pt idx="15">0</cx:pt>
          <cx:pt idx="16">1</cx:pt>
          <cx:pt idx="17">1</cx:pt>
          <cx:pt idx="18">1</cx:pt>
          <cx:pt idx="19">0</cx:pt>
          <cx:pt idx="20">0</cx:pt>
          <cx:pt idx="21">0</cx:pt>
          <cx:pt idx="22">0</cx:pt>
          <cx:pt idx="23">0</cx:pt>
          <cx:pt idx="24">1</cx:pt>
          <cx:pt idx="25">0</cx:pt>
          <cx:pt idx="26">1</cx:pt>
          <cx:pt idx="27">1</cx:pt>
          <cx:pt idx="28">0</cx:pt>
          <cx:pt idx="29">0</cx:pt>
          <cx:pt idx="30">1</cx:pt>
          <cx:pt idx="31">0</cx:pt>
          <cx:pt idx="32">1</cx:pt>
          <cx:pt idx="33">0</cx:pt>
          <cx:pt idx="34">0</cx:pt>
          <cx:pt idx="35">0</cx:pt>
          <cx:pt idx="36">0</cx:pt>
          <cx:pt idx="37">0</cx:pt>
          <cx:pt idx="38">1</cx:pt>
          <cx:pt idx="39">0</cx:pt>
          <cx:pt idx="40">1</cx:pt>
          <cx:pt idx="41">0</cx:pt>
          <cx:pt idx="42">1</cx:pt>
          <cx:pt idx="43">1</cx:pt>
          <cx:pt idx="44">1</cx:pt>
          <cx:pt idx="45">1</cx:pt>
          <cx:pt idx="46">0</cx:pt>
          <cx:pt idx="47">0</cx:pt>
          <cx:pt idx="48">1</cx:pt>
          <cx:pt idx="49">0</cx:pt>
          <cx:pt idx="50">0</cx:pt>
          <cx:pt idx="51">1</cx:pt>
          <cx:pt idx="52">1</cx:pt>
          <cx:pt idx="53">0</cx:pt>
          <cx:pt idx="54">0</cx:pt>
          <cx:pt idx="55">1</cx:pt>
          <cx:pt idx="56">1</cx:pt>
          <cx:pt idx="57">1</cx:pt>
          <cx:pt idx="58">0</cx:pt>
          <cx:pt idx="59">0</cx:pt>
          <cx:pt idx="60">0</cx:pt>
          <cx:pt idx="61">1</cx:pt>
          <cx:pt idx="62">0</cx:pt>
          <cx:pt idx="63">1</cx:pt>
          <cx:pt idx="64">1</cx:pt>
          <cx:pt idx="65">1</cx:pt>
          <cx:pt idx="66">0</cx:pt>
          <cx:pt idx="67">1</cx:pt>
          <cx:pt idx="68">0</cx:pt>
          <cx:pt idx="69">1</cx:pt>
          <cx:pt idx="70">1</cx:pt>
          <cx:pt idx="71">0</cx:pt>
          <cx:pt idx="72">0</cx:pt>
          <cx:pt idx="73">0</cx:pt>
          <cx:pt idx="74">0</cx:pt>
          <cx:pt idx="75">1</cx:pt>
          <cx:pt idx="76">0</cx:pt>
          <cx:pt idx="77">1</cx:pt>
          <cx:pt idx="78">0</cx:pt>
          <cx:pt idx="79">0</cx:pt>
          <cx:pt idx="80">1</cx:pt>
          <cx:pt idx="81">0</cx:pt>
          <cx:pt idx="82">0</cx:pt>
          <cx:pt idx="83">1</cx:pt>
          <cx:pt idx="84">1</cx:pt>
          <cx:pt idx="85">1</cx:pt>
          <cx:pt idx="86">0</cx:pt>
          <cx:pt idx="87">0</cx:pt>
          <cx:pt idx="88">1</cx:pt>
          <cx:pt idx="89">0</cx:pt>
          <cx:pt idx="90">1</cx:pt>
          <cx:pt idx="91">1</cx:pt>
          <cx:pt idx="92">0</cx:pt>
          <cx:pt idx="93">1</cx:pt>
          <cx:pt idx="94">1</cx:pt>
          <cx:pt idx="95">1</cx:pt>
          <cx:pt idx="96">0</cx:pt>
          <cx:pt idx="97">0</cx:pt>
          <cx:pt idx="98">0</cx:pt>
          <cx:pt idx="99">1</cx:pt>
          <cx:pt idx="100">0</cx:pt>
          <cx:pt idx="101">1</cx:pt>
          <cx:pt idx="102">0</cx:pt>
          <cx:pt idx="103">0</cx:pt>
          <cx:pt idx="104">1</cx:pt>
          <cx:pt idx="105">0</cx:pt>
          <cx:pt idx="106">0</cx:pt>
          <cx:pt idx="107">0</cx:pt>
          <cx:pt idx="108">0</cx:pt>
          <cx:pt idx="109">0</cx:pt>
          <cx:pt idx="110">1</cx:pt>
          <cx:pt idx="111">0</cx:pt>
          <cx:pt idx="112">0</cx:pt>
          <cx:pt idx="113">0</cx:pt>
          <cx:pt idx="114">1</cx:pt>
          <cx:pt idx="115">0</cx:pt>
          <cx:pt idx="116">0</cx:pt>
          <cx:pt idx="117">1</cx:pt>
          <cx:pt idx="118">0</cx:pt>
          <cx:pt idx="119">0</cx:pt>
          <cx:pt idx="120">0</cx:pt>
          <cx:pt idx="121">0</cx:pt>
          <cx:pt idx="122">0</cx:pt>
          <cx:pt idx="123">1</cx:pt>
          <cx:pt idx="124">0</cx:pt>
          <cx:pt idx="125">1</cx:pt>
          <cx:pt idx="126">1</cx:pt>
          <cx:pt idx="127">0</cx:pt>
          <cx:pt idx="128">0</cx:pt>
          <cx:pt idx="129">1</cx:pt>
          <cx:pt idx="130">1</cx:pt>
          <cx:pt idx="131">0</cx:pt>
          <cx:pt idx="132">0</cx:pt>
          <cx:pt idx="133">0</cx:pt>
          <cx:pt idx="134">0</cx:pt>
          <cx:pt idx="135">1</cx:pt>
          <cx:pt idx="136">1</cx:pt>
          <cx:pt idx="137">0</cx:pt>
          <cx:pt idx="138">0</cx:pt>
          <cx:pt idx="139">1</cx:pt>
          <cx:pt idx="140">1</cx:pt>
          <cx:pt idx="141">0</cx:pt>
          <cx:pt idx="142">0</cx:pt>
          <cx:pt idx="143">0</cx:pt>
          <cx:pt idx="144">0</cx:pt>
          <cx:pt idx="145">0</cx:pt>
          <cx:pt idx="146">1</cx:pt>
          <cx:pt idx="147">1</cx:pt>
          <cx:pt idx="148">1</cx:pt>
          <cx:pt idx="149">0</cx:pt>
          <cx:pt idx="150">1</cx:pt>
          <cx:pt idx="151">0</cx:pt>
          <cx:pt idx="152">0</cx:pt>
          <cx:pt idx="153">0</cx:pt>
          <cx:pt idx="154">1</cx:pt>
          <cx:pt idx="155">0</cx:pt>
          <cx:pt idx="156">0</cx:pt>
          <cx:pt idx="157">0</cx:pt>
          <cx:pt idx="158">1</cx:pt>
          <cx:pt idx="159">0</cx:pt>
          <cx:pt idx="160">1</cx:pt>
          <cx:pt idx="161">1</cx:pt>
          <cx:pt idx="162">1</cx:pt>
          <cx:pt idx="163">0</cx:pt>
          <cx:pt idx="164">1</cx:pt>
          <cx:pt idx="165">1</cx:pt>
          <cx:pt idx="166">0</cx:pt>
          <cx:pt idx="167">0</cx:pt>
          <cx:pt idx="168">1</cx:pt>
          <cx:pt idx="169">1</cx:pt>
          <cx:pt idx="170">1</cx:pt>
          <cx:pt idx="171">1</cx:pt>
          <cx:pt idx="172">0</cx:pt>
          <cx:pt idx="173">1</cx:pt>
          <cx:pt idx="174">1</cx:pt>
          <cx:pt idx="175">0</cx:pt>
          <cx:pt idx="176">1</cx:pt>
          <cx:pt idx="177">0</cx:pt>
          <cx:pt idx="178">1</cx:pt>
          <cx:pt idx="179">0</cx:pt>
          <cx:pt idx="180">1</cx:pt>
          <cx:pt idx="181">0</cx:pt>
          <cx:pt idx="182">0</cx:pt>
          <cx:pt idx="183">1</cx:pt>
          <cx:pt idx="184">0</cx:pt>
          <cx:pt idx="185">0</cx:pt>
          <cx:pt idx="186">1</cx:pt>
          <cx:pt idx="187">0</cx:pt>
          <cx:pt idx="188">0</cx:pt>
          <cx:pt idx="189">1</cx:pt>
          <cx:pt idx="190">0</cx:pt>
          <cx:pt idx="191">0</cx:pt>
          <cx:pt idx="192">0</cx:pt>
          <cx:pt idx="193">0</cx:pt>
          <cx:pt idx="194">1</cx:pt>
          <cx:pt idx="195">0</cx:pt>
          <cx:pt idx="196">1</cx:pt>
          <cx:pt idx="197">0</cx:pt>
          <cx:pt idx="198">0</cx:pt>
          <cx:pt idx="199">0</cx:pt>
          <cx:pt idx="200">1</cx:pt>
          <cx:pt idx="201">1</cx:pt>
          <cx:pt idx="202">0</cx:pt>
          <cx:pt idx="203">1</cx:pt>
          <cx:pt idx="204">0</cx:pt>
          <cx:pt idx="205">0</cx:pt>
          <cx:pt idx="206">0</cx:pt>
          <cx:pt idx="207">1</cx:pt>
          <cx:pt idx="208">0</cx:pt>
          <cx:pt idx="209">0</cx:pt>
          <cx:pt idx="210">1</cx:pt>
          <cx:pt idx="211">0</cx:pt>
          <cx:pt idx="212">0</cx:pt>
          <cx:pt idx="213">1</cx:pt>
          <cx:pt idx="214">0</cx:pt>
          <cx:pt idx="215">1</cx:pt>
          <cx:pt idx="216">0</cx:pt>
          <cx:pt idx="217">0</cx:pt>
          <cx:pt idx="218">1</cx:pt>
          <cx:pt idx="219">0</cx:pt>
          <cx:pt idx="220">0</cx:pt>
          <cx:pt idx="221">0</cx:pt>
          <cx:pt idx="222">1</cx:pt>
          <cx:pt idx="223">0</cx:pt>
          <cx:pt idx="224">0</cx:pt>
          <cx:pt idx="225">1</cx:pt>
          <cx:pt idx="226">0</cx:pt>
          <cx:pt idx="227">0</cx:pt>
          <cx:pt idx="228">0</cx:pt>
          <cx:pt idx="229">0</cx:pt>
          <cx:pt idx="230">1</cx:pt>
          <cx:pt idx="231">1</cx:pt>
          <cx:pt idx="232">1</cx:pt>
          <cx:pt idx="233">0</cx:pt>
          <cx:pt idx="234">0</cx:pt>
          <cx:pt idx="235">1</cx:pt>
          <cx:pt idx="236">0</cx:pt>
          <cx:pt idx="237">0</cx:pt>
          <cx:pt idx="238">0</cx:pt>
          <cx:pt idx="239">1</cx:pt>
          <cx:pt idx="240">0</cx:pt>
          <cx:pt idx="241">1</cx:pt>
          <cx:pt idx="242">0</cx:pt>
          <cx:pt idx="243">0</cx:pt>
          <cx:pt idx="244">0</cx:pt>
          <cx:pt idx="245">1</cx:pt>
          <cx:pt idx="246">1</cx:pt>
          <cx:pt idx="247">0</cx:pt>
          <cx:pt idx="248">1</cx:pt>
          <cx:pt idx="249">0</cx:pt>
          <cx:pt idx="250">0</cx:pt>
          <cx:pt idx="251">0</cx:pt>
          <cx:pt idx="252">0</cx:pt>
          <cx:pt idx="253">1</cx:pt>
          <cx:pt idx="254">1</cx:pt>
          <cx:pt idx="255">0</cx:pt>
          <cx:pt idx="256">0</cx:pt>
          <cx:pt idx="257">0</cx:pt>
          <cx:pt idx="258">0</cx:pt>
          <cx:pt idx="259">1</cx:pt>
          <cx:pt idx="260">1</cx:pt>
          <cx:pt idx="261">0</cx:pt>
          <cx:pt idx="262">0</cx:pt>
          <cx:pt idx="263">0</cx:pt>
          <cx:pt idx="264">1</cx:pt>
          <cx:pt idx="265">0</cx:pt>
          <cx:pt idx="266">0</cx:pt>
          <cx:pt idx="267">1</cx:pt>
          <cx:pt idx="268">1</cx:pt>
          <cx:pt idx="269">1</cx:pt>
          <cx:pt idx="270">1</cx:pt>
          <cx:pt idx="271">0</cx:pt>
          <cx:pt idx="272">0</cx:pt>
          <cx:pt idx="273">0</cx:pt>
          <cx:pt idx="274">0</cx:pt>
          <cx:pt idx="275">1</cx:pt>
          <cx:pt idx="276">1</cx:pt>
          <cx:pt idx="277">1</cx:pt>
          <cx:pt idx="278">1</cx:pt>
          <cx:pt idx="279">1</cx:pt>
          <cx:pt idx="280">0</cx:pt>
          <cx:pt idx="281">0</cx:pt>
          <cx:pt idx="282">0</cx:pt>
          <cx:pt idx="283">0</cx:pt>
          <cx:pt idx="284">0</cx:pt>
          <cx:pt idx="285">0</cx:pt>
          <cx:pt idx="286">0</cx:pt>
          <cx:pt idx="287">1</cx:pt>
          <cx:pt idx="288">0</cx:pt>
          <cx:pt idx="289">0</cx:pt>
          <cx:pt idx="290">0</cx:pt>
          <cx:pt idx="291">0</cx:pt>
          <cx:pt idx="292">1</cx:pt>
          <cx:pt idx="293">0</cx:pt>
          <cx:pt idx="294">1</cx:pt>
          <cx:pt idx="295">1</cx:pt>
          <cx:pt idx="296">1</cx:pt>
          <cx:pt idx="297">0</cx:pt>
          <cx:pt idx="298">1</cx:pt>
          <cx:pt idx="299">1</cx:pt>
          <cx:pt idx="300">1</cx:pt>
          <cx:pt idx="301">1</cx:pt>
          <cx:pt idx="302">0</cx:pt>
          <cx:pt idx="303">1</cx:pt>
          <cx:pt idx="304">0</cx:pt>
          <cx:pt idx="305">0</cx:pt>
          <cx:pt idx="306">0</cx:pt>
          <cx:pt idx="307">1</cx:pt>
          <cx:pt idx="308">1</cx:pt>
          <cx:pt idx="309">1</cx:pt>
          <cx:pt idx="310">0</cx:pt>
          <cx:pt idx="311">1</cx:pt>
          <cx:pt idx="312">1</cx:pt>
          <cx:pt idx="313">1</cx:pt>
          <cx:pt idx="314">0</cx:pt>
          <cx:pt idx="315">1</cx:pt>
          <cx:pt idx="316">0</cx:pt>
          <cx:pt idx="317">1</cx:pt>
          <cx:pt idx="318">0</cx:pt>
          <cx:pt idx="319">1</cx:pt>
          <cx:pt idx="320">0</cx:pt>
          <cx:pt idx="321">1</cx:pt>
          <cx:pt idx="322">0</cx:pt>
          <cx:pt idx="323">0</cx:pt>
          <cx:pt idx="324">1</cx:pt>
          <cx:pt idx="325">0</cx:pt>
          <cx:pt idx="326">0</cx:pt>
          <cx:pt idx="327">1</cx:pt>
          <cx:pt idx="328">0</cx:pt>
          <cx:pt idx="329">0</cx:pt>
          <cx:pt idx="330">0</cx:pt>
          <cx:pt idx="331">1</cx:pt>
          <cx:pt idx="332">0</cx:pt>
          <cx:pt idx="333">1</cx:pt>
          <cx:pt idx="334">0</cx:pt>
          <cx:pt idx="335">0</cx:pt>
          <cx:pt idx="336">0</cx:pt>
          <cx:pt idx="337">0</cx:pt>
          <cx:pt idx="338">1</cx:pt>
          <cx:pt idx="339">0</cx:pt>
          <cx:pt idx="340">0</cx:pt>
          <cx:pt idx="341">0</cx:pt>
          <cx:pt idx="342">0</cx:pt>
          <cx:pt idx="343">0</cx:pt>
          <cx:pt idx="344">0</cx:pt>
          <cx:pt idx="345">1</cx:pt>
          <cx:pt idx="346">0</cx:pt>
          <cx:pt idx="347">1</cx:pt>
          <cx:pt idx="348">1</cx:pt>
          <cx:pt idx="349">1</cx:pt>
          <cx:pt idx="350">0</cx:pt>
          <cx:pt idx="351">1</cx:pt>
          <cx:pt idx="352">0</cx:pt>
          <cx:pt idx="353">1</cx:pt>
          <cx:pt idx="354">1</cx:pt>
          <cx:pt idx="355">1</cx:pt>
          <cx:pt idx="356">0</cx:pt>
          <cx:pt idx="357">0</cx:pt>
          <cx:pt idx="358">1</cx:pt>
          <cx:pt idx="359">0</cx:pt>
          <cx:pt idx="360">0</cx:pt>
          <cx:pt idx="361">1</cx:pt>
          <cx:pt idx="362">1</cx:pt>
          <cx:pt idx="363">1</cx:pt>
          <cx:pt idx="364">1</cx:pt>
          <cx:pt idx="365">1</cx:pt>
          <cx:pt idx="366">1</cx:pt>
          <cx:pt idx="367">1</cx:pt>
          <cx:pt idx="368">1</cx:pt>
          <cx:pt idx="369">1</cx:pt>
          <cx:pt idx="370">1</cx:pt>
          <cx:pt idx="371">1</cx:pt>
          <cx:pt idx="372">0</cx:pt>
          <cx:pt idx="373">1</cx:pt>
          <cx:pt idx="374">1</cx:pt>
          <cx:pt idx="375">1</cx:pt>
          <cx:pt idx="376">1</cx:pt>
          <cx:pt idx="377">0</cx:pt>
          <cx:pt idx="378">0</cx:pt>
          <cx:pt idx="379">1</cx:pt>
          <cx:pt idx="380">0</cx:pt>
          <cx:pt idx="381">0</cx:pt>
          <cx:pt idx="382">0</cx:pt>
          <cx:pt idx="383">1</cx:pt>
          <cx:pt idx="384">0</cx:pt>
          <cx:pt idx="385">1</cx:pt>
          <cx:pt idx="386">1</cx:pt>
          <cx:pt idx="387">1</cx:pt>
          <cx:pt idx="388">1</cx:pt>
          <cx:pt idx="389">1</cx:pt>
          <cx:pt idx="390">1</cx:pt>
          <cx:pt idx="391">0</cx:pt>
          <cx:pt idx="392">0</cx:pt>
          <cx:pt idx="393">0</cx:pt>
          <cx:pt idx="394">0</cx:pt>
          <cx:pt idx="395">0</cx:pt>
          <cx:pt idx="396">0</cx:pt>
          <cx:pt idx="397">0</cx:pt>
          <cx:pt idx="398">1</cx:pt>
          <cx:pt idx="399">0</cx:pt>
          <cx:pt idx="400">1</cx:pt>
          <cx:pt idx="401">0</cx:pt>
          <cx:pt idx="402">1</cx:pt>
          <cx:pt idx="403">1</cx:pt>
          <cx:pt idx="404">0</cx:pt>
          <cx:pt idx="405">0</cx:pt>
          <cx:pt idx="406">1</cx:pt>
          <cx:pt idx="407">0</cx:pt>
          <cx:pt idx="408">1</cx:pt>
          <cx:pt idx="409">1</cx:pt>
          <cx:pt idx="410">0</cx:pt>
          <cx:pt idx="411">1</cx:pt>
          <cx:pt idx="412">1</cx:pt>
          <cx:pt idx="413">0</cx:pt>
          <cx:pt idx="414">1</cx:pt>
          <cx:pt idx="415">1</cx:pt>
          <cx:pt idx="416">0</cx:pt>
          <cx:pt idx="417">0</cx:pt>
          <cx:pt idx="418">0</cx:pt>
          <cx:pt idx="419">0</cx:pt>
          <cx:pt idx="420">1</cx:pt>
          <cx:pt idx="421">1</cx:pt>
          <cx:pt idx="422">1</cx:pt>
          <cx:pt idx="423">0</cx:pt>
          <cx:pt idx="424">0</cx:pt>
          <cx:pt idx="425">0</cx:pt>
          <cx:pt idx="426">0</cx:pt>
          <cx:pt idx="427">1</cx:pt>
          <cx:pt idx="428">1</cx:pt>
          <cx:pt idx="429">0</cx:pt>
          <cx:pt idx="430">1</cx:pt>
          <cx:pt idx="431">1</cx:pt>
          <cx:pt idx="432">0</cx:pt>
          <cx:pt idx="433">1</cx:pt>
          <cx:pt idx="434">0</cx:pt>
          <cx:pt idx="435">1</cx:pt>
          <cx:pt idx="436">0</cx:pt>
          <cx:pt idx="437">0</cx:pt>
          <cx:pt idx="438">0</cx:pt>
          <cx:pt idx="439">0</cx:pt>
          <cx:pt idx="440">1</cx:pt>
          <cx:pt idx="441">1</cx:pt>
          <cx:pt idx="442">0</cx:pt>
          <cx:pt idx="443">0</cx:pt>
          <cx:pt idx="444">0</cx:pt>
          <cx:pt idx="445">0</cx:pt>
          <cx:pt idx="446">0</cx:pt>
          <cx:pt idx="447">1</cx:pt>
          <cx:pt idx="448">1</cx:pt>
          <cx:pt idx="449">0</cx:pt>
          <cx:pt idx="450">1</cx:pt>
          <cx:pt idx="451">1</cx:pt>
          <cx:pt idx="452">1</cx:pt>
          <cx:pt idx="453">0</cx:pt>
          <cx:pt idx="454">1</cx:pt>
          <cx:pt idx="455">1</cx:pt>
          <cx:pt idx="456">0</cx:pt>
          <cx:pt idx="457">0</cx:pt>
          <cx:pt idx="458">1</cx:pt>
          <cx:pt idx="459">0</cx:pt>
          <cx:pt idx="460">1</cx:pt>
          <cx:pt idx="461">0</cx:pt>
          <cx:pt idx="462">0</cx:pt>
          <cx:pt idx="463">1</cx:pt>
          <cx:pt idx="464">0</cx:pt>
          <cx:pt idx="465">1</cx:pt>
          <cx:pt idx="466">0</cx:pt>
          <cx:pt idx="467">1</cx:pt>
          <cx:pt idx="468">1</cx:pt>
          <cx:pt idx="469">0</cx:pt>
          <cx:pt idx="470">0</cx:pt>
          <cx:pt idx="471">1</cx:pt>
          <cx:pt idx="472">0</cx:pt>
          <cx:pt idx="473">1</cx:pt>
          <cx:pt idx="474">0</cx:pt>
          <cx:pt idx="475">1</cx:pt>
          <cx:pt idx="476">1</cx:pt>
          <cx:pt idx="477">1</cx:pt>
          <cx:pt idx="478">1</cx:pt>
          <cx:pt idx="479">1</cx:pt>
          <cx:pt idx="480">0</cx:pt>
          <cx:pt idx="481">1</cx:pt>
          <cx:pt idx="482">1</cx:pt>
          <cx:pt idx="483">1</cx:pt>
          <cx:pt idx="484">0</cx:pt>
          <cx:pt idx="485">0</cx:pt>
          <cx:pt idx="486">0</cx:pt>
          <cx:pt idx="487">1</cx:pt>
          <cx:pt idx="488">0</cx:pt>
          <cx:pt idx="489">0</cx:pt>
          <cx:pt idx="490">0</cx:pt>
          <cx:pt idx="491">1</cx:pt>
          <cx:pt idx="492">1</cx:pt>
          <cx:pt idx="493">0</cx:pt>
          <cx:pt idx="494">1</cx:pt>
          <cx:pt idx="495">0</cx:pt>
          <cx:pt idx="496">0</cx:pt>
          <cx:pt idx="497">0</cx:pt>
          <cx:pt idx="498">0</cx:pt>
          <cx:pt idx="499">0</cx:pt>
          <cx:pt idx="500">1</cx:pt>
          <cx:pt idx="501">1</cx:pt>
          <cx:pt idx="502">0</cx:pt>
          <cx:pt idx="503">0</cx:pt>
          <cx:pt idx="504">0</cx:pt>
          <cx:pt idx="505">0</cx:pt>
          <cx:pt idx="506">0</cx:pt>
          <cx:pt idx="507">0</cx:pt>
          <cx:pt idx="508">0</cx:pt>
          <cx:pt idx="509">0</cx:pt>
          <cx:pt idx="510">1</cx:pt>
          <cx:pt idx="511">1</cx:pt>
          <cx:pt idx="512">0</cx:pt>
          <cx:pt idx="513">0</cx:pt>
          <cx:pt idx="514">1</cx:pt>
          <cx:pt idx="515">1</cx:pt>
          <cx:pt idx="516">0</cx:pt>
          <cx:pt idx="517">1</cx:pt>
          <cx:pt idx="518">0</cx:pt>
          <cx:pt idx="519">0</cx:pt>
          <cx:pt idx="520">0</cx:pt>
          <cx:pt idx="521">0</cx:pt>
          <cx:pt idx="522">1</cx:pt>
          <cx:pt idx="523">0</cx:pt>
          <cx:pt idx="524">1</cx:pt>
          <cx:pt idx="525">1</cx:pt>
          <cx:pt idx="526">0</cx:pt>
          <cx:pt idx="527">0</cx:pt>
          <cx:pt idx="528">0</cx:pt>
          <cx:pt idx="529">0</cx:pt>
          <cx:pt idx="530">1</cx:pt>
          <cx:pt idx="531">1</cx:pt>
          <cx:pt idx="532">0</cx:pt>
          <cx:pt idx="533">0</cx:pt>
          <cx:pt idx="534">1</cx:pt>
          <cx:pt idx="535">1</cx:pt>
          <cx:pt idx="536">0</cx:pt>
          <cx:pt idx="537">1</cx:pt>
          <cx:pt idx="538">0</cx:pt>
          <cx:pt idx="539">1</cx:pt>
          <cx:pt idx="540">1</cx:pt>
          <cx:pt idx="541">1</cx:pt>
          <cx:pt idx="542">1</cx:pt>
          <cx:pt idx="543">1</cx:pt>
          <cx:pt idx="544">1</cx:pt>
          <cx:pt idx="545">0</cx:pt>
          <cx:pt idx="546">1</cx:pt>
          <cx:pt idx="547">1</cx:pt>
          <cx:pt idx="548">1</cx:pt>
          <cx:pt idx="549">0</cx:pt>
          <cx:pt idx="550">1</cx:pt>
          <cx:pt idx="551">0</cx:pt>
          <cx:pt idx="552">0</cx:pt>
          <cx:pt idx="553">0</cx:pt>
          <cx:pt idx="554">0</cx:pt>
          <cx:pt idx="555">0</cx:pt>
          <cx:pt idx="556">1</cx:pt>
          <cx:pt idx="557">1</cx:pt>
          <cx:pt idx="558">0</cx:pt>
          <cx:pt idx="559">0</cx:pt>
          <cx:pt idx="560">1</cx:pt>
          <cx:pt idx="561">0</cx:pt>
          <cx:pt idx="562">0</cx:pt>
          <cx:pt idx="563">1</cx:pt>
          <cx:pt idx="564">1</cx:pt>
          <cx:pt idx="565">1</cx:pt>
          <cx:pt idx="566">1</cx:pt>
          <cx:pt idx="567">1</cx:pt>
          <cx:pt idx="568">1</cx:pt>
          <cx:pt idx="569">1</cx:pt>
          <cx:pt idx="570">0</cx:pt>
          <cx:pt idx="571">0</cx:pt>
          <cx:pt idx="572">0</cx:pt>
          <cx:pt idx="573">0</cx:pt>
          <cx:pt idx="574">0</cx:pt>
          <cx:pt idx="575">1</cx:pt>
          <cx:pt idx="576">0</cx:pt>
          <cx:pt idx="577">1</cx:pt>
          <cx:pt idx="578">0</cx:pt>
          <cx:pt idx="579">0</cx:pt>
          <cx:pt idx="580">1</cx:pt>
          <cx:pt idx="581">1</cx:pt>
          <cx:pt idx="582">1</cx:pt>
          <cx:pt idx="583">1</cx:pt>
          <cx:pt idx="584">0</cx:pt>
          <cx:pt idx="585">0</cx:pt>
          <cx:pt idx="586">0</cx:pt>
          <cx:pt idx="587">0</cx:pt>
          <cx:pt idx="588">1</cx:pt>
          <cx:pt idx="589">1</cx:pt>
          <cx:pt idx="590">1</cx:pt>
          <cx:pt idx="591">0</cx:pt>
          <cx:pt idx="592">0</cx:pt>
          <cx:pt idx="593">1</cx:pt>
          <cx:pt idx="594">1</cx:pt>
          <cx:pt idx="595">0</cx:pt>
          <cx:pt idx="596">0</cx:pt>
          <cx:pt idx="597">0</cx:pt>
          <cx:pt idx="598">0</cx:pt>
          <cx:pt idx="599">0</cx:pt>
          <cx:pt idx="600">1</cx:pt>
          <cx:pt idx="601">0</cx:pt>
          <cx:pt idx="602">0</cx:pt>
          <cx:pt idx="603">0</cx:pt>
          <cx:pt idx="604">0</cx:pt>
          <cx:pt idx="605">1</cx:pt>
          <cx:pt idx="606">0</cx:pt>
          <cx:pt idx="607">1</cx:pt>
          <cx:pt idx="608">1</cx:pt>
          <cx:pt idx="609">1</cx:pt>
          <cx:pt idx="610">1</cx:pt>
          <cx:pt idx="611">0</cx:pt>
          <cx:pt idx="612">0</cx:pt>
          <cx:pt idx="613">1</cx:pt>
          <cx:pt idx="614">0</cx:pt>
          <cx:pt idx="615">1</cx:pt>
          <cx:pt idx="616">1</cx:pt>
          <cx:pt idx="617">0</cx:pt>
          <cx:pt idx="618">0</cx:pt>
          <cx:pt idx="619">1</cx:pt>
          <cx:pt idx="620">1</cx:pt>
          <cx:pt idx="621">0</cx:pt>
          <cx:pt idx="622">0</cx:pt>
          <cx:pt idx="623">1</cx:pt>
          <cx:pt idx="624">0</cx:pt>
          <cx:pt idx="625">1</cx:pt>
          <cx:pt idx="626">1</cx:pt>
          <cx:pt idx="627">1</cx:pt>
          <cx:pt idx="628">1</cx:pt>
          <cx:pt idx="629">1</cx:pt>
          <cx:pt idx="630">1</cx:pt>
          <cx:pt idx="631">1</cx:pt>
          <cx:pt idx="632">1</cx:pt>
          <cx:pt idx="633">0</cx:pt>
          <cx:pt idx="634">0</cx:pt>
          <cx:pt idx="635">0</cx:pt>
          <cx:pt idx="636">1</cx:pt>
          <cx:pt idx="637">1</cx:pt>
          <cx:pt idx="638">0</cx:pt>
          <cx:pt idx="639">0</cx:pt>
          <cx:pt idx="640">0</cx:pt>
          <cx:pt idx="641">1</cx:pt>
          <cx:pt idx="642">1</cx:pt>
          <cx:pt idx="643">1</cx:pt>
          <cx:pt idx="644">0</cx:pt>
          <cx:pt idx="645">0</cx:pt>
          <cx:pt idx="646">0</cx:pt>
          <cx:pt idx="647">0</cx:pt>
          <cx:pt idx="648">0</cx:pt>
          <cx:pt idx="649">0</cx:pt>
          <cx:pt idx="650">1</cx:pt>
          <cx:pt idx="651">1</cx:pt>
          <cx:pt idx="652">1</cx:pt>
          <cx:pt idx="653">1</cx:pt>
          <cx:pt idx="654">0</cx:pt>
          <cx:pt idx="655">1</cx:pt>
          <cx:pt idx="656">1</cx:pt>
          <cx:pt idx="657">0</cx:pt>
          <cx:pt idx="658">1</cx:pt>
          <cx:pt idx="659">1</cx:pt>
          <cx:pt idx="660">0</cx:pt>
          <cx:pt idx="661">0</cx:pt>
          <cx:pt idx="662">0</cx:pt>
          <cx:pt idx="663">0</cx:pt>
          <cx:pt idx="664">1</cx:pt>
          <cx:pt idx="665">1</cx:pt>
          <cx:pt idx="666">1</cx:pt>
          <cx:pt idx="667">0</cx:pt>
          <cx:pt idx="668">1</cx:pt>
          <cx:pt idx="669">0</cx:pt>
          <cx:pt idx="670">0</cx:pt>
          <cx:pt idx="671">0</cx:pt>
          <cx:pt idx="672">1</cx:pt>
          <cx:pt idx="673">0</cx:pt>
          <cx:pt idx="674">0</cx:pt>
          <cx:pt idx="675">1</cx:pt>
          <cx:pt idx="676">0</cx:pt>
          <cx:pt idx="677">1</cx:pt>
          <cx:pt idx="678">0</cx:pt>
          <cx:pt idx="679">0</cx:pt>
          <cx:pt idx="680">1</cx:pt>
          <cx:pt idx="681">1</cx:pt>
          <cx:pt idx="682">1</cx:pt>
          <cx:pt idx="683">1</cx:pt>
          <cx:pt idx="684">0</cx:pt>
          <cx:pt idx="685">0</cx:pt>
          <cx:pt idx="686">1</cx:pt>
          <cx:pt idx="687">0</cx:pt>
          <cx:pt idx="688">1</cx:pt>
          <cx:pt idx="689">0</cx:pt>
          <cx:pt idx="690">1</cx:pt>
          <cx:pt idx="691">0</cx:pt>
          <cx:pt idx="692">1</cx:pt>
          <cx:pt idx="693">0</cx:pt>
          <cx:pt idx="694">0</cx:pt>
          <cx:pt idx="695">0</cx:pt>
          <cx:pt idx="696">1</cx:pt>
          <cx:pt idx="697">0</cx:pt>
          <cx:pt idx="698">0</cx:pt>
          <cx:pt idx="699">1</cx:pt>
          <cx:pt idx="700">0</cx:pt>
          <cx:pt idx="701">0</cx:pt>
          <cx:pt idx="702">0</cx:pt>
          <cx:pt idx="703">0</cx:pt>
          <cx:pt idx="704">0</cx:pt>
          <cx:pt idx="705">1</cx:pt>
          <cx:pt idx="706">0</cx:pt>
          <cx:pt idx="707">1</cx:pt>
          <cx:pt idx="708">1</cx:pt>
          <cx:pt idx="709">1</cx:pt>
          <cx:pt idx="710">0</cx:pt>
          <cx:pt idx="711">0</cx:pt>
          <cx:pt idx="712">0</cx:pt>
          <cx:pt idx="713">1</cx:pt>
          <cx:pt idx="714">0</cx:pt>
          <cx:pt idx="715">1</cx:pt>
          <cx:pt idx="716">0</cx:pt>
          <cx:pt idx="717">1</cx:pt>
          <cx:pt idx="718">0</cx:pt>
          <cx:pt idx="719">0</cx:pt>
          <cx:pt idx="720">1</cx:pt>
          <cx:pt idx="721">0</cx:pt>
          <cx:pt idx="722">1</cx:pt>
          <cx:pt idx="723">0</cx:pt>
          <cx:pt idx="724">0</cx:pt>
          <cx:pt idx="725">0</cx:pt>
          <cx:pt idx="726">0</cx:pt>
          <cx:pt idx="727">0</cx:pt>
          <cx:pt idx="728">1</cx:pt>
          <cx:pt idx="729">0</cx:pt>
          <cx:pt idx="730">0</cx:pt>
          <cx:pt idx="731">1</cx:pt>
          <cx:pt idx="732">0</cx:pt>
          <cx:pt idx="733">0</cx:pt>
          <cx:pt idx="734">0</cx:pt>
          <cx:pt idx="735">0</cx:pt>
          <cx:pt idx="736">1</cx:pt>
          <cx:pt idx="737">0</cx:pt>
          <cx:pt idx="738">1</cx:pt>
          <cx:pt idx="739">0</cx:pt>
          <cx:pt idx="740">0</cx:pt>
          <cx:pt idx="741">1</cx:pt>
          <cx:pt idx="742">0</cx:pt>
          <cx:pt idx="743">1</cx:pt>
          <cx:pt idx="744">0</cx:pt>
          <cx:pt idx="745">0</cx:pt>
          <cx:pt idx="746">0</cx:pt>
          <cx:pt idx="747">1</cx:pt>
          <cx:pt idx="748">1</cx:pt>
          <cx:pt idx="749">1</cx:pt>
          <cx:pt idx="750">0</cx:pt>
          <cx:pt idx="751">1</cx:pt>
          <cx:pt idx="752">1</cx:pt>
          <cx:pt idx="753">0</cx:pt>
          <cx:pt idx="754">0</cx:pt>
          <cx:pt idx="755">1</cx:pt>
          <cx:pt idx="756">1</cx:pt>
          <cx:pt idx="757">0</cx:pt>
          <cx:pt idx="758">0</cx:pt>
          <cx:pt idx="759">1</cx:pt>
          <cx:pt idx="760">1</cx:pt>
          <cx:pt idx="761">0</cx:pt>
          <cx:pt idx="762">0</cx:pt>
          <cx:pt idx="763">1</cx:pt>
          <cx:pt idx="764">0</cx:pt>
          <cx:pt idx="765">0</cx:pt>
          <cx:pt idx="766">0</cx:pt>
          <cx:pt idx="767">1</cx:pt>
          <cx:pt idx="768">0</cx:pt>
          <cx:pt idx="769">0</cx:pt>
          <cx:pt idx="770">0</cx:pt>
          <cx:pt idx="771">1</cx:pt>
          <cx:pt idx="772">0</cx:pt>
          <cx:pt idx="773">1</cx:pt>
          <cx:pt idx="774">0</cx:pt>
          <cx:pt idx="775">1</cx:pt>
          <cx:pt idx="776">1</cx:pt>
          <cx:pt idx="777">1</cx:pt>
          <cx:pt idx="778">0</cx:pt>
          <cx:pt idx="779">0</cx:pt>
          <cx:pt idx="780">0</cx:pt>
          <cx:pt idx="781">1</cx:pt>
          <cx:pt idx="782">1</cx:pt>
          <cx:pt idx="783">0</cx:pt>
          <cx:pt idx="784">1</cx:pt>
          <cx:pt idx="785">0</cx:pt>
          <cx:pt idx="786">0</cx:pt>
          <cx:pt idx="787">0</cx:pt>
          <cx:pt idx="788">0</cx:pt>
          <cx:pt idx="789">0</cx:pt>
          <cx:pt idx="790">1</cx:pt>
          <cx:pt idx="791">0</cx:pt>
          <cx:pt idx="792">0</cx:pt>
          <cx:pt idx="793">0</cx:pt>
          <cx:pt idx="794">0</cx:pt>
          <cx:pt idx="795">1</cx:pt>
          <cx:pt idx="796">1</cx:pt>
          <cx:pt idx="797">0</cx:pt>
          <cx:pt idx="798">0</cx:pt>
          <cx:pt idx="799">1</cx:pt>
          <cx:pt idx="800">0</cx:pt>
          <cx:pt idx="801">1</cx:pt>
          <cx:pt idx="802">1</cx:pt>
          <cx:pt idx="803">0</cx:pt>
          <cx:pt idx="804">0</cx:pt>
          <cx:pt idx="805">1</cx:pt>
          <cx:pt idx="806">0</cx:pt>
          <cx:pt idx="807">1</cx:pt>
          <cx:pt idx="808">1</cx:pt>
          <cx:pt idx="809">1</cx:pt>
          <cx:pt idx="810">1</cx:pt>
          <cx:pt idx="811">1</cx:pt>
          <cx:pt idx="812">0</cx:pt>
          <cx:pt idx="813">1</cx:pt>
          <cx:pt idx="814">1</cx:pt>
          <cx:pt idx="815">0</cx:pt>
          <cx:pt idx="816">1</cx:pt>
          <cx:pt idx="817">1</cx:pt>
          <cx:pt idx="818">0</cx:pt>
          <cx:pt idx="819">0</cx:pt>
          <cx:pt idx="820">0</cx:pt>
          <cx:pt idx="821">0</cx:pt>
          <cx:pt idx="822">0</cx:pt>
          <cx:pt idx="823">1</cx:pt>
          <cx:pt idx="824">0</cx:pt>
          <cx:pt idx="825">1</cx:pt>
          <cx:pt idx="826">0</cx:pt>
          <cx:pt idx="827">1</cx:pt>
          <cx:pt idx="828">0</cx:pt>
          <cx:pt idx="829">0</cx:pt>
          <cx:pt idx="830">1</cx:pt>
          <cx:pt idx="831">1</cx:pt>
          <cx:pt idx="832">0</cx:pt>
          <cx:pt idx="833">1</cx:pt>
          <cx:pt idx="834">0</cx:pt>
          <cx:pt idx="835">1</cx:pt>
          <cx:pt idx="836">1</cx:pt>
          <cx:pt idx="837">0</cx:pt>
          <cx:pt idx="838">0</cx:pt>
          <cx:pt idx="839">1</cx:pt>
          <cx:pt idx="840">0</cx:pt>
          <cx:pt idx="841">1</cx:pt>
          <cx:pt idx="842">1</cx:pt>
          <cx:pt idx="843">1</cx:pt>
          <cx:pt idx="844">0</cx:pt>
          <cx:pt idx="845">0</cx:pt>
          <cx:pt idx="846">0</cx:pt>
          <cx:pt idx="847">0</cx:pt>
          <cx:pt idx="848">0</cx:pt>
          <cx:pt idx="849">1</cx:pt>
          <cx:pt idx="850">0</cx:pt>
          <cx:pt idx="851">0</cx:pt>
          <cx:pt idx="852">0</cx:pt>
          <cx:pt idx="853">1</cx:pt>
          <cx:pt idx="854">1</cx:pt>
          <cx:pt idx="855">1</cx:pt>
          <cx:pt idx="856">0</cx:pt>
          <cx:pt idx="857">1</cx:pt>
          <cx:pt idx="858">0</cx:pt>
          <cx:pt idx="859">0</cx:pt>
          <cx:pt idx="860">1</cx:pt>
          <cx:pt idx="861">1</cx:pt>
          <cx:pt idx="862">0</cx:pt>
          <cx:pt idx="863">0</cx:pt>
          <cx:pt idx="864">0</cx:pt>
          <cx:pt idx="865">0</cx:pt>
          <cx:pt idx="866">0</cx:pt>
          <cx:pt idx="867">0</cx:pt>
          <cx:pt idx="868">0</cx:pt>
          <cx:pt idx="869">1</cx:pt>
          <cx:pt idx="870">0</cx:pt>
          <cx:pt idx="871">0</cx:pt>
          <cx:pt idx="872">0</cx:pt>
          <cx:pt idx="873">1</cx:pt>
          <cx:pt idx="874">0</cx:pt>
          <cx:pt idx="875">1</cx:pt>
          <cx:pt idx="876">1</cx:pt>
          <cx:pt idx="877">1</cx:pt>
          <cx:pt idx="878">0</cx:pt>
          <cx:pt idx="879">1</cx:pt>
          <cx:pt idx="880">0</cx:pt>
          <cx:pt idx="881">0</cx:pt>
          <cx:pt idx="882">0</cx:pt>
          <cx:pt idx="883">0</cx:pt>
          <cx:pt idx="884">0</cx:pt>
          <cx:pt idx="885">0</cx:pt>
          <cx:pt idx="886">0</cx:pt>
          <cx:pt idx="887">0</cx:pt>
          <cx:pt idx="888">0</cx:pt>
          <cx:pt idx="889">1</cx:pt>
          <cx:pt idx="890">1</cx:pt>
          <cx:pt idx="891">0</cx:pt>
          <cx:pt idx="892">1</cx:pt>
          <cx:pt idx="893">1</cx:pt>
          <cx:pt idx="894">1</cx:pt>
          <cx:pt idx="895">0</cx:pt>
          <cx:pt idx="896">0</cx:pt>
          <cx:pt idx="897">1</cx:pt>
          <cx:pt idx="898">0</cx:pt>
          <cx:pt idx="899">0</cx:pt>
          <cx:pt idx="900">1</cx:pt>
          <cx:pt idx="901">0</cx:pt>
          <cx:pt idx="902">0</cx:pt>
          <cx:pt idx="903">0</cx:pt>
          <cx:pt idx="904">0</cx:pt>
          <cx:pt idx="905">0</cx:pt>
          <cx:pt idx="906">0</cx:pt>
          <cx:pt idx="907">1</cx:pt>
          <cx:pt idx="908">0</cx:pt>
          <cx:pt idx="909">0</cx:pt>
          <cx:pt idx="910">1</cx:pt>
          <cx:pt idx="911">1</cx:pt>
          <cx:pt idx="912">1</cx:pt>
          <cx:pt idx="913">1</cx:pt>
          <cx:pt idx="914">0</cx:pt>
          <cx:pt idx="915">1</cx:pt>
          <cx:pt idx="916">0</cx:pt>
          <cx:pt idx="917">0</cx:pt>
          <cx:pt idx="918">0</cx:pt>
          <cx:pt idx="919">0</cx:pt>
          <cx:pt idx="920">0</cx:pt>
          <cx:pt idx="921">0</cx:pt>
          <cx:pt idx="922">0</cx:pt>
          <cx:pt idx="923">1</cx:pt>
          <cx:pt idx="924">1</cx:pt>
          <cx:pt idx="925">1</cx:pt>
          <cx:pt idx="926">0</cx:pt>
          <cx:pt idx="927">1</cx:pt>
          <cx:pt idx="928">1</cx:pt>
          <cx:pt idx="929">0</cx:pt>
          <cx:pt idx="930">1</cx:pt>
          <cx:pt idx="931">0</cx:pt>
          <cx:pt idx="932">0</cx:pt>
          <cx:pt idx="933">1</cx:pt>
          <cx:pt idx="934">0</cx:pt>
          <cx:pt idx="935">1</cx:pt>
          <cx:pt idx="936">0</cx:pt>
          <cx:pt idx="937">0</cx:pt>
          <cx:pt idx="938">0</cx:pt>
          <cx:pt idx="939">1</cx:pt>
          <cx:pt idx="940">0</cx:pt>
          <cx:pt idx="941">0</cx:pt>
          <cx:pt idx="942">0</cx:pt>
          <cx:pt idx="943">1</cx:pt>
          <cx:pt idx="944">0</cx:pt>
          <cx:pt idx="945">0</cx:pt>
          <cx:pt idx="946">0</cx:pt>
          <cx:pt idx="947">0</cx:pt>
          <cx:pt idx="948">0</cx:pt>
          <cx:pt idx="949">0</cx:pt>
          <cx:pt idx="950">0</cx:pt>
          <cx:pt idx="951">0</cx:pt>
          <cx:pt idx="952">0</cx:pt>
          <cx:pt idx="953">1</cx:pt>
          <cx:pt idx="954">1</cx:pt>
          <cx:pt idx="955">0</cx:pt>
          <cx:pt idx="956">1</cx:pt>
          <cx:pt idx="957">0</cx:pt>
          <cx:pt idx="958">1</cx:pt>
          <cx:pt idx="959">0</cx:pt>
          <cx:pt idx="960">0</cx:pt>
          <cx:pt idx="961">0</cx:pt>
          <cx:pt idx="962">0</cx:pt>
          <cx:pt idx="963">0</cx:pt>
          <cx:pt idx="964">1</cx:pt>
          <cx:pt idx="965">0</cx:pt>
          <cx:pt idx="966">0</cx:pt>
          <cx:pt idx="967">0</cx:pt>
          <cx:pt idx="968">0</cx:pt>
          <cx:pt idx="969">0</cx:pt>
          <cx:pt idx="970">1</cx:pt>
          <cx:pt idx="971">1</cx:pt>
          <cx:pt idx="972">0</cx:pt>
          <cx:pt idx="973">1</cx:pt>
          <cx:pt idx="974">0</cx:pt>
          <cx:pt idx="975">1</cx:pt>
          <cx:pt idx="976">1</cx:pt>
          <cx:pt idx="977">1</cx:pt>
          <cx:pt idx="978">1</cx:pt>
          <cx:pt idx="979">1</cx:pt>
          <cx:pt idx="980">0</cx:pt>
          <cx:pt idx="981">1</cx:pt>
          <cx:pt idx="982">0</cx:pt>
          <cx:pt idx="983">1</cx:pt>
          <cx:pt idx="984">1</cx:pt>
          <cx:pt idx="985">0</cx:pt>
          <cx:pt idx="986">0</cx:pt>
          <cx:pt idx="987">0</cx:pt>
          <cx:pt idx="988">0</cx:pt>
          <cx:pt idx="989">1</cx:pt>
          <cx:pt idx="990">1</cx:pt>
          <cx:pt idx="991">1</cx:pt>
          <cx:pt idx="992">0</cx:pt>
          <cx:pt idx="993">1</cx:pt>
          <cx:pt idx="994">1</cx:pt>
          <cx:pt idx="995">1</cx:pt>
          <cx:pt idx="996">0</cx:pt>
          <cx:pt idx="997">0</cx:pt>
          <cx:pt idx="998">1</cx:pt>
          <cx:pt idx="999">1</cx:pt>
          <cx:pt idx="1000">0</cx:pt>
          <cx:pt idx="1001">0</cx:pt>
          <cx:pt idx="1002">1</cx:pt>
          <cx:pt idx="1003">0</cx:pt>
          <cx:pt idx="1004">1</cx:pt>
          <cx:pt idx="1005">1</cx:pt>
          <cx:pt idx="1006">0</cx:pt>
          <cx:pt idx="1007">0</cx:pt>
          <cx:pt idx="1008">1</cx:pt>
          <cx:pt idx="1009">0</cx:pt>
          <cx:pt idx="1010">0</cx:pt>
          <cx:pt idx="1011">1</cx:pt>
          <cx:pt idx="1012">0</cx:pt>
          <cx:pt idx="1013">0</cx:pt>
          <cx:pt idx="1014">0</cx:pt>
          <cx:pt idx="1015">0</cx:pt>
          <cx:pt idx="1016">1</cx:pt>
          <cx:pt idx="1017">0</cx:pt>
          <cx:pt idx="1018">0</cx:pt>
          <cx:pt idx="1019">1</cx:pt>
          <cx:pt idx="1020">1</cx:pt>
          <cx:pt idx="1021">1</cx:pt>
          <cx:pt idx="1022">1</cx:pt>
          <cx:pt idx="1023">1</cx:pt>
          <cx:pt idx="1024">1</cx:pt>
          <cx:pt idx="1025">1</cx:pt>
          <cx:pt idx="1026">0</cx:pt>
          <cx:pt idx="1027">1</cx:pt>
          <cx:pt idx="1028">1</cx:pt>
          <cx:pt idx="1029">0</cx:pt>
          <cx:pt idx="1030">1</cx:pt>
          <cx:pt idx="1031">0</cx:pt>
          <cx:pt idx="1032">0</cx:pt>
          <cx:pt idx="1033">0</cx:pt>
          <cx:pt idx="1034">1</cx:pt>
          <cx:pt idx="1035">0</cx:pt>
          <cx:pt idx="1036">0</cx:pt>
          <cx:pt idx="1037">0</cx:pt>
          <cx:pt idx="1038">0</cx:pt>
          <cx:pt idx="1039">0</cx:pt>
          <cx:pt idx="1040">0</cx:pt>
          <cx:pt idx="1041">0</cx:pt>
          <cx:pt idx="1042">0</cx:pt>
          <cx:pt idx="1043">0</cx:pt>
          <cx:pt idx="1044">0</cx:pt>
          <cx:pt idx="1045">0</cx:pt>
          <cx:pt idx="1046">1</cx:pt>
          <cx:pt idx="1047">1</cx:pt>
          <cx:pt idx="1048">0</cx:pt>
          <cx:pt idx="1049">0</cx:pt>
          <cx:pt idx="1050">1</cx:pt>
          <cx:pt idx="1051">0</cx:pt>
          <cx:pt idx="1052">1</cx:pt>
          <cx:pt idx="1053">1</cx:pt>
          <cx:pt idx="1054">0</cx:pt>
          <cx:pt idx="1055">0</cx:pt>
          <cx:pt idx="1056">0</cx:pt>
          <cx:pt idx="1057">0</cx:pt>
          <cx:pt idx="1058">0</cx:pt>
          <cx:pt idx="1059">1</cx:pt>
          <cx:pt idx="1060">0</cx:pt>
          <cx:pt idx="1061">1</cx:pt>
          <cx:pt idx="1062">1</cx:pt>
          <cx:pt idx="1063">0</cx:pt>
          <cx:pt idx="1064">0</cx:pt>
          <cx:pt idx="1065">0</cx:pt>
          <cx:pt idx="1066">1</cx:pt>
          <cx:pt idx="1067">1</cx:pt>
          <cx:pt idx="1068">1</cx:pt>
          <cx:pt idx="1069">1</cx:pt>
          <cx:pt idx="1070">0</cx:pt>
          <cx:pt idx="1071">1</cx:pt>
          <cx:pt idx="1072">1</cx:pt>
          <cx:pt idx="1073">0</cx:pt>
          <cx:pt idx="1074">0</cx:pt>
          <cx:pt idx="1075">0</cx:pt>
          <cx:pt idx="1076">0</cx:pt>
          <cx:pt idx="1077">0</cx:pt>
          <cx:pt idx="1078">0</cx:pt>
          <cx:pt idx="1079">1</cx:pt>
          <cx:pt idx="1080">0</cx:pt>
          <cx:pt idx="1081">0</cx:pt>
          <cx:pt idx="1082">1</cx:pt>
          <cx:pt idx="1083">1</cx:pt>
          <cx:pt idx="1084">0</cx:pt>
          <cx:pt idx="1085">0</cx:pt>
          <cx:pt idx="1086">0</cx:pt>
          <cx:pt idx="1087">1</cx:pt>
          <cx:pt idx="1088">0</cx:pt>
          <cx:pt idx="1089">1</cx:pt>
          <cx:pt idx="1090">1</cx:pt>
          <cx:pt idx="1091">0</cx:pt>
          <cx:pt idx="1092">1</cx:pt>
          <cx:pt idx="1093">1</cx:pt>
          <cx:pt idx="1094">1</cx:pt>
          <cx:pt idx="1095">0</cx:pt>
          <cx:pt idx="1096">0</cx:pt>
          <cx:pt idx="1097">1</cx:pt>
          <cx:pt idx="1098">1</cx:pt>
          <cx:pt idx="1099">1</cx:pt>
          <cx:pt idx="1100">0</cx:pt>
          <cx:pt idx="1101">1</cx:pt>
          <cx:pt idx="1102">0</cx:pt>
          <cx:pt idx="1103">1</cx:pt>
          <cx:pt idx="1104">0</cx:pt>
          <cx:pt idx="1105">0</cx:pt>
          <cx:pt idx="1106">0</cx:pt>
          <cx:pt idx="1107">1</cx:pt>
          <cx:pt idx="1108">0</cx:pt>
          <cx:pt idx="1109">0</cx:pt>
          <cx:pt idx="1110">1</cx:pt>
          <cx:pt idx="1111">0</cx:pt>
          <cx:pt idx="1112">1</cx:pt>
          <cx:pt idx="1113">1</cx:pt>
          <cx:pt idx="1114">0</cx:pt>
          <cx:pt idx="1115">0</cx:pt>
          <cx:pt idx="1116">0</cx:pt>
          <cx:pt idx="1117">0</cx:pt>
          <cx:pt idx="1118">1</cx:pt>
          <cx:pt idx="1119">1</cx:pt>
          <cx:pt idx="1120">0</cx:pt>
          <cx:pt idx="1121">1</cx:pt>
          <cx:pt idx="1122">0</cx:pt>
          <cx:pt idx="1123">1</cx:pt>
          <cx:pt idx="1124">0</cx:pt>
          <cx:pt idx="1125">1</cx:pt>
          <cx:pt idx="1126">0</cx:pt>
          <cx:pt idx="1127">0</cx:pt>
          <cx:pt idx="1128">1</cx:pt>
          <cx:pt idx="1129">0</cx:pt>
          <cx:pt idx="1130">1</cx:pt>
          <cx:pt idx="1131">1</cx:pt>
          <cx:pt idx="1132">1</cx:pt>
          <cx:pt idx="1133">0</cx:pt>
          <cx:pt idx="1134">1</cx:pt>
          <cx:pt idx="1135">0</cx:pt>
          <cx:pt idx="1136">0</cx:pt>
          <cx:pt idx="1137">0</cx:pt>
          <cx:pt idx="1138">0</cx:pt>
          <cx:pt idx="1139">1</cx:pt>
          <cx:pt idx="1140">0</cx:pt>
          <cx:pt idx="1141">0</cx:pt>
          <cx:pt idx="1142">1</cx:pt>
          <cx:pt idx="1143">1</cx:pt>
          <cx:pt idx="1144">0</cx:pt>
          <cx:pt idx="1145">1</cx:pt>
          <cx:pt idx="1146">0</cx:pt>
          <cx:pt idx="1147">1</cx:pt>
          <cx:pt idx="1148">1</cx:pt>
          <cx:pt idx="1149">1</cx:pt>
          <cx:pt idx="1150">1</cx:pt>
          <cx:pt idx="1151">0</cx:pt>
          <cx:pt idx="1152">1</cx:pt>
          <cx:pt idx="1153">0</cx:pt>
          <cx:pt idx="1154">1</cx:pt>
          <cx:pt idx="1155">0</cx:pt>
          <cx:pt idx="1156">0</cx:pt>
          <cx:pt idx="1157">0</cx:pt>
          <cx:pt idx="1158">0</cx:pt>
          <cx:pt idx="1159">0</cx:pt>
          <cx:pt idx="1160">1</cx:pt>
          <cx:pt idx="1161">0</cx:pt>
          <cx:pt idx="1162">1</cx:pt>
          <cx:pt idx="1163">1</cx:pt>
          <cx:pt idx="1164">1</cx:pt>
          <cx:pt idx="1165">1</cx:pt>
          <cx:pt idx="1166">0</cx:pt>
          <cx:pt idx="1167">1</cx:pt>
          <cx:pt idx="1168">0</cx:pt>
          <cx:pt idx="1169">1</cx:pt>
          <cx:pt idx="1170">0</cx:pt>
          <cx:pt idx="1171">0</cx:pt>
          <cx:pt idx="1172">0</cx:pt>
          <cx:pt idx="1173">1</cx:pt>
          <cx:pt idx="1174">0</cx:pt>
          <cx:pt idx="1175">0</cx:pt>
          <cx:pt idx="1176">1</cx:pt>
          <cx:pt idx="1177">0</cx:pt>
          <cx:pt idx="1178">0</cx:pt>
          <cx:pt idx="1179">1</cx:pt>
          <cx:pt idx="1180">0</cx:pt>
          <cx:pt idx="1181">0</cx:pt>
          <cx:pt idx="1182">1</cx:pt>
          <cx:pt idx="1183">0</cx:pt>
          <cx:pt idx="1184">0</cx:pt>
          <cx:pt idx="1185">1</cx:pt>
          <cx:pt idx="1186">1</cx:pt>
          <cx:pt idx="1187">0</cx:pt>
          <cx:pt idx="1188">1</cx:pt>
          <cx:pt idx="1189">0</cx:pt>
          <cx:pt idx="1190">1</cx:pt>
          <cx:pt idx="1191">0</cx:pt>
          <cx:pt idx="1192">1</cx:pt>
          <cx:pt idx="1193">1</cx:pt>
          <cx:pt idx="1194">1</cx:pt>
          <cx:pt idx="1195">0</cx:pt>
          <cx:pt idx="1196">1</cx:pt>
          <cx:pt idx="1197">1</cx:pt>
          <cx:pt idx="1198">0</cx:pt>
          <cx:pt idx="1199">1</cx:pt>
          <cx:pt idx="1200">0</cx:pt>
          <cx:pt idx="1201">0</cx:pt>
          <cx:pt idx="1202">0</cx:pt>
          <cx:pt idx="1203">1</cx:pt>
          <cx:pt idx="1204">0</cx:pt>
          <cx:pt idx="1205">0</cx:pt>
          <cx:pt idx="1206">1</cx:pt>
          <cx:pt idx="1207">0</cx:pt>
          <cx:pt idx="1208">1</cx:pt>
          <cx:pt idx="1209">1</cx:pt>
          <cx:pt idx="1210">0</cx:pt>
          <cx:pt idx="1211">1</cx:pt>
          <cx:pt idx="1212">1</cx:pt>
          <cx:pt idx="1213">1</cx:pt>
          <cx:pt idx="1214">0</cx:pt>
          <cx:pt idx="1215">1</cx:pt>
          <cx:pt idx="1216">0</cx:pt>
          <cx:pt idx="1217">0</cx:pt>
          <cx:pt idx="1218">0</cx:pt>
          <cx:pt idx="1219">1</cx:pt>
          <cx:pt idx="1220">1</cx:pt>
          <cx:pt idx="1221">0</cx:pt>
          <cx:pt idx="1222">0</cx:pt>
          <cx:pt idx="1223">1</cx:pt>
          <cx:pt idx="1224">0</cx:pt>
          <cx:pt idx="1225">0</cx:pt>
          <cx:pt idx="1226">0</cx:pt>
          <cx:pt idx="1227">1</cx:pt>
          <cx:pt idx="1228">1</cx:pt>
          <cx:pt idx="1229">0</cx:pt>
          <cx:pt idx="1230">0</cx:pt>
          <cx:pt idx="1231">0</cx:pt>
          <cx:pt idx="1232">0</cx:pt>
          <cx:pt idx="1233">0</cx:pt>
          <cx:pt idx="1234">0</cx:pt>
          <cx:pt idx="1235">0</cx:pt>
          <cx:pt idx="1236">1</cx:pt>
          <cx:pt idx="1237">1</cx:pt>
          <cx:pt idx="1238">1</cx:pt>
          <cx:pt idx="1239">0</cx:pt>
          <cx:pt idx="1240">0</cx:pt>
          <cx:pt idx="1241">0</cx:pt>
          <cx:pt idx="1242">0</cx:pt>
          <cx:pt idx="1243">1</cx:pt>
          <cx:pt idx="1244">1</cx:pt>
          <cx:pt idx="1245">0</cx:pt>
          <cx:pt idx="1246">0</cx:pt>
          <cx:pt idx="1247">0</cx:pt>
          <cx:pt idx="1248">1</cx:pt>
          <cx:pt idx="1249">0</cx:pt>
          <cx:pt idx="1250">0</cx:pt>
          <cx:pt idx="1251">0</cx:pt>
          <cx:pt idx="1252">1</cx:pt>
          <cx:pt idx="1253">0</cx:pt>
          <cx:pt idx="1254">0</cx:pt>
          <cx:pt idx="1255">0</cx:pt>
          <cx:pt idx="1256">0</cx:pt>
          <cx:pt idx="1257">0</cx:pt>
          <cx:pt idx="1258">1</cx:pt>
          <cx:pt idx="1259">0</cx:pt>
          <cx:pt idx="1260">0</cx:pt>
          <cx:pt idx="1261">0</cx:pt>
          <cx:pt idx="1262">0</cx:pt>
          <cx:pt idx="1263">0</cx:pt>
          <cx:pt idx="1264">1</cx:pt>
          <cx:pt idx="1265">0</cx:pt>
          <cx:pt idx="1266">1</cx:pt>
          <cx:pt idx="1267">1</cx:pt>
          <cx:pt idx="1268">1</cx:pt>
          <cx:pt idx="1269">1</cx:pt>
          <cx:pt idx="1270">1</cx:pt>
          <cx:pt idx="1271">0</cx:pt>
          <cx:pt idx="1272">0</cx:pt>
          <cx:pt idx="1273">0</cx:pt>
          <cx:pt idx="1274">1</cx:pt>
          <cx:pt idx="1275">1</cx:pt>
          <cx:pt idx="1276">0</cx:pt>
          <cx:pt idx="1277">0</cx:pt>
          <cx:pt idx="1278">0</cx:pt>
          <cx:pt idx="1279">1</cx:pt>
          <cx:pt idx="1280">0</cx:pt>
          <cx:pt idx="1281">1</cx:pt>
          <cx:pt idx="1282">1</cx:pt>
          <cx:pt idx="1283">0</cx:pt>
          <cx:pt idx="1284">1</cx:pt>
          <cx:pt idx="1285">1</cx:pt>
          <cx:pt idx="1286">0</cx:pt>
          <cx:pt idx="1287">0</cx:pt>
          <cx:pt idx="1288">1</cx:pt>
          <cx:pt idx="1289">0</cx:pt>
          <cx:pt idx="1290">0</cx:pt>
          <cx:pt idx="1291">1</cx:pt>
          <cx:pt idx="1292">0</cx:pt>
          <cx:pt idx="1293">1</cx:pt>
          <cx:pt idx="1294">0</cx:pt>
          <cx:pt idx="1295">1</cx:pt>
          <cx:pt idx="1296">0</cx:pt>
          <cx:pt idx="1297">1</cx:pt>
          <cx:pt idx="1298">0</cx:pt>
          <cx:pt idx="1299">0</cx:pt>
          <cx:pt idx="1300">0</cx:pt>
          <cx:pt idx="1301">0</cx:pt>
          <cx:pt idx="1302">1</cx:pt>
          <cx:pt idx="1303">0</cx:pt>
          <cx:pt idx="1304">0</cx:pt>
          <cx:pt idx="1305">1</cx:pt>
          <cx:pt idx="1306">1</cx:pt>
          <cx:pt idx="1307">0</cx:pt>
          <cx:pt idx="1308">1</cx:pt>
          <cx:pt idx="1309">0</cx:pt>
          <cx:pt idx="1310">0</cx:pt>
          <cx:pt idx="1311">1</cx:pt>
          <cx:pt idx="1312">0</cx:pt>
          <cx:pt idx="1313">0</cx:pt>
          <cx:pt idx="1314">0</cx:pt>
          <cx:pt idx="1315">1</cx:pt>
          <cx:pt idx="1316">0</cx:pt>
          <cx:pt idx="1317">0</cx:pt>
          <cx:pt idx="1318">0</cx:pt>
          <cx:pt idx="1319">0</cx:pt>
          <cx:pt idx="1320">1</cx:pt>
          <cx:pt idx="1321">1</cx:pt>
          <cx:pt idx="1322">0</cx:pt>
          <cx:pt idx="1323">0</cx:pt>
          <cx:pt idx="1324">0</cx:pt>
          <cx:pt idx="1325">0</cx:pt>
          <cx:pt idx="1326">1</cx:pt>
          <cx:pt idx="1327">0</cx:pt>
          <cx:pt idx="1328">0</cx:pt>
          <cx:pt idx="1329">1</cx:pt>
          <cx:pt idx="1330">0</cx:pt>
          <cx:pt idx="1331">0</cx:pt>
          <cx:pt idx="1332">0</cx:pt>
          <cx:pt idx="1333">0</cx:pt>
          <cx:pt idx="1334">0</cx:pt>
          <cx:pt idx="1335">1</cx:pt>
          <cx:pt idx="1336">0</cx:pt>
          <cx:pt idx="1337">1</cx:pt>
          <cx:pt idx="1338">0</cx:pt>
          <cx:pt idx="1339">0</cx:pt>
          <cx:pt idx="1340">0</cx:pt>
          <cx:pt idx="1341">1</cx:pt>
          <cx:pt idx="1342">0</cx:pt>
          <cx:pt idx="1343">0</cx:pt>
          <cx:pt idx="1344">1</cx:pt>
          <cx:pt idx="1345">0</cx:pt>
          <cx:pt idx="1346">0</cx:pt>
          <cx:pt idx="1347">1</cx:pt>
          <cx:pt idx="1348">1</cx:pt>
          <cx:pt idx="1349">1</cx:pt>
          <cx:pt idx="1350">0</cx:pt>
          <cx:pt idx="1351">0</cx:pt>
          <cx:pt idx="1352">0</cx:pt>
          <cx:pt idx="1353">0</cx:pt>
          <cx:pt idx="1354">1</cx:pt>
          <cx:pt idx="1355">1</cx:pt>
          <cx:pt idx="1356">1</cx:pt>
          <cx:pt idx="1357">0</cx:pt>
          <cx:pt idx="1358">0</cx:pt>
          <cx:pt idx="1359">0</cx:pt>
          <cx:pt idx="1360">0</cx:pt>
          <cx:pt idx="1361">0</cx:pt>
          <cx:pt idx="1362">0</cx:pt>
          <cx:pt idx="1363">0</cx:pt>
          <cx:pt idx="1364">1</cx:pt>
          <cx:pt idx="1365">0</cx:pt>
          <cx:pt idx="1366">0</cx:pt>
          <cx:pt idx="1367">0</cx:pt>
          <cx:pt idx="1368">1</cx:pt>
          <cx:pt idx="1369">1</cx:pt>
          <cx:pt idx="1370">0</cx:pt>
          <cx:pt idx="1371">0</cx:pt>
          <cx:pt idx="1372">1</cx:pt>
          <cx:pt idx="1373">1</cx:pt>
          <cx:pt idx="1374">1</cx:pt>
          <cx:pt idx="1375">1</cx:pt>
          <cx:pt idx="1376">0</cx:pt>
          <cx:pt idx="1377">0</cx:pt>
          <cx:pt idx="1378">1</cx:pt>
          <cx:pt idx="1379">0</cx:pt>
          <cx:pt idx="1380">0</cx:pt>
          <cx:pt idx="1381">0</cx:pt>
          <cx:pt idx="1382">1</cx:pt>
          <cx:pt idx="1383">0</cx:pt>
          <cx:pt idx="1384">0</cx:pt>
          <cx:pt idx="1385">0</cx:pt>
          <cx:pt idx="1386">1</cx:pt>
          <cx:pt idx="1387">1</cx:pt>
          <cx:pt idx="1388">0</cx:pt>
          <cx:pt idx="1389">0</cx:pt>
          <cx:pt idx="1390">0</cx:pt>
          <cx:pt idx="1391">1</cx:pt>
          <cx:pt idx="1392">0</cx:pt>
          <cx:pt idx="1393">1</cx:pt>
          <cx:pt idx="1394">1</cx:pt>
          <cx:pt idx="1395">0</cx:pt>
          <cx:pt idx="1396">0</cx:pt>
          <cx:pt idx="1397">1</cx:pt>
          <cx:pt idx="1398">0</cx:pt>
          <cx:pt idx="1399">1</cx:pt>
          <cx:pt idx="1400">0</cx:pt>
          <cx:pt idx="1401">0</cx:pt>
          <cx:pt idx="1402">0</cx:pt>
          <cx:pt idx="1403">0</cx:pt>
          <cx:pt idx="1404">0</cx:pt>
          <cx:pt idx="1405">1</cx:pt>
          <cx:pt idx="1406">0</cx:pt>
          <cx:pt idx="1407">1</cx:pt>
          <cx:pt idx="1408">0</cx:pt>
          <cx:pt idx="1409">1</cx:pt>
          <cx:pt idx="1410">1</cx:pt>
          <cx:pt idx="1411">0</cx:pt>
          <cx:pt idx="1412">0</cx:pt>
          <cx:pt idx="1413">0</cx:pt>
          <cx:pt idx="1414">0</cx:pt>
          <cx:pt idx="1415">1</cx:pt>
          <cx:pt idx="1416">0</cx:pt>
          <cx:pt idx="1417">1</cx:pt>
          <cx:pt idx="1418">1</cx:pt>
          <cx:pt idx="1419">1</cx:pt>
          <cx:pt idx="1420">1</cx:pt>
          <cx:pt idx="1421">0</cx:pt>
          <cx:pt idx="1422">1</cx:pt>
          <cx:pt idx="1423">1</cx:pt>
          <cx:pt idx="1424">0</cx:pt>
          <cx:pt idx="1425">0</cx:pt>
          <cx:pt idx="1426">0</cx:pt>
          <cx:pt idx="1427">0</cx:pt>
          <cx:pt idx="1428">1</cx:pt>
          <cx:pt idx="1429">1</cx:pt>
          <cx:pt idx="1430">1</cx:pt>
          <cx:pt idx="1431">1</cx:pt>
          <cx:pt idx="1432">1</cx:pt>
          <cx:pt idx="1433">1</cx:pt>
          <cx:pt idx="1434">0</cx:pt>
          <cx:pt idx="1435">1</cx:pt>
          <cx:pt idx="1436">0</cx:pt>
          <cx:pt idx="1437">1</cx:pt>
          <cx:pt idx="1438">0</cx:pt>
          <cx:pt idx="1439">1</cx:pt>
          <cx:pt idx="1440">1</cx:pt>
          <cx:pt idx="1441">0</cx:pt>
          <cx:pt idx="1442">0</cx:pt>
          <cx:pt idx="1443">1</cx:pt>
          <cx:pt idx="1444">1</cx:pt>
          <cx:pt idx="1445">0</cx:pt>
          <cx:pt idx="1446">0</cx:pt>
          <cx:pt idx="1447">0</cx:pt>
          <cx:pt idx="1448">0</cx:pt>
          <cx:pt idx="1449">1</cx:pt>
          <cx:pt idx="1450">0</cx:pt>
          <cx:pt idx="1451">0</cx:pt>
          <cx:pt idx="1452">0</cx:pt>
          <cx:pt idx="1453">0</cx:pt>
          <cx:pt idx="1454">1</cx:pt>
          <cx:pt idx="1455">0</cx:pt>
          <cx:pt idx="1456">0</cx:pt>
          <cx:pt idx="1457">1</cx:pt>
          <cx:pt idx="1458">0</cx:pt>
          <cx:pt idx="1459">1</cx:pt>
          <cx:pt idx="1460">0</cx:pt>
          <cx:pt idx="1461">0</cx:pt>
          <cx:pt idx="1462">1</cx:pt>
          <cx:pt idx="1463">0</cx:pt>
          <cx:pt idx="1464">0</cx:pt>
          <cx:pt idx="1465">1</cx:pt>
          <cx:pt idx="1466">0</cx:pt>
          <cx:pt idx="1467">0</cx:pt>
          <cx:pt idx="1468">0</cx:pt>
          <cx:pt idx="1469">0</cx:pt>
          <cx:pt idx="1470">1</cx:pt>
          <cx:pt idx="1471">1</cx:pt>
          <cx:pt idx="1472">0</cx:pt>
          <cx:pt idx="1473">1</cx:pt>
          <cx:pt idx="1474">1</cx:pt>
          <cx:pt idx="1475">0</cx:pt>
          <cx:pt idx="1476">1</cx:pt>
          <cx:pt idx="1477">1</cx:pt>
          <cx:pt idx="1478">1</cx:pt>
          <cx:pt idx="1479">0</cx:pt>
          <cx:pt idx="1480">0</cx:pt>
          <cx:pt idx="1481">1</cx:pt>
          <cx:pt idx="1482">0</cx:pt>
          <cx:pt idx="1483">0</cx:pt>
          <cx:pt idx="1484">1</cx:pt>
          <cx:pt idx="1485">1</cx:pt>
          <cx:pt idx="1486">0</cx:pt>
          <cx:pt idx="1487">0</cx:pt>
          <cx:pt idx="1488">1</cx:pt>
          <cx:pt idx="1489">0</cx:pt>
          <cx:pt idx="1490">0</cx:pt>
          <cx:pt idx="1491">0</cx:pt>
          <cx:pt idx="1492">1</cx:pt>
          <cx:pt idx="1493">0</cx:pt>
          <cx:pt idx="1494">0</cx:pt>
          <cx:pt idx="1495">0</cx:pt>
          <cx:pt idx="1496">1</cx:pt>
          <cx:pt idx="1497">0</cx:pt>
          <cx:pt idx="1498">0</cx:pt>
          <cx:pt idx="1499">1</cx:pt>
          <cx:pt idx="1500">1</cx:pt>
          <cx:pt idx="1501">1</cx:pt>
          <cx:pt idx="1502">1</cx:pt>
          <cx:pt idx="1503">0</cx:pt>
          <cx:pt idx="1504">0</cx:pt>
          <cx:pt idx="1505">1</cx:pt>
          <cx:pt idx="1506">1</cx:pt>
          <cx:pt idx="1507">0</cx:pt>
          <cx:pt idx="1508">0</cx:pt>
          <cx:pt idx="1509">0</cx:pt>
          <cx:pt idx="1510">0</cx:pt>
          <cx:pt idx="1511">1</cx:pt>
          <cx:pt idx="1512">0</cx:pt>
          <cx:pt idx="1513">0</cx:pt>
          <cx:pt idx="1514">1</cx:pt>
          <cx:pt idx="1515">0</cx:pt>
          <cx:pt idx="1516">1</cx:pt>
          <cx:pt idx="1517">0</cx:pt>
          <cx:pt idx="1518">0</cx:pt>
          <cx:pt idx="1519">0</cx:pt>
          <cx:pt idx="1520">1</cx:pt>
          <cx:pt idx="1521">1</cx:pt>
          <cx:pt idx="1522">1</cx:pt>
          <cx:pt idx="1523">0</cx:pt>
          <cx:pt idx="1524">0</cx:pt>
          <cx:pt idx="1525">1</cx:pt>
          <cx:pt idx="1526">1</cx:pt>
          <cx:pt idx="1527">1</cx:pt>
          <cx:pt idx="1528">0</cx:pt>
          <cx:pt idx="1529">0</cx:pt>
          <cx:pt idx="1530">1</cx:pt>
          <cx:pt idx="1531">0</cx:pt>
          <cx:pt idx="1532">0</cx:pt>
          <cx:pt idx="1533">0</cx:pt>
          <cx:pt idx="1534">0</cx:pt>
          <cx:pt idx="1535">1</cx:pt>
          <cx:pt idx="1536">0</cx:pt>
          <cx:pt idx="1537">0</cx:pt>
          <cx:pt idx="1538">0</cx:pt>
          <cx:pt idx="1539">1</cx:pt>
          <cx:pt idx="1540">0</cx:pt>
          <cx:pt idx="1541">0</cx:pt>
          <cx:pt idx="1542">0</cx:pt>
          <cx:pt idx="1543">0</cx:pt>
          <cx:pt idx="1544">0</cx:pt>
          <cx:pt idx="1545">0</cx:pt>
          <cx:pt idx="1546">1</cx:pt>
          <cx:pt idx="1547">1</cx:pt>
          <cx:pt idx="1548">1</cx:pt>
          <cx:pt idx="1549">1</cx:pt>
          <cx:pt idx="1550">0</cx:pt>
          <cx:pt idx="1551">1</cx:pt>
          <cx:pt idx="1552">0</cx:pt>
          <cx:pt idx="1553">0</cx:pt>
          <cx:pt idx="1554">1</cx:pt>
          <cx:pt idx="1555">0</cx:pt>
          <cx:pt idx="1556">0</cx:pt>
          <cx:pt idx="1557">0</cx:pt>
          <cx:pt idx="1558">0</cx:pt>
          <cx:pt idx="1559">1</cx:pt>
          <cx:pt idx="1560">0</cx:pt>
          <cx:pt idx="1561">0</cx:pt>
          <cx:pt idx="1562">1</cx:pt>
          <cx:pt idx="1563">0</cx:pt>
          <cx:pt idx="1564">0</cx:pt>
          <cx:pt idx="1565">1</cx:pt>
          <cx:pt idx="1566">0</cx:pt>
          <cx:pt idx="1567">0</cx:pt>
          <cx:pt idx="1568">1</cx:pt>
          <cx:pt idx="1569">0</cx:pt>
          <cx:pt idx="1570">0</cx:pt>
          <cx:pt idx="1571">0</cx:pt>
          <cx:pt idx="1572">1</cx:pt>
          <cx:pt idx="1573">0</cx:pt>
          <cx:pt idx="1574">0</cx:pt>
          <cx:pt idx="1575">1</cx:pt>
          <cx:pt idx="1576">1</cx:pt>
          <cx:pt idx="1577">1</cx:pt>
          <cx:pt idx="1578">0</cx:pt>
          <cx:pt idx="1579">0</cx:pt>
          <cx:pt idx="1580">1</cx:pt>
          <cx:pt idx="1581">1</cx:pt>
          <cx:pt idx="1582">0</cx:pt>
          <cx:pt idx="1583">1</cx:pt>
          <cx:pt idx="1584">0</cx:pt>
          <cx:pt idx="1585">0</cx:pt>
          <cx:pt idx="1586">1</cx:pt>
          <cx:pt idx="1587">1</cx:pt>
          <cx:pt idx="1588">0</cx:pt>
          <cx:pt idx="1589">1</cx:pt>
          <cx:pt idx="1590">1</cx:pt>
          <cx:pt idx="1591">0</cx:pt>
          <cx:pt idx="1592">0</cx:pt>
          <cx:pt idx="1593">0</cx:pt>
          <cx:pt idx="1594">1</cx:pt>
          <cx:pt idx="1595">0</cx:pt>
          <cx:pt idx="1596">0</cx:pt>
          <cx:pt idx="1597">1</cx:pt>
          <cx:pt idx="1598">1</cx:pt>
          <cx:pt idx="1599">0</cx:pt>
          <cx:pt idx="1600">0</cx:pt>
          <cx:pt idx="1601">1</cx:pt>
          <cx:pt idx="1602">1</cx:pt>
          <cx:pt idx="1603">0</cx:pt>
          <cx:pt idx="1604">1</cx:pt>
          <cx:pt idx="1605">0</cx:pt>
          <cx:pt idx="1606">0</cx:pt>
          <cx:pt idx="1607">0</cx:pt>
          <cx:pt idx="1608">0</cx:pt>
          <cx:pt idx="1609">1</cx:pt>
          <cx:pt idx="1610">0</cx:pt>
          <cx:pt idx="1611">0</cx:pt>
          <cx:pt idx="1612">0</cx:pt>
          <cx:pt idx="1613">1</cx:pt>
          <cx:pt idx="1614">1</cx:pt>
          <cx:pt idx="1615">0</cx:pt>
          <cx:pt idx="1616">1</cx:pt>
          <cx:pt idx="1617">1</cx:pt>
          <cx:pt idx="1618">1</cx:pt>
          <cx:pt idx="1619">1</cx:pt>
          <cx:pt idx="1620">1</cx:pt>
          <cx:pt idx="1621">1</cx:pt>
          <cx:pt idx="1622">0</cx:pt>
          <cx:pt idx="1623">1</cx:pt>
          <cx:pt idx="1624">1</cx:pt>
          <cx:pt idx="1625">1</cx:pt>
          <cx:pt idx="1626">0</cx:pt>
          <cx:pt idx="1627">0</cx:pt>
          <cx:pt idx="1628">0</cx:pt>
          <cx:pt idx="1629">1</cx:pt>
          <cx:pt idx="1630">0</cx:pt>
          <cx:pt idx="1631">1</cx:pt>
          <cx:pt idx="1632">0</cx:pt>
          <cx:pt idx="1633">1</cx:pt>
          <cx:pt idx="1634">0</cx:pt>
          <cx:pt idx="1635">1</cx:pt>
          <cx:pt idx="1636">1</cx:pt>
          <cx:pt idx="1637">0</cx:pt>
          <cx:pt idx="1638">1</cx:pt>
          <cx:pt idx="1639">0</cx:pt>
          <cx:pt idx="1640">0</cx:pt>
          <cx:pt idx="1641">0</cx:pt>
          <cx:pt idx="1642">1</cx:pt>
          <cx:pt idx="1643">1</cx:pt>
          <cx:pt idx="1644">1</cx:pt>
          <cx:pt idx="1645">0</cx:pt>
          <cx:pt idx="1646">0</cx:pt>
          <cx:pt idx="1647">0</cx:pt>
          <cx:pt idx="1648">0</cx:pt>
          <cx:pt idx="1649">0</cx:pt>
          <cx:pt idx="1650">0</cx:pt>
          <cx:pt idx="1651">1</cx:pt>
          <cx:pt idx="1652">0</cx:pt>
          <cx:pt idx="1653">0</cx:pt>
          <cx:pt idx="1654">1</cx:pt>
          <cx:pt idx="1655">1</cx:pt>
          <cx:pt idx="1656">1</cx:pt>
          <cx:pt idx="1657">1</cx:pt>
          <cx:pt idx="1658">0</cx:pt>
          <cx:pt idx="1659">1</cx:pt>
          <cx:pt idx="1660">0</cx:pt>
          <cx:pt idx="1661">1</cx:pt>
          <cx:pt idx="1662">0</cx:pt>
          <cx:pt idx="1663">1</cx:pt>
          <cx:pt idx="1664">1</cx:pt>
          <cx:pt idx="1665">0</cx:pt>
          <cx:pt idx="1666">0</cx:pt>
          <cx:pt idx="1667">1</cx:pt>
          <cx:pt idx="1668">1</cx:pt>
          <cx:pt idx="1669">1</cx:pt>
          <cx:pt idx="1670">0</cx:pt>
          <cx:pt idx="1671">0</cx:pt>
          <cx:pt idx="1672">1</cx:pt>
          <cx:pt idx="1673">0</cx:pt>
          <cx:pt idx="1674">0</cx:pt>
          <cx:pt idx="1675">1</cx:pt>
          <cx:pt idx="1676">0</cx:pt>
          <cx:pt idx="1677">1</cx:pt>
          <cx:pt idx="1678">1</cx:pt>
          <cx:pt idx="1679">1</cx:pt>
          <cx:pt idx="1680">1</cx:pt>
          <cx:pt idx="1681">1</cx:pt>
          <cx:pt idx="1682">0</cx:pt>
          <cx:pt idx="1683">1</cx:pt>
          <cx:pt idx="1684">0</cx:pt>
          <cx:pt idx="1685">1</cx:pt>
          <cx:pt idx="1686">0</cx:pt>
          <cx:pt idx="1687">1</cx:pt>
          <cx:pt idx="1688">1</cx:pt>
          <cx:pt idx="1689">0</cx:pt>
          <cx:pt idx="1690">0</cx:pt>
          <cx:pt idx="1691">0</cx:pt>
          <cx:pt idx="1692">0</cx:pt>
          <cx:pt idx="1693">1</cx:pt>
          <cx:pt idx="1694">0</cx:pt>
          <cx:pt idx="1695">0</cx:pt>
          <cx:pt idx="1696">0</cx:pt>
          <cx:pt idx="1697">1</cx:pt>
          <cx:pt idx="1698">0</cx:pt>
          <cx:pt idx="1699">0</cx:pt>
          <cx:pt idx="1700">1</cx:pt>
          <cx:pt idx="1701">0</cx:pt>
          <cx:pt idx="1702">1</cx:pt>
          <cx:pt idx="1703">1</cx:pt>
          <cx:pt idx="1704">1</cx:pt>
          <cx:pt idx="1705">1</cx:pt>
          <cx:pt idx="1706">1</cx:pt>
          <cx:pt idx="1707">0</cx:pt>
          <cx:pt idx="1708">1</cx:pt>
          <cx:pt idx="1709">0</cx:pt>
          <cx:pt idx="1710">1</cx:pt>
          <cx:pt idx="1711">0</cx:pt>
          <cx:pt idx="1712">0</cx:pt>
          <cx:pt idx="1713">0</cx:pt>
          <cx:pt idx="1714">1</cx:pt>
          <cx:pt idx="1715">1</cx:pt>
          <cx:pt idx="1716">0</cx:pt>
          <cx:pt idx="1717">0</cx:pt>
          <cx:pt idx="1718">0</cx:pt>
          <cx:pt idx="1719">0</cx:pt>
          <cx:pt idx="1720">1</cx:pt>
          <cx:pt idx="1721">1</cx:pt>
          <cx:pt idx="1722">1</cx:pt>
          <cx:pt idx="1723">0</cx:pt>
          <cx:pt idx="1724">1</cx:pt>
          <cx:pt idx="1725">1</cx:pt>
          <cx:pt idx="1726">1</cx:pt>
          <cx:pt idx="1727">1</cx:pt>
          <cx:pt idx="1728">1</cx:pt>
          <cx:pt idx="1729">0</cx:pt>
          <cx:pt idx="1730">0</cx:pt>
          <cx:pt idx="1731">1</cx:pt>
          <cx:pt idx="1732">1</cx:pt>
          <cx:pt idx="1733">1</cx:pt>
          <cx:pt idx="1734">1</cx:pt>
          <cx:pt idx="1735">1</cx:pt>
          <cx:pt idx="1736">1</cx:pt>
          <cx:pt idx="1737">1</cx:pt>
          <cx:pt idx="1738">1</cx:pt>
          <cx:pt idx="1739">0</cx:pt>
          <cx:pt idx="1740">1</cx:pt>
          <cx:pt idx="1741">0</cx:pt>
          <cx:pt idx="1742">0</cx:pt>
          <cx:pt idx="1743">1</cx:pt>
          <cx:pt idx="1744">1</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1</cx:pt>
          <cx:pt idx="1764">0</cx:pt>
          <cx:pt idx="1765">0</cx:pt>
          <cx:pt idx="1766">0</cx:pt>
          <cx:pt idx="1767">0</cx:pt>
          <cx:pt idx="1768">1</cx:pt>
          <cx:pt idx="1769">1</cx:pt>
          <cx:pt idx="1770">0</cx:pt>
          <cx:pt idx="1771">0</cx:pt>
          <cx:pt idx="1772">0</cx:pt>
          <cx:pt idx="1773">0</cx:pt>
          <cx:pt idx="1774">1</cx:pt>
          <cx:pt idx="1775">0</cx:pt>
          <cx:pt idx="1776">0</cx:pt>
          <cx:pt idx="1777">1</cx:pt>
          <cx:pt idx="1778">0</cx:pt>
          <cx:pt idx="1779">1</cx:pt>
          <cx:pt idx="1780">0</cx:pt>
          <cx:pt idx="1781">1</cx:pt>
          <cx:pt idx="1782">0</cx:pt>
          <cx:pt idx="1783">0</cx:pt>
          <cx:pt idx="1784">0</cx:pt>
          <cx:pt idx="1785">0</cx:pt>
          <cx:pt idx="1786">0</cx:pt>
          <cx:pt idx="1787">1</cx:pt>
          <cx:pt idx="1788">1</cx:pt>
          <cx:pt idx="1789">0</cx:pt>
          <cx:pt idx="1790">1</cx:pt>
          <cx:pt idx="1791">1</cx:pt>
          <cx:pt idx="1792">0</cx:pt>
          <cx:pt idx="1793">0</cx:pt>
          <cx:pt idx="1794">0</cx:pt>
          <cx:pt idx="1795">0</cx:pt>
          <cx:pt idx="1796">1</cx:pt>
          <cx:pt idx="1797">1</cx:pt>
          <cx:pt idx="1798">0</cx:pt>
          <cx:pt idx="1799">1</cx:pt>
          <cx:pt idx="1800">1</cx:pt>
          <cx:pt idx="1801">0</cx:pt>
          <cx:pt idx="1802">0</cx:pt>
          <cx:pt idx="1803">1</cx:pt>
          <cx:pt idx="1804">0</cx:pt>
          <cx:pt idx="1805">1</cx:pt>
          <cx:pt idx="1806">0</cx:pt>
          <cx:pt idx="1807">0</cx:pt>
          <cx:pt idx="1808">1</cx:pt>
          <cx:pt idx="1809">0</cx:pt>
          <cx:pt idx="1810">0</cx:pt>
          <cx:pt idx="1811">0</cx:pt>
          <cx:pt idx="1812">1</cx:pt>
          <cx:pt idx="1813">0</cx:pt>
          <cx:pt idx="1814">0</cx:pt>
          <cx:pt idx="1815">1</cx:pt>
          <cx:pt idx="1816">1</cx:pt>
          <cx:pt idx="1817">0</cx:pt>
          <cx:pt idx="1818">0</cx:pt>
          <cx:pt idx="1819">0</cx:pt>
          <cx:pt idx="1820">1</cx:pt>
          <cx:pt idx="1821">0</cx:pt>
          <cx:pt idx="1822">1</cx:pt>
          <cx:pt idx="1823">1</cx:pt>
          <cx:pt idx="1824">0</cx:pt>
          <cx:pt idx="1825">0</cx:pt>
          <cx:pt idx="1826">0</cx:pt>
          <cx:pt idx="1827">1</cx:pt>
          <cx:pt idx="1828">0</cx:pt>
          <cx:pt idx="1829">1</cx:pt>
          <cx:pt idx="1830">0</cx:pt>
          <cx:pt idx="1831">1</cx:pt>
          <cx:pt idx="1832">0</cx:pt>
          <cx:pt idx="1833">1</cx:pt>
          <cx:pt idx="1834">0</cx:pt>
          <cx:pt idx="1835">0</cx:pt>
          <cx:pt idx="1836">0</cx:pt>
          <cx:pt idx="1837">0</cx:pt>
          <cx:pt idx="1838">0</cx:pt>
          <cx:pt idx="1839">1</cx:pt>
          <cx:pt idx="1840">1</cx:pt>
          <cx:pt idx="1841">1</cx:pt>
          <cx:pt idx="1842">1</cx:pt>
          <cx:pt idx="1843">1</cx:pt>
          <cx:pt idx="1844">1</cx:pt>
          <cx:pt idx="1845">0</cx:pt>
          <cx:pt idx="1846">1</cx:pt>
          <cx:pt idx="1847">0</cx:pt>
          <cx:pt idx="1848">0</cx:pt>
          <cx:pt idx="1849">0</cx:pt>
          <cx:pt idx="1850">1</cx:pt>
          <cx:pt idx="1851">1</cx:pt>
          <cx:pt idx="1852">1</cx:pt>
          <cx:pt idx="1853">0</cx:pt>
          <cx:pt idx="1854">0</cx:pt>
          <cx:pt idx="1855">1</cx:pt>
          <cx:pt idx="1856">0</cx:pt>
          <cx:pt idx="1857">0</cx:pt>
          <cx:pt idx="1858">0</cx:pt>
          <cx:pt idx="1859">1</cx:pt>
          <cx:pt idx="1860">0</cx:pt>
          <cx:pt idx="1861">1</cx:pt>
          <cx:pt idx="1862">0</cx:pt>
          <cx:pt idx="1863">1</cx:pt>
          <cx:pt idx="1864">0</cx:pt>
          <cx:pt idx="1865">0</cx:pt>
          <cx:pt idx="1866">0</cx:pt>
          <cx:pt idx="1867">1</cx:pt>
          <cx:pt idx="1868">1</cx:pt>
          <cx:pt idx="1869">0</cx:pt>
          <cx:pt idx="1870">0</cx:pt>
          <cx:pt idx="1871">1</cx:pt>
          <cx:pt idx="1872">1</cx:pt>
          <cx:pt idx="1873">0</cx:pt>
          <cx:pt idx="1874">0</cx:pt>
          <cx:pt idx="1875">0</cx:pt>
          <cx:pt idx="1876">0</cx:pt>
          <cx:pt idx="1877">1</cx:pt>
          <cx:pt idx="1878">0</cx:pt>
          <cx:pt idx="1879">0</cx:pt>
          <cx:pt idx="1880">1</cx:pt>
          <cx:pt idx="1881">1</cx:pt>
          <cx:pt idx="1882">0</cx:pt>
          <cx:pt idx="1883">0</cx:pt>
          <cx:pt idx="1884">0</cx:pt>
          <cx:pt idx="1885">0</cx:pt>
          <cx:pt idx="1886">0</cx:pt>
          <cx:pt idx="1887">1</cx:pt>
          <cx:pt idx="1888">0</cx:pt>
          <cx:pt idx="1889">1</cx:pt>
          <cx:pt idx="1890">1</cx:pt>
          <cx:pt idx="1891">0</cx:pt>
          <cx:pt idx="1892">0</cx:pt>
          <cx:pt idx="1893">1</cx:pt>
          <cx:pt idx="1894">1</cx:pt>
          <cx:pt idx="1895">1</cx:pt>
          <cx:pt idx="1896">0</cx:pt>
          <cx:pt idx="1897">0</cx:pt>
          <cx:pt idx="1898">1</cx:pt>
          <cx:pt idx="1899">1</cx:pt>
          <cx:pt idx="1900">1</cx:pt>
          <cx:pt idx="1901">0</cx:pt>
          <cx:pt idx="1902">0</cx:pt>
          <cx:pt idx="1903">1</cx:pt>
          <cx:pt idx="1904">0</cx:pt>
          <cx:pt idx="1905">1</cx:pt>
          <cx:pt idx="1906">1</cx:pt>
          <cx:pt idx="1907">0</cx:pt>
          <cx:pt idx="1908">0</cx:pt>
          <cx:pt idx="1909">0</cx:pt>
          <cx:pt idx="1910">1</cx:pt>
          <cx:pt idx="1911">1</cx:pt>
          <cx:pt idx="1912">1</cx:pt>
          <cx:pt idx="1913">1</cx:pt>
          <cx:pt idx="1914">0</cx:pt>
          <cx:pt idx="1915">0</cx:pt>
          <cx:pt idx="1916">0</cx:pt>
          <cx:pt idx="1917">0</cx:pt>
          <cx:pt idx="1918">0</cx:pt>
          <cx:pt idx="1919">1</cx:pt>
          <cx:pt idx="1920">0</cx:pt>
          <cx:pt idx="1921">1</cx:pt>
          <cx:pt idx="1922">0</cx:pt>
          <cx:pt idx="1923">1</cx:pt>
          <cx:pt idx="1924">0</cx:pt>
          <cx:pt idx="1925">0</cx:pt>
          <cx:pt idx="1926">1</cx:pt>
          <cx:pt idx="1927">1</cx:pt>
          <cx:pt idx="1928">1</cx:pt>
          <cx:pt idx="1929">0</cx:pt>
          <cx:pt idx="1930">0</cx:pt>
          <cx:pt idx="1931">1</cx:pt>
          <cx:pt idx="1932">0</cx:pt>
          <cx:pt idx="1933">0</cx:pt>
          <cx:pt idx="1934">1</cx:pt>
          <cx:pt idx="1935">0</cx:pt>
          <cx:pt idx="1936">0</cx:pt>
          <cx:pt idx="1937">1</cx:pt>
          <cx:pt idx="1938">1</cx:pt>
          <cx:pt idx="1939">0</cx:pt>
          <cx:pt idx="1940">0</cx:pt>
          <cx:pt idx="1941">1</cx:pt>
          <cx:pt idx="1942">1</cx:pt>
          <cx:pt idx="1943">0</cx:pt>
          <cx:pt idx="1944">0</cx:pt>
          <cx:pt idx="1945">0</cx:pt>
          <cx:pt idx="1946">0</cx:pt>
          <cx:pt idx="1947">1</cx:pt>
          <cx:pt idx="1948">1</cx:pt>
          <cx:pt idx="1949">1</cx:pt>
          <cx:pt idx="1950">1</cx:pt>
          <cx:pt idx="1951">0</cx:pt>
          <cx:pt idx="1952">1</cx:pt>
          <cx:pt idx="1953">1</cx:pt>
          <cx:pt idx="1954">1</cx:pt>
          <cx:pt idx="1955">0</cx:pt>
          <cx:pt idx="1956">0</cx:pt>
          <cx:pt idx="1957">1</cx:pt>
          <cx:pt idx="1958">0</cx:pt>
          <cx:pt idx="1959">0</cx:pt>
          <cx:pt idx="1960">0</cx:pt>
          <cx:pt idx="1961">1</cx:pt>
          <cx:pt idx="1962">0</cx:pt>
          <cx:pt idx="1963">1</cx:pt>
          <cx:pt idx="1964">0</cx:pt>
          <cx:pt idx="1965">0</cx:pt>
          <cx:pt idx="1966">0</cx:pt>
          <cx:pt idx="1967">1</cx:pt>
          <cx:pt idx="1968">0</cx:pt>
          <cx:pt idx="1969">0</cx:pt>
          <cx:pt idx="1970">0</cx:pt>
          <cx:pt idx="1971">1</cx:pt>
          <cx:pt idx="1972">0</cx:pt>
          <cx:pt idx="1973">0</cx:pt>
          <cx:pt idx="1974">0</cx:pt>
          <cx:pt idx="1975">0</cx:pt>
          <cx:pt idx="1976">0</cx:pt>
          <cx:pt idx="1977">0</cx:pt>
          <cx:pt idx="1978">0</cx:pt>
          <cx:pt idx="1979">0</cx:pt>
          <cx:pt idx="1980">0</cx:pt>
          <cx:pt idx="1981">1</cx:pt>
          <cx:pt idx="1982">1</cx:pt>
          <cx:pt idx="1983">0</cx:pt>
          <cx:pt idx="1984">0</cx:pt>
          <cx:pt idx="1985">0</cx:pt>
          <cx:pt idx="1986">1</cx:pt>
          <cx:pt idx="1987">1</cx:pt>
          <cx:pt idx="1988">1</cx:pt>
          <cx:pt idx="1989">0</cx:pt>
          <cx:pt idx="1990">0</cx:pt>
          <cx:pt idx="1991">1</cx:pt>
          <cx:pt idx="1992">0</cx:pt>
          <cx:pt idx="1993">0</cx:pt>
          <cx:pt idx="1994">0</cx:pt>
          <cx:pt idx="1995">1</cx:pt>
          <cx:pt idx="1996">0</cx:pt>
          <cx:pt idx="1997">0</cx:pt>
          <cx:pt idx="1998">1</cx:pt>
          <cx:pt idx="1999">0</cx:pt>
          <cx:pt idx="2000">1</cx:pt>
          <cx:pt idx="2001">1</cx:pt>
          <cx:pt idx="2002">0</cx:pt>
          <cx:pt idx="2003">1</cx:pt>
          <cx:pt idx="2004">0</cx:pt>
          <cx:pt idx="2005">0</cx:pt>
          <cx:pt idx="2006">1</cx:pt>
          <cx:pt idx="2007">1</cx:pt>
          <cx:pt idx="2008">1</cx:pt>
          <cx:pt idx="2009">0</cx:pt>
          <cx:pt idx="2010">0</cx:pt>
          <cx:pt idx="2011">1</cx:pt>
          <cx:pt idx="2012">0</cx:pt>
          <cx:pt idx="2013">1</cx:pt>
          <cx:pt idx="2014">0</cx:pt>
          <cx:pt idx="2015">1</cx:pt>
          <cx:pt idx="2016">1</cx:pt>
          <cx:pt idx="2017">1</cx:pt>
          <cx:pt idx="2018">0</cx:pt>
          <cx:pt idx="2019">0</cx:pt>
          <cx:pt idx="2020">0</cx:pt>
          <cx:pt idx="2021">1</cx:pt>
          <cx:pt idx="2022">1</cx:pt>
          <cx:pt idx="2023">0</cx:pt>
          <cx:pt idx="2024">0</cx:pt>
          <cx:pt idx="2025">0</cx:pt>
          <cx:pt idx="2026">0</cx:pt>
          <cx:pt idx="2027">0</cx:pt>
          <cx:pt idx="2028">1</cx:pt>
          <cx:pt idx="2029">0</cx:pt>
          <cx:pt idx="2030">0</cx:pt>
          <cx:pt idx="2031">0</cx:pt>
          <cx:pt idx="2032">0</cx:pt>
          <cx:pt idx="2033">1</cx:pt>
          <cx:pt idx="2034">0</cx:pt>
          <cx:pt idx="2035">0</cx:pt>
          <cx:pt idx="2036">0</cx:pt>
          <cx:pt idx="2037">0</cx:pt>
          <cx:pt idx="2038">0</cx:pt>
          <cx:pt idx="2039">0</cx:pt>
          <cx:pt idx="2040">0</cx:pt>
          <cx:pt idx="2041">1</cx:pt>
          <cx:pt idx="2042">0</cx:pt>
          <cx:pt idx="2043">0</cx:pt>
          <cx:pt idx="2044">0</cx:pt>
          <cx:pt idx="2045">0</cx:pt>
          <cx:pt idx="2046">1</cx:pt>
          <cx:pt idx="2047">0</cx:pt>
          <cx:pt idx="2048">0</cx:pt>
          <cx:pt idx="2049">0</cx:pt>
          <cx:pt idx="2050">0</cx:pt>
          <cx:pt idx="2051">1</cx:pt>
          <cx:pt idx="2052">1</cx:pt>
          <cx:pt idx="2053">0</cx:pt>
          <cx:pt idx="2054">1</cx:pt>
          <cx:pt idx="2055">0</cx:pt>
          <cx:pt idx="2056">0</cx:pt>
          <cx:pt idx="2057">0</cx:pt>
          <cx:pt idx="2058">0</cx:pt>
          <cx:pt idx="2059">0</cx:pt>
          <cx:pt idx="2060">1</cx:pt>
          <cx:pt idx="2061">1</cx:pt>
          <cx:pt idx="2062">0</cx:pt>
          <cx:pt idx="2063">1</cx:pt>
          <cx:pt idx="2064">0</cx:pt>
          <cx:pt idx="2065">0</cx:pt>
          <cx:pt idx="2066">1</cx:pt>
          <cx:pt idx="2067">1</cx:pt>
          <cx:pt idx="2068">1</cx:pt>
          <cx:pt idx="2069">1</cx:pt>
          <cx:pt idx="2070">1</cx:pt>
          <cx:pt idx="2071">0</cx:pt>
          <cx:pt idx="2072">0</cx:pt>
          <cx:pt idx="2073">0</cx:pt>
          <cx:pt idx="2074">0</cx:pt>
          <cx:pt idx="2075">1</cx:pt>
          <cx:pt idx="2076">0</cx:pt>
          <cx:pt idx="2077">1</cx:pt>
          <cx:pt idx="2078">1</cx:pt>
          <cx:pt idx="2079">0</cx:pt>
          <cx:pt idx="2080">0</cx:pt>
          <cx:pt idx="2081">0</cx:pt>
          <cx:pt idx="2082">0</cx:pt>
          <cx:pt idx="2083">0</cx:pt>
          <cx:pt idx="2084">0</cx:pt>
          <cx:pt idx="2085">1</cx:pt>
          <cx:pt idx="2086">0</cx:pt>
          <cx:pt idx="2087">1</cx:pt>
          <cx:pt idx="2088">0</cx:pt>
          <cx:pt idx="2089">1</cx:pt>
          <cx:pt idx="2090">0</cx:pt>
          <cx:pt idx="2091">1</cx:pt>
          <cx:pt idx="2092">1</cx:pt>
          <cx:pt idx="2093">0</cx:pt>
          <cx:pt idx="2094">1</cx:pt>
          <cx:pt idx="2095">0</cx:pt>
          <cx:pt idx="2096">0</cx:pt>
          <cx:pt idx="2097">1</cx:pt>
          <cx:pt idx="2098">1</cx:pt>
          <cx:pt idx="2099">0</cx:pt>
          <cx:pt idx="2100">1</cx:pt>
          <cx:pt idx="2101">1</cx:pt>
          <cx:pt idx="2102">0</cx:pt>
          <cx:pt idx="2103">1</cx:pt>
          <cx:pt idx="2104">0</cx:pt>
          <cx:pt idx="2105">1</cx:pt>
          <cx:pt idx="2106">0</cx:pt>
          <cx:pt idx="2107">1</cx:pt>
          <cx:pt idx="2108">0</cx:pt>
          <cx:pt idx="2109">0</cx:pt>
          <cx:pt idx="2110">0</cx:pt>
          <cx:pt idx="2111">1</cx:pt>
          <cx:pt idx="2112">0</cx:pt>
          <cx:pt idx="2113">0</cx:pt>
          <cx:pt idx="2114">0</cx:pt>
          <cx:pt idx="2115">1</cx:pt>
          <cx:pt idx="2116">0</cx:pt>
          <cx:pt idx="2117">1</cx:pt>
          <cx:pt idx="2118">1</cx:pt>
          <cx:pt idx="2119">0</cx:pt>
          <cx:pt idx="2120">1</cx:pt>
          <cx:pt idx="2121">1</cx:pt>
          <cx:pt idx="2122">0</cx:pt>
          <cx:pt idx="2123">0</cx:pt>
          <cx:pt idx="2124">0</cx:pt>
          <cx:pt idx="2125">0</cx:pt>
          <cx:pt idx="2126">0</cx:pt>
          <cx:pt idx="2127">0</cx:pt>
          <cx:pt idx="2128">0</cx:pt>
          <cx:pt idx="2129">0</cx:pt>
          <cx:pt idx="2130">1</cx:pt>
          <cx:pt idx="2131">0</cx:pt>
          <cx:pt idx="2132">0</cx:pt>
          <cx:pt idx="2133">0</cx:pt>
          <cx:pt idx="2134">1</cx:pt>
          <cx:pt idx="2135">1</cx:pt>
          <cx:pt idx="2136">0</cx:pt>
          <cx:pt idx="2137">0</cx:pt>
          <cx:pt idx="2138">0</cx:pt>
          <cx:pt idx="2139">0</cx:pt>
          <cx:pt idx="2140">1</cx:pt>
          <cx:pt idx="2141">1</cx:pt>
          <cx:pt idx="2142">0</cx:pt>
          <cx:pt idx="2143">0</cx:pt>
          <cx:pt idx="2144">0</cx:pt>
          <cx:pt idx="2145">0</cx:pt>
          <cx:pt idx="2146">0</cx:pt>
          <cx:pt idx="2147">1</cx:pt>
          <cx:pt idx="2148">1</cx:pt>
          <cx:pt idx="2149">1</cx:pt>
          <cx:pt idx="2150">0</cx:pt>
          <cx:pt idx="2151">1</cx:pt>
          <cx:pt idx="2152">0</cx:pt>
          <cx:pt idx="2153">1</cx:pt>
          <cx:pt idx="2154">0</cx:pt>
          <cx:pt idx="2155">0</cx:pt>
          <cx:pt idx="2156">1</cx:pt>
          <cx:pt idx="2157">0</cx:pt>
          <cx:pt idx="2158">1</cx:pt>
          <cx:pt idx="2159">0</cx:pt>
          <cx:pt idx="2160">0</cx:pt>
          <cx:pt idx="2161">0</cx:pt>
          <cx:pt idx="2162">0</cx:pt>
          <cx:pt idx="2163">0</cx:pt>
          <cx:pt idx="2164">1</cx:pt>
          <cx:pt idx="2165">1</cx:pt>
          <cx:pt idx="2166">1</cx:pt>
          <cx:pt idx="2167">1</cx:pt>
          <cx:pt idx="2168">0</cx:pt>
          <cx:pt idx="2169">1</cx:pt>
          <cx:pt idx="2170">0</cx:pt>
          <cx:pt idx="2171">1</cx:pt>
          <cx:pt idx="2172">0</cx:pt>
          <cx:pt idx="2173">0</cx:pt>
          <cx:pt idx="2174">1</cx:pt>
          <cx:pt idx="2175">1</cx:pt>
          <cx:pt idx="2176">0</cx:pt>
          <cx:pt idx="2177">0</cx:pt>
          <cx:pt idx="2178">0</cx:pt>
          <cx:pt idx="2179">1</cx:pt>
          <cx:pt idx="2180">1</cx:pt>
          <cx:pt idx="2181">0</cx:pt>
          <cx:pt idx="2182">0</cx:pt>
          <cx:pt idx="2183">0</cx:pt>
          <cx:pt idx="2184">0</cx:pt>
          <cx:pt idx="2185">0</cx:pt>
          <cx:pt idx="2186">0</cx:pt>
          <cx:pt idx="2187">1</cx:pt>
          <cx:pt idx="2188">0</cx:pt>
          <cx:pt idx="2189">0</cx:pt>
          <cx:pt idx="2190">1</cx:pt>
          <cx:pt idx="2191">0</cx:pt>
          <cx:pt idx="2192">1</cx:pt>
          <cx:pt idx="2193">0</cx:pt>
          <cx:pt idx="2194">0</cx:pt>
          <cx:pt idx="2195">0</cx:pt>
          <cx:pt idx="2196">1</cx:pt>
          <cx:pt idx="2197">1</cx:pt>
          <cx:pt idx="2198">0</cx:pt>
          <cx:pt idx="2199">0</cx:pt>
          <cx:pt idx="2200">0</cx:pt>
          <cx:pt idx="2201">0</cx:pt>
          <cx:pt idx="2202">0</cx:pt>
          <cx:pt idx="2203">1</cx:pt>
          <cx:pt idx="2204">0</cx:pt>
          <cx:pt idx="2205">0</cx:pt>
          <cx:pt idx="2206">0</cx:pt>
          <cx:pt idx="2207">1</cx:pt>
          <cx:pt idx="2208">1</cx:pt>
          <cx:pt idx="2209">0</cx:pt>
          <cx:pt idx="2210">1</cx:pt>
          <cx:pt idx="2211">1</cx:pt>
          <cx:pt idx="2212">1</cx:pt>
          <cx:pt idx="2213">0</cx:pt>
          <cx:pt idx="2214">1</cx:pt>
          <cx:pt idx="2215">0</cx:pt>
          <cx:pt idx="2216">1</cx:pt>
          <cx:pt idx="2217">1</cx:pt>
          <cx:pt idx="2218">0</cx:pt>
          <cx:pt idx="2219">0</cx:pt>
          <cx:pt idx="2220">0</cx:pt>
          <cx:pt idx="2221">0</cx:pt>
          <cx:pt idx="2222">1</cx:pt>
          <cx:pt idx="2223">0</cx:pt>
          <cx:pt idx="2224">0</cx:pt>
          <cx:pt idx="2225">0</cx:pt>
          <cx:pt idx="2226">1</cx:pt>
          <cx:pt idx="2227">1</cx:pt>
          <cx:pt idx="2228">1</cx:pt>
          <cx:pt idx="2229">0</cx:pt>
          <cx:pt idx="2230">0</cx:pt>
          <cx:pt idx="2231">0</cx:pt>
          <cx:pt idx="2232">1</cx:pt>
          <cx:pt idx="2233">1</cx:pt>
          <cx:pt idx="2234">0</cx:pt>
          <cx:pt idx="2235">0</cx:pt>
          <cx:pt idx="2236">1</cx:pt>
          <cx:pt idx="2237">0</cx:pt>
          <cx:pt idx="2238">1</cx:pt>
          <cx:pt idx="2239">0</cx:pt>
          <cx:pt idx="2240">1</cx:pt>
          <cx:pt idx="2241">1</cx:pt>
          <cx:pt idx="2242">1</cx:pt>
          <cx:pt idx="2243">1</cx:pt>
          <cx:pt idx="2244">1</cx:pt>
          <cx:pt idx="2245">1</cx:pt>
          <cx:pt idx="2246">0</cx:pt>
          <cx:pt idx="2247">1</cx:pt>
          <cx:pt idx="2248">0</cx:pt>
          <cx:pt idx="2249">1</cx:pt>
          <cx:pt idx="2250">1</cx:pt>
          <cx:pt idx="2251">1</cx:pt>
          <cx:pt idx="2252">1</cx:pt>
          <cx:pt idx="2253">0</cx:pt>
          <cx:pt idx="2254">1</cx:pt>
          <cx:pt idx="2255">0</cx:pt>
          <cx:pt idx="2256">1</cx:pt>
          <cx:pt idx="2257">1</cx:pt>
          <cx:pt idx="2258">0</cx:pt>
          <cx:pt idx="2259">1</cx:pt>
          <cx:pt idx="2260">0</cx:pt>
          <cx:pt idx="2261">0</cx:pt>
          <cx:pt idx="2262">0</cx:pt>
          <cx:pt idx="2263">0</cx:pt>
          <cx:pt idx="2264">0</cx:pt>
          <cx:pt idx="2265">0</cx:pt>
          <cx:pt idx="2266">0</cx:pt>
          <cx:pt idx="2267">1</cx:pt>
          <cx:pt idx="2268">0</cx:pt>
          <cx:pt idx="2269">1</cx:pt>
          <cx:pt idx="2270">1</cx:pt>
          <cx:pt idx="2271">1</cx:pt>
          <cx:pt idx="2272">0</cx:pt>
          <cx:pt idx="2273">0</cx:pt>
          <cx:pt idx="2274">0</cx:pt>
          <cx:pt idx="2275">0</cx:pt>
          <cx:pt idx="2276">1</cx:pt>
          <cx:pt idx="2277">0</cx:pt>
          <cx:pt idx="2278">0</cx:pt>
          <cx:pt idx="2279">1</cx:pt>
          <cx:pt idx="2280">1</cx:pt>
          <cx:pt idx="2281">0</cx:pt>
          <cx:pt idx="2282">0</cx:pt>
          <cx:pt idx="2283">1</cx:pt>
          <cx:pt idx="2284">0</cx:pt>
          <cx:pt idx="2285">1</cx:pt>
          <cx:pt idx="2286">1</cx:pt>
          <cx:pt idx="2287">0</cx:pt>
          <cx:pt idx="2288">0</cx:pt>
          <cx:pt idx="2289">0</cx:pt>
          <cx:pt idx="2290">0</cx:pt>
          <cx:pt idx="2291">0</cx:pt>
          <cx:pt idx="2292">0</cx:pt>
          <cx:pt idx="2293">1</cx:pt>
          <cx:pt idx="2294">0</cx:pt>
          <cx:pt idx="2295">0</cx:pt>
          <cx:pt idx="2296">1</cx:pt>
          <cx:pt idx="2297">1</cx:pt>
          <cx:pt idx="2298">0</cx:pt>
          <cx:pt idx="2299">1</cx:pt>
          <cx:pt idx="2300">1</cx:pt>
          <cx:pt idx="2301">0</cx:pt>
          <cx:pt idx="2302">1</cx:pt>
          <cx:pt idx="2303">0</cx:pt>
          <cx:pt idx="2304">0</cx:pt>
          <cx:pt idx="2305">1</cx:pt>
          <cx:pt idx="2306">0</cx:pt>
          <cx:pt idx="2307">0</cx:pt>
          <cx:pt idx="2308">1</cx:pt>
          <cx:pt idx="2309">0</cx:pt>
          <cx:pt idx="2310">0</cx:pt>
          <cx:pt idx="2311">1</cx:pt>
          <cx:pt idx="2312">0</cx:pt>
          <cx:pt idx="2313">0</cx:pt>
          <cx:pt idx="2314">0</cx:pt>
          <cx:pt idx="2315">1</cx:pt>
          <cx:pt idx="2316">1</cx:pt>
          <cx:pt idx="2317">0</cx:pt>
          <cx:pt idx="2318">1</cx:pt>
          <cx:pt idx="2319">0</cx:pt>
          <cx:pt idx="2320">1</cx:pt>
          <cx:pt idx="2321">0</cx:pt>
          <cx:pt idx="2322">0</cx:pt>
          <cx:pt idx="2323">0</cx:pt>
          <cx:pt idx="2324">1</cx:pt>
          <cx:pt idx="2325">1</cx:pt>
          <cx:pt idx="2326">0</cx:pt>
          <cx:pt idx="2327">0</cx:pt>
          <cx:pt idx="2328">0</cx:pt>
          <cx:pt idx="2329">0</cx:pt>
          <cx:pt idx="2330">0</cx:pt>
          <cx:pt idx="2331">1</cx:pt>
          <cx:pt idx="2332">1</cx:pt>
          <cx:pt idx="2333">0</cx:pt>
          <cx:pt idx="2334">0</cx:pt>
          <cx:pt idx="2335">0</cx:pt>
          <cx:pt idx="2336">0</cx:pt>
          <cx:pt idx="2337">0</cx:pt>
          <cx:pt idx="2338">1</cx:pt>
          <cx:pt idx="2339">1</cx:pt>
          <cx:pt idx="2340">1</cx:pt>
          <cx:pt idx="2341">0</cx:pt>
          <cx:pt idx="2342">1</cx:pt>
          <cx:pt idx="2343">0</cx:pt>
          <cx:pt idx="2344">1</cx:pt>
          <cx:pt idx="2345">1</cx:pt>
          <cx:pt idx="2346">1</cx:pt>
          <cx:pt idx="2347">1</cx:pt>
          <cx:pt idx="2348">0</cx:pt>
          <cx:pt idx="2349">0</cx:pt>
          <cx:pt idx="2350">1</cx:pt>
          <cx:pt idx="2351">1</cx:pt>
          <cx:pt idx="2352">0</cx:pt>
          <cx:pt idx="2353">0</cx:pt>
          <cx:pt idx="2354">1</cx:pt>
          <cx:pt idx="2355">1</cx:pt>
          <cx:pt idx="2356">0</cx:pt>
          <cx:pt idx="2357">0</cx:pt>
          <cx:pt idx="2358">1</cx:pt>
          <cx:pt idx="2359">1</cx:pt>
          <cx:pt idx="2360">1</cx:pt>
          <cx:pt idx="2361">0</cx:pt>
          <cx:pt idx="2362">0</cx:pt>
          <cx:pt idx="2363">0</cx:pt>
          <cx:pt idx="2364">1</cx:pt>
          <cx:pt idx="2365">0</cx:pt>
          <cx:pt idx="2366">1</cx:pt>
          <cx:pt idx="2367">0</cx:pt>
          <cx:pt idx="2368">0</cx:pt>
          <cx:pt idx="2369">1</cx:pt>
          <cx:pt idx="2370">1</cx:pt>
          <cx:pt idx="2371">0</cx:pt>
          <cx:pt idx="2372">0</cx:pt>
          <cx:pt idx="2373">1</cx:pt>
          <cx:pt idx="2374">1</cx:pt>
          <cx:pt idx="2375">1</cx:pt>
          <cx:pt idx="2376">0</cx:pt>
          <cx:pt idx="2377">0</cx:pt>
          <cx:pt idx="2378">0</cx:pt>
          <cx:pt idx="2379">1</cx:pt>
          <cx:pt idx="2380">1</cx:pt>
          <cx:pt idx="2381">0</cx:pt>
          <cx:pt idx="2382">1</cx:pt>
          <cx:pt idx="2383">0</cx:pt>
          <cx:pt idx="2384">1</cx:pt>
          <cx:pt idx="2385">0</cx:pt>
          <cx:pt idx="2386">1</cx:pt>
          <cx:pt idx="2387">1</cx:pt>
          <cx:pt idx="2388">1</cx:pt>
          <cx:pt idx="2389">0</cx:pt>
          <cx:pt idx="2390">1</cx:pt>
          <cx:pt idx="2391">1</cx:pt>
          <cx:pt idx="2392">1</cx:pt>
          <cx:pt idx="2393">1</cx:pt>
          <cx:pt idx="2394">1</cx:pt>
          <cx:pt idx="2395">0</cx:pt>
          <cx:pt idx="2396">1</cx:pt>
          <cx:pt idx="2397">1</cx:pt>
          <cx:pt idx="2398">0</cx:pt>
          <cx:pt idx="2399">1</cx:pt>
          <cx:pt idx="2400">0</cx:pt>
          <cx:pt idx="2401">0</cx:pt>
          <cx:pt idx="2402">0</cx:pt>
          <cx:pt idx="2403">0</cx:pt>
          <cx:pt idx="2404">1</cx:pt>
          <cx:pt idx="2405">0</cx:pt>
          <cx:pt idx="2406">0</cx:pt>
          <cx:pt idx="2407">1</cx:pt>
          <cx:pt idx="2408">0</cx:pt>
          <cx:pt idx="2409">1</cx:pt>
          <cx:pt idx="2410">0</cx:pt>
          <cx:pt idx="2411">0</cx:pt>
          <cx:pt idx="2412">1</cx:pt>
          <cx:pt idx="2413">0</cx:pt>
          <cx:pt idx="2414">0</cx:pt>
          <cx:pt idx="2415">1</cx:pt>
          <cx:pt idx="2416">0</cx:pt>
          <cx:pt idx="2417">0</cx:pt>
          <cx:pt idx="2418">0</cx:pt>
          <cx:pt idx="2419">1</cx:pt>
          <cx:pt idx="2420">0</cx:pt>
          <cx:pt idx="2421">1</cx:pt>
          <cx:pt idx="2422">0</cx:pt>
          <cx:pt idx="2423">0</cx:pt>
          <cx:pt idx="2424">0</cx:pt>
          <cx:pt idx="2425">0</cx:pt>
          <cx:pt idx="2426">0</cx:pt>
          <cx:pt idx="2427">1</cx:pt>
          <cx:pt idx="2428">0</cx:pt>
          <cx:pt idx="2429">0</cx:pt>
          <cx:pt idx="2430">0</cx:pt>
          <cx:pt idx="2431">0</cx:pt>
          <cx:pt idx="2432">0</cx:pt>
          <cx:pt idx="2433">0</cx:pt>
          <cx:pt idx="2434">1</cx:pt>
          <cx:pt idx="2435">0</cx:pt>
          <cx:pt idx="2436">0</cx:pt>
          <cx:pt idx="2437">1</cx:pt>
          <cx:pt idx="2438">0</cx:pt>
          <cx:pt idx="2439">1</cx:pt>
          <cx:pt idx="2440">0</cx:pt>
          <cx:pt idx="2441">0</cx:pt>
          <cx:pt idx="2442">1</cx:pt>
          <cx:pt idx="2443">0</cx:pt>
          <cx:pt idx="2444">0</cx:pt>
          <cx:pt idx="2445">0</cx:pt>
          <cx:pt idx="2446">0</cx:pt>
          <cx:pt idx="2447">1</cx:pt>
          <cx:pt idx="2448">0</cx:pt>
          <cx:pt idx="2449">0</cx:pt>
          <cx:pt idx="2450">1</cx:pt>
          <cx:pt idx="2451">0</cx:pt>
          <cx:pt idx="2452">0</cx:pt>
          <cx:pt idx="2453">1</cx:pt>
          <cx:pt idx="2454">1</cx:pt>
          <cx:pt idx="2455">1</cx:pt>
          <cx:pt idx="2456">0</cx:pt>
          <cx:pt idx="2457">0</cx:pt>
          <cx:pt idx="2458">1</cx:pt>
          <cx:pt idx="2459">1</cx:pt>
          <cx:pt idx="2460">1</cx:pt>
          <cx:pt idx="2461">0</cx:pt>
          <cx:pt idx="2462">0</cx:pt>
          <cx:pt idx="2463">0</cx:pt>
          <cx:pt idx="2464">0</cx:pt>
          <cx:pt idx="2465">0</cx:pt>
          <cx:pt idx="2466">1</cx:pt>
          <cx:pt idx="2467">0</cx:pt>
          <cx:pt idx="2468">1</cx:pt>
          <cx:pt idx="2469">1</cx:pt>
          <cx:pt idx="2470">0</cx:pt>
          <cx:pt idx="2471">1</cx:pt>
          <cx:pt idx="2472">0</cx:pt>
          <cx:pt idx="2473">0</cx:pt>
          <cx:pt idx="2474">0</cx:pt>
          <cx:pt idx="2475">0</cx:pt>
          <cx:pt idx="2476">1</cx:pt>
          <cx:pt idx="2477">1</cx:pt>
          <cx:pt idx="2478">1</cx:pt>
          <cx:pt idx="2479">0</cx:pt>
          <cx:pt idx="2480">1</cx:pt>
          <cx:pt idx="2481">1</cx:pt>
          <cx:pt idx="2482">0</cx:pt>
          <cx:pt idx="2483">1</cx:pt>
          <cx:pt idx="2484">0</cx:pt>
          <cx:pt idx="2485">1</cx:pt>
          <cx:pt idx="2486">1</cx:pt>
          <cx:pt idx="2487">1</cx:pt>
          <cx:pt idx="2488">0</cx:pt>
          <cx:pt idx="2489">0</cx:pt>
          <cx:pt idx="2490">0</cx:pt>
          <cx:pt idx="2491">1</cx:pt>
          <cx:pt idx="2492">0</cx:pt>
          <cx:pt idx="2493">1</cx:pt>
          <cx:pt idx="2494">0</cx:pt>
          <cx:pt idx="2495">1</cx:pt>
          <cx:pt idx="2496">0</cx:pt>
          <cx:pt idx="2497">0</cx:pt>
          <cx:pt idx="2498">0</cx:pt>
          <cx:pt idx="2499">0</cx:pt>
          <cx:pt idx="2500">0</cx:pt>
          <cx:pt idx="2501">0</cx:pt>
          <cx:pt idx="2502">1</cx:pt>
          <cx:pt idx="2503">0</cx:pt>
          <cx:pt idx="2504">0</cx:pt>
          <cx:pt idx="2505">0</cx:pt>
          <cx:pt idx="2506">0</cx:pt>
          <cx:pt idx="2507">0</cx:pt>
          <cx:pt idx="2508">0</cx:pt>
          <cx:pt idx="2509">1</cx:pt>
          <cx:pt idx="2510">0</cx:pt>
          <cx:pt idx="2511">1</cx:pt>
          <cx:pt idx="2512">0</cx:pt>
          <cx:pt idx="2513">1</cx:pt>
          <cx:pt idx="2514">0</cx:pt>
          <cx:pt idx="2515">0</cx:pt>
          <cx:pt idx="2516">0</cx:pt>
          <cx:pt idx="2517">1</cx:pt>
          <cx:pt idx="2518">1</cx:pt>
          <cx:pt idx="2519">0</cx:pt>
          <cx:pt idx="2520">0</cx:pt>
          <cx:pt idx="2521">0</cx:pt>
          <cx:pt idx="2522">1</cx:pt>
          <cx:pt idx="2523">0</cx:pt>
          <cx:pt idx="2524">1</cx:pt>
          <cx:pt idx="2525">1</cx:pt>
          <cx:pt idx="2526">0</cx:pt>
          <cx:pt idx="2527">1</cx:pt>
          <cx:pt idx="2528">0</cx:pt>
          <cx:pt idx="2529">0</cx:pt>
          <cx:pt idx="2530">1</cx:pt>
          <cx:pt idx="2531">0</cx:pt>
          <cx:pt idx="2532">0</cx:pt>
          <cx:pt idx="2533">1</cx:pt>
          <cx:pt idx="2534">0</cx:pt>
          <cx:pt idx="2535">0</cx:pt>
          <cx:pt idx="2536">0</cx:pt>
          <cx:pt idx="2537">1</cx:pt>
          <cx:pt idx="2538">0</cx:pt>
          <cx:pt idx="2539">1</cx:pt>
          <cx:pt idx="2540">0</cx:pt>
          <cx:pt idx="2541">1</cx:pt>
          <cx:pt idx="2542">0</cx:pt>
          <cx:pt idx="2543">1</cx:pt>
          <cx:pt idx="2544">1</cx:pt>
          <cx:pt idx="2545">1</cx:pt>
          <cx:pt idx="2546">1</cx:pt>
          <cx:pt idx="2547">1</cx:pt>
          <cx:pt idx="2548">0</cx:pt>
          <cx:pt idx="2549">0</cx:pt>
          <cx:pt idx="2550">0</cx:pt>
          <cx:pt idx="2551">0</cx:pt>
          <cx:pt idx="2552">1</cx:pt>
          <cx:pt idx="2553">1</cx:pt>
          <cx:pt idx="2554">0</cx:pt>
          <cx:pt idx="2555">1</cx:pt>
          <cx:pt idx="2556">0</cx:pt>
          <cx:pt idx="2557">1</cx:pt>
          <cx:pt idx="2558">1</cx:pt>
          <cx:pt idx="2559">0</cx:pt>
          <cx:pt idx="2560">0</cx:pt>
          <cx:pt idx="2561">0</cx:pt>
          <cx:pt idx="2562">0</cx:pt>
          <cx:pt idx="2563">0</cx:pt>
          <cx:pt idx="2564">0</cx:pt>
          <cx:pt idx="2565">0</cx:pt>
          <cx:pt idx="2566">1</cx:pt>
          <cx:pt idx="2567">1</cx:pt>
          <cx:pt idx="2568">0</cx:pt>
          <cx:pt idx="2569">0</cx:pt>
          <cx:pt idx="2570">0</cx:pt>
          <cx:pt idx="2571">0</cx:pt>
          <cx:pt idx="2572">0</cx:pt>
          <cx:pt idx="2573">0</cx:pt>
          <cx:pt idx="2574">0</cx:pt>
          <cx:pt idx="2575">1</cx:pt>
          <cx:pt idx="2576">0</cx:pt>
          <cx:pt idx="2577">1</cx:pt>
          <cx:pt idx="2578">0</cx:pt>
          <cx:pt idx="2579">0</cx:pt>
          <cx:pt idx="2580">1</cx:pt>
          <cx:pt idx="2581">0</cx:pt>
          <cx:pt idx="2582">0</cx:pt>
          <cx:pt idx="2583">0</cx:pt>
          <cx:pt idx="2584">0</cx:pt>
          <cx:pt idx="2585">0</cx:pt>
          <cx:pt idx="2586">0</cx:pt>
          <cx:pt idx="2587">0</cx:pt>
          <cx:pt idx="2588">1</cx:pt>
          <cx:pt idx="2589">1</cx:pt>
          <cx:pt idx="2590">0</cx:pt>
          <cx:pt idx="2591">1</cx:pt>
          <cx:pt idx="2592">0</cx:pt>
          <cx:pt idx="2593">0</cx:pt>
          <cx:pt idx="2594">0</cx:pt>
          <cx:pt idx="2595">0</cx:pt>
          <cx:pt idx="2596">1</cx:pt>
          <cx:pt idx="2597">1</cx:pt>
          <cx:pt idx="2598">1</cx:pt>
          <cx:pt idx="2599">0</cx:pt>
          <cx:pt idx="2600">0</cx:pt>
          <cx:pt idx="2601">0</cx:pt>
          <cx:pt idx="2602">0</cx:pt>
          <cx:pt idx="2603">0</cx:pt>
          <cx:pt idx="2604">1</cx:pt>
          <cx:pt idx="2605">1</cx:pt>
          <cx:pt idx="2606">0</cx:pt>
          <cx:pt idx="2607">0</cx:pt>
          <cx:pt idx="2608">1</cx:pt>
          <cx:pt idx="2609">0</cx:pt>
          <cx:pt idx="2610">1</cx:pt>
          <cx:pt idx="2611">0</cx:pt>
          <cx:pt idx="2612">1</cx:pt>
          <cx:pt idx="2613">1</cx:pt>
          <cx:pt idx="2614">1</cx:pt>
          <cx:pt idx="2615">1</cx:pt>
          <cx:pt idx="2616">0</cx:pt>
          <cx:pt idx="2617">1</cx:pt>
          <cx:pt idx="2618">0</cx:pt>
          <cx:pt idx="2619">0</cx:pt>
          <cx:pt idx="2620">1</cx:pt>
          <cx:pt idx="2621">1</cx:pt>
          <cx:pt idx="2622">0</cx:pt>
          <cx:pt idx="2623">0</cx:pt>
          <cx:pt idx="2624">0</cx:pt>
          <cx:pt idx="2625">1</cx:pt>
          <cx:pt idx="2626">0</cx:pt>
          <cx:pt idx="2627">0</cx:pt>
          <cx:pt idx="2628">1</cx:pt>
          <cx:pt idx="2629">0</cx:pt>
          <cx:pt idx="2630">1</cx:pt>
          <cx:pt idx="2631">1</cx:pt>
          <cx:pt idx="2632">1</cx:pt>
          <cx:pt idx="2633">0</cx:pt>
          <cx:pt idx="2634">0</cx:pt>
          <cx:pt idx="2635">1</cx:pt>
          <cx:pt idx="2636">1</cx:pt>
          <cx:pt idx="2637">1</cx:pt>
          <cx:pt idx="2638">1</cx:pt>
          <cx:pt idx="2639">1</cx:pt>
          <cx:pt idx="2640">0</cx:pt>
          <cx:pt idx="2641">0</cx:pt>
          <cx:pt idx="2642">1</cx:pt>
          <cx:pt idx="2643">1</cx:pt>
          <cx:pt idx="2644">0</cx:pt>
          <cx:pt idx="2645">1</cx:pt>
          <cx:pt idx="2646">0</cx:pt>
          <cx:pt idx="2647">1</cx:pt>
          <cx:pt idx="2648">0</cx:pt>
          <cx:pt idx="2649">1</cx:pt>
          <cx:pt idx="2650">0</cx:pt>
          <cx:pt idx="2651">0</cx:pt>
          <cx:pt idx="2652">0</cx:pt>
          <cx:pt idx="2653">0</cx:pt>
          <cx:pt idx="2654">0</cx:pt>
          <cx:pt idx="2655">1</cx:pt>
          <cx:pt idx="2656">1</cx:pt>
          <cx:pt idx="2657">1</cx:pt>
          <cx:pt idx="2658">1</cx:pt>
          <cx:pt idx="2659">1</cx:pt>
          <cx:pt idx="2660">1</cx:pt>
          <cx:pt idx="2661">0</cx:pt>
          <cx:pt idx="2662">0</cx:pt>
          <cx:pt idx="2663">0</cx:pt>
          <cx:pt idx="2664">1</cx:pt>
          <cx:pt idx="2665">0</cx:pt>
          <cx:pt idx="2666">0</cx:pt>
          <cx:pt idx="2667">1</cx:pt>
          <cx:pt idx="2668">1</cx:pt>
          <cx:pt idx="2669">1</cx:pt>
          <cx:pt idx="2670">1</cx:pt>
          <cx:pt idx="2671">1</cx:pt>
          <cx:pt idx="2672">1</cx:pt>
          <cx:pt idx="2673">0</cx:pt>
          <cx:pt idx="2674">0</cx:pt>
          <cx:pt idx="2675">0</cx:pt>
          <cx:pt idx="2676">0</cx:pt>
          <cx:pt idx="2677">0</cx:pt>
          <cx:pt idx="2678">0</cx:pt>
          <cx:pt idx="2679">0</cx:pt>
          <cx:pt idx="2680">1</cx:pt>
          <cx:pt idx="2681">0</cx:pt>
          <cx:pt idx="2682">0</cx:pt>
          <cx:pt idx="2683">1</cx:pt>
          <cx:pt idx="2684">1</cx:pt>
          <cx:pt idx="2685">1</cx:pt>
          <cx:pt idx="2686">1</cx:pt>
          <cx:pt idx="2687">1</cx:pt>
          <cx:pt idx="2688">1</cx:pt>
          <cx:pt idx="2689">1</cx:pt>
          <cx:pt idx="2690">1</cx:pt>
          <cx:pt idx="2691">0</cx:pt>
          <cx:pt idx="2692">1</cx:pt>
          <cx:pt idx="2693">1</cx:pt>
          <cx:pt idx="2694">1</cx:pt>
          <cx:pt idx="2695">0</cx:pt>
          <cx:pt idx="2696">0</cx:pt>
          <cx:pt idx="2697">0</cx:pt>
          <cx:pt idx="2698">1</cx:pt>
          <cx:pt idx="2699">0</cx:pt>
          <cx:pt idx="2700">1</cx:pt>
          <cx:pt idx="2701">0</cx:pt>
          <cx:pt idx="2702">1</cx:pt>
          <cx:pt idx="2703">0</cx:pt>
          <cx:pt idx="2704">0</cx:pt>
          <cx:pt idx="2705">0</cx:pt>
          <cx:pt idx="2706">1</cx:pt>
          <cx:pt idx="2707">0</cx:pt>
          <cx:pt idx="2708">0</cx:pt>
          <cx:pt idx="2709">1</cx:pt>
          <cx:pt idx="2710">1</cx:pt>
          <cx:pt idx="2711">1</cx:pt>
          <cx:pt idx="2712">0</cx:pt>
          <cx:pt idx="2713">1</cx:pt>
          <cx:pt idx="2714">1</cx:pt>
          <cx:pt idx="2715">1</cx:pt>
          <cx:pt idx="2716">0</cx:pt>
          <cx:pt idx="2717">0</cx:pt>
          <cx:pt idx="2718">0</cx:pt>
          <cx:pt idx="2719">1</cx:pt>
          <cx:pt idx="2720">1</cx:pt>
          <cx:pt idx="2721">1</cx:pt>
          <cx:pt idx="2722">1</cx:pt>
          <cx:pt idx="2723">0</cx:pt>
          <cx:pt idx="2724">1</cx:pt>
          <cx:pt idx="2725">0</cx:pt>
          <cx:pt idx="2726">0</cx:pt>
          <cx:pt idx="2727">0</cx:pt>
          <cx:pt idx="2728">1</cx:pt>
          <cx:pt idx="2729">1</cx:pt>
          <cx:pt idx="2730">0</cx:pt>
          <cx:pt idx="2731">0</cx:pt>
          <cx:pt idx="2732">1</cx:pt>
          <cx:pt idx="2733">0</cx:pt>
          <cx:pt idx="2734">1</cx:pt>
          <cx:pt idx="2735">0</cx:pt>
          <cx:pt idx="2736">0</cx:pt>
          <cx:pt idx="2737">0</cx:pt>
          <cx:pt idx="2738">1</cx:pt>
          <cx:pt idx="2739">1</cx:pt>
          <cx:pt idx="2740">1</cx:pt>
          <cx:pt idx="2741">1</cx:pt>
          <cx:pt idx="2742">1</cx:pt>
          <cx:pt idx="2743">1</cx:pt>
          <cx:pt idx="2744">1</cx:pt>
          <cx:pt idx="2745">1</cx:pt>
          <cx:pt idx="2746">0</cx:pt>
          <cx:pt idx="2747">0</cx:pt>
          <cx:pt idx="2748">0</cx:pt>
          <cx:pt idx="2749">0</cx:pt>
          <cx:pt idx="2750">0</cx:pt>
          <cx:pt idx="2751">0</cx:pt>
          <cx:pt idx="2752">0</cx:pt>
          <cx:pt idx="2753">1</cx:pt>
          <cx:pt idx="2754">1</cx:pt>
          <cx:pt idx="2755">0</cx:pt>
          <cx:pt idx="2756">0</cx:pt>
          <cx:pt idx="2757">0</cx:pt>
          <cx:pt idx="2758">1</cx:pt>
          <cx:pt idx="2759">1</cx:pt>
          <cx:pt idx="2760">0</cx:pt>
          <cx:pt idx="2761">0</cx:pt>
          <cx:pt idx="2762">0</cx:pt>
          <cx:pt idx="2763">0</cx:pt>
          <cx:pt idx="2764">0</cx:pt>
          <cx:pt idx="2765">1</cx:pt>
          <cx:pt idx="2766">0</cx:pt>
          <cx:pt idx="2767">1</cx:pt>
          <cx:pt idx="2768">0</cx:pt>
          <cx:pt idx="2769">0</cx:pt>
          <cx:pt idx="2770">1</cx:pt>
          <cx:pt idx="2771">1</cx:pt>
          <cx:pt idx="2772">0</cx:pt>
          <cx:pt idx="2773">1</cx:pt>
          <cx:pt idx="2774">0</cx:pt>
          <cx:pt idx="2775">1</cx:pt>
          <cx:pt idx="2776">0</cx:pt>
          <cx:pt idx="2777">0</cx:pt>
          <cx:pt idx="2778">1</cx:pt>
          <cx:pt idx="2779">0</cx:pt>
          <cx:pt idx="2780">1</cx:pt>
          <cx:pt idx="2781">0</cx:pt>
          <cx:pt idx="2782">1</cx:pt>
          <cx:pt idx="2783">1</cx:pt>
          <cx:pt idx="2784">0</cx:pt>
          <cx:pt idx="2785">1</cx:pt>
          <cx:pt idx="2786">1</cx:pt>
          <cx:pt idx="2787">0</cx:pt>
          <cx:pt idx="2788">0</cx:pt>
          <cx:pt idx="2789">0</cx:pt>
          <cx:pt idx="2790">0</cx:pt>
          <cx:pt idx="2791">0</cx:pt>
          <cx:pt idx="2792">0</cx:pt>
          <cx:pt idx="2793">0</cx:pt>
          <cx:pt idx="2794">0</cx:pt>
          <cx:pt idx="2795">1</cx:pt>
          <cx:pt idx="2796">1</cx:pt>
          <cx:pt idx="2797">0</cx:pt>
          <cx:pt idx="2798">1</cx:pt>
          <cx:pt idx="2799">0</cx:pt>
          <cx:pt idx="2800">1</cx:pt>
          <cx:pt idx="2801">1</cx:pt>
          <cx:pt idx="2802">0</cx:pt>
          <cx:pt idx="2803">0</cx:pt>
          <cx:pt idx="2804">0</cx:pt>
          <cx:pt idx="2805">1</cx:pt>
          <cx:pt idx="2806">0</cx:pt>
          <cx:pt idx="2807">1</cx:pt>
          <cx:pt idx="2808">1</cx:pt>
          <cx:pt idx="2809">0</cx:pt>
          <cx:pt idx="2810">1</cx:pt>
          <cx:pt idx="2811">0</cx:pt>
          <cx:pt idx="2812">0</cx:pt>
          <cx:pt idx="2813">0</cx:pt>
          <cx:pt idx="2814">1</cx:pt>
          <cx:pt idx="2815">0</cx:pt>
          <cx:pt idx="2816">0</cx:pt>
          <cx:pt idx="2817">0</cx:pt>
          <cx:pt idx="2818">1</cx:pt>
          <cx:pt idx="2819">0</cx:pt>
          <cx:pt idx="2820">1</cx:pt>
          <cx:pt idx="2821">0</cx:pt>
          <cx:pt idx="2822">1</cx:pt>
          <cx:pt idx="2823">1</cx:pt>
          <cx:pt idx="2824">0</cx:pt>
          <cx:pt idx="2825">1</cx:pt>
          <cx:pt idx="2826">0</cx:pt>
          <cx:pt idx="2827">1</cx:pt>
          <cx:pt idx="2828">0</cx:pt>
          <cx:pt idx="2829">0</cx:pt>
          <cx:pt idx="2830">0</cx:pt>
          <cx:pt idx="2831">0</cx:pt>
          <cx:pt idx="2832">0</cx:pt>
          <cx:pt idx="2833">1</cx:pt>
          <cx:pt idx="2834">1</cx:pt>
          <cx:pt idx="2835">0</cx:pt>
          <cx:pt idx="2836">1</cx:pt>
          <cx:pt idx="2837">0</cx:pt>
          <cx:pt idx="2838">1</cx:pt>
          <cx:pt idx="2839">0</cx:pt>
          <cx:pt idx="2840">1</cx:pt>
          <cx:pt idx="2841">0</cx:pt>
          <cx:pt idx="2842">0</cx:pt>
          <cx:pt idx="2843">0</cx:pt>
          <cx:pt idx="2844">0</cx:pt>
          <cx:pt idx="2845">1</cx:pt>
          <cx:pt idx="2846">0</cx:pt>
          <cx:pt idx="2847">1</cx:pt>
          <cx:pt idx="2848">0</cx:pt>
          <cx:pt idx="2849">1</cx:pt>
          <cx:pt idx="2850">0</cx:pt>
          <cx:pt idx="2851">1</cx:pt>
          <cx:pt idx="2852">1</cx:pt>
          <cx:pt idx="2853">1</cx:pt>
          <cx:pt idx="2854">1</cx:pt>
          <cx:pt idx="2855">0</cx:pt>
          <cx:pt idx="2856">0</cx:pt>
          <cx:pt idx="2857">0</cx:pt>
          <cx:pt idx="2858">0</cx:pt>
          <cx:pt idx="2859">1</cx:pt>
          <cx:pt idx="2860">1</cx:pt>
          <cx:pt idx="2861">0</cx:pt>
          <cx:pt idx="2862">0</cx:pt>
          <cx:pt idx="2863">1</cx:pt>
          <cx:pt idx="2864">0</cx:pt>
          <cx:pt idx="2865">0</cx:pt>
          <cx:pt idx="2866">1</cx:pt>
          <cx:pt idx="2867">0</cx:pt>
          <cx:pt idx="2868">0</cx:pt>
          <cx:pt idx="2869">0</cx:pt>
          <cx:pt idx="2870">0</cx:pt>
          <cx:pt idx="2871">0</cx:pt>
          <cx:pt idx="2872">1</cx:pt>
          <cx:pt idx="2873">1</cx:pt>
          <cx:pt idx="2874">1</cx:pt>
          <cx:pt idx="2875">1</cx:pt>
          <cx:pt idx="2876">0</cx:pt>
          <cx:pt idx="2877">0</cx:pt>
          <cx:pt idx="2878">0</cx:pt>
          <cx:pt idx="2879">0</cx:pt>
          <cx:pt idx="2880">0</cx:pt>
          <cx:pt idx="2881">1</cx:pt>
          <cx:pt idx="2882">0</cx:pt>
          <cx:pt idx="2883">1</cx:pt>
          <cx:pt idx="2884">0</cx:pt>
          <cx:pt idx="2885">1</cx:pt>
          <cx:pt idx="2886">0</cx:pt>
          <cx:pt idx="2887">0</cx:pt>
          <cx:pt idx="2888">1</cx:pt>
          <cx:pt idx="2889">0</cx:pt>
          <cx:pt idx="2890">1</cx:pt>
          <cx:pt idx="2891">1</cx:pt>
          <cx:pt idx="2892">1</cx:pt>
          <cx:pt idx="2893">1</cx:pt>
          <cx:pt idx="2894">1</cx:pt>
          <cx:pt idx="2895">1</cx:pt>
          <cx:pt idx="2896">0</cx:pt>
          <cx:pt idx="2897">1</cx:pt>
          <cx:pt idx="2898">1</cx:pt>
          <cx:pt idx="2899">1</cx:pt>
          <cx:pt idx="2900">0</cx:pt>
          <cx:pt idx="2901">1</cx:pt>
          <cx:pt idx="2902">0</cx:pt>
          <cx:pt idx="2903">0</cx:pt>
          <cx:pt idx="2904">1</cx:pt>
          <cx:pt idx="2905">0</cx:pt>
          <cx:pt idx="2906">1</cx:pt>
          <cx:pt idx="2907">0</cx:pt>
          <cx:pt idx="2908">0</cx:pt>
          <cx:pt idx="2909">0</cx:pt>
          <cx:pt idx="2910">0</cx:pt>
          <cx:pt idx="2911">0</cx:pt>
          <cx:pt idx="2912">1</cx:pt>
          <cx:pt idx="2913">0</cx:pt>
          <cx:pt idx="2914">0</cx:pt>
          <cx:pt idx="2915">1</cx:pt>
          <cx:pt idx="2916">0</cx:pt>
          <cx:pt idx="2917">1</cx:pt>
          <cx:pt idx="2918">1</cx:pt>
          <cx:pt idx="2919">0</cx:pt>
          <cx:pt idx="2920">1</cx:pt>
          <cx:pt idx="2921">1</cx:pt>
          <cx:pt idx="2922">0</cx:pt>
          <cx:pt idx="2923">0</cx:pt>
          <cx:pt idx="2924">1</cx:pt>
          <cx:pt idx="2925">0</cx:pt>
          <cx:pt idx="2926">0</cx:pt>
          <cx:pt idx="2927">1</cx:pt>
          <cx:pt idx="2928">1</cx:pt>
          <cx:pt idx="2929">1</cx:pt>
          <cx:pt idx="2930">1</cx:pt>
          <cx:pt idx="2931">1</cx:pt>
          <cx:pt idx="2932">0</cx:pt>
          <cx:pt idx="2933">1</cx:pt>
          <cx:pt idx="2934">1</cx:pt>
          <cx:pt idx="2935">0</cx:pt>
          <cx:pt idx="2936">0</cx:pt>
          <cx:pt idx="2937">1</cx:pt>
          <cx:pt idx="2938">0</cx:pt>
          <cx:pt idx="2939">0</cx:pt>
          <cx:pt idx="2940">0</cx:pt>
          <cx:pt idx="2941">1</cx:pt>
          <cx:pt idx="2942">0</cx:pt>
          <cx:pt idx="2943">0</cx:pt>
          <cx:pt idx="2944">1</cx:pt>
          <cx:pt idx="2945">0</cx:pt>
          <cx:pt idx="2946">0</cx:pt>
          <cx:pt idx="2947">1</cx:pt>
          <cx:pt idx="2948">0</cx:pt>
          <cx:pt idx="2949">0</cx:pt>
          <cx:pt idx="2950">1</cx:pt>
          <cx:pt idx="2951">0</cx:pt>
          <cx:pt idx="2952">1</cx:pt>
          <cx:pt idx="2953">1</cx:pt>
          <cx:pt idx="2954">0</cx:pt>
          <cx:pt idx="2955">0</cx:pt>
          <cx:pt idx="2956">0</cx:pt>
          <cx:pt idx="2957">1</cx:pt>
          <cx:pt idx="2958">1</cx:pt>
          <cx:pt idx="2959">0</cx:pt>
          <cx:pt idx="2960">0</cx:pt>
          <cx:pt idx="2961">0</cx:pt>
          <cx:pt idx="2962">0</cx:pt>
          <cx:pt idx="2963">0</cx:pt>
          <cx:pt idx="2964">1</cx:pt>
          <cx:pt idx="2965">0</cx:pt>
          <cx:pt idx="2966">0</cx:pt>
          <cx:pt idx="2967">0</cx:pt>
          <cx:pt idx="2968">1</cx:pt>
          <cx:pt idx="2969">1</cx:pt>
          <cx:pt idx="2970">0</cx:pt>
          <cx:pt idx="2971">1</cx:pt>
          <cx:pt idx="2972">1</cx:pt>
          <cx:pt idx="2973">1</cx:pt>
          <cx:pt idx="2974">0</cx:pt>
          <cx:pt idx="2975">1</cx:pt>
          <cx:pt idx="2976">1</cx:pt>
          <cx:pt idx="2977">0</cx:pt>
          <cx:pt idx="2978">0</cx:pt>
          <cx:pt idx="2979">0</cx:pt>
          <cx:pt idx="2980">1</cx:pt>
          <cx:pt idx="2981">0</cx:pt>
          <cx:pt idx="2982">1</cx:pt>
          <cx:pt idx="2983">1</cx:pt>
          <cx:pt idx="2984">1</cx:pt>
          <cx:pt idx="2985">1</cx:pt>
          <cx:pt idx="2986">1</cx:pt>
          <cx:pt idx="2987">1</cx:pt>
          <cx:pt idx="2988">0</cx:pt>
          <cx:pt idx="2989">0</cx:pt>
          <cx:pt idx="2990">0</cx:pt>
          <cx:pt idx="2991">1</cx:pt>
          <cx:pt idx="2992">0</cx:pt>
          <cx:pt idx="2993">1</cx:pt>
          <cx:pt idx="2994">1</cx:pt>
          <cx:pt idx="2995">0</cx:pt>
          <cx:pt idx="2996">1</cx:pt>
          <cx:pt idx="2997">1</cx:pt>
          <cx:pt idx="2998">0</cx:pt>
          <cx:pt idx="2999">0</cx:pt>
          <cx:pt idx="3000">0</cx:pt>
          <cx:pt idx="3001">1</cx:pt>
          <cx:pt idx="3002">1</cx:pt>
          <cx:pt idx="3003">0</cx:pt>
          <cx:pt idx="3004">0</cx:pt>
          <cx:pt idx="3005">0</cx:pt>
          <cx:pt idx="3006">0</cx:pt>
          <cx:pt idx="3007">0</cx:pt>
          <cx:pt idx="3008">0</cx:pt>
          <cx:pt idx="3009">1</cx:pt>
          <cx:pt idx="3010">0</cx:pt>
          <cx:pt idx="3011">0</cx:pt>
          <cx:pt idx="3012">0</cx:pt>
          <cx:pt idx="3013">1</cx:pt>
          <cx:pt idx="3014">0</cx:pt>
          <cx:pt idx="3015">1</cx:pt>
          <cx:pt idx="3016">1</cx:pt>
          <cx:pt idx="3017">0</cx:pt>
          <cx:pt idx="3018">0</cx:pt>
          <cx:pt idx="3019">0</cx:pt>
          <cx:pt idx="3020">0</cx:pt>
          <cx:pt idx="3021">1</cx:pt>
          <cx:pt idx="3022">0</cx:pt>
          <cx:pt idx="3023">1</cx:pt>
          <cx:pt idx="3024">0</cx:pt>
          <cx:pt idx="3025">1</cx:pt>
          <cx:pt idx="3026">1</cx:pt>
          <cx:pt idx="3027">1</cx:pt>
          <cx:pt idx="3028">1</cx:pt>
          <cx:pt idx="3029">1</cx:pt>
          <cx:pt idx="3030">1</cx:pt>
          <cx:pt idx="3031">0</cx:pt>
          <cx:pt idx="3032">1</cx:pt>
          <cx:pt idx="3033">1</cx:pt>
          <cx:pt idx="3034">0</cx:pt>
          <cx:pt idx="3035">1</cx:pt>
          <cx:pt idx="3036">0</cx:pt>
          <cx:pt idx="3037">0</cx:pt>
          <cx:pt idx="3038">0</cx:pt>
          <cx:pt idx="3039">1</cx:pt>
          <cx:pt idx="3040">1</cx:pt>
          <cx:pt idx="3041">0</cx:pt>
          <cx:pt idx="3042">1</cx:pt>
          <cx:pt idx="3043">0</cx:pt>
          <cx:pt idx="3044">0</cx:pt>
          <cx:pt idx="3045">0</cx:pt>
          <cx:pt idx="3046">1</cx:pt>
          <cx:pt idx="3047">0</cx:pt>
          <cx:pt idx="3048">0</cx:pt>
          <cx:pt idx="3049">0</cx:pt>
          <cx:pt idx="3050">1</cx:pt>
          <cx:pt idx="3051">0</cx:pt>
          <cx:pt idx="3052">0</cx:pt>
          <cx:pt idx="3053">1</cx:pt>
          <cx:pt idx="3054">1</cx:pt>
          <cx:pt idx="3055">1</cx:pt>
          <cx:pt idx="3056">1</cx:pt>
          <cx:pt idx="3057">0</cx:pt>
          <cx:pt idx="3058">0</cx:pt>
          <cx:pt idx="3059">1</cx:pt>
          <cx:pt idx="3060">1</cx:pt>
          <cx:pt idx="3061">1</cx:pt>
          <cx:pt idx="3062">0</cx:pt>
          <cx:pt idx="3063">1</cx:pt>
          <cx:pt idx="3064">0</cx:pt>
          <cx:pt idx="3065">1</cx:pt>
          <cx:pt idx="3066">0</cx:pt>
          <cx:pt idx="3067">1</cx:pt>
          <cx:pt idx="3068">0</cx:pt>
          <cx:pt idx="3069">0</cx:pt>
          <cx:pt idx="3070">0</cx:pt>
          <cx:pt idx="3071">0</cx:pt>
          <cx:pt idx="3072">0</cx:pt>
          <cx:pt idx="3073">1</cx:pt>
          <cx:pt idx="3074">1</cx:pt>
          <cx:pt idx="3075">0</cx:pt>
          <cx:pt idx="3076">0</cx:pt>
          <cx:pt idx="3077">1</cx:pt>
          <cx:pt idx="3078">0</cx:pt>
          <cx:pt idx="3079">1</cx:pt>
          <cx:pt idx="3080">0</cx:pt>
          <cx:pt idx="3081">1</cx:pt>
          <cx:pt idx="3082">0</cx:pt>
          <cx:pt idx="3083">1</cx:pt>
          <cx:pt idx="3084">0</cx:pt>
          <cx:pt idx="3085">1</cx:pt>
          <cx:pt idx="3086">0</cx:pt>
          <cx:pt idx="3087">0</cx:pt>
          <cx:pt idx="3088">0</cx:pt>
          <cx:pt idx="3089">1</cx:pt>
          <cx:pt idx="3090">0</cx:pt>
          <cx:pt idx="3091">0</cx:pt>
          <cx:pt idx="3092">1</cx:pt>
          <cx:pt idx="3093">1</cx:pt>
          <cx:pt idx="3094">0</cx:pt>
          <cx:pt idx="3095">0</cx:pt>
          <cx:pt idx="3096">1</cx:pt>
          <cx:pt idx="3097">0</cx:pt>
          <cx:pt idx="3098">0</cx:pt>
          <cx:pt idx="3099">0</cx:pt>
          <cx:pt idx="3100">1</cx:pt>
          <cx:pt idx="3101">1</cx:pt>
          <cx:pt idx="3102">0</cx:pt>
          <cx:pt idx="3103">1</cx:pt>
          <cx:pt idx="3104">1</cx:pt>
          <cx:pt idx="3105">1</cx:pt>
          <cx:pt idx="3106">1</cx:pt>
          <cx:pt idx="3107">0</cx:pt>
          <cx:pt idx="3108">0</cx:pt>
          <cx:pt idx="3109">0</cx:pt>
          <cx:pt idx="3110">0</cx:pt>
          <cx:pt idx="3111">0</cx:pt>
          <cx:pt idx="3112">0</cx:pt>
          <cx:pt idx="3113">0</cx:pt>
          <cx:pt idx="3114">0</cx:pt>
          <cx:pt idx="3115">0</cx:pt>
          <cx:pt idx="3116">0</cx:pt>
          <cx:pt idx="3117">1</cx:pt>
          <cx:pt idx="3118">0</cx:pt>
          <cx:pt idx="3119">0</cx:pt>
          <cx:pt idx="3120">0</cx:pt>
          <cx:pt idx="3121">0</cx:pt>
          <cx:pt idx="3122">0</cx:pt>
          <cx:pt idx="3123">1</cx:pt>
          <cx:pt idx="3124">0</cx:pt>
          <cx:pt idx="3125">0</cx:pt>
          <cx:pt idx="3126">1</cx:pt>
          <cx:pt idx="3127">0</cx:pt>
          <cx:pt idx="3128">1</cx:pt>
          <cx:pt idx="3129">1</cx:pt>
          <cx:pt idx="3130">0</cx:pt>
          <cx:pt idx="3131">0</cx:pt>
          <cx:pt idx="3132">0</cx:pt>
          <cx:pt idx="3133">0</cx:pt>
          <cx:pt idx="3134">1</cx:pt>
          <cx:pt idx="3135">1</cx:pt>
          <cx:pt idx="3136">0</cx:pt>
          <cx:pt idx="3137">0</cx:pt>
          <cx:pt idx="3138">0</cx:pt>
          <cx:pt idx="3139">1</cx:pt>
          <cx:pt idx="3140">0</cx:pt>
          <cx:pt idx="3141">1</cx:pt>
          <cx:pt idx="3142">1</cx:pt>
          <cx:pt idx="3143">1</cx:pt>
          <cx:pt idx="3144">0</cx:pt>
          <cx:pt idx="3145">1</cx:pt>
          <cx:pt idx="3146">1</cx:pt>
          <cx:pt idx="3147">0</cx:pt>
          <cx:pt idx="3148">1</cx:pt>
          <cx:pt idx="3149">1</cx:pt>
          <cx:pt idx="3150">1</cx:pt>
          <cx:pt idx="3151">1</cx:pt>
          <cx:pt idx="3152">1</cx:pt>
          <cx:pt idx="3153">1</cx:pt>
          <cx:pt idx="3154">0</cx:pt>
          <cx:pt idx="3155">1</cx:pt>
          <cx:pt idx="3156">0</cx:pt>
          <cx:pt idx="3157">1</cx:pt>
          <cx:pt idx="3158">0</cx:pt>
          <cx:pt idx="3159">1</cx:pt>
          <cx:pt idx="3160">1</cx:pt>
          <cx:pt idx="3161">1</cx:pt>
          <cx:pt idx="3162">1</cx:pt>
          <cx:pt idx="3163">1</cx:pt>
          <cx:pt idx="3164">0</cx:pt>
          <cx:pt idx="3165">0</cx:pt>
          <cx:pt idx="3166">0</cx:pt>
          <cx:pt idx="3167">1</cx:pt>
          <cx:pt idx="3168">0</cx:pt>
          <cx:pt idx="3169">1</cx:pt>
          <cx:pt idx="3170">0</cx:pt>
          <cx:pt idx="3171">1</cx:pt>
          <cx:pt idx="3172">0</cx:pt>
          <cx:pt idx="3173">0</cx:pt>
          <cx:pt idx="3174">0</cx:pt>
          <cx:pt idx="3175">1</cx:pt>
          <cx:pt idx="3176">1</cx:pt>
          <cx:pt idx="3177">0</cx:pt>
          <cx:pt idx="3178">1</cx:pt>
          <cx:pt idx="3179">0</cx:pt>
          <cx:pt idx="3180">0</cx:pt>
          <cx:pt idx="3181">1</cx:pt>
          <cx:pt idx="3182">1</cx:pt>
          <cx:pt idx="3183">1</cx:pt>
          <cx:pt idx="3184">0</cx:pt>
          <cx:pt idx="3185">1</cx:pt>
          <cx:pt idx="3186">1</cx:pt>
          <cx:pt idx="3187">1</cx:pt>
          <cx:pt idx="3188">1</cx:pt>
          <cx:pt idx="3189">0</cx:pt>
          <cx:pt idx="3190">0</cx:pt>
          <cx:pt idx="3191">1</cx:pt>
          <cx:pt idx="3192">1</cx:pt>
          <cx:pt idx="3193">1</cx:pt>
          <cx:pt idx="3194">0</cx:pt>
          <cx:pt idx="3195">0</cx:pt>
          <cx:pt idx="3196">1</cx:pt>
          <cx:pt idx="3197">0</cx:pt>
          <cx:pt idx="3198">0</cx:pt>
          <cx:pt idx="3199">0</cx:pt>
          <cx:pt idx="3200">0</cx:pt>
          <cx:pt idx="3201">1</cx:pt>
          <cx:pt idx="3202">0</cx:pt>
          <cx:pt idx="3203">0</cx:pt>
          <cx:pt idx="3204">1</cx:pt>
          <cx:pt idx="3205">0</cx:pt>
          <cx:pt idx="3206">1</cx:pt>
          <cx:pt idx="3207">0</cx:pt>
          <cx:pt idx="3208">0</cx:pt>
          <cx:pt idx="3209">1</cx:pt>
          <cx:pt idx="3210">1</cx:pt>
          <cx:pt idx="3211">0</cx:pt>
          <cx:pt idx="3212">1</cx:pt>
          <cx:pt idx="3213">1</cx:pt>
          <cx:pt idx="3214">1</cx:pt>
          <cx:pt idx="3215">1</cx:pt>
          <cx:pt idx="3216">1</cx:pt>
          <cx:pt idx="3217">0</cx:pt>
          <cx:pt idx="3218">0</cx:pt>
          <cx:pt idx="3219">0</cx:pt>
          <cx:pt idx="3220">1</cx:pt>
          <cx:pt idx="3221">0</cx:pt>
          <cx:pt idx="3222">0</cx:pt>
          <cx:pt idx="3223">0</cx:pt>
          <cx:pt idx="3224">0</cx:pt>
          <cx:pt idx="3225">1</cx:pt>
          <cx:pt idx="3226">0</cx:pt>
          <cx:pt idx="3227">1</cx:pt>
          <cx:pt idx="3228">1</cx:pt>
          <cx:pt idx="3229">0</cx:pt>
          <cx:pt idx="3230">1</cx:pt>
          <cx:pt idx="3231">0</cx:pt>
          <cx:pt idx="3232">0</cx:pt>
          <cx:pt idx="3233">0</cx:pt>
          <cx:pt idx="3234">1</cx:pt>
          <cx:pt idx="3235">0</cx:pt>
          <cx:pt idx="3236">1</cx:pt>
          <cx:pt idx="3237">0</cx:pt>
          <cx:pt idx="3238">1</cx:pt>
          <cx:pt idx="3239">1</cx:pt>
          <cx:pt idx="3240">1</cx:pt>
          <cx:pt idx="3241">0</cx:pt>
          <cx:pt idx="3242">0</cx:pt>
          <cx:pt idx="3243">1</cx:pt>
          <cx:pt idx="3244">0</cx:pt>
          <cx:pt idx="3245">0</cx:pt>
          <cx:pt idx="3246">0</cx:pt>
          <cx:pt idx="3247">0</cx:pt>
          <cx:pt idx="3248">1</cx:pt>
          <cx:pt idx="3249">0</cx:pt>
          <cx:pt idx="3250">1</cx:pt>
          <cx:pt idx="3251">0</cx:pt>
          <cx:pt idx="3252">1</cx:pt>
          <cx:pt idx="3253">1</cx:pt>
          <cx:pt idx="3254">1</cx:pt>
          <cx:pt idx="3255">1</cx:pt>
          <cx:pt idx="3256">0</cx:pt>
          <cx:pt idx="3257">0</cx:pt>
          <cx:pt idx="3258">0</cx:pt>
          <cx:pt idx="3259">0</cx:pt>
          <cx:pt idx="3260">0</cx:pt>
          <cx:pt idx="3261">0</cx:pt>
          <cx:pt idx="3262">1</cx:pt>
          <cx:pt idx="3263">0</cx:pt>
          <cx:pt idx="3264">0</cx:pt>
          <cx:pt idx="3265">0</cx:pt>
          <cx:pt idx="3266">1</cx:pt>
          <cx:pt idx="3267">0</cx:pt>
          <cx:pt idx="3268">0</cx:pt>
          <cx:pt idx="3269">1</cx:pt>
          <cx:pt idx="3270">0</cx:pt>
          <cx:pt idx="3271">1</cx:pt>
          <cx:pt idx="3272">0</cx:pt>
          <cx:pt idx="3273">1</cx:pt>
          <cx:pt idx="3274">0</cx:pt>
          <cx:pt idx="3275">1</cx:pt>
          <cx:pt idx="3276">1</cx:pt>
          <cx:pt idx="3277">0</cx:pt>
          <cx:pt idx="3278">0</cx:pt>
          <cx:pt idx="3279">1</cx:pt>
          <cx:pt idx="3280">0</cx:pt>
          <cx:pt idx="3281">1</cx:pt>
          <cx:pt idx="3282">1</cx:pt>
          <cx:pt idx="3283">0</cx:pt>
          <cx:pt idx="3284">0</cx:pt>
          <cx:pt idx="3285">0</cx:pt>
          <cx:pt idx="3286">1</cx:pt>
          <cx:pt idx="3287">1</cx:pt>
          <cx:pt idx="3288">0</cx:pt>
          <cx:pt idx="3289">0</cx:pt>
          <cx:pt idx="3290">0</cx:pt>
          <cx:pt idx="3291">1</cx:pt>
          <cx:pt idx="3292">0</cx:pt>
          <cx:pt idx="3293">0</cx:pt>
          <cx:pt idx="3294">0</cx:pt>
          <cx:pt idx="3295">1</cx:pt>
          <cx:pt idx="3296">0</cx:pt>
          <cx:pt idx="3297">0</cx:pt>
          <cx:pt idx="3298">1</cx:pt>
          <cx:pt idx="3299">0</cx:pt>
          <cx:pt idx="3300">1</cx:pt>
          <cx:pt idx="3301">0</cx:pt>
          <cx:pt idx="3302">0</cx:pt>
          <cx:pt idx="3303">1</cx:pt>
          <cx:pt idx="3304">0</cx:pt>
          <cx:pt idx="3305">1</cx:pt>
          <cx:pt idx="3306">1</cx:pt>
          <cx:pt idx="3307">0</cx:pt>
          <cx:pt idx="3308">0</cx:pt>
          <cx:pt idx="3309">0</cx:pt>
          <cx:pt idx="3310">0</cx:pt>
          <cx:pt idx="3311">1</cx:pt>
          <cx:pt idx="3312">0</cx:pt>
          <cx:pt idx="3313">1</cx:pt>
          <cx:pt idx="3314">0</cx:pt>
          <cx:pt idx="3315">0</cx:pt>
          <cx:pt idx="3316">0</cx:pt>
          <cx:pt idx="3317">1</cx:pt>
          <cx:pt idx="3318">0</cx:pt>
          <cx:pt idx="3319">0</cx:pt>
          <cx:pt idx="3320">1</cx:pt>
          <cx:pt idx="3321">0</cx:pt>
          <cx:pt idx="3322">1</cx:pt>
          <cx:pt idx="3323">0</cx:pt>
          <cx:pt idx="3324">1</cx:pt>
          <cx:pt idx="3325">1</cx:pt>
          <cx:pt idx="3326">1</cx:pt>
          <cx:pt idx="3327">0</cx:pt>
          <cx:pt idx="3328">0</cx:pt>
          <cx:pt idx="3329">0</cx:pt>
          <cx:pt idx="3330">0</cx:pt>
          <cx:pt idx="3331">0</cx:pt>
          <cx:pt idx="3332">0</cx:pt>
          <cx:pt idx="3333">0</cx:pt>
          <cx:pt idx="3334">1</cx:pt>
          <cx:pt idx="3335">0</cx:pt>
          <cx:pt idx="3336">1</cx:pt>
          <cx:pt idx="3337">1</cx:pt>
          <cx:pt idx="3338">1</cx:pt>
          <cx:pt idx="3339">0</cx:pt>
          <cx:pt idx="3340">0</cx:pt>
          <cx:pt idx="3341">0</cx:pt>
          <cx:pt idx="3342">1</cx:pt>
          <cx:pt idx="3343">1</cx:pt>
          <cx:pt idx="3344">1</cx:pt>
          <cx:pt idx="3345">0</cx:pt>
          <cx:pt idx="3346">1</cx:pt>
          <cx:pt idx="3347">0</cx:pt>
          <cx:pt idx="3348">1</cx:pt>
          <cx:pt idx="3349">1</cx:pt>
          <cx:pt idx="3350">1</cx:pt>
          <cx:pt idx="3351">0</cx:pt>
          <cx:pt idx="3352">0</cx:pt>
          <cx:pt idx="3353">0</cx:pt>
          <cx:pt idx="3354">1</cx:pt>
          <cx:pt idx="3355">0</cx:pt>
          <cx:pt idx="3356">0</cx:pt>
          <cx:pt idx="3357">1</cx:pt>
          <cx:pt idx="3358">1</cx:pt>
          <cx:pt idx="3359">0</cx:pt>
          <cx:pt idx="3360">1</cx:pt>
          <cx:pt idx="3361">1</cx:pt>
          <cx:pt idx="3362">1</cx:pt>
          <cx:pt idx="3363">0</cx:pt>
          <cx:pt idx="3364">1</cx:pt>
          <cx:pt idx="3365">0</cx:pt>
          <cx:pt idx="3366">0</cx:pt>
          <cx:pt idx="3367">0</cx:pt>
          <cx:pt idx="3368">0</cx:pt>
          <cx:pt idx="3369">0</cx:pt>
          <cx:pt idx="3370">0</cx:pt>
          <cx:pt idx="3371">1</cx:pt>
          <cx:pt idx="3372">1</cx:pt>
          <cx:pt idx="3373">1</cx:pt>
          <cx:pt idx="3374">0</cx:pt>
          <cx:pt idx="3375">0</cx:pt>
          <cx:pt idx="3376">1</cx:pt>
          <cx:pt idx="3377">1</cx:pt>
          <cx:pt idx="3378">0</cx:pt>
          <cx:pt idx="3379">1</cx:pt>
          <cx:pt idx="3380">0</cx:pt>
          <cx:pt idx="3381">1</cx:pt>
          <cx:pt idx="3382">0</cx:pt>
          <cx:pt idx="3383">1</cx:pt>
          <cx:pt idx="3384">1</cx:pt>
          <cx:pt idx="3385">0</cx:pt>
          <cx:pt idx="3386">1</cx:pt>
          <cx:pt idx="3387">0</cx:pt>
          <cx:pt idx="3388">1</cx:pt>
          <cx:pt idx="3389">0</cx:pt>
          <cx:pt idx="3390">1</cx:pt>
          <cx:pt idx="3391">1</cx:pt>
          <cx:pt idx="3392">0</cx:pt>
          <cx:pt idx="3393">0</cx:pt>
          <cx:pt idx="3394">1</cx:pt>
          <cx:pt idx="3395">0</cx:pt>
          <cx:pt idx="3396">1</cx:pt>
          <cx:pt idx="3397">1</cx:pt>
          <cx:pt idx="3398">0</cx:pt>
          <cx:pt idx="3399">0</cx:pt>
          <cx:pt idx="3400">0</cx:pt>
          <cx:pt idx="3401">0</cx:pt>
          <cx:pt idx="3402">0</cx:pt>
          <cx:pt idx="3403">0</cx:pt>
          <cx:pt idx="3404">1</cx:pt>
          <cx:pt idx="3405">1</cx:pt>
          <cx:pt idx="3406">0</cx:pt>
          <cx:pt idx="3407">1</cx:pt>
          <cx:pt idx="3408">1</cx:pt>
          <cx:pt idx="3409">1</cx:pt>
          <cx:pt idx="3410">0</cx:pt>
          <cx:pt idx="3411">1</cx:pt>
          <cx:pt idx="3412">0</cx:pt>
          <cx:pt idx="3413">1</cx:pt>
          <cx:pt idx="3414">1</cx:pt>
          <cx:pt idx="3415">0</cx:pt>
          <cx:pt idx="3416">0</cx:pt>
          <cx:pt idx="3417">1</cx:pt>
          <cx:pt idx="3418">0</cx:pt>
          <cx:pt idx="3419">1</cx:pt>
          <cx:pt idx="3420">1</cx:pt>
          <cx:pt idx="3421">1</cx:pt>
          <cx:pt idx="3422">1</cx:pt>
          <cx:pt idx="3423">0</cx:pt>
          <cx:pt idx="3424">1</cx:pt>
          <cx:pt idx="3425">0</cx:pt>
          <cx:pt idx="3426">1</cx:pt>
          <cx:pt idx="3427">0</cx:pt>
          <cx:pt idx="3428">1</cx:pt>
          <cx:pt idx="3429">1</cx:pt>
          <cx:pt idx="3430">0</cx:pt>
          <cx:pt idx="3431">0</cx:pt>
          <cx:pt idx="3432">1</cx:pt>
          <cx:pt idx="3433">1</cx:pt>
          <cx:pt idx="3434">0</cx:pt>
          <cx:pt idx="3435">0</cx:pt>
          <cx:pt idx="3436">1</cx:pt>
          <cx:pt idx="3437">1</cx:pt>
          <cx:pt idx="3438">0</cx:pt>
          <cx:pt idx="3439">0</cx:pt>
          <cx:pt idx="3440">1</cx:pt>
          <cx:pt idx="3441">1</cx:pt>
          <cx:pt idx="3442">0</cx:pt>
          <cx:pt idx="3443">0</cx:pt>
          <cx:pt idx="3444">1</cx:pt>
          <cx:pt idx="3445">1</cx:pt>
          <cx:pt idx="3446">1</cx:pt>
          <cx:pt idx="3447">1</cx:pt>
          <cx:pt idx="3448">1</cx:pt>
          <cx:pt idx="3449">0</cx:pt>
          <cx:pt idx="3450">1</cx:pt>
          <cx:pt idx="3451">0</cx:pt>
          <cx:pt idx="3452">1</cx:pt>
          <cx:pt idx="3453">0</cx:pt>
          <cx:pt idx="3454">1</cx:pt>
          <cx:pt idx="3455">0</cx:pt>
          <cx:pt idx="3456">1</cx:pt>
          <cx:pt idx="3457">0</cx:pt>
          <cx:pt idx="3458">1</cx:pt>
          <cx:pt idx="3459">1</cx:pt>
          <cx:pt idx="3460">0</cx:pt>
          <cx:pt idx="3461">1</cx:pt>
          <cx:pt idx="3462">0</cx:pt>
          <cx:pt idx="3463">0</cx:pt>
          <cx:pt idx="3464">0</cx:pt>
          <cx:pt idx="3465">1</cx:pt>
          <cx:pt idx="3466">1</cx:pt>
          <cx:pt idx="3467">1</cx:pt>
          <cx:pt idx="3468">1</cx:pt>
          <cx:pt idx="3469">1</cx:pt>
          <cx:pt idx="3470">0</cx:pt>
          <cx:pt idx="3471">1</cx:pt>
          <cx:pt idx="3472">0</cx:pt>
          <cx:pt idx="3473">0</cx:pt>
          <cx:pt idx="3474">1</cx:pt>
          <cx:pt idx="3475">1</cx:pt>
          <cx:pt idx="3476">0</cx:pt>
          <cx:pt idx="3477">0</cx:pt>
          <cx:pt idx="3478">1</cx:pt>
          <cx:pt idx="3479">1</cx:pt>
          <cx:pt idx="3480">1</cx:pt>
          <cx:pt idx="3481">0</cx:pt>
          <cx:pt idx="3482">0</cx:pt>
          <cx:pt idx="3483">0</cx:pt>
          <cx:pt idx="3484">0</cx:pt>
          <cx:pt idx="3485">0</cx:pt>
          <cx:pt idx="3486">1</cx:pt>
          <cx:pt idx="3487">1</cx:pt>
          <cx:pt idx="3488">1</cx:pt>
          <cx:pt idx="3489">1</cx:pt>
          <cx:pt idx="3490">1</cx:pt>
          <cx:pt idx="3491">0</cx:pt>
          <cx:pt idx="3492">0</cx:pt>
          <cx:pt idx="3493">1</cx:pt>
          <cx:pt idx="3494">0</cx:pt>
          <cx:pt idx="3495">0</cx:pt>
          <cx:pt idx="3496">1</cx:pt>
          <cx:pt idx="3497">1</cx:pt>
          <cx:pt idx="3498">0</cx:pt>
          <cx:pt idx="3499">0</cx:pt>
          <cx:pt idx="3500">0</cx:pt>
          <cx:pt idx="3501">1</cx:pt>
          <cx:pt idx="3502">0</cx:pt>
          <cx:pt idx="3503">0</cx:pt>
          <cx:pt idx="3504">1</cx:pt>
          <cx:pt idx="3505">0</cx:pt>
          <cx:pt idx="3506">1</cx:pt>
          <cx:pt idx="3507">0</cx:pt>
          <cx:pt idx="3508">0</cx:pt>
          <cx:pt idx="3509">0</cx:pt>
          <cx:pt idx="3510">1</cx:pt>
          <cx:pt idx="3511">1</cx:pt>
          <cx:pt idx="3512">0</cx:pt>
          <cx:pt idx="3513">1</cx:pt>
          <cx:pt idx="3514">0</cx:pt>
          <cx:pt idx="3515">0</cx:pt>
          <cx:pt idx="3516">0</cx:pt>
          <cx:pt idx="3517">0</cx:pt>
          <cx:pt idx="3518">1</cx:pt>
          <cx:pt idx="3519">1</cx:pt>
          <cx:pt idx="3520">1</cx:pt>
          <cx:pt idx="3521">0</cx:pt>
          <cx:pt idx="3522">0</cx:pt>
          <cx:pt idx="3523">0</cx:pt>
          <cx:pt idx="3524">0</cx:pt>
          <cx:pt idx="3525">1</cx:pt>
          <cx:pt idx="3526">1</cx:pt>
          <cx:pt idx="3527">0</cx:pt>
          <cx:pt idx="3528">1</cx:pt>
          <cx:pt idx="3529">0</cx:pt>
          <cx:pt idx="3530">1</cx:pt>
          <cx:pt idx="3531">0</cx:pt>
          <cx:pt idx="3532">1</cx:pt>
          <cx:pt idx="3533">0</cx:pt>
          <cx:pt idx="3534">0</cx:pt>
          <cx:pt idx="3535">0</cx:pt>
          <cx:pt idx="3536">0</cx:pt>
          <cx:pt idx="3537">1</cx:pt>
          <cx:pt idx="3538">0</cx:pt>
          <cx:pt idx="3539">0</cx:pt>
          <cx:pt idx="3540">1</cx:pt>
          <cx:pt idx="3541">0</cx:pt>
          <cx:pt idx="3542">1</cx:pt>
          <cx:pt idx="3543">0</cx:pt>
          <cx:pt idx="3544">1</cx:pt>
          <cx:pt idx="3545">1</cx:pt>
          <cx:pt idx="3546">1</cx:pt>
          <cx:pt idx="3547">1</cx:pt>
          <cx:pt idx="3548">0</cx:pt>
          <cx:pt idx="3549">0</cx:pt>
          <cx:pt idx="3550">1</cx:pt>
          <cx:pt idx="3551">0</cx:pt>
          <cx:pt idx="3552">1</cx:pt>
          <cx:pt idx="3553">1</cx:pt>
          <cx:pt idx="3554">0</cx:pt>
          <cx:pt idx="3555">0</cx:pt>
          <cx:pt idx="3556">1</cx:pt>
          <cx:pt idx="3557">0</cx:pt>
          <cx:pt idx="3558">1</cx:pt>
          <cx:pt idx="3559">0</cx:pt>
          <cx:pt idx="3560">0</cx:pt>
          <cx:pt idx="3561">0</cx:pt>
          <cx:pt idx="3562">0</cx:pt>
          <cx:pt idx="3563">1</cx:pt>
          <cx:pt idx="3564">1</cx:pt>
          <cx:pt idx="3565">0</cx:pt>
          <cx:pt idx="3566">0</cx:pt>
          <cx:pt idx="3567">1</cx:pt>
          <cx:pt idx="3568">1</cx:pt>
          <cx:pt idx="3569">0</cx:pt>
          <cx:pt idx="3570">0</cx:pt>
          <cx:pt idx="3571">1</cx:pt>
          <cx:pt idx="3572">0</cx:pt>
          <cx:pt idx="3573">1</cx:pt>
          <cx:pt idx="3574">0</cx:pt>
          <cx:pt idx="3575">1</cx:pt>
          <cx:pt idx="3576">1</cx:pt>
          <cx:pt idx="3577">0</cx:pt>
          <cx:pt idx="3578">0</cx:pt>
          <cx:pt idx="3579">1</cx:pt>
          <cx:pt idx="3580">0</cx:pt>
          <cx:pt idx="3581">0</cx:pt>
          <cx:pt idx="3582">0</cx:pt>
          <cx:pt idx="3583">0</cx:pt>
          <cx:pt idx="3584">0</cx:pt>
          <cx:pt idx="3585">0</cx:pt>
          <cx:pt idx="3586">1</cx:pt>
          <cx:pt idx="3587">0</cx:pt>
          <cx:pt idx="3588">1</cx:pt>
          <cx:pt idx="3589">1</cx:pt>
          <cx:pt idx="3590">0</cx:pt>
          <cx:pt idx="3591">0</cx:pt>
          <cx:pt idx="3592">0</cx:pt>
          <cx:pt idx="3593">1</cx:pt>
          <cx:pt idx="3594">1</cx:pt>
          <cx:pt idx="3595">1</cx:pt>
          <cx:pt idx="3596">0</cx:pt>
          <cx:pt idx="3597">0</cx:pt>
          <cx:pt idx="3598">0</cx:pt>
          <cx:pt idx="3599">1</cx:pt>
          <cx:pt idx="3600">0</cx:pt>
          <cx:pt idx="3601">1</cx:pt>
          <cx:pt idx="3602">1</cx:pt>
          <cx:pt idx="3603">0</cx:pt>
          <cx:pt idx="3604">1</cx:pt>
          <cx:pt idx="3605">1</cx:pt>
          <cx:pt idx="3606">1</cx:pt>
          <cx:pt idx="3607">1</cx:pt>
          <cx:pt idx="3608">1</cx:pt>
          <cx:pt idx="3609">0</cx:pt>
          <cx:pt idx="3610">0</cx:pt>
          <cx:pt idx="3611">0</cx:pt>
          <cx:pt idx="3612">1</cx:pt>
          <cx:pt idx="3613">0</cx:pt>
          <cx:pt idx="3614">1</cx:pt>
          <cx:pt idx="3615">0</cx:pt>
          <cx:pt idx="3616">1</cx:pt>
          <cx:pt idx="3617">1</cx:pt>
          <cx:pt idx="3618">0</cx:pt>
          <cx:pt idx="3619">0</cx:pt>
          <cx:pt idx="3620">0</cx:pt>
          <cx:pt idx="3621">0</cx:pt>
          <cx:pt idx="3622">1</cx:pt>
          <cx:pt idx="3623">1</cx:pt>
          <cx:pt idx="3624">1</cx:pt>
          <cx:pt idx="3625">1</cx:pt>
          <cx:pt idx="3626">1</cx:pt>
          <cx:pt idx="3627">0</cx:pt>
          <cx:pt idx="3628">1</cx:pt>
          <cx:pt idx="3629">0</cx:pt>
          <cx:pt idx="3630">1</cx:pt>
          <cx:pt idx="3631">1</cx:pt>
          <cx:pt idx="3632">0</cx:pt>
          <cx:pt idx="3633">0</cx:pt>
          <cx:pt idx="3634">1</cx:pt>
          <cx:pt idx="3635">1</cx:pt>
          <cx:pt idx="3636">0</cx:pt>
          <cx:pt idx="3637">0</cx:pt>
          <cx:pt idx="3638">0</cx:pt>
          <cx:pt idx="3639">0</cx:pt>
          <cx:pt idx="3640">1</cx:pt>
          <cx:pt idx="3641">0</cx:pt>
          <cx:pt idx="3642">0</cx:pt>
          <cx:pt idx="3643">0</cx:pt>
          <cx:pt idx="3644">0</cx:pt>
          <cx:pt idx="3645">0</cx:pt>
          <cx:pt idx="3646">0</cx:pt>
          <cx:pt idx="3647">1</cx:pt>
          <cx:pt idx="3648">0</cx:pt>
          <cx:pt idx="3649">0</cx:pt>
          <cx:pt idx="3650">0</cx:pt>
          <cx:pt idx="3651">0</cx:pt>
          <cx:pt idx="3652">0</cx:pt>
          <cx:pt idx="3653">1</cx:pt>
          <cx:pt idx="3654">0</cx:pt>
          <cx:pt idx="3655">0</cx:pt>
          <cx:pt idx="3656">0</cx:pt>
          <cx:pt idx="3657">0</cx:pt>
          <cx:pt idx="3658">0</cx:pt>
          <cx:pt idx="3659">1</cx:pt>
          <cx:pt idx="3660">1</cx:pt>
          <cx:pt idx="3661">1</cx:pt>
          <cx:pt idx="3662">0</cx:pt>
          <cx:pt idx="3663">1</cx:pt>
          <cx:pt idx="3664">0</cx:pt>
          <cx:pt idx="3665">0</cx:pt>
          <cx:pt idx="3666">0</cx:pt>
          <cx:pt idx="3667">1</cx:pt>
          <cx:pt idx="3668">0</cx:pt>
          <cx:pt idx="3669">1</cx:pt>
          <cx:pt idx="3670">1</cx:pt>
          <cx:pt idx="3671">0</cx:pt>
          <cx:pt idx="3672">0</cx:pt>
          <cx:pt idx="3673">0</cx:pt>
          <cx:pt idx="3674">1</cx:pt>
          <cx:pt idx="3675">0</cx:pt>
          <cx:pt idx="3676">1</cx:pt>
          <cx:pt idx="3677">0</cx:pt>
          <cx:pt idx="3678">0</cx:pt>
          <cx:pt idx="3679">1</cx:pt>
          <cx:pt idx="3680">0</cx:pt>
          <cx:pt idx="3681">0</cx:pt>
          <cx:pt idx="3682">0</cx:pt>
          <cx:pt idx="3683">0</cx:pt>
          <cx:pt idx="3684">0</cx:pt>
          <cx:pt idx="3685">0</cx:pt>
          <cx:pt idx="3686">1</cx:pt>
          <cx:pt idx="3687">1</cx:pt>
          <cx:pt idx="3688">1</cx:pt>
          <cx:pt idx="3689">0</cx:pt>
          <cx:pt idx="3690">1</cx:pt>
          <cx:pt idx="3691">1</cx:pt>
          <cx:pt idx="3692">1</cx:pt>
          <cx:pt idx="3693">0</cx:pt>
          <cx:pt idx="3694">0</cx:pt>
          <cx:pt idx="3695">1</cx:pt>
          <cx:pt idx="3696">1</cx:pt>
          <cx:pt idx="3697">0</cx:pt>
          <cx:pt idx="3698">0</cx:pt>
          <cx:pt idx="3699">1</cx:pt>
          <cx:pt idx="3700">1</cx:pt>
          <cx:pt idx="3701">0</cx:pt>
          <cx:pt idx="3702">0</cx:pt>
          <cx:pt idx="3703">1</cx:pt>
          <cx:pt idx="3704">0</cx:pt>
          <cx:pt idx="3705">0</cx:pt>
          <cx:pt idx="3706">1</cx:pt>
          <cx:pt idx="3707">0</cx:pt>
          <cx:pt idx="3708">0</cx:pt>
          <cx:pt idx="3709">0</cx:pt>
          <cx:pt idx="3710">1</cx:pt>
          <cx:pt idx="3711">0</cx:pt>
          <cx:pt idx="3712">0</cx:pt>
          <cx:pt idx="3713">0</cx:pt>
          <cx:pt idx="3714">0</cx:pt>
          <cx:pt idx="3715">0</cx:pt>
          <cx:pt idx="3716">0</cx:pt>
          <cx:pt idx="3717">0</cx:pt>
          <cx:pt idx="3718">0</cx:pt>
          <cx:pt idx="3719">1</cx:pt>
          <cx:pt idx="3720">1</cx:pt>
          <cx:pt idx="3721">0</cx:pt>
          <cx:pt idx="3722">1</cx:pt>
          <cx:pt idx="3723">1</cx:pt>
          <cx:pt idx="3724">0</cx:pt>
          <cx:pt idx="3725">1</cx:pt>
          <cx:pt idx="3726">0</cx:pt>
          <cx:pt idx="3727">1</cx:pt>
          <cx:pt idx="3728">0</cx:pt>
          <cx:pt idx="3729">1</cx:pt>
          <cx:pt idx="3730">0</cx:pt>
          <cx:pt idx="3731">1</cx:pt>
          <cx:pt idx="3732">0</cx:pt>
          <cx:pt idx="3733">1</cx:pt>
          <cx:pt idx="3734">1</cx:pt>
          <cx:pt idx="3735">0</cx:pt>
          <cx:pt idx="3736">1</cx:pt>
          <cx:pt idx="3737">1</cx:pt>
          <cx:pt idx="3738">1</cx:pt>
          <cx:pt idx="3739">0</cx:pt>
          <cx:pt idx="3740">1</cx:pt>
          <cx:pt idx="3741">0</cx:pt>
          <cx:pt idx="3742">1</cx:pt>
          <cx:pt idx="3743">1</cx:pt>
          <cx:pt idx="3744">0</cx:pt>
          <cx:pt idx="3745">0</cx:pt>
          <cx:pt idx="3746">0</cx:pt>
          <cx:pt idx="3747">1</cx:pt>
          <cx:pt idx="3748">1</cx:pt>
          <cx:pt idx="3749">0</cx:pt>
          <cx:pt idx="3750">1</cx:pt>
          <cx:pt idx="3751">0</cx:pt>
          <cx:pt idx="3752">0</cx:pt>
          <cx:pt idx="3753">0</cx:pt>
          <cx:pt idx="3754">1</cx:pt>
          <cx:pt idx="3755">1</cx:pt>
          <cx:pt idx="3756">1</cx:pt>
          <cx:pt idx="3757">1</cx:pt>
          <cx:pt idx="3758">0</cx:pt>
          <cx:pt idx="3759">0</cx:pt>
          <cx:pt idx="3760">0</cx:pt>
          <cx:pt idx="3761">1</cx:pt>
          <cx:pt idx="3762">1</cx:pt>
          <cx:pt idx="3763">1</cx:pt>
          <cx:pt idx="3764">0</cx:pt>
          <cx:pt idx="3765">0</cx:pt>
          <cx:pt idx="3766">0</cx:pt>
          <cx:pt idx="3767">0</cx:pt>
          <cx:pt idx="3768">0</cx:pt>
          <cx:pt idx="3769">1</cx:pt>
          <cx:pt idx="3770">0</cx:pt>
          <cx:pt idx="3771">1</cx:pt>
          <cx:pt idx="3772">0</cx:pt>
          <cx:pt idx="3773">1</cx:pt>
          <cx:pt idx="3774">0</cx:pt>
          <cx:pt idx="3775">1</cx:pt>
          <cx:pt idx="3776">1</cx:pt>
          <cx:pt idx="3777">1</cx:pt>
          <cx:pt idx="3778">0</cx:pt>
          <cx:pt idx="3779">0</cx:pt>
          <cx:pt idx="3780">1</cx:pt>
          <cx:pt idx="3781">1</cx:pt>
          <cx:pt idx="3782">0</cx:pt>
          <cx:pt idx="3783">1</cx:pt>
          <cx:pt idx="3784">1</cx:pt>
          <cx:pt idx="3785">0</cx:pt>
          <cx:pt idx="3786">1</cx:pt>
          <cx:pt idx="3787">0</cx:pt>
          <cx:pt idx="3788">1</cx:pt>
          <cx:pt idx="3789">0</cx:pt>
          <cx:pt idx="3790">0</cx:pt>
          <cx:pt idx="3791">0</cx:pt>
          <cx:pt idx="3792">0</cx:pt>
          <cx:pt idx="3793">1</cx:pt>
          <cx:pt idx="3794">0</cx:pt>
          <cx:pt idx="3795">0</cx:pt>
          <cx:pt idx="3796">1</cx:pt>
          <cx:pt idx="3797">0</cx:pt>
          <cx:pt idx="3798">0</cx:pt>
          <cx:pt idx="3799">0</cx:pt>
          <cx:pt idx="3800">0</cx:pt>
          <cx:pt idx="3801">1</cx:pt>
          <cx:pt idx="3802">0</cx:pt>
          <cx:pt idx="3803">1</cx:pt>
          <cx:pt idx="3804">0</cx:pt>
          <cx:pt idx="3805">1</cx:pt>
          <cx:pt idx="3806">1</cx:pt>
          <cx:pt idx="3807">1</cx:pt>
          <cx:pt idx="3808">0</cx:pt>
          <cx:pt idx="3809">1</cx:pt>
          <cx:pt idx="3810">0</cx:pt>
          <cx:pt idx="3811">0</cx:pt>
          <cx:pt idx="3812">1</cx:pt>
          <cx:pt idx="3813">0</cx:pt>
          <cx:pt idx="3814">0</cx:pt>
          <cx:pt idx="3815">1</cx:pt>
          <cx:pt idx="3816">0</cx:pt>
          <cx:pt idx="3817">1</cx:pt>
          <cx:pt idx="3818">1</cx:pt>
          <cx:pt idx="3819">1</cx:pt>
          <cx:pt idx="3820">0</cx:pt>
          <cx:pt idx="3821">0</cx:pt>
          <cx:pt idx="3822">1</cx:pt>
          <cx:pt idx="3823">0</cx:pt>
          <cx:pt idx="3824">1</cx:pt>
          <cx:pt idx="3825">1</cx:pt>
          <cx:pt idx="3826">0</cx:pt>
          <cx:pt idx="3827">1</cx:pt>
          <cx:pt idx="3828">1</cx:pt>
          <cx:pt idx="3829">1</cx:pt>
          <cx:pt idx="3830">0</cx:pt>
          <cx:pt idx="3831">0</cx:pt>
          <cx:pt idx="3832">0</cx:pt>
          <cx:pt idx="3833">1</cx:pt>
          <cx:pt idx="3834">0</cx:pt>
          <cx:pt idx="3835">1</cx:pt>
          <cx:pt idx="3836">1</cx:pt>
          <cx:pt idx="3837">0</cx:pt>
          <cx:pt idx="3838">0</cx:pt>
          <cx:pt idx="3839">0</cx:pt>
          <cx:pt idx="3840">1</cx:pt>
          <cx:pt idx="3841">0</cx:pt>
          <cx:pt idx="3842">0</cx:pt>
          <cx:pt idx="3843">0</cx:pt>
          <cx:pt idx="3844">1</cx:pt>
          <cx:pt idx="3845">0</cx:pt>
          <cx:pt idx="3846">0</cx:pt>
          <cx:pt idx="3847">0</cx:pt>
          <cx:pt idx="3848">0</cx:pt>
          <cx:pt idx="3849">0</cx:pt>
          <cx:pt idx="3850">0</cx:pt>
          <cx:pt idx="3851">0</cx:pt>
          <cx:pt idx="3852">1</cx:pt>
          <cx:pt idx="3853">0</cx:pt>
          <cx:pt idx="3854">1</cx:pt>
          <cx:pt idx="3855">0</cx:pt>
          <cx:pt idx="3856">0</cx:pt>
          <cx:pt idx="3857">1</cx:pt>
          <cx:pt idx="3858">1</cx:pt>
          <cx:pt idx="3859">0</cx:pt>
          <cx:pt idx="3860">0</cx:pt>
          <cx:pt idx="3861">0</cx:pt>
          <cx:pt idx="3862">1</cx:pt>
          <cx:pt idx="3863">0</cx:pt>
          <cx:pt idx="3864">1</cx:pt>
          <cx:pt idx="3865">1</cx:pt>
          <cx:pt idx="3866">1</cx:pt>
          <cx:pt idx="3867">1</cx:pt>
          <cx:pt idx="3868">0</cx:pt>
          <cx:pt idx="3869">0</cx:pt>
          <cx:pt idx="3870">0</cx:pt>
          <cx:pt idx="3871">1</cx:pt>
          <cx:pt idx="3872">1</cx:pt>
          <cx:pt idx="3873">0</cx:pt>
          <cx:pt idx="3874">1</cx:pt>
          <cx:pt idx="3875">0</cx:pt>
          <cx:pt idx="3876">0</cx:pt>
          <cx:pt idx="3877">1</cx:pt>
          <cx:pt idx="3878">0</cx:pt>
          <cx:pt idx="3879">1</cx:pt>
          <cx:pt idx="3880">0</cx:pt>
          <cx:pt idx="3881">0</cx:pt>
          <cx:pt idx="3882">1</cx:pt>
          <cx:pt idx="3883">1</cx:pt>
          <cx:pt idx="3884">1</cx:pt>
          <cx:pt idx="3885">1</cx:pt>
          <cx:pt idx="3886">1</cx:pt>
          <cx:pt idx="3887">0</cx:pt>
          <cx:pt idx="3888">1</cx:pt>
          <cx:pt idx="3889">1</cx:pt>
          <cx:pt idx="3890">0</cx:pt>
          <cx:pt idx="3891">0</cx:pt>
          <cx:pt idx="3892">0</cx:pt>
          <cx:pt idx="3893">0</cx:pt>
          <cx:pt idx="3894">0</cx:pt>
          <cx:pt idx="3895">0</cx:pt>
          <cx:pt idx="3896">1</cx:pt>
          <cx:pt idx="3897">1</cx:pt>
          <cx:pt idx="3898">0</cx:pt>
          <cx:pt idx="3899">0</cx:pt>
          <cx:pt idx="3900">1</cx:pt>
          <cx:pt idx="3901">0</cx:pt>
          <cx:pt idx="3902">0</cx:pt>
          <cx:pt idx="3903">0</cx:pt>
          <cx:pt idx="3904">0</cx:pt>
          <cx:pt idx="3905">1</cx:pt>
          <cx:pt idx="3906">0</cx:pt>
          <cx:pt idx="3907">0</cx:pt>
          <cx:pt idx="3908">1</cx:pt>
          <cx:pt idx="3909">0</cx:pt>
          <cx:pt idx="3910">1</cx:pt>
          <cx:pt idx="3911">0</cx:pt>
          <cx:pt idx="3912">1</cx:pt>
          <cx:pt idx="3913">0</cx:pt>
          <cx:pt idx="3914">0</cx:pt>
          <cx:pt idx="3915">1</cx:pt>
          <cx:pt idx="3916">0</cx:pt>
          <cx:pt idx="3917">1</cx:pt>
          <cx:pt idx="3918">1</cx:pt>
          <cx:pt idx="3919">1</cx:pt>
          <cx:pt idx="3920">1</cx:pt>
          <cx:pt idx="3921">1</cx:pt>
          <cx:pt idx="3922">0</cx:pt>
          <cx:pt idx="3923">0</cx:pt>
          <cx:pt idx="3924">0</cx:pt>
          <cx:pt idx="3925">1</cx:pt>
          <cx:pt idx="3926">1</cx:pt>
          <cx:pt idx="3927">1</cx:pt>
          <cx:pt idx="3928">0</cx:pt>
          <cx:pt idx="3929">0</cx:pt>
          <cx:pt idx="3930">1</cx:pt>
          <cx:pt idx="3931">0</cx:pt>
          <cx:pt idx="3932">0</cx:pt>
          <cx:pt idx="3933">0</cx:pt>
          <cx:pt idx="3934">0</cx:pt>
          <cx:pt idx="3935">0</cx:pt>
          <cx:pt idx="3936">1</cx:pt>
          <cx:pt idx="3937">1</cx:pt>
          <cx:pt idx="3938">1</cx:pt>
          <cx:pt idx="3939">1</cx:pt>
          <cx:pt idx="3940">0</cx:pt>
          <cx:pt idx="3941">0</cx:pt>
          <cx:pt idx="3942">1</cx:pt>
          <cx:pt idx="3943">1</cx:pt>
          <cx:pt idx="3944">1</cx:pt>
          <cx:pt idx="3945">0</cx:pt>
          <cx:pt idx="3946">0</cx:pt>
          <cx:pt idx="3947">1</cx:pt>
          <cx:pt idx="3948">0</cx:pt>
          <cx:pt idx="3949">0</cx:pt>
          <cx:pt idx="3950">0</cx:pt>
          <cx:pt idx="3951">0</cx:pt>
          <cx:pt idx="3952">0</cx:pt>
          <cx:pt idx="3953">1</cx:pt>
          <cx:pt idx="3954">1</cx:pt>
          <cx:pt idx="3955">0</cx:pt>
          <cx:pt idx="3956">1</cx:pt>
          <cx:pt idx="3957">0</cx:pt>
          <cx:pt idx="3958">0</cx:pt>
          <cx:pt idx="3959">0</cx:pt>
          <cx:pt idx="3960">1</cx:pt>
          <cx:pt idx="3961">1</cx:pt>
          <cx:pt idx="3962">1</cx:pt>
          <cx:pt idx="3963">0</cx:pt>
          <cx:pt idx="3964">0</cx:pt>
          <cx:pt idx="3965">1</cx:pt>
          <cx:pt idx="3966">1</cx:pt>
          <cx:pt idx="3967">0</cx:pt>
          <cx:pt idx="3968">0</cx:pt>
          <cx:pt idx="3969">0</cx:pt>
          <cx:pt idx="3970">0</cx:pt>
          <cx:pt idx="3971">0</cx:pt>
          <cx:pt idx="3972">1</cx:pt>
          <cx:pt idx="3973">1</cx:pt>
          <cx:pt idx="3974">1</cx:pt>
          <cx:pt idx="3975">0</cx:pt>
          <cx:pt idx="3976">1</cx:pt>
          <cx:pt idx="3977">0</cx:pt>
          <cx:pt idx="3978">1</cx:pt>
          <cx:pt idx="3979">0</cx:pt>
          <cx:pt idx="3980">0</cx:pt>
          <cx:pt idx="3981">0</cx:pt>
          <cx:pt idx="3982">0</cx:pt>
          <cx:pt idx="3983">1</cx:pt>
          <cx:pt idx="3984">1</cx:pt>
          <cx:pt idx="3985">0</cx:pt>
          <cx:pt idx="3986">0</cx:pt>
          <cx:pt idx="3987">1</cx:pt>
          <cx:pt idx="3988">1</cx:pt>
          <cx:pt idx="3989">0</cx:pt>
          <cx:pt idx="3990">1</cx:pt>
          <cx:pt idx="3991">0</cx:pt>
          <cx:pt idx="3992">0</cx:pt>
          <cx:pt idx="3993">0</cx:pt>
          <cx:pt idx="3994">1</cx:pt>
          <cx:pt idx="3995">1</cx:pt>
          <cx:pt idx="3996">0</cx:pt>
          <cx:pt idx="3997">1</cx:pt>
          <cx:pt idx="3998">1</cx:pt>
          <cx:pt idx="3999">1</cx:pt>
          <cx:pt idx="4000">0</cx:pt>
          <cx:pt idx="4001">0</cx:pt>
          <cx:pt idx="4002">1</cx:pt>
          <cx:pt idx="4003">1</cx:pt>
          <cx:pt idx="4004">0</cx:pt>
          <cx:pt idx="4005">0</cx:pt>
          <cx:pt idx="4006">0</cx:pt>
          <cx:pt idx="4007">0</cx:pt>
          <cx:pt idx="4008">0</cx:pt>
          <cx:pt idx="4009">0</cx:pt>
          <cx:pt idx="4010">0</cx:pt>
          <cx:pt idx="4011">0</cx:pt>
          <cx:pt idx="4012">1</cx:pt>
          <cx:pt idx="4013">0</cx:pt>
          <cx:pt idx="4014">1</cx:pt>
          <cx:pt idx="4015">1</cx:pt>
          <cx:pt idx="4016">1</cx:pt>
          <cx:pt idx="4017">0</cx:pt>
          <cx:pt idx="4018">1</cx:pt>
          <cx:pt idx="4019">0</cx:pt>
          <cx:pt idx="4020">1</cx:pt>
          <cx:pt idx="4021">1</cx:pt>
          <cx:pt idx="4022">1</cx:pt>
          <cx:pt idx="4023">1</cx:pt>
          <cx:pt idx="4024">0</cx:pt>
          <cx:pt idx="4025">0</cx:pt>
          <cx:pt idx="4026">1</cx:pt>
          <cx:pt idx="4027">0</cx:pt>
          <cx:pt idx="4028">0</cx:pt>
          <cx:pt idx="4029">0</cx:pt>
          <cx:pt idx="4030">0</cx:pt>
          <cx:pt idx="4031">1</cx:pt>
          <cx:pt idx="4032">0</cx:pt>
          <cx:pt idx="4033">0</cx:pt>
          <cx:pt idx="4034">0</cx:pt>
          <cx:pt idx="4035">1</cx:pt>
          <cx:pt idx="4036">1</cx:pt>
          <cx:pt idx="4037">0</cx:pt>
          <cx:pt idx="4038">1</cx:pt>
          <cx:pt idx="4039">0</cx:pt>
          <cx:pt idx="4040">0</cx:pt>
          <cx:pt idx="4041">1</cx:pt>
          <cx:pt idx="4042">1</cx:pt>
          <cx:pt idx="4043">0</cx:pt>
          <cx:pt idx="4044">1</cx:pt>
          <cx:pt idx="4045">0</cx:pt>
          <cx:pt idx="4046">0</cx:pt>
          <cx:pt idx="4047">0</cx:pt>
          <cx:pt idx="4048">1</cx:pt>
          <cx:pt idx="4049">1</cx:pt>
          <cx:pt idx="4050">1</cx:pt>
          <cx:pt idx="4051">0</cx:pt>
          <cx:pt idx="4052">0</cx:pt>
          <cx:pt idx="4053">0</cx:pt>
          <cx:pt idx="4054">1</cx:pt>
          <cx:pt idx="4055">0</cx:pt>
          <cx:pt idx="4056">0</cx:pt>
          <cx:pt idx="4057">1</cx:pt>
          <cx:pt idx="4058">0</cx:pt>
          <cx:pt idx="4059">0</cx:pt>
          <cx:pt idx="4060">0</cx:pt>
          <cx:pt idx="4061">1</cx:pt>
          <cx:pt idx="4062">0</cx:pt>
          <cx:pt idx="4063">1</cx:pt>
          <cx:pt idx="4064">0</cx:pt>
          <cx:pt idx="4065">1</cx:pt>
          <cx:pt idx="4066">0</cx:pt>
          <cx:pt idx="4067">0</cx:pt>
          <cx:pt idx="4068">1</cx:pt>
          <cx:pt idx="4069">1</cx:pt>
          <cx:pt idx="4070">0</cx:pt>
          <cx:pt idx="4071">1</cx:pt>
          <cx:pt idx="4072">1</cx:pt>
          <cx:pt idx="4073">1</cx:pt>
          <cx:pt idx="4074">1</cx:pt>
          <cx:pt idx="4075">0</cx:pt>
          <cx:pt idx="4076">1</cx:pt>
          <cx:pt idx="4077">0</cx:pt>
          <cx:pt idx="4078">0</cx:pt>
          <cx:pt idx="4079">1</cx:pt>
          <cx:pt idx="4080">1</cx:pt>
          <cx:pt idx="4081">0</cx:pt>
          <cx:pt idx="4082">0</cx:pt>
          <cx:pt idx="4083">1</cx:pt>
          <cx:pt idx="4084">1</cx:pt>
          <cx:pt idx="4085">1</cx:pt>
          <cx:pt idx="4086">1</cx:pt>
          <cx:pt idx="4087">0</cx:pt>
          <cx:pt idx="4088">0</cx:pt>
          <cx:pt idx="4089">0</cx:pt>
          <cx:pt idx="4090">1</cx:pt>
          <cx:pt idx="4091">0</cx:pt>
          <cx:pt idx="4092">1</cx:pt>
          <cx:pt idx="4093">0</cx:pt>
          <cx:pt idx="4094">1</cx:pt>
          <cx:pt idx="4095">0</cx:pt>
          <cx:pt idx="4096">0</cx:pt>
          <cx:pt idx="4097">0</cx:pt>
          <cx:pt idx="4098">1</cx:pt>
          <cx:pt idx="4099">1</cx:pt>
          <cx:pt idx="4100">1</cx:pt>
          <cx:pt idx="4101">1</cx:pt>
          <cx:pt idx="4102">1</cx:pt>
          <cx:pt idx="4103">0</cx:pt>
          <cx:pt idx="4104">1</cx:pt>
          <cx:pt idx="4105">0</cx:pt>
          <cx:pt idx="4106">1</cx:pt>
          <cx:pt idx="4107">0</cx:pt>
          <cx:pt idx="4108">0</cx:pt>
          <cx:pt idx="4109">0</cx:pt>
          <cx:pt idx="4110">0</cx:pt>
          <cx:pt idx="4111">0</cx:pt>
          <cx:pt idx="4112">0</cx:pt>
          <cx:pt idx="4113">0</cx:pt>
          <cx:pt idx="4114">1</cx:pt>
          <cx:pt idx="4115">0</cx:pt>
          <cx:pt idx="4116">1</cx:pt>
          <cx:pt idx="4117">1</cx:pt>
          <cx:pt idx="4118">1</cx:pt>
          <cx:pt idx="4119">1</cx:pt>
          <cx:pt idx="4120">1</cx:pt>
          <cx:pt idx="4121">1</cx:pt>
          <cx:pt idx="4122">0</cx:pt>
          <cx:pt idx="4123">0</cx:pt>
          <cx:pt idx="4124">0</cx:pt>
          <cx:pt idx="4125">1</cx:pt>
          <cx:pt idx="4126">0</cx:pt>
          <cx:pt idx="4127">0</cx:pt>
          <cx:pt idx="4128">1</cx:pt>
          <cx:pt idx="4129">0</cx:pt>
          <cx:pt idx="4130">1</cx:pt>
          <cx:pt idx="4131">1</cx:pt>
          <cx:pt idx="4132">1</cx:pt>
          <cx:pt idx="4133">0</cx:pt>
          <cx:pt idx="4134">1</cx:pt>
          <cx:pt idx="4135">1</cx:pt>
          <cx:pt idx="4136">1</cx:pt>
          <cx:pt idx="4137">1</cx:pt>
          <cx:pt idx="4138">0</cx:pt>
          <cx:pt idx="4139">0</cx:pt>
          <cx:pt idx="4140">1</cx:pt>
          <cx:pt idx="4141">0</cx:pt>
          <cx:pt idx="4142">0</cx:pt>
          <cx:pt idx="4143">0</cx:pt>
          <cx:pt idx="4144">0</cx:pt>
          <cx:pt idx="4145">0</cx:pt>
          <cx:pt idx="4146">0</cx:pt>
          <cx:pt idx="4147">1</cx:pt>
          <cx:pt idx="4148">0</cx:pt>
          <cx:pt idx="4149">0</cx:pt>
          <cx:pt idx="4150">0</cx:pt>
          <cx:pt idx="4151">1</cx:pt>
          <cx:pt idx="4152">1</cx:pt>
          <cx:pt idx="4153">1</cx:pt>
          <cx:pt idx="4154">0</cx:pt>
          <cx:pt idx="4155">0</cx:pt>
          <cx:pt idx="4156">1</cx:pt>
          <cx:pt idx="4157">1</cx:pt>
          <cx:pt idx="4158">0</cx:pt>
          <cx:pt idx="4159">1</cx:pt>
          <cx:pt idx="4160">0</cx:pt>
          <cx:pt idx="4161">0</cx:pt>
          <cx:pt idx="4162">0</cx:pt>
          <cx:pt idx="4163">1</cx:pt>
          <cx:pt idx="4164">0</cx:pt>
          <cx:pt idx="4165">1</cx:pt>
          <cx:pt idx="4166">0</cx:pt>
          <cx:pt idx="4167">1</cx:pt>
          <cx:pt idx="4168">0</cx:pt>
          <cx:pt idx="4169">1</cx:pt>
          <cx:pt idx="4170">0</cx:pt>
          <cx:pt idx="4171">0</cx:pt>
          <cx:pt idx="4172">0</cx:pt>
          <cx:pt idx="4173">0</cx:pt>
          <cx:pt idx="4174">1</cx:pt>
          <cx:pt idx="4175">1</cx:pt>
          <cx:pt idx="4176">0</cx:pt>
          <cx:pt idx="4177">0</cx:pt>
          <cx:pt idx="4178">1</cx:pt>
          <cx:pt idx="4179">0</cx:pt>
          <cx:pt idx="4180">1</cx:pt>
          <cx:pt idx="4181">0</cx:pt>
          <cx:pt idx="4182">0</cx:pt>
          <cx:pt idx="4183">1</cx:pt>
          <cx:pt idx="4184">0</cx:pt>
          <cx:pt idx="4185">0</cx:pt>
          <cx:pt idx="4186">0</cx:pt>
          <cx:pt idx="4187">1</cx:pt>
          <cx:pt idx="4188">0</cx:pt>
          <cx:pt idx="4189">1</cx:pt>
          <cx:pt idx="4190">1</cx:pt>
          <cx:pt idx="4191">0</cx:pt>
          <cx:pt idx="4192">1</cx:pt>
          <cx:pt idx="4193">0</cx:pt>
          <cx:pt idx="4194">0</cx:pt>
          <cx:pt idx="4195">1</cx:pt>
          <cx:pt idx="4196">1</cx:pt>
          <cx:pt idx="4197">0</cx:pt>
          <cx:pt idx="4198">1</cx:pt>
          <cx:pt idx="4199">0</cx:pt>
          <cx:pt idx="4200">0</cx:pt>
          <cx:pt idx="4201">0</cx:pt>
          <cx:pt idx="4202">0</cx:pt>
          <cx:pt idx="4203">1</cx:pt>
          <cx:pt idx="4204">0</cx:pt>
          <cx:pt idx="4205">1</cx:pt>
          <cx:pt idx="4206">0</cx:pt>
          <cx:pt idx="4207">1</cx:pt>
          <cx:pt idx="4208">1</cx:pt>
          <cx:pt idx="4209">0</cx:pt>
          <cx:pt idx="4210">0</cx:pt>
          <cx:pt idx="4211">1</cx:pt>
          <cx:pt idx="4212">1</cx:pt>
          <cx:pt idx="4213">0</cx:pt>
          <cx:pt idx="4214">0</cx:pt>
          <cx:pt idx="4215">0</cx:pt>
          <cx:pt idx="4216">0</cx:pt>
          <cx:pt idx="4217">0</cx:pt>
          <cx:pt idx="4218">0</cx:pt>
          <cx:pt idx="4219">0</cx:pt>
          <cx:pt idx="4220">0</cx:pt>
          <cx:pt idx="4221">0</cx:pt>
          <cx:pt idx="4222">1</cx:pt>
          <cx:pt idx="4223">0</cx:pt>
          <cx:pt idx="4224">1</cx:pt>
          <cx:pt idx="4225">0</cx:pt>
          <cx:pt idx="4226">0</cx:pt>
          <cx:pt idx="4227">1</cx:pt>
          <cx:pt idx="4228">0</cx:pt>
          <cx:pt idx="4229">0</cx:pt>
          <cx:pt idx="4230">0</cx:pt>
          <cx:pt idx="4231">0</cx:pt>
          <cx:pt idx="4232">1</cx:pt>
          <cx:pt idx="4233">0</cx:pt>
          <cx:pt idx="4234">1</cx:pt>
          <cx:pt idx="4235">1</cx:pt>
          <cx:pt idx="4236">0</cx:pt>
          <cx:pt idx="4237">1</cx:pt>
          <cx:pt idx="4238">1</cx:pt>
          <cx:pt idx="4239">0</cx:pt>
          <cx:pt idx="4240">0</cx:pt>
          <cx:pt idx="4241">0</cx:pt>
          <cx:pt idx="4242">0</cx:pt>
          <cx:pt idx="4243">0</cx:pt>
          <cx:pt idx="4244">0</cx:pt>
          <cx:pt idx="4245">1</cx:pt>
          <cx:pt idx="4246">1</cx:pt>
          <cx:pt idx="4247">0</cx:pt>
          <cx:pt idx="4248">1</cx:pt>
          <cx:pt idx="4249">0</cx:pt>
          <cx:pt idx="4250">1</cx:pt>
          <cx:pt idx="4251">0</cx:pt>
          <cx:pt idx="4252">1</cx:pt>
          <cx:pt idx="4253">0</cx:pt>
          <cx:pt idx="4254">1</cx:pt>
          <cx:pt idx="4255">0</cx:pt>
          <cx:pt idx="4256">1</cx:pt>
          <cx:pt idx="4257">1</cx:pt>
          <cx:pt idx="4258">0</cx:pt>
          <cx:pt idx="4259">1</cx:pt>
          <cx:pt idx="4260">0</cx:pt>
          <cx:pt idx="4261">1</cx:pt>
          <cx:pt idx="4262">0</cx:pt>
          <cx:pt idx="4263">1</cx:pt>
          <cx:pt idx="4264">0</cx:pt>
          <cx:pt idx="4265">1</cx:pt>
          <cx:pt idx="4266">0</cx:pt>
          <cx:pt idx="4267">0</cx:pt>
          <cx:pt idx="4268">0</cx:pt>
          <cx:pt idx="4269">1</cx:pt>
          <cx:pt idx="4270">1</cx:pt>
          <cx:pt idx="4271">0</cx:pt>
          <cx:pt idx="4272">1</cx:pt>
          <cx:pt idx="4273">1</cx:pt>
          <cx:pt idx="4274">0</cx:pt>
          <cx:pt idx="4275">0</cx:pt>
          <cx:pt idx="4276">0</cx:pt>
          <cx:pt idx="4277">0</cx:pt>
          <cx:pt idx="4278">0</cx:pt>
          <cx:pt idx="4279">1</cx:pt>
          <cx:pt idx="4280">0</cx:pt>
          <cx:pt idx="4281">0</cx:pt>
          <cx:pt idx="4282">0</cx:pt>
          <cx:pt idx="4283">0</cx:pt>
          <cx:pt idx="4284">1</cx:pt>
          <cx:pt idx="4285">0</cx:pt>
          <cx:pt idx="4286">1</cx:pt>
          <cx:pt idx="4287">0</cx:pt>
          <cx:pt idx="4288">0</cx:pt>
          <cx:pt idx="4289">1</cx:pt>
          <cx:pt idx="4290">1</cx:pt>
          <cx:pt idx="4291">0</cx:pt>
          <cx:pt idx="4292">0</cx:pt>
          <cx:pt idx="4293">0</cx:pt>
          <cx:pt idx="4294">0</cx:pt>
          <cx:pt idx="4295">1</cx:pt>
          <cx:pt idx="4296">0</cx:pt>
          <cx:pt idx="4297">1</cx:pt>
          <cx:pt idx="4298">0</cx:pt>
          <cx:pt idx="4299">0</cx:pt>
          <cx:pt idx="4300">0</cx:pt>
          <cx:pt idx="4301">0</cx:pt>
          <cx:pt idx="4302">1</cx:pt>
          <cx:pt idx="4303">0</cx:pt>
          <cx:pt idx="4304">0</cx:pt>
          <cx:pt idx="4305">1</cx:pt>
          <cx:pt idx="4306">1</cx:pt>
          <cx:pt idx="4307">1</cx:pt>
          <cx:pt idx="4308">1</cx:pt>
          <cx:pt idx="4309">0</cx:pt>
          <cx:pt idx="4310">0</cx:pt>
          <cx:pt idx="4311">0</cx:pt>
          <cx:pt idx="4312">0</cx:pt>
          <cx:pt idx="4313">0</cx:pt>
          <cx:pt idx="4314">1</cx:pt>
          <cx:pt idx="4315">0</cx:pt>
          <cx:pt idx="4316">0</cx:pt>
          <cx:pt idx="4317">0</cx:pt>
          <cx:pt idx="4318">0</cx:pt>
          <cx:pt idx="4319">1</cx:pt>
          <cx:pt idx="4320">0</cx:pt>
          <cx:pt idx="4321">0</cx:pt>
          <cx:pt idx="4322">0</cx:pt>
          <cx:pt idx="4323">1</cx:pt>
          <cx:pt idx="4324">0</cx:pt>
          <cx:pt idx="4325">0</cx:pt>
          <cx:pt idx="4326">1</cx:pt>
          <cx:pt idx="4327">1</cx:pt>
          <cx:pt idx="4328">1</cx:pt>
          <cx:pt idx="4329">0</cx:pt>
          <cx:pt idx="4330">0</cx:pt>
          <cx:pt idx="4331">0</cx:pt>
          <cx:pt idx="4332">1</cx:pt>
          <cx:pt idx="4333">0</cx:pt>
          <cx:pt idx="4334">0</cx:pt>
          <cx:pt idx="4335">0</cx:pt>
          <cx:pt idx="4336">0</cx:pt>
          <cx:pt idx="4337">0</cx:pt>
          <cx:pt idx="4338">1</cx:pt>
          <cx:pt idx="4339">0</cx:pt>
          <cx:pt idx="4340">1</cx:pt>
          <cx:pt idx="4341">0</cx:pt>
          <cx:pt idx="4342">0</cx:pt>
          <cx:pt idx="4343">0</cx:pt>
          <cx:pt idx="4344">0</cx:pt>
          <cx:pt idx="4345">1</cx:pt>
          <cx:pt idx="4346">0</cx:pt>
          <cx:pt idx="4347">0</cx:pt>
          <cx:pt idx="4348">1</cx:pt>
          <cx:pt idx="4349">0</cx:pt>
          <cx:pt idx="4350">0</cx:pt>
          <cx:pt idx="4351">0</cx:pt>
          <cx:pt idx="4352">0</cx:pt>
          <cx:pt idx="4353">0</cx:pt>
          <cx:pt idx="4354">1</cx:pt>
          <cx:pt idx="4355">1</cx:pt>
          <cx:pt idx="4356">1</cx:pt>
          <cx:pt idx="4357">0</cx:pt>
          <cx:pt idx="4358">1</cx:pt>
          <cx:pt idx="4359">1</cx:pt>
          <cx:pt idx="4360">0</cx:pt>
          <cx:pt idx="4361">0</cx:pt>
          <cx:pt idx="4362">0</cx:pt>
          <cx:pt idx="4363">0</cx:pt>
          <cx:pt idx="4364">0</cx:pt>
          <cx:pt idx="4365">0</cx:pt>
          <cx:pt idx="4366">1</cx:pt>
          <cx:pt idx="4367">0</cx:pt>
          <cx:pt idx="4368">0</cx:pt>
          <cx:pt idx="4369">0</cx:pt>
          <cx:pt idx="4370">0</cx:pt>
          <cx:pt idx="4371">0</cx:pt>
          <cx:pt idx="4372">1</cx:pt>
          <cx:pt idx="4373">0</cx:pt>
          <cx:pt idx="4374">1</cx:pt>
          <cx:pt idx="4375">0</cx:pt>
          <cx:pt idx="4376">1</cx:pt>
          <cx:pt idx="4377">0</cx:pt>
          <cx:pt idx="4378">0</cx:pt>
          <cx:pt idx="4379">0</cx:pt>
          <cx:pt idx="4380">1</cx:pt>
          <cx:pt idx="4381">0</cx:pt>
          <cx:pt idx="4382">0</cx:pt>
          <cx:pt idx="4383">1</cx:pt>
          <cx:pt idx="4384">0</cx:pt>
          <cx:pt idx="4385">0</cx:pt>
          <cx:pt idx="4386">0</cx:pt>
          <cx:pt idx="4387">0</cx:pt>
          <cx:pt idx="4388">1</cx:pt>
          <cx:pt idx="4389">0</cx:pt>
          <cx:pt idx="4390">0</cx:pt>
          <cx:pt idx="4391">1</cx:pt>
          <cx:pt idx="4392">1</cx:pt>
          <cx:pt idx="4393">1</cx:pt>
          <cx:pt idx="4394">0</cx:pt>
          <cx:pt idx="4395">1</cx:pt>
          <cx:pt idx="4396">0</cx:pt>
          <cx:pt idx="4397">1</cx:pt>
          <cx:pt idx="4398">0</cx:pt>
          <cx:pt idx="4399">1</cx:pt>
          <cx:pt idx="4400">0</cx:pt>
          <cx:pt idx="4401">0</cx:pt>
          <cx:pt idx="4402">0</cx:pt>
          <cx:pt idx="4403">1</cx:pt>
          <cx:pt idx="4404">1</cx:pt>
          <cx:pt idx="4405">1</cx:pt>
          <cx:pt idx="4406">1</cx:pt>
          <cx:pt idx="4407">1</cx:pt>
          <cx:pt idx="4408">1</cx:pt>
          <cx:pt idx="4409">0</cx:pt>
          <cx:pt idx="4410">0</cx:pt>
          <cx:pt idx="4411">1</cx:pt>
          <cx:pt idx="4412">1</cx:pt>
          <cx:pt idx="4413">0</cx:pt>
          <cx:pt idx="4414">0</cx:pt>
          <cx:pt idx="4415">1</cx:pt>
          <cx:pt idx="4416">1</cx:pt>
          <cx:pt idx="4417">0</cx:pt>
          <cx:pt idx="4418">1</cx:pt>
          <cx:pt idx="4419">0</cx:pt>
          <cx:pt idx="4420">0</cx:pt>
          <cx:pt idx="4421">0</cx:pt>
          <cx:pt idx="4422">1</cx:pt>
          <cx:pt idx="4423">0</cx:pt>
          <cx:pt idx="4424">1</cx:pt>
          <cx:pt idx="4425">1</cx:pt>
          <cx:pt idx="4426">1</cx:pt>
          <cx:pt idx="4427">0</cx:pt>
          <cx:pt idx="4428">0</cx:pt>
          <cx:pt idx="4429">0</cx:pt>
          <cx:pt idx="4430">0</cx:pt>
          <cx:pt idx="4431">1</cx:pt>
          <cx:pt idx="4432">1</cx:pt>
          <cx:pt idx="4433">1</cx:pt>
          <cx:pt idx="4434">0</cx:pt>
          <cx:pt idx="4435">0</cx:pt>
          <cx:pt idx="4436">1</cx:pt>
          <cx:pt idx="4437">1</cx:pt>
          <cx:pt idx="4438">0</cx:pt>
          <cx:pt idx="4439">0</cx:pt>
          <cx:pt idx="4440">1</cx:pt>
          <cx:pt idx="4441">0</cx:pt>
          <cx:pt idx="4442">0</cx:pt>
          <cx:pt idx="4443">0</cx:pt>
          <cx:pt idx="4444">0</cx:pt>
          <cx:pt idx="4445">0</cx:pt>
          <cx:pt idx="4446">0</cx:pt>
          <cx:pt idx="4447">1</cx:pt>
          <cx:pt idx="4448">1</cx:pt>
          <cx:pt idx="4449">1</cx:pt>
          <cx:pt idx="4450">0</cx:pt>
          <cx:pt idx="4451">0</cx:pt>
          <cx:pt idx="4452">0</cx:pt>
          <cx:pt idx="4453">0</cx:pt>
          <cx:pt idx="4454">0</cx:pt>
          <cx:pt idx="4455">0</cx:pt>
          <cx:pt idx="4456">1</cx:pt>
          <cx:pt idx="4457">0</cx:pt>
          <cx:pt idx="4458">0</cx:pt>
          <cx:pt idx="4459">1</cx:pt>
          <cx:pt idx="4460">1</cx:pt>
          <cx:pt idx="4461">1</cx:pt>
          <cx:pt idx="4462">1</cx:pt>
          <cx:pt idx="4463">1</cx:pt>
          <cx:pt idx="4464">1</cx:pt>
          <cx:pt idx="4465">0</cx:pt>
          <cx:pt idx="4466">0</cx:pt>
          <cx:pt idx="4467">0</cx:pt>
          <cx:pt idx="4468">0</cx:pt>
          <cx:pt idx="4469">0</cx:pt>
          <cx:pt idx="4470">0</cx:pt>
          <cx:pt idx="4471">0</cx:pt>
          <cx:pt idx="4472">1</cx:pt>
          <cx:pt idx="4473">1</cx:pt>
          <cx:pt idx="4474">0</cx:pt>
          <cx:pt idx="4475">0</cx:pt>
          <cx:pt idx="4476">0</cx:pt>
          <cx:pt idx="4477">0</cx:pt>
          <cx:pt idx="4478">1</cx:pt>
          <cx:pt idx="4479">1</cx:pt>
          <cx:pt idx="4480">0</cx:pt>
          <cx:pt idx="4481">0</cx:pt>
          <cx:pt idx="4482">1</cx:pt>
          <cx:pt idx="4483">0</cx:pt>
          <cx:pt idx="4484">0</cx:pt>
          <cx:pt idx="4485">1</cx:pt>
          <cx:pt idx="4486">1</cx:pt>
          <cx:pt idx="4487">0</cx:pt>
          <cx:pt idx="4488">0</cx:pt>
          <cx:pt idx="4489">0</cx:pt>
          <cx:pt idx="4490">0</cx:pt>
          <cx:pt idx="4491">1</cx:pt>
          <cx:pt idx="4492">1</cx:pt>
          <cx:pt idx="4493">0</cx:pt>
          <cx:pt idx="4494">0</cx:pt>
          <cx:pt idx="4495">0</cx:pt>
          <cx:pt idx="4496">0</cx:pt>
          <cx:pt idx="4497">1</cx:pt>
          <cx:pt idx="4498">0</cx:pt>
          <cx:pt idx="4499">0</cx:pt>
          <cx:pt idx="4500">0</cx:pt>
          <cx:pt idx="4501">1</cx:pt>
          <cx:pt idx="4502">1</cx:pt>
          <cx:pt idx="4503">0</cx:pt>
          <cx:pt idx="4504">0</cx:pt>
          <cx:pt idx="4505">0</cx:pt>
          <cx:pt idx="4506">1</cx:pt>
          <cx:pt idx="4507">1</cx:pt>
          <cx:pt idx="4508">0</cx:pt>
          <cx:pt idx="4509">0</cx:pt>
          <cx:pt idx="4510">0</cx:pt>
          <cx:pt idx="4511">0</cx:pt>
          <cx:pt idx="4512">1</cx:pt>
          <cx:pt idx="4513">0</cx:pt>
          <cx:pt idx="4514">0</cx:pt>
          <cx:pt idx="4515">1</cx:pt>
          <cx:pt idx="4516">0</cx:pt>
          <cx:pt idx="4517">1</cx:pt>
          <cx:pt idx="4518">1</cx:pt>
          <cx:pt idx="4519">1</cx:pt>
          <cx:pt idx="4520">0</cx:pt>
          <cx:pt idx="4521">0</cx:pt>
          <cx:pt idx="4522">1</cx:pt>
          <cx:pt idx="4523">1</cx:pt>
          <cx:pt idx="4524">1</cx:pt>
          <cx:pt idx="4525">0</cx:pt>
          <cx:pt idx="4526">1</cx:pt>
          <cx:pt idx="4527">1</cx:pt>
          <cx:pt idx="4528">1</cx:pt>
          <cx:pt idx="4529">0</cx:pt>
          <cx:pt idx="4530">1</cx:pt>
          <cx:pt idx="4531">0</cx:pt>
          <cx:pt idx="4532">0</cx:pt>
          <cx:pt idx="4533">1</cx:pt>
          <cx:pt idx="4534">0</cx:pt>
          <cx:pt idx="4535">0</cx:pt>
          <cx:pt idx="4536">1</cx:pt>
          <cx:pt idx="4537">1</cx:pt>
          <cx:pt idx="4538">1</cx:pt>
          <cx:pt idx="4539">1</cx:pt>
          <cx:pt idx="4540">1</cx:pt>
          <cx:pt idx="4541">0</cx:pt>
          <cx:pt idx="4542">1</cx:pt>
          <cx:pt idx="4543">1</cx:pt>
          <cx:pt idx="4544">0</cx:pt>
          <cx:pt idx="4545">1</cx:pt>
          <cx:pt idx="4546">0</cx:pt>
          <cx:pt idx="4547">1</cx:pt>
          <cx:pt idx="4548">0</cx:pt>
          <cx:pt idx="4549">0</cx:pt>
          <cx:pt idx="4550">0</cx:pt>
          <cx:pt idx="4551">0</cx:pt>
          <cx:pt idx="4552">0</cx:pt>
          <cx:pt idx="4553">0</cx:pt>
          <cx:pt idx="4554">0</cx:pt>
          <cx:pt idx="4555">0</cx:pt>
          <cx:pt idx="4556">0</cx:pt>
          <cx:pt idx="4557">1</cx:pt>
          <cx:pt idx="4558">1</cx:pt>
          <cx:pt idx="4559">1</cx:pt>
          <cx:pt idx="4560">0</cx:pt>
          <cx:pt idx="4561">1</cx:pt>
          <cx:pt idx="4562">1</cx:pt>
          <cx:pt idx="4563">1</cx:pt>
          <cx:pt idx="4564">0</cx:pt>
          <cx:pt idx="4565">0</cx:pt>
          <cx:pt idx="4566">0</cx:pt>
          <cx:pt idx="4567">1</cx:pt>
          <cx:pt idx="4568">0</cx:pt>
          <cx:pt idx="4569">0</cx:pt>
          <cx:pt idx="4570">0</cx:pt>
          <cx:pt idx="4571">0</cx:pt>
          <cx:pt idx="4572">0</cx:pt>
          <cx:pt idx="4573">1</cx:pt>
          <cx:pt idx="4574">0</cx:pt>
          <cx:pt idx="4575">0</cx:pt>
          <cx:pt idx="4576">1</cx:pt>
          <cx:pt idx="4577">0</cx:pt>
          <cx:pt idx="4578">0</cx:pt>
          <cx:pt idx="4579">0</cx:pt>
          <cx:pt idx="4580">0</cx:pt>
          <cx:pt idx="4581">0</cx:pt>
          <cx:pt idx="4582">1</cx:pt>
          <cx:pt idx="4583">0</cx:pt>
          <cx:pt idx="4584">1</cx:pt>
          <cx:pt idx="4585">0</cx:pt>
          <cx:pt idx="4586">1</cx:pt>
          <cx:pt idx="4587">1</cx:pt>
          <cx:pt idx="4588">1</cx:pt>
          <cx:pt idx="4589">0</cx:pt>
          <cx:pt idx="4590">1</cx:pt>
          <cx:pt idx="4591">0</cx:pt>
          <cx:pt idx="4592">0</cx:pt>
          <cx:pt idx="4593">1</cx:pt>
          <cx:pt idx="4594">1</cx:pt>
          <cx:pt idx="4595">1</cx:pt>
          <cx:pt idx="4596">1</cx:pt>
          <cx:pt idx="4597">1</cx:pt>
          <cx:pt idx="4598">0</cx:pt>
          <cx:pt idx="4599">0</cx:pt>
          <cx:pt idx="4600">0</cx:pt>
          <cx:pt idx="4601">0</cx:pt>
          <cx:pt idx="4602">1</cx:pt>
          <cx:pt idx="4603">0</cx:pt>
          <cx:pt idx="4604">1</cx:pt>
          <cx:pt idx="4605">0</cx:pt>
          <cx:pt idx="4606">1</cx:pt>
          <cx:pt idx="4607">1</cx:pt>
          <cx:pt idx="4608">1</cx:pt>
          <cx:pt idx="4609">0</cx:pt>
          <cx:pt idx="4610">0</cx:pt>
          <cx:pt idx="4611">1</cx:pt>
          <cx:pt idx="4612">1</cx:pt>
          <cx:pt idx="4613">1</cx:pt>
          <cx:pt idx="4614">1</cx:pt>
          <cx:pt idx="4615">1</cx:pt>
          <cx:pt idx="4616">1</cx:pt>
          <cx:pt idx="4617">1</cx:pt>
          <cx:pt idx="4618">1</cx:pt>
          <cx:pt idx="4619">0</cx:pt>
          <cx:pt idx="4620">0</cx:pt>
          <cx:pt idx="4621">1</cx:pt>
          <cx:pt idx="4622">1</cx:pt>
          <cx:pt idx="4623">1</cx:pt>
          <cx:pt idx="4624">0</cx:pt>
          <cx:pt idx="4625">1</cx:pt>
          <cx:pt idx="4626">1</cx:pt>
          <cx:pt idx="4627">1</cx:pt>
          <cx:pt idx="4628">0</cx:pt>
          <cx:pt idx="4629">0</cx:pt>
          <cx:pt idx="4630">1</cx:pt>
          <cx:pt idx="4631">1</cx:pt>
          <cx:pt idx="4632">0</cx:pt>
          <cx:pt idx="4633">1</cx:pt>
          <cx:pt idx="4634">0</cx:pt>
          <cx:pt idx="4635">0</cx:pt>
          <cx:pt idx="4636">0</cx:pt>
          <cx:pt idx="4637">0</cx:pt>
          <cx:pt idx="4638">0</cx:pt>
          <cx:pt idx="4639">1</cx:pt>
          <cx:pt idx="4640">1</cx:pt>
          <cx:pt idx="4641">0</cx:pt>
          <cx:pt idx="4642">0</cx:pt>
          <cx:pt idx="4643">0</cx:pt>
          <cx:pt idx="4644">0</cx:pt>
          <cx:pt idx="4645">0</cx:pt>
          <cx:pt idx="4646">1</cx:pt>
          <cx:pt idx="4647">0</cx:pt>
          <cx:pt idx="4648">0</cx:pt>
          <cx:pt idx="4649">0</cx:pt>
          <cx:pt idx="4650">1</cx:pt>
          <cx:pt idx="4651">1</cx:pt>
          <cx:pt idx="4652">1</cx:pt>
          <cx:pt idx="4653">1</cx:pt>
          <cx:pt idx="4654">0</cx:pt>
          <cx:pt idx="4655">0</cx:pt>
          <cx:pt idx="4656">1</cx:pt>
          <cx:pt idx="4657">0</cx:pt>
          <cx:pt idx="4658">0</cx:pt>
          <cx:pt idx="4659">0</cx:pt>
          <cx:pt idx="4660">1</cx:pt>
          <cx:pt idx="4661">1</cx:pt>
          <cx:pt idx="4662">0</cx:pt>
          <cx:pt idx="4663">0</cx:pt>
          <cx:pt idx="4664">1</cx:pt>
          <cx:pt idx="4665">1</cx:pt>
          <cx:pt idx="4666">1</cx:pt>
          <cx:pt idx="4667">1</cx:pt>
          <cx:pt idx="4668">0</cx:pt>
          <cx:pt idx="4669">0</cx:pt>
          <cx:pt idx="4670">1</cx:pt>
          <cx:pt idx="4671">0</cx:pt>
          <cx:pt idx="4672">0</cx:pt>
          <cx:pt idx="4673">1</cx:pt>
          <cx:pt idx="4674">0</cx:pt>
          <cx:pt idx="4675">0</cx:pt>
          <cx:pt idx="4676">1</cx:pt>
          <cx:pt idx="4677">1</cx:pt>
          <cx:pt idx="4678">1</cx:pt>
          <cx:pt idx="4679">1</cx:pt>
          <cx:pt idx="4680">0</cx:pt>
          <cx:pt idx="4681">0</cx:pt>
          <cx:pt idx="4682">1</cx:pt>
          <cx:pt idx="4683">0</cx:pt>
          <cx:pt idx="4684">1</cx:pt>
          <cx:pt idx="4685">0</cx:pt>
          <cx:pt idx="4686">0</cx:pt>
          <cx:pt idx="4687">0</cx:pt>
          <cx:pt idx="4688">0</cx:pt>
          <cx:pt idx="4689">0</cx:pt>
          <cx:pt idx="4690">1</cx:pt>
          <cx:pt idx="4691">0</cx:pt>
          <cx:pt idx="4692">1</cx:pt>
          <cx:pt idx="4693">0</cx:pt>
          <cx:pt idx="4694">0</cx:pt>
          <cx:pt idx="4695">0</cx:pt>
          <cx:pt idx="4696">1</cx:pt>
          <cx:pt idx="4697">1</cx:pt>
          <cx:pt idx="4698">0</cx:pt>
          <cx:pt idx="4699">0</cx:pt>
          <cx:pt idx="4700">1</cx:pt>
          <cx:pt idx="4701">0</cx:pt>
          <cx:pt idx="4702">0</cx:pt>
          <cx:pt idx="4703">0</cx:pt>
          <cx:pt idx="4704">0</cx:pt>
          <cx:pt idx="4705">0</cx:pt>
          <cx:pt idx="4706">1</cx:pt>
          <cx:pt idx="4707">0</cx:pt>
          <cx:pt idx="4708">1</cx:pt>
          <cx:pt idx="4709">1</cx:pt>
          <cx:pt idx="4710">0</cx:pt>
          <cx:pt idx="4711">0</cx:pt>
          <cx:pt idx="4712">1</cx:pt>
          <cx:pt idx="4713">1</cx:pt>
          <cx:pt idx="4714">0</cx:pt>
          <cx:pt idx="4715">1</cx:pt>
          <cx:pt idx="4716">1</cx:pt>
          <cx:pt idx="4717">0</cx:pt>
          <cx:pt idx="4718">0</cx:pt>
          <cx:pt idx="4719">0</cx:pt>
          <cx:pt idx="4720">0</cx:pt>
          <cx:pt idx="4721">0</cx:pt>
          <cx:pt idx="4722">0</cx:pt>
          <cx:pt idx="4723">1</cx:pt>
          <cx:pt idx="4724">0</cx:pt>
          <cx:pt idx="4725">0</cx:pt>
          <cx:pt idx="4726">1</cx:pt>
          <cx:pt idx="4727">0</cx:pt>
          <cx:pt idx="4728">1</cx:pt>
          <cx:pt idx="4729">1</cx:pt>
          <cx:pt idx="4730">1</cx:pt>
          <cx:pt idx="4731">0</cx:pt>
          <cx:pt idx="4732">1</cx:pt>
          <cx:pt idx="4733">1</cx:pt>
          <cx:pt idx="4734">1</cx:pt>
          <cx:pt idx="4735">0</cx:pt>
          <cx:pt idx="4736">0</cx:pt>
          <cx:pt idx="4737">0</cx:pt>
          <cx:pt idx="4738">0</cx:pt>
          <cx:pt idx="4739">0</cx:pt>
          <cx:pt idx="4740">0</cx:pt>
          <cx:pt idx="4741">1</cx:pt>
          <cx:pt idx="4742">0</cx:pt>
          <cx:pt idx="4743">1</cx:pt>
          <cx:pt idx="4744">0</cx:pt>
          <cx:pt idx="4745">0</cx:pt>
          <cx:pt idx="4746">0</cx:pt>
          <cx:pt idx="4747">0</cx:pt>
          <cx:pt idx="4748">0</cx:pt>
          <cx:pt idx="4749">0</cx:pt>
          <cx:pt idx="4750">0</cx:pt>
          <cx:pt idx="4751">1</cx:pt>
          <cx:pt idx="4752">0</cx:pt>
          <cx:pt idx="4753">0</cx:pt>
          <cx:pt idx="4754">0</cx:pt>
          <cx:pt idx="4755">1</cx:pt>
          <cx:pt idx="4756">0</cx:pt>
          <cx:pt idx="4757">1</cx:pt>
          <cx:pt idx="4758">0</cx:pt>
          <cx:pt idx="4759">0</cx:pt>
          <cx:pt idx="4760">0</cx:pt>
          <cx:pt idx="4761">1</cx:pt>
          <cx:pt idx="4762">0</cx:pt>
          <cx:pt idx="4763">0</cx:pt>
          <cx:pt idx="4764">0</cx:pt>
          <cx:pt idx="4765">0</cx:pt>
          <cx:pt idx="4766">1</cx:pt>
          <cx:pt idx="4767">1</cx:pt>
          <cx:pt idx="4768">0</cx:pt>
          <cx:pt idx="4769">0</cx:pt>
          <cx:pt idx="4770">0</cx:pt>
          <cx:pt idx="4771">0</cx:pt>
          <cx:pt idx="4772">0</cx:pt>
          <cx:pt idx="4773">0</cx:pt>
          <cx:pt idx="4774">1</cx:pt>
          <cx:pt idx="4775">1</cx:pt>
          <cx:pt idx="4776">0</cx:pt>
          <cx:pt idx="4777">0</cx:pt>
          <cx:pt idx="4778">1</cx:pt>
          <cx:pt idx="4779">0</cx:pt>
          <cx:pt idx="4780">1</cx:pt>
          <cx:pt idx="4781">0</cx:pt>
          <cx:pt idx="4782">1</cx:pt>
          <cx:pt idx="4783">0</cx:pt>
          <cx:pt idx="4784">1</cx:pt>
          <cx:pt idx="4785">0</cx:pt>
          <cx:pt idx="4786">0</cx:pt>
          <cx:pt idx="4787">1</cx:pt>
          <cx:pt idx="4788">0</cx:pt>
          <cx:pt idx="4789">0</cx:pt>
          <cx:pt idx="4790">0</cx:pt>
          <cx:pt idx="4791">0</cx:pt>
          <cx:pt idx="4792">0</cx:pt>
          <cx:pt idx="4793">0</cx:pt>
          <cx:pt idx="4794">0</cx:pt>
          <cx:pt idx="4795">1</cx:pt>
          <cx:pt idx="4796">0</cx:pt>
          <cx:pt idx="4797">0</cx:pt>
          <cx:pt idx="4798">1</cx:pt>
          <cx:pt idx="4799">1</cx:pt>
          <cx:pt idx="4800">0</cx:pt>
          <cx:pt idx="4801">1</cx:pt>
          <cx:pt idx="4802">0</cx:pt>
          <cx:pt idx="4803">1</cx:pt>
          <cx:pt idx="4804">0</cx:pt>
          <cx:pt idx="4805">0</cx:pt>
          <cx:pt idx="4806">0</cx:pt>
          <cx:pt idx="4807">1</cx:pt>
          <cx:pt idx="4808">0</cx:pt>
          <cx:pt idx="4809">0</cx:pt>
          <cx:pt idx="4810">0</cx:pt>
          <cx:pt idx="4811">0</cx:pt>
          <cx:pt idx="4812">1</cx:pt>
          <cx:pt idx="4813">1</cx:pt>
          <cx:pt idx="4814">0</cx:pt>
          <cx:pt idx="4815">0</cx:pt>
          <cx:pt idx="4816">1</cx:pt>
          <cx:pt idx="4817">1</cx:pt>
          <cx:pt idx="4818">0</cx:pt>
          <cx:pt idx="4819">0</cx:pt>
          <cx:pt idx="4820">1</cx:pt>
          <cx:pt idx="4821">0</cx:pt>
          <cx:pt idx="4822">0</cx:pt>
          <cx:pt idx="4823">0</cx:pt>
          <cx:pt idx="4824">1</cx:pt>
          <cx:pt idx="4825">0</cx:pt>
          <cx:pt idx="4826">0</cx:pt>
          <cx:pt idx="4827">1</cx:pt>
          <cx:pt idx="4828">0</cx:pt>
          <cx:pt idx="4829">1</cx:pt>
          <cx:pt idx="4830">0</cx:pt>
          <cx:pt idx="4831">1</cx:pt>
          <cx:pt idx="4832">1</cx:pt>
          <cx:pt idx="4833">1</cx:pt>
          <cx:pt idx="4834">1</cx:pt>
          <cx:pt idx="4835">1</cx:pt>
          <cx:pt idx="4836">0</cx:pt>
          <cx:pt idx="4837">0</cx:pt>
          <cx:pt idx="4838">0</cx:pt>
          <cx:pt idx="4839">1</cx:pt>
          <cx:pt idx="4840">0</cx:pt>
          <cx:pt idx="4841">0</cx:pt>
          <cx:pt idx="4842">0</cx:pt>
          <cx:pt idx="4843">1</cx:pt>
          <cx:pt idx="4844">1</cx:pt>
          <cx:pt idx="4845">1</cx:pt>
          <cx:pt idx="4846">1</cx:pt>
          <cx:pt idx="4847">0</cx:pt>
          <cx:pt idx="4848">1</cx:pt>
          <cx:pt idx="4849">1</cx:pt>
          <cx:pt idx="4850">1</cx:pt>
          <cx:pt idx="4851">0</cx:pt>
          <cx:pt idx="4852">0</cx:pt>
          <cx:pt idx="4853">0</cx:pt>
          <cx:pt idx="4854">0</cx:pt>
          <cx:pt idx="4855">0</cx:pt>
          <cx:pt idx="4856">1</cx:pt>
          <cx:pt idx="4857">1</cx:pt>
          <cx:pt idx="4858">1</cx:pt>
          <cx:pt idx="4859">0</cx:pt>
          <cx:pt idx="4860">0</cx:pt>
          <cx:pt idx="4861">0</cx:pt>
          <cx:pt idx="4862">0</cx:pt>
          <cx:pt idx="4863">1</cx:pt>
          <cx:pt idx="4864">0</cx:pt>
          <cx:pt idx="4865">1</cx:pt>
          <cx:pt idx="4866">0</cx:pt>
          <cx:pt idx="4867">0</cx:pt>
          <cx:pt idx="4868">0</cx:pt>
          <cx:pt idx="4869">1</cx:pt>
          <cx:pt idx="4870">0</cx:pt>
          <cx:pt idx="4871">0</cx:pt>
          <cx:pt idx="4872">1</cx:pt>
          <cx:pt idx="4873">1</cx:pt>
          <cx:pt idx="4874">1</cx:pt>
          <cx:pt idx="4875">0</cx:pt>
          <cx:pt idx="4876">0</cx:pt>
          <cx:pt idx="4877">0</cx:pt>
          <cx:pt idx="4878">0</cx:pt>
          <cx:pt idx="4879">0</cx:pt>
          <cx:pt idx="4880">0</cx:pt>
          <cx:pt idx="4881">1</cx:pt>
          <cx:pt idx="4882">1</cx:pt>
          <cx:pt idx="4883">1</cx:pt>
          <cx:pt idx="4884">0</cx:pt>
          <cx:pt idx="4885">1</cx:pt>
          <cx:pt idx="4886">1</cx:pt>
          <cx:pt idx="4887">1</cx:pt>
          <cx:pt idx="4888">0</cx:pt>
          <cx:pt idx="4889">1</cx:pt>
          <cx:pt idx="4890">0</cx:pt>
          <cx:pt idx="4891">0</cx:pt>
          <cx:pt idx="4892">1</cx:pt>
          <cx:pt idx="4893">0</cx:pt>
          <cx:pt idx="4894">0</cx:pt>
          <cx:pt idx="4895">0</cx:pt>
          <cx:pt idx="4896">1</cx:pt>
          <cx:pt idx="4897">0</cx:pt>
          <cx:pt idx="4898">1</cx:pt>
          <cx:pt idx="4899">1</cx:pt>
          <cx:pt idx="4900">0</cx:pt>
          <cx:pt idx="4901">1</cx:pt>
          <cx:pt idx="4902">1</cx:pt>
          <cx:pt idx="4903">1</cx:pt>
          <cx:pt idx="4904">0</cx:pt>
          <cx:pt idx="4905">1</cx:pt>
          <cx:pt idx="4906">1</cx:pt>
          <cx:pt idx="4907">1</cx:pt>
          <cx:pt idx="4908">0</cx:pt>
          <cx:pt idx="4909">1</cx:pt>
          <cx:pt idx="4910">0</cx:pt>
          <cx:pt idx="4911">0</cx:pt>
          <cx:pt idx="4912">1</cx:pt>
          <cx:pt idx="4913">0</cx:pt>
          <cx:pt idx="4914">1</cx:pt>
          <cx:pt idx="4915">1</cx:pt>
          <cx:pt idx="4916">0</cx:pt>
          <cx:pt idx="4917">1</cx:pt>
          <cx:pt idx="4918">0</cx:pt>
          <cx:pt idx="4919">0</cx:pt>
          <cx:pt idx="4920">0</cx:pt>
          <cx:pt idx="4921">0</cx:pt>
          <cx:pt idx="4922">1</cx:pt>
          <cx:pt idx="4923">1</cx:pt>
          <cx:pt idx="4924">1</cx:pt>
          <cx:pt idx="4925">0</cx:pt>
          <cx:pt idx="4926">0</cx:pt>
          <cx:pt idx="4927">0</cx:pt>
          <cx:pt idx="4928">0</cx:pt>
          <cx:pt idx="4929">0</cx:pt>
          <cx:pt idx="4930">1</cx:pt>
          <cx:pt idx="4931">1</cx:pt>
          <cx:pt idx="4932">0</cx:pt>
          <cx:pt idx="4933">1</cx:pt>
          <cx:pt idx="4934">0</cx:pt>
          <cx:pt idx="4935">1</cx:pt>
          <cx:pt idx="4936">0</cx:pt>
          <cx:pt idx="4937">0</cx:pt>
          <cx:pt idx="4938">0</cx:pt>
          <cx:pt idx="4939">1</cx:pt>
          <cx:pt idx="4940">1</cx:pt>
          <cx:pt idx="4941">0</cx:pt>
          <cx:pt idx="4942">1</cx:pt>
          <cx:pt idx="4943">1</cx:pt>
          <cx:pt idx="4944">1</cx:pt>
          <cx:pt idx="4945">1</cx:pt>
          <cx:pt idx="4946">0</cx:pt>
          <cx:pt idx="4947">1</cx:pt>
          <cx:pt idx="4948">1</cx:pt>
          <cx:pt idx="4949">0</cx:pt>
          <cx:pt idx="4950">0</cx:pt>
          <cx:pt idx="4951">1</cx:pt>
          <cx:pt idx="4952">1</cx:pt>
          <cx:pt idx="4953">0</cx:pt>
          <cx:pt idx="4954">0</cx:pt>
          <cx:pt idx="4955">0</cx:pt>
          <cx:pt idx="4956">0</cx:pt>
          <cx:pt idx="4957">0</cx:pt>
          <cx:pt idx="4958">0</cx:pt>
          <cx:pt idx="4959">1</cx:pt>
          <cx:pt idx="4960">1</cx:pt>
          <cx:pt idx="4961">1</cx:pt>
          <cx:pt idx="4962">0</cx:pt>
          <cx:pt idx="4963">0</cx:pt>
          <cx:pt idx="4964">0</cx:pt>
          <cx:pt idx="4965">0</cx:pt>
          <cx:pt idx="4966">1</cx:pt>
          <cx:pt idx="4967">0</cx:pt>
          <cx:pt idx="4968">0</cx:pt>
          <cx:pt idx="4969">1</cx:pt>
          <cx:pt idx="4970">0</cx:pt>
          <cx:pt idx="4971">0</cx:pt>
          <cx:pt idx="4972">1</cx:pt>
          <cx:pt idx="4973">1</cx:pt>
          <cx:pt idx="4974">1</cx:pt>
          <cx:pt idx="4975">0</cx:pt>
          <cx:pt idx="4976">1</cx:pt>
          <cx:pt idx="4977">1</cx:pt>
          <cx:pt idx="4978">1</cx:pt>
          <cx:pt idx="4979">0</cx:pt>
          <cx:pt idx="4980">0</cx:pt>
          <cx:pt idx="4981">1</cx:pt>
          <cx:pt idx="4982">1</cx:pt>
          <cx:pt idx="4983">1</cx:pt>
          <cx:pt idx="4984">1</cx:pt>
          <cx:pt idx="4985">0</cx:pt>
          <cx:pt idx="4986">0</cx:pt>
          <cx:pt idx="4987">0</cx:pt>
          <cx:pt idx="4988">0</cx:pt>
          <cx:pt idx="4989">0</cx:pt>
          <cx:pt idx="4990">1</cx:pt>
          <cx:pt idx="4991">0</cx:pt>
          <cx:pt idx="4992">1</cx:pt>
          <cx:pt idx="4993">1</cx:pt>
          <cx:pt idx="4994">0</cx:pt>
          <cx:pt idx="4995">1</cx:pt>
          <cx:pt idx="4996">0</cx:pt>
          <cx:pt idx="4997">0</cx:pt>
          <cx:pt idx="4998">1</cx:pt>
          <cx:pt idx="4999">1</cx:pt>
          <cx:pt idx="5000">0</cx:pt>
          <cx:pt idx="5001">1</cx:pt>
          <cx:pt idx="5002">1</cx:pt>
          <cx:pt idx="5003">0</cx:pt>
          <cx:pt idx="5004">1</cx:pt>
          <cx:pt idx="5005">0</cx:pt>
          <cx:pt idx="5006">1</cx:pt>
          <cx:pt idx="5007">1</cx:pt>
          <cx:pt idx="5008">0</cx:pt>
          <cx:pt idx="5009">0</cx:pt>
          <cx:pt idx="5010">1</cx:pt>
          <cx:pt idx="5011">1</cx:pt>
          <cx:pt idx="5012">0</cx:pt>
          <cx:pt idx="5013">1</cx:pt>
          <cx:pt idx="5014">1</cx:pt>
          <cx:pt idx="5015">0</cx:pt>
          <cx:pt idx="5016">1</cx:pt>
          <cx:pt idx="5017">0</cx:pt>
          <cx:pt idx="5018">1</cx:pt>
          <cx:pt idx="5019">1</cx:pt>
          <cx:pt idx="5020">0</cx:pt>
          <cx:pt idx="5021">0</cx:pt>
          <cx:pt idx="5022">1</cx:pt>
          <cx:pt idx="5023">1</cx:pt>
          <cx:pt idx="5024">0</cx:pt>
          <cx:pt idx="5025">1</cx:pt>
          <cx:pt idx="5026">0</cx:pt>
          <cx:pt idx="5027">0</cx:pt>
          <cx:pt idx="5028">1</cx:pt>
          <cx:pt idx="5029">1</cx:pt>
          <cx:pt idx="5030">0</cx:pt>
          <cx:pt idx="5031">1</cx:pt>
          <cx:pt idx="5032">0</cx:pt>
          <cx:pt idx="5033">1</cx:pt>
          <cx:pt idx="5034">0</cx:pt>
          <cx:pt idx="5035">0</cx:pt>
          <cx:pt idx="5036">1</cx:pt>
          <cx:pt idx="5037">0</cx:pt>
          <cx:pt idx="5038">1</cx:pt>
          <cx:pt idx="5039">0</cx:pt>
          <cx:pt idx="5040">1</cx:pt>
          <cx:pt idx="5041">1</cx:pt>
          <cx:pt idx="5042">0</cx:pt>
          <cx:pt idx="5043">0</cx:pt>
          <cx:pt idx="5044">1</cx:pt>
          <cx:pt idx="5045">1</cx:pt>
          <cx:pt idx="5046">1</cx:pt>
          <cx:pt idx="5047">0</cx:pt>
          <cx:pt idx="5048">0</cx:pt>
          <cx:pt idx="5049">0</cx:pt>
          <cx:pt idx="5050">0</cx:pt>
          <cx:pt idx="5051">1</cx:pt>
          <cx:pt idx="5052">0</cx:pt>
          <cx:pt idx="5053">0</cx:pt>
          <cx:pt idx="5054">1</cx:pt>
          <cx:pt idx="5055">0</cx:pt>
          <cx:pt idx="5056">1</cx:pt>
          <cx:pt idx="5057">0</cx:pt>
          <cx:pt idx="5058">1</cx:pt>
          <cx:pt idx="5059">0</cx:pt>
          <cx:pt idx="5060">0</cx:pt>
          <cx:pt idx="5061">0</cx:pt>
          <cx:pt idx="5062">1</cx:pt>
          <cx:pt idx="5063">0</cx:pt>
          <cx:pt idx="5064">1</cx:pt>
          <cx:pt idx="5065">1</cx:pt>
          <cx:pt idx="5066">1</cx:pt>
          <cx:pt idx="5067">0</cx:pt>
          <cx:pt idx="5068">0</cx:pt>
          <cx:pt idx="5069">1</cx:pt>
          <cx:pt idx="5070">0</cx:pt>
          <cx:pt idx="5071">1</cx:pt>
          <cx:pt idx="5072">1</cx:pt>
          <cx:pt idx="5073">0</cx:pt>
          <cx:pt idx="5074">1</cx:pt>
          <cx:pt idx="5075">1</cx:pt>
          <cx:pt idx="5076">0</cx:pt>
          <cx:pt idx="5077">1</cx:pt>
          <cx:pt idx="5078">1</cx:pt>
          <cx:pt idx="5079">0</cx:pt>
          <cx:pt idx="5080">0</cx:pt>
          <cx:pt idx="5081">0</cx:pt>
          <cx:pt idx="5082">0</cx:pt>
          <cx:pt idx="5083">0</cx:pt>
          <cx:pt idx="5084">0</cx:pt>
          <cx:pt idx="5085">0</cx:pt>
          <cx:pt idx="5086">1</cx:pt>
          <cx:pt idx="5087">1</cx:pt>
          <cx:pt idx="5088">0</cx:pt>
          <cx:pt idx="5089">1</cx:pt>
          <cx:pt idx="5090">1</cx:pt>
          <cx:pt idx="5091">1</cx:pt>
          <cx:pt idx="5092">1</cx:pt>
          <cx:pt idx="5093">1</cx:pt>
          <cx:pt idx="5094">0</cx:pt>
          <cx:pt idx="5095">0</cx:pt>
          <cx:pt idx="5096">0</cx:pt>
          <cx:pt idx="5097">0</cx:pt>
          <cx:pt idx="5098">0</cx:pt>
          <cx:pt idx="5099">0</cx:pt>
          <cx:pt idx="5100">1</cx:pt>
          <cx:pt idx="5101">0</cx:pt>
          <cx:pt idx="5102">1</cx:pt>
          <cx:pt idx="5103">0</cx:pt>
          <cx:pt idx="5104">1</cx:pt>
          <cx:pt idx="5105">0</cx:pt>
          <cx:pt idx="5106">1</cx:pt>
          <cx:pt idx="5107">0</cx:pt>
          <cx:pt idx="5108">0</cx:pt>
          <cx:pt idx="5109">0</cx:pt>
          <cx:pt idx="5110">1</cx:pt>
          <cx:pt idx="5111">0</cx:pt>
          <cx:pt idx="5112">0</cx:pt>
          <cx:pt idx="5113">0</cx:pt>
          <cx:pt idx="5114">0</cx:pt>
          <cx:pt idx="5115">0</cx:pt>
          <cx:pt idx="5116">0</cx:pt>
          <cx:pt idx="5117">1</cx:pt>
          <cx:pt idx="5118">0</cx:pt>
          <cx:pt idx="5119">1</cx:pt>
          <cx:pt idx="5120">1</cx:pt>
          <cx:pt idx="5121">1</cx:pt>
          <cx:pt idx="5122">0</cx:pt>
          <cx:pt idx="5123">0</cx:pt>
          <cx:pt idx="5124">0</cx:pt>
          <cx:pt idx="5125">1</cx:pt>
          <cx:pt idx="5126">0</cx:pt>
          <cx:pt idx="5127">1</cx:pt>
          <cx:pt idx="5128">0</cx:pt>
          <cx:pt idx="5129">0</cx:pt>
          <cx:pt idx="5130">0</cx:pt>
          <cx:pt idx="5131">0</cx:pt>
          <cx:pt idx="5132">0</cx:pt>
          <cx:pt idx="5133">0</cx:pt>
          <cx:pt idx="5134">1</cx:pt>
          <cx:pt idx="5135">1</cx:pt>
          <cx:pt idx="5136">1</cx:pt>
          <cx:pt idx="5137">1</cx:pt>
          <cx:pt idx="5138">1</cx:pt>
          <cx:pt idx="5139">1</cx:pt>
          <cx:pt idx="5140">0</cx:pt>
          <cx:pt idx="5141">0</cx:pt>
          <cx:pt idx="5142">1</cx:pt>
          <cx:pt idx="5143">0</cx:pt>
          <cx:pt idx="5144">0</cx:pt>
          <cx:pt idx="5145">0</cx:pt>
          <cx:pt idx="5146">1</cx:pt>
          <cx:pt idx="5147">1</cx:pt>
          <cx:pt idx="5148">0</cx:pt>
          <cx:pt idx="5149">1</cx:pt>
          <cx:pt idx="5150">1</cx:pt>
          <cx:pt idx="5151">1</cx:pt>
          <cx:pt idx="5152">0</cx:pt>
          <cx:pt idx="5153">1</cx:pt>
          <cx:pt idx="5154">0</cx:pt>
          <cx:pt idx="5155">0</cx:pt>
          <cx:pt idx="5156">0</cx:pt>
          <cx:pt idx="5157">0</cx:pt>
          <cx:pt idx="5158">0</cx:pt>
          <cx:pt idx="5159">1</cx:pt>
          <cx:pt idx="5160">0</cx:pt>
          <cx:pt idx="5161">1</cx:pt>
          <cx:pt idx="5162">1</cx:pt>
          <cx:pt idx="5163">1</cx:pt>
          <cx:pt idx="5164">1</cx:pt>
          <cx:pt idx="5165">0</cx:pt>
          <cx:pt idx="5166">0</cx:pt>
          <cx:pt idx="5167">0</cx:pt>
          <cx:pt idx="5168">1</cx:pt>
          <cx:pt idx="5169">1</cx:pt>
          <cx:pt idx="5170">1</cx:pt>
          <cx:pt idx="5171">0</cx:pt>
          <cx:pt idx="5172">0</cx:pt>
          <cx:pt idx="5173">0</cx:pt>
          <cx:pt idx="5174">0</cx:pt>
          <cx:pt idx="5175">1</cx:pt>
          <cx:pt idx="5176">0</cx:pt>
          <cx:pt idx="5177">0</cx:pt>
          <cx:pt idx="5178">1</cx:pt>
          <cx:pt idx="5179">1</cx:pt>
          <cx:pt idx="5180">0</cx:pt>
          <cx:pt idx="5181">1</cx:pt>
          <cx:pt idx="5182">0</cx:pt>
          <cx:pt idx="5183">0</cx:pt>
          <cx:pt idx="5184">0</cx:pt>
          <cx:pt idx="5185">0</cx:pt>
          <cx:pt idx="5186">0</cx:pt>
          <cx:pt idx="5187">1</cx:pt>
          <cx:pt idx="5188">0</cx:pt>
          <cx:pt idx="5189">0</cx:pt>
          <cx:pt idx="5190">1</cx:pt>
          <cx:pt idx="5191">0</cx:pt>
          <cx:pt idx="5192">0</cx:pt>
          <cx:pt idx="5193">0</cx:pt>
          <cx:pt idx="5194">1</cx:pt>
          <cx:pt idx="5195">0</cx:pt>
          <cx:pt idx="5196">0</cx:pt>
          <cx:pt idx="5197">0</cx:pt>
          <cx:pt idx="5198">0</cx:pt>
          <cx:pt idx="5199">1</cx:pt>
          <cx:pt idx="5200">0</cx:pt>
          <cx:pt idx="5201">1</cx:pt>
          <cx:pt idx="5202">1</cx:pt>
          <cx:pt idx="5203">1</cx:pt>
          <cx:pt idx="5204">1</cx:pt>
          <cx:pt idx="5205">0</cx:pt>
          <cx:pt idx="5206">1</cx:pt>
          <cx:pt idx="5207">1</cx:pt>
          <cx:pt idx="5208">1</cx:pt>
          <cx:pt idx="5209">0</cx:pt>
          <cx:pt idx="5210">0</cx:pt>
          <cx:pt idx="5211">1</cx:pt>
          <cx:pt idx="5212">0</cx:pt>
          <cx:pt idx="5213">1</cx:pt>
          <cx:pt idx="5214">1</cx:pt>
          <cx:pt idx="5215">0</cx:pt>
          <cx:pt idx="5216">1</cx:pt>
          <cx:pt idx="5217">1</cx:pt>
          <cx:pt idx="5218">0</cx:pt>
          <cx:pt idx="5219">1</cx:pt>
          <cx:pt idx="5220">1</cx:pt>
          <cx:pt idx="5221">1</cx:pt>
          <cx:pt idx="5222">0</cx:pt>
          <cx:pt idx="5223">1</cx:pt>
          <cx:pt idx="5224">1</cx:pt>
          <cx:pt idx="5225">0</cx:pt>
          <cx:pt idx="5226">1</cx:pt>
          <cx:pt idx="5227">1</cx:pt>
          <cx:pt idx="5228">1</cx:pt>
          <cx:pt idx="5229">1</cx:pt>
          <cx:pt idx="5230">1</cx:pt>
          <cx:pt idx="5231">0</cx:pt>
          <cx:pt idx="5232">0</cx:pt>
          <cx:pt idx="5233">0</cx:pt>
          <cx:pt idx="5234">1</cx:pt>
          <cx:pt idx="5235">1</cx:pt>
          <cx:pt idx="5236">1</cx:pt>
          <cx:pt idx="5237">0</cx:pt>
          <cx:pt idx="5238">0</cx:pt>
          <cx:pt idx="5239">1</cx:pt>
          <cx:pt idx="5240">0</cx:pt>
          <cx:pt idx="5241">0</cx:pt>
          <cx:pt idx="5242">0</cx:pt>
          <cx:pt idx="5243">0</cx:pt>
          <cx:pt idx="5244">1</cx:pt>
          <cx:pt idx="5245">0</cx:pt>
          <cx:pt idx="5246">1</cx:pt>
          <cx:pt idx="5247">0</cx:pt>
          <cx:pt idx="5248">0</cx:pt>
          <cx:pt idx="5249">1</cx:pt>
          <cx:pt idx="5250">0</cx:pt>
          <cx:pt idx="5251">0</cx:pt>
          <cx:pt idx="5252">1</cx:pt>
          <cx:pt idx="5253">1</cx:pt>
          <cx:pt idx="5254">0</cx:pt>
          <cx:pt idx="5255">0</cx:pt>
          <cx:pt idx="5256">0</cx:pt>
          <cx:pt idx="5257">0</cx:pt>
          <cx:pt idx="5258">0</cx:pt>
          <cx:pt idx="5259">0</cx:pt>
          <cx:pt idx="5260">0</cx:pt>
          <cx:pt idx="5261">0</cx:pt>
          <cx:pt idx="5262">0</cx:pt>
          <cx:pt idx="5263">1</cx:pt>
          <cx:pt idx="5264">1</cx:pt>
          <cx:pt idx="5265">0</cx:pt>
          <cx:pt idx="5266">0</cx:pt>
          <cx:pt idx="5267">1</cx:pt>
          <cx:pt idx="5268">0</cx:pt>
          <cx:pt idx="5269">0</cx:pt>
          <cx:pt idx="5270">1</cx:pt>
          <cx:pt idx="5271">1</cx:pt>
          <cx:pt idx="5272">0</cx:pt>
          <cx:pt idx="5273">1</cx:pt>
          <cx:pt idx="5274">1</cx:pt>
          <cx:pt idx="5275">0</cx:pt>
          <cx:pt idx="5276">0</cx:pt>
          <cx:pt idx="5277">0</cx:pt>
          <cx:pt idx="5278">1</cx:pt>
          <cx:pt idx="5279">0</cx:pt>
          <cx:pt idx="5280">1</cx:pt>
          <cx:pt idx="5281">0</cx:pt>
          <cx:pt idx="5282">0</cx:pt>
          <cx:pt idx="5283">0</cx:pt>
          <cx:pt idx="5284">0</cx:pt>
          <cx:pt idx="5285">1</cx:pt>
          <cx:pt idx="5286">0</cx:pt>
          <cx:pt idx="5287">1</cx:pt>
          <cx:pt idx="5288">1</cx:pt>
          <cx:pt idx="5289">0</cx:pt>
          <cx:pt idx="5290">0</cx:pt>
          <cx:pt idx="5291">1</cx:pt>
          <cx:pt idx="5292">0</cx:pt>
          <cx:pt idx="5293">1</cx:pt>
          <cx:pt idx="5294">1</cx:pt>
          <cx:pt idx="5295">1</cx:pt>
          <cx:pt idx="5296">0</cx:pt>
          <cx:pt idx="5297">0</cx:pt>
          <cx:pt idx="5298">0</cx:pt>
          <cx:pt idx="5299">1</cx:pt>
          <cx:pt idx="5300">0</cx:pt>
          <cx:pt idx="5301">0</cx:pt>
          <cx:pt idx="5302">1</cx:pt>
          <cx:pt idx="5303">0</cx:pt>
          <cx:pt idx="5304">1</cx:pt>
          <cx:pt idx="5305">0</cx:pt>
          <cx:pt idx="5306">1</cx:pt>
          <cx:pt idx="5307">1</cx:pt>
          <cx:pt idx="5308">1</cx:pt>
          <cx:pt idx="5309">0</cx:pt>
          <cx:pt idx="5310">0</cx:pt>
          <cx:pt idx="5311">0</cx:pt>
          <cx:pt idx="5312">0</cx:pt>
          <cx:pt idx="5313">1</cx:pt>
          <cx:pt idx="5314">0</cx:pt>
          <cx:pt idx="5315">1</cx:pt>
          <cx:pt idx="5316">1</cx:pt>
          <cx:pt idx="5317">0</cx:pt>
          <cx:pt idx="5318">0</cx:pt>
          <cx:pt idx="5319">0</cx:pt>
          <cx:pt idx="5320">1</cx:pt>
          <cx:pt idx="5321">0</cx:pt>
          <cx:pt idx="5322">1</cx:pt>
          <cx:pt idx="5323">0</cx:pt>
          <cx:pt idx="5324">0</cx:pt>
          <cx:pt idx="5325">1</cx:pt>
          <cx:pt idx="5326">0</cx:pt>
          <cx:pt idx="5327">0</cx:pt>
          <cx:pt idx="5328">0</cx:pt>
          <cx:pt idx="5329">0</cx:pt>
          <cx:pt idx="5330">0</cx:pt>
          <cx:pt idx="5331">0</cx:pt>
          <cx:pt idx="5332">0</cx:pt>
          <cx:pt idx="5333">0</cx:pt>
          <cx:pt idx="5334">0</cx:pt>
          <cx:pt idx="5335">0</cx:pt>
          <cx:pt idx="5336">1</cx:pt>
          <cx:pt idx="5337">0</cx:pt>
          <cx:pt idx="5338">1</cx:pt>
          <cx:pt idx="5339">0</cx:pt>
          <cx:pt idx="5340">1</cx:pt>
          <cx:pt idx="5341">0</cx:pt>
          <cx:pt idx="5342">1</cx:pt>
          <cx:pt idx="5343">0</cx:pt>
          <cx:pt idx="5344">1</cx:pt>
          <cx:pt idx="5345">1</cx:pt>
          <cx:pt idx="5346">1</cx:pt>
          <cx:pt idx="5347">0</cx:pt>
          <cx:pt idx="5348">1</cx:pt>
          <cx:pt idx="5349">0</cx:pt>
          <cx:pt idx="5350">1</cx:pt>
          <cx:pt idx="5351">1</cx:pt>
          <cx:pt idx="5352">1</cx:pt>
          <cx:pt idx="5353">0</cx:pt>
          <cx:pt idx="5354">0</cx:pt>
          <cx:pt idx="5355">1</cx:pt>
          <cx:pt idx="5356">0</cx:pt>
          <cx:pt idx="5357">1</cx:pt>
          <cx:pt idx="5358">0</cx:pt>
          <cx:pt idx="5359">1</cx:pt>
          <cx:pt idx="5360">0</cx:pt>
          <cx:pt idx="5361">0</cx:pt>
          <cx:pt idx="5362">0</cx:pt>
          <cx:pt idx="5363">0</cx:pt>
          <cx:pt idx="5364">1</cx:pt>
          <cx:pt idx="5365">0</cx:pt>
          <cx:pt idx="5366">1</cx:pt>
          <cx:pt idx="5367">0</cx:pt>
          <cx:pt idx="5368">0</cx:pt>
          <cx:pt idx="5369">0</cx:pt>
          <cx:pt idx="5370">1</cx:pt>
          <cx:pt idx="5371">1</cx:pt>
          <cx:pt idx="5372">0</cx:pt>
          <cx:pt idx="5373">0</cx:pt>
          <cx:pt idx="5374">0</cx:pt>
          <cx:pt idx="5375">0</cx:pt>
          <cx:pt idx="5376">1</cx:pt>
          <cx:pt idx="5377">0</cx:pt>
          <cx:pt idx="5378">0</cx:pt>
          <cx:pt idx="5379">0</cx:pt>
          <cx:pt idx="5380">1</cx:pt>
          <cx:pt idx="5381">0</cx:pt>
          <cx:pt idx="5382">1</cx:pt>
          <cx:pt idx="5383">1</cx:pt>
          <cx:pt idx="5384">0</cx:pt>
          <cx:pt idx="5385">1</cx:pt>
          <cx:pt idx="5386">1</cx:pt>
          <cx:pt idx="5387">1</cx:pt>
          <cx:pt idx="5388">0</cx:pt>
          <cx:pt idx="5389">0</cx:pt>
          <cx:pt idx="5390">1</cx:pt>
          <cx:pt idx="5391">0</cx:pt>
          <cx:pt idx="5392">0</cx:pt>
          <cx:pt idx="5393">0</cx:pt>
          <cx:pt idx="5394">0</cx:pt>
          <cx:pt idx="5395">0</cx:pt>
          <cx:pt idx="5396">1</cx:pt>
          <cx:pt idx="5397">1</cx:pt>
          <cx:pt idx="5398">0</cx:pt>
          <cx:pt idx="5399">0</cx:pt>
          <cx:pt idx="5400">0</cx:pt>
          <cx:pt idx="5401">0</cx:pt>
          <cx:pt idx="5402">1</cx:pt>
          <cx:pt idx="5403">0</cx:pt>
          <cx:pt idx="5404">0</cx:pt>
          <cx:pt idx="5405">0</cx:pt>
          <cx:pt idx="5406">1</cx:pt>
          <cx:pt idx="5407">1</cx:pt>
          <cx:pt idx="5408">1</cx:pt>
          <cx:pt idx="5409">1</cx:pt>
          <cx:pt idx="5410">0</cx:pt>
          <cx:pt idx="5411">1</cx:pt>
          <cx:pt idx="5412">1</cx:pt>
          <cx:pt idx="5413">0</cx:pt>
          <cx:pt idx="5414">0</cx:pt>
          <cx:pt idx="5415">0</cx:pt>
          <cx:pt idx="5416">1</cx:pt>
          <cx:pt idx="5417">1</cx:pt>
          <cx:pt idx="5418">1</cx:pt>
          <cx:pt idx="5419">0</cx:pt>
          <cx:pt idx="5420">1</cx:pt>
          <cx:pt idx="5421">0</cx:pt>
          <cx:pt idx="5422">1</cx:pt>
          <cx:pt idx="5423">1</cx:pt>
          <cx:pt idx="5424">1</cx:pt>
          <cx:pt idx="5425">0</cx:pt>
          <cx:pt idx="5426">0</cx:pt>
          <cx:pt idx="5427">0</cx:pt>
          <cx:pt idx="5428">1</cx:pt>
          <cx:pt idx="5429">1</cx:pt>
          <cx:pt idx="5430">1</cx:pt>
          <cx:pt idx="5431">1</cx:pt>
          <cx:pt idx="5432">0</cx:pt>
          <cx:pt idx="5433">0</cx:pt>
          <cx:pt idx="5434">0</cx:pt>
          <cx:pt idx="5435">0</cx:pt>
          <cx:pt idx="5436">1</cx:pt>
          <cx:pt idx="5437">1</cx:pt>
          <cx:pt idx="5438">0</cx:pt>
          <cx:pt idx="5439">0</cx:pt>
          <cx:pt idx="5440">0</cx:pt>
          <cx:pt idx="5441">0</cx:pt>
          <cx:pt idx="5442">1</cx:pt>
          <cx:pt idx="5443">0</cx:pt>
          <cx:pt idx="5444">1</cx:pt>
          <cx:pt idx="5445">0</cx:pt>
          <cx:pt idx="5446">0</cx:pt>
          <cx:pt idx="5447">1</cx:pt>
          <cx:pt idx="5448">0</cx:pt>
          <cx:pt idx="5449">0</cx:pt>
          <cx:pt idx="5450">0</cx:pt>
          <cx:pt idx="5451">1</cx:pt>
          <cx:pt idx="5452">1</cx:pt>
          <cx:pt idx="5453">1</cx:pt>
          <cx:pt idx="5454">1</cx:pt>
          <cx:pt idx="5455">0</cx:pt>
          <cx:pt idx="5456">0</cx:pt>
          <cx:pt idx="5457">0</cx:pt>
          <cx:pt idx="5458">0</cx:pt>
          <cx:pt idx="5459">1</cx:pt>
          <cx:pt idx="5460">0</cx:pt>
          <cx:pt idx="5461">0</cx:pt>
          <cx:pt idx="5462">1</cx:pt>
          <cx:pt idx="5463">1</cx:pt>
          <cx:pt idx="5464">0</cx:pt>
          <cx:pt idx="5465">0</cx:pt>
          <cx:pt idx="5466">1</cx:pt>
          <cx:pt idx="5467">0</cx:pt>
          <cx:pt idx="5468">0</cx:pt>
          <cx:pt idx="5469">0</cx:pt>
          <cx:pt idx="5470">0</cx:pt>
          <cx:pt idx="5471">1</cx:pt>
          <cx:pt idx="5472">0</cx:pt>
          <cx:pt idx="5473">0</cx:pt>
          <cx:pt idx="5474">0</cx:pt>
          <cx:pt idx="5475">0</cx:pt>
          <cx:pt idx="5476">1</cx:pt>
          <cx:pt idx="5477">0</cx:pt>
          <cx:pt idx="5478">1</cx:pt>
          <cx:pt idx="5479">0</cx:pt>
          <cx:pt idx="5480">1</cx:pt>
          <cx:pt idx="5481">0</cx:pt>
          <cx:pt idx="5482">0</cx:pt>
          <cx:pt idx="5483">0</cx:pt>
          <cx:pt idx="5484">1</cx:pt>
          <cx:pt idx="5485">0</cx:pt>
          <cx:pt idx="5486">0</cx:pt>
          <cx:pt idx="5487">0</cx:pt>
          <cx:pt idx="5488">0</cx:pt>
          <cx:pt idx="5489">1</cx:pt>
          <cx:pt idx="5490">1</cx:pt>
          <cx:pt idx="5491">0</cx:pt>
          <cx:pt idx="5492">1</cx:pt>
          <cx:pt idx="5493">1</cx:pt>
          <cx:pt idx="5494">0</cx:pt>
          <cx:pt idx="5495">1</cx:pt>
          <cx:pt idx="5496">0</cx:pt>
          <cx:pt idx="5497">0</cx:pt>
          <cx:pt idx="5498">1</cx:pt>
          <cx:pt idx="5499">1</cx:pt>
          <cx:pt idx="5500">0</cx:pt>
          <cx:pt idx="5501">0</cx:pt>
          <cx:pt idx="5502">1</cx:pt>
          <cx:pt idx="5503">0</cx:pt>
          <cx:pt idx="5504">1</cx:pt>
          <cx:pt idx="5505">1</cx:pt>
          <cx:pt idx="5506">0</cx:pt>
          <cx:pt idx="5507">0</cx:pt>
          <cx:pt idx="5508">1</cx:pt>
          <cx:pt idx="5509">0</cx:pt>
          <cx:pt idx="5510">0</cx:pt>
          <cx:pt idx="5511">1</cx:pt>
          <cx:pt idx="5512">0</cx:pt>
          <cx:pt idx="5513">0</cx:pt>
          <cx:pt idx="5514">0</cx:pt>
          <cx:pt idx="5515">0</cx:pt>
          <cx:pt idx="5516">0</cx:pt>
          <cx:pt idx="5517">1</cx:pt>
          <cx:pt idx="5518">0</cx:pt>
          <cx:pt idx="5519">1</cx:pt>
          <cx:pt idx="5520">1</cx:pt>
          <cx:pt idx="5521">0</cx:pt>
          <cx:pt idx="5522">0</cx:pt>
          <cx:pt idx="5523">0</cx:pt>
          <cx:pt idx="5524">1</cx:pt>
          <cx:pt idx="5525">0</cx:pt>
          <cx:pt idx="5526">1</cx:pt>
          <cx:pt idx="5527">1</cx:pt>
          <cx:pt idx="5528">0</cx:pt>
          <cx:pt idx="5529">0</cx:pt>
          <cx:pt idx="5530">1</cx:pt>
          <cx:pt idx="5531">1</cx:pt>
          <cx:pt idx="5532">1</cx:pt>
          <cx:pt idx="5533">1</cx:pt>
          <cx:pt idx="5534">0</cx:pt>
          <cx:pt idx="5535">1</cx:pt>
          <cx:pt idx="5536">0</cx:pt>
          <cx:pt idx="5537">1</cx:pt>
          <cx:pt idx="5538">1</cx:pt>
          <cx:pt idx="5539">0</cx:pt>
          <cx:pt idx="5540">1</cx:pt>
          <cx:pt idx="5541">1</cx:pt>
          <cx:pt idx="5542">0</cx:pt>
          <cx:pt idx="5543">1</cx:pt>
          <cx:pt idx="5544">0</cx:pt>
          <cx:pt idx="5545">1</cx:pt>
          <cx:pt idx="5546">0</cx:pt>
          <cx:pt idx="5547">0</cx:pt>
          <cx:pt idx="5548">0</cx:pt>
          <cx:pt idx="5549">1</cx:pt>
          <cx:pt idx="5550">0</cx:pt>
          <cx:pt idx="5551">0</cx:pt>
          <cx:pt idx="5552">0</cx:pt>
          <cx:pt idx="5553">0</cx:pt>
          <cx:pt idx="5554">1</cx:pt>
          <cx:pt idx="5555">1</cx:pt>
          <cx:pt idx="5556">1</cx:pt>
          <cx:pt idx="5557">1</cx:pt>
          <cx:pt idx="5558">0</cx:pt>
          <cx:pt idx="5559">1</cx:pt>
          <cx:pt idx="5560">1</cx:pt>
          <cx:pt idx="5561">0</cx:pt>
          <cx:pt idx="5562">0</cx:pt>
          <cx:pt idx="5563">0</cx:pt>
          <cx:pt idx="5564">1</cx:pt>
          <cx:pt idx="5565">1</cx:pt>
          <cx:pt idx="5566">0</cx:pt>
          <cx:pt idx="5567">1</cx:pt>
          <cx:pt idx="5568">1</cx:pt>
          <cx:pt idx="5569">0</cx:pt>
          <cx:pt idx="5570">1</cx:pt>
          <cx:pt idx="5571">0</cx:pt>
          <cx:pt idx="5572">0</cx:pt>
          <cx:pt idx="5573">1</cx:pt>
          <cx:pt idx="5574">0</cx:pt>
          <cx:pt idx="5575">0</cx:pt>
          <cx:pt idx="5576">0</cx:pt>
          <cx:pt idx="5577">1</cx:pt>
          <cx:pt idx="5578">1</cx:pt>
          <cx:pt idx="5579">1</cx:pt>
          <cx:pt idx="5580">1</cx:pt>
          <cx:pt idx="5581">1</cx:pt>
          <cx:pt idx="5582">0</cx:pt>
          <cx:pt idx="5583">0</cx:pt>
          <cx:pt idx="5584">1</cx:pt>
          <cx:pt idx="5585">0</cx:pt>
          <cx:pt idx="5586">0</cx:pt>
          <cx:pt idx="5587">0</cx:pt>
          <cx:pt idx="5588">0</cx:pt>
          <cx:pt idx="5589">1</cx:pt>
          <cx:pt idx="5590">0</cx:pt>
          <cx:pt idx="5591">0</cx:pt>
          <cx:pt idx="5592">1</cx:pt>
          <cx:pt idx="5593">0</cx:pt>
          <cx:pt idx="5594">0</cx:pt>
          <cx:pt idx="5595">1</cx:pt>
          <cx:pt idx="5596">0</cx:pt>
          <cx:pt idx="5597">1</cx:pt>
          <cx:pt idx="5598">0</cx:pt>
          <cx:pt idx="5599">1</cx:pt>
          <cx:pt idx="5600">0</cx:pt>
          <cx:pt idx="5601">1</cx:pt>
          <cx:pt idx="5602">0</cx:pt>
          <cx:pt idx="5603">1</cx:pt>
          <cx:pt idx="5604">1</cx:pt>
          <cx:pt idx="5605">1</cx:pt>
          <cx:pt idx="5606">0</cx:pt>
          <cx:pt idx="5607">1</cx:pt>
          <cx:pt idx="5608">1</cx:pt>
          <cx:pt idx="5609">1</cx:pt>
          <cx:pt idx="5610">0</cx:pt>
          <cx:pt idx="5611">0</cx:pt>
          <cx:pt idx="5612">0</cx:pt>
          <cx:pt idx="5613">1</cx:pt>
          <cx:pt idx="5614">1</cx:pt>
          <cx:pt idx="5615">1</cx:pt>
          <cx:pt idx="5616">1</cx:pt>
          <cx:pt idx="5617">0</cx:pt>
          <cx:pt idx="5618">1</cx:pt>
          <cx:pt idx="5619">1</cx:pt>
          <cx:pt idx="5620">1</cx:pt>
          <cx:pt idx="5621">0</cx:pt>
          <cx:pt idx="5622">0</cx:pt>
          <cx:pt idx="5623">0</cx:pt>
          <cx:pt idx="5624">0</cx:pt>
          <cx:pt idx="5625">1</cx:pt>
          <cx:pt idx="5626">0</cx:pt>
          <cx:pt idx="5627">0</cx:pt>
          <cx:pt idx="5628">0</cx:pt>
          <cx:pt idx="5629">1</cx:pt>
          <cx:pt idx="5630">0</cx:pt>
          <cx:pt idx="5631">0</cx:pt>
          <cx:pt idx="5632">0</cx:pt>
          <cx:pt idx="5633">0</cx:pt>
          <cx:pt idx="5634">0</cx:pt>
          <cx:pt idx="5635">1</cx:pt>
          <cx:pt idx="5636">1</cx:pt>
          <cx:pt idx="5637">0</cx:pt>
          <cx:pt idx="5638">0</cx:pt>
          <cx:pt idx="5639">0</cx:pt>
          <cx:pt idx="5640">1</cx:pt>
          <cx:pt idx="5641">0</cx:pt>
          <cx:pt idx="5642">0</cx:pt>
          <cx:pt idx="5643">1</cx:pt>
          <cx:pt idx="5644">0</cx:pt>
          <cx:pt idx="5645">1</cx:pt>
          <cx:pt idx="5646">0</cx:pt>
          <cx:pt idx="5647">0</cx:pt>
          <cx:pt idx="5648">0</cx:pt>
          <cx:pt idx="5649">1</cx:pt>
          <cx:pt idx="5650">1</cx:pt>
          <cx:pt idx="5651">1</cx:pt>
          <cx:pt idx="5652">1</cx:pt>
          <cx:pt idx="5653">1</cx:pt>
          <cx:pt idx="5654">0</cx:pt>
          <cx:pt idx="5655">0</cx:pt>
          <cx:pt idx="5656">1</cx:pt>
          <cx:pt idx="5657">1</cx:pt>
          <cx:pt idx="5658">0</cx:pt>
          <cx:pt idx="5659">0</cx:pt>
          <cx:pt idx="5660">1</cx:pt>
          <cx:pt idx="5661">0</cx:pt>
          <cx:pt idx="5662">0</cx:pt>
          <cx:pt idx="5663">1</cx:pt>
          <cx:pt idx="5664">1</cx:pt>
          <cx:pt idx="5665">1</cx:pt>
          <cx:pt idx="5666">0</cx:pt>
          <cx:pt idx="5667">1</cx:pt>
          <cx:pt idx="5668">0</cx:pt>
          <cx:pt idx="5669">0</cx:pt>
          <cx:pt idx="5670">0</cx:pt>
          <cx:pt idx="5671">0</cx:pt>
          <cx:pt idx="5672">0</cx:pt>
          <cx:pt idx="5673">0</cx:pt>
          <cx:pt idx="5674">1</cx:pt>
          <cx:pt idx="5675">1</cx:pt>
          <cx:pt idx="5676">1</cx:pt>
          <cx:pt idx="5677">1</cx:pt>
          <cx:pt idx="5678">0</cx:pt>
          <cx:pt idx="5679">1</cx:pt>
          <cx:pt idx="5680">0</cx:pt>
          <cx:pt idx="5681">0</cx:pt>
          <cx:pt idx="5682">0</cx:pt>
          <cx:pt idx="5683">0</cx:pt>
          <cx:pt idx="5684">1</cx:pt>
          <cx:pt idx="5685">0</cx:pt>
          <cx:pt idx="5686">0</cx:pt>
          <cx:pt idx="5687">1</cx:pt>
          <cx:pt idx="5688">1</cx:pt>
          <cx:pt idx="5689">0</cx:pt>
          <cx:pt idx="5690">1</cx:pt>
          <cx:pt idx="5691">1</cx:pt>
          <cx:pt idx="5692">1</cx:pt>
          <cx:pt idx="5693">0</cx:pt>
          <cx:pt idx="5694">1</cx:pt>
          <cx:pt idx="5695">0</cx:pt>
          <cx:pt idx="5696">0</cx:pt>
          <cx:pt idx="5697">0</cx:pt>
          <cx:pt idx="5698">1</cx:pt>
          <cx:pt idx="5699">0</cx:pt>
          <cx:pt idx="5700">0</cx:pt>
          <cx:pt idx="5701">0</cx:pt>
          <cx:pt idx="5702">1</cx:pt>
          <cx:pt idx="5703">1</cx:pt>
          <cx:pt idx="5704">0</cx:pt>
          <cx:pt idx="5705">1</cx:pt>
          <cx:pt idx="5706">0</cx:pt>
          <cx:pt idx="5707">1</cx:pt>
          <cx:pt idx="5708">1</cx:pt>
          <cx:pt idx="5709">1</cx:pt>
          <cx:pt idx="5710">1</cx:pt>
          <cx:pt idx="5711">1</cx:pt>
          <cx:pt idx="5712">1</cx:pt>
          <cx:pt idx="5713">0</cx:pt>
          <cx:pt idx="5714">0</cx:pt>
          <cx:pt idx="5715">1</cx:pt>
          <cx:pt idx="5716">0</cx:pt>
          <cx:pt idx="5717">0</cx:pt>
          <cx:pt idx="5718">1</cx:pt>
          <cx:pt idx="5719">1</cx:pt>
          <cx:pt idx="5720">0</cx:pt>
          <cx:pt idx="5721">0</cx:pt>
          <cx:pt idx="5722">0</cx:pt>
          <cx:pt idx="5723">1</cx:pt>
          <cx:pt idx="5724">0</cx:pt>
          <cx:pt idx="5725">0</cx:pt>
          <cx:pt idx="5726">0</cx:pt>
          <cx:pt idx="5727">0</cx:pt>
          <cx:pt idx="5728">0</cx:pt>
          <cx:pt idx="5729">0</cx:pt>
          <cx:pt idx="5730">0</cx:pt>
          <cx:pt idx="5731">1</cx:pt>
          <cx:pt idx="5732">0</cx:pt>
          <cx:pt idx="5733">1</cx:pt>
          <cx:pt idx="5734">0</cx:pt>
          <cx:pt idx="5735">1</cx:pt>
          <cx:pt idx="5736">0</cx:pt>
          <cx:pt idx="5737">1</cx:pt>
          <cx:pt idx="5738">0</cx:pt>
          <cx:pt idx="5739">0</cx:pt>
          <cx:pt idx="5740">1</cx:pt>
          <cx:pt idx="5741">0</cx:pt>
          <cx:pt idx="5742">1</cx:pt>
          <cx:pt idx="5743">1</cx:pt>
          <cx:pt idx="5744">1</cx:pt>
          <cx:pt idx="5745">1</cx:pt>
          <cx:pt idx="5746">0</cx:pt>
          <cx:pt idx="5747">0</cx:pt>
          <cx:pt idx="5748">1</cx:pt>
          <cx:pt idx="5749">0</cx:pt>
          <cx:pt idx="5750">1</cx:pt>
          <cx:pt idx="5751">0</cx:pt>
          <cx:pt idx="5752">0</cx:pt>
          <cx:pt idx="5753">0</cx:pt>
          <cx:pt idx="5754">1</cx:pt>
          <cx:pt idx="5755">1</cx:pt>
          <cx:pt idx="5756">1</cx:pt>
          <cx:pt idx="5757">0</cx:pt>
          <cx:pt idx="5758">1</cx:pt>
          <cx:pt idx="5759">0</cx:pt>
          <cx:pt idx="5760">1</cx:pt>
          <cx:pt idx="5761">1</cx:pt>
          <cx:pt idx="5762">1</cx:pt>
          <cx:pt idx="5763">1</cx:pt>
          <cx:pt idx="5764">1</cx:pt>
          <cx:pt idx="5765">1</cx:pt>
          <cx:pt idx="5766">1</cx:pt>
          <cx:pt idx="5767">1</cx:pt>
          <cx:pt idx="5768">0</cx:pt>
          <cx:pt idx="5769">1</cx:pt>
          <cx:pt idx="5770">0</cx:pt>
          <cx:pt idx="5771">0</cx:pt>
          <cx:pt idx="5772">1</cx:pt>
          <cx:pt idx="5773">0</cx:pt>
          <cx:pt idx="5774">0</cx:pt>
          <cx:pt idx="5775">0</cx:pt>
          <cx:pt idx="5776">1</cx:pt>
          <cx:pt idx="5777">1</cx:pt>
          <cx:pt idx="5778">0</cx:pt>
          <cx:pt idx="5779">1</cx:pt>
          <cx:pt idx="5780">0</cx:pt>
          <cx:pt idx="5781">1</cx:pt>
          <cx:pt idx="5782">1</cx:pt>
          <cx:pt idx="5783">0</cx:pt>
          <cx:pt idx="5784">0</cx:pt>
          <cx:pt idx="5785">1</cx:pt>
          <cx:pt idx="5786">0</cx:pt>
          <cx:pt idx="5787">1</cx:pt>
          <cx:pt idx="5788">1</cx:pt>
          <cx:pt idx="5789">1</cx:pt>
          <cx:pt idx="5790">0</cx:pt>
          <cx:pt idx="5791">0</cx:pt>
          <cx:pt idx="5792">0</cx:pt>
          <cx:pt idx="5793">0</cx:pt>
          <cx:pt idx="5794">1</cx:pt>
          <cx:pt idx="5795">0</cx:pt>
          <cx:pt idx="5796">1</cx:pt>
          <cx:pt idx="5797">0</cx:pt>
          <cx:pt idx="5798">1</cx:pt>
          <cx:pt idx="5799">0</cx:pt>
          <cx:pt idx="5800">1</cx:pt>
          <cx:pt idx="5801">1</cx:pt>
          <cx:pt idx="5802">1</cx:pt>
          <cx:pt idx="5803">0</cx:pt>
          <cx:pt idx="5804">1</cx:pt>
          <cx:pt idx="5805">0</cx:pt>
          <cx:pt idx="5806">0</cx:pt>
          <cx:pt idx="5807">0</cx:pt>
          <cx:pt idx="5808">0</cx:pt>
          <cx:pt idx="5809">0</cx:pt>
          <cx:pt idx="5810">1</cx:pt>
          <cx:pt idx="5811">0</cx:pt>
          <cx:pt idx="5812">0</cx:pt>
          <cx:pt idx="5813">0</cx:pt>
          <cx:pt idx="5814">0</cx:pt>
          <cx:pt idx="5815">0</cx:pt>
          <cx:pt idx="5816">1</cx:pt>
          <cx:pt idx="5817">0</cx:pt>
          <cx:pt idx="5818">1</cx:pt>
          <cx:pt idx="5819">0</cx:pt>
          <cx:pt idx="5820">0</cx:pt>
          <cx:pt idx="5821">0</cx:pt>
          <cx:pt idx="5822">0</cx:pt>
          <cx:pt idx="5823">1</cx:pt>
          <cx:pt idx="5824">0</cx:pt>
          <cx:pt idx="5825">0</cx:pt>
          <cx:pt idx="5826">0</cx:pt>
          <cx:pt idx="5827">0</cx:pt>
          <cx:pt idx="5828">1</cx:pt>
          <cx:pt idx="5829">1</cx:pt>
          <cx:pt idx="5830">0</cx:pt>
          <cx:pt idx="5831">0</cx:pt>
          <cx:pt idx="5832">1</cx:pt>
          <cx:pt idx="5833">0</cx:pt>
          <cx:pt idx="5834">0</cx:pt>
          <cx:pt idx="5835">0</cx:pt>
          <cx:pt idx="5836">1</cx:pt>
          <cx:pt idx="5837">0</cx:pt>
          <cx:pt idx="5838">0</cx:pt>
          <cx:pt idx="5839">1</cx:pt>
          <cx:pt idx="5840">0</cx:pt>
          <cx:pt idx="5841">0</cx:pt>
          <cx:pt idx="5842">1</cx:pt>
          <cx:pt idx="5843">0</cx:pt>
          <cx:pt idx="5844">0</cx:pt>
          <cx:pt idx="5845">1</cx:pt>
          <cx:pt idx="5846">0</cx:pt>
          <cx:pt idx="5847">0</cx:pt>
          <cx:pt idx="5848">1</cx:pt>
          <cx:pt idx="5849">1</cx:pt>
          <cx:pt idx="5850">0</cx:pt>
          <cx:pt idx="5851">0</cx:pt>
          <cx:pt idx="5852">0</cx:pt>
          <cx:pt idx="5853">1</cx:pt>
          <cx:pt idx="5854">1</cx:pt>
          <cx:pt idx="5855">1</cx:pt>
          <cx:pt idx="5856">1</cx:pt>
          <cx:pt idx="5857">0</cx:pt>
          <cx:pt idx="5858">1</cx:pt>
          <cx:pt idx="5859">1</cx:pt>
          <cx:pt idx="5860">1</cx:pt>
          <cx:pt idx="5861">1</cx:pt>
          <cx:pt idx="5862">1</cx:pt>
          <cx:pt idx="5863">0</cx:pt>
          <cx:pt idx="5864">1</cx:pt>
          <cx:pt idx="5865">1</cx:pt>
          <cx:pt idx="5866">1</cx:pt>
          <cx:pt idx="5867">1</cx:pt>
          <cx:pt idx="5868">1</cx:pt>
          <cx:pt idx="5869">1</cx:pt>
          <cx:pt idx="5870">1</cx:pt>
          <cx:pt idx="5871">1</cx:pt>
          <cx:pt idx="5872">1</cx:pt>
          <cx:pt idx="5873">0</cx:pt>
          <cx:pt idx="5874">0</cx:pt>
          <cx:pt idx="5875">0</cx:pt>
          <cx:pt idx="5876">1</cx:pt>
          <cx:pt idx="5877">0</cx:pt>
          <cx:pt idx="5878">0</cx:pt>
          <cx:pt idx="5879">0</cx:pt>
          <cx:pt idx="5880">0</cx:pt>
          <cx:pt idx="5881">0</cx:pt>
          <cx:pt idx="5882">1</cx:pt>
          <cx:pt idx="5883">0</cx:pt>
          <cx:pt idx="5884">0</cx:pt>
          <cx:pt idx="5885">0</cx:pt>
          <cx:pt idx="5886">0</cx:pt>
          <cx:pt idx="5887">0</cx:pt>
          <cx:pt idx="5888">0</cx:pt>
          <cx:pt idx="5889">0</cx:pt>
          <cx:pt idx="5890">0</cx:pt>
          <cx:pt idx="5891">1</cx:pt>
          <cx:pt idx="5892">0</cx:pt>
          <cx:pt idx="5893">0</cx:pt>
          <cx:pt idx="5894">0</cx:pt>
          <cx:pt idx="5895">1</cx:pt>
          <cx:pt idx="5896">0</cx:pt>
          <cx:pt idx="5897">0</cx:pt>
          <cx:pt idx="5898">1</cx:pt>
          <cx:pt idx="5899">1</cx:pt>
          <cx:pt idx="5900">1</cx:pt>
          <cx:pt idx="5901">0</cx:pt>
          <cx:pt idx="5902">1</cx:pt>
          <cx:pt idx="5903">0</cx:pt>
          <cx:pt idx="5904">1</cx:pt>
          <cx:pt idx="5905">0</cx:pt>
          <cx:pt idx="5906">0</cx:pt>
          <cx:pt idx="5907">0</cx:pt>
          <cx:pt idx="5908">0</cx:pt>
          <cx:pt idx="5909">0</cx:pt>
          <cx:pt idx="5910">0</cx:pt>
          <cx:pt idx="5911">0</cx:pt>
          <cx:pt idx="5912">1</cx:pt>
          <cx:pt idx="5913">0</cx:pt>
          <cx:pt idx="5914">1</cx:pt>
          <cx:pt idx="5915">1</cx:pt>
          <cx:pt idx="5916">1</cx:pt>
          <cx:pt idx="5917">0</cx:pt>
          <cx:pt idx="5918">0</cx:pt>
          <cx:pt idx="5919">0</cx:pt>
          <cx:pt idx="5920">0</cx:pt>
          <cx:pt idx="5921">1</cx:pt>
          <cx:pt idx="5922">0</cx:pt>
          <cx:pt idx="5923">0</cx:pt>
          <cx:pt idx="5924">1</cx:pt>
          <cx:pt idx="5925">0</cx:pt>
          <cx:pt idx="5926">1</cx:pt>
          <cx:pt idx="5927">1</cx:pt>
          <cx:pt idx="5928">0</cx:pt>
          <cx:pt idx="5929">0</cx:pt>
          <cx:pt idx="5930">0</cx:pt>
          <cx:pt idx="5931">0</cx:pt>
          <cx:pt idx="5932">0</cx:pt>
          <cx:pt idx="5933">1</cx:pt>
          <cx:pt idx="5934">0</cx:pt>
          <cx:pt idx="5935">0</cx:pt>
          <cx:pt idx="5936">0</cx:pt>
          <cx:pt idx="5937">1</cx:pt>
          <cx:pt idx="5938">0</cx:pt>
          <cx:pt idx="5939">0</cx:pt>
          <cx:pt idx="5940">1</cx:pt>
          <cx:pt idx="5941">0</cx:pt>
          <cx:pt idx="5942">1</cx:pt>
          <cx:pt idx="5943">0</cx:pt>
          <cx:pt idx="5944">0</cx:pt>
          <cx:pt idx="5945">0</cx:pt>
          <cx:pt idx="5946">0</cx:pt>
          <cx:pt idx="5947">1</cx:pt>
          <cx:pt idx="5948">0</cx:pt>
          <cx:pt idx="5949">0</cx:pt>
          <cx:pt idx="5950">0</cx:pt>
          <cx:pt idx="5951">1</cx:pt>
          <cx:pt idx="5952">1</cx:pt>
          <cx:pt idx="5953">0</cx:pt>
          <cx:pt idx="5954">1</cx:pt>
          <cx:pt idx="5955">0</cx:pt>
          <cx:pt idx="5956">0</cx:pt>
          <cx:pt idx="5957">0</cx:pt>
          <cx:pt idx="5958">0</cx:pt>
          <cx:pt idx="5959">0</cx:pt>
          <cx:pt idx="5960">1</cx:pt>
          <cx:pt idx="5961">0</cx:pt>
          <cx:pt idx="5962">0</cx:pt>
          <cx:pt idx="5963">1</cx:pt>
          <cx:pt idx="5964">0</cx:pt>
          <cx:pt idx="5965">0</cx:pt>
          <cx:pt idx="5966">0</cx:pt>
          <cx:pt idx="5967">1</cx:pt>
          <cx:pt idx="5968">0</cx:pt>
          <cx:pt idx="5969">0</cx:pt>
          <cx:pt idx="5970">1</cx:pt>
          <cx:pt idx="5971">1</cx:pt>
          <cx:pt idx="5972">0</cx:pt>
          <cx:pt idx="5973">1</cx:pt>
          <cx:pt idx="5974">1</cx:pt>
          <cx:pt idx="5975">1</cx:pt>
          <cx:pt idx="5976">0</cx:pt>
          <cx:pt idx="5977">0</cx:pt>
          <cx:pt idx="5978">0</cx:pt>
          <cx:pt idx="5979">1</cx:pt>
          <cx:pt idx="5980">0</cx:pt>
          <cx:pt idx="5981">1</cx:pt>
          <cx:pt idx="5982">0</cx:pt>
          <cx:pt idx="5983">0</cx:pt>
          <cx:pt idx="5984">1</cx:pt>
          <cx:pt idx="5985">0</cx:pt>
          <cx:pt idx="5986">1</cx:pt>
          <cx:pt idx="5987">0</cx:pt>
          <cx:pt idx="5988">0</cx:pt>
          <cx:pt idx="5989">1</cx:pt>
          <cx:pt idx="5990">0</cx:pt>
          <cx:pt idx="5991">1</cx:pt>
          <cx:pt idx="5992">0</cx:pt>
          <cx:pt idx="5993">0</cx:pt>
          <cx:pt idx="5994">0</cx:pt>
          <cx:pt idx="5995">1</cx:pt>
          <cx:pt idx="5996">0</cx:pt>
          <cx:pt idx="5997">1</cx:pt>
          <cx:pt idx="5998">1</cx:pt>
          <cx:pt idx="5999">1</cx:pt>
          <cx:pt idx="6000">0</cx:pt>
          <cx:pt idx="6001">0</cx:pt>
          <cx:pt idx="6002">1</cx:pt>
          <cx:pt idx="6003">0</cx:pt>
          <cx:pt idx="6004">1</cx:pt>
          <cx:pt idx="6005">0</cx:pt>
          <cx:pt idx="6006">0</cx:pt>
          <cx:pt idx="6007">1</cx:pt>
          <cx:pt idx="6008">0</cx:pt>
          <cx:pt idx="6009">0</cx:pt>
          <cx:pt idx="6010">1</cx:pt>
          <cx:pt idx="6011">0</cx:pt>
          <cx:pt idx="6012">0</cx:pt>
          <cx:pt idx="6013">1</cx:pt>
          <cx:pt idx="6014">0</cx:pt>
          <cx:pt idx="6015">0</cx:pt>
          <cx:pt idx="6016">1</cx:pt>
          <cx:pt idx="6017">0</cx:pt>
          <cx:pt idx="6018">0</cx:pt>
          <cx:pt idx="6019">1</cx:pt>
          <cx:pt idx="6020">0</cx:pt>
          <cx:pt idx="6021">0</cx:pt>
          <cx:pt idx="6022">0</cx:pt>
          <cx:pt idx="6023">0</cx:pt>
          <cx:pt idx="6024">0</cx:pt>
          <cx:pt idx="6025">0</cx:pt>
          <cx:pt idx="6026">1</cx:pt>
          <cx:pt idx="6027">0</cx:pt>
          <cx:pt idx="6028">1</cx:pt>
          <cx:pt idx="6029">0</cx:pt>
          <cx:pt idx="6030">1</cx:pt>
          <cx:pt idx="6031">0</cx:pt>
          <cx:pt idx="6032">1</cx:pt>
          <cx:pt idx="6033">0</cx:pt>
          <cx:pt idx="6034">0</cx:pt>
          <cx:pt idx="6035">1</cx:pt>
          <cx:pt idx="6036">0</cx:pt>
          <cx:pt idx="6037">1</cx:pt>
          <cx:pt idx="6038">0</cx:pt>
          <cx:pt idx="6039">0</cx:pt>
          <cx:pt idx="6040">0</cx:pt>
          <cx:pt idx="6041">1</cx:pt>
          <cx:pt idx="6042">0</cx:pt>
          <cx:pt idx="6043">1</cx:pt>
          <cx:pt idx="6044">0</cx:pt>
          <cx:pt idx="6045">1</cx:pt>
          <cx:pt idx="6046">0</cx:pt>
          <cx:pt idx="6047">1</cx:pt>
          <cx:pt idx="6048">0</cx:pt>
          <cx:pt idx="6049">0</cx:pt>
          <cx:pt idx="6050">1</cx:pt>
          <cx:pt idx="6051">0</cx:pt>
          <cx:pt idx="6052">1</cx:pt>
          <cx:pt idx="6053">0</cx:pt>
          <cx:pt idx="6054">1</cx:pt>
          <cx:pt idx="6055">1</cx:pt>
          <cx:pt idx="6056">1</cx:pt>
          <cx:pt idx="6057">0</cx:pt>
          <cx:pt idx="6058">1</cx:pt>
          <cx:pt idx="6059">1</cx:pt>
          <cx:pt idx="6060">1</cx:pt>
          <cx:pt idx="6061">0</cx:pt>
          <cx:pt idx="6062">1</cx:pt>
          <cx:pt idx="6063">1</cx:pt>
          <cx:pt idx="6064">0</cx:pt>
          <cx:pt idx="6065">1</cx:pt>
          <cx:pt idx="6066">0</cx:pt>
          <cx:pt idx="6067">1</cx:pt>
          <cx:pt idx="6068">1</cx:pt>
          <cx:pt idx="6069">0</cx:pt>
          <cx:pt idx="6070">0</cx:pt>
          <cx:pt idx="6071">0</cx:pt>
          <cx:pt idx="6072">1</cx:pt>
          <cx:pt idx="6073">0</cx:pt>
          <cx:pt idx="6074">0</cx:pt>
          <cx:pt idx="6075">0</cx:pt>
          <cx:pt idx="6076">0</cx:pt>
          <cx:pt idx="6077">0</cx:pt>
          <cx:pt idx="6078">1</cx:pt>
          <cx:pt idx="6079">1</cx:pt>
          <cx:pt idx="6080">1</cx:pt>
          <cx:pt idx="6081">0</cx:pt>
          <cx:pt idx="6082">0</cx:pt>
          <cx:pt idx="6083">0</cx:pt>
          <cx:pt idx="6084">0</cx:pt>
          <cx:pt idx="6085">0</cx:pt>
          <cx:pt idx="6086">0</cx:pt>
          <cx:pt idx="6087">0</cx:pt>
          <cx:pt idx="6088">0</cx:pt>
          <cx:pt idx="6089">1</cx:pt>
          <cx:pt idx="6090">1</cx:pt>
          <cx:pt idx="6091">0</cx:pt>
          <cx:pt idx="6092">0</cx:pt>
          <cx:pt idx="6093">1</cx:pt>
          <cx:pt idx="6094">0</cx:pt>
          <cx:pt idx="6095">1</cx:pt>
          <cx:pt idx="6096">1</cx:pt>
          <cx:pt idx="6097">1</cx:pt>
          <cx:pt idx="6098">0</cx:pt>
          <cx:pt idx="6099">0</cx:pt>
          <cx:pt idx="6100">0</cx:pt>
          <cx:pt idx="6101">1</cx:pt>
          <cx:pt idx="6102">1</cx:pt>
          <cx:pt idx="6103">0</cx:pt>
          <cx:pt idx="6104">1</cx:pt>
          <cx:pt idx="6105">1</cx:pt>
          <cx:pt idx="6106">1</cx:pt>
          <cx:pt idx="6107">1</cx:pt>
          <cx:pt idx="6108">1</cx:pt>
          <cx:pt idx="6109">0</cx:pt>
          <cx:pt idx="6110">0</cx:pt>
          <cx:pt idx="6111">0</cx:pt>
          <cx:pt idx="6112">0</cx:pt>
          <cx:pt idx="6113">0</cx:pt>
          <cx:pt idx="6114">0</cx:pt>
          <cx:pt idx="6115">0</cx:pt>
          <cx:pt idx="6116">1</cx:pt>
          <cx:pt idx="6117">1</cx:pt>
          <cx:pt idx="6118">0</cx:pt>
          <cx:pt idx="6119">0</cx:pt>
          <cx:pt idx="6120">0</cx:pt>
          <cx:pt idx="6121">1</cx:pt>
          <cx:pt idx="6122">0</cx:pt>
          <cx:pt idx="6123">1</cx:pt>
          <cx:pt idx="6124">0</cx:pt>
          <cx:pt idx="6125">0</cx:pt>
          <cx:pt idx="6126">0</cx:pt>
          <cx:pt idx="6127">0</cx:pt>
          <cx:pt idx="6128">1</cx:pt>
          <cx:pt idx="6129">1</cx:pt>
          <cx:pt idx="6130">0</cx:pt>
          <cx:pt idx="6131">1</cx:pt>
          <cx:pt idx="6132">1</cx:pt>
          <cx:pt idx="6133">1</cx:pt>
          <cx:pt idx="6134">0</cx:pt>
          <cx:pt idx="6135">1</cx:pt>
          <cx:pt idx="6136">0</cx:pt>
          <cx:pt idx="6137">0</cx:pt>
          <cx:pt idx="6138">1</cx:pt>
          <cx:pt idx="6139">0</cx:pt>
          <cx:pt idx="6140">0</cx:pt>
          <cx:pt idx="6141">1</cx:pt>
          <cx:pt idx="6142">1</cx:pt>
          <cx:pt idx="6143">1</cx:pt>
          <cx:pt idx="6144">0</cx:pt>
          <cx:pt idx="6145">1</cx:pt>
          <cx:pt idx="6146">0</cx:pt>
          <cx:pt idx="6147">0</cx:pt>
          <cx:pt idx="6148">0</cx:pt>
          <cx:pt idx="6149">1</cx:pt>
          <cx:pt idx="6150">0</cx:pt>
          <cx:pt idx="6151">0</cx:pt>
          <cx:pt idx="6152">1</cx:pt>
          <cx:pt idx="6153">0</cx:pt>
          <cx:pt idx="6154">0</cx:pt>
          <cx:pt idx="6155">0</cx:pt>
          <cx:pt idx="6156">0</cx:pt>
          <cx:pt idx="6157">0</cx:pt>
          <cx:pt idx="6158">0</cx:pt>
          <cx:pt idx="6159">0</cx:pt>
          <cx:pt idx="6160">0</cx:pt>
          <cx:pt idx="6161">0</cx:pt>
          <cx:pt idx="6162">1</cx:pt>
          <cx:pt idx="6163">0</cx:pt>
          <cx:pt idx="6164">0</cx:pt>
          <cx:pt idx="6165">0</cx:pt>
          <cx:pt idx="6166">1</cx:pt>
          <cx:pt idx="6167">1</cx:pt>
          <cx:pt idx="6168">0</cx:pt>
          <cx:pt idx="6169">0</cx:pt>
          <cx:pt idx="6170">1</cx:pt>
          <cx:pt idx="6171">0</cx:pt>
          <cx:pt idx="6172">1</cx:pt>
          <cx:pt idx="6173">0</cx:pt>
          <cx:pt idx="6174">1</cx:pt>
          <cx:pt idx="6175">1</cx:pt>
          <cx:pt idx="6176">1</cx:pt>
          <cx:pt idx="6177">1</cx:pt>
          <cx:pt idx="6178">0</cx:pt>
          <cx:pt idx="6179">1</cx:pt>
          <cx:pt idx="6180">0</cx:pt>
          <cx:pt idx="6181">0</cx:pt>
          <cx:pt idx="6182">1</cx:pt>
          <cx:pt idx="6183">0</cx:pt>
          <cx:pt idx="6184">0</cx:pt>
          <cx:pt idx="6185">1</cx:pt>
          <cx:pt idx="6186">0</cx:pt>
          <cx:pt idx="6187">1</cx:pt>
          <cx:pt idx="6188">0</cx:pt>
          <cx:pt idx="6189">1</cx:pt>
          <cx:pt idx="6190">0</cx:pt>
          <cx:pt idx="6191">0</cx:pt>
          <cx:pt idx="6192">1</cx:pt>
          <cx:pt idx="6193">1</cx:pt>
          <cx:pt idx="6194">1</cx:pt>
          <cx:pt idx="6195">1</cx:pt>
          <cx:pt idx="6196">1</cx:pt>
          <cx:pt idx="6197">0</cx:pt>
          <cx:pt idx="6198">1</cx:pt>
          <cx:pt idx="6199">1</cx:pt>
          <cx:pt idx="6200">1</cx:pt>
          <cx:pt idx="6201">1</cx:pt>
          <cx:pt idx="6202">0</cx:pt>
          <cx:pt idx="6203">1</cx:pt>
          <cx:pt idx="6204">1</cx:pt>
          <cx:pt idx="6205">1</cx:pt>
          <cx:pt idx="6206">0</cx:pt>
          <cx:pt idx="6207">0</cx:pt>
          <cx:pt idx="6208">0</cx:pt>
          <cx:pt idx="6209">1</cx:pt>
          <cx:pt idx="6210">0</cx:pt>
          <cx:pt idx="6211">0</cx:pt>
          <cx:pt idx="6212">0</cx:pt>
          <cx:pt idx="6213">0</cx:pt>
          <cx:pt idx="6214">0</cx:pt>
          <cx:pt idx="6215">0</cx:pt>
          <cx:pt idx="6216">1</cx:pt>
          <cx:pt idx="6217">0</cx:pt>
          <cx:pt idx="6218">0</cx:pt>
          <cx:pt idx="6219">1</cx:pt>
          <cx:pt idx="6220">0</cx:pt>
          <cx:pt idx="6221">0</cx:pt>
          <cx:pt idx="6222">0</cx:pt>
          <cx:pt idx="6223">1</cx:pt>
          <cx:pt idx="6224">0</cx:pt>
          <cx:pt idx="6225">1</cx:pt>
          <cx:pt idx="6226">0</cx:pt>
          <cx:pt idx="6227">1</cx:pt>
          <cx:pt idx="6228">0</cx:pt>
          <cx:pt idx="6229">0</cx:pt>
          <cx:pt idx="6230">1</cx:pt>
          <cx:pt idx="6231">0</cx:pt>
          <cx:pt idx="6232">1</cx:pt>
          <cx:pt idx="6233">1</cx:pt>
          <cx:pt idx="6234">0</cx:pt>
          <cx:pt idx="6235">0</cx:pt>
          <cx:pt idx="6236">0</cx:pt>
          <cx:pt idx="6237">0</cx:pt>
          <cx:pt idx="6238">0</cx:pt>
          <cx:pt idx="6239">0</cx:pt>
          <cx:pt idx="6240">1</cx:pt>
          <cx:pt idx="6241">0</cx:pt>
          <cx:pt idx="6242">1</cx:pt>
          <cx:pt idx="6243">0</cx:pt>
          <cx:pt idx="6244">1</cx:pt>
          <cx:pt idx="6245">0</cx:pt>
          <cx:pt idx="6246">0</cx:pt>
          <cx:pt idx="6247">0</cx:pt>
          <cx:pt idx="6248">0</cx:pt>
          <cx:pt idx="6249">0</cx:pt>
          <cx:pt idx="6250">1</cx:pt>
          <cx:pt idx="6251">0</cx:pt>
          <cx:pt idx="6252">0</cx:pt>
          <cx:pt idx="6253">0</cx:pt>
          <cx:pt idx="6254">1</cx:pt>
          <cx:pt idx="6255">1</cx:pt>
          <cx:pt idx="6256">1</cx:pt>
          <cx:pt idx="6257">1</cx:pt>
          <cx:pt idx="6258">1</cx:pt>
          <cx:pt idx="6259">1</cx:pt>
          <cx:pt idx="6260">0</cx:pt>
          <cx:pt idx="6261">0</cx:pt>
          <cx:pt idx="6262">1</cx:pt>
          <cx:pt idx="6263">0</cx:pt>
          <cx:pt idx="6264">1</cx:pt>
          <cx:pt idx="6265">1</cx:pt>
          <cx:pt idx="6266">0</cx:pt>
          <cx:pt idx="6267">0</cx:pt>
          <cx:pt idx="6268">0</cx:pt>
          <cx:pt idx="6269">1</cx:pt>
          <cx:pt idx="6270">0</cx:pt>
          <cx:pt idx="6271">0</cx:pt>
          <cx:pt idx="6272">1</cx:pt>
          <cx:pt idx="6273">1</cx:pt>
          <cx:pt idx="6274">0</cx:pt>
          <cx:pt idx="6275">0</cx:pt>
          <cx:pt idx="6276">0</cx:pt>
          <cx:pt idx="6277">1</cx:pt>
          <cx:pt idx="6278">1</cx:pt>
          <cx:pt idx="6279">1</cx:pt>
          <cx:pt idx="6280">0</cx:pt>
          <cx:pt idx="6281">0</cx:pt>
          <cx:pt idx="6282">1</cx:pt>
          <cx:pt idx="6283">0</cx:pt>
          <cx:pt idx="6284">0</cx:pt>
          <cx:pt idx="6285">0</cx:pt>
          <cx:pt idx="6286">0</cx:pt>
          <cx:pt idx="6287">1</cx:pt>
          <cx:pt idx="6288">1</cx:pt>
          <cx:pt idx="6289">1</cx:pt>
          <cx:pt idx="6290">1</cx:pt>
          <cx:pt idx="6291">0</cx:pt>
          <cx:pt idx="6292">1</cx:pt>
          <cx:pt idx="6293">0</cx:pt>
          <cx:pt idx="6294">0</cx:pt>
          <cx:pt idx="6295">1</cx:pt>
          <cx:pt idx="6296">1</cx:pt>
          <cx:pt idx="6297">0</cx:pt>
          <cx:pt idx="6298">0</cx:pt>
          <cx:pt idx="6299">1</cx:pt>
          <cx:pt idx="6300">0</cx:pt>
          <cx:pt idx="6301">1</cx:pt>
          <cx:pt idx="6302">0</cx:pt>
          <cx:pt idx="6303">0</cx:pt>
          <cx:pt idx="6304">1</cx:pt>
          <cx:pt idx="6305">0</cx:pt>
          <cx:pt idx="6306">0</cx:pt>
          <cx:pt idx="6307">1</cx:pt>
          <cx:pt idx="6308">0</cx:pt>
          <cx:pt idx="6309">0</cx:pt>
          <cx:pt idx="6310">1</cx:pt>
          <cx:pt idx="6311">1</cx:pt>
          <cx:pt idx="6312">1</cx:pt>
          <cx:pt idx="6313">1</cx:pt>
          <cx:pt idx="6314">0</cx:pt>
          <cx:pt idx="6315">1</cx:pt>
          <cx:pt idx="6316">1</cx:pt>
          <cx:pt idx="6317">1</cx:pt>
          <cx:pt idx="6318">1</cx:pt>
          <cx:pt idx="6319">0</cx:pt>
          <cx:pt idx="6320">1</cx:pt>
          <cx:pt idx="6321">0</cx:pt>
          <cx:pt idx="6322">1</cx:pt>
          <cx:pt idx="6323">1</cx:pt>
          <cx:pt idx="6324">1</cx:pt>
          <cx:pt idx="6325">0</cx:pt>
          <cx:pt idx="6326">1</cx:pt>
          <cx:pt idx="6327">0</cx:pt>
          <cx:pt idx="6328">1</cx:pt>
          <cx:pt idx="6329">0</cx:pt>
          <cx:pt idx="6330">0</cx:pt>
          <cx:pt idx="6331">1</cx:pt>
          <cx:pt idx="6332">0</cx:pt>
          <cx:pt idx="6333">0</cx:pt>
          <cx:pt idx="6334">0</cx:pt>
          <cx:pt idx="6335">0</cx:pt>
          <cx:pt idx="6336">0</cx:pt>
          <cx:pt idx="6337">1</cx:pt>
          <cx:pt idx="6338">0</cx:pt>
          <cx:pt idx="6339">1</cx:pt>
          <cx:pt idx="6340">1</cx:pt>
          <cx:pt idx="6341">1</cx:pt>
          <cx:pt idx="6342">0</cx:pt>
          <cx:pt idx="6343">0</cx:pt>
          <cx:pt idx="6344">1</cx:pt>
          <cx:pt idx="6345">0</cx:pt>
          <cx:pt idx="6346">0</cx:pt>
          <cx:pt idx="6347">1</cx:pt>
          <cx:pt idx="6348">1</cx:pt>
          <cx:pt idx="6349">1</cx:pt>
          <cx:pt idx="6350">0</cx:pt>
          <cx:pt idx="6351">0</cx:pt>
          <cx:pt idx="6352">0</cx:pt>
          <cx:pt idx="6353">1</cx:pt>
          <cx:pt idx="6354">0</cx:pt>
          <cx:pt idx="6355">0</cx:pt>
          <cx:pt idx="6356">0</cx:pt>
          <cx:pt idx="6357">0</cx:pt>
          <cx:pt idx="6358">1</cx:pt>
          <cx:pt idx="6359">0</cx:pt>
          <cx:pt idx="6360">1</cx:pt>
          <cx:pt idx="6361">0</cx:pt>
          <cx:pt idx="6362">0</cx:pt>
          <cx:pt idx="6363">0</cx:pt>
          <cx:pt idx="6364">0</cx:pt>
          <cx:pt idx="6365">1</cx:pt>
          <cx:pt idx="6366">0</cx:pt>
          <cx:pt idx="6367">1</cx:pt>
          <cx:pt idx="6368">0</cx:pt>
          <cx:pt idx="6369">1</cx:pt>
          <cx:pt idx="6370">0</cx:pt>
          <cx:pt idx="6371">1</cx:pt>
          <cx:pt idx="6372">0</cx:pt>
          <cx:pt idx="6373">0</cx:pt>
          <cx:pt idx="6374">1</cx:pt>
          <cx:pt idx="6375">0</cx:pt>
          <cx:pt idx="6376">1</cx:pt>
          <cx:pt idx="6377">0</cx:pt>
          <cx:pt idx="6378">0</cx:pt>
          <cx:pt idx="6379">0</cx:pt>
          <cx:pt idx="6380">0</cx:pt>
          <cx:pt idx="6381">1</cx:pt>
          <cx:pt idx="6382">0</cx:pt>
          <cx:pt idx="6383">0</cx:pt>
          <cx:pt idx="6384">0</cx:pt>
          <cx:pt idx="6385">0</cx:pt>
          <cx:pt idx="6386">1</cx:pt>
          <cx:pt idx="6387">1</cx:pt>
          <cx:pt idx="6388">0</cx:pt>
          <cx:pt idx="6389">1</cx:pt>
          <cx:pt idx="6390">0</cx:pt>
          <cx:pt idx="6391">1</cx:pt>
          <cx:pt idx="6392">0</cx:pt>
          <cx:pt idx="6393">1</cx:pt>
          <cx:pt idx="6394">0</cx:pt>
          <cx:pt idx="6395">1</cx:pt>
          <cx:pt idx="6396">0</cx:pt>
          <cx:pt idx="6397">1</cx:pt>
          <cx:pt idx="6398">1</cx:pt>
          <cx:pt idx="6399">0</cx:pt>
          <cx:pt idx="6400">1</cx:pt>
          <cx:pt idx="6401">1</cx:pt>
          <cx:pt idx="6402">1</cx:pt>
          <cx:pt idx="6403">1</cx:pt>
          <cx:pt idx="6404">1</cx:pt>
          <cx:pt idx="6405">0</cx:pt>
          <cx:pt idx="6406">0</cx:pt>
          <cx:pt idx="6407">1</cx:pt>
          <cx:pt idx="6408">1</cx:pt>
          <cx:pt idx="6409">0</cx:pt>
          <cx:pt idx="6410">1</cx:pt>
          <cx:pt idx="6411">0</cx:pt>
          <cx:pt idx="6412">1</cx:pt>
          <cx:pt idx="6413">0</cx:pt>
          <cx:pt idx="6414">0</cx:pt>
          <cx:pt idx="6415">1</cx:pt>
          <cx:pt idx="6416">0</cx:pt>
          <cx:pt idx="6417">1</cx:pt>
          <cx:pt idx="6418">1</cx:pt>
          <cx:pt idx="6419">1</cx:pt>
          <cx:pt idx="6420">0</cx:pt>
          <cx:pt idx="6421">0</cx:pt>
          <cx:pt idx="6422">0</cx:pt>
          <cx:pt idx="6423">1</cx:pt>
          <cx:pt idx="6424">0</cx:pt>
          <cx:pt idx="6425">1</cx:pt>
          <cx:pt idx="6426">1</cx:pt>
          <cx:pt idx="6427">1</cx:pt>
          <cx:pt idx="6428">0</cx:pt>
          <cx:pt idx="6429">0</cx:pt>
          <cx:pt idx="6430">1</cx:pt>
          <cx:pt idx="6431">0</cx:pt>
          <cx:pt idx="6432">1</cx:pt>
          <cx:pt idx="6433">0</cx:pt>
          <cx:pt idx="6434">1</cx:pt>
          <cx:pt idx="6435">0</cx:pt>
          <cx:pt idx="6436">1</cx:pt>
          <cx:pt idx="6437">0</cx:pt>
          <cx:pt idx="6438">1</cx:pt>
          <cx:pt idx="6439">0</cx:pt>
          <cx:pt idx="6440">0</cx:pt>
          <cx:pt idx="6441">1</cx:pt>
          <cx:pt idx="6442">0</cx:pt>
          <cx:pt idx="6443">1</cx:pt>
          <cx:pt idx="6444">0</cx:pt>
          <cx:pt idx="6445">0</cx:pt>
          <cx:pt idx="6446">0</cx:pt>
          <cx:pt idx="6447">1</cx:pt>
          <cx:pt idx="6448">0</cx:pt>
          <cx:pt idx="6449">0</cx:pt>
          <cx:pt idx="6450">0</cx:pt>
          <cx:pt idx="6451">1</cx:pt>
          <cx:pt idx="6452">0</cx:pt>
          <cx:pt idx="6453">0</cx:pt>
          <cx:pt idx="6454">1</cx:pt>
          <cx:pt idx="6455">0</cx:pt>
          <cx:pt idx="6456">1</cx:pt>
          <cx:pt idx="6457">0</cx:pt>
          <cx:pt idx="6458">1</cx:pt>
          <cx:pt idx="6459">1</cx:pt>
          <cx:pt idx="6460">0</cx:pt>
          <cx:pt idx="6461">0</cx:pt>
          <cx:pt idx="6462">0</cx:pt>
          <cx:pt idx="6463">1</cx:pt>
          <cx:pt idx="6464">0</cx:pt>
          <cx:pt idx="6465">0</cx:pt>
          <cx:pt idx="6466">1</cx:pt>
          <cx:pt idx="6467">0</cx:pt>
          <cx:pt idx="6468">1</cx:pt>
          <cx:pt idx="6469">0</cx:pt>
          <cx:pt idx="6470">0</cx:pt>
          <cx:pt idx="6471">0</cx:pt>
          <cx:pt idx="6472">0</cx:pt>
          <cx:pt idx="6473">1</cx:pt>
          <cx:pt idx="6474">1</cx:pt>
          <cx:pt idx="6475">1</cx:pt>
          <cx:pt idx="6476">0</cx:pt>
          <cx:pt idx="6477">1</cx:pt>
          <cx:pt idx="6478">0</cx:pt>
          <cx:pt idx="6479">0</cx:pt>
          <cx:pt idx="6480">1</cx:pt>
          <cx:pt idx="6481">0</cx:pt>
          <cx:pt idx="6482">0</cx:pt>
          <cx:pt idx="6483">0</cx:pt>
          <cx:pt idx="6484">0</cx:pt>
          <cx:pt idx="6485">0</cx:pt>
          <cx:pt idx="6486">0</cx:pt>
          <cx:pt idx="6487">1</cx:pt>
          <cx:pt idx="6488">1</cx:pt>
          <cx:pt idx="6489">1</cx:pt>
          <cx:pt idx="6490">0</cx:pt>
          <cx:pt idx="6491">0</cx:pt>
          <cx:pt idx="6492">0</cx:pt>
          <cx:pt idx="6493">0</cx:pt>
          <cx:pt idx="6494">0</cx:pt>
          <cx:pt idx="6495">0</cx:pt>
          <cx:pt idx="6496">1</cx:pt>
          <cx:pt idx="6497">1</cx:pt>
          <cx:pt idx="6498">0</cx:pt>
          <cx:pt idx="6499">0</cx:pt>
          <cx:pt idx="6500">0</cx:pt>
          <cx:pt idx="6501">1</cx:pt>
          <cx:pt idx="6502">0</cx:pt>
          <cx:pt idx="6503">0</cx:pt>
          <cx:pt idx="6504">0</cx:pt>
          <cx:pt idx="6505">1</cx:pt>
          <cx:pt idx="6506">1</cx:pt>
          <cx:pt idx="6507">0</cx:pt>
          <cx:pt idx="6508">1</cx:pt>
          <cx:pt idx="6509">1</cx:pt>
          <cx:pt idx="6510">0</cx:pt>
          <cx:pt idx="6511">0</cx:pt>
          <cx:pt idx="6512">0</cx:pt>
          <cx:pt idx="6513">1</cx:pt>
          <cx:pt idx="6514">1</cx:pt>
          <cx:pt idx="6515">1</cx:pt>
          <cx:pt idx="6516">0</cx:pt>
          <cx:pt idx="6517">0</cx:pt>
          <cx:pt idx="6518">0</cx:pt>
          <cx:pt idx="6519">1</cx:pt>
          <cx:pt idx="6520">0</cx:pt>
          <cx:pt idx="6521">0</cx:pt>
          <cx:pt idx="6522">0</cx:pt>
          <cx:pt idx="6523">1</cx:pt>
          <cx:pt idx="6524">0</cx:pt>
          <cx:pt idx="6525">1</cx:pt>
          <cx:pt idx="6526">0</cx:pt>
          <cx:pt idx="6527">1</cx:pt>
          <cx:pt idx="6528">0</cx:pt>
          <cx:pt idx="6529">0</cx:pt>
          <cx:pt idx="6530">1</cx:pt>
          <cx:pt idx="6531">0</cx:pt>
          <cx:pt idx="6532">0</cx:pt>
          <cx:pt idx="6533">1</cx:pt>
          <cx:pt idx="6534">1</cx:pt>
          <cx:pt idx="6535">1</cx:pt>
          <cx:pt idx="6536">1</cx:pt>
          <cx:pt idx="6537">0</cx:pt>
          <cx:pt idx="6538">0</cx:pt>
          <cx:pt idx="6539">0</cx:pt>
          <cx:pt idx="6540">0</cx:pt>
          <cx:pt idx="6541">0</cx:pt>
          <cx:pt idx="6542">0</cx:pt>
          <cx:pt idx="6543">0</cx:pt>
          <cx:pt idx="6544">0</cx:pt>
          <cx:pt idx="6545">0</cx:pt>
          <cx:pt idx="6546">0</cx:pt>
          <cx:pt idx="6547">1</cx:pt>
          <cx:pt idx="6548">1</cx:pt>
          <cx:pt idx="6549">1</cx:pt>
          <cx:pt idx="6550">0</cx:pt>
          <cx:pt idx="6551">0</cx:pt>
          <cx:pt idx="6552">0</cx:pt>
          <cx:pt idx="6553">1</cx:pt>
          <cx:pt idx="6554">0</cx:pt>
          <cx:pt idx="6555">0</cx:pt>
          <cx:pt idx="6556">1</cx:pt>
          <cx:pt idx="6557">0</cx:pt>
          <cx:pt idx="6558">0</cx:pt>
          <cx:pt idx="6559">1</cx:pt>
          <cx:pt idx="6560">0</cx:pt>
          <cx:pt idx="6561">0</cx:pt>
          <cx:pt idx="6562">0</cx:pt>
          <cx:pt idx="6563">1</cx:pt>
          <cx:pt idx="6564">1</cx:pt>
          <cx:pt idx="6565">0</cx:pt>
          <cx:pt idx="6566">0</cx:pt>
          <cx:pt idx="6567">0</cx:pt>
          <cx:pt idx="6568">1</cx:pt>
          <cx:pt idx="6569">0</cx:pt>
          <cx:pt idx="6570">0</cx:pt>
          <cx:pt idx="6571">0</cx:pt>
          <cx:pt idx="6572">0</cx:pt>
          <cx:pt idx="6573">1</cx:pt>
          <cx:pt idx="6574">0</cx:pt>
          <cx:pt idx="6575">0</cx:pt>
          <cx:pt idx="6576">0</cx:pt>
          <cx:pt idx="6577">0</cx:pt>
          <cx:pt idx="6578">0</cx:pt>
          <cx:pt idx="6579">0</cx:pt>
          <cx:pt idx="6580">0</cx:pt>
          <cx:pt idx="6581">0</cx:pt>
          <cx:pt idx="6582">1</cx:pt>
          <cx:pt idx="6583">1</cx:pt>
          <cx:pt idx="6584">1</cx:pt>
          <cx:pt idx="6585">0</cx:pt>
          <cx:pt idx="6586">0</cx:pt>
          <cx:pt idx="6587">1</cx:pt>
          <cx:pt idx="6588">1</cx:pt>
          <cx:pt idx="6589">0</cx:pt>
          <cx:pt idx="6590">0</cx:pt>
          <cx:pt idx="6591">0</cx:pt>
          <cx:pt idx="6592">1</cx:pt>
          <cx:pt idx="6593">0</cx:pt>
          <cx:pt idx="6594">0</cx:pt>
          <cx:pt idx="6595">0</cx:pt>
          <cx:pt idx="6596">0</cx:pt>
          <cx:pt idx="6597">0</cx:pt>
          <cx:pt idx="6598">0</cx:pt>
          <cx:pt idx="6599">0</cx:pt>
          <cx:pt idx="6600">0</cx:pt>
          <cx:pt idx="6601">0</cx:pt>
          <cx:pt idx="6602">0</cx:pt>
          <cx:pt idx="6603">1</cx:pt>
          <cx:pt idx="6604">1</cx:pt>
          <cx:pt idx="6605">0</cx:pt>
          <cx:pt idx="6606">0</cx:pt>
          <cx:pt idx="6607">0</cx:pt>
          <cx:pt idx="6608">0</cx:pt>
          <cx:pt idx="6609">0</cx:pt>
          <cx:pt idx="6610">0</cx:pt>
          <cx:pt idx="6611">1</cx:pt>
          <cx:pt idx="6612">1</cx:pt>
          <cx:pt idx="6613">1</cx:pt>
          <cx:pt idx="6614">1</cx:pt>
          <cx:pt idx="6615">0</cx:pt>
          <cx:pt idx="6616">0</cx:pt>
          <cx:pt idx="6617">0</cx:pt>
          <cx:pt idx="6618">1</cx:pt>
          <cx:pt idx="6619">0</cx:pt>
          <cx:pt idx="6620">0</cx:pt>
          <cx:pt idx="6621">1</cx:pt>
          <cx:pt idx="6622">1</cx:pt>
          <cx:pt idx="6623">0</cx:pt>
          <cx:pt idx="6624">0</cx:pt>
          <cx:pt idx="6625">0</cx:pt>
          <cx:pt idx="6626">0</cx:pt>
          <cx:pt idx="6627">0</cx:pt>
          <cx:pt idx="6628">0</cx:pt>
          <cx:pt idx="6629">0</cx:pt>
          <cx:pt idx="6630">0</cx:pt>
          <cx:pt idx="6631">1</cx:pt>
          <cx:pt idx="6632">0</cx:pt>
          <cx:pt idx="6633">1</cx:pt>
          <cx:pt idx="6634">1</cx:pt>
          <cx:pt idx="6635">1</cx:pt>
          <cx:pt idx="6636">0</cx:pt>
          <cx:pt idx="6637">0</cx:pt>
          <cx:pt idx="6638">0</cx:pt>
          <cx:pt idx="6639">1</cx:pt>
          <cx:pt idx="6640">0</cx:pt>
          <cx:pt idx="6641">1</cx:pt>
          <cx:pt idx="6642">1</cx:pt>
          <cx:pt idx="6643">1</cx:pt>
          <cx:pt idx="6644">0</cx:pt>
          <cx:pt idx="6645">0</cx:pt>
          <cx:pt idx="6646">0</cx:pt>
          <cx:pt idx="6647">0</cx:pt>
          <cx:pt idx="6648">1</cx:pt>
          <cx:pt idx="6649">0</cx:pt>
          <cx:pt idx="6650">0</cx:pt>
          <cx:pt idx="6651">0</cx:pt>
          <cx:pt idx="6652">0</cx:pt>
          <cx:pt idx="6653">1</cx:pt>
          <cx:pt idx="6654">1</cx:pt>
          <cx:pt idx="6655">0</cx:pt>
          <cx:pt idx="6656">1</cx:pt>
          <cx:pt idx="6657">0</cx:pt>
          <cx:pt idx="6658">1</cx:pt>
          <cx:pt idx="6659">0</cx:pt>
          <cx:pt idx="6660">1</cx:pt>
          <cx:pt idx="6661">0</cx:pt>
          <cx:pt idx="6662">0</cx:pt>
          <cx:pt idx="6663">1</cx:pt>
          <cx:pt idx="6664">0</cx:pt>
          <cx:pt idx="6665">1</cx:pt>
          <cx:pt idx="6666">0</cx:pt>
          <cx:pt idx="6667">0</cx:pt>
          <cx:pt idx="6668">0</cx:pt>
          <cx:pt idx="6669">0</cx:pt>
          <cx:pt idx="6670">1</cx:pt>
          <cx:pt idx="6671">1</cx:pt>
          <cx:pt idx="6672">0</cx:pt>
          <cx:pt idx="6673">0</cx:pt>
          <cx:pt idx="6674">1</cx:pt>
          <cx:pt idx="6675">1</cx:pt>
          <cx:pt idx="6676">0</cx:pt>
          <cx:pt idx="6677">0</cx:pt>
          <cx:pt idx="6678">0</cx:pt>
          <cx:pt idx="6679">1</cx:pt>
          <cx:pt idx="6680">1</cx:pt>
          <cx:pt idx="6681">1</cx:pt>
          <cx:pt idx="6682">1</cx:pt>
          <cx:pt idx="6683">1</cx:pt>
          <cx:pt idx="6684">0</cx:pt>
          <cx:pt idx="6685">1</cx:pt>
          <cx:pt idx="6686">0</cx:pt>
          <cx:pt idx="6687">0</cx:pt>
          <cx:pt idx="6688">0</cx:pt>
          <cx:pt idx="6689">0</cx:pt>
          <cx:pt idx="6690">0</cx:pt>
          <cx:pt idx="6691">0</cx:pt>
          <cx:pt idx="6692">1</cx:pt>
          <cx:pt idx="6693">1</cx:pt>
          <cx:pt idx="6694">1</cx:pt>
          <cx:pt idx="6695">0</cx:pt>
          <cx:pt idx="6696">1</cx:pt>
          <cx:pt idx="6697">0</cx:pt>
          <cx:pt idx="6698">0</cx:pt>
          <cx:pt idx="6699">0</cx:pt>
          <cx:pt idx="6700">1</cx:pt>
          <cx:pt idx="6701">0</cx:pt>
          <cx:pt idx="6702">1</cx:pt>
          <cx:pt idx="6703">0</cx:pt>
          <cx:pt idx="6704">0</cx:pt>
          <cx:pt idx="6705">1</cx:pt>
          <cx:pt idx="6706">0</cx:pt>
          <cx:pt idx="6707">0</cx:pt>
          <cx:pt idx="6708">0</cx:pt>
          <cx:pt idx="6709">1</cx:pt>
          <cx:pt idx="6710">1</cx:pt>
          <cx:pt idx="6711">0</cx:pt>
          <cx:pt idx="6712">0</cx:pt>
          <cx:pt idx="6713">1</cx:pt>
          <cx:pt idx="6714">1</cx:pt>
          <cx:pt idx="6715">0</cx:pt>
          <cx:pt idx="6716">0</cx:pt>
          <cx:pt idx="6717">1</cx:pt>
          <cx:pt idx="6718">1</cx:pt>
          <cx:pt idx="6719">1</cx:pt>
          <cx:pt idx="6720">1</cx:pt>
          <cx:pt idx="6721">0</cx:pt>
          <cx:pt idx="6722">0</cx:pt>
          <cx:pt idx="6723">1</cx:pt>
          <cx:pt idx="6724">0</cx:pt>
          <cx:pt idx="6725">1</cx:pt>
          <cx:pt idx="6726">1</cx:pt>
          <cx:pt idx="6727">0</cx:pt>
          <cx:pt idx="6728">0</cx:pt>
          <cx:pt idx="6729">1</cx:pt>
          <cx:pt idx="6730">0</cx:pt>
          <cx:pt idx="6731">0</cx:pt>
          <cx:pt idx="6732">0</cx:pt>
          <cx:pt idx="6733">1</cx:pt>
          <cx:pt idx="6734">1</cx:pt>
          <cx:pt idx="6735">1</cx:pt>
          <cx:pt idx="6736">0</cx:pt>
          <cx:pt idx="6737">0</cx:pt>
          <cx:pt idx="6738">1</cx:pt>
          <cx:pt idx="6739">1</cx:pt>
          <cx:pt idx="6740">1</cx:pt>
          <cx:pt idx="6741">1</cx:pt>
          <cx:pt idx="6742">1</cx:pt>
          <cx:pt idx="6743">0</cx:pt>
          <cx:pt idx="6744">1</cx:pt>
          <cx:pt idx="6745">0</cx:pt>
          <cx:pt idx="6746">0</cx:pt>
          <cx:pt idx="6747">0</cx:pt>
          <cx:pt idx="6748">1</cx:pt>
          <cx:pt idx="6749">1</cx:pt>
          <cx:pt idx="6750">0</cx:pt>
          <cx:pt idx="6751">1</cx:pt>
          <cx:pt idx="6752">1</cx:pt>
          <cx:pt idx="6753">1</cx:pt>
          <cx:pt idx="6754">1</cx:pt>
          <cx:pt idx="6755">1</cx:pt>
          <cx:pt idx="6756">0</cx:pt>
          <cx:pt idx="6757">0</cx:pt>
          <cx:pt idx="6758">1</cx:pt>
          <cx:pt idx="6759">1</cx:pt>
          <cx:pt idx="6760">0</cx:pt>
          <cx:pt idx="6761">1</cx:pt>
          <cx:pt idx="6762">0</cx:pt>
          <cx:pt idx="6763">1</cx:pt>
          <cx:pt idx="6764">1</cx:pt>
          <cx:pt idx="6765">0</cx:pt>
          <cx:pt idx="6766">0</cx:pt>
          <cx:pt idx="6767">0</cx:pt>
          <cx:pt idx="6768">1</cx:pt>
          <cx:pt idx="6769">0</cx:pt>
          <cx:pt idx="6770">1</cx:pt>
          <cx:pt idx="6771">1</cx:pt>
          <cx:pt idx="6772">1</cx:pt>
          <cx:pt idx="6773">0</cx:pt>
          <cx:pt idx="6774">1</cx:pt>
          <cx:pt idx="6775">1</cx:pt>
          <cx:pt idx="6776">1</cx:pt>
          <cx:pt idx="6777">0</cx:pt>
          <cx:pt idx="6778">1</cx:pt>
          <cx:pt idx="6779">0</cx:pt>
          <cx:pt idx="6780">1</cx:pt>
          <cx:pt idx="6781">0</cx:pt>
          <cx:pt idx="6782">1</cx:pt>
          <cx:pt idx="6783">1</cx:pt>
          <cx:pt idx="6784">0</cx:pt>
          <cx:pt idx="6785">1</cx:pt>
          <cx:pt idx="6786">1</cx:pt>
          <cx:pt idx="6787">0</cx:pt>
          <cx:pt idx="6788">0</cx:pt>
          <cx:pt idx="6789">0</cx:pt>
          <cx:pt idx="6790">1</cx:pt>
          <cx:pt idx="6791">0</cx:pt>
          <cx:pt idx="6792">0</cx:pt>
          <cx:pt idx="6793">1</cx:pt>
          <cx:pt idx="6794">0</cx:pt>
          <cx:pt idx="6795">1</cx:pt>
          <cx:pt idx="6796">1</cx:pt>
          <cx:pt idx="6797">0</cx:pt>
          <cx:pt idx="6798">1</cx:pt>
          <cx:pt idx="6799">0</cx:pt>
          <cx:pt idx="6800">1</cx:pt>
          <cx:pt idx="6801">1</cx:pt>
          <cx:pt idx="6802">1</cx:pt>
          <cx:pt idx="6803">1</cx:pt>
          <cx:pt idx="6804">1</cx:pt>
          <cx:pt idx="6805">0</cx:pt>
          <cx:pt idx="6806">0</cx:pt>
          <cx:pt idx="6807">1</cx:pt>
          <cx:pt idx="6808">0</cx:pt>
          <cx:pt idx="6809">0</cx:pt>
          <cx:pt idx="6810">0</cx:pt>
          <cx:pt idx="6811">1</cx:pt>
          <cx:pt idx="6812">1</cx:pt>
          <cx:pt idx="6813">1</cx:pt>
          <cx:pt idx="6814">1</cx:pt>
          <cx:pt idx="6815">1</cx:pt>
          <cx:pt idx="6816">1</cx:pt>
          <cx:pt idx="6817">0</cx:pt>
          <cx:pt idx="6818">0</cx:pt>
          <cx:pt idx="6819">0</cx:pt>
          <cx:pt idx="6820">1</cx:pt>
          <cx:pt idx="6821">1</cx:pt>
          <cx:pt idx="6822">1</cx:pt>
          <cx:pt idx="6823">0</cx:pt>
          <cx:pt idx="6824">1</cx:pt>
          <cx:pt idx="6825">0</cx:pt>
          <cx:pt idx="6826">0</cx:pt>
          <cx:pt idx="6827">1</cx:pt>
          <cx:pt idx="6828">0</cx:pt>
          <cx:pt idx="6829">0</cx:pt>
          <cx:pt idx="6830">0</cx:pt>
          <cx:pt idx="6831">0</cx:pt>
          <cx:pt idx="6832">1</cx:pt>
          <cx:pt idx="6833">0</cx:pt>
          <cx:pt idx="6834">0</cx:pt>
          <cx:pt idx="6835">0</cx:pt>
          <cx:pt idx="6836">0</cx:pt>
          <cx:pt idx="6837">0</cx:pt>
          <cx:pt idx="6838">0</cx:pt>
          <cx:pt idx="6839">0</cx:pt>
          <cx:pt idx="6840">1</cx:pt>
          <cx:pt idx="6841">1</cx:pt>
          <cx:pt idx="6842">0</cx:pt>
          <cx:pt idx="6843">0</cx:pt>
          <cx:pt idx="6844">0</cx:pt>
          <cx:pt idx="6845">1</cx:pt>
          <cx:pt idx="6846">1</cx:pt>
          <cx:pt idx="6847">0</cx:pt>
          <cx:pt idx="6848">0</cx:pt>
          <cx:pt idx="6849">0</cx:pt>
          <cx:pt idx="6850">1</cx:pt>
          <cx:pt idx="6851">0</cx:pt>
          <cx:pt idx="6852">0</cx:pt>
          <cx:pt idx="6853">1</cx:pt>
          <cx:pt idx="6854">1</cx:pt>
          <cx:pt idx="6855">0</cx:pt>
          <cx:pt idx="6856">0</cx:pt>
          <cx:pt idx="6857">0</cx:pt>
          <cx:pt idx="6858">0</cx:pt>
          <cx:pt idx="6859">0</cx:pt>
          <cx:pt idx="6860">1</cx:pt>
          <cx:pt idx="6861">0</cx:pt>
          <cx:pt idx="6862">1</cx:pt>
          <cx:pt idx="6863">0</cx:pt>
          <cx:pt idx="6864">0</cx:pt>
          <cx:pt idx="6865">1</cx:pt>
          <cx:pt idx="6866">1</cx:pt>
          <cx:pt idx="6867">1</cx:pt>
          <cx:pt idx="6868">1</cx:pt>
          <cx:pt idx="6869">0</cx:pt>
          <cx:pt idx="6870">1</cx:pt>
          <cx:pt idx="6871">1</cx:pt>
          <cx:pt idx="6872">0</cx:pt>
          <cx:pt idx="6873">1</cx:pt>
          <cx:pt idx="6874">0</cx:pt>
          <cx:pt idx="6875">0</cx:pt>
          <cx:pt idx="6876">0</cx:pt>
          <cx:pt idx="6877">1</cx:pt>
          <cx:pt idx="6878">1</cx:pt>
          <cx:pt idx="6879">0</cx:pt>
          <cx:pt idx="6880">0</cx:pt>
          <cx:pt idx="6881">1</cx:pt>
          <cx:pt idx="6882">1</cx:pt>
          <cx:pt idx="6883">1</cx:pt>
          <cx:pt idx="6884">1</cx:pt>
          <cx:pt idx="6885">0</cx:pt>
          <cx:pt idx="6886">0</cx:pt>
          <cx:pt idx="6887">0</cx:pt>
          <cx:pt idx="6888">1</cx:pt>
          <cx:pt idx="6889">0</cx:pt>
          <cx:pt idx="6890">1</cx:pt>
          <cx:pt idx="6891">1</cx:pt>
          <cx:pt idx="6892">0</cx:pt>
          <cx:pt idx="6893">0</cx:pt>
          <cx:pt idx="6894">0</cx:pt>
          <cx:pt idx="6895">0</cx:pt>
          <cx:pt idx="6896">0</cx:pt>
          <cx:pt idx="6897">0</cx:pt>
          <cx:pt idx="6898">0</cx:pt>
          <cx:pt idx="6899">0</cx:pt>
          <cx:pt idx="6900">0</cx:pt>
          <cx:pt idx="6901">1</cx:pt>
          <cx:pt idx="6902">0</cx:pt>
          <cx:pt idx="6903">0</cx:pt>
          <cx:pt idx="6904">0</cx:pt>
          <cx:pt idx="6905">1</cx:pt>
          <cx:pt idx="6906">0</cx:pt>
          <cx:pt idx="6907">1</cx:pt>
          <cx:pt idx="6908">0</cx:pt>
          <cx:pt idx="6909">1</cx:pt>
          <cx:pt idx="6910">1</cx:pt>
          <cx:pt idx="6911">1</cx:pt>
          <cx:pt idx="6912">0</cx:pt>
          <cx:pt idx="6913">1</cx:pt>
          <cx:pt idx="6914">0</cx:pt>
          <cx:pt idx="6915">0</cx:pt>
          <cx:pt idx="6916">1</cx:pt>
          <cx:pt idx="6917">0</cx:pt>
          <cx:pt idx="6918">0</cx:pt>
          <cx:pt idx="6919">0</cx:pt>
          <cx:pt idx="6920">0</cx:pt>
          <cx:pt idx="6921">1</cx:pt>
          <cx:pt idx="6922">1</cx:pt>
          <cx:pt idx="6923">1</cx:pt>
          <cx:pt idx="6924">1</cx:pt>
          <cx:pt idx="6925">1</cx:pt>
          <cx:pt idx="6926">0</cx:pt>
          <cx:pt idx="6927">1</cx:pt>
          <cx:pt idx="6928">0</cx:pt>
          <cx:pt idx="6929">1</cx:pt>
          <cx:pt idx="6930">0</cx:pt>
          <cx:pt idx="6931">1</cx:pt>
          <cx:pt idx="6932">1</cx:pt>
          <cx:pt idx="6933">0</cx:pt>
          <cx:pt idx="6934">1</cx:pt>
          <cx:pt idx="6935">0</cx:pt>
          <cx:pt idx="6936">0</cx:pt>
          <cx:pt idx="6937">0</cx:pt>
          <cx:pt idx="6938">0</cx:pt>
          <cx:pt idx="6939">0</cx:pt>
          <cx:pt idx="6940">0</cx:pt>
          <cx:pt idx="6941">0</cx:pt>
          <cx:pt idx="6942">0</cx:pt>
          <cx:pt idx="6943">0</cx:pt>
          <cx:pt idx="6944">0</cx:pt>
          <cx:pt idx="6945">0</cx:pt>
          <cx:pt idx="6946">1</cx:pt>
          <cx:pt idx="6947">0</cx:pt>
          <cx:pt idx="6948">1</cx:pt>
          <cx:pt idx="6949">0</cx:pt>
          <cx:pt idx="6950">1</cx:pt>
          <cx:pt idx="6951">1</cx:pt>
          <cx:pt idx="6952">0</cx:pt>
          <cx:pt idx="6953">1</cx:pt>
          <cx:pt idx="6954">0</cx:pt>
          <cx:pt idx="6955">1</cx:pt>
          <cx:pt idx="6956">0</cx:pt>
          <cx:pt idx="6957">0</cx:pt>
          <cx:pt idx="6958">0</cx:pt>
          <cx:pt idx="6959">1</cx:pt>
          <cx:pt idx="6960">0</cx:pt>
          <cx:pt idx="6961">0</cx:pt>
          <cx:pt idx="6962">0</cx:pt>
          <cx:pt idx="6963">1</cx:pt>
          <cx:pt idx="6964">0</cx:pt>
          <cx:pt idx="6965">1</cx:pt>
          <cx:pt idx="6966">1</cx:pt>
          <cx:pt idx="6967">1</cx:pt>
          <cx:pt idx="6968">0</cx:pt>
          <cx:pt idx="6969">1</cx:pt>
          <cx:pt idx="6970">1</cx:pt>
          <cx:pt idx="6971">1</cx:pt>
          <cx:pt idx="6972">1</cx:pt>
          <cx:pt idx="6973">0</cx:pt>
          <cx:pt idx="6974">1</cx:pt>
          <cx:pt idx="6975">0</cx:pt>
          <cx:pt idx="6976">0</cx:pt>
          <cx:pt idx="6977">0</cx:pt>
          <cx:pt idx="6978">0</cx:pt>
          <cx:pt idx="6979">1</cx:pt>
          <cx:pt idx="6980">0</cx:pt>
          <cx:pt idx="6981">0</cx:pt>
          <cx:pt idx="6982">0</cx:pt>
          <cx:pt idx="6983">0</cx:pt>
          <cx:pt idx="6984">1</cx:pt>
          <cx:pt idx="6985">1</cx:pt>
          <cx:pt idx="6986">0</cx:pt>
          <cx:pt idx="6987">0</cx:pt>
          <cx:pt idx="6988">0</cx:pt>
          <cx:pt idx="6989">0</cx:pt>
          <cx:pt idx="6990">0</cx:pt>
          <cx:pt idx="6991">0</cx:pt>
          <cx:pt idx="6992">0</cx:pt>
          <cx:pt idx="6993">1</cx:pt>
          <cx:pt idx="6994">1</cx:pt>
          <cx:pt idx="6995">0</cx:pt>
          <cx:pt idx="6996">0</cx:pt>
          <cx:pt idx="6997">0</cx:pt>
          <cx:pt idx="6998">0</cx:pt>
          <cx:pt idx="6999">1</cx:pt>
          <cx:pt idx="7000">0</cx:pt>
          <cx:pt idx="7001">0</cx:pt>
          <cx:pt idx="7002">1</cx:pt>
          <cx:pt idx="7003">0</cx:pt>
          <cx:pt idx="7004">0</cx:pt>
          <cx:pt idx="7005">0</cx:pt>
          <cx:pt idx="7006">1</cx:pt>
          <cx:pt idx="7007">1</cx:pt>
          <cx:pt idx="7008">0</cx:pt>
          <cx:pt idx="7009">0</cx:pt>
          <cx:pt idx="7010">1</cx:pt>
          <cx:pt idx="7011">0</cx:pt>
          <cx:pt idx="7012">1</cx:pt>
          <cx:pt idx="7013">0</cx:pt>
          <cx:pt idx="7014">0</cx:pt>
          <cx:pt idx="7015">1</cx:pt>
          <cx:pt idx="7016">1</cx:pt>
          <cx:pt idx="7017">1</cx:pt>
          <cx:pt idx="7018">0</cx:pt>
          <cx:pt idx="7019">0</cx:pt>
          <cx:pt idx="7020">0</cx:pt>
          <cx:pt idx="7021">1</cx:pt>
          <cx:pt idx="7022">0</cx:pt>
          <cx:pt idx="7023">0</cx:pt>
          <cx:pt idx="7024">0</cx:pt>
          <cx:pt idx="7025">1</cx:pt>
          <cx:pt idx="7026">1</cx:pt>
          <cx:pt idx="7027">1</cx:pt>
          <cx:pt idx="7028">0</cx:pt>
          <cx:pt idx="7029">0</cx:pt>
          <cx:pt idx="7030">1</cx:pt>
          <cx:pt idx="7031">1</cx:pt>
          <cx:pt idx="7032">0</cx:pt>
          <cx:pt idx="7033">1</cx:pt>
          <cx:pt idx="7034">1</cx:pt>
          <cx:pt idx="7035">1</cx:pt>
          <cx:pt idx="7036">1</cx:pt>
          <cx:pt idx="7037">0</cx:pt>
          <cx:pt idx="7038">0</cx:pt>
          <cx:pt idx="7039">0</cx:pt>
          <cx:pt idx="7040">0</cx:pt>
          <cx:pt idx="7041">1</cx:pt>
          <cx:pt idx="7042">1</cx:pt>
          <cx:pt idx="7043">1</cx:pt>
          <cx:pt idx="7044">0</cx:pt>
          <cx:pt idx="7045">1</cx:pt>
          <cx:pt idx="7046">1</cx:pt>
          <cx:pt idx="7047">0</cx:pt>
          <cx:pt idx="7048">1</cx:pt>
          <cx:pt idx="7049">0</cx:pt>
          <cx:pt idx="7050">0</cx:pt>
          <cx:pt idx="7051">1</cx:pt>
          <cx:pt idx="7052">0</cx:pt>
          <cx:pt idx="7053">0</cx:pt>
          <cx:pt idx="7054">1</cx:pt>
          <cx:pt idx="7055">1</cx:pt>
          <cx:pt idx="7056">0</cx:pt>
          <cx:pt idx="7057">0</cx:pt>
          <cx:pt idx="7058">1</cx:pt>
          <cx:pt idx="7059">0</cx:pt>
          <cx:pt idx="7060">0</cx:pt>
          <cx:pt idx="7061">1</cx:pt>
          <cx:pt idx="7062">0</cx:pt>
          <cx:pt idx="7063">1</cx:pt>
          <cx:pt idx="7064">1</cx:pt>
          <cx:pt idx="7065">1</cx:pt>
          <cx:pt idx="7066">1</cx:pt>
          <cx:pt idx="7067">1</cx:pt>
          <cx:pt idx="7068">1</cx:pt>
          <cx:pt idx="7069">0</cx:pt>
          <cx:pt idx="7070">0</cx:pt>
          <cx:pt idx="7071">0</cx:pt>
          <cx:pt idx="7072">0</cx:pt>
          <cx:pt idx="7073">1</cx:pt>
          <cx:pt idx="7074">1</cx:pt>
          <cx:pt idx="7075">0</cx:pt>
          <cx:pt idx="7076">1</cx:pt>
          <cx:pt idx="7077">0</cx:pt>
          <cx:pt idx="7078">1</cx:pt>
          <cx:pt idx="7079">0</cx:pt>
          <cx:pt idx="7080">0</cx:pt>
          <cx:pt idx="7081">0</cx:pt>
          <cx:pt idx="7082">0</cx:pt>
          <cx:pt idx="7083">1</cx:pt>
          <cx:pt idx="7084">0</cx:pt>
          <cx:pt idx="7085">1</cx:pt>
          <cx:pt idx="7086">0</cx:pt>
          <cx:pt idx="7087">0</cx:pt>
          <cx:pt idx="7088">1</cx:pt>
          <cx:pt idx="7089">0</cx:pt>
          <cx:pt idx="7090">0</cx:pt>
          <cx:pt idx="7091">0</cx:pt>
          <cx:pt idx="7092">0</cx:pt>
          <cx:pt idx="7093">0</cx:pt>
          <cx:pt idx="7094">0</cx:pt>
          <cx:pt idx="7095">0</cx:pt>
          <cx:pt idx="7096">1</cx:pt>
          <cx:pt idx="7097">0</cx:pt>
          <cx:pt idx="7098">0</cx:pt>
          <cx:pt idx="7099">1</cx:pt>
          <cx:pt idx="7100">0</cx:pt>
          <cx:pt idx="7101">0</cx:pt>
          <cx:pt idx="7102">0</cx:pt>
          <cx:pt idx="7103">1</cx:pt>
          <cx:pt idx="7104">0</cx:pt>
          <cx:pt idx="7105">1</cx:pt>
          <cx:pt idx="7106">1</cx:pt>
          <cx:pt idx="7107">0</cx:pt>
          <cx:pt idx="7108">1</cx:pt>
          <cx:pt idx="7109">0</cx:pt>
          <cx:pt idx="7110">0</cx:pt>
          <cx:pt idx="7111">0</cx:pt>
          <cx:pt idx="7112">1</cx:pt>
          <cx:pt idx="7113">1</cx:pt>
          <cx:pt idx="7114">1</cx:pt>
          <cx:pt idx="7115">1</cx:pt>
          <cx:pt idx="7116">1</cx:pt>
          <cx:pt idx="7117">1</cx:pt>
          <cx:pt idx="7118">1</cx:pt>
          <cx:pt idx="7119">1</cx:pt>
          <cx:pt idx="7120">1</cx:pt>
          <cx:pt idx="7121">0</cx:pt>
          <cx:pt idx="7122">1</cx:pt>
          <cx:pt idx="7123">1</cx:pt>
          <cx:pt idx="7124">1</cx:pt>
          <cx:pt idx="7125">1</cx:pt>
          <cx:pt idx="7126">0</cx:pt>
          <cx:pt idx="7127">0</cx:pt>
          <cx:pt idx="7128">0</cx:pt>
          <cx:pt idx="7129">0</cx:pt>
          <cx:pt idx="7130">1</cx:pt>
          <cx:pt idx="7131">0</cx:pt>
          <cx:pt idx="7132">1</cx:pt>
          <cx:pt idx="7133">1</cx:pt>
          <cx:pt idx="7134">1</cx:pt>
          <cx:pt idx="7135">0</cx:pt>
          <cx:pt idx="7136">0</cx:pt>
          <cx:pt idx="7137">1</cx:pt>
          <cx:pt idx="7138">1</cx:pt>
          <cx:pt idx="7139">1</cx:pt>
          <cx:pt idx="7140">0</cx:pt>
          <cx:pt idx="7141">0</cx:pt>
          <cx:pt idx="7142">0</cx:pt>
          <cx:pt idx="7143">0</cx:pt>
          <cx:pt idx="7144">0</cx:pt>
          <cx:pt idx="7145">0</cx:pt>
          <cx:pt idx="7146">0</cx:pt>
          <cx:pt idx="7147">0</cx:pt>
          <cx:pt idx="7148">1</cx:pt>
          <cx:pt idx="7149">0</cx:pt>
          <cx:pt idx="7150">1</cx:pt>
          <cx:pt idx="7151">1</cx:pt>
          <cx:pt idx="7152">1</cx:pt>
          <cx:pt idx="7153">1</cx:pt>
          <cx:pt idx="7154">0</cx:pt>
          <cx:pt idx="7155">0</cx:pt>
          <cx:pt idx="7156">0</cx:pt>
          <cx:pt idx="7157">1</cx:pt>
          <cx:pt idx="7158">1</cx:pt>
          <cx:pt idx="7159">0</cx:pt>
          <cx:pt idx="7160">0</cx:pt>
          <cx:pt idx="7161">0</cx:pt>
          <cx:pt idx="7162">0</cx:pt>
          <cx:pt idx="7163">1</cx:pt>
          <cx:pt idx="7164">1</cx:pt>
          <cx:pt idx="7165">0</cx:pt>
          <cx:pt idx="7166">0</cx:pt>
          <cx:pt idx="7167">0</cx:pt>
          <cx:pt idx="7168">0</cx:pt>
          <cx:pt idx="7169">1</cx:pt>
          <cx:pt idx="7170">0</cx:pt>
          <cx:pt idx="7171">0</cx:pt>
          <cx:pt idx="7172">1</cx:pt>
          <cx:pt idx="7173">0</cx:pt>
          <cx:pt idx="7174">0</cx:pt>
          <cx:pt idx="7175">0</cx:pt>
          <cx:pt idx="7176">0</cx:pt>
          <cx:pt idx="7177">0</cx:pt>
          <cx:pt idx="7178">0</cx:pt>
          <cx:pt idx="7179">1</cx:pt>
          <cx:pt idx="7180">0</cx:pt>
          <cx:pt idx="7181">0</cx:pt>
          <cx:pt idx="7182">0</cx:pt>
          <cx:pt idx="7183">0</cx:pt>
          <cx:pt idx="7184">1</cx:pt>
          <cx:pt idx="7185">0</cx:pt>
          <cx:pt idx="7186">0</cx:pt>
          <cx:pt idx="7187">1</cx:pt>
          <cx:pt idx="7188">1</cx:pt>
          <cx:pt idx="7189">0</cx:pt>
          <cx:pt idx="7190">0</cx:pt>
          <cx:pt idx="7191">1</cx:pt>
          <cx:pt idx="7192">0</cx:pt>
          <cx:pt idx="7193">0</cx:pt>
          <cx:pt idx="7194">1</cx:pt>
          <cx:pt idx="7195">0</cx:pt>
          <cx:pt idx="7196">0</cx:pt>
          <cx:pt idx="7197">1</cx:pt>
          <cx:pt idx="7198">1</cx:pt>
          <cx:pt idx="7199">0</cx:pt>
          <cx:pt idx="7200">1</cx:pt>
          <cx:pt idx="7201">0</cx:pt>
          <cx:pt idx="7202">1</cx:pt>
          <cx:pt idx="7203">1</cx:pt>
          <cx:pt idx="7204">0</cx:pt>
          <cx:pt idx="7205">1</cx:pt>
          <cx:pt idx="7206">1</cx:pt>
          <cx:pt idx="7207">1</cx:pt>
          <cx:pt idx="7208">0</cx:pt>
          <cx:pt idx="7209">1</cx:pt>
          <cx:pt idx="7210">0</cx:pt>
          <cx:pt idx="7211">0</cx:pt>
          <cx:pt idx="7212">1</cx:pt>
          <cx:pt idx="7213">0</cx:pt>
          <cx:pt idx="7214">0</cx:pt>
          <cx:pt idx="7215">0</cx:pt>
          <cx:pt idx="7216">0</cx:pt>
          <cx:pt idx="7217">1</cx:pt>
          <cx:pt idx="7218">0</cx:pt>
          <cx:pt idx="7219">1</cx:pt>
          <cx:pt idx="7220">1</cx:pt>
          <cx:pt idx="7221">0</cx:pt>
          <cx:pt idx="7222">0</cx:pt>
          <cx:pt idx="7223">1</cx:pt>
          <cx:pt idx="7224">0</cx:pt>
          <cx:pt idx="7225">1</cx:pt>
          <cx:pt idx="7226">1</cx:pt>
          <cx:pt idx="7227">0</cx:pt>
          <cx:pt idx="7228">1</cx:pt>
          <cx:pt idx="7229">1</cx:pt>
          <cx:pt idx="7230">0</cx:pt>
          <cx:pt idx="7231">1</cx:pt>
          <cx:pt idx="7232">1</cx:pt>
          <cx:pt idx="7233">0</cx:pt>
          <cx:pt idx="7234">1</cx:pt>
          <cx:pt idx="7235">1</cx:pt>
          <cx:pt idx="7236">1</cx:pt>
          <cx:pt idx="7237">0</cx:pt>
          <cx:pt idx="7238">0</cx:pt>
          <cx:pt idx="7239">1</cx:pt>
          <cx:pt idx="7240">0</cx:pt>
          <cx:pt idx="7241">0</cx:pt>
          <cx:pt idx="7242">0</cx:pt>
          <cx:pt idx="7243">0</cx:pt>
          <cx:pt idx="7244">1</cx:pt>
          <cx:pt idx="7245">1</cx:pt>
          <cx:pt idx="7246">1</cx:pt>
          <cx:pt idx="7247">0</cx:pt>
          <cx:pt idx="7248">1</cx:pt>
          <cx:pt idx="7249">0</cx:pt>
          <cx:pt idx="7250">0</cx:pt>
          <cx:pt idx="7251">0</cx:pt>
          <cx:pt idx="7252">0</cx:pt>
          <cx:pt idx="7253">1</cx:pt>
          <cx:pt idx="7254">0</cx:pt>
          <cx:pt idx="7255">0</cx:pt>
          <cx:pt idx="7256">0</cx:pt>
          <cx:pt idx="7257">0</cx:pt>
          <cx:pt idx="7258">0</cx:pt>
          <cx:pt idx="7259">0</cx:pt>
          <cx:pt idx="7260">0</cx:pt>
          <cx:pt idx="7261">0</cx:pt>
          <cx:pt idx="7262">0</cx:pt>
          <cx:pt idx="7263">0</cx:pt>
          <cx:pt idx="7264">0</cx:pt>
          <cx:pt idx="7265">0</cx:pt>
          <cx:pt idx="7266">1</cx:pt>
          <cx:pt idx="7267">0</cx:pt>
          <cx:pt idx="7268">0</cx:pt>
          <cx:pt idx="7269">1</cx:pt>
          <cx:pt idx="7270">0</cx:pt>
          <cx:pt idx="7271">1</cx:pt>
          <cx:pt idx="7272">0</cx:pt>
          <cx:pt idx="7273">1</cx:pt>
          <cx:pt idx="7274">0</cx:pt>
          <cx:pt idx="7275">0</cx:pt>
          <cx:pt idx="7276">0</cx:pt>
          <cx:pt idx="7277">1</cx:pt>
          <cx:pt idx="7278">0</cx:pt>
          <cx:pt idx="7279">0</cx:pt>
          <cx:pt idx="7280">0</cx:pt>
          <cx:pt idx="7281">0</cx:pt>
          <cx:pt idx="7282">0</cx:pt>
          <cx:pt idx="7283">0</cx:pt>
          <cx:pt idx="7284">0</cx:pt>
          <cx:pt idx="7285">0</cx:pt>
          <cx:pt idx="7286">1</cx:pt>
          <cx:pt idx="7287">0</cx:pt>
          <cx:pt idx="7288">0</cx:pt>
          <cx:pt idx="7289">0</cx:pt>
          <cx:pt idx="7290">0</cx:pt>
          <cx:pt idx="7291">0</cx:pt>
          <cx:pt idx="7292">0</cx:pt>
          <cx:pt idx="7293">1</cx:pt>
          <cx:pt idx="7294">0</cx:pt>
          <cx:pt idx="7295">0</cx:pt>
          <cx:pt idx="7296">0</cx:pt>
          <cx:pt idx="7297">0</cx:pt>
          <cx:pt idx="7298">0</cx:pt>
          <cx:pt idx="7299">0</cx:pt>
          <cx:pt idx="7300">0</cx:pt>
          <cx:pt idx="7301">1</cx:pt>
          <cx:pt idx="7302">0</cx:pt>
          <cx:pt idx="7303">0</cx:pt>
          <cx:pt idx="7304">0</cx:pt>
          <cx:pt idx="7305">0</cx:pt>
          <cx:pt idx="7306">1</cx:pt>
          <cx:pt idx="7307">1</cx:pt>
          <cx:pt idx="7308">0</cx:pt>
          <cx:pt idx="7309">0</cx:pt>
          <cx:pt idx="7310">0</cx:pt>
          <cx:pt idx="7311">0</cx:pt>
          <cx:pt idx="7312">1</cx:pt>
          <cx:pt idx="7313">0</cx:pt>
          <cx:pt idx="7314">0</cx:pt>
          <cx:pt idx="7315">0</cx:pt>
          <cx:pt idx="7316">0</cx:pt>
          <cx:pt idx="7317">0</cx:pt>
          <cx:pt idx="7318">1</cx:pt>
          <cx:pt idx="7319">0</cx:pt>
          <cx:pt idx="7320">1</cx:pt>
          <cx:pt idx="7321">1</cx:pt>
          <cx:pt idx="7322">0</cx:pt>
          <cx:pt idx="7323">1</cx:pt>
          <cx:pt idx="7324">1</cx:pt>
          <cx:pt idx="7325">0</cx:pt>
          <cx:pt idx="7326">1</cx:pt>
          <cx:pt idx="7327">1</cx:pt>
          <cx:pt idx="7328">1</cx:pt>
          <cx:pt idx="7329">1</cx:pt>
          <cx:pt idx="7330">1</cx:pt>
          <cx:pt idx="7331">0</cx:pt>
          <cx:pt idx="7332">0</cx:pt>
          <cx:pt idx="7333">0</cx:pt>
          <cx:pt idx="7334">1</cx:pt>
          <cx:pt idx="7335">0</cx:pt>
          <cx:pt idx="7336">1</cx:pt>
          <cx:pt idx="7337">0</cx:pt>
          <cx:pt idx="7338">0</cx:pt>
          <cx:pt idx="7339">0</cx:pt>
          <cx:pt idx="7340">1</cx:pt>
          <cx:pt idx="7341">1</cx:pt>
          <cx:pt idx="7342">0</cx:pt>
          <cx:pt idx="7343">1</cx:pt>
          <cx:pt idx="7344">0</cx:pt>
          <cx:pt idx="7345">0</cx:pt>
          <cx:pt idx="7346">1</cx:pt>
          <cx:pt idx="7347">0</cx:pt>
          <cx:pt idx="7348">0</cx:pt>
          <cx:pt idx="7349">0</cx:pt>
          <cx:pt idx="7350">0</cx:pt>
          <cx:pt idx="7351">1</cx:pt>
          <cx:pt idx="7352">1</cx:pt>
          <cx:pt idx="7353">0</cx:pt>
          <cx:pt idx="7354">0</cx:pt>
          <cx:pt idx="7355">1</cx:pt>
          <cx:pt idx="7356">0</cx:pt>
          <cx:pt idx="7357">0</cx:pt>
          <cx:pt idx="7358">1</cx:pt>
          <cx:pt idx="7359">1</cx:pt>
          <cx:pt idx="7360">1</cx:pt>
          <cx:pt idx="7361">0</cx:pt>
          <cx:pt idx="7362">0</cx:pt>
          <cx:pt idx="7363">0</cx:pt>
          <cx:pt idx="7364">0</cx:pt>
          <cx:pt idx="7365">1</cx:pt>
          <cx:pt idx="7366">0</cx:pt>
          <cx:pt idx="7367">1</cx:pt>
          <cx:pt idx="7368">0</cx:pt>
          <cx:pt idx="7369">1</cx:pt>
          <cx:pt idx="7370">1</cx:pt>
          <cx:pt idx="7371">1</cx:pt>
          <cx:pt idx="7372">1</cx:pt>
          <cx:pt idx="7373">0</cx:pt>
          <cx:pt idx="7374">1</cx:pt>
          <cx:pt idx="7375">0</cx:pt>
          <cx:pt idx="7376">0</cx:pt>
          <cx:pt idx="7377">1</cx:pt>
          <cx:pt idx="7378">1</cx:pt>
          <cx:pt idx="7379">0</cx:pt>
          <cx:pt idx="7380">1</cx:pt>
          <cx:pt idx="7381">1</cx:pt>
          <cx:pt idx="7382">1</cx:pt>
          <cx:pt idx="7383">0</cx:pt>
          <cx:pt idx="7384">1</cx:pt>
          <cx:pt idx="7385">0</cx:pt>
          <cx:pt idx="7386">1</cx:pt>
          <cx:pt idx="7387">0</cx:pt>
          <cx:pt idx="7388">1</cx:pt>
          <cx:pt idx="7389">1</cx:pt>
          <cx:pt idx="7390">1</cx:pt>
          <cx:pt idx="7391">0</cx:pt>
          <cx:pt idx="7392">1</cx:pt>
          <cx:pt idx="7393">1</cx:pt>
          <cx:pt idx="7394">1</cx:pt>
          <cx:pt idx="7395">1</cx:pt>
          <cx:pt idx="7396">0</cx:pt>
          <cx:pt idx="7397">0</cx:pt>
          <cx:pt idx="7398">0</cx:pt>
          <cx:pt idx="7399">0</cx:pt>
          <cx:pt idx="7400">1</cx:pt>
          <cx:pt idx="7401">1</cx:pt>
          <cx:pt idx="7402">0</cx:pt>
          <cx:pt idx="7403">0</cx:pt>
          <cx:pt idx="7404">0</cx:pt>
          <cx:pt idx="7405">0</cx:pt>
          <cx:pt idx="7406">0</cx:pt>
          <cx:pt idx="7407">1</cx:pt>
          <cx:pt idx="7408">0</cx:pt>
          <cx:pt idx="7409">0</cx:pt>
          <cx:pt idx="7410">0</cx:pt>
          <cx:pt idx="7411">1</cx:pt>
          <cx:pt idx="7412">1</cx:pt>
          <cx:pt idx="7413">0</cx:pt>
          <cx:pt idx="7414">0</cx:pt>
          <cx:pt idx="7415">1</cx:pt>
          <cx:pt idx="7416">1</cx:pt>
          <cx:pt idx="7417">1</cx:pt>
          <cx:pt idx="7418">1</cx:pt>
          <cx:pt idx="7419">0</cx:pt>
          <cx:pt idx="7420">0</cx:pt>
          <cx:pt idx="7421">1</cx:pt>
          <cx:pt idx="7422">0</cx:pt>
          <cx:pt idx="7423">0</cx:pt>
          <cx:pt idx="7424">1</cx:pt>
          <cx:pt idx="7425">1</cx:pt>
          <cx:pt idx="7426">1</cx:pt>
          <cx:pt idx="7427">0</cx:pt>
          <cx:pt idx="7428">0</cx:pt>
          <cx:pt idx="7429">0</cx:pt>
          <cx:pt idx="7430">0</cx:pt>
          <cx:pt idx="7431">0</cx:pt>
          <cx:pt idx="7432">0</cx:pt>
          <cx:pt idx="7433">1</cx:pt>
          <cx:pt idx="7434">0</cx:pt>
          <cx:pt idx="7435">1</cx:pt>
          <cx:pt idx="7436">1</cx:pt>
          <cx:pt idx="7437">1</cx:pt>
          <cx:pt idx="7438">0</cx:pt>
          <cx:pt idx="7439">0</cx:pt>
          <cx:pt idx="7440">1</cx:pt>
          <cx:pt idx="7441">1</cx:pt>
          <cx:pt idx="7442">1</cx:pt>
          <cx:pt idx="7443">1</cx:pt>
          <cx:pt idx="7444">0</cx:pt>
          <cx:pt idx="7445">1</cx:pt>
          <cx:pt idx="7446">0</cx:pt>
          <cx:pt idx="7447">0</cx:pt>
          <cx:pt idx="7448">0</cx:pt>
          <cx:pt idx="7449">1</cx:pt>
          <cx:pt idx="7450">0</cx:pt>
          <cx:pt idx="7451">1</cx:pt>
          <cx:pt idx="7452">1</cx:pt>
          <cx:pt idx="7453">0</cx:pt>
          <cx:pt idx="7454">1</cx:pt>
          <cx:pt idx="7455">0</cx:pt>
          <cx:pt idx="7456">0</cx:pt>
          <cx:pt idx="7457">0</cx:pt>
          <cx:pt idx="7458">1</cx:pt>
          <cx:pt idx="7459">0</cx:pt>
          <cx:pt idx="7460">0</cx:pt>
          <cx:pt idx="7461">0</cx:pt>
          <cx:pt idx="7462">1</cx:pt>
          <cx:pt idx="7463">1</cx:pt>
          <cx:pt idx="7464">1</cx:pt>
          <cx:pt idx="7465">1</cx:pt>
          <cx:pt idx="7466">0</cx:pt>
          <cx:pt idx="7467">1</cx:pt>
          <cx:pt idx="7468">0</cx:pt>
          <cx:pt idx="7469">0</cx:pt>
          <cx:pt idx="7470">0</cx:pt>
          <cx:pt idx="7471">0</cx:pt>
          <cx:pt idx="7472">1</cx:pt>
          <cx:pt idx="7473">0</cx:pt>
          <cx:pt idx="7474">0</cx:pt>
          <cx:pt idx="7475">0</cx:pt>
          <cx:pt idx="7476">0</cx:pt>
          <cx:pt idx="7477">0</cx:pt>
          <cx:pt idx="7478">1</cx:pt>
          <cx:pt idx="7479">0</cx:pt>
          <cx:pt idx="7480">0</cx:pt>
          <cx:pt idx="7481">0</cx:pt>
          <cx:pt idx="7482">1</cx:pt>
          <cx:pt idx="7483">1</cx:pt>
          <cx:pt idx="7484">0</cx:pt>
          <cx:pt idx="7485">0</cx:pt>
          <cx:pt idx="7486">0</cx:pt>
          <cx:pt idx="7487">0</cx:pt>
          <cx:pt idx="7488">0</cx:pt>
          <cx:pt idx="7489">0</cx:pt>
          <cx:pt idx="7490">0</cx:pt>
          <cx:pt idx="7491">0</cx:pt>
          <cx:pt idx="7492">0</cx:pt>
          <cx:pt idx="7493">1</cx:pt>
          <cx:pt idx="7494">1</cx:pt>
          <cx:pt idx="7495">1</cx:pt>
          <cx:pt idx="7496">1</cx:pt>
          <cx:pt idx="7497">0</cx:pt>
          <cx:pt idx="7498">0</cx:pt>
          <cx:pt idx="7499">0</cx:pt>
          <cx:pt idx="7500">0</cx:pt>
          <cx:pt idx="7501">0</cx:pt>
          <cx:pt idx="7502">0</cx:pt>
          <cx:pt idx="7503">0</cx:pt>
          <cx:pt idx="7504">1</cx:pt>
          <cx:pt idx="7505">0</cx:pt>
          <cx:pt idx="7506">0</cx:pt>
          <cx:pt idx="7507">0</cx:pt>
          <cx:pt idx="7508">0</cx:pt>
          <cx:pt idx="7509">0</cx:pt>
          <cx:pt idx="7510">1</cx:pt>
          <cx:pt idx="7511">0</cx:pt>
          <cx:pt idx="7512">1</cx:pt>
          <cx:pt idx="7513">0</cx:pt>
          <cx:pt idx="7514">0</cx:pt>
          <cx:pt idx="7515">0</cx:pt>
          <cx:pt idx="7516">1</cx:pt>
          <cx:pt idx="7517">0</cx:pt>
          <cx:pt idx="7518">0</cx:pt>
          <cx:pt idx="7519">1</cx:pt>
          <cx:pt idx="7520">1</cx:pt>
          <cx:pt idx="7521">0</cx:pt>
          <cx:pt idx="7522">1</cx:pt>
          <cx:pt idx="7523">1</cx:pt>
          <cx:pt idx="7524">1</cx:pt>
          <cx:pt idx="7525">0</cx:pt>
          <cx:pt idx="7526">0</cx:pt>
          <cx:pt idx="7527">0</cx:pt>
          <cx:pt idx="7528">0</cx:pt>
          <cx:pt idx="7529">1</cx:pt>
          <cx:pt idx="7530">0</cx:pt>
          <cx:pt idx="7531">0</cx:pt>
          <cx:pt idx="7532">0</cx:pt>
          <cx:pt idx="7533">0</cx:pt>
          <cx:pt idx="7534">0</cx:pt>
          <cx:pt idx="7535">1</cx:pt>
          <cx:pt idx="7536">0</cx:pt>
          <cx:pt idx="7537">0</cx:pt>
          <cx:pt idx="7538">0</cx:pt>
          <cx:pt idx="7539">1</cx:pt>
          <cx:pt idx="7540">0</cx:pt>
          <cx:pt idx="7541">0</cx:pt>
          <cx:pt idx="7542">0</cx:pt>
          <cx:pt idx="7543">1</cx:pt>
          <cx:pt idx="7544">1</cx:pt>
          <cx:pt idx="7545">0</cx:pt>
          <cx:pt idx="7546">1</cx:pt>
          <cx:pt idx="7547">0</cx:pt>
          <cx:pt idx="7548">0</cx:pt>
          <cx:pt idx="7549">1</cx:pt>
          <cx:pt idx="7550">0</cx:pt>
          <cx:pt idx="7551">1</cx:pt>
          <cx:pt idx="7552">1</cx:pt>
          <cx:pt idx="7553">0</cx:pt>
          <cx:pt idx="7554">0</cx:pt>
          <cx:pt idx="7555">1</cx:pt>
          <cx:pt idx="7556">1</cx:pt>
          <cx:pt idx="7557">0</cx:pt>
          <cx:pt idx="7558">0</cx:pt>
          <cx:pt idx="7559">0</cx:pt>
          <cx:pt idx="7560">1</cx:pt>
          <cx:pt idx="7561">0</cx:pt>
          <cx:pt idx="7562">1</cx:pt>
          <cx:pt idx="7563">1</cx:pt>
          <cx:pt idx="7564">0</cx:pt>
          <cx:pt idx="7565">0</cx:pt>
          <cx:pt idx="7566">0</cx:pt>
          <cx:pt idx="7567">0</cx:pt>
          <cx:pt idx="7568">0</cx:pt>
          <cx:pt idx="7569">1</cx:pt>
          <cx:pt idx="7570">1</cx:pt>
          <cx:pt idx="7571">0</cx:pt>
          <cx:pt idx="7572">0</cx:pt>
          <cx:pt idx="7573">0</cx:pt>
          <cx:pt idx="7574">1</cx:pt>
          <cx:pt idx="7575">1</cx:pt>
          <cx:pt idx="7576">0</cx:pt>
          <cx:pt idx="7577">1</cx:pt>
          <cx:pt idx="7578">0</cx:pt>
          <cx:pt idx="7579">1</cx:pt>
          <cx:pt idx="7580">0</cx:pt>
          <cx:pt idx="7581">1</cx:pt>
          <cx:pt idx="7582">1</cx:pt>
          <cx:pt idx="7583">1</cx:pt>
          <cx:pt idx="7584">0</cx:pt>
          <cx:pt idx="7585">0</cx:pt>
          <cx:pt idx="7586">1</cx:pt>
          <cx:pt idx="7587">1</cx:pt>
          <cx:pt idx="7588">1</cx:pt>
          <cx:pt idx="7589">0</cx:pt>
          <cx:pt idx="7590">0</cx:pt>
          <cx:pt idx="7591">1</cx:pt>
          <cx:pt idx="7592">0</cx:pt>
          <cx:pt idx="7593">1</cx:pt>
          <cx:pt idx="7594">0</cx:pt>
          <cx:pt idx="7595">0</cx:pt>
          <cx:pt idx="7596">0</cx:pt>
          <cx:pt idx="7597">1</cx:pt>
          <cx:pt idx="7598">0</cx:pt>
          <cx:pt idx="7599">0</cx:pt>
          <cx:pt idx="7600">0</cx:pt>
          <cx:pt idx="7601">0</cx:pt>
          <cx:pt idx="7602">1</cx:pt>
          <cx:pt idx="7603">0</cx:pt>
          <cx:pt idx="7604">1</cx:pt>
          <cx:pt idx="7605">0</cx:pt>
          <cx:pt idx="7606">0</cx:pt>
          <cx:pt idx="7607">0</cx:pt>
          <cx:pt idx="7608">1</cx:pt>
          <cx:pt idx="7609">0</cx:pt>
          <cx:pt idx="7610">1</cx:pt>
          <cx:pt idx="7611">0</cx:pt>
          <cx:pt idx="7612">0</cx:pt>
          <cx:pt idx="7613">0</cx:pt>
          <cx:pt idx="7614">0</cx:pt>
          <cx:pt idx="7615">0</cx:pt>
          <cx:pt idx="7616">1</cx:pt>
          <cx:pt idx="7617">0</cx:pt>
          <cx:pt idx="7618">0</cx:pt>
          <cx:pt idx="7619">0</cx:pt>
          <cx:pt idx="7620">0</cx:pt>
          <cx:pt idx="7621">1</cx:pt>
          <cx:pt idx="7622">1</cx:pt>
          <cx:pt idx="7623">0</cx:pt>
          <cx:pt idx="7624">0</cx:pt>
          <cx:pt idx="7625">0</cx:pt>
          <cx:pt idx="7626">1</cx:pt>
          <cx:pt idx="7627">0</cx:pt>
          <cx:pt idx="7628">1</cx:pt>
          <cx:pt idx="7629">0</cx:pt>
          <cx:pt idx="7630">1</cx:pt>
          <cx:pt idx="7631">0</cx:pt>
          <cx:pt idx="7632">1</cx:pt>
          <cx:pt idx="7633">1</cx:pt>
          <cx:pt idx="7634">0</cx:pt>
          <cx:pt idx="7635">0</cx:pt>
          <cx:pt idx="7636">0</cx:pt>
          <cx:pt idx="7637">0</cx:pt>
          <cx:pt idx="7638">0</cx:pt>
          <cx:pt idx="7639">1</cx:pt>
          <cx:pt idx="7640">1</cx:pt>
          <cx:pt idx="7641">0</cx:pt>
          <cx:pt idx="7642">1</cx:pt>
          <cx:pt idx="7643">0</cx:pt>
          <cx:pt idx="7644">1</cx:pt>
          <cx:pt idx="7645">1</cx:pt>
          <cx:pt idx="7646">1</cx:pt>
          <cx:pt idx="7647">0</cx:pt>
          <cx:pt idx="7648">0</cx:pt>
          <cx:pt idx="7649">1</cx:pt>
          <cx:pt idx="7650">0</cx:pt>
          <cx:pt idx="7651">1</cx:pt>
          <cx:pt idx="7652">0</cx:pt>
          <cx:pt idx="7653">0</cx:pt>
          <cx:pt idx="7654">0</cx:pt>
          <cx:pt idx="7655">0</cx:pt>
          <cx:pt idx="7656">0</cx:pt>
          <cx:pt idx="7657">0</cx:pt>
          <cx:pt idx="7658">0</cx:pt>
          <cx:pt idx="7659">1</cx:pt>
          <cx:pt idx="7660">1</cx:pt>
          <cx:pt idx="7661">1</cx:pt>
          <cx:pt idx="7662">0</cx:pt>
          <cx:pt idx="7663">0</cx:pt>
          <cx:pt idx="7664">0</cx:pt>
          <cx:pt idx="7665">1</cx:pt>
          <cx:pt idx="7666">0</cx:pt>
          <cx:pt idx="7667">0</cx:pt>
          <cx:pt idx="7668">1</cx:pt>
          <cx:pt idx="7669">1</cx:pt>
          <cx:pt idx="7670">1</cx:pt>
          <cx:pt idx="7671">0</cx:pt>
          <cx:pt idx="7672">0</cx:pt>
          <cx:pt idx="7673">0</cx:pt>
          <cx:pt idx="7674">0</cx:pt>
          <cx:pt idx="7675">1</cx:pt>
          <cx:pt idx="7676">0</cx:pt>
          <cx:pt idx="7677">1</cx:pt>
          <cx:pt idx="7678">1</cx:pt>
          <cx:pt idx="7679">0</cx:pt>
          <cx:pt idx="7680">1</cx:pt>
          <cx:pt idx="7681">0</cx:pt>
          <cx:pt idx="7682">1</cx:pt>
          <cx:pt idx="7683">1</cx:pt>
          <cx:pt idx="7684">1</cx:pt>
          <cx:pt idx="7685">1</cx:pt>
          <cx:pt idx="7686">0</cx:pt>
          <cx:pt idx="7687">0</cx:pt>
          <cx:pt idx="7688">1</cx:pt>
          <cx:pt idx="7689">0</cx:pt>
          <cx:pt idx="7690">1</cx:pt>
          <cx:pt idx="7691">0</cx:pt>
          <cx:pt idx="7692">0</cx:pt>
          <cx:pt idx="7693">0</cx:pt>
          <cx:pt idx="7694">0</cx:pt>
          <cx:pt idx="7695">1</cx:pt>
          <cx:pt idx="7696">1</cx:pt>
          <cx:pt idx="7697">1</cx:pt>
          <cx:pt idx="7698">1</cx:pt>
          <cx:pt idx="7699">1</cx:pt>
          <cx:pt idx="7700">0</cx:pt>
          <cx:pt idx="7701">0</cx:pt>
          <cx:pt idx="7702">0</cx:pt>
          <cx:pt idx="7703">0</cx:pt>
          <cx:pt idx="7704">1</cx:pt>
          <cx:pt idx="7705">1</cx:pt>
          <cx:pt idx="7706">0</cx:pt>
          <cx:pt idx="7707">0</cx:pt>
          <cx:pt idx="7708">0</cx:pt>
          <cx:pt idx="7709">1</cx:pt>
          <cx:pt idx="7710">0</cx:pt>
          <cx:pt idx="7711">0</cx:pt>
          <cx:pt idx="7712">1</cx:pt>
          <cx:pt idx="7713">0</cx:pt>
          <cx:pt idx="7714">1</cx:pt>
          <cx:pt idx="7715">0</cx:pt>
          <cx:pt idx="7716">0</cx:pt>
          <cx:pt idx="7717">0</cx:pt>
          <cx:pt idx="7718">0</cx:pt>
          <cx:pt idx="7719">1</cx:pt>
          <cx:pt idx="7720">1</cx:pt>
          <cx:pt idx="7721">1</cx:pt>
          <cx:pt idx="7722">0</cx:pt>
          <cx:pt idx="7723">1</cx:pt>
          <cx:pt idx="7724">0</cx:pt>
          <cx:pt idx="7725">1</cx:pt>
          <cx:pt idx="7726">1</cx:pt>
          <cx:pt idx="7727">0</cx:pt>
          <cx:pt idx="7728">1</cx:pt>
          <cx:pt idx="7729">0</cx:pt>
          <cx:pt idx="7730">1</cx:pt>
          <cx:pt idx="7731">0</cx:pt>
          <cx:pt idx="7732">1</cx:pt>
          <cx:pt idx="7733">1</cx:pt>
          <cx:pt idx="7734">0</cx:pt>
          <cx:pt idx="7735">0</cx:pt>
          <cx:pt idx="7736">0</cx:pt>
          <cx:pt idx="7737">1</cx:pt>
          <cx:pt idx="7738">0</cx:pt>
          <cx:pt idx="7739">0</cx:pt>
          <cx:pt idx="7740">0</cx:pt>
          <cx:pt idx="7741">1</cx:pt>
          <cx:pt idx="7742">0</cx:pt>
          <cx:pt idx="7743">0</cx:pt>
          <cx:pt idx="7744">1</cx:pt>
          <cx:pt idx="7745">1</cx:pt>
          <cx:pt idx="7746">0</cx:pt>
          <cx:pt idx="7747">1</cx:pt>
          <cx:pt idx="7748">1</cx:pt>
          <cx:pt idx="7749">1</cx:pt>
          <cx:pt idx="7750">1</cx:pt>
          <cx:pt idx="7751">0</cx:pt>
          <cx:pt idx="7752">1</cx:pt>
          <cx:pt idx="7753">0</cx:pt>
          <cx:pt idx="7754">0</cx:pt>
          <cx:pt idx="7755">0</cx:pt>
          <cx:pt idx="7756">1</cx:pt>
          <cx:pt idx="7757">1</cx:pt>
          <cx:pt idx="7758">0</cx:pt>
          <cx:pt idx="7759">0</cx:pt>
          <cx:pt idx="7760">1</cx:pt>
          <cx:pt idx="7761">1</cx:pt>
          <cx:pt idx="7762">0</cx:pt>
          <cx:pt idx="7763">1</cx:pt>
          <cx:pt idx="7764">1</cx:pt>
          <cx:pt idx="7765">0</cx:pt>
          <cx:pt idx="7766">1</cx:pt>
          <cx:pt idx="7767">1</cx:pt>
          <cx:pt idx="7768">0</cx:pt>
          <cx:pt idx="7769">0</cx:pt>
          <cx:pt idx="7770">0</cx:pt>
          <cx:pt idx="7771">0</cx:pt>
          <cx:pt idx="7772">0</cx:pt>
          <cx:pt idx="7773">0</cx:pt>
          <cx:pt idx="7774">0</cx:pt>
          <cx:pt idx="7775">0</cx:pt>
          <cx:pt idx="7776">0</cx:pt>
          <cx:pt idx="7777">1</cx:pt>
          <cx:pt idx="7778">1</cx:pt>
          <cx:pt idx="7779">1</cx:pt>
          <cx:pt idx="7780">1</cx:pt>
          <cx:pt idx="7781">0</cx:pt>
          <cx:pt idx="7782">0</cx:pt>
          <cx:pt idx="7783">1</cx:pt>
          <cx:pt idx="7784">1</cx:pt>
          <cx:pt idx="7785">1</cx:pt>
          <cx:pt idx="7786">1</cx:pt>
          <cx:pt idx="7787">1</cx:pt>
          <cx:pt idx="7788">0</cx:pt>
          <cx:pt idx="7789">0</cx:pt>
          <cx:pt idx="7790">0</cx:pt>
          <cx:pt idx="7791">0</cx:pt>
          <cx:pt idx="7792">1</cx:pt>
          <cx:pt idx="7793">0</cx:pt>
          <cx:pt idx="7794">0</cx:pt>
          <cx:pt idx="7795">1</cx:pt>
          <cx:pt idx="7796">1</cx:pt>
          <cx:pt idx="7797">0</cx:pt>
          <cx:pt idx="7798">1</cx:pt>
          <cx:pt idx="7799">0</cx:pt>
          <cx:pt idx="7800">1</cx:pt>
          <cx:pt idx="7801">1</cx:pt>
          <cx:pt idx="7802">0</cx:pt>
          <cx:pt idx="7803">0</cx:pt>
          <cx:pt idx="7804">0</cx:pt>
          <cx:pt idx="7805">0</cx:pt>
          <cx:pt idx="7806">1</cx:pt>
          <cx:pt idx="7807">0</cx:pt>
          <cx:pt idx="7808">1</cx:pt>
          <cx:pt idx="7809">0</cx:pt>
          <cx:pt idx="7810">1</cx:pt>
          <cx:pt idx="7811">1</cx:pt>
          <cx:pt idx="7812">0</cx:pt>
          <cx:pt idx="7813">0</cx:pt>
          <cx:pt idx="7814">0</cx:pt>
          <cx:pt idx="7815">0</cx:pt>
          <cx:pt idx="7816">0</cx:pt>
          <cx:pt idx="7817">1</cx:pt>
          <cx:pt idx="7818">0</cx:pt>
          <cx:pt idx="7819">0</cx:pt>
          <cx:pt idx="7820">1</cx:pt>
          <cx:pt idx="7821">0</cx:pt>
          <cx:pt idx="7822">1</cx:pt>
          <cx:pt idx="7823">1</cx:pt>
          <cx:pt idx="7824">1</cx:pt>
          <cx:pt idx="7825">0</cx:pt>
          <cx:pt idx="7826">0</cx:pt>
          <cx:pt idx="7827">0</cx:pt>
          <cx:pt idx="7828">0</cx:pt>
          <cx:pt idx="7829">0</cx:pt>
          <cx:pt idx="7830">0</cx:pt>
          <cx:pt idx="7831">0</cx:pt>
          <cx:pt idx="7832">0</cx:pt>
          <cx:pt idx="7833">1</cx:pt>
          <cx:pt idx="7834">0</cx:pt>
          <cx:pt idx="7835">1</cx:pt>
          <cx:pt idx="7836">0</cx:pt>
          <cx:pt idx="7837">1</cx:pt>
          <cx:pt idx="7838">1</cx:pt>
          <cx:pt idx="7839">1</cx:pt>
          <cx:pt idx="7840">1</cx:pt>
          <cx:pt idx="7841">0</cx:pt>
          <cx:pt idx="7842">1</cx:pt>
          <cx:pt idx="7843">0</cx:pt>
          <cx:pt idx="7844">0</cx:pt>
          <cx:pt idx="7845">0</cx:pt>
          <cx:pt idx="7846">1</cx:pt>
          <cx:pt idx="7847">0</cx:pt>
          <cx:pt idx="7848">0</cx:pt>
          <cx:pt idx="7849">0</cx:pt>
          <cx:pt idx="7850">0</cx:pt>
          <cx:pt idx="7851">0</cx:pt>
          <cx:pt idx="7852">0</cx:pt>
          <cx:pt idx="7853">1</cx:pt>
          <cx:pt idx="7854">1</cx:pt>
          <cx:pt idx="7855">0</cx:pt>
          <cx:pt idx="7856">0</cx:pt>
          <cx:pt idx="7857">1</cx:pt>
          <cx:pt idx="7858">0</cx:pt>
          <cx:pt idx="7859">0</cx:pt>
          <cx:pt idx="7860">1</cx:pt>
          <cx:pt idx="7861">0</cx:pt>
          <cx:pt idx="7862">0</cx:pt>
          <cx:pt idx="7863">1</cx:pt>
          <cx:pt idx="7864">1</cx:pt>
          <cx:pt idx="7865">0</cx:pt>
          <cx:pt idx="7866">1</cx:pt>
          <cx:pt idx="7867">0</cx:pt>
          <cx:pt idx="7868">0</cx:pt>
          <cx:pt idx="7869">0</cx:pt>
          <cx:pt idx="7870">0</cx:pt>
          <cx:pt idx="7871">0</cx:pt>
          <cx:pt idx="7872">0</cx:pt>
          <cx:pt idx="7873">1</cx:pt>
          <cx:pt idx="7874">0</cx:pt>
          <cx:pt idx="7875">0</cx:pt>
          <cx:pt idx="7876">1</cx:pt>
          <cx:pt idx="7877">0</cx:pt>
          <cx:pt idx="7878">0</cx:pt>
          <cx:pt idx="7879">0</cx:pt>
          <cx:pt idx="7880">0</cx:pt>
          <cx:pt idx="7881">0</cx:pt>
          <cx:pt idx="7882">0</cx:pt>
          <cx:pt idx="7883">1</cx:pt>
          <cx:pt idx="7884">1</cx:pt>
          <cx:pt idx="7885">0</cx:pt>
          <cx:pt idx="7886">1</cx:pt>
          <cx:pt idx="7887">0</cx:pt>
          <cx:pt idx="7888">0</cx:pt>
          <cx:pt idx="7889">1</cx:pt>
          <cx:pt idx="7890">0</cx:pt>
          <cx:pt idx="7891">0</cx:pt>
          <cx:pt idx="7892">1</cx:pt>
          <cx:pt idx="7893">0</cx:pt>
          <cx:pt idx="7894">0</cx:pt>
          <cx:pt idx="7895">0</cx:pt>
          <cx:pt idx="7896">0</cx:pt>
          <cx:pt idx="7897">0</cx:pt>
          <cx:pt idx="7898">0</cx:pt>
          <cx:pt idx="7899">0</cx:pt>
          <cx:pt idx="7900">0</cx:pt>
          <cx:pt idx="7901">0</cx:pt>
          <cx:pt idx="7902">0</cx:pt>
          <cx:pt idx="7903">1</cx:pt>
          <cx:pt idx="7904">0</cx:pt>
          <cx:pt idx="7905">1</cx:pt>
          <cx:pt idx="7906">0</cx:pt>
          <cx:pt idx="7907">0</cx:pt>
          <cx:pt idx="7908">1</cx:pt>
          <cx:pt idx="7909">1</cx:pt>
          <cx:pt idx="7910">1</cx:pt>
          <cx:pt idx="7911">1</cx:pt>
          <cx:pt idx="7912">0</cx:pt>
          <cx:pt idx="7913">1</cx:pt>
          <cx:pt idx="7914">0</cx:pt>
          <cx:pt idx="7915">0</cx:pt>
          <cx:pt idx="7916">1</cx:pt>
          <cx:pt idx="7917">1</cx:pt>
          <cx:pt idx="7918">0</cx:pt>
          <cx:pt idx="7919">0</cx:pt>
          <cx:pt idx="7920">0</cx:pt>
          <cx:pt idx="7921">0</cx:pt>
          <cx:pt idx="7922">0</cx:pt>
          <cx:pt idx="7923">0</cx:pt>
          <cx:pt idx="7924">1</cx:pt>
          <cx:pt idx="7925">1</cx:pt>
          <cx:pt idx="7926">1</cx:pt>
          <cx:pt idx="7927">0</cx:pt>
          <cx:pt idx="7928">1</cx:pt>
          <cx:pt idx="7929">1</cx:pt>
          <cx:pt idx="7930">1</cx:pt>
          <cx:pt idx="7931">0</cx:pt>
          <cx:pt idx="7932">1</cx:pt>
          <cx:pt idx="7933">0</cx:pt>
          <cx:pt idx="7934">0</cx:pt>
          <cx:pt idx="7935">1</cx:pt>
          <cx:pt idx="7936">1</cx:pt>
          <cx:pt idx="7937">1</cx:pt>
          <cx:pt idx="7938">1</cx:pt>
          <cx:pt idx="7939">1</cx:pt>
          <cx:pt idx="7940">0</cx:pt>
          <cx:pt idx="7941">1</cx:pt>
          <cx:pt idx="7942">1</cx:pt>
          <cx:pt idx="7943">0</cx:pt>
          <cx:pt idx="7944">0</cx:pt>
          <cx:pt idx="7945">1</cx:pt>
          <cx:pt idx="7946">1</cx:pt>
          <cx:pt idx="7947">0</cx:pt>
          <cx:pt idx="7948">1</cx:pt>
          <cx:pt idx="7949">0</cx:pt>
          <cx:pt idx="7950">1</cx:pt>
          <cx:pt idx="7951">0</cx:pt>
          <cx:pt idx="7952">0</cx:pt>
          <cx:pt idx="7953">0</cx:pt>
          <cx:pt idx="7954">0</cx:pt>
          <cx:pt idx="7955">0</cx:pt>
          <cx:pt idx="7956">1</cx:pt>
          <cx:pt idx="7957">1</cx:pt>
          <cx:pt idx="7958">1</cx:pt>
          <cx:pt idx="7959">1</cx:pt>
          <cx:pt idx="7960">1</cx:pt>
          <cx:pt idx="7961">0</cx:pt>
          <cx:pt idx="7962">0</cx:pt>
          <cx:pt idx="7963">1</cx:pt>
          <cx:pt idx="7964">0</cx:pt>
          <cx:pt idx="7965">0</cx:pt>
          <cx:pt idx="7966">0</cx:pt>
          <cx:pt idx="7967">0</cx:pt>
          <cx:pt idx="7968">0</cx:pt>
          <cx:pt idx="7969">1</cx:pt>
          <cx:pt idx="7970">1</cx:pt>
          <cx:pt idx="7971">0</cx:pt>
          <cx:pt idx="7972">0</cx:pt>
          <cx:pt idx="7973">0</cx:pt>
          <cx:pt idx="7974">0</cx:pt>
          <cx:pt idx="7975">1</cx:pt>
          <cx:pt idx="7976">0</cx:pt>
          <cx:pt idx="7977">1</cx:pt>
          <cx:pt idx="7978">0</cx:pt>
          <cx:pt idx="7979">0</cx:pt>
          <cx:pt idx="7980">1</cx:pt>
          <cx:pt idx="7981">0</cx:pt>
          <cx:pt idx="7982">0</cx:pt>
          <cx:pt idx="7983">0</cx:pt>
          <cx:pt idx="7984">0</cx:pt>
          <cx:pt idx="7985">0</cx:pt>
          <cx:pt idx="7986">0</cx:pt>
          <cx:pt idx="7987">0</cx:pt>
          <cx:pt idx="7988">1</cx:pt>
          <cx:pt idx="7989">1</cx:pt>
          <cx:pt idx="7990">0</cx:pt>
          <cx:pt idx="7991">0</cx:pt>
          <cx:pt idx="7992">0</cx:pt>
          <cx:pt idx="7993">1</cx:pt>
          <cx:pt idx="7994">0</cx:pt>
          <cx:pt idx="7995">1</cx:pt>
          <cx:pt idx="7996">1</cx:pt>
          <cx:pt idx="7997">1</cx:pt>
          <cx:pt idx="7998">1</cx:pt>
          <cx:pt idx="7999">0</cx:pt>
          <cx:pt idx="8000">1</cx:pt>
          <cx:pt idx="8001">0</cx:pt>
          <cx:pt idx="8002">0</cx:pt>
          <cx:pt idx="8003">0</cx:pt>
          <cx:pt idx="8004">0</cx:pt>
          <cx:pt idx="8005">0</cx:pt>
          <cx:pt idx="8006">0</cx:pt>
          <cx:pt idx="8007">0</cx:pt>
          <cx:pt idx="8008">1</cx:pt>
          <cx:pt idx="8009">0</cx:pt>
          <cx:pt idx="8010">0</cx:pt>
          <cx:pt idx="8011">1</cx:pt>
          <cx:pt idx="8012">0</cx:pt>
          <cx:pt idx="8013">0</cx:pt>
          <cx:pt idx="8014">1</cx:pt>
          <cx:pt idx="8015">0</cx:pt>
          <cx:pt idx="8016">0</cx:pt>
          <cx:pt idx="8017">0</cx:pt>
          <cx:pt idx="8018">1</cx:pt>
          <cx:pt idx="8019">0</cx:pt>
          <cx:pt idx="8020">0</cx:pt>
          <cx:pt idx="8021">0</cx:pt>
          <cx:pt idx="8022">0</cx:pt>
          <cx:pt idx="8023">0</cx:pt>
          <cx:pt idx="8024">0</cx:pt>
          <cx:pt idx="8025">1</cx:pt>
          <cx:pt idx="8026">0</cx:pt>
          <cx:pt idx="8027">0</cx:pt>
          <cx:pt idx="8028">1</cx:pt>
          <cx:pt idx="8029">1</cx:pt>
          <cx:pt idx="8030">0</cx:pt>
          <cx:pt idx="8031">0</cx:pt>
          <cx:pt idx="8032">0</cx:pt>
          <cx:pt idx="8033">0</cx:pt>
          <cx:pt idx="8034">1</cx:pt>
          <cx:pt idx="8035">1</cx:pt>
          <cx:pt idx="8036">0</cx:pt>
          <cx:pt idx="8037">1</cx:pt>
          <cx:pt idx="8038">0</cx:pt>
          <cx:pt idx="8039">0</cx:pt>
          <cx:pt idx="8040">0</cx:pt>
          <cx:pt idx="8041">0</cx:pt>
          <cx:pt idx="8042">1</cx:pt>
          <cx:pt idx="8043">0</cx:pt>
          <cx:pt idx="8044">1</cx:pt>
          <cx:pt idx="8045">0</cx:pt>
          <cx:pt idx="8046">0</cx:pt>
          <cx:pt idx="8047">1</cx:pt>
          <cx:pt idx="8048">0</cx:pt>
          <cx:pt idx="8049">1</cx:pt>
          <cx:pt idx="8050">1</cx:pt>
          <cx:pt idx="8051">1</cx:pt>
          <cx:pt idx="8052">1</cx:pt>
          <cx:pt idx="8053">1</cx:pt>
          <cx:pt idx="8054">0</cx:pt>
          <cx:pt idx="8055">1</cx:pt>
          <cx:pt idx="8056">0</cx:pt>
          <cx:pt idx="8057">0</cx:pt>
          <cx:pt idx="8058">1</cx:pt>
          <cx:pt idx="8059">0</cx:pt>
          <cx:pt idx="8060">0</cx:pt>
          <cx:pt idx="8061">1</cx:pt>
          <cx:pt idx="8062">1</cx:pt>
          <cx:pt idx="8063">0</cx:pt>
          <cx:pt idx="8064">0</cx:pt>
          <cx:pt idx="8065">0</cx:pt>
          <cx:pt idx="8066">1</cx:pt>
          <cx:pt idx="8067">0</cx:pt>
          <cx:pt idx="8068">1</cx:pt>
          <cx:pt idx="8069">1</cx:pt>
          <cx:pt idx="8070">1</cx:pt>
          <cx:pt idx="8071">0</cx:pt>
          <cx:pt idx="8072">1</cx:pt>
          <cx:pt idx="8073">1</cx:pt>
          <cx:pt idx="8074">0</cx:pt>
          <cx:pt idx="8075">0</cx:pt>
          <cx:pt idx="8076">1</cx:pt>
          <cx:pt idx="8077">0</cx:pt>
          <cx:pt idx="8078">0</cx:pt>
          <cx:pt idx="8079">0</cx:pt>
          <cx:pt idx="8080">0</cx:pt>
          <cx:pt idx="8081">0</cx:pt>
          <cx:pt idx="8082">0</cx:pt>
          <cx:pt idx="8083">1</cx:pt>
          <cx:pt idx="8084">1</cx:pt>
          <cx:pt idx="8085">0</cx:pt>
          <cx:pt idx="8086">0</cx:pt>
          <cx:pt idx="8087">0</cx:pt>
          <cx:pt idx="8088">1</cx:pt>
          <cx:pt idx="8089">0</cx:pt>
          <cx:pt idx="8090">0</cx:pt>
          <cx:pt idx="8091">1</cx:pt>
          <cx:pt idx="8092">0</cx:pt>
          <cx:pt idx="8093">0</cx:pt>
          <cx:pt idx="8094">0</cx:pt>
          <cx:pt idx="8095">0</cx:pt>
          <cx:pt idx="8096">1</cx:pt>
          <cx:pt idx="8097">0</cx:pt>
          <cx:pt idx="8098">1</cx:pt>
          <cx:pt idx="8099">1</cx:pt>
          <cx:pt idx="8100">0</cx:pt>
          <cx:pt idx="8101">0</cx:pt>
          <cx:pt idx="8102">0</cx:pt>
          <cx:pt idx="8103">1</cx:pt>
          <cx:pt idx="8104">1</cx:pt>
          <cx:pt idx="8105">1</cx:pt>
          <cx:pt idx="8106">0</cx:pt>
          <cx:pt idx="8107">1</cx:pt>
          <cx:pt idx="8108">0</cx:pt>
          <cx:pt idx="8109">1</cx:pt>
          <cx:pt idx="8110">0</cx:pt>
          <cx:pt idx="8111">1</cx:pt>
          <cx:pt idx="8112">1</cx:pt>
          <cx:pt idx="8113">0</cx:pt>
          <cx:pt idx="8114">0</cx:pt>
          <cx:pt idx="8115">0</cx:pt>
          <cx:pt idx="8116">1</cx:pt>
          <cx:pt idx="8117">0</cx:pt>
          <cx:pt idx="8118">1</cx:pt>
          <cx:pt idx="8119">1</cx:pt>
          <cx:pt idx="8120">0</cx:pt>
          <cx:pt idx="8121">0</cx:pt>
          <cx:pt idx="8122">1</cx:pt>
          <cx:pt idx="8123">0</cx:pt>
          <cx:pt idx="8124">0</cx:pt>
          <cx:pt idx="8125">1</cx:pt>
          <cx:pt idx="8126">0</cx:pt>
          <cx:pt idx="8127">0</cx:pt>
          <cx:pt idx="8128">1</cx:pt>
          <cx:pt idx="8129">0</cx:pt>
          <cx:pt idx="8130">0</cx:pt>
          <cx:pt idx="8131">0</cx:pt>
          <cx:pt idx="8132">1</cx:pt>
          <cx:pt idx="8133">1</cx:pt>
          <cx:pt idx="8134">1</cx:pt>
          <cx:pt idx="8135">1</cx:pt>
          <cx:pt idx="8136">0</cx:pt>
          <cx:pt idx="8137">0</cx:pt>
          <cx:pt idx="8138">1</cx:pt>
          <cx:pt idx="8139">1</cx:pt>
          <cx:pt idx="8140">0</cx:pt>
          <cx:pt idx="8141">1</cx:pt>
          <cx:pt idx="8142">0</cx:pt>
          <cx:pt idx="8143">0</cx:pt>
          <cx:pt idx="8144">1</cx:pt>
          <cx:pt idx="8145">1</cx:pt>
          <cx:pt idx="8146">1</cx:pt>
          <cx:pt idx="8147">1</cx:pt>
          <cx:pt idx="8148">1</cx:pt>
          <cx:pt idx="8149">1</cx:pt>
          <cx:pt idx="8150">0</cx:pt>
          <cx:pt idx="8151">0</cx:pt>
          <cx:pt idx="8152">1</cx:pt>
          <cx:pt idx="8153">0</cx:pt>
          <cx:pt idx="8154">0</cx:pt>
          <cx:pt idx="8155">1</cx:pt>
          <cx:pt idx="8156">1</cx:pt>
          <cx:pt idx="8157">1</cx:pt>
          <cx:pt idx="8158">0</cx:pt>
          <cx:pt idx="8159">0</cx:pt>
          <cx:pt idx="8160">1</cx:pt>
          <cx:pt idx="8161">0</cx:pt>
          <cx:pt idx="8162">1</cx:pt>
          <cx:pt idx="8163">0</cx:pt>
          <cx:pt idx="8164">1</cx:pt>
          <cx:pt idx="8165">1</cx:pt>
          <cx:pt idx="8166">1</cx:pt>
          <cx:pt idx="8167">0</cx:pt>
          <cx:pt idx="8168">0</cx:pt>
          <cx:pt idx="8169">0</cx:pt>
          <cx:pt idx="8170">1</cx:pt>
          <cx:pt idx="8171">0</cx:pt>
          <cx:pt idx="8172">0</cx:pt>
          <cx:pt idx="8173">0</cx:pt>
          <cx:pt idx="8174">0</cx:pt>
          <cx:pt idx="8175">1</cx:pt>
          <cx:pt idx="8176">1</cx:pt>
          <cx:pt idx="8177">1</cx:pt>
          <cx:pt idx="8178">0</cx:pt>
          <cx:pt idx="8179">0</cx:pt>
          <cx:pt idx="8180">0</cx:pt>
          <cx:pt idx="8181">0</cx:pt>
          <cx:pt idx="8182">1</cx:pt>
          <cx:pt idx="8183">0</cx:pt>
          <cx:pt idx="8184">0</cx:pt>
          <cx:pt idx="8185">0</cx:pt>
          <cx:pt idx="8186">0</cx:pt>
          <cx:pt idx="8187">0</cx:pt>
          <cx:pt idx="8188">1</cx:pt>
          <cx:pt idx="8189">0</cx:pt>
          <cx:pt idx="8190">0</cx:pt>
          <cx:pt idx="8191">1</cx:pt>
          <cx:pt idx="8192">0</cx:pt>
          <cx:pt idx="8193">1</cx:pt>
          <cx:pt idx="8194">0</cx:pt>
          <cx:pt idx="8195">1</cx:pt>
          <cx:pt idx="8196">0</cx:pt>
          <cx:pt idx="8197">1</cx:pt>
          <cx:pt idx="8198">1</cx:pt>
          <cx:pt idx="8199">1</cx:pt>
          <cx:pt idx="8200">1</cx:pt>
          <cx:pt idx="8201">1</cx:pt>
          <cx:pt idx="8202">0</cx:pt>
          <cx:pt idx="8203">1</cx:pt>
          <cx:pt idx="8204">0</cx:pt>
          <cx:pt idx="8205">0</cx:pt>
          <cx:pt idx="8206">1</cx:pt>
          <cx:pt idx="8207">0</cx:pt>
          <cx:pt idx="8208">1</cx:pt>
          <cx:pt idx="8209">0</cx:pt>
          <cx:pt idx="8210">0</cx:pt>
          <cx:pt idx="8211">0</cx:pt>
          <cx:pt idx="8212">1</cx:pt>
          <cx:pt idx="8213">0</cx:pt>
          <cx:pt idx="8214">0</cx:pt>
          <cx:pt idx="8215">0</cx:pt>
          <cx:pt idx="8216">1</cx:pt>
          <cx:pt idx="8217">0</cx:pt>
          <cx:pt idx="8218">0</cx:pt>
          <cx:pt idx="8219">1</cx:pt>
          <cx:pt idx="8220">1</cx:pt>
          <cx:pt idx="8221">1</cx:pt>
          <cx:pt idx="8222">1</cx:pt>
          <cx:pt idx="8223">0</cx:pt>
          <cx:pt idx="8224">1</cx:pt>
          <cx:pt idx="8225">0</cx:pt>
          <cx:pt idx="8226">1</cx:pt>
          <cx:pt idx="8227">0</cx:pt>
          <cx:pt idx="8228">1</cx:pt>
          <cx:pt idx="8229">0</cx:pt>
          <cx:pt idx="8230">0</cx:pt>
          <cx:pt idx="8231">0</cx:pt>
          <cx:pt idx="8232">0</cx:pt>
          <cx:pt idx="8233">1</cx:pt>
          <cx:pt idx="8234">1</cx:pt>
          <cx:pt idx="8235">0</cx:pt>
          <cx:pt idx="8236">0</cx:pt>
          <cx:pt idx="8237">1</cx:pt>
          <cx:pt idx="8238">0</cx:pt>
          <cx:pt idx="8239">0</cx:pt>
          <cx:pt idx="8240">1</cx:pt>
          <cx:pt idx="8241">1</cx:pt>
          <cx:pt idx="8242">1</cx:pt>
          <cx:pt idx="8243">1</cx:pt>
          <cx:pt idx="8244">0</cx:pt>
          <cx:pt idx="8245">1</cx:pt>
          <cx:pt idx="8246">1</cx:pt>
          <cx:pt idx="8247">1</cx:pt>
          <cx:pt idx="8248">0</cx:pt>
          <cx:pt idx="8249">0</cx:pt>
          <cx:pt idx="8250">0</cx:pt>
          <cx:pt idx="8251">0</cx:pt>
          <cx:pt idx="8252">1</cx:pt>
          <cx:pt idx="8253">0</cx:pt>
          <cx:pt idx="8254">0</cx:pt>
          <cx:pt idx="8255">1</cx:pt>
          <cx:pt idx="8256">1</cx:pt>
          <cx:pt idx="8257">1</cx:pt>
          <cx:pt idx="8258">0</cx:pt>
          <cx:pt idx="8259">1</cx:pt>
          <cx:pt idx="8260">1</cx:pt>
          <cx:pt idx="8261">1</cx:pt>
          <cx:pt idx="8262">0</cx:pt>
          <cx:pt idx="8263">1</cx:pt>
          <cx:pt idx="8264">1</cx:pt>
          <cx:pt idx="8265">0</cx:pt>
          <cx:pt idx="8266">1</cx:pt>
          <cx:pt idx="8267">0</cx:pt>
          <cx:pt idx="8268">1</cx:pt>
          <cx:pt idx="8269">1</cx:pt>
          <cx:pt idx="8270">0</cx:pt>
          <cx:pt idx="8271">1</cx:pt>
          <cx:pt idx="8272">1</cx:pt>
          <cx:pt idx="8273">0</cx:pt>
          <cx:pt idx="8274">0</cx:pt>
          <cx:pt idx="8275">0</cx:pt>
          <cx:pt idx="8276">1</cx:pt>
          <cx:pt idx="8277">1</cx:pt>
          <cx:pt idx="8278">0</cx:pt>
          <cx:pt idx="8279">1</cx:pt>
          <cx:pt idx="8280">0</cx:pt>
          <cx:pt idx="8281">1</cx:pt>
          <cx:pt idx="8282">0</cx:pt>
          <cx:pt idx="8283">0</cx:pt>
          <cx:pt idx="8284">1</cx:pt>
          <cx:pt idx="8285">0</cx:pt>
          <cx:pt idx="8286">0</cx:pt>
          <cx:pt idx="8287">1</cx:pt>
          <cx:pt idx="8288">1</cx:pt>
          <cx:pt idx="8289">0</cx:pt>
          <cx:pt idx="8290">1</cx:pt>
          <cx:pt idx="8291">0</cx:pt>
          <cx:pt idx="8292">1</cx:pt>
          <cx:pt idx="8293">1</cx:pt>
          <cx:pt idx="8294">1</cx:pt>
          <cx:pt idx="8295">1</cx:pt>
          <cx:pt idx="8296">1</cx:pt>
          <cx:pt idx="8297">1</cx:pt>
          <cx:pt idx="8298">0</cx:pt>
          <cx:pt idx="8299">0</cx:pt>
          <cx:pt idx="8300">1</cx:pt>
          <cx:pt idx="8301">0</cx:pt>
          <cx:pt idx="8302">0</cx:pt>
          <cx:pt idx="8303">1</cx:pt>
          <cx:pt idx="8304">0</cx:pt>
          <cx:pt idx="8305">1</cx:pt>
          <cx:pt idx="8306">0</cx:pt>
          <cx:pt idx="8307">1</cx:pt>
          <cx:pt idx="8308">0</cx:pt>
          <cx:pt idx="8309">0</cx:pt>
          <cx:pt idx="8310">1</cx:pt>
          <cx:pt idx="8311">0</cx:pt>
          <cx:pt idx="8312">0</cx:pt>
          <cx:pt idx="8313">0</cx:pt>
          <cx:pt idx="8314">1</cx:pt>
          <cx:pt idx="8315">0</cx:pt>
          <cx:pt idx="8316">0</cx:pt>
          <cx:pt idx="8317">0</cx:pt>
          <cx:pt idx="8318">0</cx:pt>
          <cx:pt idx="8319">1</cx:pt>
          <cx:pt idx="8320">1</cx:pt>
          <cx:pt idx="8321">1</cx:pt>
          <cx:pt idx="8322">0</cx:pt>
          <cx:pt idx="8323">0</cx:pt>
          <cx:pt idx="8324">1</cx:pt>
          <cx:pt idx="8325">0</cx:pt>
          <cx:pt idx="8326">0</cx:pt>
          <cx:pt idx="8327">0</cx:pt>
          <cx:pt idx="8328">1</cx:pt>
          <cx:pt idx="8329">1</cx:pt>
          <cx:pt idx="8330">0</cx:pt>
          <cx:pt idx="8331">1</cx:pt>
          <cx:pt idx="8332">0</cx:pt>
          <cx:pt idx="8333">0</cx:pt>
          <cx:pt idx="8334">1</cx:pt>
          <cx:pt idx="8335">1</cx:pt>
          <cx:pt idx="8336">0</cx:pt>
          <cx:pt idx="8337">0</cx:pt>
          <cx:pt idx="8338">0</cx:pt>
          <cx:pt idx="8339">0</cx:pt>
          <cx:pt idx="8340">0</cx:pt>
          <cx:pt idx="8341">1</cx:pt>
          <cx:pt idx="8342">0</cx:pt>
          <cx:pt idx="8343">1</cx:pt>
          <cx:pt idx="8344">0</cx:pt>
          <cx:pt idx="8345">0</cx:pt>
          <cx:pt idx="8346">0</cx:pt>
          <cx:pt idx="8347">1</cx:pt>
          <cx:pt idx="8348">0</cx:pt>
          <cx:pt idx="8349">0</cx:pt>
          <cx:pt idx="8350">1</cx:pt>
          <cx:pt idx="8351">1</cx:pt>
          <cx:pt idx="8352">0</cx:pt>
          <cx:pt idx="8353">0</cx:pt>
          <cx:pt idx="8354">0</cx:pt>
          <cx:pt idx="8355">1</cx:pt>
          <cx:pt idx="8356">1</cx:pt>
          <cx:pt idx="8357">1</cx:pt>
          <cx:pt idx="8358">0</cx:pt>
          <cx:pt idx="8359">0</cx:pt>
          <cx:pt idx="8360">0</cx:pt>
          <cx:pt idx="8361">1</cx:pt>
          <cx:pt idx="8362">1</cx:pt>
          <cx:pt idx="8363">1</cx:pt>
          <cx:pt idx="8364">0</cx:pt>
          <cx:pt idx="8365">0</cx:pt>
          <cx:pt idx="8366">0</cx:pt>
          <cx:pt idx="8367">0</cx:pt>
          <cx:pt idx="8368">1</cx:pt>
          <cx:pt idx="8369">1</cx:pt>
          <cx:pt idx="8370">0</cx:pt>
          <cx:pt idx="8371">0</cx:pt>
          <cx:pt idx="8372">0</cx:pt>
          <cx:pt idx="8373">1</cx:pt>
          <cx:pt idx="8374">1</cx:pt>
          <cx:pt idx="8375">0</cx:pt>
          <cx:pt idx="8376">0</cx:pt>
          <cx:pt idx="8377">0</cx:pt>
          <cx:pt idx="8378">1</cx:pt>
          <cx:pt idx="8379">0</cx:pt>
          <cx:pt idx="8380">0</cx:pt>
          <cx:pt idx="8381">0</cx:pt>
          <cx:pt idx="8382">1</cx:pt>
          <cx:pt idx="8383">1</cx:pt>
          <cx:pt idx="8384">0</cx:pt>
          <cx:pt idx="8385">0</cx:pt>
          <cx:pt idx="8386">0</cx:pt>
          <cx:pt idx="8387">0</cx:pt>
          <cx:pt idx="8388">0</cx:pt>
          <cx:pt idx="8389">0</cx:pt>
          <cx:pt idx="8390">0</cx:pt>
          <cx:pt idx="8391">0</cx:pt>
          <cx:pt idx="8392">1</cx:pt>
          <cx:pt idx="8393">1</cx:pt>
          <cx:pt idx="8394">0</cx:pt>
          <cx:pt idx="8395">0</cx:pt>
          <cx:pt idx="8396">1</cx:pt>
          <cx:pt idx="8397">0</cx:pt>
          <cx:pt idx="8398">0</cx:pt>
          <cx:pt idx="8399">0</cx:pt>
          <cx:pt idx="8400">0</cx:pt>
          <cx:pt idx="8401">1</cx:pt>
          <cx:pt idx="8402">0</cx:pt>
          <cx:pt idx="8403">1</cx:pt>
          <cx:pt idx="8404">1</cx:pt>
          <cx:pt idx="8405">1</cx:pt>
          <cx:pt idx="8406">1</cx:pt>
          <cx:pt idx="8407">0</cx:pt>
          <cx:pt idx="8408">0</cx:pt>
          <cx:pt idx="8409">0</cx:pt>
          <cx:pt idx="8410">1</cx:pt>
          <cx:pt idx="8411">0</cx:pt>
          <cx:pt idx="8412">1</cx:pt>
          <cx:pt idx="8413">0</cx:pt>
          <cx:pt idx="8414">1</cx:pt>
          <cx:pt idx="8415">0</cx:pt>
          <cx:pt idx="8416">0</cx:pt>
          <cx:pt idx="8417">0</cx:pt>
          <cx:pt idx="8418">0</cx:pt>
          <cx:pt idx="8419">1</cx:pt>
          <cx:pt idx="8420">0</cx:pt>
          <cx:pt idx="8421">0</cx:pt>
          <cx:pt idx="8422">1</cx:pt>
          <cx:pt idx="8423">0</cx:pt>
          <cx:pt idx="8424">1</cx:pt>
          <cx:pt idx="8425">0</cx:pt>
          <cx:pt idx="8426">0</cx:pt>
          <cx:pt idx="8427">1</cx:pt>
          <cx:pt idx="8428">0</cx:pt>
          <cx:pt idx="8429">0</cx:pt>
          <cx:pt idx="8430">0</cx:pt>
          <cx:pt idx="8431">1</cx:pt>
          <cx:pt idx="8432">0</cx:pt>
          <cx:pt idx="8433">1</cx:pt>
          <cx:pt idx="8434">0</cx:pt>
          <cx:pt idx="8435">1</cx:pt>
          <cx:pt idx="8436">0</cx:pt>
          <cx:pt idx="8437">0</cx:pt>
          <cx:pt idx="8438">0</cx:pt>
          <cx:pt idx="8439">0</cx:pt>
          <cx:pt idx="8440">0</cx:pt>
          <cx:pt idx="8441">1</cx:pt>
          <cx:pt idx="8442">0</cx:pt>
          <cx:pt idx="8443">0</cx:pt>
          <cx:pt idx="8444">1</cx:pt>
          <cx:pt idx="8445">1</cx:pt>
          <cx:pt idx="8446">0</cx:pt>
          <cx:pt idx="8447">0</cx:pt>
          <cx:pt idx="8448">0</cx:pt>
          <cx:pt idx="8449">1</cx:pt>
          <cx:pt idx="8450">1</cx:pt>
          <cx:pt idx="8451">1</cx:pt>
          <cx:pt idx="8452">0</cx:pt>
          <cx:pt idx="8453">0</cx:pt>
          <cx:pt idx="8454">0</cx:pt>
          <cx:pt idx="8455">1</cx:pt>
          <cx:pt idx="8456">0</cx:pt>
          <cx:pt idx="8457">0</cx:pt>
          <cx:pt idx="8458">1</cx:pt>
          <cx:pt idx="8459">0</cx:pt>
          <cx:pt idx="8460">0</cx:pt>
          <cx:pt idx="8461">1</cx:pt>
          <cx:pt idx="8462">1</cx:pt>
          <cx:pt idx="8463">0</cx:pt>
          <cx:pt idx="8464">1</cx:pt>
          <cx:pt idx="8465">1</cx:pt>
          <cx:pt idx="8466">0</cx:pt>
          <cx:pt idx="8467">0</cx:pt>
          <cx:pt idx="8468">0</cx:pt>
          <cx:pt idx="8469">1</cx:pt>
          <cx:pt idx="8470">1</cx:pt>
          <cx:pt idx="8471">1</cx:pt>
          <cx:pt idx="8472">0</cx:pt>
          <cx:pt idx="8473">1</cx:pt>
          <cx:pt idx="8474">0</cx:pt>
          <cx:pt idx="8475">0</cx:pt>
          <cx:pt idx="8476">1</cx:pt>
          <cx:pt idx="8477">0</cx:pt>
          <cx:pt idx="8478">1</cx:pt>
          <cx:pt idx="8479">1</cx:pt>
          <cx:pt idx="8480">0</cx:pt>
          <cx:pt idx="8481">1</cx:pt>
          <cx:pt idx="8482">1</cx:pt>
          <cx:pt idx="8483">1</cx:pt>
          <cx:pt idx="8484">0</cx:pt>
          <cx:pt idx="8485">0</cx:pt>
          <cx:pt idx="8486">0</cx:pt>
          <cx:pt idx="8487">0</cx:pt>
          <cx:pt idx="8488">0</cx:pt>
          <cx:pt idx="8489">1</cx:pt>
          <cx:pt idx="8490">1</cx:pt>
          <cx:pt idx="8491">0</cx:pt>
          <cx:pt idx="8492">0</cx:pt>
          <cx:pt idx="8493">0</cx:pt>
          <cx:pt idx="8494">1</cx:pt>
          <cx:pt idx="8495">1</cx:pt>
          <cx:pt idx="8496">0</cx:pt>
          <cx:pt idx="8497">1</cx:pt>
          <cx:pt idx="8498">0</cx:pt>
          <cx:pt idx="8499">0</cx:pt>
          <cx:pt idx="8500">0</cx:pt>
          <cx:pt idx="8501">0</cx:pt>
          <cx:pt idx="8502">1</cx:pt>
          <cx:pt idx="8503">0</cx:pt>
          <cx:pt idx="8504">1</cx:pt>
          <cx:pt idx="8505">1</cx:pt>
          <cx:pt idx="8506">1</cx:pt>
          <cx:pt idx="8507">0</cx:pt>
          <cx:pt idx="8508">1</cx:pt>
          <cx:pt idx="8509">1</cx:pt>
          <cx:pt idx="8510">0</cx:pt>
          <cx:pt idx="8511">0</cx:pt>
          <cx:pt idx="8512">0</cx:pt>
          <cx:pt idx="8513">0</cx:pt>
          <cx:pt idx="8514">0</cx:pt>
          <cx:pt idx="8515">0</cx:pt>
          <cx:pt idx="8516">0</cx:pt>
          <cx:pt idx="8517">1</cx:pt>
          <cx:pt idx="8518">0</cx:pt>
          <cx:pt idx="8519">1</cx:pt>
          <cx:pt idx="8520">1</cx:pt>
          <cx:pt idx="8521">1</cx:pt>
          <cx:pt idx="8522">1</cx:pt>
          <cx:pt idx="8523">1</cx:pt>
          <cx:pt idx="8524">0</cx:pt>
          <cx:pt idx="8525">0</cx:pt>
          <cx:pt idx="8526">1</cx:pt>
          <cx:pt idx="8527">0</cx:pt>
          <cx:pt idx="8528">1</cx:pt>
          <cx:pt idx="8529">1</cx:pt>
          <cx:pt idx="8530">1</cx:pt>
          <cx:pt idx="8531">0</cx:pt>
          <cx:pt idx="8532">0</cx:pt>
          <cx:pt idx="8533">1</cx:pt>
          <cx:pt idx="8534">1</cx:pt>
          <cx:pt idx="8535">1</cx:pt>
          <cx:pt idx="8536">1</cx:pt>
          <cx:pt idx="8537">0</cx:pt>
          <cx:pt idx="8538">1</cx:pt>
          <cx:pt idx="8539">0</cx:pt>
          <cx:pt idx="8540">0</cx:pt>
          <cx:pt idx="8541">1</cx:pt>
          <cx:pt idx="8542">1</cx:pt>
          <cx:pt idx="8543">1</cx:pt>
          <cx:pt idx="8544">0</cx:pt>
          <cx:pt idx="8545">0</cx:pt>
          <cx:pt idx="8546">1</cx:pt>
          <cx:pt idx="8547">1</cx:pt>
          <cx:pt idx="8548">1</cx:pt>
          <cx:pt idx="8549">1</cx:pt>
          <cx:pt idx="8550">0</cx:pt>
          <cx:pt idx="8551">0</cx:pt>
          <cx:pt idx="8552">0</cx:pt>
          <cx:pt idx="8553">1</cx:pt>
          <cx:pt idx="8554">1</cx:pt>
          <cx:pt idx="8555">0</cx:pt>
          <cx:pt idx="8556">1</cx:pt>
          <cx:pt idx="8557">0</cx:pt>
          <cx:pt idx="8558">0</cx:pt>
          <cx:pt idx="8559">1</cx:pt>
          <cx:pt idx="8560">1</cx:pt>
          <cx:pt idx="8561">0</cx:pt>
          <cx:pt idx="8562">0</cx:pt>
          <cx:pt idx="8563">0</cx:pt>
          <cx:pt idx="8564">0</cx:pt>
          <cx:pt idx="8565">0</cx:pt>
          <cx:pt idx="8566">0</cx:pt>
          <cx:pt idx="8567">0</cx:pt>
          <cx:pt idx="8568">0</cx:pt>
          <cx:pt idx="8569">1</cx:pt>
          <cx:pt idx="8570">1</cx:pt>
          <cx:pt idx="8571">0</cx:pt>
          <cx:pt idx="8572">1</cx:pt>
          <cx:pt idx="8573">0</cx:pt>
          <cx:pt idx="8574">1</cx:pt>
          <cx:pt idx="8575">0</cx:pt>
          <cx:pt idx="8576">0</cx:pt>
          <cx:pt idx="8577">1</cx:pt>
          <cx:pt idx="8578">1</cx:pt>
          <cx:pt idx="8579">1</cx:pt>
          <cx:pt idx="8580">0</cx:pt>
          <cx:pt idx="8581">0</cx:pt>
          <cx:pt idx="8582">0</cx:pt>
          <cx:pt idx="8583">1</cx:pt>
          <cx:pt idx="8584">0</cx:pt>
          <cx:pt idx="8585">1</cx:pt>
          <cx:pt idx="8586">0</cx:pt>
          <cx:pt idx="8587">1</cx:pt>
          <cx:pt idx="8588">1</cx:pt>
          <cx:pt idx="8589">0</cx:pt>
          <cx:pt idx="8590">0</cx:pt>
          <cx:pt idx="8591">1</cx:pt>
          <cx:pt idx="8592">0</cx:pt>
          <cx:pt idx="8593">1</cx:pt>
          <cx:pt idx="8594">1</cx:pt>
          <cx:pt idx="8595">0</cx:pt>
          <cx:pt idx="8596">0</cx:pt>
          <cx:pt idx="8597">0</cx:pt>
          <cx:pt idx="8598">1</cx:pt>
          <cx:pt idx="8599">1</cx:pt>
          <cx:pt idx="8600">0</cx:pt>
          <cx:pt idx="8601">0</cx:pt>
          <cx:pt idx="8602">0</cx:pt>
          <cx:pt idx="8603">1</cx:pt>
          <cx:pt idx="8604">0</cx:pt>
          <cx:pt idx="8605">0</cx:pt>
          <cx:pt idx="8606">1</cx:pt>
          <cx:pt idx="8607">1</cx:pt>
          <cx:pt idx="8608">0</cx:pt>
          <cx:pt idx="8609">0</cx:pt>
          <cx:pt idx="8610">0</cx:pt>
          <cx:pt idx="8611">0</cx:pt>
          <cx:pt idx="8612">0</cx:pt>
          <cx:pt idx="8613">0</cx:pt>
          <cx:pt idx="8614">0</cx:pt>
          <cx:pt idx="8615">1</cx:pt>
          <cx:pt idx="8616">1</cx:pt>
          <cx:pt idx="8617">1</cx:pt>
          <cx:pt idx="8618">0</cx:pt>
          <cx:pt idx="8619">0</cx:pt>
          <cx:pt idx="8620">0</cx:pt>
          <cx:pt idx="8621">1</cx:pt>
          <cx:pt idx="8622">1</cx:pt>
          <cx:pt idx="8623">0</cx:pt>
          <cx:pt idx="8624">1</cx:pt>
          <cx:pt idx="8625">0</cx:pt>
          <cx:pt idx="8626">0</cx:pt>
          <cx:pt idx="8627">1</cx:pt>
          <cx:pt idx="8628">0</cx:pt>
          <cx:pt idx="8629">0</cx:pt>
          <cx:pt idx="8630">1</cx:pt>
          <cx:pt idx="8631">1</cx:pt>
          <cx:pt idx="8632">1</cx:pt>
          <cx:pt idx="8633">0</cx:pt>
          <cx:pt idx="8634">0</cx:pt>
          <cx:pt idx="8635">0</cx:pt>
          <cx:pt idx="8636">0</cx:pt>
          <cx:pt idx="8637">1</cx:pt>
          <cx:pt idx="8638">1</cx:pt>
          <cx:pt idx="8639">1</cx:pt>
          <cx:pt idx="8640">0</cx:pt>
          <cx:pt idx="8641">1</cx:pt>
          <cx:pt idx="8642">0</cx:pt>
          <cx:pt idx="8643">0</cx:pt>
          <cx:pt idx="8644">1</cx:pt>
          <cx:pt idx="8645">1</cx:pt>
          <cx:pt idx="8646">1</cx:pt>
          <cx:pt idx="8647">0</cx:pt>
          <cx:pt idx="8648">1</cx:pt>
          <cx:pt idx="8649">0</cx:pt>
          <cx:pt idx="8650">1</cx:pt>
          <cx:pt idx="8651">1</cx:pt>
          <cx:pt idx="8652">0</cx:pt>
          <cx:pt idx="8653">0</cx:pt>
          <cx:pt idx="8654">0</cx:pt>
          <cx:pt idx="8655">0</cx:pt>
          <cx:pt idx="8656">0</cx:pt>
          <cx:pt idx="8657">0</cx:pt>
          <cx:pt idx="8658">1</cx:pt>
          <cx:pt idx="8659">1</cx:pt>
          <cx:pt idx="8660">0</cx:pt>
          <cx:pt idx="8661">0</cx:pt>
          <cx:pt idx="8662">0</cx:pt>
          <cx:pt idx="8663">0</cx:pt>
          <cx:pt idx="8664">0</cx:pt>
          <cx:pt idx="8665">1</cx:pt>
          <cx:pt idx="8666">1</cx:pt>
          <cx:pt idx="8667">0</cx:pt>
          <cx:pt idx="8668">1</cx:pt>
          <cx:pt idx="8669">1</cx:pt>
          <cx:pt idx="8670">0</cx:pt>
          <cx:pt idx="8671">0</cx:pt>
          <cx:pt idx="8672">0</cx:pt>
          <cx:pt idx="8673">0</cx:pt>
          <cx:pt idx="8674">0</cx:pt>
          <cx:pt idx="8675">1</cx:pt>
          <cx:pt idx="8676">0</cx:pt>
          <cx:pt idx="8677">1</cx:pt>
          <cx:pt idx="8678">0</cx:pt>
          <cx:pt idx="8679">0</cx:pt>
          <cx:pt idx="8680">0</cx:pt>
          <cx:pt idx="8681">1</cx:pt>
          <cx:pt idx="8682">0</cx:pt>
          <cx:pt idx="8683">1</cx:pt>
          <cx:pt idx="8684">0</cx:pt>
          <cx:pt idx="8685">0</cx:pt>
          <cx:pt idx="8686">1</cx:pt>
          <cx:pt idx="8687">0</cx:pt>
          <cx:pt idx="8688">0</cx:pt>
          <cx:pt idx="8689">1</cx:pt>
          <cx:pt idx="8690">1</cx:pt>
          <cx:pt idx="8691">0</cx:pt>
          <cx:pt idx="8692">1</cx:pt>
          <cx:pt idx="8693">0</cx:pt>
          <cx:pt idx="8694">0</cx:pt>
          <cx:pt idx="8695">1</cx:pt>
          <cx:pt idx="8696">0</cx:pt>
          <cx:pt idx="8697">0</cx:pt>
          <cx:pt idx="8698">0</cx:pt>
          <cx:pt idx="8699">1</cx:pt>
          <cx:pt idx="8700">1</cx:pt>
          <cx:pt idx="8701">1</cx:pt>
          <cx:pt idx="8702">1</cx:pt>
          <cx:pt idx="8703">1</cx:pt>
          <cx:pt idx="8704">0</cx:pt>
          <cx:pt idx="8705">0</cx:pt>
          <cx:pt idx="8706">0</cx:pt>
          <cx:pt idx="8707">1</cx:pt>
          <cx:pt idx="8708">0</cx:pt>
          <cx:pt idx="8709">1</cx:pt>
          <cx:pt idx="8710">0</cx:pt>
          <cx:pt idx="8711">1</cx:pt>
          <cx:pt idx="8712">0</cx:pt>
          <cx:pt idx="8713">1</cx:pt>
          <cx:pt idx="8714">0</cx:pt>
          <cx:pt idx="8715">0</cx:pt>
          <cx:pt idx="8716">0</cx:pt>
          <cx:pt idx="8717">1</cx:pt>
          <cx:pt idx="8718">0</cx:pt>
          <cx:pt idx="8719">0</cx:pt>
          <cx:pt idx="8720">1</cx:pt>
          <cx:pt idx="8721">0</cx:pt>
          <cx:pt idx="8722">1</cx:pt>
          <cx:pt idx="8723">1</cx:pt>
          <cx:pt idx="8724">1</cx:pt>
          <cx:pt idx="8725">0</cx:pt>
          <cx:pt idx="8726">0</cx:pt>
          <cx:pt idx="8727">1</cx:pt>
          <cx:pt idx="8728">0</cx:pt>
          <cx:pt idx="8729">0</cx:pt>
          <cx:pt idx="8730">0</cx:pt>
          <cx:pt idx="8731">1</cx:pt>
          <cx:pt idx="8732">1</cx:pt>
          <cx:pt idx="8733">1</cx:pt>
          <cx:pt idx="8734">1</cx:pt>
          <cx:pt idx="8735">1</cx:pt>
          <cx:pt idx="8736">0</cx:pt>
          <cx:pt idx="8737">0</cx:pt>
          <cx:pt idx="8738">0</cx:pt>
          <cx:pt idx="8739">0</cx:pt>
          <cx:pt idx="8740">0</cx:pt>
          <cx:pt idx="8741">0</cx:pt>
          <cx:pt idx="8742">0</cx:pt>
          <cx:pt idx="8743">0</cx:pt>
          <cx:pt idx="8744">0</cx:pt>
          <cx:pt idx="8745">1</cx:pt>
          <cx:pt idx="8746">0</cx:pt>
          <cx:pt idx="8747">0</cx:pt>
          <cx:pt idx="8748">0</cx:pt>
          <cx:pt idx="8749">1</cx:pt>
          <cx:pt idx="8750">0</cx:pt>
          <cx:pt idx="8751">1</cx:pt>
          <cx:pt idx="8752">1</cx:pt>
          <cx:pt idx="8753">0</cx:pt>
          <cx:pt idx="8754">0</cx:pt>
          <cx:pt idx="8755">0</cx:pt>
          <cx:pt idx="8756">1</cx:pt>
          <cx:pt idx="8757">1</cx:pt>
          <cx:pt idx="8758">1</cx:pt>
          <cx:pt idx="8759">1</cx:pt>
          <cx:pt idx="8760">0</cx:pt>
          <cx:pt idx="8761">0</cx:pt>
          <cx:pt idx="8762">0</cx:pt>
          <cx:pt idx="8763">1</cx:pt>
          <cx:pt idx="8764">1</cx:pt>
          <cx:pt idx="8765">1</cx:pt>
          <cx:pt idx="8766">1</cx:pt>
          <cx:pt idx="8767">0</cx:pt>
          <cx:pt idx="8768">0</cx:pt>
          <cx:pt idx="8769">1</cx:pt>
          <cx:pt idx="8770">1</cx:pt>
          <cx:pt idx="8771">1</cx:pt>
          <cx:pt idx="8772">0</cx:pt>
          <cx:pt idx="8773">1</cx:pt>
          <cx:pt idx="8774">0</cx:pt>
          <cx:pt idx="8775">1</cx:pt>
          <cx:pt idx="8776">0</cx:pt>
          <cx:pt idx="8777">0</cx:pt>
          <cx:pt idx="8778">1</cx:pt>
          <cx:pt idx="8779">0</cx:pt>
          <cx:pt idx="8780">1</cx:pt>
          <cx:pt idx="8781">1</cx:pt>
          <cx:pt idx="8782">0</cx:pt>
          <cx:pt idx="8783">1</cx:pt>
          <cx:pt idx="8784">1</cx:pt>
          <cx:pt idx="8785">1</cx:pt>
          <cx:pt idx="8786">0</cx:pt>
          <cx:pt idx="8787">0</cx:pt>
          <cx:pt idx="8788">0</cx:pt>
          <cx:pt idx="8789">0</cx:pt>
          <cx:pt idx="8790">0</cx:pt>
          <cx:pt idx="8791">0</cx:pt>
          <cx:pt idx="8792">1</cx:pt>
          <cx:pt idx="8793">0</cx:pt>
          <cx:pt idx="8794">1</cx:pt>
          <cx:pt idx="8795">0</cx:pt>
          <cx:pt idx="8796">1</cx:pt>
          <cx:pt idx="8797">1</cx:pt>
          <cx:pt idx="8798">1</cx:pt>
          <cx:pt idx="8799">1</cx:pt>
          <cx:pt idx="8800">0</cx:pt>
          <cx:pt idx="8801">1</cx:pt>
          <cx:pt idx="8802">0</cx:pt>
          <cx:pt idx="8803">0</cx:pt>
          <cx:pt idx="8804">0</cx:pt>
          <cx:pt idx="8805">1</cx:pt>
          <cx:pt idx="8806">0</cx:pt>
          <cx:pt idx="8807">1</cx:pt>
          <cx:pt idx="8808">1</cx:pt>
          <cx:pt idx="8809">0</cx:pt>
          <cx:pt idx="8810">1</cx:pt>
          <cx:pt idx="8811">1</cx:pt>
          <cx:pt idx="8812">0</cx:pt>
          <cx:pt idx="8813">0</cx:pt>
          <cx:pt idx="8814">0</cx:pt>
          <cx:pt idx="8815">1</cx:pt>
          <cx:pt idx="8816">0</cx:pt>
          <cx:pt idx="8817">0</cx:pt>
          <cx:pt idx="8818">0</cx:pt>
          <cx:pt idx="8819">1</cx:pt>
          <cx:pt idx="8820">1</cx:pt>
          <cx:pt idx="8821">1</cx:pt>
          <cx:pt idx="8822">1</cx:pt>
          <cx:pt idx="8823">0</cx:pt>
          <cx:pt idx="8824">1</cx:pt>
          <cx:pt idx="8825">1</cx:pt>
          <cx:pt idx="8826">1</cx:pt>
          <cx:pt idx="8827">0</cx:pt>
          <cx:pt idx="8828">0</cx:pt>
          <cx:pt idx="8829">0</cx:pt>
          <cx:pt idx="8830">0</cx:pt>
          <cx:pt idx="8831">0</cx:pt>
          <cx:pt idx="8832">0</cx:pt>
          <cx:pt idx="8833">0</cx:pt>
          <cx:pt idx="8834">1</cx:pt>
          <cx:pt idx="8835">1</cx:pt>
          <cx:pt idx="8836">1</cx:pt>
          <cx:pt idx="8837">1</cx:pt>
          <cx:pt idx="8838">0</cx:pt>
          <cx:pt idx="8839">0</cx:pt>
          <cx:pt idx="8840">0</cx:pt>
          <cx:pt idx="8841">1</cx:pt>
          <cx:pt idx="8842">0</cx:pt>
          <cx:pt idx="8843">0</cx:pt>
          <cx:pt idx="8844">1</cx:pt>
          <cx:pt idx="8845">0</cx:pt>
          <cx:pt idx="8846">0</cx:pt>
          <cx:pt idx="8847">1</cx:pt>
          <cx:pt idx="8848">0</cx:pt>
          <cx:pt idx="8849">1</cx:pt>
          <cx:pt idx="8850">1</cx:pt>
          <cx:pt idx="8851">1</cx:pt>
          <cx:pt idx="8852">1</cx:pt>
          <cx:pt idx="8853">0</cx:pt>
          <cx:pt idx="8854">0</cx:pt>
          <cx:pt idx="8855">1</cx:pt>
          <cx:pt idx="8856">1</cx:pt>
          <cx:pt idx="8857">0</cx:pt>
          <cx:pt idx="8858">1</cx:pt>
          <cx:pt idx="8859">1</cx:pt>
          <cx:pt idx="8860">1</cx:pt>
          <cx:pt idx="8861">0</cx:pt>
          <cx:pt idx="8862">1</cx:pt>
          <cx:pt idx="8863">0</cx:pt>
          <cx:pt idx="8864">0</cx:pt>
          <cx:pt idx="8865">1</cx:pt>
          <cx:pt idx="8866">1</cx:pt>
          <cx:pt idx="8867">1</cx:pt>
          <cx:pt idx="8868">0</cx:pt>
          <cx:pt idx="8869">1</cx:pt>
          <cx:pt idx="8870">0</cx:pt>
          <cx:pt idx="8871">0</cx:pt>
          <cx:pt idx="8872">1</cx:pt>
          <cx:pt idx="8873">1</cx:pt>
          <cx:pt idx="8874">0</cx:pt>
          <cx:pt idx="8875">0</cx:pt>
          <cx:pt idx="8876">0</cx:pt>
          <cx:pt idx="8877">0</cx:pt>
          <cx:pt idx="8878">0</cx:pt>
          <cx:pt idx="8879">1</cx:pt>
          <cx:pt idx="8880">0</cx:pt>
          <cx:pt idx="8881">0</cx:pt>
          <cx:pt idx="8882">1</cx:pt>
          <cx:pt idx="8883">0</cx:pt>
          <cx:pt idx="8884">0</cx:pt>
          <cx:pt idx="8885">1</cx:pt>
          <cx:pt idx="8886">0</cx:pt>
          <cx:pt idx="8887">1</cx:pt>
          <cx:pt idx="8888">1</cx:pt>
          <cx:pt idx="8889">1</cx:pt>
          <cx:pt idx="8890">0</cx:pt>
          <cx:pt idx="8891">0</cx:pt>
          <cx:pt idx="8892">0</cx:pt>
          <cx:pt idx="8893">1</cx:pt>
          <cx:pt idx="8894">0</cx:pt>
          <cx:pt idx="8895">1</cx:pt>
          <cx:pt idx="8896">1</cx:pt>
          <cx:pt idx="8897">0</cx:pt>
          <cx:pt idx="8898">1</cx:pt>
          <cx:pt idx="8899">1</cx:pt>
          <cx:pt idx="8900">0</cx:pt>
          <cx:pt idx="8901">1</cx:pt>
          <cx:pt idx="8902">1</cx:pt>
          <cx:pt idx="8903">1</cx:pt>
          <cx:pt idx="8904">1</cx:pt>
          <cx:pt idx="8905">1</cx:pt>
          <cx:pt idx="8906">1</cx:pt>
          <cx:pt idx="8907">0</cx:pt>
          <cx:pt idx="8908">0</cx:pt>
          <cx:pt idx="8909">0</cx:pt>
          <cx:pt idx="8910">1</cx:pt>
          <cx:pt idx="8911">0</cx:pt>
          <cx:pt idx="8912">0</cx:pt>
          <cx:pt idx="8913">1</cx:pt>
          <cx:pt idx="8914">0</cx:pt>
          <cx:pt idx="8915">0</cx:pt>
          <cx:pt idx="8916">0</cx:pt>
          <cx:pt idx="8917">1</cx:pt>
          <cx:pt idx="8918">0</cx:pt>
          <cx:pt idx="8919">0</cx:pt>
          <cx:pt idx="8920">0</cx:pt>
          <cx:pt idx="8921">0</cx:pt>
          <cx:pt idx="8922">0</cx:pt>
          <cx:pt idx="8923">1</cx:pt>
          <cx:pt idx="8924">0</cx:pt>
          <cx:pt idx="8925">1</cx:pt>
          <cx:pt idx="8926">1</cx:pt>
          <cx:pt idx="8927">0</cx:pt>
          <cx:pt idx="8928">1</cx:pt>
          <cx:pt idx="8929">1</cx:pt>
          <cx:pt idx="8930">0</cx:pt>
          <cx:pt idx="8931">0</cx:pt>
          <cx:pt idx="8932">1</cx:pt>
          <cx:pt idx="8933">0</cx:pt>
          <cx:pt idx="8934">0</cx:pt>
          <cx:pt idx="8935">0</cx:pt>
          <cx:pt idx="8936">0</cx:pt>
          <cx:pt idx="8937">1</cx:pt>
          <cx:pt idx="8938">0</cx:pt>
          <cx:pt idx="8939">0</cx:pt>
          <cx:pt idx="8940">1</cx:pt>
          <cx:pt idx="8941">0</cx:pt>
          <cx:pt idx="8942">0</cx:pt>
          <cx:pt idx="8943">0</cx:pt>
          <cx:pt idx="8944">0</cx:pt>
          <cx:pt idx="8945">0</cx:pt>
          <cx:pt idx="8946">1</cx:pt>
          <cx:pt idx="8947">0</cx:pt>
          <cx:pt idx="8948">1</cx:pt>
          <cx:pt idx="8949">1</cx:pt>
          <cx:pt idx="8950">0</cx:pt>
          <cx:pt idx="8951">1</cx:pt>
          <cx:pt idx="8952">0</cx:pt>
          <cx:pt idx="8953">0</cx:pt>
          <cx:pt idx="8954">0</cx:pt>
          <cx:pt idx="8955">0</cx:pt>
          <cx:pt idx="8956">1</cx:pt>
          <cx:pt idx="8957">1</cx:pt>
          <cx:pt idx="8958">0</cx:pt>
          <cx:pt idx="8959">0</cx:pt>
          <cx:pt idx="8960">1</cx:pt>
          <cx:pt idx="8961">0</cx:pt>
          <cx:pt idx="8962">0</cx:pt>
          <cx:pt idx="8963">1</cx:pt>
          <cx:pt idx="8964">0</cx:pt>
          <cx:pt idx="8965">1</cx:pt>
          <cx:pt idx="8966">0</cx:pt>
          <cx:pt idx="8967">0</cx:pt>
          <cx:pt idx="8968">1</cx:pt>
          <cx:pt idx="8969">1</cx:pt>
          <cx:pt idx="8970">1</cx:pt>
          <cx:pt idx="8971">0</cx:pt>
          <cx:pt idx="8972">0</cx:pt>
          <cx:pt idx="8973">0</cx:pt>
          <cx:pt idx="8974">0</cx:pt>
          <cx:pt idx="8975">0</cx:pt>
          <cx:pt idx="8976">0</cx:pt>
          <cx:pt idx="8977">1</cx:pt>
          <cx:pt idx="8978">0</cx:pt>
          <cx:pt idx="8979">0</cx:pt>
          <cx:pt idx="8980">1</cx:pt>
          <cx:pt idx="8981">1</cx:pt>
          <cx:pt idx="8982">1</cx:pt>
          <cx:pt idx="8983">0</cx:pt>
          <cx:pt idx="8984">1</cx:pt>
          <cx:pt idx="8985">0</cx:pt>
          <cx:pt idx="8986">0</cx:pt>
          <cx:pt idx="8987">0</cx:pt>
          <cx:pt idx="8988">0</cx:pt>
          <cx:pt idx="8989">1</cx:pt>
          <cx:pt idx="8990">1</cx:pt>
          <cx:pt idx="8991">0</cx:pt>
          <cx:pt idx="8992">1</cx:pt>
          <cx:pt idx="8993">1</cx:pt>
          <cx:pt idx="8994">1</cx:pt>
          <cx:pt idx="8995">0</cx:pt>
          <cx:pt idx="8996">0</cx:pt>
          <cx:pt idx="8997">0</cx:pt>
          <cx:pt idx="8998">0</cx:pt>
          <cx:pt idx="8999">0</cx:pt>
          <cx:pt idx="9000">1</cx:pt>
          <cx:pt idx="9001">0</cx:pt>
          <cx:pt idx="9002">0</cx:pt>
          <cx:pt idx="9003">1</cx:pt>
          <cx:pt idx="9004">1</cx:pt>
          <cx:pt idx="9005">1</cx:pt>
          <cx:pt idx="9006">0</cx:pt>
          <cx:pt idx="9007">0</cx:pt>
          <cx:pt idx="9008">1</cx:pt>
          <cx:pt idx="9009">1</cx:pt>
          <cx:pt idx="9010">0</cx:pt>
          <cx:pt idx="9011">0</cx:pt>
          <cx:pt idx="9012">0</cx:pt>
          <cx:pt idx="9013">0</cx:pt>
          <cx:pt idx="9014">0</cx:pt>
          <cx:pt idx="9015">1</cx:pt>
          <cx:pt idx="9016">0</cx:pt>
          <cx:pt idx="9017">0</cx:pt>
          <cx:pt idx="9018">0</cx:pt>
          <cx:pt idx="9019">0</cx:pt>
          <cx:pt idx="9020">0</cx:pt>
          <cx:pt idx="9021">0</cx:pt>
          <cx:pt idx="9022">0</cx:pt>
          <cx:pt idx="9023">1</cx:pt>
          <cx:pt idx="9024">0</cx:pt>
          <cx:pt idx="9025">1</cx:pt>
          <cx:pt idx="9026">0</cx:pt>
          <cx:pt idx="9027">0</cx:pt>
          <cx:pt idx="9028">1</cx:pt>
          <cx:pt idx="9029">0</cx:pt>
          <cx:pt idx="9030">1</cx:pt>
          <cx:pt idx="9031">1</cx:pt>
          <cx:pt idx="9032">0</cx:pt>
          <cx:pt idx="9033">0</cx:pt>
          <cx:pt idx="9034">1</cx:pt>
          <cx:pt idx="9035">1</cx:pt>
          <cx:pt idx="9036">0</cx:pt>
          <cx:pt idx="9037">0</cx:pt>
          <cx:pt idx="9038">1</cx:pt>
          <cx:pt idx="9039">0</cx:pt>
          <cx:pt idx="9040">0</cx:pt>
          <cx:pt idx="9041">0</cx:pt>
          <cx:pt idx="9042">1</cx:pt>
          <cx:pt idx="9043">0</cx:pt>
          <cx:pt idx="9044">0</cx:pt>
          <cx:pt idx="9045">0</cx:pt>
          <cx:pt idx="9046">0</cx:pt>
          <cx:pt idx="9047">1</cx:pt>
          <cx:pt idx="9048">0</cx:pt>
          <cx:pt idx="9049">0</cx:pt>
          <cx:pt idx="9050">0</cx:pt>
          <cx:pt idx="9051">1</cx:pt>
          <cx:pt idx="9052">1</cx:pt>
          <cx:pt idx="9053">1</cx:pt>
          <cx:pt idx="9054">0</cx:pt>
          <cx:pt idx="9055">0</cx:pt>
          <cx:pt idx="9056">1</cx:pt>
          <cx:pt idx="9057">0</cx:pt>
          <cx:pt idx="9058">0</cx:pt>
          <cx:pt idx="9059">0</cx:pt>
          <cx:pt idx="9060">0</cx:pt>
          <cx:pt idx="9061">1</cx:pt>
          <cx:pt idx="9062">0</cx:pt>
          <cx:pt idx="9063">0</cx:pt>
          <cx:pt idx="9064">0</cx:pt>
          <cx:pt idx="9065">1</cx:pt>
          <cx:pt idx="9066">0</cx:pt>
          <cx:pt idx="9067">1</cx:pt>
          <cx:pt idx="9068">1</cx:pt>
          <cx:pt idx="9069">1</cx:pt>
          <cx:pt idx="9070">0</cx:pt>
          <cx:pt idx="9071">1</cx:pt>
          <cx:pt idx="9072">1</cx:pt>
          <cx:pt idx="9073">0</cx:pt>
          <cx:pt idx="9074">0</cx:pt>
          <cx:pt idx="9075">0</cx:pt>
          <cx:pt idx="9076">0</cx:pt>
          <cx:pt idx="9077">1</cx:pt>
          <cx:pt idx="9078">0</cx:pt>
          <cx:pt idx="9079">1</cx:pt>
          <cx:pt idx="9080">0</cx:pt>
          <cx:pt idx="9081">1</cx:pt>
          <cx:pt idx="9082">0</cx:pt>
          <cx:pt idx="9083">0</cx:pt>
          <cx:pt idx="9084">0</cx:pt>
          <cx:pt idx="9085">1</cx:pt>
          <cx:pt idx="9086">1</cx:pt>
          <cx:pt idx="9087">0</cx:pt>
          <cx:pt idx="9088">0</cx:pt>
          <cx:pt idx="9089">0</cx:pt>
          <cx:pt idx="9090">0</cx:pt>
          <cx:pt idx="9091">0</cx:pt>
          <cx:pt idx="9092">1</cx:pt>
          <cx:pt idx="9093">1</cx:pt>
          <cx:pt idx="9094">0</cx:pt>
          <cx:pt idx="9095">1</cx:pt>
          <cx:pt idx="9096">1</cx:pt>
          <cx:pt idx="9097">1</cx:pt>
          <cx:pt idx="9098">0</cx:pt>
          <cx:pt idx="9099">0</cx:pt>
          <cx:pt idx="9100">0</cx:pt>
          <cx:pt idx="9101">0</cx:pt>
          <cx:pt idx="9102">0</cx:pt>
          <cx:pt idx="9103">1</cx:pt>
          <cx:pt idx="9104">0</cx:pt>
          <cx:pt idx="9105">1</cx:pt>
          <cx:pt idx="9106">0</cx:pt>
          <cx:pt idx="9107">1</cx:pt>
          <cx:pt idx="9108">1</cx:pt>
          <cx:pt idx="9109">0</cx:pt>
          <cx:pt idx="9110">1</cx:pt>
          <cx:pt idx="9111">0</cx:pt>
          <cx:pt idx="9112">0</cx:pt>
          <cx:pt idx="9113">1</cx:pt>
          <cx:pt idx="9114">1</cx:pt>
          <cx:pt idx="9115">1</cx:pt>
          <cx:pt idx="9116">1</cx:pt>
          <cx:pt idx="9117">1</cx:pt>
          <cx:pt idx="9118">0</cx:pt>
          <cx:pt idx="9119">0</cx:pt>
          <cx:pt idx="9120">0</cx:pt>
          <cx:pt idx="9121">0</cx:pt>
          <cx:pt idx="9122">0</cx:pt>
          <cx:pt idx="9123">1</cx:pt>
          <cx:pt idx="9124">0</cx:pt>
          <cx:pt idx="9125">0</cx:pt>
          <cx:pt idx="9126">1</cx:pt>
          <cx:pt idx="9127">1</cx:pt>
          <cx:pt idx="9128">0</cx:pt>
          <cx:pt idx="9129">1</cx:pt>
          <cx:pt idx="9130">1</cx:pt>
          <cx:pt idx="9131">0</cx:pt>
          <cx:pt idx="9132">0</cx:pt>
          <cx:pt idx="9133">0</cx:pt>
          <cx:pt idx="9134">0</cx:pt>
          <cx:pt idx="9135">1</cx:pt>
          <cx:pt idx="9136">0</cx:pt>
          <cx:pt idx="9137">0</cx:pt>
          <cx:pt idx="9138">0</cx:pt>
          <cx:pt idx="9139">0</cx:pt>
          <cx:pt idx="9140">1</cx:pt>
          <cx:pt idx="9141">0</cx:pt>
          <cx:pt idx="9142">0</cx:pt>
          <cx:pt idx="9143">1</cx:pt>
          <cx:pt idx="9144">1</cx:pt>
          <cx:pt idx="9145">0</cx:pt>
          <cx:pt idx="9146">1</cx:pt>
          <cx:pt idx="9147">1</cx:pt>
          <cx:pt idx="9148">1</cx:pt>
          <cx:pt idx="9149">1</cx:pt>
          <cx:pt idx="9150">0</cx:pt>
          <cx:pt idx="9151">1</cx:pt>
          <cx:pt idx="9152">1</cx:pt>
          <cx:pt idx="9153">0</cx:pt>
          <cx:pt idx="9154">0</cx:pt>
          <cx:pt idx="9155">1</cx:pt>
          <cx:pt idx="9156">1</cx:pt>
          <cx:pt idx="9157">1</cx:pt>
          <cx:pt idx="9158">0</cx:pt>
          <cx:pt idx="9159">0</cx:pt>
          <cx:pt idx="9160">1</cx:pt>
          <cx:pt idx="9161">1</cx:pt>
          <cx:pt idx="9162">0</cx:pt>
          <cx:pt idx="9163">1</cx:pt>
          <cx:pt idx="9164">1</cx:pt>
          <cx:pt idx="9165">0</cx:pt>
          <cx:pt idx="9166">0</cx:pt>
          <cx:pt idx="9167">0</cx:pt>
          <cx:pt idx="9168">0</cx:pt>
          <cx:pt idx="9169">1</cx:pt>
          <cx:pt idx="9170">1</cx:pt>
          <cx:pt idx="9171">0</cx:pt>
          <cx:pt idx="9172">1</cx:pt>
          <cx:pt idx="9173">1</cx:pt>
          <cx:pt idx="9174">1</cx:pt>
          <cx:pt idx="9175">0</cx:pt>
          <cx:pt idx="9176">0</cx:pt>
          <cx:pt idx="9177">0</cx:pt>
          <cx:pt idx="9178">0</cx:pt>
          <cx:pt idx="9179">0</cx:pt>
          <cx:pt idx="9180">1</cx:pt>
          <cx:pt idx="9181">0</cx:pt>
          <cx:pt idx="9182">0</cx:pt>
          <cx:pt idx="9183">1</cx:pt>
          <cx:pt idx="9184">1</cx:pt>
          <cx:pt idx="9185">1</cx:pt>
          <cx:pt idx="9186">0</cx:pt>
          <cx:pt idx="9187">1</cx:pt>
          <cx:pt idx="9188">1</cx:pt>
          <cx:pt idx="9189">0</cx:pt>
          <cx:pt idx="9190">1</cx:pt>
          <cx:pt idx="9191">0</cx:pt>
          <cx:pt idx="9192">0</cx:pt>
          <cx:pt idx="9193">0</cx:pt>
          <cx:pt idx="9194">1</cx:pt>
          <cx:pt idx="9195">1</cx:pt>
          <cx:pt idx="9196">0</cx:pt>
          <cx:pt idx="9197">1</cx:pt>
          <cx:pt idx="9198">0</cx:pt>
          <cx:pt idx="9199">1</cx:pt>
          <cx:pt idx="9200">0</cx:pt>
          <cx:pt idx="9201">0</cx:pt>
          <cx:pt idx="9202">0</cx:pt>
          <cx:pt idx="9203">0</cx:pt>
          <cx:pt idx="9204">1</cx:pt>
          <cx:pt idx="9205">0</cx:pt>
          <cx:pt idx="9206">1</cx:pt>
          <cx:pt idx="9207">0</cx:pt>
          <cx:pt idx="9208">0</cx:pt>
          <cx:pt idx="9209">1</cx:pt>
          <cx:pt idx="9210">0</cx:pt>
          <cx:pt idx="9211">1</cx:pt>
          <cx:pt idx="9212">1</cx:pt>
          <cx:pt idx="9213">0</cx:pt>
          <cx:pt idx="9214">0</cx:pt>
          <cx:pt idx="9215">1</cx:pt>
          <cx:pt idx="9216">0</cx:pt>
          <cx:pt idx="9217">0</cx:pt>
          <cx:pt idx="9218">1</cx:pt>
          <cx:pt idx="9219">0</cx:pt>
          <cx:pt idx="9220">0</cx:pt>
          <cx:pt idx="9221">0</cx:pt>
          <cx:pt idx="9222">0</cx:pt>
          <cx:pt idx="9223">0</cx:pt>
          <cx:pt idx="9224">1</cx:pt>
          <cx:pt idx="9225">0</cx:pt>
          <cx:pt idx="9226">0</cx:pt>
          <cx:pt idx="9227">1</cx:pt>
          <cx:pt idx="9228">0</cx:pt>
          <cx:pt idx="9229">1</cx:pt>
          <cx:pt idx="9230">1</cx:pt>
          <cx:pt idx="9231">1</cx:pt>
          <cx:pt idx="9232">0</cx:pt>
          <cx:pt idx="9233">1</cx:pt>
          <cx:pt idx="9234">1</cx:pt>
          <cx:pt idx="9235">1</cx:pt>
          <cx:pt idx="9236">1</cx:pt>
          <cx:pt idx="9237">0</cx:pt>
          <cx:pt idx="9238">0</cx:pt>
          <cx:pt idx="9239">0</cx:pt>
          <cx:pt idx="9240">1</cx:pt>
          <cx:pt idx="9241">0</cx:pt>
          <cx:pt idx="9242">0</cx:pt>
          <cx:pt idx="9243">1</cx:pt>
          <cx:pt idx="9244">1</cx:pt>
          <cx:pt idx="9245">1</cx:pt>
          <cx:pt idx="9246">1</cx:pt>
          <cx:pt idx="9247">0</cx:pt>
          <cx:pt idx="9248">0</cx:pt>
          <cx:pt idx="9249">0</cx:pt>
          <cx:pt idx="9250">0</cx:pt>
          <cx:pt idx="9251">1</cx:pt>
          <cx:pt idx="9252">1</cx:pt>
          <cx:pt idx="9253">0</cx:pt>
          <cx:pt idx="9254">0</cx:pt>
          <cx:pt idx="9255">0</cx:pt>
          <cx:pt idx="9256">0</cx:pt>
          <cx:pt idx="9257">1</cx:pt>
          <cx:pt idx="9258">0</cx:pt>
          <cx:pt idx="9259">1</cx:pt>
          <cx:pt idx="9260">0</cx:pt>
          <cx:pt idx="9261">1</cx:pt>
          <cx:pt idx="9262">1</cx:pt>
          <cx:pt idx="9263">1</cx:pt>
          <cx:pt idx="9264">0</cx:pt>
          <cx:pt idx="9265">0</cx:pt>
          <cx:pt idx="9266">0</cx:pt>
          <cx:pt idx="9267">0</cx:pt>
          <cx:pt idx="9268">0</cx:pt>
          <cx:pt idx="9269">0</cx:pt>
          <cx:pt idx="9270">1</cx:pt>
          <cx:pt idx="9271">0</cx:pt>
          <cx:pt idx="9272">1</cx:pt>
          <cx:pt idx="9273">0</cx:pt>
          <cx:pt idx="9274">1</cx:pt>
          <cx:pt idx="9275">0</cx:pt>
          <cx:pt idx="9276">0</cx:pt>
          <cx:pt idx="9277">0</cx:pt>
          <cx:pt idx="9278">1</cx:pt>
          <cx:pt idx="9279">0</cx:pt>
          <cx:pt idx="9280">0</cx:pt>
          <cx:pt idx="9281">0</cx:pt>
          <cx:pt idx="9282">1</cx:pt>
          <cx:pt idx="9283">1</cx:pt>
          <cx:pt idx="9284">0</cx:pt>
          <cx:pt idx="9285">0</cx:pt>
          <cx:pt idx="9286">0</cx:pt>
          <cx:pt idx="9287">0</cx:pt>
          <cx:pt idx="9288">1</cx:pt>
          <cx:pt idx="9289">0</cx:pt>
          <cx:pt idx="9290">1</cx:pt>
          <cx:pt idx="9291">0</cx:pt>
          <cx:pt idx="9292">0</cx:pt>
          <cx:pt idx="9293">1</cx:pt>
          <cx:pt idx="9294">0</cx:pt>
          <cx:pt idx="9295">0</cx:pt>
          <cx:pt idx="9296">0</cx:pt>
          <cx:pt idx="9297">0</cx:pt>
          <cx:pt idx="9298">0</cx:pt>
          <cx:pt idx="9299">0</cx:pt>
          <cx:pt idx="9300">1</cx:pt>
          <cx:pt idx="9301">0</cx:pt>
          <cx:pt idx="9302">0</cx:pt>
          <cx:pt idx="9303">1</cx:pt>
          <cx:pt idx="9304">1</cx:pt>
          <cx:pt idx="9305">1</cx:pt>
          <cx:pt idx="9306">1</cx:pt>
          <cx:pt idx="9307">0</cx:pt>
          <cx:pt idx="9308">1</cx:pt>
          <cx:pt idx="9309">0</cx:pt>
          <cx:pt idx="9310">0</cx:pt>
          <cx:pt idx="9311">1</cx:pt>
          <cx:pt idx="9312">0</cx:pt>
          <cx:pt idx="9313">0</cx:pt>
          <cx:pt idx="9314">0</cx:pt>
          <cx:pt idx="9315">0</cx:pt>
          <cx:pt idx="9316">0</cx:pt>
          <cx:pt idx="9317">0</cx:pt>
          <cx:pt idx="9318">1</cx:pt>
          <cx:pt idx="9319">1</cx:pt>
          <cx:pt idx="9320">1</cx:pt>
          <cx:pt idx="9321">0</cx:pt>
          <cx:pt idx="9322">1</cx:pt>
          <cx:pt idx="9323">0</cx:pt>
          <cx:pt idx="9324">1</cx:pt>
          <cx:pt idx="9325">0</cx:pt>
          <cx:pt idx="9326">0</cx:pt>
          <cx:pt idx="9327">1</cx:pt>
          <cx:pt idx="9328">0</cx:pt>
          <cx:pt idx="9329">1</cx:pt>
          <cx:pt idx="9330">0</cx:pt>
          <cx:pt idx="9331">0</cx:pt>
          <cx:pt idx="9332">1</cx:pt>
          <cx:pt idx="9333">1</cx:pt>
          <cx:pt idx="9334">1</cx:pt>
          <cx:pt idx="9335">0</cx:pt>
          <cx:pt idx="9336">1</cx:pt>
          <cx:pt idx="9337">0</cx:pt>
          <cx:pt idx="9338">0</cx:pt>
          <cx:pt idx="9339">0</cx:pt>
          <cx:pt idx="9340">0</cx:pt>
          <cx:pt idx="9341">0</cx:pt>
          <cx:pt idx="9342">0</cx:pt>
          <cx:pt idx="9343">1</cx:pt>
          <cx:pt idx="9344">1</cx:pt>
          <cx:pt idx="9345">1</cx:pt>
          <cx:pt idx="9346">1</cx:pt>
          <cx:pt idx="9347">0</cx:pt>
          <cx:pt idx="9348">1</cx:pt>
          <cx:pt idx="9349">0</cx:pt>
          <cx:pt idx="9350">1</cx:pt>
          <cx:pt idx="9351">0</cx:pt>
          <cx:pt idx="9352">1</cx:pt>
          <cx:pt idx="9353">1</cx:pt>
          <cx:pt idx="9354">0</cx:pt>
          <cx:pt idx="9355">1</cx:pt>
          <cx:pt idx="9356">1</cx:pt>
          <cx:pt idx="9357">0</cx:pt>
          <cx:pt idx="9358">0</cx:pt>
          <cx:pt idx="9359">0</cx:pt>
          <cx:pt idx="9360">1</cx:pt>
          <cx:pt idx="9361">1</cx:pt>
          <cx:pt idx="9362">1</cx:pt>
          <cx:pt idx="9363">1</cx:pt>
          <cx:pt idx="9364">0</cx:pt>
          <cx:pt idx="9365">0</cx:pt>
          <cx:pt idx="9366">0</cx:pt>
          <cx:pt idx="9367">0</cx:pt>
          <cx:pt idx="9368">0</cx:pt>
          <cx:pt idx="9369">1</cx:pt>
          <cx:pt idx="9370">0</cx:pt>
          <cx:pt idx="9371">0</cx:pt>
          <cx:pt idx="9372">0</cx:pt>
          <cx:pt idx="9373">0</cx:pt>
          <cx:pt idx="9374">1</cx:pt>
          <cx:pt idx="9375">0</cx:pt>
          <cx:pt idx="9376">0</cx:pt>
          <cx:pt idx="9377">0</cx:pt>
          <cx:pt idx="9378">1</cx:pt>
          <cx:pt idx="9379">1</cx:pt>
          <cx:pt idx="9380">0</cx:pt>
          <cx:pt idx="9381">1</cx:pt>
          <cx:pt idx="9382">0</cx:pt>
          <cx:pt idx="9383">1</cx:pt>
          <cx:pt idx="9384">1</cx:pt>
          <cx:pt idx="9385">0</cx:pt>
          <cx:pt idx="9386">0</cx:pt>
          <cx:pt idx="9387">0</cx:pt>
          <cx:pt idx="9388">0</cx:pt>
          <cx:pt idx="9389">1</cx:pt>
          <cx:pt idx="9390">0</cx:pt>
          <cx:pt idx="9391">1</cx:pt>
          <cx:pt idx="9392">0</cx:pt>
          <cx:pt idx="9393">1</cx:pt>
          <cx:pt idx="9394">0</cx:pt>
          <cx:pt idx="9395">0</cx:pt>
          <cx:pt idx="9396">0</cx:pt>
          <cx:pt idx="9397">0</cx:pt>
          <cx:pt idx="9398">0</cx:pt>
          <cx:pt idx="9399">0</cx:pt>
          <cx:pt idx="9400">1</cx:pt>
          <cx:pt idx="9401">1</cx:pt>
          <cx:pt idx="9402">0</cx:pt>
          <cx:pt idx="9403">0</cx:pt>
          <cx:pt idx="9404">1</cx:pt>
          <cx:pt idx="9405">0</cx:pt>
          <cx:pt idx="9406">0</cx:pt>
          <cx:pt idx="9407">0</cx:pt>
          <cx:pt idx="9408">0</cx:pt>
          <cx:pt idx="9409">0</cx:pt>
          <cx:pt idx="9410">1</cx:pt>
          <cx:pt idx="9411">1</cx:pt>
          <cx:pt idx="9412">1</cx:pt>
          <cx:pt idx="9413">0</cx:pt>
          <cx:pt idx="9414">0</cx:pt>
          <cx:pt idx="9415">1</cx:pt>
          <cx:pt idx="9416">0</cx:pt>
          <cx:pt idx="9417">1</cx:pt>
          <cx:pt idx="9418">1</cx:pt>
          <cx:pt idx="9419">0</cx:pt>
          <cx:pt idx="9420">0</cx:pt>
          <cx:pt idx="9421">1</cx:pt>
          <cx:pt idx="9422">0</cx:pt>
          <cx:pt idx="9423">0</cx:pt>
          <cx:pt idx="9424">0</cx:pt>
          <cx:pt idx="9425">0</cx:pt>
          <cx:pt idx="9426">1</cx:pt>
          <cx:pt idx="9427">0</cx:pt>
          <cx:pt idx="9428">1</cx:pt>
          <cx:pt idx="9429">0</cx:pt>
          <cx:pt idx="9430">0</cx:pt>
          <cx:pt idx="9431">0</cx:pt>
          <cx:pt idx="9432">0</cx:pt>
          <cx:pt idx="9433">0</cx:pt>
          <cx:pt idx="9434">0</cx:pt>
          <cx:pt idx="9435">1</cx:pt>
          <cx:pt idx="9436">1</cx:pt>
          <cx:pt idx="9437">0</cx:pt>
          <cx:pt idx="9438">1</cx:pt>
          <cx:pt idx="9439">1</cx:pt>
          <cx:pt idx="9440">0</cx:pt>
          <cx:pt idx="9441">0</cx:pt>
          <cx:pt idx="9442">0</cx:pt>
          <cx:pt idx="9443">1</cx:pt>
          <cx:pt idx="9444">0</cx:pt>
          <cx:pt idx="9445">0</cx:pt>
          <cx:pt idx="9446">0</cx:pt>
          <cx:pt idx="9447">0</cx:pt>
          <cx:pt idx="9448">0</cx:pt>
          <cx:pt idx="9449">0</cx:pt>
          <cx:pt idx="9450">0</cx:pt>
          <cx:pt idx="9451">1</cx:pt>
          <cx:pt idx="9452">1</cx:pt>
          <cx:pt idx="9453">0</cx:pt>
          <cx:pt idx="9454">0</cx:pt>
          <cx:pt idx="9455">1</cx:pt>
          <cx:pt idx="9456">1</cx:pt>
          <cx:pt idx="9457">0</cx:pt>
          <cx:pt idx="9458">1</cx:pt>
          <cx:pt idx="9459">0</cx:pt>
          <cx:pt idx="9460">1</cx:pt>
          <cx:pt idx="9461">1</cx:pt>
          <cx:pt idx="9462">1</cx:pt>
          <cx:pt idx="9463">0</cx:pt>
          <cx:pt idx="9464">0</cx:pt>
          <cx:pt idx="9465">1</cx:pt>
          <cx:pt idx="9466">0</cx:pt>
          <cx:pt idx="9467">1</cx:pt>
          <cx:pt idx="9468">0</cx:pt>
          <cx:pt idx="9469">1</cx:pt>
          <cx:pt idx="9470">0</cx:pt>
          <cx:pt idx="9471">1</cx:pt>
          <cx:pt idx="9472">0</cx:pt>
          <cx:pt idx="9473">1</cx:pt>
          <cx:pt idx="9474">0</cx:pt>
          <cx:pt idx="9475">0</cx:pt>
          <cx:pt idx="9476">0</cx:pt>
          <cx:pt idx="9477">0</cx:pt>
          <cx:pt idx="9478">1</cx:pt>
          <cx:pt idx="9479">0</cx:pt>
          <cx:pt idx="9480">1</cx:pt>
          <cx:pt idx="9481">1</cx:pt>
          <cx:pt idx="9482">0</cx:pt>
          <cx:pt idx="9483">0</cx:pt>
          <cx:pt idx="9484">1</cx:pt>
          <cx:pt idx="9485">1</cx:pt>
          <cx:pt idx="9486">1</cx:pt>
          <cx:pt idx="9487">0</cx:pt>
          <cx:pt idx="9488">0</cx:pt>
          <cx:pt idx="9489">1</cx:pt>
          <cx:pt idx="9490">1</cx:pt>
          <cx:pt idx="9491">0</cx:pt>
          <cx:pt idx="9492">1</cx:pt>
          <cx:pt idx="9493">0</cx:pt>
          <cx:pt idx="9494">1</cx:pt>
          <cx:pt idx="9495">0</cx:pt>
          <cx:pt idx="9496">0</cx:pt>
          <cx:pt idx="9497">0</cx:pt>
          <cx:pt idx="9498">1</cx:pt>
          <cx:pt idx="9499">1</cx:pt>
          <cx:pt idx="9500">1</cx:pt>
          <cx:pt idx="9501">0</cx:pt>
          <cx:pt idx="9502">1</cx:pt>
          <cx:pt idx="9503">1</cx:pt>
          <cx:pt idx="9504">1</cx:pt>
          <cx:pt idx="9505">0</cx:pt>
          <cx:pt idx="9506">0</cx:pt>
          <cx:pt idx="9507">0</cx:pt>
          <cx:pt idx="9508">1</cx:pt>
          <cx:pt idx="9509">0</cx:pt>
          <cx:pt idx="9510">0</cx:pt>
          <cx:pt idx="9511">0</cx:pt>
          <cx:pt idx="9512">0</cx:pt>
          <cx:pt idx="9513">1</cx:pt>
          <cx:pt idx="9514">1</cx:pt>
          <cx:pt idx="9515">0</cx:pt>
          <cx:pt idx="9516">1</cx:pt>
          <cx:pt idx="9517">0</cx:pt>
          <cx:pt idx="9518">1</cx:pt>
          <cx:pt idx="9519">1</cx:pt>
          <cx:pt idx="9520">1</cx:pt>
          <cx:pt idx="9521">1</cx:pt>
          <cx:pt idx="9522">1</cx:pt>
          <cx:pt idx="9523">0</cx:pt>
          <cx:pt idx="9524">1</cx:pt>
          <cx:pt idx="9525">1</cx:pt>
          <cx:pt idx="9526">0</cx:pt>
          <cx:pt idx="9527">1</cx:pt>
          <cx:pt idx="9528">0</cx:pt>
          <cx:pt idx="9529">0</cx:pt>
          <cx:pt idx="9530">1</cx:pt>
          <cx:pt idx="9531">1</cx:pt>
          <cx:pt idx="9532">0</cx:pt>
          <cx:pt idx="9533">0</cx:pt>
          <cx:pt idx="9534">0</cx:pt>
          <cx:pt idx="9535">0</cx:pt>
          <cx:pt idx="9536">0</cx:pt>
          <cx:pt idx="9537">1</cx:pt>
          <cx:pt idx="9538">0</cx:pt>
          <cx:pt idx="9539">1</cx:pt>
          <cx:pt idx="9540">0</cx:pt>
          <cx:pt idx="9541">0</cx:pt>
          <cx:pt idx="9542">1</cx:pt>
          <cx:pt idx="9543">0</cx:pt>
          <cx:pt idx="9544">0</cx:pt>
          <cx:pt idx="9545">1</cx:pt>
          <cx:pt idx="9546">1</cx:pt>
          <cx:pt idx="9547">0</cx:pt>
          <cx:pt idx="9548">1</cx:pt>
          <cx:pt idx="9549">0</cx:pt>
          <cx:pt idx="9550">1</cx:pt>
          <cx:pt idx="9551">0</cx:pt>
          <cx:pt idx="9552">1</cx:pt>
          <cx:pt idx="9553">0</cx:pt>
          <cx:pt idx="9554">0</cx:pt>
          <cx:pt idx="9555">1</cx:pt>
          <cx:pt idx="9556">1</cx:pt>
          <cx:pt idx="9557">0</cx:pt>
          <cx:pt idx="9558">0</cx:pt>
          <cx:pt idx="9559">1</cx:pt>
          <cx:pt idx="9560">1</cx:pt>
          <cx:pt idx="9561">0</cx:pt>
          <cx:pt idx="9562">0</cx:pt>
          <cx:pt idx="9563">0</cx:pt>
          <cx:pt idx="9564">1</cx:pt>
          <cx:pt idx="9565">0</cx:pt>
          <cx:pt idx="9566">1</cx:pt>
          <cx:pt idx="9567">1</cx:pt>
          <cx:pt idx="9568">0</cx:pt>
          <cx:pt idx="9569">0</cx:pt>
          <cx:pt idx="9570">0</cx:pt>
          <cx:pt idx="9571">1</cx:pt>
          <cx:pt idx="9572">1</cx:pt>
          <cx:pt idx="9573">1</cx:pt>
          <cx:pt idx="9574">0</cx:pt>
          <cx:pt idx="9575">0</cx:pt>
          <cx:pt idx="9576">0</cx:pt>
          <cx:pt idx="9577">1</cx:pt>
          <cx:pt idx="9578">1</cx:pt>
          <cx:pt idx="9579">1</cx:pt>
          <cx:pt idx="9580">0</cx:pt>
          <cx:pt idx="9581">1</cx:pt>
          <cx:pt idx="9582">0</cx:pt>
          <cx:pt idx="9583">1</cx:pt>
          <cx:pt idx="9584">0</cx:pt>
          <cx:pt idx="9585">0</cx:pt>
          <cx:pt idx="9586">1</cx:pt>
          <cx:pt idx="9587">0</cx:pt>
          <cx:pt idx="9588">1</cx:pt>
          <cx:pt idx="9589">0</cx:pt>
          <cx:pt idx="9590">1</cx:pt>
          <cx:pt idx="9591">0</cx:pt>
          <cx:pt idx="9592">0</cx:pt>
          <cx:pt idx="9593">0</cx:pt>
          <cx:pt idx="9594">1</cx:pt>
          <cx:pt idx="9595">1</cx:pt>
          <cx:pt idx="9596">1</cx:pt>
          <cx:pt idx="9597">0</cx:pt>
          <cx:pt idx="9598">0</cx:pt>
          <cx:pt idx="9599">0</cx:pt>
          <cx:pt idx="9600">1</cx:pt>
          <cx:pt idx="9601">1</cx:pt>
          <cx:pt idx="9602">1</cx:pt>
          <cx:pt idx="9603">1</cx:pt>
          <cx:pt idx="9604">1</cx:pt>
          <cx:pt idx="9605">0</cx:pt>
          <cx:pt idx="9606">1</cx:pt>
          <cx:pt idx="9607">0</cx:pt>
          <cx:pt idx="9608">1</cx:pt>
          <cx:pt idx="9609">1</cx:pt>
          <cx:pt idx="9610">1</cx:pt>
          <cx:pt idx="9611">0</cx:pt>
          <cx:pt idx="9612">1</cx:pt>
          <cx:pt idx="9613">0</cx:pt>
          <cx:pt idx="9614">0</cx:pt>
          <cx:pt idx="9615">0</cx:pt>
          <cx:pt idx="9616">0</cx:pt>
          <cx:pt idx="9617">0</cx:pt>
          <cx:pt idx="9618">1</cx:pt>
          <cx:pt idx="9619">1</cx:pt>
          <cx:pt idx="9620">1</cx:pt>
          <cx:pt idx="9621">0</cx:pt>
          <cx:pt idx="9622">1</cx:pt>
          <cx:pt idx="9623">1</cx:pt>
          <cx:pt idx="9624">0</cx:pt>
          <cx:pt idx="9625">1</cx:pt>
          <cx:pt idx="9626">0</cx:pt>
          <cx:pt idx="9627">1</cx:pt>
          <cx:pt idx="9628">0</cx:pt>
          <cx:pt idx="9629">0</cx:pt>
          <cx:pt idx="9630">1</cx:pt>
          <cx:pt idx="9631">1</cx:pt>
          <cx:pt idx="9632">0</cx:pt>
          <cx:pt idx="9633">0</cx:pt>
          <cx:pt idx="9634">1</cx:pt>
          <cx:pt idx="9635">0</cx:pt>
          <cx:pt idx="9636">0</cx:pt>
          <cx:pt idx="9637">0</cx:pt>
          <cx:pt idx="9638">1</cx:pt>
          <cx:pt idx="9639">0</cx:pt>
          <cx:pt idx="9640">1</cx:pt>
          <cx:pt idx="9641">0</cx:pt>
          <cx:pt idx="9642">1</cx:pt>
          <cx:pt idx="9643">1</cx:pt>
          <cx:pt idx="9644">0</cx:pt>
          <cx:pt idx="9645">0</cx:pt>
          <cx:pt idx="9646">0</cx:pt>
          <cx:pt idx="9647">1</cx:pt>
          <cx:pt idx="9648">0</cx:pt>
          <cx:pt idx="9649">0</cx:pt>
          <cx:pt idx="9650">0</cx:pt>
          <cx:pt idx="9651">0</cx:pt>
          <cx:pt idx="9652">1</cx:pt>
          <cx:pt idx="9653">0</cx:pt>
          <cx:pt idx="9654">0</cx:pt>
          <cx:pt idx="9655">0</cx:pt>
          <cx:pt idx="9656">0</cx:pt>
          <cx:pt idx="9657">0</cx:pt>
          <cx:pt idx="9658">0</cx:pt>
          <cx:pt idx="9659">1</cx:pt>
          <cx:pt idx="9660">1</cx:pt>
          <cx:pt idx="9661">0</cx:pt>
          <cx:pt idx="9662">0</cx:pt>
          <cx:pt idx="9663">1</cx:pt>
          <cx:pt idx="9664">0</cx:pt>
          <cx:pt idx="9665">1</cx:pt>
          <cx:pt idx="9666">0</cx:pt>
          <cx:pt idx="9667">1</cx:pt>
          <cx:pt idx="9668">1</cx:pt>
          <cx:pt idx="9669">0</cx:pt>
          <cx:pt idx="9670">0</cx:pt>
          <cx:pt idx="9671">1</cx:pt>
          <cx:pt idx="9672">0</cx:pt>
          <cx:pt idx="9673">1</cx:pt>
          <cx:pt idx="9674">1</cx:pt>
          <cx:pt idx="9675">0</cx:pt>
          <cx:pt idx="9676">0</cx:pt>
          <cx:pt idx="9677">0</cx:pt>
          <cx:pt idx="9678">1</cx:pt>
          <cx:pt idx="9679">0</cx:pt>
          <cx:pt idx="9680">1</cx:pt>
          <cx:pt idx="9681">1</cx:pt>
          <cx:pt idx="9682">0</cx:pt>
          <cx:pt idx="9683">0</cx:pt>
          <cx:pt idx="9684">1</cx:pt>
          <cx:pt idx="9685">1</cx:pt>
          <cx:pt idx="9686">0</cx:pt>
          <cx:pt idx="9687">0</cx:pt>
          <cx:pt idx="9688">1</cx:pt>
          <cx:pt idx="9689">1</cx:pt>
          <cx:pt idx="9690">0</cx:pt>
          <cx:pt idx="9691">0</cx:pt>
          <cx:pt idx="9692">0</cx:pt>
          <cx:pt idx="9693">0</cx:pt>
          <cx:pt idx="9694">0</cx:pt>
          <cx:pt idx="9695">1</cx:pt>
          <cx:pt idx="9696">0</cx:pt>
          <cx:pt idx="9697">0</cx:pt>
          <cx:pt idx="9698">1</cx:pt>
          <cx:pt idx="9699">1</cx:pt>
          <cx:pt idx="9700">1</cx:pt>
          <cx:pt idx="9701">0</cx:pt>
          <cx:pt idx="9702">0</cx:pt>
          <cx:pt idx="9703">0</cx:pt>
          <cx:pt idx="9704">1</cx:pt>
          <cx:pt idx="9705">0</cx:pt>
          <cx:pt idx="9706">0</cx:pt>
          <cx:pt idx="9707">0</cx:pt>
          <cx:pt idx="9708">0</cx:pt>
          <cx:pt idx="9709">1</cx:pt>
          <cx:pt idx="9710">0</cx:pt>
          <cx:pt idx="9711">1</cx:pt>
          <cx:pt idx="9712">0</cx:pt>
          <cx:pt idx="9713">1</cx:pt>
          <cx:pt idx="9714">1</cx:pt>
          <cx:pt idx="9715">0</cx:pt>
          <cx:pt idx="9716">1</cx:pt>
          <cx:pt idx="9717">1</cx:pt>
          <cx:pt idx="9718">1</cx:pt>
          <cx:pt idx="9719">1</cx:pt>
          <cx:pt idx="9720">0</cx:pt>
          <cx:pt idx="9721">0</cx:pt>
          <cx:pt idx="9722">1</cx:pt>
          <cx:pt idx="9723">0</cx:pt>
          <cx:pt idx="9724">1</cx:pt>
          <cx:pt idx="9725">1</cx:pt>
          <cx:pt idx="9726">0</cx:pt>
          <cx:pt idx="9727">0</cx:pt>
          <cx:pt idx="9728">1</cx:pt>
          <cx:pt idx="9729">0</cx:pt>
          <cx:pt idx="9730">0</cx:pt>
          <cx:pt idx="9731">0</cx:pt>
          <cx:pt idx="9732">1</cx:pt>
          <cx:pt idx="9733">0</cx:pt>
          <cx:pt idx="9734">0</cx:pt>
          <cx:pt idx="9735">0</cx:pt>
          <cx:pt idx="9736">1</cx:pt>
          <cx:pt idx="9737">0</cx:pt>
          <cx:pt idx="9738">0</cx:pt>
          <cx:pt idx="9739">0</cx:pt>
          <cx:pt idx="9740">0</cx:pt>
          <cx:pt idx="9741">1</cx:pt>
          <cx:pt idx="9742">0</cx:pt>
          <cx:pt idx="9743">1</cx:pt>
          <cx:pt idx="9744">0</cx:pt>
          <cx:pt idx="9745">0</cx:pt>
          <cx:pt idx="9746">1</cx:pt>
          <cx:pt idx="9747">1</cx:pt>
          <cx:pt idx="9748">0</cx:pt>
          <cx:pt idx="9749">1</cx:pt>
          <cx:pt idx="9750">1</cx:pt>
          <cx:pt idx="9751">0</cx:pt>
          <cx:pt idx="9752">0</cx:pt>
          <cx:pt idx="9753">0</cx:pt>
          <cx:pt idx="9754">1</cx:pt>
          <cx:pt idx="9755">0</cx:pt>
          <cx:pt idx="9756">0</cx:pt>
          <cx:pt idx="9757">0</cx:pt>
          <cx:pt idx="9758">0</cx:pt>
          <cx:pt idx="9759">0</cx:pt>
          <cx:pt idx="9760">1</cx:pt>
          <cx:pt idx="9761">0</cx:pt>
          <cx:pt idx="9762">1</cx:pt>
          <cx:pt idx="9763">0</cx:pt>
          <cx:pt idx="9764">0</cx:pt>
          <cx:pt idx="9765">0</cx:pt>
          <cx:pt idx="9766">1</cx:pt>
          <cx:pt idx="9767">1</cx:pt>
          <cx:pt idx="9768">1</cx:pt>
          <cx:pt idx="9769">0</cx:pt>
          <cx:pt idx="9770">0</cx:pt>
          <cx:pt idx="9771">0</cx:pt>
          <cx:pt idx="9772">1</cx:pt>
          <cx:pt idx="9773">0</cx:pt>
          <cx:pt idx="9774">0</cx:pt>
          <cx:pt idx="9775">0</cx:pt>
          <cx:pt idx="9776">0</cx:pt>
          <cx:pt idx="9777">1</cx:pt>
          <cx:pt idx="9778">0</cx:pt>
          <cx:pt idx="9779">1</cx:pt>
          <cx:pt idx="9780">0</cx:pt>
          <cx:pt idx="9781">0</cx:pt>
          <cx:pt idx="9782">1</cx:pt>
          <cx:pt idx="9783">0</cx:pt>
          <cx:pt idx="9784">1</cx:pt>
          <cx:pt idx="9785">0</cx:pt>
          <cx:pt idx="9786">0</cx:pt>
          <cx:pt idx="9787">0</cx:pt>
          <cx:pt idx="9788">1</cx:pt>
          <cx:pt idx="9789">0</cx:pt>
          <cx:pt idx="9790">1</cx:pt>
          <cx:pt idx="9791">0</cx:pt>
          <cx:pt idx="9792">1</cx:pt>
          <cx:pt idx="9793">0</cx:pt>
          <cx:pt idx="9794">0</cx:pt>
          <cx:pt idx="9795">0</cx:pt>
          <cx:pt idx="9796">0</cx:pt>
          <cx:pt idx="9797">0</cx:pt>
          <cx:pt idx="9798">0</cx:pt>
          <cx:pt idx="9799">1</cx:pt>
          <cx:pt idx="9800">1</cx:pt>
          <cx:pt idx="9801">1</cx:pt>
          <cx:pt idx="9802">1</cx:pt>
          <cx:pt idx="9803">0</cx:pt>
          <cx:pt idx="9804">1</cx:pt>
          <cx:pt idx="9805">0</cx:pt>
          <cx:pt idx="9806">0</cx:pt>
          <cx:pt idx="9807">0</cx:pt>
          <cx:pt idx="9808">1</cx:pt>
          <cx:pt idx="9809">0</cx:pt>
          <cx:pt idx="9810">0</cx:pt>
          <cx:pt idx="9811">1</cx:pt>
          <cx:pt idx="9812">1</cx:pt>
          <cx:pt idx="9813">1</cx:pt>
          <cx:pt idx="9814">1</cx:pt>
          <cx:pt idx="9815">0</cx:pt>
          <cx:pt idx="9816">0</cx:pt>
          <cx:pt idx="9817">0</cx:pt>
          <cx:pt idx="9818">0</cx:pt>
          <cx:pt idx="9819">0</cx:pt>
          <cx:pt idx="9820">0</cx:pt>
          <cx:pt idx="9821">0</cx:pt>
          <cx:pt idx="9822">1</cx:pt>
          <cx:pt idx="9823">0</cx:pt>
          <cx:pt idx="9824">0</cx:pt>
          <cx:pt idx="9825">0</cx:pt>
          <cx:pt idx="9826">1</cx:pt>
          <cx:pt idx="9827">0</cx:pt>
          <cx:pt idx="9828">1</cx:pt>
          <cx:pt idx="9829">1</cx:pt>
          <cx:pt idx="9830">1</cx:pt>
          <cx:pt idx="9831">0</cx:pt>
          <cx:pt idx="9832">1</cx:pt>
          <cx:pt idx="9833">1</cx:pt>
          <cx:pt idx="9834">1</cx:pt>
          <cx:pt idx="9835">1</cx:pt>
          <cx:pt idx="9836">0</cx:pt>
          <cx:pt idx="9837">0</cx:pt>
          <cx:pt idx="9838">0</cx:pt>
          <cx:pt idx="9839">1</cx:pt>
          <cx:pt idx="9840">1</cx:pt>
          <cx:pt idx="9841">0</cx:pt>
          <cx:pt idx="9842">1</cx:pt>
          <cx:pt idx="9843">1</cx:pt>
          <cx:pt idx="9844">0</cx:pt>
          <cx:pt idx="9845">0</cx:pt>
          <cx:pt idx="9846">0</cx:pt>
          <cx:pt idx="9847">0</cx:pt>
          <cx:pt idx="9848">0</cx:pt>
          <cx:pt idx="9849">0</cx:pt>
          <cx:pt idx="9850">1</cx:pt>
          <cx:pt idx="9851">0</cx:pt>
          <cx:pt idx="9852">1</cx:pt>
          <cx:pt idx="9853">0</cx:pt>
          <cx:pt idx="9854">1</cx:pt>
          <cx:pt idx="9855">0</cx:pt>
          <cx:pt idx="9856">1</cx:pt>
          <cx:pt idx="9857">1</cx:pt>
          <cx:pt idx="9858">0</cx:pt>
          <cx:pt idx="9859">0</cx:pt>
          <cx:pt idx="9860">0</cx:pt>
          <cx:pt idx="9861">1</cx:pt>
          <cx:pt idx="9862">1</cx:pt>
          <cx:pt idx="9863">1</cx:pt>
          <cx:pt idx="9864">0</cx:pt>
          <cx:pt idx="9865">1</cx:pt>
          <cx:pt idx="9866">0</cx:pt>
          <cx:pt idx="9867">1</cx:pt>
          <cx:pt idx="9868">0</cx:pt>
          <cx:pt idx="9869">0</cx:pt>
          <cx:pt idx="9870">1</cx:pt>
          <cx:pt idx="9871">0</cx:pt>
          <cx:pt idx="9872">0</cx:pt>
          <cx:pt idx="9873">1</cx:pt>
          <cx:pt idx="9874">0</cx:pt>
          <cx:pt idx="9875">1</cx:pt>
          <cx:pt idx="9876">0</cx:pt>
          <cx:pt idx="9877">1</cx:pt>
          <cx:pt idx="9878">1</cx:pt>
          <cx:pt idx="9879">1</cx:pt>
          <cx:pt idx="9880">1</cx:pt>
          <cx:pt idx="9881">0</cx:pt>
          <cx:pt idx="9882">0</cx:pt>
          <cx:pt idx="9883">1</cx:pt>
          <cx:pt idx="9884">0</cx:pt>
          <cx:pt idx="9885">1</cx:pt>
          <cx:pt idx="9886">0</cx:pt>
          <cx:pt idx="9887">0</cx:pt>
          <cx:pt idx="9888">1</cx:pt>
          <cx:pt idx="9889">0</cx:pt>
          <cx:pt idx="9890">0</cx:pt>
          <cx:pt idx="9891">0</cx:pt>
          <cx:pt idx="9892">0</cx:pt>
          <cx:pt idx="9893">0</cx:pt>
          <cx:pt idx="9894">1</cx:pt>
          <cx:pt idx="9895">1</cx:pt>
          <cx:pt idx="9896">1</cx:pt>
          <cx:pt idx="9897">0</cx:pt>
          <cx:pt idx="9898">0</cx:pt>
          <cx:pt idx="9899">1</cx:pt>
          <cx:pt idx="9900">1</cx:pt>
          <cx:pt idx="9901">0</cx:pt>
          <cx:pt idx="9902">1</cx:pt>
          <cx:pt idx="9903">0</cx:pt>
          <cx:pt idx="9904">0</cx:pt>
          <cx:pt idx="9905">0</cx:pt>
          <cx:pt idx="9906">0</cx:pt>
          <cx:pt idx="9907">0</cx:pt>
          <cx:pt idx="9908">0</cx:pt>
          <cx:pt idx="9909">0</cx:pt>
          <cx:pt idx="9910">0</cx:pt>
          <cx:pt idx="9911">1</cx:pt>
          <cx:pt idx="9912">1</cx:pt>
          <cx:pt idx="9913">1</cx:pt>
          <cx:pt idx="9914">0</cx:pt>
          <cx:pt idx="9915">0</cx:pt>
          <cx:pt idx="9916">1</cx:pt>
          <cx:pt idx="9917">1</cx:pt>
          <cx:pt idx="9918">0</cx:pt>
          <cx:pt idx="9919">0</cx:pt>
          <cx:pt idx="9920">1</cx:pt>
          <cx:pt idx="9921">1</cx:pt>
          <cx:pt idx="9922">0</cx:pt>
          <cx:pt idx="9923">1</cx:pt>
          <cx:pt idx="9924">0</cx:pt>
          <cx:pt idx="9925">1</cx:pt>
          <cx:pt idx="9926">1</cx:pt>
          <cx:pt idx="9927">0</cx:pt>
          <cx:pt idx="9928">0</cx:pt>
          <cx:pt idx="9929">1</cx:pt>
          <cx:pt idx="9930">0</cx:pt>
          <cx:pt idx="9931">0</cx:pt>
          <cx:pt idx="9932">1</cx:pt>
          <cx:pt idx="9933">1</cx:pt>
          <cx:pt idx="9934">0</cx:pt>
          <cx:pt idx="9935">0</cx:pt>
          <cx:pt idx="9936">0</cx:pt>
          <cx:pt idx="9937">1</cx:pt>
          <cx:pt idx="9938">0</cx:pt>
          <cx:pt idx="9939">0</cx:pt>
          <cx:pt idx="9940">0</cx:pt>
          <cx:pt idx="9941">1</cx:pt>
          <cx:pt idx="9942">1</cx:pt>
          <cx:pt idx="9943">1</cx:pt>
          <cx:pt idx="9944">0</cx:pt>
          <cx:pt idx="9945">0</cx:pt>
          <cx:pt idx="9946">0</cx:pt>
          <cx:pt idx="9947">0</cx:pt>
          <cx:pt idx="9948">1</cx:pt>
          <cx:pt idx="9949">1</cx:pt>
          <cx:pt idx="9950">0</cx:pt>
          <cx:pt idx="9951">1</cx:pt>
          <cx:pt idx="9952">0</cx:pt>
          <cx:pt idx="9953">0</cx:pt>
          <cx:pt idx="9954">1</cx:pt>
          <cx:pt idx="9955">0</cx:pt>
          <cx:pt idx="9956">0</cx:pt>
          <cx:pt idx="9957">0</cx:pt>
          <cx:pt idx="9958">0</cx:pt>
          <cx:pt idx="9959">0</cx:pt>
          <cx:pt idx="9960">0</cx:pt>
          <cx:pt idx="9961">1</cx:pt>
          <cx:pt idx="9962">0</cx:pt>
          <cx:pt idx="9963">0</cx:pt>
          <cx:pt idx="9964">0</cx:pt>
          <cx:pt idx="9965">1</cx:pt>
          <cx:pt idx="9966">0</cx:pt>
          <cx:pt idx="9967">0</cx:pt>
          <cx:pt idx="9968">0</cx:pt>
          <cx:pt idx="9969">1</cx:pt>
          <cx:pt idx="9970">1</cx:pt>
          <cx:pt idx="9971">1</cx:pt>
          <cx:pt idx="9972">1</cx:pt>
          <cx:pt idx="9973">0</cx:pt>
          <cx:pt idx="9974">0</cx:pt>
          <cx:pt idx="9975">0</cx:pt>
          <cx:pt idx="9976">1</cx:pt>
          <cx:pt idx="9977">0</cx:pt>
          <cx:pt idx="9978">1</cx:pt>
          <cx:pt idx="9979">1</cx:pt>
          <cx:pt idx="9980">1</cx:pt>
          <cx:pt idx="9981">0</cx:pt>
          <cx:pt idx="9982">0</cx:pt>
          <cx:pt idx="9983">1</cx:pt>
          <cx:pt idx="9984">1</cx:pt>
          <cx:pt idx="9985">1</cx:pt>
          <cx:pt idx="9986">1</cx:pt>
          <cx:pt idx="9987">0</cx:pt>
          <cx:pt idx="9988">0</cx:pt>
          <cx:pt idx="9989">1</cx:pt>
          <cx:pt idx="9990">0</cx:pt>
          <cx:pt idx="9991">0</cx:pt>
          <cx:pt idx="9992">0</cx:pt>
          <cx:pt idx="9993">1</cx:pt>
          <cx:pt idx="9994">1</cx:pt>
          <cx:pt idx="9995">1</cx:pt>
          <cx:pt idx="9996">1</cx:pt>
          <cx:pt idx="9997">1</cx:pt>
          <cx:pt idx="9998">1</cx:pt>
          <cx:pt idx="9999">1</cx:pt>
          <cx:pt idx="10000">1</cx:pt>
          <cx:pt idx="10001">1</cx:pt>
          <cx:pt idx="10002">0</cx:pt>
          <cx:pt idx="10003">0</cx:pt>
          <cx:pt idx="10004">1</cx:pt>
          <cx:pt idx="10005">0</cx:pt>
          <cx:pt idx="10006">0</cx:pt>
          <cx:pt idx="10007">0</cx:pt>
          <cx:pt idx="10008">0</cx:pt>
          <cx:pt idx="10009">0</cx:pt>
          <cx:pt idx="10010">0</cx:pt>
          <cx:pt idx="10011">1</cx:pt>
          <cx:pt idx="10012">0</cx:pt>
          <cx:pt idx="10013">0</cx:pt>
          <cx:pt idx="10014">0</cx:pt>
          <cx:pt idx="10015">0</cx:pt>
          <cx:pt idx="10016">0</cx:pt>
          <cx:pt idx="10017">0</cx:pt>
          <cx:pt idx="10018">1</cx:pt>
          <cx:pt idx="10019">0</cx:pt>
          <cx:pt idx="10020">0</cx:pt>
          <cx:pt idx="10021">0</cx:pt>
          <cx:pt idx="10022">0</cx:pt>
          <cx:pt idx="10023">1</cx:pt>
          <cx:pt idx="10024">0</cx:pt>
          <cx:pt idx="10025">0</cx:pt>
          <cx:pt idx="10026">0</cx:pt>
          <cx:pt idx="10027">1</cx:pt>
          <cx:pt idx="10028">0</cx:pt>
          <cx:pt idx="10029">1</cx:pt>
          <cx:pt idx="10030">1</cx:pt>
          <cx:pt idx="10031">0</cx:pt>
          <cx:pt idx="10032">0</cx:pt>
          <cx:pt idx="10033">0</cx:pt>
          <cx:pt idx="10034">0</cx:pt>
          <cx:pt idx="10035">1</cx:pt>
          <cx:pt idx="10036">1</cx:pt>
          <cx:pt idx="10037">1</cx:pt>
          <cx:pt idx="10038">1</cx:pt>
          <cx:pt idx="10039">0</cx:pt>
          <cx:pt idx="10040">1</cx:pt>
          <cx:pt idx="10041">1</cx:pt>
          <cx:pt idx="10042">0</cx:pt>
          <cx:pt idx="10043">0</cx:pt>
          <cx:pt idx="10044">0</cx:pt>
          <cx:pt idx="10045">1</cx:pt>
          <cx:pt idx="10046">0</cx:pt>
          <cx:pt idx="10047">0</cx:pt>
          <cx:pt idx="10048">1</cx:pt>
          <cx:pt idx="10049">1</cx:pt>
          <cx:pt idx="10050">1</cx:pt>
          <cx:pt idx="10051">1</cx:pt>
          <cx:pt idx="10052">0</cx:pt>
          <cx:pt idx="10053">0</cx:pt>
          <cx:pt idx="10054">1</cx:pt>
          <cx:pt idx="10055">0</cx:pt>
          <cx:pt idx="10056">1</cx:pt>
          <cx:pt idx="10057">0</cx:pt>
          <cx:pt idx="10058">1</cx:pt>
          <cx:pt idx="10059">0</cx:pt>
          <cx:pt idx="10060">1</cx:pt>
          <cx:pt idx="10061">1</cx:pt>
          <cx:pt idx="10062">0</cx:pt>
          <cx:pt idx="10063">0</cx:pt>
          <cx:pt idx="10064">1</cx:pt>
          <cx:pt idx="10065">1</cx:pt>
          <cx:pt idx="10066">1</cx:pt>
          <cx:pt idx="10067">1</cx:pt>
          <cx:pt idx="10068">1</cx:pt>
          <cx:pt idx="10069">1</cx:pt>
          <cx:pt idx="10070">0</cx:pt>
          <cx:pt idx="10071">0</cx:pt>
          <cx:pt idx="10072">1</cx:pt>
          <cx:pt idx="10073">0</cx:pt>
          <cx:pt idx="10074">0</cx:pt>
          <cx:pt idx="10075">0</cx:pt>
          <cx:pt idx="10076">1</cx:pt>
          <cx:pt idx="10077">1</cx:pt>
          <cx:pt idx="10078">1</cx:pt>
          <cx:pt idx="10079">0</cx:pt>
          <cx:pt idx="10080">0</cx:pt>
          <cx:pt idx="10081">0</cx:pt>
          <cx:pt idx="10082">0</cx:pt>
          <cx:pt idx="10083">1</cx:pt>
          <cx:pt idx="10084">0</cx:pt>
          <cx:pt idx="10085">1</cx:pt>
          <cx:pt idx="10086">0</cx:pt>
          <cx:pt idx="10087">0</cx:pt>
          <cx:pt idx="10088">0</cx:pt>
          <cx:pt idx="10089">0</cx:pt>
          <cx:pt idx="10090">0</cx:pt>
          <cx:pt idx="10091">0</cx:pt>
          <cx:pt idx="10092">1</cx:pt>
          <cx:pt idx="10093">0</cx:pt>
          <cx:pt idx="10094">0</cx:pt>
          <cx:pt idx="10095">0</cx:pt>
          <cx:pt idx="10096">0</cx:pt>
          <cx:pt idx="10097">1</cx:pt>
          <cx:pt idx="10098">1</cx:pt>
          <cx:pt idx="10099">0</cx:pt>
          <cx:pt idx="10100">1</cx:pt>
          <cx:pt idx="10101">1</cx:pt>
          <cx:pt idx="10102">1</cx:pt>
          <cx:pt idx="10103">0</cx:pt>
          <cx:pt idx="10104">0</cx:pt>
          <cx:pt idx="10105">1</cx:pt>
          <cx:pt idx="10106">0</cx:pt>
          <cx:pt idx="10107">0</cx:pt>
          <cx:pt idx="10108">1</cx:pt>
          <cx:pt idx="10109">0</cx:pt>
          <cx:pt idx="10110">0</cx:pt>
          <cx:pt idx="10111">0</cx:pt>
          <cx:pt idx="10112">1</cx:pt>
          <cx:pt idx="10113">0</cx:pt>
          <cx:pt idx="10114">0</cx:pt>
          <cx:pt idx="10115">1</cx:pt>
          <cx:pt idx="10116">1</cx:pt>
          <cx:pt idx="10117">0</cx:pt>
          <cx:pt idx="10118">1</cx:pt>
          <cx:pt idx="10119">1</cx:pt>
          <cx:pt idx="10120">1</cx:pt>
          <cx:pt idx="10121">0</cx:pt>
          <cx:pt idx="10122">0</cx:pt>
          <cx:pt idx="10123">1</cx:pt>
          <cx:pt idx="10124">1</cx:pt>
          <cx:pt idx="10125">1</cx:pt>
          <cx:pt idx="10126">1</cx:pt>
          <cx:pt idx="10127">1</cx:pt>
          <cx:pt idx="10128">1</cx:pt>
          <cx:pt idx="10129">1</cx:pt>
          <cx:pt idx="10130">1</cx:pt>
          <cx:pt idx="10131">1</cx:pt>
          <cx:pt idx="10132">1</cx:pt>
          <cx:pt idx="10133">1</cx:pt>
          <cx:pt idx="10134">1</cx:pt>
          <cx:pt idx="10135">1</cx:pt>
          <cx:pt idx="10136">1</cx:pt>
          <cx:pt idx="10137">0</cx:pt>
          <cx:pt idx="10138">1</cx:pt>
          <cx:pt idx="10139">0</cx:pt>
          <cx:pt idx="10140">1</cx:pt>
          <cx:pt idx="10141">1</cx:pt>
          <cx:pt idx="10142">1</cx:pt>
          <cx:pt idx="10143">1</cx:pt>
          <cx:pt idx="10144">1</cx:pt>
          <cx:pt idx="10145">0</cx:pt>
          <cx:pt idx="10146">0</cx:pt>
          <cx:pt idx="10147">1</cx:pt>
          <cx:pt idx="10148">0</cx:pt>
          <cx:pt idx="10149">0</cx:pt>
          <cx:pt idx="10150">1</cx:pt>
          <cx:pt idx="10151">0</cx:pt>
          <cx:pt idx="10152">0</cx:pt>
          <cx:pt idx="10153">0</cx:pt>
          <cx:pt idx="10154">0</cx:pt>
          <cx:pt idx="10155">0</cx:pt>
          <cx:pt idx="10156">0</cx:pt>
          <cx:pt idx="10157">0</cx:pt>
          <cx:pt idx="10158">1</cx:pt>
          <cx:pt idx="10159">0</cx:pt>
          <cx:pt idx="10160">0</cx:pt>
          <cx:pt idx="10161">0</cx:pt>
          <cx:pt idx="10162">0</cx:pt>
          <cx:pt idx="10163">0</cx:pt>
          <cx:pt idx="10164">0</cx:pt>
          <cx:pt idx="10165">0</cx:pt>
          <cx:pt idx="10166">0</cx:pt>
          <cx:pt idx="10167">0</cx:pt>
          <cx:pt idx="10168">1</cx:pt>
          <cx:pt idx="10169">0</cx:pt>
          <cx:pt idx="10170">1</cx:pt>
          <cx:pt idx="10171">0</cx:pt>
          <cx:pt idx="10172">1</cx:pt>
          <cx:pt idx="10173">1</cx:pt>
          <cx:pt idx="10174">1</cx:pt>
          <cx:pt idx="10175">0</cx:pt>
          <cx:pt idx="10176">0</cx:pt>
          <cx:pt idx="10177">1</cx:pt>
          <cx:pt idx="10178">1</cx:pt>
          <cx:pt idx="10179">1</cx:pt>
          <cx:pt idx="10180">1</cx:pt>
          <cx:pt idx="10181">1</cx:pt>
          <cx:pt idx="10182">1</cx:pt>
          <cx:pt idx="10183">0</cx:pt>
          <cx:pt idx="10184">0</cx:pt>
          <cx:pt idx="10185">0</cx:pt>
          <cx:pt idx="10186">0</cx:pt>
          <cx:pt idx="10187">0</cx:pt>
          <cx:pt idx="10188">1</cx:pt>
          <cx:pt idx="10189">0</cx:pt>
          <cx:pt idx="10190">1</cx:pt>
          <cx:pt idx="10191">0</cx:pt>
          <cx:pt idx="10192">1</cx:pt>
          <cx:pt idx="10193">0</cx:pt>
          <cx:pt idx="10194">0</cx:pt>
          <cx:pt idx="10195">0</cx:pt>
          <cx:pt idx="10196">0</cx:pt>
          <cx:pt idx="10197">0</cx:pt>
          <cx:pt idx="10198">1</cx:pt>
          <cx:pt idx="10199">0</cx:pt>
          <cx:pt idx="10200">1</cx:pt>
          <cx:pt idx="10201">1</cx:pt>
          <cx:pt idx="10202">1</cx:pt>
          <cx:pt idx="10203">1</cx:pt>
          <cx:pt idx="10204">1</cx:pt>
          <cx:pt idx="10205">0</cx:pt>
          <cx:pt idx="10206">0</cx:pt>
          <cx:pt idx="10207">0</cx:pt>
          <cx:pt idx="10208">0</cx:pt>
          <cx:pt idx="10209">1</cx:pt>
          <cx:pt idx="10210">0</cx:pt>
          <cx:pt idx="10211">1</cx:pt>
          <cx:pt idx="10212">1</cx:pt>
          <cx:pt idx="10213">0</cx:pt>
          <cx:pt idx="10214">1</cx:pt>
          <cx:pt idx="10215">0</cx:pt>
          <cx:pt idx="10216">1</cx:pt>
          <cx:pt idx="10217">1</cx:pt>
          <cx:pt idx="10218">0</cx:pt>
          <cx:pt idx="10219">1</cx:pt>
          <cx:pt idx="10220">1</cx:pt>
          <cx:pt idx="10221">0</cx:pt>
          <cx:pt idx="10222">0</cx:pt>
          <cx:pt idx="10223">1</cx:pt>
          <cx:pt idx="10224">0</cx:pt>
          <cx:pt idx="10225">1</cx:pt>
          <cx:pt idx="10226">0</cx:pt>
          <cx:pt idx="10227">1</cx:pt>
          <cx:pt idx="10228">0</cx:pt>
          <cx:pt idx="10229">0</cx:pt>
          <cx:pt idx="10230">0</cx:pt>
          <cx:pt idx="10231">1</cx:pt>
          <cx:pt idx="10232">0</cx:pt>
          <cx:pt idx="10233">0</cx:pt>
          <cx:pt idx="10234">0</cx:pt>
          <cx:pt idx="10235">0</cx:pt>
          <cx:pt idx="10236">0</cx:pt>
          <cx:pt idx="10237">0</cx:pt>
          <cx:pt idx="10238">0</cx:pt>
          <cx:pt idx="10239">0</cx:pt>
          <cx:pt idx="10240">1</cx:pt>
          <cx:pt idx="10241">0</cx:pt>
          <cx:pt idx="10242">0</cx:pt>
          <cx:pt idx="10243">1</cx:pt>
          <cx:pt idx="10244">0</cx:pt>
          <cx:pt idx="10245">1</cx:pt>
          <cx:pt idx="10246">1</cx:pt>
          <cx:pt idx="10247">0</cx:pt>
          <cx:pt idx="10248">1</cx:pt>
          <cx:pt idx="10249">1</cx:pt>
          <cx:pt idx="10250">0</cx:pt>
          <cx:pt idx="10251">0</cx:pt>
          <cx:pt idx="10252">1</cx:pt>
          <cx:pt idx="10253">1</cx:pt>
          <cx:pt idx="10254">1</cx:pt>
          <cx:pt idx="10255">0</cx:pt>
          <cx:pt idx="10256">0</cx:pt>
          <cx:pt idx="10257">1</cx:pt>
          <cx:pt idx="10258">1</cx:pt>
          <cx:pt idx="10259">1</cx:pt>
          <cx:pt idx="10260">1</cx:pt>
          <cx:pt idx="10261">0</cx:pt>
          <cx:pt idx="10262">0</cx:pt>
          <cx:pt idx="10263">1</cx:pt>
          <cx:pt idx="10264">0</cx:pt>
          <cx:pt idx="10265">1</cx:pt>
          <cx:pt idx="10266">1</cx:pt>
          <cx:pt idx="10267">1</cx:pt>
          <cx:pt idx="10268">0</cx:pt>
          <cx:pt idx="10269">0</cx:pt>
          <cx:pt idx="10270">1</cx:pt>
          <cx:pt idx="10271">1</cx:pt>
          <cx:pt idx="10272">1</cx:pt>
          <cx:pt idx="10273">0</cx:pt>
          <cx:pt idx="10274">1</cx:pt>
          <cx:pt idx="10275">0</cx:pt>
          <cx:pt idx="10276">1</cx:pt>
          <cx:pt idx="10277">0</cx:pt>
          <cx:pt idx="10278">0</cx:pt>
          <cx:pt idx="10279">1</cx:pt>
          <cx:pt idx="10280">0</cx:pt>
          <cx:pt idx="10281">1</cx:pt>
          <cx:pt idx="10282">0</cx:pt>
          <cx:pt idx="10283">0</cx:pt>
          <cx:pt idx="10284">0</cx:pt>
          <cx:pt idx="10285">1</cx:pt>
          <cx:pt idx="10286">1</cx:pt>
          <cx:pt idx="10287">1</cx:pt>
          <cx:pt idx="10288">1</cx:pt>
          <cx:pt idx="10289">0</cx:pt>
          <cx:pt idx="10290">0</cx:pt>
          <cx:pt idx="10291">1</cx:pt>
          <cx:pt idx="10292">0</cx:pt>
          <cx:pt idx="10293">0</cx:pt>
          <cx:pt idx="10294">0</cx:pt>
          <cx:pt idx="10295">1</cx:pt>
          <cx:pt idx="10296">0</cx:pt>
          <cx:pt idx="10297">1</cx:pt>
          <cx:pt idx="10298">1</cx:pt>
          <cx:pt idx="10299">0</cx:pt>
          <cx:pt idx="10300">0</cx:pt>
          <cx:pt idx="10301">0</cx:pt>
          <cx:pt idx="10302">0</cx:pt>
          <cx:pt idx="10303">1</cx:pt>
          <cx:pt idx="10304">1</cx:pt>
          <cx:pt idx="10305">1</cx:pt>
          <cx:pt idx="10306">0</cx:pt>
          <cx:pt idx="10307">0</cx:pt>
          <cx:pt idx="10308">0</cx:pt>
          <cx:pt idx="10309">0</cx:pt>
          <cx:pt idx="10310">0</cx:pt>
          <cx:pt idx="10311">1</cx:pt>
          <cx:pt idx="10312">1</cx:pt>
          <cx:pt idx="10313">0</cx:pt>
          <cx:pt idx="10314">0</cx:pt>
          <cx:pt idx="10315">1</cx:pt>
          <cx:pt idx="10316">1</cx:pt>
          <cx:pt idx="10317">0</cx:pt>
          <cx:pt idx="10318">0</cx:pt>
          <cx:pt idx="10319">0</cx:pt>
          <cx:pt idx="10320">1</cx:pt>
          <cx:pt idx="10321">0</cx:pt>
          <cx:pt idx="10322">0</cx:pt>
          <cx:pt idx="10323">1</cx:pt>
          <cx:pt idx="10324">1</cx:pt>
          <cx:pt idx="10325">1</cx:pt>
          <cx:pt idx="10326">0</cx:pt>
          <cx:pt idx="10327">0</cx:pt>
          <cx:pt idx="10328">0</cx:pt>
          <cx:pt idx="10329">1</cx:pt>
          <cx:pt idx="10330">0</cx:pt>
          <cx:pt idx="10331">1</cx:pt>
          <cx:pt idx="10332">1</cx:pt>
          <cx:pt idx="10333">1</cx:pt>
          <cx:pt idx="10334">0</cx:pt>
          <cx:pt idx="10335">0</cx:pt>
          <cx:pt idx="10336">0</cx:pt>
          <cx:pt idx="10337">0</cx:pt>
          <cx:pt idx="10338">0</cx:pt>
          <cx:pt idx="10339">0</cx:pt>
          <cx:pt idx="10340">1</cx:pt>
          <cx:pt idx="10341">0</cx:pt>
          <cx:pt idx="10342">0</cx:pt>
          <cx:pt idx="10343">0</cx:pt>
          <cx:pt idx="10344">1</cx:pt>
          <cx:pt idx="10345">1</cx:pt>
          <cx:pt idx="10346">0</cx:pt>
          <cx:pt idx="10347">1</cx:pt>
          <cx:pt idx="10348">1</cx:pt>
          <cx:pt idx="10349">0</cx:pt>
          <cx:pt idx="10350">0</cx:pt>
          <cx:pt idx="10351">0</cx:pt>
          <cx:pt idx="10352">0</cx:pt>
          <cx:pt idx="10353">1</cx:pt>
          <cx:pt idx="10354">1</cx:pt>
          <cx:pt idx="10355">1</cx:pt>
          <cx:pt idx="10356">1</cx:pt>
          <cx:pt idx="10357">0</cx:pt>
          <cx:pt idx="10358">1</cx:pt>
          <cx:pt idx="10359">1</cx:pt>
          <cx:pt idx="10360">0</cx:pt>
          <cx:pt idx="10361">1</cx:pt>
          <cx:pt idx="10362">1</cx:pt>
          <cx:pt idx="10363">1</cx:pt>
          <cx:pt idx="10364">1</cx:pt>
          <cx:pt idx="10365">0</cx:pt>
          <cx:pt idx="10366">0</cx:pt>
          <cx:pt idx="10367">1</cx:pt>
          <cx:pt idx="10368">0</cx:pt>
          <cx:pt idx="10369">0</cx:pt>
          <cx:pt idx="10370">1</cx:pt>
          <cx:pt idx="10371">0</cx:pt>
          <cx:pt idx="10372">1</cx:pt>
          <cx:pt idx="10373">0</cx:pt>
          <cx:pt idx="10374">0</cx:pt>
          <cx:pt idx="10375">0</cx:pt>
          <cx:pt idx="10376">1</cx:pt>
          <cx:pt idx="10377">1</cx:pt>
          <cx:pt idx="10378">1</cx:pt>
          <cx:pt idx="10379">0</cx:pt>
          <cx:pt idx="10380">1</cx:pt>
          <cx:pt idx="10381">1</cx:pt>
          <cx:pt idx="10382">0</cx:pt>
          <cx:pt idx="10383">1</cx:pt>
          <cx:pt idx="10384">0</cx:pt>
          <cx:pt idx="10385">0</cx:pt>
          <cx:pt idx="10386">1</cx:pt>
          <cx:pt idx="10387">0</cx:pt>
          <cx:pt idx="10388">0</cx:pt>
          <cx:pt idx="10389">0</cx:pt>
          <cx:pt idx="10390">1</cx:pt>
          <cx:pt idx="10391">0</cx:pt>
          <cx:pt idx="10392">1</cx:pt>
          <cx:pt idx="10393">0</cx:pt>
          <cx:pt idx="10394">0</cx:pt>
          <cx:pt idx="10395">0</cx:pt>
          <cx:pt idx="10396">1</cx:pt>
          <cx:pt idx="10397">1</cx:pt>
          <cx:pt idx="10398">0</cx:pt>
          <cx:pt idx="10399">0</cx:pt>
          <cx:pt idx="10400">1</cx:pt>
          <cx:pt idx="10401">0</cx:pt>
          <cx:pt idx="10402">1</cx:pt>
          <cx:pt idx="10403">0</cx:pt>
          <cx:pt idx="10404">1</cx:pt>
          <cx:pt idx="10405">0</cx:pt>
          <cx:pt idx="10406">1</cx:pt>
          <cx:pt idx="10407">0</cx:pt>
          <cx:pt idx="10408">0</cx:pt>
          <cx:pt idx="10409">0</cx:pt>
          <cx:pt idx="10410">1</cx:pt>
          <cx:pt idx="10411">0</cx:pt>
          <cx:pt idx="10412">1</cx:pt>
          <cx:pt idx="10413">0</cx:pt>
          <cx:pt idx="10414">0</cx:pt>
          <cx:pt idx="10415">0</cx:pt>
          <cx:pt idx="10416">1</cx:pt>
          <cx:pt idx="10417">1</cx:pt>
          <cx:pt idx="10418">0</cx:pt>
          <cx:pt idx="10419">1</cx:pt>
          <cx:pt idx="10420">0</cx:pt>
          <cx:pt idx="10421">1</cx:pt>
          <cx:pt idx="10422">0</cx:pt>
          <cx:pt idx="10423">1</cx:pt>
          <cx:pt idx="10424">1</cx:pt>
          <cx:pt idx="10425">0</cx:pt>
          <cx:pt idx="10426">0</cx:pt>
          <cx:pt idx="10427">0</cx:pt>
          <cx:pt idx="10428">0</cx:pt>
          <cx:pt idx="10429">0</cx:pt>
          <cx:pt idx="10430">0</cx:pt>
          <cx:pt idx="10431">0</cx:pt>
          <cx:pt idx="10432">1</cx:pt>
          <cx:pt idx="10433">1</cx:pt>
          <cx:pt idx="10434">0</cx:pt>
          <cx:pt idx="10435">0</cx:pt>
          <cx:pt idx="10436">1</cx:pt>
          <cx:pt idx="10437">0</cx:pt>
          <cx:pt idx="10438">1</cx:pt>
          <cx:pt idx="10439">0</cx:pt>
          <cx:pt idx="10440">1</cx:pt>
          <cx:pt idx="10441">1</cx:pt>
          <cx:pt idx="10442">0</cx:pt>
          <cx:pt idx="10443">0</cx:pt>
          <cx:pt idx="10444">0</cx:pt>
          <cx:pt idx="10445">0</cx:pt>
          <cx:pt idx="10446">1</cx:pt>
          <cx:pt idx="10447">1</cx:pt>
          <cx:pt idx="10448">1</cx:pt>
          <cx:pt idx="10449">1</cx:pt>
          <cx:pt idx="10450">0</cx:pt>
          <cx:pt idx="10451">0</cx:pt>
          <cx:pt idx="10452">0</cx:pt>
          <cx:pt idx="10453">1</cx:pt>
          <cx:pt idx="10454">1</cx:pt>
          <cx:pt idx="10455">0</cx:pt>
          <cx:pt idx="10456">1</cx:pt>
          <cx:pt idx="10457">0</cx:pt>
          <cx:pt idx="10458">1</cx:pt>
          <cx:pt idx="10459">0</cx:pt>
          <cx:pt idx="10460">0</cx:pt>
          <cx:pt idx="10461">0</cx:pt>
          <cx:pt idx="10462">0</cx:pt>
          <cx:pt idx="10463">0</cx:pt>
          <cx:pt idx="10464">1</cx:pt>
          <cx:pt idx="10465">1</cx:pt>
          <cx:pt idx="10466">0</cx:pt>
          <cx:pt idx="10467">0</cx:pt>
          <cx:pt idx="10468">1</cx:pt>
          <cx:pt idx="10469">0</cx:pt>
          <cx:pt idx="10470">0</cx:pt>
          <cx:pt idx="10471">1</cx:pt>
          <cx:pt idx="10472">1</cx:pt>
          <cx:pt idx="10473">0</cx:pt>
          <cx:pt idx="10474">0</cx:pt>
          <cx:pt idx="10475">0</cx:pt>
          <cx:pt idx="10476">1</cx:pt>
          <cx:pt idx="10477">1</cx:pt>
          <cx:pt idx="10478">0</cx:pt>
          <cx:pt idx="10479">1</cx:pt>
          <cx:pt idx="10480">0</cx:pt>
          <cx:pt idx="10481">1</cx:pt>
          <cx:pt idx="10482">1</cx:pt>
          <cx:pt idx="10483">0</cx:pt>
          <cx:pt idx="10484">0</cx:pt>
          <cx:pt idx="10485">1</cx:pt>
          <cx:pt idx="10486">0</cx:pt>
          <cx:pt idx="10487">1</cx:pt>
          <cx:pt idx="10488">1</cx:pt>
          <cx:pt idx="10489">0</cx:pt>
          <cx:pt idx="10490">0</cx:pt>
          <cx:pt idx="10491">0</cx:pt>
          <cx:pt idx="10492">1</cx:pt>
          <cx:pt idx="10493">1</cx:pt>
          <cx:pt idx="10494">0</cx:pt>
          <cx:pt idx="10495">0</cx:pt>
          <cx:pt idx="10496">0</cx:pt>
          <cx:pt idx="10497">1</cx:pt>
          <cx:pt idx="10498">0</cx:pt>
          <cx:pt idx="10499">0</cx:pt>
          <cx:pt idx="10500">1</cx:pt>
          <cx:pt idx="10501">0</cx:pt>
          <cx:pt idx="10502">1</cx:pt>
          <cx:pt idx="10503">0</cx:pt>
          <cx:pt idx="10504">0</cx:pt>
          <cx:pt idx="10505">0</cx:pt>
          <cx:pt idx="10506">0</cx:pt>
          <cx:pt idx="10507">0</cx:pt>
          <cx:pt idx="10508">0</cx:pt>
          <cx:pt idx="10509">1</cx:pt>
          <cx:pt idx="10510">1</cx:pt>
          <cx:pt idx="10511">1</cx:pt>
          <cx:pt idx="10512">0</cx:pt>
          <cx:pt idx="10513">1</cx:pt>
          <cx:pt idx="10514">0</cx:pt>
          <cx:pt idx="10515">1</cx:pt>
          <cx:pt idx="10516">0</cx:pt>
          <cx:pt idx="10517">0</cx:pt>
          <cx:pt idx="10518">0</cx:pt>
          <cx:pt idx="10519">1</cx:pt>
          <cx:pt idx="10520">0</cx:pt>
          <cx:pt idx="10521">1</cx:pt>
          <cx:pt idx="10522">1</cx:pt>
          <cx:pt idx="10523">0</cx:pt>
          <cx:pt idx="10524">1</cx:pt>
          <cx:pt idx="10525">0</cx:pt>
          <cx:pt idx="10526">1</cx:pt>
          <cx:pt idx="10527">1</cx:pt>
          <cx:pt idx="10528">1</cx:pt>
          <cx:pt idx="10529">1</cx:pt>
          <cx:pt idx="10530">1</cx:pt>
          <cx:pt idx="10531">1</cx:pt>
          <cx:pt idx="10532">0</cx:pt>
          <cx:pt idx="10533">1</cx:pt>
          <cx:pt idx="10534">0</cx:pt>
          <cx:pt idx="10535">0</cx:pt>
          <cx:pt idx="10536">0</cx:pt>
          <cx:pt idx="10537">1</cx:pt>
          <cx:pt idx="10538">0</cx:pt>
          <cx:pt idx="10539">0</cx:pt>
          <cx:pt idx="10540">1</cx:pt>
          <cx:pt idx="10541">0</cx:pt>
          <cx:pt idx="10542">0</cx:pt>
          <cx:pt idx="10543">0</cx:pt>
          <cx:pt idx="10544">0</cx:pt>
          <cx:pt idx="10545">1</cx:pt>
          <cx:pt idx="10546">1</cx:pt>
          <cx:pt idx="10547">1</cx:pt>
          <cx:pt idx="10548">0</cx:pt>
          <cx:pt idx="10549">1</cx:pt>
          <cx:pt idx="10550">0</cx:pt>
          <cx:pt idx="10551">1</cx:pt>
          <cx:pt idx="10552">0</cx:pt>
          <cx:pt idx="10553">0</cx:pt>
          <cx:pt idx="10554">1</cx:pt>
          <cx:pt idx="10555">1</cx:pt>
          <cx:pt idx="10556">1</cx:pt>
          <cx:pt idx="10557">1</cx:pt>
          <cx:pt idx="10558">0</cx:pt>
          <cx:pt idx="10559">1</cx:pt>
          <cx:pt idx="10560">0</cx:pt>
          <cx:pt idx="10561">0</cx:pt>
          <cx:pt idx="10562">0</cx:pt>
          <cx:pt idx="10563">1</cx:pt>
          <cx:pt idx="10564">0</cx:pt>
          <cx:pt idx="10565">1</cx:pt>
          <cx:pt idx="10566">1</cx:pt>
          <cx:pt idx="10567">1</cx:pt>
          <cx:pt idx="10568">1</cx:pt>
          <cx:pt idx="10569">1</cx:pt>
          <cx:pt idx="10570">1</cx:pt>
          <cx:pt idx="10571">1</cx:pt>
          <cx:pt idx="10572">1</cx:pt>
          <cx:pt idx="10573">1</cx:pt>
          <cx:pt idx="10574">1</cx:pt>
          <cx:pt idx="10575">0</cx:pt>
          <cx:pt idx="10576">0</cx:pt>
          <cx:pt idx="10577">1</cx:pt>
          <cx:pt idx="10578">0</cx:pt>
          <cx:pt idx="10579">0</cx:pt>
          <cx:pt idx="10580">1</cx:pt>
          <cx:pt idx="10581">1</cx:pt>
          <cx:pt idx="10582">0</cx:pt>
          <cx:pt idx="10583">0</cx:pt>
          <cx:pt idx="10584">0</cx:pt>
          <cx:pt idx="10585">1</cx:pt>
          <cx:pt idx="10586">1</cx:pt>
          <cx:pt idx="10587">0</cx:pt>
          <cx:pt idx="10588">0</cx:pt>
          <cx:pt idx="10589">0</cx:pt>
          <cx:pt idx="10590">0</cx:pt>
          <cx:pt idx="10591">1</cx:pt>
          <cx:pt idx="10592">1</cx:pt>
          <cx:pt idx="10593">1</cx:pt>
          <cx:pt idx="10594">0</cx:pt>
          <cx:pt idx="10595">1</cx:pt>
          <cx:pt idx="10596">0</cx:pt>
          <cx:pt idx="10597">0</cx:pt>
          <cx:pt idx="10598">1</cx:pt>
          <cx:pt idx="10599">0</cx:pt>
          <cx:pt idx="10600">0</cx:pt>
          <cx:pt idx="10601">1</cx:pt>
          <cx:pt idx="10602">0</cx:pt>
          <cx:pt idx="10603">1</cx:pt>
          <cx:pt idx="10604">0</cx:pt>
          <cx:pt idx="10605">1</cx:pt>
          <cx:pt idx="10606">0</cx:pt>
          <cx:pt idx="10607">0</cx:pt>
          <cx:pt idx="10608">0</cx:pt>
          <cx:pt idx="10609">0</cx:pt>
          <cx:pt idx="10610">0</cx:pt>
          <cx:pt idx="10611">0</cx:pt>
          <cx:pt idx="10612">0</cx:pt>
          <cx:pt idx="10613">0</cx:pt>
          <cx:pt idx="10614">0</cx:pt>
          <cx:pt idx="10615">1</cx:pt>
          <cx:pt idx="10616">0</cx:pt>
          <cx:pt idx="10617">1</cx:pt>
          <cx:pt idx="10618">0</cx:pt>
          <cx:pt idx="10619">0</cx:pt>
          <cx:pt idx="10620">0</cx:pt>
          <cx:pt idx="10621">1</cx:pt>
          <cx:pt idx="10622">0</cx:pt>
          <cx:pt idx="10623">0</cx:pt>
          <cx:pt idx="10624">1</cx:pt>
          <cx:pt idx="10625">0</cx:pt>
          <cx:pt idx="10626">1</cx:pt>
          <cx:pt idx="10627">1</cx:pt>
          <cx:pt idx="10628">0</cx:pt>
          <cx:pt idx="10629">0</cx:pt>
          <cx:pt idx="10630">1</cx:pt>
          <cx:pt idx="10631">0</cx:pt>
          <cx:pt idx="10632">1</cx:pt>
          <cx:pt idx="10633">1</cx:pt>
          <cx:pt idx="10634">0</cx:pt>
          <cx:pt idx="10635">0</cx:pt>
          <cx:pt idx="10636">1</cx:pt>
          <cx:pt idx="10637">0</cx:pt>
          <cx:pt idx="10638">0</cx:pt>
          <cx:pt idx="10639">0</cx:pt>
          <cx:pt idx="10640">0</cx:pt>
          <cx:pt idx="10641">0</cx:pt>
          <cx:pt idx="10642">1</cx:pt>
          <cx:pt idx="10643">0</cx:pt>
          <cx:pt idx="10644">0</cx:pt>
          <cx:pt idx="10645">0</cx:pt>
          <cx:pt idx="10646">0</cx:pt>
          <cx:pt idx="10647">0</cx:pt>
          <cx:pt idx="10648">0</cx:pt>
          <cx:pt idx="10649">0</cx:pt>
          <cx:pt idx="10650">0</cx:pt>
          <cx:pt idx="10651">1</cx:pt>
          <cx:pt idx="10652">1</cx:pt>
          <cx:pt idx="10653">0</cx:pt>
          <cx:pt idx="10654">1</cx:pt>
          <cx:pt idx="10655">1</cx:pt>
          <cx:pt idx="10656">1</cx:pt>
          <cx:pt idx="10657">0</cx:pt>
          <cx:pt idx="10658">1</cx:pt>
          <cx:pt idx="10659">1</cx:pt>
          <cx:pt idx="10660">0</cx:pt>
          <cx:pt idx="10661">0</cx:pt>
          <cx:pt idx="10662">1</cx:pt>
          <cx:pt idx="10663">0</cx:pt>
          <cx:pt idx="10664">0</cx:pt>
          <cx:pt idx="10665">0</cx:pt>
          <cx:pt idx="10666">1</cx:pt>
          <cx:pt idx="10667">1</cx:pt>
          <cx:pt idx="10668">1</cx:pt>
          <cx:pt idx="10669">1</cx:pt>
          <cx:pt idx="10670">0</cx:pt>
          <cx:pt idx="10671">0</cx:pt>
          <cx:pt idx="10672">1</cx:pt>
          <cx:pt idx="10673">0</cx:pt>
          <cx:pt idx="10674">0</cx:pt>
          <cx:pt idx="10675">0</cx:pt>
          <cx:pt idx="10676">1</cx:pt>
          <cx:pt idx="10677">0</cx:pt>
          <cx:pt idx="10678">0</cx:pt>
          <cx:pt idx="10679">1</cx:pt>
          <cx:pt idx="10680">0</cx:pt>
          <cx:pt idx="10681">1</cx:pt>
          <cx:pt idx="10682">1</cx:pt>
          <cx:pt idx="10683">1</cx:pt>
          <cx:pt idx="10684">1</cx:pt>
          <cx:pt idx="10685">0</cx:pt>
          <cx:pt idx="10686">1</cx:pt>
          <cx:pt idx="10687">1</cx:pt>
          <cx:pt idx="10688">1</cx:pt>
          <cx:pt idx="10689">1</cx:pt>
          <cx:pt idx="10690">0</cx:pt>
          <cx:pt idx="10691">1</cx:pt>
          <cx:pt idx="10692">1</cx:pt>
          <cx:pt idx="10693">0</cx:pt>
          <cx:pt idx="10694">1</cx:pt>
          <cx:pt idx="10695">1</cx:pt>
          <cx:pt idx="10696">1</cx:pt>
          <cx:pt idx="10697">1</cx:pt>
          <cx:pt idx="10698">0</cx:pt>
          <cx:pt idx="10699">1</cx:pt>
          <cx:pt idx="10700">1</cx:pt>
          <cx:pt idx="10701">1</cx:pt>
          <cx:pt idx="10702">0</cx:pt>
          <cx:pt idx="10703">0</cx:pt>
          <cx:pt idx="10704">1</cx:pt>
          <cx:pt idx="10705">0</cx:pt>
          <cx:pt idx="10706">1</cx:pt>
          <cx:pt idx="10707">1</cx:pt>
          <cx:pt idx="10708">1</cx:pt>
          <cx:pt idx="10709">1</cx:pt>
          <cx:pt idx="10710">1</cx:pt>
          <cx:pt idx="10711">0</cx:pt>
          <cx:pt idx="10712">0</cx:pt>
          <cx:pt idx="10713">0</cx:pt>
          <cx:pt idx="10714">0</cx:pt>
          <cx:pt idx="10715">0</cx:pt>
          <cx:pt idx="10716">0</cx:pt>
          <cx:pt idx="10717">1</cx:pt>
          <cx:pt idx="10718">0</cx:pt>
          <cx:pt idx="10719">1</cx:pt>
          <cx:pt idx="10720">1</cx:pt>
          <cx:pt idx="10721">0</cx:pt>
          <cx:pt idx="10722">1</cx:pt>
          <cx:pt idx="10723">0</cx:pt>
          <cx:pt idx="10724">0</cx:pt>
          <cx:pt idx="10725">0</cx:pt>
          <cx:pt idx="10726">0</cx:pt>
          <cx:pt idx="10727">0</cx:pt>
          <cx:pt idx="10728">1</cx:pt>
          <cx:pt idx="10729">0</cx:pt>
          <cx:pt idx="10730">0</cx:pt>
          <cx:pt idx="10731">1</cx:pt>
          <cx:pt idx="10732">0</cx:pt>
          <cx:pt idx="10733">1</cx:pt>
          <cx:pt idx="10734">0</cx:pt>
          <cx:pt idx="10735">1</cx:pt>
          <cx:pt idx="10736">0</cx:pt>
          <cx:pt idx="10737">0</cx:pt>
          <cx:pt idx="10738">0</cx:pt>
          <cx:pt idx="10739">0</cx:pt>
          <cx:pt idx="10740">1</cx:pt>
          <cx:pt idx="10741">1</cx:pt>
          <cx:pt idx="10742">1</cx:pt>
          <cx:pt idx="10743">0</cx:pt>
          <cx:pt idx="10744">0</cx:pt>
          <cx:pt idx="10745">0</cx:pt>
          <cx:pt idx="10746">1</cx:pt>
          <cx:pt idx="10747">0</cx:pt>
          <cx:pt idx="10748">1</cx:pt>
          <cx:pt idx="10749">1</cx:pt>
          <cx:pt idx="10750">0</cx:pt>
          <cx:pt idx="10751">0</cx:pt>
          <cx:pt idx="10752">0</cx:pt>
          <cx:pt idx="10753">0</cx:pt>
          <cx:pt idx="10754">0</cx:pt>
          <cx:pt idx="10755">1</cx:pt>
          <cx:pt idx="10756">0</cx:pt>
          <cx:pt idx="10757">0</cx:pt>
          <cx:pt idx="10758">0</cx:pt>
          <cx:pt idx="10759">1</cx:pt>
          <cx:pt idx="10760">0</cx:pt>
          <cx:pt idx="10761">1</cx:pt>
          <cx:pt idx="10762">1</cx:pt>
          <cx:pt idx="10763">0</cx:pt>
          <cx:pt idx="10764">1</cx:pt>
          <cx:pt idx="10765">0</cx:pt>
          <cx:pt idx="10766">0</cx:pt>
          <cx:pt idx="10767">0</cx:pt>
          <cx:pt idx="10768">1</cx:pt>
          <cx:pt idx="10769">1</cx:pt>
          <cx:pt idx="10770">0</cx:pt>
          <cx:pt idx="10771">1</cx:pt>
          <cx:pt idx="10772">1</cx:pt>
          <cx:pt idx="10773">0</cx:pt>
          <cx:pt idx="10774">1</cx:pt>
          <cx:pt idx="10775">0</cx:pt>
          <cx:pt idx="10776">1</cx:pt>
          <cx:pt idx="10777">0</cx:pt>
          <cx:pt idx="10778">1</cx:pt>
          <cx:pt idx="10779">1</cx:pt>
          <cx:pt idx="10780">0</cx:pt>
          <cx:pt idx="10781">1</cx:pt>
          <cx:pt idx="10782">1</cx:pt>
          <cx:pt idx="10783">1</cx:pt>
          <cx:pt idx="10784">1</cx:pt>
          <cx:pt idx="10785">0</cx:pt>
          <cx:pt idx="10786">1</cx:pt>
          <cx:pt idx="10787">1</cx:pt>
          <cx:pt idx="10788">0</cx:pt>
          <cx:pt idx="10789">0</cx:pt>
          <cx:pt idx="10790">1</cx:pt>
          <cx:pt idx="10791">0</cx:pt>
          <cx:pt idx="10792">1</cx:pt>
          <cx:pt idx="10793">1</cx:pt>
          <cx:pt idx="10794">0</cx:pt>
          <cx:pt idx="10795">0</cx:pt>
          <cx:pt idx="10796">0</cx:pt>
          <cx:pt idx="10797">1</cx:pt>
          <cx:pt idx="10798">0</cx:pt>
          <cx:pt idx="10799">1</cx:pt>
          <cx:pt idx="10800">0</cx:pt>
          <cx:pt idx="10801">1</cx:pt>
          <cx:pt idx="10802">0</cx:pt>
          <cx:pt idx="10803">1</cx:pt>
          <cx:pt idx="10804">0</cx:pt>
          <cx:pt idx="10805">1</cx:pt>
          <cx:pt idx="10806">0</cx:pt>
          <cx:pt idx="10807">0</cx:pt>
          <cx:pt idx="10808">1</cx:pt>
          <cx:pt idx="10809">1</cx:pt>
          <cx:pt idx="10810">0</cx:pt>
          <cx:pt idx="10811">0</cx:pt>
          <cx:pt idx="10812">0</cx:pt>
          <cx:pt idx="10813">0</cx:pt>
          <cx:pt idx="10814">0</cx:pt>
          <cx:pt idx="10815">1</cx:pt>
          <cx:pt idx="10816">0</cx:pt>
          <cx:pt idx="10817">1</cx:pt>
          <cx:pt idx="10818">1</cx:pt>
          <cx:pt idx="10819">1</cx:pt>
          <cx:pt idx="10820">1</cx:pt>
          <cx:pt idx="10821">0</cx:pt>
          <cx:pt idx="10822">1</cx:pt>
          <cx:pt idx="10823">0</cx:pt>
          <cx:pt idx="10824">0</cx:pt>
          <cx:pt idx="10825">1</cx:pt>
          <cx:pt idx="10826">1</cx:pt>
          <cx:pt idx="10827">1</cx:pt>
          <cx:pt idx="10828">0</cx:pt>
          <cx:pt idx="10829">0</cx:pt>
          <cx:pt idx="10830">1</cx:pt>
          <cx:pt idx="10831">1</cx:pt>
          <cx:pt idx="10832">0</cx:pt>
          <cx:pt idx="10833">1</cx:pt>
          <cx:pt idx="10834">0</cx:pt>
          <cx:pt idx="10835">0</cx:pt>
          <cx:pt idx="10836">0</cx:pt>
          <cx:pt idx="10837">1</cx:pt>
          <cx:pt idx="10838">1</cx:pt>
          <cx:pt idx="10839">1</cx:pt>
          <cx:pt idx="10840">1</cx:pt>
          <cx:pt idx="10841">0</cx:pt>
          <cx:pt idx="10842">1</cx:pt>
          <cx:pt idx="10843">1</cx:pt>
          <cx:pt idx="10844">1</cx:pt>
          <cx:pt idx="10845">1</cx:pt>
          <cx:pt idx="10846">0</cx:pt>
          <cx:pt idx="10847">0</cx:pt>
          <cx:pt idx="10848">0</cx:pt>
          <cx:pt idx="10849">1</cx:pt>
          <cx:pt idx="10850">0</cx:pt>
          <cx:pt idx="10851">0</cx:pt>
          <cx:pt idx="10852">1</cx:pt>
          <cx:pt idx="10853">0</cx:pt>
          <cx:pt idx="10854">0</cx:pt>
          <cx:pt idx="10855">0</cx:pt>
          <cx:pt idx="10856">0</cx:pt>
          <cx:pt idx="10857">0</cx:pt>
          <cx:pt idx="10858">0</cx:pt>
          <cx:pt idx="10859">0</cx:pt>
          <cx:pt idx="10860">0</cx:pt>
          <cx:pt idx="10861">1</cx:pt>
          <cx:pt idx="10862">0</cx:pt>
          <cx:pt idx="10863">0</cx:pt>
          <cx:pt idx="10864">0</cx:pt>
          <cx:pt idx="10865">0</cx:pt>
          <cx:pt idx="10866">0</cx:pt>
          <cx:pt idx="10867">0</cx:pt>
          <cx:pt idx="10868">1</cx:pt>
          <cx:pt idx="10869">0</cx:pt>
          <cx:pt idx="10870">1</cx:pt>
          <cx:pt idx="10871">0</cx:pt>
          <cx:pt idx="10872">1</cx:pt>
          <cx:pt idx="10873">0</cx:pt>
          <cx:pt idx="10874">1</cx:pt>
          <cx:pt idx="10875">1</cx:pt>
          <cx:pt idx="10876">1</cx:pt>
          <cx:pt idx="10877">0</cx:pt>
          <cx:pt idx="10878">0</cx:pt>
          <cx:pt idx="10879">0</cx:pt>
          <cx:pt idx="10880">0</cx:pt>
          <cx:pt idx="10881">0</cx:pt>
          <cx:pt idx="10882">0</cx:pt>
          <cx:pt idx="10883">0</cx:pt>
          <cx:pt idx="10884">1</cx:pt>
          <cx:pt idx="10885">0</cx:pt>
          <cx:pt idx="10886">0</cx:pt>
          <cx:pt idx="10887">1</cx:pt>
          <cx:pt idx="10888">0</cx:pt>
          <cx:pt idx="10889">1</cx:pt>
          <cx:pt idx="10890">0</cx:pt>
          <cx:pt idx="10891">0</cx:pt>
          <cx:pt idx="10892">1</cx:pt>
          <cx:pt idx="10893">1</cx:pt>
          <cx:pt idx="10894">1</cx:pt>
          <cx:pt idx="10895">1</cx:pt>
          <cx:pt idx="10896">1</cx:pt>
          <cx:pt idx="10897">0</cx:pt>
          <cx:pt idx="10898">0</cx:pt>
          <cx:pt idx="10899">1</cx:pt>
          <cx:pt idx="10900">1</cx:pt>
          <cx:pt idx="10901">0</cx:pt>
          <cx:pt idx="10902">1</cx:pt>
          <cx:pt idx="10903">0</cx:pt>
          <cx:pt idx="10904">0</cx:pt>
          <cx:pt idx="10905">0</cx:pt>
          <cx:pt idx="10906">0</cx:pt>
          <cx:pt idx="10907">1</cx:pt>
          <cx:pt idx="10908">1</cx:pt>
          <cx:pt idx="10909">0</cx:pt>
          <cx:pt idx="10910">0</cx:pt>
          <cx:pt idx="10911">0</cx:pt>
          <cx:pt idx="10912">0</cx:pt>
          <cx:pt idx="10913">0</cx:pt>
          <cx:pt idx="10914">1</cx:pt>
          <cx:pt idx="10915">0</cx:pt>
          <cx:pt idx="10916">0</cx:pt>
          <cx:pt idx="10917">0</cx:pt>
          <cx:pt idx="10918">1</cx:pt>
          <cx:pt idx="10919">0</cx:pt>
          <cx:pt idx="10920">1</cx:pt>
          <cx:pt idx="10921">1</cx:pt>
          <cx:pt idx="10922">0</cx:pt>
          <cx:pt idx="10923">1</cx:pt>
          <cx:pt idx="10924">0</cx:pt>
          <cx:pt idx="10925">1</cx:pt>
          <cx:pt idx="10926">1</cx:pt>
          <cx:pt idx="10927">0</cx:pt>
          <cx:pt idx="10928">0</cx:pt>
          <cx:pt idx="10929">0</cx:pt>
          <cx:pt idx="10930">1</cx:pt>
          <cx:pt idx="10931">1</cx:pt>
          <cx:pt idx="10932">1</cx:pt>
          <cx:pt idx="10933">1</cx:pt>
          <cx:pt idx="10934">0</cx:pt>
          <cx:pt idx="10935">1</cx:pt>
          <cx:pt idx="10936">1</cx:pt>
          <cx:pt idx="10937">0</cx:pt>
          <cx:pt idx="10938">0</cx:pt>
          <cx:pt idx="10939">1</cx:pt>
          <cx:pt idx="10940">1</cx:pt>
          <cx:pt idx="10941">0</cx:pt>
          <cx:pt idx="10942">0</cx:pt>
          <cx:pt idx="10943">1</cx:pt>
          <cx:pt idx="10944">1</cx:pt>
          <cx:pt idx="10945">1</cx:pt>
          <cx:pt idx="10946">0</cx:pt>
          <cx:pt idx="10947">0</cx:pt>
          <cx:pt idx="10948">1</cx:pt>
          <cx:pt idx="10949">0</cx:pt>
          <cx:pt idx="10950">0</cx:pt>
          <cx:pt idx="10951">0</cx:pt>
          <cx:pt idx="10952">1</cx:pt>
          <cx:pt idx="10953">0</cx:pt>
          <cx:pt idx="10954">1</cx:pt>
          <cx:pt idx="10955">1</cx:pt>
          <cx:pt idx="10956">0</cx:pt>
          <cx:pt idx="10957">0</cx:pt>
          <cx:pt idx="10958">0</cx:pt>
          <cx:pt idx="10959">1</cx:pt>
          <cx:pt idx="10960">1</cx:pt>
          <cx:pt idx="10961">0</cx:pt>
          <cx:pt idx="10962">1</cx:pt>
          <cx:pt idx="10963">1</cx:pt>
          <cx:pt idx="10964">1</cx:pt>
          <cx:pt idx="10965">1</cx:pt>
          <cx:pt idx="10966">0</cx:pt>
          <cx:pt idx="10967">1</cx:pt>
          <cx:pt idx="10968">0</cx:pt>
          <cx:pt idx="10969">1</cx:pt>
          <cx:pt idx="10970">0</cx:pt>
          <cx:pt idx="10971">1</cx:pt>
          <cx:pt idx="10972">1</cx:pt>
          <cx:pt idx="10973">1</cx:pt>
          <cx:pt idx="10974">0</cx:pt>
          <cx:pt idx="10975">1</cx:pt>
          <cx:pt idx="10976">1</cx:pt>
          <cx:pt idx="10977">0</cx:pt>
          <cx:pt idx="10978">0</cx:pt>
          <cx:pt idx="10979">0</cx:pt>
          <cx:pt idx="10980">1</cx:pt>
          <cx:pt idx="10981">0</cx:pt>
          <cx:pt idx="10982">0</cx:pt>
          <cx:pt idx="10983">1</cx:pt>
          <cx:pt idx="10984">1</cx:pt>
          <cx:pt idx="10985">0</cx:pt>
          <cx:pt idx="10986">1</cx:pt>
          <cx:pt idx="10987">0</cx:pt>
          <cx:pt idx="10988">0</cx:pt>
          <cx:pt idx="10989">0</cx:pt>
          <cx:pt idx="10990">1</cx:pt>
          <cx:pt idx="10991">1</cx:pt>
          <cx:pt idx="10992">1</cx:pt>
          <cx:pt idx="10993">1</cx:pt>
          <cx:pt idx="10994">1</cx:pt>
          <cx:pt idx="10995">0</cx:pt>
          <cx:pt idx="10996">0</cx:pt>
          <cx:pt idx="10997">0</cx:pt>
          <cx:pt idx="10998">1</cx:pt>
          <cx:pt idx="10999">0</cx:pt>
          <cx:pt idx="11000">0</cx:pt>
          <cx:pt idx="11001">1</cx:pt>
          <cx:pt idx="11002">1</cx:pt>
          <cx:pt idx="11003">1</cx:pt>
          <cx:pt idx="11004">0</cx:pt>
          <cx:pt idx="11005">1</cx:pt>
          <cx:pt idx="11006">1</cx:pt>
          <cx:pt idx="11007">1</cx:pt>
          <cx:pt idx="11008">0</cx:pt>
          <cx:pt idx="11009">0</cx:pt>
          <cx:pt idx="11010">0</cx:pt>
          <cx:pt idx="11011">1</cx:pt>
          <cx:pt idx="11012">0</cx:pt>
          <cx:pt idx="11013">0</cx:pt>
          <cx:pt idx="11014">0</cx:pt>
          <cx:pt idx="11015">0</cx:pt>
          <cx:pt idx="11016">1</cx:pt>
          <cx:pt idx="11017">0</cx:pt>
          <cx:pt idx="11018">0</cx:pt>
          <cx:pt idx="11019">0</cx:pt>
          <cx:pt idx="11020">1</cx:pt>
          <cx:pt idx="11021">0</cx:pt>
          <cx:pt idx="11022">0</cx:pt>
          <cx:pt idx="11023">0</cx:pt>
          <cx:pt idx="11024">0</cx:pt>
          <cx:pt idx="11025">0</cx:pt>
          <cx:pt idx="11026">0</cx:pt>
          <cx:pt idx="11027">0</cx:pt>
          <cx:pt idx="11028">0</cx:pt>
          <cx:pt idx="11029">0</cx:pt>
          <cx:pt idx="11030">0</cx:pt>
          <cx:pt idx="11031">1</cx:pt>
          <cx:pt idx="11032">1</cx:pt>
          <cx:pt idx="11033">0</cx:pt>
          <cx:pt idx="11034">1</cx:pt>
          <cx:pt idx="11035">0</cx:pt>
          <cx:pt idx="11036">0</cx:pt>
          <cx:pt idx="11037">1</cx:pt>
          <cx:pt idx="11038">0</cx:pt>
          <cx:pt idx="11039">1</cx:pt>
          <cx:pt idx="11040">0</cx:pt>
          <cx:pt idx="11041">1</cx:pt>
          <cx:pt idx="11042">0</cx:pt>
          <cx:pt idx="11043">0</cx:pt>
          <cx:pt idx="11044">0</cx:pt>
          <cx:pt idx="11045">1</cx:pt>
          <cx:pt idx="11046">1</cx:pt>
          <cx:pt idx="11047">1</cx:pt>
          <cx:pt idx="11048">0</cx:pt>
          <cx:pt idx="11049">0</cx:pt>
          <cx:pt idx="11050">0</cx:pt>
          <cx:pt idx="11051">1</cx:pt>
          <cx:pt idx="11052">0</cx:pt>
          <cx:pt idx="11053">0</cx:pt>
          <cx:pt idx="11054">1</cx:pt>
          <cx:pt idx="11055">1</cx:pt>
          <cx:pt idx="11056">0</cx:pt>
          <cx:pt idx="11057">0</cx:pt>
          <cx:pt idx="11058">1</cx:pt>
          <cx:pt idx="11059">1</cx:pt>
          <cx:pt idx="11060">1</cx:pt>
          <cx:pt idx="11061">0</cx:pt>
          <cx:pt idx="11062">0</cx:pt>
          <cx:pt idx="11063">0</cx:pt>
          <cx:pt idx="11064">0</cx:pt>
          <cx:pt idx="11065">1</cx:pt>
          <cx:pt idx="11066">1</cx:pt>
          <cx:pt idx="11067">0</cx:pt>
          <cx:pt idx="11068">1</cx:pt>
          <cx:pt idx="11069">1</cx:pt>
          <cx:pt idx="11070">1</cx:pt>
          <cx:pt idx="11071">0</cx:pt>
          <cx:pt idx="11072">0</cx:pt>
          <cx:pt idx="11073">0</cx:pt>
          <cx:pt idx="11074">0</cx:pt>
          <cx:pt idx="11075">1</cx:pt>
          <cx:pt idx="11076">1</cx:pt>
          <cx:pt idx="11077">1</cx:pt>
          <cx:pt idx="11078">0</cx:pt>
          <cx:pt idx="11079">0</cx:pt>
          <cx:pt idx="11080">0</cx:pt>
          <cx:pt idx="11081">0</cx:pt>
          <cx:pt idx="11082">1</cx:pt>
          <cx:pt idx="11083">0</cx:pt>
          <cx:pt idx="11084">1</cx:pt>
          <cx:pt idx="11085">1</cx:pt>
          <cx:pt idx="11086">1</cx:pt>
          <cx:pt idx="11087">1</cx:pt>
          <cx:pt idx="11088">1</cx:pt>
          <cx:pt idx="11089">0</cx:pt>
          <cx:pt idx="11090">1</cx:pt>
          <cx:pt idx="11091">0</cx:pt>
          <cx:pt idx="11092">1</cx:pt>
          <cx:pt idx="11093">0</cx:pt>
          <cx:pt idx="11094">0</cx:pt>
          <cx:pt idx="11095">0</cx:pt>
          <cx:pt idx="11096">1</cx:pt>
          <cx:pt idx="11097">1</cx:pt>
          <cx:pt idx="11098">0</cx:pt>
          <cx:pt idx="11099">0</cx:pt>
          <cx:pt idx="11100">1</cx:pt>
          <cx:pt idx="11101">1</cx:pt>
          <cx:pt idx="11102">1</cx:pt>
          <cx:pt idx="11103">0</cx:pt>
          <cx:pt idx="11104">1</cx:pt>
          <cx:pt idx="11105">0</cx:pt>
          <cx:pt idx="11106">1</cx:pt>
          <cx:pt idx="11107">0</cx:pt>
          <cx:pt idx="11108">0</cx:pt>
          <cx:pt idx="11109">0</cx:pt>
          <cx:pt idx="11110">1</cx:pt>
          <cx:pt idx="11111">1</cx:pt>
          <cx:pt idx="11112">1</cx:pt>
          <cx:pt idx="11113">0</cx:pt>
          <cx:pt idx="11114">1</cx:pt>
          <cx:pt idx="11115">0</cx:pt>
          <cx:pt idx="11116">1</cx:pt>
          <cx:pt idx="11117">1</cx:pt>
          <cx:pt idx="11118">0</cx:pt>
          <cx:pt idx="11119">0</cx:pt>
          <cx:pt idx="11120">1</cx:pt>
          <cx:pt idx="11121">0</cx:pt>
          <cx:pt idx="11122">1</cx:pt>
          <cx:pt idx="11123">1</cx:pt>
          <cx:pt idx="11124">1</cx:pt>
          <cx:pt idx="11125">0</cx:pt>
          <cx:pt idx="11126">1</cx:pt>
          <cx:pt idx="11127">0</cx:pt>
          <cx:pt idx="11128">1</cx:pt>
          <cx:pt idx="11129">1</cx:pt>
          <cx:pt idx="11130">0</cx:pt>
          <cx:pt idx="11131">1</cx:pt>
          <cx:pt idx="11132">1</cx:pt>
          <cx:pt idx="11133">1</cx:pt>
          <cx:pt idx="11134">0</cx:pt>
          <cx:pt idx="11135">0</cx:pt>
          <cx:pt idx="11136">1</cx:pt>
          <cx:pt idx="11137">1</cx:pt>
          <cx:pt idx="11138">0</cx:pt>
          <cx:pt idx="11139">0</cx:pt>
          <cx:pt idx="11140">0</cx:pt>
          <cx:pt idx="11141">1</cx:pt>
          <cx:pt idx="11142">1</cx:pt>
          <cx:pt idx="11143">1</cx:pt>
          <cx:pt idx="11144">0</cx:pt>
          <cx:pt idx="11145">0</cx:pt>
          <cx:pt idx="11146">0</cx:pt>
          <cx:pt idx="11147">1</cx:pt>
          <cx:pt idx="11148">1</cx:pt>
          <cx:pt idx="11149">1</cx:pt>
          <cx:pt idx="11150">0</cx:pt>
          <cx:pt idx="11151">0</cx:pt>
          <cx:pt idx="11152">0</cx:pt>
          <cx:pt idx="11153">1</cx:pt>
          <cx:pt idx="11154">1</cx:pt>
          <cx:pt idx="11155">0</cx:pt>
          <cx:pt idx="11156">0</cx:pt>
          <cx:pt idx="11157">0</cx:pt>
          <cx:pt idx="11158">0</cx:pt>
          <cx:pt idx="11159">0</cx:pt>
          <cx:pt idx="11160">1</cx:pt>
          <cx:pt idx="11161">0</cx:pt>
          <cx:pt idx="11162">1</cx:pt>
          <cx:pt idx="11163">1</cx:pt>
          <cx:pt idx="11164">0</cx:pt>
          <cx:pt idx="11165">0</cx:pt>
          <cx:pt idx="11166">1</cx:pt>
          <cx:pt idx="11167">1</cx:pt>
          <cx:pt idx="11168">0</cx:pt>
          <cx:pt idx="11169">1</cx:pt>
          <cx:pt idx="11170">0</cx:pt>
          <cx:pt idx="11171">0</cx:pt>
          <cx:pt idx="11172">1</cx:pt>
          <cx:pt idx="11173">0</cx:pt>
          <cx:pt idx="11174">1</cx:pt>
          <cx:pt idx="11175">0</cx:pt>
          <cx:pt idx="11176">1</cx:pt>
          <cx:pt idx="11177">0</cx:pt>
          <cx:pt idx="11178">0</cx:pt>
          <cx:pt idx="11179">1</cx:pt>
          <cx:pt idx="11180">1</cx:pt>
          <cx:pt idx="11181">0</cx:pt>
          <cx:pt idx="11182">1</cx:pt>
          <cx:pt idx="11183">1</cx:pt>
          <cx:pt idx="11184">0</cx:pt>
          <cx:pt idx="11185">0</cx:pt>
          <cx:pt idx="11186">1</cx:pt>
          <cx:pt idx="11187">0</cx:pt>
          <cx:pt idx="11188">0</cx:pt>
          <cx:pt idx="11189">0</cx:pt>
          <cx:pt idx="11190">0</cx:pt>
          <cx:pt idx="11191">0</cx:pt>
          <cx:pt idx="11192">1</cx:pt>
          <cx:pt idx="11193">1</cx:pt>
          <cx:pt idx="11194">0</cx:pt>
          <cx:pt idx="11195">1</cx:pt>
          <cx:pt idx="11196">0</cx:pt>
          <cx:pt idx="11197">1</cx:pt>
          <cx:pt idx="11198">1</cx:pt>
          <cx:pt idx="11199">1</cx:pt>
          <cx:pt idx="11200">0</cx:pt>
          <cx:pt idx="11201">1</cx:pt>
          <cx:pt idx="11202">1</cx:pt>
          <cx:pt idx="11203">0</cx:pt>
          <cx:pt idx="11204">0</cx:pt>
          <cx:pt idx="11205">1</cx:pt>
          <cx:pt idx="11206">1</cx:pt>
          <cx:pt idx="11207">1</cx:pt>
          <cx:pt idx="11208">0</cx:pt>
          <cx:pt idx="11209">0</cx:pt>
          <cx:pt idx="11210">0</cx:pt>
          <cx:pt idx="11211">0</cx:pt>
          <cx:pt idx="11212">1</cx:pt>
          <cx:pt idx="11213">1</cx:pt>
          <cx:pt idx="11214">0</cx:pt>
          <cx:pt idx="11215">0</cx:pt>
          <cx:pt idx="11216">1</cx:pt>
          <cx:pt idx="11217">0</cx:pt>
          <cx:pt idx="11218">0</cx:pt>
          <cx:pt idx="11219">1</cx:pt>
          <cx:pt idx="11220">0</cx:pt>
          <cx:pt idx="11221">1</cx:pt>
          <cx:pt idx="11222">0</cx:pt>
          <cx:pt idx="11223">0</cx:pt>
          <cx:pt idx="11224">1</cx:pt>
          <cx:pt idx="11225">0</cx:pt>
          <cx:pt idx="11226">1</cx:pt>
          <cx:pt idx="11227">0</cx:pt>
          <cx:pt idx="11228">1</cx:pt>
          <cx:pt idx="11229">0</cx:pt>
          <cx:pt idx="11230">0</cx:pt>
          <cx:pt idx="11231">1</cx:pt>
          <cx:pt idx="11232">0</cx:pt>
          <cx:pt idx="11233">0</cx:pt>
          <cx:pt idx="11234">0</cx:pt>
          <cx:pt idx="11235">1</cx:pt>
          <cx:pt idx="11236">1</cx:pt>
          <cx:pt idx="11237">1</cx:pt>
          <cx:pt idx="11238">1</cx:pt>
          <cx:pt idx="11239">0</cx:pt>
          <cx:pt idx="11240">0</cx:pt>
          <cx:pt idx="11241">0</cx:pt>
          <cx:pt idx="11242">0</cx:pt>
          <cx:pt idx="11243">0</cx:pt>
          <cx:pt idx="11244">0</cx:pt>
          <cx:pt idx="11245">0</cx:pt>
          <cx:pt idx="11246">0</cx:pt>
          <cx:pt idx="11247">1</cx:pt>
          <cx:pt idx="11248">1</cx:pt>
          <cx:pt idx="11249">0</cx:pt>
          <cx:pt idx="11250">1</cx:pt>
          <cx:pt idx="11251">1</cx:pt>
          <cx:pt idx="11252">0</cx:pt>
          <cx:pt idx="11253">0</cx:pt>
          <cx:pt idx="11254">1</cx:pt>
          <cx:pt idx="11255">1</cx:pt>
          <cx:pt idx="11256">1</cx:pt>
          <cx:pt idx="11257">1</cx:pt>
          <cx:pt idx="11258">1</cx:pt>
          <cx:pt idx="11259">1</cx:pt>
          <cx:pt idx="11260">0</cx:pt>
          <cx:pt idx="11261">1</cx:pt>
          <cx:pt idx="11262">0</cx:pt>
          <cx:pt idx="11263">1</cx:pt>
          <cx:pt idx="11264">0</cx:pt>
          <cx:pt idx="11265">1</cx:pt>
          <cx:pt idx="11266">0</cx:pt>
          <cx:pt idx="11267">0</cx:pt>
          <cx:pt idx="11268">1</cx:pt>
          <cx:pt idx="11269">1</cx:pt>
          <cx:pt idx="11270">1</cx:pt>
          <cx:pt idx="11271">0</cx:pt>
          <cx:pt idx="11272">0</cx:pt>
          <cx:pt idx="11273">1</cx:pt>
          <cx:pt idx="11274">0</cx:pt>
          <cx:pt idx="11275">0</cx:pt>
          <cx:pt idx="11276">0</cx:pt>
          <cx:pt idx="11277">0</cx:pt>
          <cx:pt idx="11278">1</cx:pt>
          <cx:pt idx="11279">1</cx:pt>
          <cx:pt idx="11280">0</cx:pt>
          <cx:pt idx="11281">0</cx:pt>
          <cx:pt idx="11282">0</cx:pt>
          <cx:pt idx="11283">0</cx:pt>
          <cx:pt idx="11284">0</cx:pt>
          <cx:pt idx="11285">1</cx:pt>
          <cx:pt idx="11286">0</cx:pt>
          <cx:pt idx="11287">0</cx:pt>
          <cx:pt idx="11288">0</cx:pt>
          <cx:pt idx="11289">0</cx:pt>
          <cx:pt idx="11290">0</cx:pt>
          <cx:pt idx="11291">0</cx:pt>
          <cx:pt idx="11292">0</cx:pt>
          <cx:pt idx="11293">1</cx:pt>
          <cx:pt idx="11294">1</cx:pt>
          <cx:pt idx="11295">1</cx:pt>
          <cx:pt idx="11296">0</cx:pt>
          <cx:pt idx="11297">0</cx:pt>
          <cx:pt idx="11298">1</cx:pt>
          <cx:pt idx="11299">0</cx:pt>
          <cx:pt idx="11300">1</cx:pt>
          <cx:pt idx="11301">0</cx:pt>
          <cx:pt idx="11302">0</cx:pt>
          <cx:pt idx="11303">0</cx:pt>
          <cx:pt idx="11304">1</cx:pt>
          <cx:pt idx="11305">1</cx:pt>
          <cx:pt idx="11306">1</cx:pt>
          <cx:pt idx="11307">1</cx:pt>
          <cx:pt idx="11308">1</cx:pt>
          <cx:pt idx="11309">0</cx:pt>
          <cx:pt idx="11310">1</cx:pt>
          <cx:pt idx="11311">0</cx:pt>
          <cx:pt idx="11312">0</cx:pt>
          <cx:pt idx="11313">0</cx:pt>
          <cx:pt idx="11314">0</cx:pt>
          <cx:pt idx="11315">0</cx:pt>
          <cx:pt idx="11316">1</cx:pt>
          <cx:pt idx="11317">0</cx:pt>
          <cx:pt idx="11318">0</cx:pt>
          <cx:pt idx="11319">0</cx:pt>
          <cx:pt idx="11320">0</cx:pt>
          <cx:pt idx="11321">1</cx:pt>
          <cx:pt idx="11322">1</cx:pt>
          <cx:pt idx="11323">0</cx:pt>
          <cx:pt idx="11324">0</cx:pt>
          <cx:pt idx="11325">0</cx:pt>
          <cx:pt idx="11326">0</cx:pt>
          <cx:pt idx="11327">0</cx:pt>
          <cx:pt idx="11328">0</cx:pt>
          <cx:pt idx="11329">1</cx:pt>
          <cx:pt idx="11330">0</cx:pt>
          <cx:pt idx="11331">1</cx:pt>
          <cx:pt idx="11332">0</cx:pt>
          <cx:pt idx="11333">1</cx:pt>
          <cx:pt idx="11334">1</cx:pt>
          <cx:pt idx="11335">0</cx:pt>
          <cx:pt idx="11336">1</cx:pt>
          <cx:pt idx="11337">1</cx:pt>
          <cx:pt idx="11338">0</cx:pt>
          <cx:pt idx="11339">1</cx:pt>
          <cx:pt idx="11340">1</cx:pt>
          <cx:pt idx="11341">1</cx:pt>
          <cx:pt idx="11342">1</cx:pt>
          <cx:pt idx="11343">1</cx:pt>
          <cx:pt idx="11344">0</cx:pt>
          <cx:pt idx="11345">1</cx:pt>
          <cx:pt idx="11346">1</cx:pt>
          <cx:pt idx="11347">0</cx:pt>
          <cx:pt idx="11348">1</cx:pt>
          <cx:pt idx="11349">1</cx:pt>
          <cx:pt idx="11350">1</cx:pt>
          <cx:pt idx="11351">1</cx:pt>
          <cx:pt idx="11352">0</cx:pt>
          <cx:pt idx="11353">1</cx:pt>
          <cx:pt idx="11354">1</cx:pt>
          <cx:pt idx="11355">0</cx:pt>
          <cx:pt idx="11356">0</cx:pt>
          <cx:pt idx="11357">1</cx:pt>
          <cx:pt idx="11358">0</cx:pt>
          <cx:pt idx="11359">1</cx:pt>
          <cx:pt idx="11360">0</cx:pt>
          <cx:pt idx="11361">1</cx:pt>
          <cx:pt idx="11362">0</cx:pt>
          <cx:pt idx="11363">0</cx:pt>
          <cx:pt idx="11364">0</cx:pt>
          <cx:pt idx="11365">1</cx:pt>
          <cx:pt idx="11366">0</cx:pt>
          <cx:pt idx="11367">1</cx:pt>
          <cx:pt idx="11368">0</cx:pt>
          <cx:pt idx="11369">0</cx:pt>
          <cx:pt idx="11370">1</cx:pt>
          <cx:pt idx="11371">0</cx:pt>
          <cx:pt idx="11372">1</cx:pt>
          <cx:pt idx="11373">1</cx:pt>
          <cx:pt idx="11374">0</cx:pt>
          <cx:pt idx="11375">0</cx:pt>
          <cx:pt idx="11376">1</cx:pt>
          <cx:pt idx="11377">0</cx:pt>
          <cx:pt idx="11378">1</cx:pt>
          <cx:pt idx="11379">1</cx:pt>
          <cx:pt idx="11380">0</cx:pt>
          <cx:pt idx="11381">1</cx:pt>
          <cx:pt idx="11382">0</cx:pt>
          <cx:pt idx="11383">1</cx:pt>
          <cx:pt idx="11384">1</cx:pt>
          <cx:pt idx="11385">1</cx:pt>
          <cx:pt idx="11386">1</cx:pt>
          <cx:pt idx="11387">1</cx:pt>
          <cx:pt idx="11388">0</cx:pt>
          <cx:pt idx="11389">0</cx:pt>
          <cx:pt idx="11390">0</cx:pt>
          <cx:pt idx="11391">0</cx:pt>
          <cx:pt idx="11392">1</cx:pt>
          <cx:pt idx="11393">0</cx:pt>
          <cx:pt idx="11394">0</cx:pt>
          <cx:pt idx="11395">0</cx:pt>
          <cx:pt idx="11396">0</cx:pt>
          <cx:pt idx="11397">0</cx:pt>
          <cx:pt idx="11398">0</cx:pt>
          <cx:pt idx="11399">1</cx:pt>
          <cx:pt idx="11400">1</cx:pt>
          <cx:pt idx="11401">0</cx:pt>
          <cx:pt idx="11402">1</cx:pt>
          <cx:pt idx="11403">1</cx:pt>
          <cx:pt idx="11404">0</cx:pt>
          <cx:pt idx="11405">1</cx:pt>
          <cx:pt idx="11406">0</cx:pt>
          <cx:pt idx="11407">0</cx:pt>
          <cx:pt idx="11408">0</cx:pt>
          <cx:pt idx="11409">0</cx:pt>
          <cx:pt idx="11410">1</cx:pt>
          <cx:pt idx="11411">1</cx:pt>
          <cx:pt idx="11412">1</cx:pt>
          <cx:pt idx="11413">0</cx:pt>
          <cx:pt idx="11414">0</cx:pt>
          <cx:pt idx="11415">0</cx:pt>
          <cx:pt idx="11416">0</cx:pt>
          <cx:pt idx="11417">1</cx:pt>
          <cx:pt idx="11418">1</cx:pt>
          <cx:pt idx="11419">0</cx:pt>
          <cx:pt idx="11420">1</cx:pt>
          <cx:pt idx="11421">1</cx:pt>
          <cx:pt idx="11422">1</cx:pt>
          <cx:pt idx="11423">0</cx:pt>
          <cx:pt idx="11424">1</cx:pt>
          <cx:pt idx="11425">1</cx:pt>
          <cx:pt idx="11426">0</cx:pt>
          <cx:pt idx="11427">0</cx:pt>
          <cx:pt idx="11428">0</cx:pt>
          <cx:pt idx="11429">1</cx:pt>
          <cx:pt idx="11430">0</cx:pt>
          <cx:pt idx="11431">0</cx:pt>
          <cx:pt idx="11432">1</cx:pt>
          <cx:pt idx="11433">0</cx:pt>
          <cx:pt idx="11434">1</cx:pt>
          <cx:pt idx="11435">1</cx:pt>
          <cx:pt idx="11436">0</cx:pt>
          <cx:pt idx="11437">0</cx:pt>
          <cx:pt idx="11438">0</cx:pt>
          <cx:pt idx="11439">1</cx:pt>
          <cx:pt idx="11440">1</cx:pt>
          <cx:pt idx="11441">1</cx:pt>
          <cx:pt idx="11442">1</cx:pt>
          <cx:pt idx="11443">1</cx:pt>
          <cx:pt idx="11444">1</cx:pt>
          <cx:pt idx="11445">0</cx:pt>
          <cx:pt idx="11446">0</cx:pt>
          <cx:pt idx="11447">0</cx:pt>
          <cx:pt idx="11448">1</cx:pt>
          <cx:pt idx="11449">1</cx:pt>
          <cx:pt idx="11450">0</cx:pt>
          <cx:pt idx="11451">1</cx:pt>
          <cx:pt idx="11452">1</cx:pt>
          <cx:pt idx="11453">0</cx:pt>
          <cx:pt idx="11454">0</cx:pt>
          <cx:pt idx="11455">1</cx:pt>
          <cx:pt idx="11456">0</cx:pt>
          <cx:pt idx="11457">0</cx:pt>
          <cx:pt idx="11458">1</cx:pt>
          <cx:pt idx="11459">1</cx:pt>
          <cx:pt idx="11460">1</cx:pt>
          <cx:pt idx="11461">1</cx:pt>
          <cx:pt idx="11462">0</cx:pt>
          <cx:pt idx="11463">1</cx:pt>
          <cx:pt idx="11464">1</cx:pt>
          <cx:pt idx="11465">1</cx:pt>
          <cx:pt idx="11466">1</cx:pt>
          <cx:pt idx="11467">0</cx:pt>
          <cx:pt idx="11468">1</cx:pt>
          <cx:pt idx="11469">0</cx:pt>
          <cx:pt idx="11470">1</cx:pt>
          <cx:pt idx="11471">0</cx:pt>
          <cx:pt idx="11472">1</cx:pt>
          <cx:pt idx="11473">0</cx:pt>
          <cx:pt idx="11474">0</cx:pt>
          <cx:pt idx="11475">1</cx:pt>
          <cx:pt idx="11476">0</cx:pt>
          <cx:pt idx="11477">0</cx:pt>
          <cx:pt idx="11478">0</cx:pt>
          <cx:pt idx="11479">0</cx:pt>
          <cx:pt idx="11480">1</cx:pt>
          <cx:pt idx="11481">1</cx:pt>
          <cx:pt idx="11482">1</cx:pt>
          <cx:pt idx="11483">0</cx:pt>
          <cx:pt idx="11484">0</cx:pt>
          <cx:pt idx="11485">0</cx:pt>
          <cx:pt idx="11486">1</cx:pt>
          <cx:pt idx="11487">1</cx:pt>
          <cx:pt idx="11488">0</cx:pt>
          <cx:pt idx="11489">0</cx:pt>
          <cx:pt idx="11490">0</cx:pt>
          <cx:pt idx="11491">0</cx:pt>
          <cx:pt idx="11492">0</cx:pt>
          <cx:pt idx="11493">1</cx:pt>
          <cx:pt idx="11494">0</cx:pt>
          <cx:pt idx="11495">0</cx:pt>
          <cx:pt idx="11496">1</cx:pt>
          <cx:pt idx="11497">1</cx:pt>
          <cx:pt idx="11498">1</cx:pt>
          <cx:pt idx="11499">1</cx:pt>
          <cx:pt idx="11500">1</cx:pt>
          <cx:pt idx="11501">1</cx:pt>
          <cx:pt idx="11502">0</cx:pt>
          <cx:pt idx="11503">1</cx:pt>
          <cx:pt idx="11504">1</cx:pt>
          <cx:pt idx="11505">0</cx:pt>
          <cx:pt idx="11506">1</cx:pt>
          <cx:pt idx="11507">1</cx:pt>
          <cx:pt idx="11508">0</cx:pt>
          <cx:pt idx="11509">1</cx:pt>
          <cx:pt idx="11510">1</cx:pt>
          <cx:pt idx="11511">1</cx:pt>
          <cx:pt idx="11512">0</cx:pt>
          <cx:pt idx="11513">0</cx:pt>
          <cx:pt idx="11514">1</cx:pt>
          <cx:pt idx="11515">0</cx:pt>
          <cx:pt idx="11516">0</cx:pt>
          <cx:pt idx="11517">0</cx:pt>
          <cx:pt idx="11518">1</cx:pt>
          <cx:pt idx="11519">0</cx:pt>
          <cx:pt idx="11520">0</cx:pt>
          <cx:pt idx="11521">1</cx:pt>
          <cx:pt idx="11522">0</cx:pt>
          <cx:pt idx="11523">1</cx:pt>
          <cx:pt idx="11524">1</cx:pt>
          <cx:pt idx="11525">0</cx:pt>
          <cx:pt idx="11526">1</cx:pt>
          <cx:pt idx="11527">0</cx:pt>
          <cx:pt idx="11528">0</cx:pt>
          <cx:pt idx="11529">1</cx:pt>
          <cx:pt idx="11530">0</cx:pt>
          <cx:pt idx="11531">1</cx:pt>
          <cx:pt idx="11532">1</cx:pt>
          <cx:pt idx="11533">1</cx:pt>
          <cx:pt idx="11534">0</cx:pt>
          <cx:pt idx="11535">1</cx:pt>
          <cx:pt idx="11536">1</cx:pt>
          <cx:pt idx="11537">1</cx:pt>
          <cx:pt idx="11538">0</cx:pt>
          <cx:pt idx="11539">0</cx:pt>
          <cx:pt idx="11540">1</cx:pt>
          <cx:pt idx="11541">0</cx:pt>
          <cx:pt idx="11542">1</cx:pt>
          <cx:pt idx="11543">0</cx:pt>
          <cx:pt idx="11544">1</cx:pt>
          <cx:pt idx="11545">0</cx:pt>
          <cx:pt idx="11546">1</cx:pt>
          <cx:pt idx="11547">0</cx:pt>
          <cx:pt idx="11548">0</cx:pt>
          <cx:pt idx="11549">1</cx:pt>
          <cx:pt idx="11550">0</cx:pt>
          <cx:pt idx="11551">0</cx:pt>
          <cx:pt idx="11552">1</cx:pt>
          <cx:pt idx="11553">1</cx:pt>
          <cx:pt idx="11554">1</cx:pt>
          <cx:pt idx="11555">1</cx:pt>
          <cx:pt idx="11556">1</cx:pt>
          <cx:pt idx="11557">0</cx:pt>
          <cx:pt idx="11558">1</cx:pt>
          <cx:pt idx="11559">0</cx:pt>
          <cx:pt idx="11560">0</cx:pt>
          <cx:pt idx="11561">0</cx:pt>
          <cx:pt idx="11562">0</cx:pt>
          <cx:pt idx="11563">0</cx:pt>
          <cx:pt idx="11564">0</cx:pt>
          <cx:pt idx="11565">1</cx:pt>
          <cx:pt idx="11566">0</cx:pt>
          <cx:pt idx="11567">0</cx:pt>
          <cx:pt idx="11568">0</cx:pt>
          <cx:pt idx="11569">0</cx:pt>
          <cx:pt idx="11570">1</cx:pt>
          <cx:pt idx="11571">1</cx:pt>
          <cx:pt idx="11572">1</cx:pt>
          <cx:pt idx="11573">1</cx:pt>
          <cx:pt idx="11574">1</cx:pt>
          <cx:pt idx="11575">1</cx:pt>
          <cx:pt idx="11576">1</cx:pt>
          <cx:pt idx="11577">1</cx:pt>
          <cx:pt idx="11578">1</cx:pt>
          <cx:pt idx="11579">1</cx:pt>
          <cx:pt idx="11580">1</cx:pt>
          <cx:pt idx="11581">0</cx:pt>
          <cx:pt idx="11582">1</cx:pt>
          <cx:pt idx="11583">0</cx:pt>
          <cx:pt idx="11584">0</cx:pt>
          <cx:pt idx="11585">1</cx:pt>
          <cx:pt idx="11586">0</cx:pt>
          <cx:pt idx="11587">0</cx:pt>
          <cx:pt idx="11588">0</cx:pt>
          <cx:pt idx="11589">1</cx:pt>
          <cx:pt idx="11590">1</cx:pt>
          <cx:pt idx="11591">0</cx:pt>
          <cx:pt idx="11592">1</cx:pt>
          <cx:pt idx="11593">0</cx:pt>
          <cx:pt idx="11594">0</cx:pt>
          <cx:pt idx="11595">0</cx:pt>
          <cx:pt idx="11596">1</cx:pt>
          <cx:pt idx="11597">0</cx:pt>
          <cx:pt idx="11598">0</cx:pt>
          <cx:pt idx="11599">0</cx:pt>
          <cx:pt idx="11600">0</cx:pt>
          <cx:pt idx="11601">0</cx:pt>
          <cx:pt idx="11602">0</cx:pt>
          <cx:pt idx="11603">0</cx:pt>
          <cx:pt idx="11604">0</cx:pt>
          <cx:pt idx="11605">0</cx:pt>
          <cx:pt idx="11606">0</cx:pt>
          <cx:pt idx="11607">1</cx:pt>
          <cx:pt idx="11608">1</cx:pt>
          <cx:pt idx="11609">0</cx:pt>
          <cx:pt idx="11610">0</cx:pt>
          <cx:pt idx="11611">0</cx:pt>
          <cx:pt idx="11612">1</cx:pt>
          <cx:pt idx="11613">0</cx:pt>
          <cx:pt idx="11614">1</cx:pt>
          <cx:pt idx="11615">0</cx:pt>
          <cx:pt idx="11616">0</cx:pt>
          <cx:pt idx="11617">1</cx:pt>
          <cx:pt idx="11618">0</cx:pt>
          <cx:pt idx="11619">0</cx:pt>
          <cx:pt idx="11620">1</cx:pt>
          <cx:pt idx="11621">1</cx:pt>
          <cx:pt idx="11622">0</cx:pt>
          <cx:pt idx="11623">0</cx:pt>
          <cx:pt idx="11624">1</cx:pt>
          <cx:pt idx="11625">0</cx:pt>
          <cx:pt idx="11626">0</cx:pt>
          <cx:pt idx="11627">1</cx:pt>
          <cx:pt idx="11628">1</cx:pt>
          <cx:pt idx="11629">1</cx:pt>
          <cx:pt idx="11630">0</cx:pt>
          <cx:pt idx="11631">1</cx:pt>
          <cx:pt idx="11632">0</cx:pt>
          <cx:pt idx="11633">1</cx:pt>
          <cx:pt idx="11634">1</cx:pt>
          <cx:pt idx="11635">1</cx:pt>
          <cx:pt idx="11636">0</cx:pt>
          <cx:pt idx="11637">0</cx:pt>
          <cx:pt idx="11638">1</cx:pt>
          <cx:pt idx="11639">1</cx:pt>
          <cx:pt idx="11640">1</cx:pt>
          <cx:pt idx="11641">0</cx:pt>
          <cx:pt idx="11642">1</cx:pt>
          <cx:pt idx="11643">1</cx:pt>
          <cx:pt idx="11644">1</cx:pt>
          <cx:pt idx="11645">0</cx:pt>
          <cx:pt idx="11646">0</cx:pt>
          <cx:pt idx="11647">0</cx:pt>
          <cx:pt idx="11648">0</cx:pt>
          <cx:pt idx="11649">1</cx:pt>
          <cx:pt idx="11650">0</cx:pt>
          <cx:pt idx="11651">1</cx:pt>
          <cx:pt idx="11652">0</cx:pt>
          <cx:pt idx="11653">1</cx:pt>
          <cx:pt idx="11654">1</cx:pt>
          <cx:pt idx="11655">0</cx:pt>
          <cx:pt idx="11656">0</cx:pt>
          <cx:pt idx="11657">1</cx:pt>
          <cx:pt idx="11658">0</cx:pt>
          <cx:pt idx="11659">0</cx:pt>
          <cx:pt idx="11660">0</cx:pt>
          <cx:pt idx="11661">1</cx:pt>
          <cx:pt idx="11662">1</cx:pt>
          <cx:pt idx="11663">1</cx:pt>
          <cx:pt idx="11664">0</cx:pt>
          <cx:pt idx="11665">0</cx:pt>
          <cx:pt idx="11666">1</cx:pt>
          <cx:pt idx="11667">0</cx:pt>
          <cx:pt idx="11668">1</cx:pt>
          <cx:pt idx="11669">0</cx:pt>
          <cx:pt idx="11670">1</cx:pt>
          <cx:pt idx="11671">0</cx:pt>
          <cx:pt idx="11672">0</cx:pt>
          <cx:pt idx="11673">1</cx:pt>
          <cx:pt idx="11674">1</cx:pt>
          <cx:pt idx="11675">0</cx:pt>
          <cx:pt idx="11676">1</cx:pt>
          <cx:pt idx="11677">1</cx:pt>
          <cx:pt idx="11678">0</cx:pt>
          <cx:pt idx="11679">0</cx:pt>
          <cx:pt idx="11680">0</cx:pt>
          <cx:pt idx="11681">0</cx:pt>
          <cx:pt idx="11682">1</cx:pt>
          <cx:pt idx="11683">0</cx:pt>
          <cx:pt idx="11684">1</cx:pt>
          <cx:pt idx="11685">0</cx:pt>
          <cx:pt idx="11686">0</cx:pt>
          <cx:pt idx="11687">0</cx:pt>
          <cx:pt idx="11688">0</cx:pt>
          <cx:pt idx="11689">1</cx:pt>
          <cx:pt idx="11690">1</cx:pt>
          <cx:pt idx="11691">0</cx:pt>
          <cx:pt idx="11692">1</cx:pt>
          <cx:pt idx="11693">1</cx:pt>
          <cx:pt idx="11694">0</cx:pt>
          <cx:pt idx="11695">0</cx:pt>
          <cx:pt idx="11696">0</cx:pt>
          <cx:pt idx="11697">0</cx:pt>
          <cx:pt idx="11698">0</cx:pt>
          <cx:pt idx="11699">1</cx:pt>
          <cx:pt idx="11700">1</cx:pt>
          <cx:pt idx="11701">0</cx:pt>
          <cx:pt idx="11702">0</cx:pt>
          <cx:pt idx="11703">0</cx:pt>
          <cx:pt idx="11704">1</cx:pt>
          <cx:pt idx="11705">1</cx:pt>
          <cx:pt idx="11706">0</cx:pt>
          <cx:pt idx="11707">0</cx:pt>
          <cx:pt idx="11708">0</cx:pt>
          <cx:pt idx="11709">0</cx:pt>
          <cx:pt idx="11710">0</cx:pt>
          <cx:pt idx="11711">1</cx:pt>
          <cx:pt idx="11712">1</cx:pt>
          <cx:pt idx="11713">1</cx:pt>
          <cx:pt idx="11714">0</cx:pt>
          <cx:pt idx="11715">1</cx:pt>
          <cx:pt idx="11716">0</cx:pt>
          <cx:pt idx="11717">1</cx:pt>
          <cx:pt idx="11718">0</cx:pt>
          <cx:pt idx="11719">0</cx:pt>
          <cx:pt idx="11720">0</cx:pt>
          <cx:pt idx="11721">1</cx:pt>
          <cx:pt idx="11722">0</cx:pt>
          <cx:pt idx="11723">1</cx:pt>
          <cx:pt idx="11724">1</cx:pt>
          <cx:pt idx="11725">1</cx:pt>
          <cx:pt idx="11726">0</cx:pt>
          <cx:pt idx="11727">0</cx:pt>
          <cx:pt idx="11728">0</cx:pt>
          <cx:pt idx="11729">1</cx:pt>
          <cx:pt idx="11730">0</cx:pt>
          <cx:pt idx="11731">1</cx:pt>
          <cx:pt idx="11732">0</cx:pt>
          <cx:pt idx="11733">0</cx:pt>
          <cx:pt idx="11734">0</cx:pt>
          <cx:pt idx="11735">0</cx:pt>
          <cx:pt idx="11736">1</cx:pt>
          <cx:pt idx="11737">0</cx:pt>
          <cx:pt idx="11738">0</cx:pt>
          <cx:pt idx="11739">0</cx:pt>
          <cx:pt idx="11740">0</cx:pt>
          <cx:pt idx="11741">0</cx:pt>
          <cx:pt idx="11742">1</cx:pt>
          <cx:pt idx="11743">1</cx:pt>
          <cx:pt idx="11744">0</cx:pt>
          <cx:pt idx="11745">0</cx:pt>
          <cx:pt idx="11746">1</cx:pt>
          <cx:pt idx="11747">1</cx:pt>
          <cx:pt idx="11748">1</cx:pt>
          <cx:pt idx="11749">0</cx:pt>
          <cx:pt idx="11750">0</cx:pt>
          <cx:pt idx="11751">0</cx:pt>
          <cx:pt idx="11752">1</cx:pt>
          <cx:pt idx="11753">0</cx:pt>
          <cx:pt idx="11754">0</cx:pt>
          <cx:pt idx="11755">1</cx:pt>
          <cx:pt idx="11756">1</cx:pt>
          <cx:pt idx="11757">0</cx:pt>
          <cx:pt idx="11758">0</cx:pt>
          <cx:pt idx="11759">1</cx:pt>
          <cx:pt idx="11760">0</cx:pt>
          <cx:pt idx="11761">1</cx:pt>
          <cx:pt idx="11762">0</cx:pt>
          <cx:pt idx="11763">1</cx:pt>
          <cx:pt idx="11764">1</cx:pt>
          <cx:pt idx="11765">0</cx:pt>
          <cx:pt idx="11766">0</cx:pt>
          <cx:pt idx="11767">1</cx:pt>
          <cx:pt idx="11768">0</cx:pt>
          <cx:pt idx="11769">1</cx:pt>
          <cx:pt idx="11770">0</cx:pt>
          <cx:pt idx="11771">0</cx:pt>
          <cx:pt idx="11772">0</cx:pt>
          <cx:pt idx="11773">0</cx:pt>
          <cx:pt idx="11774">1</cx:pt>
          <cx:pt idx="11775">1</cx:pt>
          <cx:pt idx="11776">1</cx:pt>
          <cx:pt idx="11777">0</cx:pt>
          <cx:pt idx="11778">0</cx:pt>
          <cx:pt idx="11779">1</cx:pt>
          <cx:pt idx="11780">0</cx:pt>
          <cx:pt idx="11781">0</cx:pt>
          <cx:pt idx="11782">1</cx:pt>
          <cx:pt idx="11783">0</cx:pt>
          <cx:pt idx="11784">1</cx:pt>
          <cx:pt idx="11785">0</cx:pt>
          <cx:pt idx="11786">0</cx:pt>
          <cx:pt idx="11787">0</cx:pt>
          <cx:pt idx="11788">1</cx:pt>
          <cx:pt idx="11789">0</cx:pt>
          <cx:pt idx="11790">0</cx:pt>
          <cx:pt idx="11791">1</cx:pt>
          <cx:pt idx="11792">0</cx:pt>
          <cx:pt idx="11793">1</cx:pt>
          <cx:pt idx="11794">1</cx:pt>
          <cx:pt idx="11795">0</cx:pt>
          <cx:pt idx="11796">0</cx:pt>
          <cx:pt idx="11797">0</cx:pt>
          <cx:pt idx="11798">1</cx:pt>
          <cx:pt idx="11799">1</cx:pt>
          <cx:pt idx="11800">1</cx:pt>
          <cx:pt idx="11801">0</cx:pt>
          <cx:pt idx="11802">0</cx:pt>
          <cx:pt idx="11803">1</cx:pt>
          <cx:pt idx="11804">0</cx:pt>
          <cx:pt idx="11805">0</cx:pt>
          <cx:pt idx="11806">1</cx:pt>
          <cx:pt idx="11807">0</cx:pt>
          <cx:pt idx="11808">0</cx:pt>
          <cx:pt idx="11809">0</cx:pt>
          <cx:pt idx="11810">1</cx:pt>
          <cx:pt idx="11811">0</cx:pt>
          <cx:pt idx="11812">0</cx:pt>
          <cx:pt idx="11813">0</cx:pt>
          <cx:pt idx="11814">1</cx:pt>
          <cx:pt idx="11815">0</cx:pt>
          <cx:pt idx="11816">0</cx:pt>
          <cx:pt idx="11817">0</cx:pt>
          <cx:pt idx="11818">1</cx:pt>
          <cx:pt idx="11819">0</cx:pt>
          <cx:pt idx="11820">0</cx:pt>
          <cx:pt idx="11821">1</cx:pt>
          <cx:pt idx="11822">0</cx:pt>
          <cx:pt idx="11823">1</cx:pt>
          <cx:pt idx="11824">0</cx:pt>
          <cx:pt idx="11825">0</cx:pt>
          <cx:pt idx="11826">0</cx:pt>
          <cx:pt idx="11827">0</cx:pt>
          <cx:pt idx="11828">0</cx:pt>
          <cx:pt idx="11829">1</cx:pt>
          <cx:pt idx="11830">1</cx:pt>
          <cx:pt idx="11831">1</cx:pt>
          <cx:pt idx="11832">0</cx:pt>
          <cx:pt idx="11833">1</cx:pt>
          <cx:pt idx="11834">0</cx:pt>
          <cx:pt idx="11835">0</cx:pt>
          <cx:pt idx="11836">1</cx:pt>
          <cx:pt idx="11837">1</cx:pt>
          <cx:pt idx="11838">0</cx:pt>
          <cx:pt idx="11839">1</cx:pt>
          <cx:pt idx="11840">0</cx:pt>
          <cx:pt idx="11841">0</cx:pt>
          <cx:pt idx="11842">1</cx:pt>
          <cx:pt idx="11843">0</cx:pt>
          <cx:pt idx="11844">1</cx:pt>
          <cx:pt idx="11845">1</cx:pt>
          <cx:pt idx="11846">1</cx:pt>
          <cx:pt idx="11847">1</cx:pt>
          <cx:pt idx="11848">0</cx:pt>
          <cx:pt idx="11849">1</cx:pt>
          <cx:pt idx="11850">1</cx:pt>
          <cx:pt idx="11851">1</cx:pt>
          <cx:pt idx="11852">1</cx:pt>
          <cx:pt idx="11853">0</cx:pt>
          <cx:pt idx="11854">0</cx:pt>
          <cx:pt idx="11855">0</cx:pt>
          <cx:pt idx="11856">0</cx:pt>
          <cx:pt idx="11857">0</cx:pt>
          <cx:pt idx="11858">0</cx:pt>
          <cx:pt idx="11859">0</cx:pt>
          <cx:pt idx="11860">1</cx:pt>
          <cx:pt idx="11861">1</cx:pt>
          <cx:pt idx="11862">0</cx:pt>
          <cx:pt idx="11863">0</cx:pt>
          <cx:pt idx="11864">0</cx:pt>
          <cx:pt idx="11865">1</cx:pt>
          <cx:pt idx="11866">0</cx:pt>
          <cx:pt idx="11867">1</cx:pt>
          <cx:pt idx="11868">0</cx:pt>
          <cx:pt idx="11869">0</cx:pt>
          <cx:pt idx="11870">1</cx:pt>
          <cx:pt idx="11871">0</cx:pt>
          <cx:pt idx="11872">1</cx:pt>
          <cx:pt idx="11873">0</cx:pt>
          <cx:pt idx="11874">0</cx:pt>
          <cx:pt idx="11875">1</cx:pt>
          <cx:pt idx="11876">0</cx:pt>
          <cx:pt idx="11877">0</cx:pt>
          <cx:pt idx="11878">1</cx:pt>
          <cx:pt idx="11879">0</cx:pt>
          <cx:pt idx="11880">1</cx:pt>
          <cx:pt idx="11881">0</cx:pt>
          <cx:pt idx="11882">0</cx:pt>
          <cx:pt idx="11883">0</cx:pt>
          <cx:pt idx="11884">0</cx:pt>
          <cx:pt idx="11885">0</cx:pt>
          <cx:pt idx="11886">0</cx:pt>
          <cx:pt idx="11887">1</cx:pt>
          <cx:pt idx="11888">0</cx:pt>
          <cx:pt idx="11889">0</cx:pt>
          <cx:pt idx="11890">0</cx:pt>
          <cx:pt idx="11891">1</cx:pt>
          <cx:pt idx="11892">0</cx:pt>
          <cx:pt idx="11893">0</cx:pt>
          <cx:pt idx="11894">0</cx:pt>
          <cx:pt idx="11895">1</cx:pt>
          <cx:pt idx="11896">0</cx:pt>
          <cx:pt idx="11897">0</cx:pt>
          <cx:pt idx="11898">0</cx:pt>
          <cx:pt idx="11899">0</cx:pt>
          <cx:pt idx="11900">0</cx:pt>
          <cx:pt idx="11901">1</cx:pt>
          <cx:pt idx="11902">0</cx:pt>
          <cx:pt idx="11903">0</cx:pt>
          <cx:pt idx="11904">1</cx:pt>
          <cx:pt idx="11905">1</cx:pt>
          <cx:pt idx="11906">1</cx:pt>
          <cx:pt idx="11907">1</cx:pt>
          <cx:pt idx="11908">0</cx:pt>
          <cx:pt idx="11909">0</cx:pt>
          <cx:pt idx="11910">0</cx:pt>
          <cx:pt idx="11911">1</cx:pt>
          <cx:pt idx="11912">1</cx:pt>
          <cx:pt idx="11913">1</cx:pt>
          <cx:pt idx="11914">0</cx:pt>
          <cx:pt idx="11915">0</cx:pt>
          <cx:pt idx="11916">0</cx:pt>
          <cx:pt idx="11917">0</cx:pt>
          <cx:pt idx="11918">0</cx:pt>
          <cx:pt idx="11919">1</cx:pt>
          <cx:pt idx="11920">0</cx:pt>
          <cx:pt idx="11921">0</cx:pt>
          <cx:pt idx="11922">0</cx:pt>
          <cx:pt idx="11923">0</cx:pt>
          <cx:pt idx="11924">1</cx:pt>
          <cx:pt idx="11925">1</cx:pt>
          <cx:pt idx="11926">0</cx:pt>
          <cx:pt idx="11927">1</cx:pt>
          <cx:pt idx="11928">0</cx:pt>
          <cx:pt idx="11929">1</cx:pt>
          <cx:pt idx="11930">0</cx:pt>
          <cx:pt idx="11931">1</cx:pt>
          <cx:pt idx="11932">0</cx:pt>
          <cx:pt idx="11933">0</cx:pt>
          <cx:pt idx="11934">0</cx:pt>
          <cx:pt idx="11935">1</cx:pt>
          <cx:pt idx="11936">1</cx:pt>
          <cx:pt idx="11937">1</cx:pt>
          <cx:pt idx="11938">1</cx:pt>
          <cx:pt idx="11939">1</cx:pt>
          <cx:pt idx="11940">0</cx:pt>
          <cx:pt idx="11941">0</cx:pt>
          <cx:pt idx="11942">0</cx:pt>
          <cx:pt idx="11943">1</cx:pt>
          <cx:pt idx="11944">0</cx:pt>
          <cx:pt idx="11945">1</cx:pt>
          <cx:pt idx="11946">1</cx:pt>
          <cx:pt idx="11947">1</cx:pt>
          <cx:pt idx="11948">1</cx:pt>
          <cx:pt idx="11949">1</cx:pt>
          <cx:pt idx="11950">1</cx:pt>
          <cx:pt idx="11951">0</cx:pt>
          <cx:pt idx="11952">0</cx:pt>
          <cx:pt idx="11953">1</cx:pt>
          <cx:pt idx="11954">1</cx:pt>
          <cx:pt idx="11955">1</cx:pt>
          <cx:pt idx="11956">0</cx:pt>
          <cx:pt idx="11957">1</cx:pt>
          <cx:pt idx="11958">0</cx:pt>
          <cx:pt idx="11959">1</cx:pt>
          <cx:pt idx="11960">0</cx:pt>
          <cx:pt idx="11961">1</cx:pt>
          <cx:pt idx="11962">0</cx:pt>
          <cx:pt idx="11963">0</cx:pt>
          <cx:pt idx="11964">0</cx:pt>
          <cx:pt idx="11965">0</cx:pt>
          <cx:pt idx="11966">0</cx:pt>
          <cx:pt idx="11967">0</cx:pt>
          <cx:pt idx="11968">1</cx:pt>
          <cx:pt idx="11969">0</cx:pt>
          <cx:pt idx="11970">0</cx:pt>
          <cx:pt idx="11971">1</cx:pt>
          <cx:pt idx="11972">0</cx:pt>
          <cx:pt idx="11973">1</cx:pt>
          <cx:pt idx="11974">0</cx:pt>
          <cx:pt idx="11975">0</cx:pt>
          <cx:pt idx="11976">1</cx:pt>
          <cx:pt idx="11977">1</cx:pt>
          <cx:pt idx="11978">0</cx:pt>
          <cx:pt idx="11979">1</cx:pt>
          <cx:pt idx="11980">0</cx:pt>
          <cx:pt idx="11981">0</cx:pt>
          <cx:pt idx="11982">1</cx:pt>
          <cx:pt idx="11983">0</cx:pt>
          <cx:pt idx="11984">1</cx:pt>
          <cx:pt idx="11985">1</cx:pt>
          <cx:pt idx="11986">0</cx:pt>
          <cx:pt idx="11987">1</cx:pt>
          <cx:pt idx="11988">1</cx:pt>
          <cx:pt idx="11989">0</cx:pt>
          <cx:pt idx="11990">1</cx:pt>
          <cx:pt idx="11991">0</cx:pt>
          <cx:pt idx="11992">1</cx:pt>
          <cx:pt idx="11993">0</cx:pt>
          <cx:pt idx="11994">1</cx:pt>
          <cx:pt idx="11995">0</cx:pt>
          <cx:pt idx="11996">1</cx:pt>
          <cx:pt idx="11997">1</cx:pt>
          <cx:pt idx="11998">1</cx:pt>
          <cx:pt idx="11999">0</cx:pt>
          <cx:pt idx="12000">1</cx:pt>
          <cx:pt idx="12001">1</cx:pt>
          <cx:pt idx="12002">1</cx:pt>
          <cx:pt idx="12003">1</cx:pt>
          <cx:pt idx="12004">1</cx:pt>
          <cx:pt idx="12005">1</cx:pt>
          <cx:pt idx="12006">0</cx:pt>
          <cx:pt idx="12007">1</cx:pt>
          <cx:pt idx="12008">1</cx:pt>
          <cx:pt idx="12009">1</cx:pt>
          <cx:pt idx="12010">1</cx:pt>
          <cx:pt idx="12011">0</cx:pt>
          <cx:pt idx="12012">1</cx:pt>
          <cx:pt idx="12013">1</cx:pt>
          <cx:pt idx="12014">1</cx:pt>
          <cx:pt idx="12015">0</cx:pt>
          <cx:pt idx="12016">0</cx:pt>
          <cx:pt idx="12017">1</cx:pt>
          <cx:pt idx="12018">1</cx:pt>
          <cx:pt idx="12019">1</cx:pt>
          <cx:pt idx="12020">1</cx:pt>
          <cx:pt idx="12021">1</cx:pt>
          <cx:pt idx="12022">1</cx:pt>
          <cx:pt idx="12023">0</cx:pt>
          <cx:pt idx="12024">0</cx:pt>
          <cx:pt idx="12025">1</cx:pt>
          <cx:pt idx="12026">0</cx:pt>
          <cx:pt idx="12027">1</cx:pt>
          <cx:pt idx="12028">1</cx:pt>
          <cx:pt idx="12029">1</cx:pt>
          <cx:pt idx="12030">0</cx:pt>
          <cx:pt idx="12031">1</cx:pt>
          <cx:pt idx="12032">1</cx:pt>
          <cx:pt idx="12033">0</cx:pt>
          <cx:pt idx="12034">1</cx:pt>
          <cx:pt idx="12035">0</cx:pt>
          <cx:pt idx="12036">0</cx:pt>
          <cx:pt idx="12037">1</cx:pt>
          <cx:pt idx="12038">0</cx:pt>
          <cx:pt idx="12039">0</cx:pt>
          <cx:pt idx="12040">1</cx:pt>
          <cx:pt idx="12041">1</cx:pt>
          <cx:pt idx="12042">0</cx:pt>
          <cx:pt idx="12043">1</cx:pt>
          <cx:pt idx="12044">0</cx:pt>
          <cx:pt idx="12045">0</cx:pt>
          <cx:pt idx="12046">1</cx:pt>
          <cx:pt idx="12047">1</cx:pt>
          <cx:pt idx="12048">0</cx:pt>
          <cx:pt idx="12049">0</cx:pt>
          <cx:pt idx="12050">0</cx:pt>
          <cx:pt idx="12051">0</cx:pt>
          <cx:pt idx="12052">0</cx:pt>
          <cx:pt idx="12053">0</cx:pt>
          <cx:pt idx="12054">1</cx:pt>
          <cx:pt idx="12055">0</cx:pt>
          <cx:pt idx="12056">0</cx:pt>
          <cx:pt idx="12057">0</cx:pt>
          <cx:pt idx="12058">0</cx:pt>
          <cx:pt idx="12059">0</cx:pt>
          <cx:pt idx="12060">0</cx:pt>
          <cx:pt idx="12061">0</cx:pt>
          <cx:pt idx="12062">0</cx:pt>
          <cx:pt idx="12063">0</cx:pt>
          <cx:pt idx="12064">0</cx:pt>
          <cx:pt idx="12065">0</cx:pt>
          <cx:pt idx="12066">0</cx:pt>
          <cx:pt idx="12067">0</cx:pt>
          <cx:pt idx="12068">1</cx:pt>
          <cx:pt idx="12069">0</cx:pt>
          <cx:pt idx="12070">0</cx:pt>
          <cx:pt idx="12071">1</cx:pt>
          <cx:pt idx="12072">1</cx:pt>
          <cx:pt idx="12073">1</cx:pt>
          <cx:pt idx="12074">1</cx:pt>
          <cx:pt idx="12075">0</cx:pt>
          <cx:pt idx="12076">1</cx:pt>
          <cx:pt idx="12077">0</cx:pt>
          <cx:pt idx="12078">0</cx:pt>
          <cx:pt idx="12079">0</cx:pt>
          <cx:pt idx="12080">0</cx:pt>
          <cx:pt idx="12081">1</cx:pt>
          <cx:pt idx="12082">1</cx:pt>
          <cx:pt idx="12083">1</cx:pt>
          <cx:pt idx="12084">1</cx:pt>
          <cx:pt idx="12085">1</cx:pt>
          <cx:pt idx="12086">0</cx:pt>
          <cx:pt idx="12087">1</cx:pt>
          <cx:pt idx="12088">0</cx:pt>
          <cx:pt idx="12089">0</cx:pt>
          <cx:pt idx="12090">1</cx:pt>
          <cx:pt idx="12091">0</cx:pt>
          <cx:pt idx="12092">0</cx:pt>
          <cx:pt idx="12093">0</cx:pt>
          <cx:pt idx="12094">0</cx:pt>
          <cx:pt idx="12095">0</cx:pt>
          <cx:pt idx="12096">0</cx:pt>
          <cx:pt idx="12097">0</cx:pt>
          <cx:pt idx="12098">0</cx:pt>
          <cx:pt idx="12099">0</cx:pt>
          <cx:pt idx="12100">1</cx:pt>
          <cx:pt idx="12101">1</cx:pt>
          <cx:pt idx="12102">1</cx:pt>
          <cx:pt idx="12103">1</cx:pt>
          <cx:pt idx="12104">0</cx:pt>
          <cx:pt idx="12105">0</cx:pt>
          <cx:pt idx="12106">0</cx:pt>
          <cx:pt idx="12107">1</cx:pt>
          <cx:pt idx="12108">0</cx:pt>
          <cx:pt idx="12109">0</cx:pt>
          <cx:pt idx="12110">1</cx:pt>
          <cx:pt idx="12111">1</cx:pt>
          <cx:pt idx="12112">1</cx:pt>
          <cx:pt idx="12113">0</cx:pt>
          <cx:pt idx="12114">0</cx:pt>
          <cx:pt idx="12115">0</cx:pt>
          <cx:pt idx="12116">1</cx:pt>
          <cx:pt idx="12117">0</cx:pt>
          <cx:pt idx="12118">1</cx:pt>
          <cx:pt idx="12119">0</cx:pt>
          <cx:pt idx="12120">0</cx:pt>
          <cx:pt idx="12121">0</cx:pt>
          <cx:pt idx="12122">0</cx:pt>
          <cx:pt idx="12123">1</cx:pt>
          <cx:pt idx="12124">1</cx:pt>
          <cx:pt idx="12125">0</cx:pt>
          <cx:pt idx="12126">0</cx:pt>
          <cx:pt idx="12127">1</cx:pt>
          <cx:pt idx="12128">1</cx:pt>
          <cx:pt idx="12129">0</cx:pt>
          <cx:pt idx="12130">1</cx:pt>
          <cx:pt idx="12131">1</cx:pt>
          <cx:pt idx="12132">0</cx:pt>
          <cx:pt idx="12133">1</cx:pt>
          <cx:pt idx="12134">0</cx:pt>
          <cx:pt idx="12135">0</cx:pt>
          <cx:pt idx="12136">1</cx:pt>
          <cx:pt idx="12137">1</cx:pt>
          <cx:pt idx="12138">0</cx:pt>
          <cx:pt idx="12139">0</cx:pt>
          <cx:pt idx="12140">1</cx:pt>
          <cx:pt idx="12141">0</cx:pt>
          <cx:pt idx="12142">0</cx:pt>
          <cx:pt idx="12143">1</cx:pt>
          <cx:pt idx="12144">0</cx:pt>
          <cx:pt idx="12145">0</cx:pt>
          <cx:pt idx="12146">1</cx:pt>
          <cx:pt idx="12147">0</cx:pt>
          <cx:pt idx="12148">1</cx:pt>
          <cx:pt idx="12149">0</cx:pt>
          <cx:pt idx="12150">0</cx:pt>
          <cx:pt idx="12151">0</cx:pt>
          <cx:pt idx="12152">0</cx:pt>
          <cx:pt idx="12153">0</cx:pt>
          <cx:pt idx="12154">0</cx:pt>
          <cx:pt idx="12155">0</cx:pt>
          <cx:pt idx="12156">0</cx:pt>
          <cx:pt idx="12157">1</cx:pt>
          <cx:pt idx="12158">1</cx:pt>
          <cx:pt idx="12159">0</cx:pt>
          <cx:pt idx="12160">0</cx:pt>
          <cx:pt idx="12161">1</cx:pt>
          <cx:pt idx="12162">1</cx:pt>
          <cx:pt idx="12163">0</cx:pt>
          <cx:pt idx="12164">0</cx:pt>
          <cx:pt idx="12165">0</cx:pt>
          <cx:pt idx="12166">0</cx:pt>
          <cx:pt idx="12167">0</cx:pt>
          <cx:pt idx="12168">1</cx:pt>
          <cx:pt idx="12169">0</cx:pt>
          <cx:pt idx="12170">0</cx:pt>
          <cx:pt idx="12171">1</cx:pt>
          <cx:pt idx="12172">0</cx:pt>
          <cx:pt idx="12173">1</cx:pt>
          <cx:pt idx="12174">0</cx:pt>
          <cx:pt idx="12175">0</cx:pt>
          <cx:pt idx="12176">0</cx:pt>
          <cx:pt idx="12177">1</cx:pt>
          <cx:pt idx="12178">0</cx:pt>
          <cx:pt idx="12179">0</cx:pt>
          <cx:pt idx="12180">0</cx:pt>
          <cx:pt idx="12181">0</cx:pt>
          <cx:pt idx="12182">0</cx:pt>
          <cx:pt idx="12183">0</cx:pt>
          <cx:pt idx="12184">0</cx:pt>
          <cx:pt idx="12185">0</cx:pt>
          <cx:pt idx="12186">0</cx:pt>
          <cx:pt idx="12187">0</cx:pt>
          <cx:pt idx="12188">1</cx:pt>
          <cx:pt idx="12189">1</cx:pt>
          <cx:pt idx="12190">0</cx:pt>
          <cx:pt idx="12191">0</cx:pt>
          <cx:pt idx="12192">1</cx:pt>
          <cx:pt idx="12193">0</cx:pt>
          <cx:pt idx="12194">0</cx:pt>
          <cx:pt idx="12195">0</cx:pt>
          <cx:pt idx="12196">0</cx:pt>
          <cx:pt idx="12197">1</cx:pt>
          <cx:pt idx="12198">1</cx:pt>
          <cx:pt idx="12199">1</cx:pt>
          <cx:pt idx="12200">0</cx:pt>
          <cx:pt idx="12201">1</cx:pt>
          <cx:pt idx="12202">0</cx:pt>
          <cx:pt idx="12203">1</cx:pt>
          <cx:pt idx="12204">0</cx:pt>
          <cx:pt idx="12205">0</cx:pt>
          <cx:pt idx="12206">0</cx:pt>
          <cx:pt idx="12207">0</cx:pt>
          <cx:pt idx="12208">1</cx:pt>
          <cx:pt idx="12209">0</cx:pt>
          <cx:pt idx="12210">1</cx:pt>
          <cx:pt idx="12211">0</cx:pt>
          <cx:pt idx="12212">0</cx:pt>
          <cx:pt idx="12213">0</cx:pt>
          <cx:pt idx="12214">0</cx:pt>
          <cx:pt idx="12215">0</cx:pt>
          <cx:pt idx="12216">1</cx:pt>
          <cx:pt idx="12217">0</cx:pt>
          <cx:pt idx="12218">1</cx:pt>
          <cx:pt idx="12219">1</cx:pt>
          <cx:pt idx="12220">0</cx:pt>
          <cx:pt idx="12221">1</cx:pt>
          <cx:pt idx="12222">0</cx:pt>
          <cx:pt idx="12223">0</cx:pt>
          <cx:pt idx="12224">0</cx:pt>
          <cx:pt idx="12225">0</cx:pt>
          <cx:pt idx="12226">1</cx:pt>
          <cx:pt idx="12227">0</cx:pt>
          <cx:pt idx="12228">0</cx:pt>
          <cx:pt idx="12229">0</cx:pt>
          <cx:pt idx="12230">1</cx:pt>
          <cx:pt idx="12231">0</cx:pt>
          <cx:pt idx="12232">0</cx:pt>
          <cx:pt idx="12233">1</cx:pt>
          <cx:pt idx="12234">0</cx:pt>
          <cx:pt idx="12235">0</cx:pt>
          <cx:pt idx="12236">1</cx:pt>
          <cx:pt idx="12237">1</cx:pt>
          <cx:pt idx="12238">1</cx:pt>
          <cx:pt idx="12239">0</cx:pt>
          <cx:pt idx="12240">1</cx:pt>
          <cx:pt idx="12241">1</cx:pt>
          <cx:pt idx="12242">0</cx:pt>
          <cx:pt idx="12243">1</cx:pt>
          <cx:pt idx="12244">1</cx:pt>
          <cx:pt idx="12245">1</cx:pt>
          <cx:pt idx="12246">1</cx:pt>
          <cx:pt idx="12247">1</cx:pt>
          <cx:pt idx="12248">0</cx:pt>
          <cx:pt idx="12249">0</cx:pt>
          <cx:pt idx="12250">1</cx:pt>
          <cx:pt idx="12251">1</cx:pt>
          <cx:pt idx="12252">1</cx:pt>
          <cx:pt idx="12253">1</cx:pt>
          <cx:pt idx="12254">1</cx:pt>
          <cx:pt idx="12255">0</cx:pt>
          <cx:pt idx="12256">1</cx:pt>
          <cx:pt idx="12257">1</cx:pt>
          <cx:pt idx="12258">0</cx:pt>
          <cx:pt idx="12259">1</cx:pt>
          <cx:pt idx="12260">1</cx:pt>
          <cx:pt idx="12261">0</cx:pt>
          <cx:pt idx="12262">1</cx:pt>
          <cx:pt idx="12263">0</cx:pt>
          <cx:pt idx="12264">1</cx:pt>
          <cx:pt idx="12265">0</cx:pt>
          <cx:pt idx="12266">0</cx:pt>
          <cx:pt idx="12267">0</cx:pt>
          <cx:pt idx="12268">0</cx:pt>
          <cx:pt idx="12269">1</cx:pt>
          <cx:pt idx="12270">0</cx:pt>
          <cx:pt idx="12271">1</cx:pt>
          <cx:pt idx="12272">1</cx:pt>
          <cx:pt idx="12273">0</cx:pt>
          <cx:pt idx="12274">0</cx:pt>
          <cx:pt idx="12275">1</cx:pt>
          <cx:pt idx="12276">1</cx:pt>
          <cx:pt idx="12277">1</cx:pt>
          <cx:pt idx="12278">1</cx:pt>
          <cx:pt idx="12279">0</cx:pt>
          <cx:pt idx="12280">1</cx:pt>
          <cx:pt idx="12281">1</cx:pt>
          <cx:pt idx="12282">0</cx:pt>
          <cx:pt idx="12283">1</cx:pt>
          <cx:pt idx="12284">0</cx:pt>
          <cx:pt idx="12285">0</cx:pt>
          <cx:pt idx="12286">0</cx:pt>
          <cx:pt idx="12287">0</cx:pt>
          <cx:pt idx="12288">1</cx:pt>
          <cx:pt idx="12289">1</cx:pt>
          <cx:pt idx="12290">1</cx:pt>
          <cx:pt idx="12291">1</cx:pt>
          <cx:pt idx="12292">0</cx:pt>
          <cx:pt idx="12293">1</cx:pt>
          <cx:pt idx="12294">1</cx:pt>
          <cx:pt idx="12295">0</cx:pt>
          <cx:pt idx="12296">0</cx:pt>
          <cx:pt idx="12297">1</cx:pt>
          <cx:pt idx="12298">0</cx:pt>
          <cx:pt idx="12299">0</cx:pt>
          <cx:pt idx="12300">0</cx:pt>
          <cx:pt idx="12301">1</cx:pt>
          <cx:pt idx="12302">1</cx:pt>
          <cx:pt idx="12303">1</cx:pt>
          <cx:pt idx="12304">1</cx:pt>
          <cx:pt idx="12305">1</cx:pt>
          <cx:pt idx="12306">1</cx:pt>
          <cx:pt idx="12307">1</cx:pt>
          <cx:pt idx="12308">1</cx:pt>
          <cx:pt idx="12309">0</cx:pt>
          <cx:pt idx="12310">1</cx:pt>
          <cx:pt idx="12311">0</cx:pt>
          <cx:pt idx="12312">0</cx:pt>
          <cx:pt idx="12313">1</cx:pt>
          <cx:pt idx="12314">0</cx:pt>
          <cx:pt idx="12315">0</cx:pt>
          <cx:pt idx="12316">0</cx:pt>
          <cx:pt idx="12317">1</cx:pt>
          <cx:pt idx="12318">1</cx:pt>
          <cx:pt idx="12319">0</cx:pt>
          <cx:pt idx="12320">1</cx:pt>
          <cx:pt idx="12321">1</cx:pt>
          <cx:pt idx="12322">0</cx:pt>
          <cx:pt idx="12323">0</cx:pt>
          <cx:pt idx="12324">1</cx:pt>
          <cx:pt idx="12325">0</cx:pt>
          <cx:pt idx="12326">0</cx:pt>
          <cx:pt idx="12327">1</cx:pt>
          <cx:pt idx="12328">0</cx:pt>
          <cx:pt idx="12329">1</cx:pt>
          <cx:pt idx="12330">1</cx:pt>
          <cx:pt idx="12331">1</cx:pt>
          <cx:pt idx="12332">1</cx:pt>
          <cx:pt idx="12333">0</cx:pt>
          <cx:pt idx="12334">1</cx:pt>
          <cx:pt idx="12335">1</cx:pt>
          <cx:pt idx="12336">1</cx:pt>
          <cx:pt idx="12337">0</cx:pt>
          <cx:pt idx="12338">0</cx:pt>
          <cx:pt idx="12339">0</cx:pt>
          <cx:pt idx="12340">1</cx:pt>
          <cx:pt idx="12341">1</cx:pt>
          <cx:pt idx="12342">0</cx:pt>
          <cx:pt idx="12343">1</cx:pt>
          <cx:pt idx="12344">1</cx:pt>
          <cx:pt idx="12345">1</cx:pt>
          <cx:pt idx="12346">0</cx:pt>
          <cx:pt idx="12347">0</cx:pt>
          <cx:pt idx="12348">0</cx:pt>
          <cx:pt idx="12349">1</cx:pt>
          <cx:pt idx="12350">1</cx:pt>
          <cx:pt idx="12351">0</cx:pt>
          <cx:pt idx="12352">0</cx:pt>
          <cx:pt idx="12353">1</cx:pt>
          <cx:pt idx="12354">1</cx:pt>
          <cx:pt idx="12355">0</cx:pt>
          <cx:pt idx="12356">1</cx:pt>
          <cx:pt idx="12357">1</cx:pt>
          <cx:pt idx="12358">1</cx:pt>
          <cx:pt idx="12359">1</cx:pt>
          <cx:pt idx="12360">1</cx:pt>
          <cx:pt idx="12361">0</cx:pt>
          <cx:pt idx="12362">0</cx:pt>
          <cx:pt idx="12363">1</cx:pt>
          <cx:pt idx="12364">1</cx:pt>
          <cx:pt idx="12365">1</cx:pt>
          <cx:pt idx="12366">0</cx:pt>
          <cx:pt idx="12367">0</cx:pt>
          <cx:pt idx="12368">0</cx:pt>
          <cx:pt idx="12369">0</cx:pt>
          <cx:pt idx="12370">0</cx:pt>
          <cx:pt idx="12371">0</cx:pt>
          <cx:pt idx="12372">0</cx:pt>
          <cx:pt idx="12373">0</cx:pt>
          <cx:pt idx="12374">0</cx:pt>
          <cx:pt idx="12375">0</cx:pt>
          <cx:pt idx="12376">1</cx:pt>
          <cx:pt idx="12377">0</cx:pt>
          <cx:pt idx="12378">0</cx:pt>
          <cx:pt idx="12379">0</cx:pt>
          <cx:pt idx="12380">1</cx:pt>
          <cx:pt idx="12381">1</cx:pt>
          <cx:pt idx="12382">0</cx:pt>
          <cx:pt idx="12383">1</cx:pt>
          <cx:pt idx="12384">1</cx:pt>
          <cx:pt idx="12385">0</cx:pt>
          <cx:pt idx="12386">0</cx:pt>
          <cx:pt idx="12387">1</cx:pt>
          <cx:pt idx="12388">0</cx:pt>
          <cx:pt idx="12389">0</cx:pt>
          <cx:pt idx="12390">0</cx:pt>
          <cx:pt idx="12391">0</cx:pt>
          <cx:pt idx="12392">0</cx:pt>
          <cx:pt idx="12393">1</cx:pt>
          <cx:pt idx="12394">0</cx:pt>
          <cx:pt idx="12395">1</cx:pt>
          <cx:pt idx="12396">1</cx:pt>
          <cx:pt idx="12397">0</cx:pt>
          <cx:pt idx="12398">1</cx:pt>
          <cx:pt idx="12399">0</cx:pt>
          <cx:pt idx="12400">0</cx:pt>
          <cx:pt idx="12401">1</cx:pt>
          <cx:pt idx="12402">0</cx:pt>
          <cx:pt idx="12403">0</cx:pt>
          <cx:pt idx="12404">0</cx:pt>
          <cx:pt idx="12405">1</cx:pt>
          <cx:pt idx="12406">0</cx:pt>
          <cx:pt idx="12407">1</cx:pt>
          <cx:pt idx="12408">1</cx:pt>
          <cx:pt idx="12409">0</cx:pt>
          <cx:pt idx="12410">1</cx:pt>
          <cx:pt idx="12411">0</cx:pt>
          <cx:pt idx="12412">0</cx:pt>
          <cx:pt idx="12413">1</cx:pt>
          <cx:pt idx="12414">0</cx:pt>
          <cx:pt idx="12415">0</cx:pt>
          <cx:pt idx="12416">0</cx:pt>
          <cx:pt idx="12417">0</cx:pt>
          <cx:pt idx="12418">0</cx:pt>
          <cx:pt idx="12419">0</cx:pt>
          <cx:pt idx="12420">0</cx:pt>
          <cx:pt idx="12421">0</cx:pt>
          <cx:pt idx="12422">0</cx:pt>
          <cx:pt idx="12423">1</cx:pt>
          <cx:pt idx="12424">0</cx:pt>
          <cx:pt idx="12425">1</cx:pt>
          <cx:pt idx="12426">1</cx:pt>
          <cx:pt idx="12427">0</cx:pt>
          <cx:pt idx="12428">1</cx:pt>
          <cx:pt idx="12429">0</cx:pt>
          <cx:pt idx="12430">1</cx:pt>
          <cx:pt idx="12431">1</cx:pt>
          <cx:pt idx="12432">0</cx:pt>
          <cx:pt idx="12433">1</cx:pt>
          <cx:pt idx="12434">0</cx:pt>
          <cx:pt idx="12435">0</cx:pt>
          <cx:pt idx="12436">0</cx:pt>
          <cx:pt idx="12437">1</cx:pt>
          <cx:pt idx="12438">0</cx:pt>
          <cx:pt idx="12439">0</cx:pt>
          <cx:pt idx="12440">0</cx:pt>
          <cx:pt idx="12441">0</cx:pt>
          <cx:pt idx="12442">0</cx:pt>
          <cx:pt idx="12443">0</cx:pt>
          <cx:pt idx="12444">1</cx:pt>
          <cx:pt idx="12445">0</cx:pt>
          <cx:pt idx="12446">0</cx:pt>
          <cx:pt idx="12447">0</cx:pt>
          <cx:pt idx="12448">0</cx:pt>
          <cx:pt idx="12449">0</cx:pt>
          <cx:pt idx="12450">0</cx:pt>
          <cx:pt idx="12451">0</cx:pt>
          <cx:pt idx="12452">0</cx:pt>
          <cx:pt idx="12453">0</cx:pt>
          <cx:pt idx="12454">1</cx:pt>
          <cx:pt idx="12455">0</cx:pt>
          <cx:pt idx="12456">1</cx:pt>
          <cx:pt idx="12457">0</cx:pt>
          <cx:pt idx="12458">0</cx:pt>
          <cx:pt idx="12459">1</cx:pt>
          <cx:pt idx="12460">0</cx:pt>
          <cx:pt idx="12461">1</cx:pt>
          <cx:pt idx="12462">1</cx:pt>
          <cx:pt idx="12463">0</cx:pt>
          <cx:pt idx="12464">1</cx:pt>
          <cx:pt idx="12465">0</cx:pt>
          <cx:pt idx="12466">0</cx:pt>
          <cx:pt idx="12467">0</cx:pt>
          <cx:pt idx="12468">0</cx:pt>
          <cx:pt idx="12469">0</cx:pt>
          <cx:pt idx="12470">1</cx:pt>
          <cx:pt idx="12471">0</cx:pt>
          <cx:pt idx="12472">0</cx:pt>
          <cx:pt idx="12473">0</cx:pt>
          <cx:pt idx="12474">1</cx:pt>
          <cx:pt idx="12475">1</cx:pt>
          <cx:pt idx="12476">1</cx:pt>
          <cx:pt idx="12477">0</cx:pt>
          <cx:pt idx="12478">1</cx:pt>
          <cx:pt idx="12479">1</cx:pt>
          <cx:pt idx="12480">0</cx:pt>
          <cx:pt idx="12481">1</cx:pt>
          <cx:pt idx="12482">0</cx:pt>
          <cx:pt idx="12483">1</cx:pt>
          <cx:pt idx="12484">1</cx:pt>
          <cx:pt idx="12485">1</cx:pt>
          <cx:pt idx="12486">0</cx:pt>
          <cx:pt idx="12487">1</cx:pt>
          <cx:pt idx="12488">0</cx:pt>
          <cx:pt idx="12489">0</cx:pt>
          <cx:pt idx="12490">0</cx:pt>
          <cx:pt idx="12491">1</cx:pt>
          <cx:pt idx="12492">1</cx:pt>
          <cx:pt idx="12493">1</cx:pt>
          <cx:pt idx="12494">0</cx:pt>
          <cx:pt idx="12495">1</cx:pt>
          <cx:pt idx="12496">1</cx:pt>
          <cx:pt idx="12497">1</cx:pt>
          <cx:pt idx="12498">1</cx:pt>
          <cx:pt idx="12499">0</cx:pt>
          <cx:pt idx="12500">1</cx:pt>
          <cx:pt idx="12501">0</cx:pt>
          <cx:pt idx="12502">0</cx:pt>
          <cx:pt idx="12503">0</cx:pt>
          <cx:pt idx="12504">1</cx:pt>
          <cx:pt idx="12505">1</cx:pt>
          <cx:pt idx="12506">0</cx:pt>
          <cx:pt idx="12507">0</cx:pt>
          <cx:pt idx="12508">1</cx:pt>
          <cx:pt idx="12509">1</cx:pt>
          <cx:pt idx="12510">0</cx:pt>
          <cx:pt idx="12511">1</cx:pt>
          <cx:pt idx="12512">0</cx:pt>
          <cx:pt idx="12513">1</cx:pt>
          <cx:pt idx="12514">0</cx:pt>
          <cx:pt idx="12515">0</cx:pt>
          <cx:pt idx="12516">0</cx:pt>
          <cx:pt idx="12517">1</cx:pt>
          <cx:pt idx="12518">0</cx:pt>
          <cx:pt idx="12519">1</cx:pt>
          <cx:pt idx="12520">0</cx:pt>
          <cx:pt idx="12521">0</cx:pt>
          <cx:pt idx="12522">1</cx:pt>
          <cx:pt idx="12523">0</cx:pt>
          <cx:pt idx="12524">0</cx:pt>
          <cx:pt idx="12525">0</cx:pt>
          <cx:pt idx="12526">1</cx:pt>
          <cx:pt idx="12527">0</cx:pt>
          <cx:pt idx="12528">0</cx:pt>
          <cx:pt idx="12529">0</cx:pt>
          <cx:pt idx="12530">1</cx:pt>
          <cx:pt idx="12531">0</cx:pt>
          <cx:pt idx="12532">1</cx:pt>
          <cx:pt idx="12533">1</cx:pt>
          <cx:pt idx="12534">0</cx:pt>
          <cx:pt idx="12535">1</cx:pt>
          <cx:pt idx="12536">1</cx:pt>
          <cx:pt idx="12537">1</cx:pt>
          <cx:pt idx="12538">0</cx:pt>
          <cx:pt idx="12539">1</cx:pt>
          <cx:pt idx="12540">0</cx:pt>
          <cx:pt idx="12541">1</cx:pt>
          <cx:pt idx="12542">1</cx:pt>
          <cx:pt idx="12543">1</cx:pt>
          <cx:pt idx="12544">0</cx:pt>
          <cx:pt idx="12545">1</cx:pt>
          <cx:pt idx="12546">0</cx:pt>
          <cx:pt idx="12547">1</cx:pt>
          <cx:pt idx="12548">0</cx:pt>
          <cx:pt idx="12549">1</cx:pt>
          <cx:pt idx="12550">1</cx:pt>
          <cx:pt idx="12551">0</cx:pt>
          <cx:pt idx="12552">1</cx:pt>
          <cx:pt idx="12553">1</cx:pt>
          <cx:pt idx="12554">1</cx:pt>
          <cx:pt idx="12555">0</cx:pt>
          <cx:pt idx="12556">0</cx:pt>
          <cx:pt idx="12557">0</cx:pt>
          <cx:pt idx="12558">0</cx:pt>
          <cx:pt idx="12559">1</cx:pt>
          <cx:pt idx="12560">1</cx:pt>
          <cx:pt idx="12561">0</cx:pt>
          <cx:pt idx="12562">0</cx:pt>
          <cx:pt idx="12563">1</cx:pt>
          <cx:pt idx="12564">1</cx:pt>
          <cx:pt idx="12565">0</cx:pt>
          <cx:pt idx="12566">1</cx:pt>
          <cx:pt idx="12567">1</cx:pt>
          <cx:pt idx="12568">1</cx:pt>
          <cx:pt idx="12569">0</cx:pt>
          <cx:pt idx="12570">1</cx:pt>
          <cx:pt idx="12571">1</cx:pt>
          <cx:pt idx="12572">0</cx:pt>
          <cx:pt idx="12573">1</cx:pt>
          <cx:pt idx="12574">0</cx:pt>
          <cx:pt idx="12575">1</cx:pt>
          <cx:pt idx="12576">1</cx:pt>
          <cx:pt idx="12577">0</cx:pt>
          <cx:pt idx="12578">1</cx:pt>
          <cx:pt idx="12579">0</cx:pt>
          <cx:pt idx="12580">0</cx:pt>
          <cx:pt idx="12581">0</cx:pt>
          <cx:pt idx="12582">0</cx:pt>
          <cx:pt idx="12583">0</cx:pt>
          <cx:pt idx="12584">1</cx:pt>
          <cx:pt idx="12585">1</cx:pt>
          <cx:pt idx="12586">0</cx:pt>
          <cx:pt idx="12587">0</cx:pt>
          <cx:pt idx="12588">1</cx:pt>
          <cx:pt idx="12589">0</cx:pt>
          <cx:pt idx="12590">0</cx:pt>
          <cx:pt idx="12591">0</cx:pt>
          <cx:pt idx="12592">1</cx:pt>
          <cx:pt idx="12593">1</cx:pt>
          <cx:pt idx="12594">0</cx:pt>
          <cx:pt idx="12595">1</cx:pt>
          <cx:pt idx="12596">1</cx:pt>
          <cx:pt idx="12597">0</cx:pt>
          <cx:pt idx="12598">1</cx:pt>
          <cx:pt idx="12599">1</cx:pt>
          <cx:pt idx="12600">1</cx:pt>
          <cx:pt idx="12601">1</cx:pt>
          <cx:pt idx="12602">0</cx:pt>
          <cx:pt idx="12603">1</cx:pt>
          <cx:pt idx="12604">1</cx:pt>
          <cx:pt idx="12605">0</cx:pt>
          <cx:pt idx="12606">0</cx:pt>
          <cx:pt idx="12607">0</cx:pt>
          <cx:pt idx="12608">1</cx:pt>
          <cx:pt idx="12609">1</cx:pt>
          <cx:pt idx="12610">1</cx:pt>
          <cx:pt idx="12611">1</cx:pt>
          <cx:pt idx="12612">1</cx:pt>
          <cx:pt idx="12613">1</cx:pt>
          <cx:pt idx="12614">1</cx:pt>
          <cx:pt idx="12615">0</cx:pt>
          <cx:pt idx="12616">0</cx:pt>
          <cx:pt idx="12617">1</cx:pt>
          <cx:pt idx="12618">0</cx:pt>
          <cx:pt idx="12619">1</cx:pt>
          <cx:pt idx="12620">1</cx:pt>
          <cx:pt idx="12621">0</cx:pt>
          <cx:pt idx="12622">1</cx:pt>
          <cx:pt idx="12623">0</cx:pt>
          <cx:pt idx="12624">1</cx:pt>
          <cx:pt idx="12625">0</cx:pt>
          <cx:pt idx="12626">0</cx:pt>
          <cx:pt idx="12627">1</cx:pt>
          <cx:pt idx="12628">1</cx:pt>
          <cx:pt idx="12629">0</cx:pt>
          <cx:pt idx="12630">0</cx:pt>
          <cx:pt idx="12631">1</cx:pt>
          <cx:pt idx="12632">1</cx:pt>
          <cx:pt idx="12633">0</cx:pt>
          <cx:pt idx="12634">1</cx:pt>
          <cx:pt idx="12635">0</cx:pt>
          <cx:pt idx="12636">0</cx:pt>
          <cx:pt idx="12637">1</cx:pt>
          <cx:pt idx="12638">0</cx:pt>
          <cx:pt idx="12639">1</cx:pt>
          <cx:pt idx="12640">0</cx:pt>
          <cx:pt idx="12641">0</cx:pt>
          <cx:pt idx="12642">0</cx:pt>
          <cx:pt idx="12643">1</cx:pt>
          <cx:pt idx="12644">0</cx:pt>
          <cx:pt idx="12645">0</cx:pt>
          <cx:pt idx="12646">0</cx:pt>
          <cx:pt idx="12647">0</cx:pt>
          <cx:pt idx="12648">0</cx:pt>
          <cx:pt idx="12649">1</cx:pt>
          <cx:pt idx="12650">0</cx:pt>
          <cx:pt idx="12651">1</cx:pt>
          <cx:pt idx="12652">0</cx:pt>
          <cx:pt idx="12653">1</cx:pt>
          <cx:pt idx="12654">0</cx:pt>
          <cx:pt idx="12655">1</cx:pt>
          <cx:pt idx="12656">1</cx:pt>
          <cx:pt idx="12657">0</cx:pt>
          <cx:pt idx="12658">1</cx:pt>
          <cx:pt idx="12659">1</cx:pt>
          <cx:pt idx="12660">1</cx:pt>
          <cx:pt idx="12661">1</cx:pt>
          <cx:pt idx="12662">0</cx:pt>
          <cx:pt idx="12663">1</cx:pt>
          <cx:pt idx="12664">1</cx:pt>
          <cx:pt idx="12665">0</cx:pt>
          <cx:pt idx="12666">1</cx:pt>
          <cx:pt idx="12667">0</cx:pt>
          <cx:pt idx="12668">0</cx:pt>
          <cx:pt idx="12669">0</cx:pt>
          <cx:pt idx="12670">1</cx:pt>
          <cx:pt idx="12671">0</cx:pt>
          <cx:pt idx="12672">1</cx:pt>
          <cx:pt idx="12673">0</cx:pt>
          <cx:pt idx="12674">0</cx:pt>
          <cx:pt idx="12675">1</cx:pt>
          <cx:pt idx="12676">0</cx:pt>
          <cx:pt idx="12677">1</cx:pt>
          <cx:pt idx="12678">0</cx:pt>
          <cx:pt idx="12679">0</cx:pt>
          <cx:pt idx="12680">1</cx:pt>
          <cx:pt idx="12681">0</cx:pt>
          <cx:pt idx="12682">0</cx:pt>
          <cx:pt idx="12683">1</cx:pt>
          <cx:pt idx="12684">1</cx:pt>
          <cx:pt idx="12685">1</cx:pt>
          <cx:pt idx="12686">1</cx:pt>
          <cx:pt idx="12687">1</cx:pt>
          <cx:pt idx="12688">1</cx:pt>
          <cx:pt idx="12689">0</cx:pt>
          <cx:pt idx="12690">0</cx:pt>
          <cx:pt idx="12691">0</cx:pt>
          <cx:pt idx="12692">1</cx:pt>
          <cx:pt idx="12693">0</cx:pt>
          <cx:pt idx="12694">1</cx:pt>
          <cx:pt idx="12695">1</cx:pt>
          <cx:pt idx="12696">0</cx:pt>
          <cx:pt idx="12697">1</cx:pt>
          <cx:pt idx="12698">0</cx:pt>
          <cx:pt idx="12699">0</cx:pt>
          <cx:pt idx="12700">0</cx:pt>
          <cx:pt idx="12701">1</cx:pt>
          <cx:pt idx="12702">1</cx:pt>
          <cx:pt idx="12703">0</cx:pt>
          <cx:pt idx="12704">1</cx:pt>
          <cx:pt idx="12705">0</cx:pt>
          <cx:pt idx="12706">0</cx:pt>
          <cx:pt idx="12707">1</cx:pt>
          <cx:pt idx="12708">1</cx:pt>
          <cx:pt idx="12709">0</cx:pt>
          <cx:pt idx="12710">0</cx:pt>
          <cx:pt idx="12711">1</cx:pt>
          <cx:pt idx="12712">1</cx:pt>
          <cx:pt idx="12713">0</cx:pt>
          <cx:pt idx="12714">1</cx:pt>
          <cx:pt idx="12715">1</cx:pt>
          <cx:pt idx="12716">1</cx:pt>
          <cx:pt idx="12717">0</cx:pt>
          <cx:pt idx="12718">1</cx:pt>
          <cx:pt idx="12719">1</cx:pt>
          <cx:pt idx="12720">0</cx:pt>
          <cx:pt idx="12721">1</cx:pt>
          <cx:pt idx="12722">0</cx:pt>
          <cx:pt idx="12723">0</cx:pt>
          <cx:pt idx="12724">0</cx:pt>
          <cx:pt idx="12725">1</cx:pt>
          <cx:pt idx="12726">0</cx:pt>
          <cx:pt idx="12727">0</cx:pt>
          <cx:pt idx="12728">1</cx:pt>
          <cx:pt idx="12729">1</cx:pt>
          <cx:pt idx="12730">0</cx:pt>
          <cx:pt idx="12731">1</cx:pt>
          <cx:pt idx="12732">0</cx:pt>
          <cx:pt idx="12733">0</cx:pt>
          <cx:pt idx="12734">1</cx:pt>
          <cx:pt idx="12735">1</cx:pt>
          <cx:pt idx="12736">1</cx:pt>
          <cx:pt idx="12737">0</cx:pt>
          <cx:pt idx="12738">0</cx:pt>
          <cx:pt idx="12739">1</cx:pt>
          <cx:pt idx="12740">1</cx:pt>
          <cx:pt idx="12741">0</cx:pt>
          <cx:pt idx="12742">0</cx:pt>
          <cx:pt idx="12743">0</cx:pt>
          <cx:pt idx="12744">1</cx:pt>
          <cx:pt idx="12745">0</cx:pt>
          <cx:pt idx="12746">1</cx:pt>
          <cx:pt idx="12747">1</cx:pt>
          <cx:pt idx="12748">1</cx:pt>
          <cx:pt idx="12749">1</cx:pt>
          <cx:pt idx="12750">1</cx:pt>
          <cx:pt idx="12751">0</cx:pt>
          <cx:pt idx="12752">0</cx:pt>
          <cx:pt idx="12753">1</cx:pt>
          <cx:pt idx="12754">1</cx:pt>
          <cx:pt idx="12755">0</cx:pt>
          <cx:pt idx="12756">0</cx:pt>
          <cx:pt idx="12757">1</cx:pt>
          <cx:pt idx="12758">0</cx:pt>
          <cx:pt idx="12759">0</cx:pt>
          <cx:pt idx="12760">1</cx:pt>
          <cx:pt idx="12761">0</cx:pt>
          <cx:pt idx="12762">0</cx:pt>
          <cx:pt idx="12763">1</cx:pt>
          <cx:pt idx="12764">1</cx:pt>
          <cx:pt idx="12765">0</cx:pt>
          <cx:pt idx="12766">1</cx:pt>
          <cx:pt idx="12767">1</cx:pt>
          <cx:pt idx="12768">1</cx:pt>
          <cx:pt idx="12769">1</cx:pt>
          <cx:pt idx="12770">1</cx:pt>
          <cx:pt idx="12771">1</cx:pt>
          <cx:pt idx="12772">1</cx:pt>
          <cx:pt idx="12773">1</cx:pt>
          <cx:pt idx="12774">1</cx:pt>
          <cx:pt idx="12775">0</cx:pt>
          <cx:pt idx="12776">0</cx:pt>
          <cx:pt idx="12777">0</cx:pt>
          <cx:pt idx="12778">0</cx:pt>
          <cx:pt idx="12779">1</cx:pt>
          <cx:pt idx="12780">1</cx:pt>
          <cx:pt idx="12781">1</cx:pt>
          <cx:pt idx="12782">0</cx:pt>
          <cx:pt idx="12783">0</cx:pt>
          <cx:pt idx="12784">0</cx:pt>
          <cx:pt idx="12785">0</cx:pt>
          <cx:pt idx="12786">1</cx:pt>
          <cx:pt idx="12787">0</cx:pt>
          <cx:pt idx="12788">1</cx:pt>
          <cx:pt idx="12789">0</cx:pt>
          <cx:pt idx="12790">1</cx:pt>
          <cx:pt idx="12791">0</cx:pt>
          <cx:pt idx="12792">1</cx:pt>
          <cx:pt idx="12793">0</cx:pt>
          <cx:pt idx="12794">1</cx:pt>
          <cx:pt idx="12795">1</cx:pt>
          <cx:pt idx="12796">1</cx:pt>
          <cx:pt idx="12797">0</cx:pt>
          <cx:pt idx="12798">0</cx:pt>
          <cx:pt idx="12799">0</cx:pt>
          <cx:pt idx="12800">1</cx:pt>
          <cx:pt idx="12801">1</cx:pt>
          <cx:pt idx="12802">1</cx:pt>
          <cx:pt idx="12803">0</cx:pt>
          <cx:pt idx="12804">1</cx:pt>
          <cx:pt idx="12805">0</cx:pt>
          <cx:pt idx="12806">1</cx:pt>
          <cx:pt idx="12807">0</cx:pt>
          <cx:pt idx="12808">1</cx:pt>
          <cx:pt idx="12809">0</cx:pt>
          <cx:pt idx="12810">0</cx:pt>
          <cx:pt idx="12811">0</cx:pt>
          <cx:pt idx="12812">0</cx:pt>
          <cx:pt idx="12813">1</cx:pt>
          <cx:pt idx="12814">0</cx:pt>
          <cx:pt idx="12815">1</cx:pt>
          <cx:pt idx="12816">1</cx:pt>
          <cx:pt idx="12817">0</cx:pt>
          <cx:pt idx="12818">0</cx:pt>
          <cx:pt idx="12819">0</cx:pt>
          <cx:pt idx="12820">0</cx:pt>
          <cx:pt idx="12821">0</cx:pt>
          <cx:pt idx="12822">0</cx:pt>
          <cx:pt idx="12823">1</cx:pt>
          <cx:pt idx="12824">1</cx:pt>
          <cx:pt idx="12825">0</cx:pt>
          <cx:pt idx="12826">0</cx:pt>
          <cx:pt idx="12827">0</cx:pt>
          <cx:pt idx="12828">0</cx:pt>
          <cx:pt idx="12829">0</cx:pt>
          <cx:pt idx="12830">0</cx:pt>
          <cx:pt idx="12831">0</cx:pt>
          <cx:pt idx="12832">0</cx:pt>
          <cx:pt idx="12833">0</cx:pt>
          <cx:pt idx="12834">0</cx:pt>
          <cx:pt idx="12835">1</cx:pt>
          <cx:pt idx="12836">1</cx:pt>
          <cx:pt idx="12837">1</cx:pt>
          <cx:pt idx="12838">0</cx:pt>
          <cx:pt idx="12839">1</cx:pt>
          <cx:pt idx="12840">0</cx:pt>
          <cx:pt idx="12841">1</cx:pt>
          <cx:pt idx="12842">0</cx:pt>
          <cx:pt idx="12843">1</cx:pt>
          <cx:pt idx="12844">0</cx:pt>
          <cx:pt idx="12845">0</cx:pt>
          <cx:pt idx="12846">0</cx:pt>
          <cx:pt idx="12847">1</cx:pt>
          <cx:pt idx="12848">0</cx:pt>
          <cx:pt idx="12849">1</cx:pt>
          <cx:pt idx="12850">0</cx:pt>
          <cx:pt idx="12851">0</cx:pt>
          <cx:pt idx="12852">0</cx:pt>
          <cx:pt idx="12853">1</cx:pt>
          <cx:pt idx="12854">1</cx:pt>
          <cx:pt idx="12855">0</cx:pt>
          <cx:pt idx="12856">0</cx:pt>
          <cx:pt idx="12857">0</cx:pt>
          <cx:pt idx="12858">0</cx:pt>
          <cx:pt idx="12859">1</cx:pt>
          <cx:pt idx="12860">0</cx:pt>
          <cx:pt idx="12861">1</cx:pt>
          <cx:pt idx="12862">1</cx:pt>
          <cx:pt idx="12863">1</cx:pt>
          <cx:pt idx="12864">0</cx:pt>
          <cx:pt idx="12865">1</cx:pt>
          <cx:pt idx="12866">1</cx:pt>
          <cx:pt idx="12867">1</cx:pt>
          <cx:pt idx="12868">0</cx:pt>
          <cx:pt idx="12869">1</cx:pt>
          <cx:pt idx="12870">0</cx:pt>
          <cx:pt idx="12871">0</cx:pt>
          <cx:pt idx="12872">0</cx:pt>
          <cx:pt idx="12873">0</cx:pt>
          <cx:pt idx="12874">0</cx:pt>
          <cx:pt idx="12875">0</cx:pt>
          <cx:pt idx="12876">0</cx:pt>
          <cx:pt idx="12877">0</cx:pt>
          <cx:pt idx="12878">1</cx:pt>
          <cx:pt idx="12879">0</cx:pt>
          <cx:pt idx="12880">0</cx:pt>
          <cx:pt idx="12881">0</cx:pt>
          <cx:pt idx="12882">1</cx:pt>
          <cx:pt idx="12883">0</cx:pt>
          <cx:pt idx="12884">1</cx:pt>
          <cx:pt idx="12885">0</cx:pt>
          <cx:pt idx="12886">1</cx:pt>
          <cx:pt idx="12887">1</cx:pt>
          <cx:pt idx="12888">1</cx:pt>
          <cx:pt idx="12889">0</cx:pt>
          <cx:pt idx="12890">0</cx:pt>
          <cx:pt idx="12891">0</cx:pt>
          <cx:pt idx="12892">1</cx:pt>
          <cx:pt idx="12893">1</cx:pt>
          <cx:pt idx="12894">0</cx:pt>
          <cx:pt idx="12895">1</cx:pt>
          <cx:pt idx="12896">0</cx:pt>
          <cx:pt idx="12897">0</cx:pt>
          <cx:pt idx="12898">1</cx:pt>
          <cx:pt idx="12899">1</cx:pt>
          <cx:pt idx="12900">1</cx:pt>
          <cx:pt idx="12901">0</cx:pt>
          <cx:pt idx="12902">1</cx:pt>
          <cx:pt idx="12903">1</cx:pt>
          <cx:pt idx="12904">1</cx:pt>
          <cx:pt idx="12905">0</cx:pt>
          <cx:pt idx="12906">0</cx:pt>
          <cx:pt idx="12907">1</cx:pt>
          <cx:pt idx="12908">0</cx:pt>
          <cx:pt idx="12909">1</cx:pt>
          <cx:pt idx="12910">0</cx:pt>
          <cx:pt idx="12911">1</cx:pt>
          <cx:pt idx="12912">1</cx:pt>
          <cx:pt idx="12913">1</cx:pt>
          <cx:pt idx="12914">0</cx:pt>
          <cx:pt idx="12915">1</cx:pt>
          <cx:pt idx="12916">0</cx:pt>
          <cx:pt idx="12917">1</cx:pt>
          <cx:pt idx="12918">1</cx:pt>
          <cx:pt idx="12919">0</cx:pt>
          <cx:pt idx="12920">1</cx:pt>
          <cx:pt idx="12921">0</cx:pt>
          <cx:pt idx="12922">0</cx:pt>
          <cx:pt idx="12923">1</cx:pt>
          <cx:pt idx="12924">1</cx:pt>
          <cx:pt idx="12925">0</cx:pt>
          <cx:pt idx="12926">0</cx:pt>
          <cx:pt idx="12927">1</cx:pt>
          <cx:pt idx="12928">0</cx:pt>
          <cx:pt idx="12929">1</cx:pt>
          <cx:pt idx="12930">1</cx:pt>
          <cx:pt idx="12931">0</cx:pt>
          <cx:pt idx="12932">0</cx:pt>
          <cx:pt idx="12933">0</cx:pt>
          <cx:pt idx="12934">1</cx:pt>
          <cx:pt idx="12935">0</cx:pt>
          <cx:pt idx="12936">1</cx:pt>
          <cx:pt idx="12937">0</cx:pt>
          <cx:pt idx="12938">0</cx:pt>
          <cx:pt idx="12939">1</cx:pt>
          <cx:pt idx="12940">0</cx:pt>
          <cx:pt idx="12941">1</cx:pt>
          <cx:pt idx="12942">0</cx:pt>
          <cx:pt idx="12943">0</cx:pt>
          <cx:pt idx="12944">1</cx:pt>
          <cx:pt idx="12945">0</cx:pt>
          <cx:pt idx="12946">1</cx:pt>
          <cx:pt idx="12947">1</cx:pt>
          <cx:pt idx="12948">0</cx:pt>
          <cx:pt idx="12949">1</cx:pt>
          <cx:pt idx="12950">0</cx:pt>
          <cx:pt idx="12951">0</cx:pt>
          <cx:pt idx="12952">0</cx:pt>
          <cx:pt idx="12953">0</cx:pt>
          <cx:pt idx="12954">0</cx:pt>
          <cx:pt idx="12955">1</cx:pt>
          <cx:pt idx="12956">1</cx:pt>
          <cx:pt idx="12957">1</cx:pt>
          <cx:pt idx="12958">0</cx:pt>
          <cx:pt idx="12959">0</cx:pt>
          <cx:pt idx="12960">1</cx:pt>
          <cx:pt idx="12961">1</cx:pt>
          <cx:pt idx="12962">0</cx:pt>
          <cx:pt idx="12963">1</cx:pt>
          <cx:pt idx="12964">1</cx:pt>
          <cx:pt idx="12965">1</cx:pt>
          <cx:pt idx="12966">0</cx:pt>
          <cx:pt idx="12967">0</cx:pt>
          <cx:pt idx="12968">1</cx:pt>
          <cx:pt idx="12969">0</cx:pt>
          <cx:pt idx="12970">0</cx:pt>
          <cx:pt idx="12971">0</cx:pt>
          <cx:pt idx="12972">1</cx:pt>
          <cx:pt idx="12973">1</cx:pt>
          <cx:pt idx="12974">0</cx:pt>
          <cx:pt idx="12975">0</cx:pt>
          <cx:pt idx="12976">0</cx:pt>
          <cx:pt idx="12977">1</cx:pt>
          <cx:pt idx="12978">1</cx:pt>
          <cx:pt idx="12979">1</cx:pt>
          <cx:pt idx="12980">1</cx:pt>
          <cx:pt idx="12981">1</cx:pt>
          <cx:pt idx="12982">1</cx:pt>
          <cx:pt idx="12983">0</cx:pt>
          <cx:pt idx="12984">0</cx:pt>
          <cx:pt idx="12985">0</cx:pt>
          <cx:pt idx="12986">0</cx:pt>
          <cx:pt idx="12987">0</cx:pt>
          <cx:pt idx="12988">0</cx:pt>
          <cx:pt idx="12989">0</cx:pt>
          <cx:pt idx="12990">1</cx:pt>
          <cx:pt idx="12991">0</cx:pt>
          <cx:pt idx="12992">1</cx:pt>
          <cx:pt idx="12993">1</cx:pt>
          <cx:pt idx="12994">0</cx:pt>
          <cx:pt idx="12995">1</cx:pt>
          <cx:pt idx="12996">1</cx:pt>
          <cx:pt idx="12997">1</cx:pt>
          <cx:pt idx="12998">1</cx:pt>
          <cx:pt idx="12999">0</cx:pt>
          <cx:pt idx="13000">1</cx:pt>
          <cx:pt idx="13001">0</cx:pt>
          <cx:pt idx="13002">0</cx:pt>
          <cx:pt idx="13003">0</cx:pt>
          <cx:pt idx="13004">0</cx:pt>
          <cx:pt idx="13005">1</cx:pt>
          <cx:pt idx="13006">1</cx:pt>
          <cx:pt idx="13007">1</cx:pt>
          <cx:pt idx="13008">1</cx:pt>
          <cx:pt idx="13009">0</cx:pt>
          <cx:pt idx="13010">0</cx:pt>
          <cx:pt idx="13011">1</cx:pt>
          <cx:pt idx="13012">1</cx:pt>
          <cx:pt idx="13013">0</cx:pt>
          <cx:pt idx="13014">1</cx:pt>
          <cx:pt idx="13015">0</cx:pt>
          <cx:pt idx="13016">1</cx:pt>
          <cx:pt idx="13017">0</cx:pt>
          <cx:pt idx="13018">1</cx:pt>
          <cx:pt idx="13019">1</cx:pt>
          <cx:pt idx="13020">0</cx:pt>
          <cx:pt idx="13021">0</cx:pt>
          <cx:pt idx="13022">1</cx:pt>
          <cx:pt idx="13023">1</cx:pt>
          <cx:pt idx="13024">1</cx:pt>
          <cx:pt idx="13025">1</cx:pt>
          <cx:pt idx="13026">0</cx:pt>
          <cx:pt idx="13027">0</cx:pt>
          <cx:pt idx="13028">0</cx:pt>
          <cx:pt idx="13029">1</cx:pt>
          <cx:pt idx="13030">1</cx:pt>
          <cx:pt idx="13031">0</cx:pt>
          <cx:pt idx="13032">1</cx:pt>
          <cx:pt idx="13033">1</cx:pt>
          <cx:pt idx="13034">0</cx:pt>
          <cx:pt idx="13035">1</cx:pt>
          <cx:pt idx="13036">0</cx:pt>
          <cx:pt idx="13037">0</cx:pt>
          <cx:pt idx="13038">1</cx:pt>
          <cx:pt idx="13039">0</cx:pt>
          <cx:pt idx="13040">0</cx:pt>
          <cx:pt idx="13041">1</cx:pt>
          <cx:pt idx="13042">0</cx:pt>
          <cx:pt idx="13043">1</cx:pt>
          <cx:pt idx="13044">0</cx:pt>
          <cx:pt idx="13045">0</cx:pt>
          <cx:pt idx="13046">0</cx:pt>
          <cx:pt idx="13047">1</cx:pt>
          <cx:pt idx="13048">0</cx:pt>
          <cx:pt idx="13049">0</cx:pt>
          <cx:pt idx="13050">1</cx:pt>
          <cx:pt idx="13051">1</cx:pt>
          <cx:pt idx="13052">0</cx:pt>
          <cx:pt idx="13053">0</cx:pt>
          <cx:pt idx="13054">1</cx:pt>
          <cx:pt idx="13055">0</cx:pt>
          <cx:pt idx="13056">0</cx:pt>
          <cx:pt idx="13057">1</cx:pt>
          <cx:pt idx="13058">0</cx:pt>
          <cx:pt idx="13059">0</cx:pt>
          <cx:pt idx="13060">0</cx:pt>
          <cx:pt idx="13061">0</cx:pt>
          <cx:pt idx="13062">0</cx:pt>
          <cx:pt idx="13063">1</cx:pt>
          <cx:pt idx="13064">0</cx:pt>
          <cx:pt idx="13065">1</cx:pt>
          <cx:pt idx="13066">0</cx:pt>
          <cx:pt idx="13067">0</cx:pt>
          <cx:pt idx="13068">1</cx:pt>
          <cx:pt idx="13069">0</cx:pt>
          <cx:pt idx="13070">1</cx:pt>
          <cx:pt idx="13071">1</cx:pt>
          <cx:pt idx="13072">1</cx:pt>
          <cx:pt idx="13073">0</cx:pt>
          <cx:pt idx="13074">0</cx:pt>
          <cx:pt idx="13075">0</cx:pt>
          <cx:pt idx="13076">1</cx:pt>
          <cx:pt idx="13077">0</cx:pt>
          <cx:pt idx="13078">0</cx:pt>
          <cx:pt idx="13079">0</cx:pt>
          <cx:pt idx="13080">1</cx:pt>
          <cx:pt idx="13081">0</cx:pt>
          <cx:pt idx="13082">0</cx:pt>
          <cx:pt idx="13083">0</cx:pt>
          <cx:pt idx="13084">1</cx:pt>
          <cx:pt idx="13085">0</cx:pt>
          <cx:pt idx="13086">0</cx:pt>
          <cx:pt idx="13087">1</cx:pt>
          <cx:pt idx="13088">0</cx:pt>
          <cx:pt idx="13089">1</cx:pt>
          <cx:pt idx="13090">0</cx:pt>
          <cx:pt idx="13091">1</cx:pt>
          <cx:pt idx="13092">0</cx:pt>
          <cx:pt idx="13093">0</cx:pt>
          <cx:pt idx="13094">0</cx:pt>
          <cx:pt idx="13095">1</cx:pt>
          <cx:pt idx="13096">1</cx:pt>
          <cx:pt idx="13097">0</cx:pt>
          <cx:pt idx="13098">1</cx:pt>
          <cx:pt idx="13099">0</cx:pt>
          <cx:pt idx="13100">1</cx:pt>
          <cx:pt idx="13101">1</cx:pt>
          <cx:pt idx="13102">0</cx:pt>
          <cx:pt idx="13103">1</cx:pt>
          <cx:pt idx="13104">1</cx:pt>
          <cx:pt idx="13105">0</cx:pt>
          <cx:pt idx="13106">1</cx:pt>
          <cx:pt idx="13107">0</cx:pt>
          <cx:pt idx="13108">0</cx:pt>
          <cx:pt idx="13109">1</cx:pt>
          <cx:pt idx="13110">0</cx:pt>
          <cx:pt idx="13111">1</cx:pt>
          <cx:pt idx="13112">1</cx:pt>
          <cx:pt idx="13113">0</cx:pt>
          <cx:pt idx="13114">0</cx:pt>
          <cx:pt idx="13115">0</cx:pt>
          <cx:pt idx="13116">0</cx:pt>
          <cx:pt idx="13117">0</cx:pt>
          <cx:pt idx="13118">1</cx:pt>
          <cx:pt idx="13119">0</cx:pt>
          <cx:pt idx="13120">1</cx:pt>
          <cx:pt idx="13121">1</cx:pt>
          <cx:pt idx="13122">1</cx:pt>
          <cx:pt idx="13123">1</cx:pt>
          <cx:pt idx="13124">0</cx:pt>
          <cx:pt idx="13125">1</cx:pt>
          <cx:pt idx="13126">1</cx:pt>
          <cx:pt idx="13127">0</cx:pt>
          <cx:pt idx="13128">1</cx:pt>
          <cx:pt idx="13129">0</cx:pt>
          <cx:pt idx="13130">0</cx:pt>
          <cx:pt idx="13131">0</cx:pt>
          <cx:pt idx="13132">0</cx:pt>
          <cx:pt idx="13133">0</cx:pt>
          <cx:pt idx="13134">0</cx:pt>
          <cx:pt idx="13135">1</cx:pt>
          <cx:pt idx="13136">0</cx:pt>
          <cx:pt idx="13137">0</cx:pt>
          <cx:pt idx="13138">0</cx:pt>
          <cx:pt idx="13139">1</cx:pt>
          <cx:pt idx="13140">0</cx:pt>
          <cx:pt idx="13141">0</cx:pt>
          <cx:pt idx="13142">1</cx:pt>
          <cx:pt idx="13143">1</cx:pt>
          <cx:pt idx="13144">1</cx:pt>
          <cx:pt idx="13145">1</cx:pt>
          <cx:pt idx="13146">0</cx:pt>
          <cx:pt idx="13147">0</cx:pt>
          <cx:pt idx="13148">1</cx:pt>
          <cx:pt idx="13149">0</cx:pt>
          <cx:pt idx="13150">0</cx:pt>
          <cx:pt idx="13151">0</cx:pt>
          <cx:pt idx="13152">0</cx:pt>
          <cx:pt idx="13153">1</cx:pt>
          <cx:pt idx="13154">0</cx:pt>
          <cx:pt idx="13155">1</cx:pt>
          <cx:pt idx="13156">0</cx:pt>
          <cx:pt idx="13157">0</cx:pt>
          <cx:pt idx="13158">0</cx:pt>
          <cx:pt idx="13159">1</cx:pt>
          <cx:pt idx="13160">0</cx:pt>
          <cx:pt idx="13161">0</cx:pt>
          <cx:pt idx="13162">1</cx:pt>
          <cx:pt idx="13163">1</cx:pt>
          <cx:pt idx="13164">0</cx:pt>
          <cx:pt idx="13165">0</cx:pt>
          <cx:pt idx="13166">0</cx:pt>
          <cx:pt idx="13167">0</cx:pt>
          <cx:pt idx="13168">0</cx:pt>
          <cx:pt idx="13169">1</cx:pt>
          <cx:pt idx="13170">1</cx:pt>
          <cx:pt idx="13171">0</cx:pt>
          <cx:pt idx="13172">0</cx:pt>
          <cx:pt idx="13173">0</cx:pt>
          <cx:pt idx="13174">1</cx:pt>
          <cx:pt idx="13175">1</cx:pt>
          <cx:pt idx="13176">1</cx:pt>
          <cx:pt idx="13177">0</cx:pt>
          <cx:pt idx="13178">1</cx:pt>
          <cx:pt idx="13179">0</cx:pt>
          <cx:pt idx="13180">1</cx:pt>
          <cx:pt idx="13181">1</cx:pt>
          <cx:pt idx="13182">1</cx:pt>
          <cx:pt idx="13183">1</cx:pt>
          <cx:pt idx="13184">1</cx:pt>
          <cx:pt idx="13185">0</cx:pt>
          <cx:pt idx="13186">0</cx:pt>
          <cx:pt idx="13187">0</cx:pt>
          <cx:pt idx="13188">0</cx:pt>
          <cx:pt idx="13189">1</cx:pt>
          <cx:pt idx="13190">0</cx:pt>
          <cx:pt idx="13191">0</cx:pt>
          <cx:pt idx="13192">0</cx:pt>
          <cx:pt idx="13193">1</cx:pt>
          <cx:pt idx="13194">1</cx:pt>
          <cx:pt idx="13195">0</cx:pt>
          <cx:pt idx="13196">1</cx:pt>
          <cx:pt idx="13197">0</cx:pt>
          <cx:pt idx="13198">0</cx:pt>
          <cx:pt idx="13199">0</cx:pt>
          <cx:pt idx="13200">0</cx:pt>
          <cx:pt idx="13201">0</cx:pt>
          <cx:pt idx="13202">1</cx:pt>
          <cx:pt idx="13203">0</cx:pt>
          <cx:pt idx="13204">0</cx:pt>
          <cx:pt idx="13205">1</cx:pt>
          <cx:pt idx="13206">0</cx:pt>
          <cx:pt idx="13207">1</cx:pt>
          <cx:pt idx="13208">0</cx:pt>
          <cx:pt idx="13209">0</cx:pt>
          <cx:pt idx="13210">0</cx:pt>
          <cx:pt idx="13211">0</cx:pt>
          <cx:pt idx="13212">0</cx:pt>
          <cx:pt idx="13213">0</cx:pt>
          <cx:pt idx="13214">0</cx:pt>
          <cx:pt idx="13215">1</cx:pt>
          <cx:pt idx="13216">0</cx:pt>
          <cx:pt idx="13217">0</cx:pt>
          <cx:pt idx="13218">0</cx:pt>
          <cx:pt idx="13219">1</cx:pt>
          <cx:pt idx="13220">1</cx:pt>
          <cx:pt idx="13221">1</cx:pt>
          <cx:pt idx="13222">0</cx:pt>
          <cx:pt idx="13223">1</cx:pt>
          <cx:pt idx="13224">0</cx:pt>
          <cx:pt idx="13225">1</cx:pt>
          <cx:pt idx="13226">1</cx:pt>
          <cx:pt idx="13227">1</cx:pt>
          <cx:pt idx="13228">1</cx:pt>
          <cx:pt idx="13229">0</cx:pt>
          <cx:pt idx="13230">0</cx:pt>
          <cx:pt idx="13231">0</cx:pt>
          <cx:pt idx="13232">1</cx:pt>
          <cx:pt idx="13233">0</cx:pt>
          <cx:pt idx="13234">0</cx:pt>
          <cx:pt idx="13235">0</cx:pt>
          <cx:pt idx="13236">1</cx:pt>
          <cx:pt idx="13237">1</cx:pt>
          <cx:pt idx="13238">0</cx:pt>
          <cx:pt idx="13239">0</cx:pt>
          <cx:pt idx="13240">0</cx:pt>
          <cx:pt idx="13241">1</cx:pt>
          <cx:pt idx="13242">0</cx:pt>
          <cx:pt idx="13243">0</cx:pt>
          <cx:pt idx="13244">0</cx:pt>
          <cx:pt idx="13245">1</cx:pt>
          <cx:pt idx="13246">0</cx:pt>
          <cx:pt idx="13247">0</cx:pt>
          <cx:pt idx="13248">1</cx:pt>
          <cx:pt idx="13249">0</cx:pt>
          <cx:pt idx="13250">0</cx:pt>
          <cx:pt idx="13251">1</cx:pt>
          <cx:pt idx="13252">0</cx:pt>
          <cx:pt idx="13253">1</cx:pt>
          <cx:pt idx="13254">0</cx:pt>
          <cx:pt idx="13255">1</cx:pt>
          <cx:pt idx="13256">1</cx:pt>
          <cx:pt idx="13257">1</cx:pt>
          <cx:pt idx="13258">0</cx:pt>
          <cx:pt idx="13259">1</cx:pt>
          <cx:pt idx="13260">1</cx:pt>
          <cx:pt idx="13261">1</cx:pt>
          <cx:pt idx="13262">0</cx:pt>
          <cx:pt idx="13263">0</cx:pt>
          <cx:pt idx="13264">0</cx:pt>
          <cx:pt idx="13265">0</cx:pt>
          <cx:pt idx="13266">0</cx:pt>
          <cx:pt idx="13267">1</cx:pt>
          <cx:pt idx="13268">0</cx:pt>
          <cx:pt idx="13269">1</cx:pt>
          <cx:pt idx="13270">1</cx:pt>
          <cx:pt idx="13271">1</cx:pt>
          <cx:pt idx="13272">0</cx:pt>
          <cx:pt idx="13273">0</cx:pt>
          <cx:pt idx="13274">0</cx:pt>
          <cx:pt idx="13275">1</cx:pt>
          <cx:pt idx="13276">0</cx:pt>
          <cx:pt idx="13277">0</cx:pt>
          <cx:pt idx="13278">0</cx:pt>
          <cx:pt idx="13279">0</cx:pt>
          <cx:pt idx="13280">1</cx:pt>
          <cx:pt idx="13281">1</cx:pt>
          <cx:pt idx="13282">1</cx:pt>
          <cx:pt idx="13283">0</cx:pt>
          <cx:pt idx="13284">0</cx:pt>
          <cx:pt idx="13285">0</cx:pt>
          <cx:pt idx="13286">0</cx:pt>
          <cx:pt idx="13287">0</cx:pt>
          <cx:pt idx="13288">0</cx:pt>
          <cx:pt idx="13289">1</cx:pt>
          <cx:pt idx="13290">0</cx:pt>
          <cx:pt idx="13291">0</cx:pt>
          <cx:pt idx="13292">0</cx:pt>
          <cx:pt idx="13293">1</cx:pt>
          <cx:pt idx="13294">0</cx:pt>
          <cx:pt idx="13295">1</cx:pt>
          <cx:pt idx="13296">1</cx:pt>
          <cx:pt idx="13297">1</cx:pt>
          <cx:pt idx="13298">0</cx:pt>
          <cx:pt idx="13299">1</cx:pt>
          <cx:pt idx="13300">1</cx:pt>
          <cx:pt idx="13301">0</cx:pt>
          <cx:pt idx="13302">0</cx:pt>
          <cx:pt idx="13303">0</cx:pt>
          <cx:pt idx="13304">0</cx:pt>
          <cx:pt idx="13305">1</cx:pt>
          <cx:pt idx="13306">1</cx:pt>
          <cx:pt idx="13307">1</cx:pt>
          <cx:pt idx="13308">0</cx:pt>
          <cx:pt idx="13309">0</cx:pt>
          <cx:pt idx="13310">1</cx:pt>
          <cx:pt idx="13311">0</cx:pt>
          <cx:pt idx="13312">0</cx:pt>
          <cx:pt idx="13313">1</cx:pt>
          <cx:pt idx="13314">1</cx:pt>
          <cx:pt idx="13315">1</cx:pt>
          <cx:pt idx="13316">0</cx:pt>
          <cx:pt idx="13317">0</cx:pt>
          <cx:pt idx="13318">0</cx:pt>
          <cx:pt idx="13319">0</cx:pt>
          <cx:pt idx="13320">1</cx:pt>
          <cx:pt idx="13321">0</cx:pt>
          <cx:pt idx="13322">1</cx:pt>
          <cx:pt idx="13323">1</cx:pt>
          <cx:pt idx="13324">0</cx:pt>
          <cx:pt idx="13325">0</cx:pt>
          <cx:pt idx="13326">0</cx:pt>
          <cx:pt idx="13327">0</cx:pt>
          <cx:pt idx="13328">0</cx:pt>
          <cx:pt idx="13329">1</cx:pt>
          <cx:pt idx="13330">0</cx:pt>
          <cx:pt idx="13331">1</cx:pt>
          <cx:pt idx="13332">1</cx:pt>
          <cx:pt idx="13333">0</cx:pt>
          <cx:pt idx="13334">1</cx:pt>
          <cx:pt idx="13335">0</cx:pt>
          <cx:pt idx="13336">1</cx:pt>
          <cx:pt idx="13337">0</cx:pt>
          <cx:pt idx="13338">0</cx:pt>
          <cx:pt idx="13339">0</cx:pt>
          <cx:pt idx="13340">0</cx:pt>
          <cx:pt idx="13341">0</cx:pt>
          <cx:pt idx="13342">1</cx:pt>
          <cx:pt idx="13343">1</cx:pt>
          <cx:pt idx="13344">0</cx:pt>
          <cx:pt idx="13345">0</cx:pt>
          <cx:pt idx="13346">1</cx:pt>
          <cx:pt idx="13347">1</cx:pt>
          <cx:pt idx="13348">0</cx:pt>
          <cx:pt idx="13349">1</cx:pt>
          <cx:pt idx="13350">0</cx:pt>
          <cx:pt idx="13351">0</cx:pt>
          <cx:pt idx="13352">0</cx:pt>
          <cx:pt idx="13353">0</cx:pt>
          <cx:pt idx="13354">0</cx:pt>
          <cx:pt idx="13355">1</cx:pt>
          <cx:pt idx="13356">0</cx:pt>
          <cx:pt idx="13357">1</cx:pt>
          <cx:pt idx="13358">1</cx:pt>
          <cx:pt idx="13359">1</cx:pt>
          <cx:pt idx="13360">1</cx:pt>
          <cx:pt idx="13361">0</cx:pt>
          <cx:pt idx="13362">0</cx:pt>
          <cx:pt idx="13363">0</cx:pt>
          <cx:pt idx="13364">0</cx:pt>
          <cx:pt idx="13365">1</cx:pt>
          <cx:pt idx="13366">1</cx:pt>
          <cx:pt idx="13367">0</cx:pt>
          <cx:pt idx="13368">0</cx:pt>
          <cx:pt idx="13369">0</cx:pt>
          <cx:pt idx="13370">0</cx:pt>
          <cx:pt idx="13371">1</cx:pt>
          <cx:pt idx="13372">1</cx:pt>
          <cx:pt idx="13373">0</cx:pt>
          <cx:pt idx="13374">0</cx:pt>
          <cx:pt idx="13375">1</cx:pt>
          <cx:pt idx="13376">1</cx:pt>
          <cx:pt idx="13377">1</cx:pt>
          <cx:pt idx="13378">0</cx:pt>
          <cx:pt idx="13379">0</cx:pt>
          <cx:pt idx="13380">1</cx:pt>
          <cx:pt idx="13381">0</cx:pt>
          <cx:pt idx="13382">0</cx:pt>
          <cx:pt idx="13383">0</cx:pt>
          <cx:pt idx="13384">1</cx:pt>
          <cx:pt idx="13385">0</cx:pt>
          <cx:pt idx="13386">0</cx:pt>
          <cx:pt idx="13387">0</cx:pt>
          <cx:pt idx="13388">1</cx:pt>
          <cx:pt idx="13389">1</cx:pt>
          <cx:pt idx="13390">0</cx:pt>
          <cx:pt idx="13391">1</cx:pt>
          <cx:pt idx="13392">0</cx:pt>
          <cx:pt idx="13393">0</cx:pt>
          <cx:pt idx="13394">0</cx:pt>
          <cx:pt idx="13395">0</cx:pt>
          <cx:pt idx="13396">0</cx:pt>
          <cx:pt idx="13397">1</cx:pt>
          <cx:pt idx="13398">1</cx:pt>
          <cx:pt idx="13399">1</cx:pt>
          <cx:pt idx="13400">0</cx:pt>
          <cx:pt idx="13401">1</cx:pt>
          <cx:pt idx="13402">1</cx:pt>
          <cx:pt idx="13403">1</cx:pt>
          <cx:pt idx="13404">1</cx:pt>
          <cx:pt idx="13405">1</cx:pt>
          <cx:pt idx="13406">0</cx:pt>
          <cx:pt idx="13407">1</cx:pt>
          <cx:pt idx="13408">0</cx:pt>
          <cx:pt idx="13409">0</cx:pt>
          <cx:pt idx="13410">1</cx:pt>
          <cx:pt idx="13411">0</cx:pt>
          <cx:pt idx="13412">0</cx:pt>
          <cx:pt idx="13413">0</cx:pt>
          <cx:pt idx="13414">0</cx:pt>
          <cx:pt idx="13415">0</cx:pt>
          <cx:pt idx="13416">0</cx:pt>
          <cx:pt idx="13417">0</cx:pt>
          <cx:pt idx="13418">1</cx:pt>
          <cx:pt idx="13419">0</cx:pt>
          <cx:pt idx="13420">1</cx:pt>
          <cx:pt idx="13421">1</cx:pt>
          <cx:pt idx="13422">0</cx:pt>
          <cx:pt idx="13423">0</cx:pt>
          <cx:pt idx="13424">1</cx:pt>
          <cx:pt idx="13425">1</cx:pt>
          <cx:pt idx="13426">0</cx:pt>
          <cx:pt idx="13427">0</cx:pt>
          <cx:pt idx="13428">0</cx:pt>
          <cx:pt idx="13429">0</cx:pt>
          <cx:pt idx="13430">0</cx:pt>
          <cx:pt idx="13431">0</cx:pt>
          <cx:pt idx="13432">0</cx:pt>
          <cx:pt idx="13433">1</cx:pt>
          <cx:pt idx="13434">1</cx:pt>
          <cx:pt idx="13435">1</cx:pt>
          <cx:pt idx="13436">0</cx:pt>
          <cx:pt idx="13437">1</cx:pt>
          <cx:pt idx="13438">1</cx:pt>
          <cx:pt idx="13439">0</cx:pt>
          <cx:pt idx="13440">1</cx:pt>
          <cx:pt idx="13441">1</cx:pt>
          <cx:pt idx="13442">0</cx:pt>
          <cx:pt idx="13443">1</cx:pt>
          <cx:pt idx="13444">0</cx:pt>
          <cx:pt idx="13445">1</cx:pt>
          <cx:pt idx="13446">0</cx:pt>
          <cx:pt idx="13447">0</cx:pt>
          <cx:pt idx="13448">0</cx:pt>
          <cx:pt idx="13449">0</cx:pt>
          <cx:pt idx="13450">1</cx:pt>
          <cx:pt idx="13451">0</cx:pt>
          <cx:pt idx="13452">0</cx:pt>
          <cx:pt idx="13453">1</cx:pt>
          <cx:pt idx="13454">0</cx:pt>
          <cx:pt idx="13455">1</cx:pt>
          <cx:pt idx="13456">0</cx:pt>
          <cx:pt idx="13457">1</cx:pt>
          <cx:pt idx="13458">0</cx:pt>
          <cx:pt idx="13459">0</cx:pt>
          <cx:pt idx="13460">1</cx:pt>
          <cx:pt idx="13461">1</cx:pt>
          <cx:pt idx="13462">1</cx:pt>
          <cx:pt idx="13463">0</cx:pt>
          <cx:pt idx="13464">1</cx:pt>
          <cx:pt idx="13465">0</cx:pt>
          <cx:pt idx="13466">1</cx:pt>
          <cx:pt idx="13467">0</cx:pt>
          <cx:pt idx="13468">1</cx:pt>
          <cx:pt idx="13469">0</cx:pt>
          <cx:pt idx="13470">1</cx:pt>
          <cx:pt idx="13471">0</cx:pt>
          <cx:pt idx="13472">1</cx:pt>
          <cx:pt idx="13473">0</cx:pt>
          <cx:pt idx="13474">1</cx:pt>
          <cx:pt idx="13475">1</cx:pt>
          <cx:pt idx="13476">0</cx:pt>
          <cx:pt idx="13477">0</cx:pt>
          <cx:pt idx="13478">1</cx:pt>
          <cx:pt idx="13479">0</cx:pt>
          <cx:pt idx="13480">0</cx:pt>
          <cx:pt idx="13481">0</cx:pt>
          <cx:pt idx="13482">1</cx:pt>
          <cx:pt idx="13483">0</cx:pt>
          <cx:pt idx="13484">1</cx:pt>
          <cx:pt idx="13485">1</cx:pt>
          <cx:pt idx="13486">1</cx:pt>
          <cx:pt idx="13487">1</cx:pt>
          <cx:pt idx="13488">0</cx:pt>
          <cx:pt idx="13489">0</cx:pt>
          <cx:pt idx="13490">1</cx:pt>
          <cx:pt idx="13491">0</cx:pt>
          <cx:pt idx="13492">0</cx:pt>
          <cx:pt idx="13493">0</cx:pt>
          <cx:pt idx="13494">0</cx:pt>
          <cx:pt idx="13495">1</cx:pt>
          <cx:pt idx="13496">1</cx:pt>
          <cx:pt idx="13497">0</cx:pt>
          <cx:pt idx="13498">0</cx:pt>
          <cx:pt idx="13499">1</cx:pt>
          <cx:pt idx="13500">0</cx:pt>
          <cx:pt idx="13501">1</cx:pt>
          <cx:pt idx="13502">0</cx:pt>
          <cx:pt idx="13503">1</cx:pt>
          <cx:pt idx="13504">1</cx:pt>
          <cx:pt idx="13505">0</cx:pt>
          <cx:pt idx="13506">0</cx:pt>
          <cx:pt idx="13507">0</cx:pt>
          <cx:pt idx="13508">1</cx:pt>
          <cx:pt idx="13509">1</cx:pt>
          <cx:pt idx="13510">0</cx:pt>
          <cx:pt idx="13511">0</cx:pt>
          <cx:pt idx="13512">0</cx:pt>
          <cx:pt idx="13513">0</cx:pt>
          <cx:pt idx="13514">0</cx:pt>
          <cx:pt idx="13515">0</cx:pt>
          <cx:pt idx="13516">0</cx:pt>
          <cx:pt idx="13517">0</cx:pt>
          <cx:pt idx="13518">1</cx:pt>
          <cx:pt idx="13519">1</cx:pt>
          <cx:pt idx="13520">0</cx:pt>
          <cx:pt idx="13521">1</cx:pt>
          <cx:pt idx="13522">1</cx:pt>
          <cx:pt idx="13523">0</cx:pt>
          <cx:pt idx="13524">0</cx:pt>
          <cx:pt idx="13525">1</cx:pt>
          <cx:pt idx="13526">0</cx:pt>
          <cx:pt idx="13527">0</cx:pt>
          <cx:pt idx="13528">0</cx:pt>
          <cx:pt idx="13529">0</cx:pt>
          <cx:pt idx="13530">1</cx:pt>
          <cx:pt idx="13531">0</cx:pt>
          <cx:pt idx="13532">0</cx:pt>
          <cx:pt idx="13533">0</cx:pt>
          <cx:pt idx="13534">1</cx:pt>
          <cx:pt idx="13535">0</cx:pt>
          <cx:pt idx="13536">0</cx:pt>
          <cx:pt idx="13537">0</cx:pt>
          <cx:pt idx="13538">1</cx:pt>
          <cx:pt idx="13539">0</cx:pt>
          <cx:pt idx="13540">1</cx:pt>
          <cx:pt idx="13541">1</cx:pt>
          <cx:pt idx="13542">0</cx:pt>
          <cx:pt idx="13543">0</cx:pt>
          <cx:pt idx="13544">1</cx:pt>
          <cx:pt idx="13545">0</cx:pt>
          <cx:pt idx="13546">0</cx:pt>
          <cx:pt idx="13547">1</cx:pt>
          <cx:pt idx="13548">0</cx:pt>
          <cx:pt idx="13549">1</cx:pt>
          <cx:pt idx="13550">0</cx:pt>
          <cx:pt idx="13551">1</cx:pt>
          <cx:pt idx="13552">1</cx:pt>
          <cx:pt idx="13553">1</cx:pt>
          <cx:pt idx="13554">1</cx:pt>
          <cx:pt idx="13555">1</cx:pt>
          <cx:pt idx="13556">1</cx:pt>
          <cx:pt idx="13557">0</cx:pt>
          <cx:pt idx="13558">0</cx:pt>
          <cx:pt idx="13559">1</cx:pt>
          <cx:pt idx="13560">1</cx:pt>
          <cx:pt idx="13561">1</cx:pt>
          <cx:pt idx="13562">1</cx:pt>
          <cx:pt idx="13563">1</cx:pt>
          <cx:pt idx="13564">1</cx:pt>
          <cx:pt idx="13565">0</cx:pt>
          <cx:pt idx="13566">1</cx:pt>
          <cx:pt idx="13567">0</cx:pt>
          <cx:pt idx="13568">0</cx:pt>
          <cx:pt idx="13569">0</cx:pt>
          <cx:pt idx="13570">1</cx:pt>
          <cx:pt idx="13571">1</cx:pt>
          <cx:pt idx="13572">0</cx:pt>
          <cx:pt idx="13573">0</cx:pt>
          <cx:pt idx="13574">1</cx:pt>
          <cx:pt idx="13575">0</cx:pt>
          <cx:pt idx="13576">1</cx:pt>
          <cx:pt idx="13577">0</cx:pt>
          <cx:pt idx="13578">0</cx:pt>
          <cx:pt idx="13579">0</cx:pt>
          <cx:pt idx="13580">1</cx:pt>
          <cx:pt idx="13581">0</cx:pt>
          <cx:pt idx="13582">0</cx:pt>
          <cx:pt idx="13583">0</cx:pt>
          <cx:pt idx="13584">0</cx:pt>
          <cx:pt idx="13585">0</cx:pt>
          <cx:pt idx="13586">0</cx:pt>
          <cx:pt idx="13587">1</cx:pt>
          <cx:pt idx="13588">1</cx:pt>
          <cx:pt idx="13589">0</cx:pt>
          <cx:pt idx="13590">0</cx:pt>
          <cx:pt idx="13591">1</cx:pt>
          <cx:pt idx="13592">0</cx:pt>
          <cx:pt idx="13593">0</cx:pt>
          <cx:pt idx="13594">1</cx:pt>
          <cx:pt idx="13595">1</cx:pt>
          <cx:pt idx="13596">1</cx:pt>
          <cx:pt idx="13597">1</cx:pt>
          <cx:pt idx="13598">0</cx:pt>
          <cx:pt idx="13599">1</cx:pt>
          <cx:pt idx="13600">1</cx:pt>
          <cx:pt idx="13601">0</cx:pt>
          <cx:pt idx="13602">0</cx:pt>
          <cx:pt idx="13603">0</cx:pt>
          <cx:pt idx="13604">1</cx:pt>
          <cx:pt idx="13605">1</cx:pt>
          <cx:pt idx="13606">0</cx:pt>
          <cx:pt idx="13607">1</cx:pt>
          <cx:pt idx="13608">0</cx:pt>
          <cx:pt idx="13609">1</cx:pt>
          <cx:pt idx="13610">0</cx:pt>
          <cx:pt idx="13611">0</cx:pt>
          <cx:pt idx="13612">1</cx:pt>
          <cx:pt idx="13613">0</cx:pt>
          <cx:pt idx="13614">0</cx:pt>
          <cx:pt idx="13615">0</cx:pt>
          <cx:pt idx="13616">0</cx:pt>
          <cx:pt idx="13617">0</cx:pt>
          <cx:pt idx="13618">1</cx:pt>
          <cx:pt idx="13619">1</cx:pt>
          <cx:pt idx="13620">1</cx:pt>
          <cx:pt idx="13621">0</cx:pt>
          <cx:pt idx="13622">0</cx:pt>
          <cx:pt idx="13623">0</cx:pt>
          <cx:pt idx="13624">0</cx:pt>
          <cx:pt idx="13625">1</cx:pt>
          <cx:pt idx="13626">1</cx:pt>
          <cx:pt idx="13627">1</cx:pt>
          <cx:pt idx="13628">0</cx:pt>
          <cx:pt idx="13629">0</cx:pt>
          <cx:pt idx="13630">0</cx:pt>
          <cx:pt idx="13631">1</cx:pt>
          <cx:pt idx="13632">1</cx:pt>
          <cx:pt idx="13633">0</cx:pt>
          <cx:pt idx="13634">1</cx:pt>
          <cx:pt idx="13635">1</cx:pt>
          <cx:pt idx="13636">0</cx:pt>
          <cx:pt idx="13637">1</cx:pt>
          <cx:pt idx="13638">0</cx:pt>
          <cx:pt idx="13639">1</cx:pt>
          <cx:pt idx="13640">1</cx:pt>
          <cx:pt idx="13641">1</cx:pt>
          <cx:pt idx="13642">1</cx:pt>
          <cx:pt idx="13643">1</cx:pt>
          <cx:pt idx="13644">1</cx:pt>
          <cx:pt idx="13645">0</cx:pt>
          <cx:pt idx="13646">0</cx:pt>
          <cx:pt idx="13647">0</cx:pt>
          <cx:pt idx="13648">0</cx:pt>
          <cx:pt idx="13649">1</cx:pt>
          <cx:pt idx="13650">1</cx:pt>
          <cx:pt idx="13651">0</cx:pt>
          <cx:pt idx="13652">1</cx:pt>
          <cx:pt idx="13653">0</cx:pt>
          <cx:pt idx="13654">1</cx:pt>
          <cx:pt idx="13655">0</cx:pt>
          <cx:pt idx="13656">0</cx:pt>
          <cx:pt idx="13657">1</cx:pt>
          <cx:pt idx="13658">1</cx:pt>
          <cx:pt idx="13659">0</cx:pt>
          <cx:pt idx="13660">1</cx:pt>
          <cx:pt idx="13661">1</cx:pt>
          <cx:pt idx="13662">1</cx:pt>
          <cx:pt idx="13663">1</cx:pt>
          <cx:pt idx="13664">0</cx:pt>
          <cx:pt idx="13665">0</cx:pt>
          <cx:pt idx="13666">1</cx:pt>
          <cx:pt idx="13667">1</cx:pt>
          <cx:pt idx="13668">0</cx:pt>
          <cx:pt idx="13669">0</cx:pt>
          <cx:pt idx="13670">1</cx:pt>
          <cx:pt idx="13671">0</cx:pt>
          <cx:pt idx="13672">1</cx:pt>
          <cx:pt idx="13673">1</cx:pt>
          <cx:pt idx="13674">0</cx:pt>
          <cx:pt idx="13675">0</cx:pt>
          <cx:pt idx="13676">1</cx:pt>
          <cx:pt idx="13677">0</cx:pt>
          <cx:pt idx="13678">1</cx:pt>
          <cx:pt idx="13679">0</cx:pt>
          <cx:pt idx="13680">1</cx:pt>
          <cx:pt idx="13681">0</cx:pt>
          <cx:pt idx="13682">1</cx:pt>
          <cx:pt idx="13683">0</cx:pt>
          <cx:pt idx="13684">1</cx:pt>
          <cx:pt idx="13685">1</cx:pt>
          <cx:pt idx="13686">0</cx:pt>
          <cx:pt idx="13687">0</cx:pt>
          <cx:pt idx="13688">0</cx:pt>
          <cx:pt idx="13689">1</cx:pt>
          <cx:pt idx="13690">0</cx:pt>
          <cx:pt idx="13691">1</cx:pt>
          <cx:pt idx="13692">0</cx:pt>
          <cx:pt idx="13693">0</cx:pt>
          <cx:pt idx="13694">0</cx:pt>
          <cx:pt idx="13695">1</cx:pt>
          <cx:pt idx="13696">1</cx:pt>
          <cx:pt idx="13697">0</cx:pt>
          <cx:pt idx="13698">1</cx:pt>
          <cx:pt idx="13699">1</cx:pt>
          <cx:pt idx="13700">1</cx:pt>
          <cx:pt idx="13701">0</cx:pt>
          <cx:pt idx="13702">0</cx:pt>
          <cx:pt idx="13703">0</cx:pt>
          <cx:pt idx="13704">0</cx:pt>
          <cx:pt idx="13705">0</cx:pt>
          <cx:pt idx="13706">0</cx:pt>
          <cx:pt idx="13707">0</cx:pt>
          <cx:pt idx="13708">1</cx:pt>
          <cx:pt idx="13709">0</cx:pt>
          <cx:pt idx="13710">0</cx:pt>
          <cx:pt idx="13711">1</cx:pt>
          <cx:pt idx="13712">1</cx:pt>
          <cx:pt idx="13713">1</cx:pt>
          <cx:pt idx="13714">1</cx:pt>
          <cx:pt idx="13715">1</cx:pt>
          <cx:pt idx="13716">1</cx:pt>
          <cx:pt idx="13717">1</cx:pt>
          <cx:pt idx="13718">0</cx:pt>
          <cx:pt idx="13719">1</cx:pt>
          <cx:pt idx="13720">1</cx:pt>
          <cx:pt idx="13721">0</cx:pt>
          <cx:pt idx="13722">1</cx:pt>
          <cx:pt idx="13723">0</cx:pt>
          <cx:pt idx="13724">1</cx:pt>
          <cx:pt idx="13725">0</cx:pt>
          <cx:pt idx="13726">0</cx:pt>
          <cx:pt idx="13727">1</cx:pt>
          <cx:pt idx="13728">0</cx:pt>
          <cx:pt idx="13729">1</cx:pt>
          <cx:pt idx="13730">1</cx:pt>
          <cx:pt idx="13731">1</cx:pt>
          <cx:pt idx="13732">1</cx:pt>
          <cx:pt idx="13733">1</cx:pt>
          <cx:pt idx="13734">0</cx:pt>
          <cx:pt idx="13735">1</cx:pt>
          <cx:pt idx="13736">0</cx:pt>
          <cx:pt idx="13737">0</cx:pt>
          <cx:pt idx="13738">1</cx:pt>
          <cx:pt idx="13739">0</cx:pt>
          <cx:pt idx="13740">0</cx:pt>
          <cx:pt idx="13741">1</cx:pt>
          <cx:pt idx="13742">1</cx:pt>
          <cx:pt idx="13743">0</cx:pt>
          <cx:pt idx="13744">1</cx:pt>
          <cx:pt idx="13745">0</cx:pt>
          <cx:pt idx="13746">0</cx:pt>
          <cx:pt idx="13747">0</cx:pt>
          <cx:pt idx="13748">1</cx:pt>
          <cx:pt idx="13749">0</cx:pt>
          <cx:pt idx="13750">0</cx:pt>
          <cx:pt idx="13751">1</cx:pt>
          <cx:pt idx="13752">0</cx:pt>
          <cx:pt idx="13753">0</cx:pt>
          <cx:pt idx="13754">1</cx:pt>
          <cx:pt idx="13755">0</cx:pt>
          <cx:pt idx="13756">0</cx:pt>
          <cx:pt idx="13757">0</cx:pt>
          <cx:pt idx="13758">0</cx:pt>
          <cx:pt idx="13759">1</cx:pt>
          <cx:pt idx="13760">1</cx:pt>
          <cx:pt idx="13761">1</cx:pt>
          <cx:pt idx="13762">1</cx:pt>
          <cx:pt idx="13763">1</cx:pt>
          <cx:pt idx="13764">0</cx:pt>
          <cx:pt idx="13765">0</cx:pt>
          <cx:pt idx="13766">1</cx:pt>
          <cx:pt idx="13767">0</cx:pt>
          <cx:pt idx="13768">1</cx:pt>
          <cx:pt idx="13769">0</cx:pt>
          <cx:pt idx="13770">1</cx:pt>
          <cx:pt idx="13771">0</cx:pt>
          <cx:pt idx="13772">1</cx:pt>
          <cx:pt idx="13773">0</cx:pt>
          <cx:pt idx="13774">0</cx:pt>
          <cx:pt idx="13775">1</cx:pt>
          <cx:pt idx="13776">0</cx:pt>
          <cx:pt idx="13777">0</cx:pt>
          <cx:pt idx="13778">1</cx:pt>
          <cx:pt idx="13779">1</cx:pt>
          <cx:pt idx="13780">0</cx:pt>
          <cx:pt idx="13781">0</cx:pt>
          <cx:pt idx="13782">1</cx:pt>
          <cx:pt idx="13783">1</cx:pt>
          <cx:pt idx="13784">0</cx:pt>
          <cx:pt idx="13785">0</cx:pt>
          <cx:pt idx="13786">0</cx:pt>
          <cx:pt idx="13787">1</cx:pt>
          <cx:pt idx="13788">0</cx:pt>
          <cx:pt idx="13789">0</cx:pt>
          <cx:pt idx="13790">0</cx:pt>
          <cx:pt idx="13791">1</cx:pt>
          <cx:pt idx="13792">1</cx:pt>
          <cx:pt idx="13793">1</cx:pt>
          <cx:pt idx="13794">1</cx:pt>
          <cx:pt idx="13795">0</cx:pt>
          <cx:pt idx="13796">1</cx:pt>
          <cx:pt idx="13797">1</cx:pt>
          <cx:pt idx="13798">1</cx:pt>
          <cx:pt idx="13799">0</cx:pt>
          <cx:pt idx="13800">0</cx:pt>
          <cx:pt idx="13801">0</cx:pt>
          <cx:pt idx="13802">0</cx:pt>
          <cx:pt idx="13803">1</cx:pt>
          <cx:pt idx="13804">0</cx:pt>
          <cx:pt idx="13805">0</cx:pt>
          <cx:pt idx="13806">1</cx:pt>
          <cx:pt idx="13807">0</cx:pt>
          <cx:pt idx="13808">1</cx:pt>
          <cx:pt idx="13809">0</cx:pt>
          <cx:pt idx="13810">1</cx:pt>
          <cx:pt idx="13811">0</cx:pt>
          <cx:pt idx="13812">0</cx:pt>
          <cx:pt idx="13813">0</cx:pt>
          <cx:pt idx="13814">1</cx:pt>
          <cx:pt idx="13815">0</cx:pt>
          <cx:pt idx="13816">1</cx:pt>
          <cx:pt idx="13817">1</cx:pt>
          <cx:pt idx="13818">1</cx:pt>
          <cx:pt idx="13819">0</cx:pt>
          <cx:pt idx="13820">1</cx:pt>
          <cx:pt idx="13821">1</cx:pt>
          <cx:pt idx="13822">1</cx:pt>
          <cx:pt idx="13823">0</cx:pt>
          <cx:pt idx="13824">0</cx:pt>
          <cx:pt idx="13825">1</cx:pt>
          <cx:pt idx="13826">0</cx:pt>
          <cx:pt idx="13827">1</cx:pt>
          <cx:pt idx="13828">0</cx:pt>
          <cx:pt idx="13829">1</cx:pt>
          <cx:pt idx="13830">0</cx:pt>
          <cx:pt idx="13831">0</cx:pt>
          <cx:pt idx="13832">1</cx:pt>
          <cx:pt idx="13833">0</cx:pt>
          <cx:pt idx="13834">0</cx:pt>
          <cx:pt idx="13835">0</cx:pt>
          <cx:pt idx="13836">0</cx:pt>
          <cx:pt idx="13837">0</cx:pt>
          <cx:pt idx="13838">0</cx:pt>
          <cx:pt idx="13839">0</cx:pt>
          <cx:pt idx="13840">1</cx:pt>
          <cx:pt idx="13841">0</cx:pt>
          <cx:pt idx="13842">1</cx:pt>
          <cx:pt idx="13843">1</cx:pt>
          <cx:pt idx="13844">1</cx:pt>
          <cx:pt idx="13845">0</cx:pt>
          <cx:pt idx="13846">1</cx:pt>
          <cx:pt idx="13847">0</cx:pt>
          <cx:pt idx="13848">1</cx:pt>
          <cx:pt idx="13849">0</cx:pt>
          <cx:pt idx="13850">0</cx:pt>
          <cx:pt idx="13851">0</cx:pt>
          <cx:pt idx="13852">1</cx:pt>
          <cx:pt idx="13853">0</cx:pt>
          <cx:pt idx="13854">0</cx:pt>
          <cx:pt idx="13855">1</cx:pt>
          <cx:pt idx="13856">0</cx:pt>
          <cx:pt idx="13857">1</cx:pt>
          <cx:pt idx="13858">0</cx:pt>
          <cx:pt idx="13859">0</cx:pt>
          <cx:pt idx="13860">0</cx:pt>
          <cx:pt idx="13861">1</cx:pt>
          <cx:pt idx="13862">0</cx:pt>
          <cx:pt idx="13863">1</cx:pt>
          <cx:pt idx="13864">1</cx:pt>
          <cx:pt idx="13865">0</cx:pt>
          <cx:pt idx="13866">1</cx:pt>
          <cx:pt idx="13867">1</cx:pt>
          <cx:pt idx="13868">0</cx:pt>
          <cx:pt idx="13869">1</cx:pt>
          <cx:pt idx="13870">1</cx:pt>
          <cx:pt idx="13871">0</cx:pt>
          <cx:pt idx="13872">0</cx:pt>
          <cx:pt idx="13873">1</cx:pt>
          <cx:pt idx="13874">1</cx:pt>
          <cx:pt idx="13875">1</cx:pt>
          <cx:pt idx="13876">0</cx:pt>
          <cx:pt idx="13877">1</cx:pt>
          <cx:pt idx="13878">1</cx:pt>
          <cx:pt idx="13879">1</cx:pt>
          <cx:pt idx="13880">1</cx:pt>
          <cx:pt idx="13881">0</cx:pt>
          <cx:pt idx="13882">0</cx:pt>
          <cx:pt idx="13883">1</cx:pt>
          <cx:pt idx="13884">0</cx:pt>
          <cx:pt idx="13885">1</cx:pt>
          <cx:pt idx="13886">0</cx:pt>
          <cx:pt idx="13887">0</cx:pt>
          <cx:pt idx="13888">0</cx:pt>
          <cx:pt idx="13889">1</cx:pt>
          <cx:pt idx="13890">1</cx:pt>
          <cx:pt idx="13891">1</cx:pt>
          <cx:pt idx="13892">1</cx:pt>
          <cx:pt idx="13893">0</cx:pt>
          <cx:pt idx="13894">1</cx:pt>
          <cx:pt idx="13895">0</cx:pt>
          <cx:pt idx="13896">1</cx:pt>
          <cx:pt idx="13897">0</cx:pt>
          <cx:pt idx="13898">1</cx:pt>
          <cx:pt idx="13899">0</cx:pt>
          <cx:pt idx="13900">1</cx:pt>
          <cx:pt idx="13901">1</cx:pt>
          <cx:pt idx="13902">0</cx:pt>
          <cx:pt idx="13903">0</cx:pt>
          <cx:pt idx="13904">1</cx:pt>
          <cx:pt idx="13905">0</cx:pt>
          <cx:pt idx="13906">0</cx:pt>
          <cx:pt idx="13907">0</cx:pt>
          <cx:pt idx="13908">1</cx:pt>
          <cx:pt idx="13909">0</cx:pt>
          <cx:pt idx="13910">1</cx:pt>
          <cx:pt idx="13911">1</cx:pt>
          <cx:pt idx="13912">0</cx:pt>
          <cx:pt idx="13913">0</cx:pt>
          <cx:pt idx="13914">0</cx:pt>
          <cx:pt idx="13915">0</cx:pt>
          <cx:pt idx="13916">1</cx:pt>
          <cx:pt idx="13917">1</cx:pt>
          <cx:pt idx="13918">0</cx:pt>
          <cx:pt idx="13919">0</cx:pt>
          <cx:pt idx="13920">1</cx:pt>
          <cx:pt idx="13921">0</cx:pt>
          <cx:pt idx="13922">0</cx:pt>
          <cx:pt idx="13923">0</cx:pt>
          <cx:pt idx="13924">0</cx:pt>
          <cx:pt idx="13925">0</cx:pt>
          <cx:pt idx="13926">1</cx:pt>
          <cx:pt idx="13927">0</cx:pt>
          <cx:pt idx="13928">1</cx:pt>
          <cx:pt idx="13929">1</cx:pt>
          <cx:pt idx="13930">0</cx:pt>
          <cx:pt idx="13931">1</cx:pt>
          <cx:pt idx="13932">1</cx:pt>
          <cx:pt idx="13933">1</cx:pt>
          <cx:pt idx="13934">0</cx:pt>
          <cx:pt idx="13935">0</cx:pt>
          <cx:pt idx="13936">0</cx:pt>
          <cx:pt idx="13937">1</cx:pt>
          <cx:pt idx="13938">1</cx:pt>
          <cx:pt idx="13939">0</cx:pt>
          <cx:pt idx="13940">1</cx:pt>
          <cx:pt idx="13941">1</cx:pt>
          <cx:pt idx="13942">0</cx:pt>
          <cx:pt idx="13943">0</cx:pt>
          <cx:pt idx="13944">0</cx:pt>
          <cx:pt idx="13945">0</cx:pt>
          <cx:pt idx="13946">0</cx:pt>
          <cx:pt idx="13947">0</cx:pt>
          <cx:pt idx="13948">0</cx:pt>
          <cx:pt idx="13949">0</cx:pt>
          <cx:pt idx="13950">0</cx:pt>
          <cx:pt idx="13951">1</cx:pt>
          <cx:pt idx="13952">1</cx:pt>
          <cx:pt idx="13953">0</cx:pt>
          <cx:pt idx="13954">0</cx:pt>
          <cx:pt idx="13955">0</cx:pt>
          <cx:pt idx="13956">0</cx:pt>
          <cx:pt idx="13957">1</cx:pt>
          <cx:pt idx="13958">1</cx:pt>
          <cx:pt idx="13959">1</cx:pt>
          <cx:pt idx="13960">0</cx:pt>
          <cx:pt idx="13961">1</cx:pt>
          <cx:pt idx="13962">1</cx:pt>
          <cx:pt idx="13963">1</cx:pt>
          <cx:pt idx="13964">0</cx:pt>
          <cx:pt idx="13965">1</cx:pt>
          <cx:pt idx="13966">0</cx:pt>
          <cx:pt idx="13967">0</cx:pt>
          <cx:pt idx="13968">1</cx:pt>
          <cx:pt idx="13969">0</cx:pt>
          <cx:pt idx="13970">0</cx:pt>
          <cx:pt idx="13971">0</cx:pt>
          <cx:pt idx="13972">1</cx:pt>
          <cx:pt idx="13973">0</cx:pt>
          <cx:pt idx="13974">0</cx:pt>
          <cx:pt idx="13975">1</cx:pt>
          <cx:pt idx="13976">0</cx:pt>
          <cx:pt idx="13977">0</cx:pt>
          <cx:pt idx="13978">0</cx:pt>
          <cx:pt idx="13979">0</cx:pt>
          <cx:pt idx="13980">1</cx:pt>
          <cx:pt idx="13981">1</cx:pt>
          <cx:pt idx="13982">0</cx:pt>
          <cx:pt idx="13983">0</cx:pt>
          <cx:pt idx="13984">1</cx:pt>
          <cx:pt idx="13985">0</cx:pt>
          <cx:pt idx="13986">1</cx:pt>
          <cx:pt idx="13987">1</cx:pt>
          <cx:pt idx="13988">0</cx:pt>
          <cx:pt idx="13989">0</cx:pt>
          <cx:pt idx="13990">1</cx:pt>
          <cx:pt idx="13991">0</cx:pt>
          <cx:pt idx="13992">1</cx:pt>
          <cx:pt idx="13993">1</cx:pt>
          <cx:pt idx="13994">1</cx:pt>
          <cx:pt idx="13995">1</cx:pt>
          <cx:pt idx="13996">1</cx:pt>
          <cx:pt idx="13997">1</cx:pt>
          <cx:pt idx="13998">1</cx:pt>
          <cx:pt idx="13999">0</cx:pt>
          <cx:pt idx="14000">0</cx:pt>
          <cx:pt idx="14001">1</cx:pt>
          <cx:pt idx="14002">1</cx:pt>
          <cx:pt idx="14003">1</cx:pt>
          <cx:pt idx="14004">1</cx:pt>
          <cx:pt idx="14005">0</cx:pt>
          <cx:pt idx="14006">1</cx:pt>
          <cx:pt idx="14007">0</cx:pt>
          <cx:pt idx="14008">1</cx:pt>
          <cx:pt idx="14009">0</cx:pt>
          <cx:pt idx="14010">1</cx:pt>
          <cx:pt idx="14011">1</cx:pt>
          <cx:pt idx="14012">1</cx:pt>
          <cx:pt idx="14013">1</cx:pt>
          <cx:pt idx="14014">1</cx:pt>
          <cx:pt idx="14015">0</cx:pt>
          <cx:pt idx="14016">0</cx:pt>
          <cx:pt idx="14017">1</cx:pt>
          <cx:pt idx="14018">0</cx:pt>
          <cx:pt idx="14019">0</cx:pt>
          <cx:pt idx="14020">0</cx:pt>
          <cx:pt idx="14021">1</cx:pt>
          <cx:pt idx="14022">0</cx:pt>
          <cx:pt idx="14023">1</cx:pt>
          <cx:pt idx="14024">0</cx:pt>
          <cx:pt idx="14025">1</cx:pt>
          <cx:pt idx="14026">0</cx:pt>
          <cx:pt idx="14027">1</cx:pt>
          <cx:pt idx="14028">0</cx:pt>
          <cx:pt idx="14029">1</cx:pt>
          <cx:pt idx="14030">0</cx:pt>
          <cx:pt idx="14031">0</cx:pt>
          <cx:pt idx="14032">0</cx:pt>
          <cx:pt idx="14033">0</cx:pt>
          <cx:pt idx="14034">0</cx:pt>
          <cx:pt idx="14035">0</cx:pt>
          <cx:pt idx="14036">1</cx:pt>
          <cx:pt idx="14037">1</cx:pt>
          <cx:pt idx="14038">0</cx:pt>
          <cx:pt idx="14039">0</cx:pt>
          <cx:pt idx="14040">0</cx:pt>
          <cx:pt idx="14041">1</cx:pt>
          <cx:pt idx="14042">0</cx:pt>
          <cx:pt idx="14043">1</cx:pt>
          <cx:pt idx="14044">0</cx:pt>
          <cx:pt idx="14045">0</cx:pt>
          <cx:pt idx="14046">0</cx:pt>
          <cx:pt idx="14047">1</cx:pt>
          <cx:pt idx="14048">0</cx:pt>
          <cx:pt idx="14049">1</cx:pt>
          <cx:pt idx="14050">1</cx:pt>
          <cx:pt idx="14051">0</cx:pt>
          <cx:pt idx="14052">0</cx:pt>
          <cx:pt idx="14053">0</cx:pt>
          <cx:pt idx="14054">1</cx:pt>
          <cx:pt idx="14055">1</cx:pt>
          <cx:pt idx="14056">1</cx:pt>
          <cx:pt idx="14057">1</cx:pt>
          <cx:pt idx="14058">0</cx:pt>
          <cx:pt idx="14059">1</cx:pt>
          <cx:pt idx="14060">0</cx:pt>
          <cx:pt idx="14061">0</cx:pt>
          <cx:pt idx="14062">1</cx:pt>
          <cx:pt idx="14063">0</cx:pt>
          <cx:pt idx="14064">0</cx:pt>
          <cx:pt idx="14065">0</cx:pt>
          <cx:pt idx="14066">1</cx:pt>
          <cx:pt idx="14067">0</cx:pt>
          <cx:pt idx="14068">1</cx:pt>
          <cx:pt idx="14069">0</cx:pt>
          <cx:pt idx="14070">1</cx:pt>
          <cx:pt idx="14071">0</cx:pt>
          <cx:pt idx="14072">0</cx:pt>
          <cx:pt idx="14073">1</cx:pt>
          <cx:pt idx="14074">0</cx:pt>
          <cx:pt idx="14075">1</cx:pt>
          <cx:pt idx="14076">0</cx:pt>
          <cx:pt idx="14077">0</cx:pt>
          <cx:pt idx="14078">0</cx:pt>
          <cx:pt idx="14079">0</cx:pt>
          <cx:pt idx="14080">0</cx:pt>
          <cx:pt idx="14081">1</cx:pt>
          <cx:pt idx="14082">0</cx:pt>
          <cx:pt idx="14083">1</cx:pt>
          <cx:pt idx="14084">0</cx:pt>
          <cx:pt idx="14085">0</cx:pt>
          <cx:pt idx="14086">0</cx:pt>
          <cx:pt idx="14087">0</cx:pt>
          <cx:pt idx="14088">0</cx:pt>
          <cx:pt idx="14089">0</cx:pt>
          <cx:pt idx="14090">1</cx:pt>
          <cx:pt idx="14091">1</cx:pt>
          <cx:pt idx="14092">0</cx:pt>
          <cx:pt idx="14093">0</cx:pt>
          <cx:pt idx="14094">0</cx:pt>
          <cx:pt idx="14095">0</cx:pt>
          <cx:pt idx="14096">0</cx:pt>
          <cx:pt idx="14097">1</cx:pt>
          <cx:pt idx="14098">0</cx:pt>
          <cx:pt idx="14099">0</cx:pt>
          <cx:pt idx="14100">0</cx:pt>
          <cx:pt idx="14101">1</cx:pt>
          <cx:pt idx="14102">0</cx:pt>
          <cx:pt idx="14103">0</cx:pt>
          <cx:pt idx="14104">0</cx:pt>
          <cx:pt idx="14105">1</cx:pt>
          <cx:pt idx="14106">1</cx:pt>
          <cx:pt idx="14107">0</cx:pt>
          <cx:pt idx="14108">1</cx:pt>
          <cx:pt idx="14109">0</cx:pt>
          <cx:pt idx="14110">1</cx:pt>
          <cx:pt idx="14111">1</cx:pt>
          <cx:pt idx="14112">0</cx:pt>
          <cx:pt idx="14113">0</cx:pt>
          <cx:pt idx="14114">0</cx:pt>
          <cx:pt idx="14115">0</cx:pt>
          <cx:pt idx="14116">1</cx:pt>
          <cx:pt idx="14117">0</cx:pt>
          <cx:pt idx="14118">0</cx:pt>
          <cx:pt idx="14119">1</cx:pt>
          <cx:pt idx="14120">0</cx:pt>
          <cx:pt idx="14121">1</cx:pt>
          <cx:pt idx="14122">0</cx:pt>
          <cx:pt idx="14123">0</cx:pt>
          <cx:pt idx="14124">0</cx:pt>
          <cx:pt idx="14125">1</cx:pt>
          <cx:pt idx="14126">1</cx:pt>
          <cx:pt idx="14127">0</cx:pt>
          <cx:pt idx="14128">1</cx:pt>
          <cx:pt idx="14129">1</cx:pt>
          <cx:pt idx="14130">0</cx:pt>
          <cx:pt idx="14131">1</cx:pt>
          <cx:pt idx="14132">0</cx:pt>
          <cx:pt idx="14133">0</cx:pt>
          <cx:pt idx="14134">0</cx:pt>
          <cx:pt idx="14135">0</cx:pt>
          <cx:pt idx="14136">0</cx:pt>
          <cx:pt idx="14137">0</cx:pt>
          <cx:pt idx="14138">0</cx:pt>
          <cx:pt idx="14139">0</cx:pt>
          <cx:pt idx="14140">1</cx:pt>
          <cx:pt idx="14141">1</cx:pt>
          <cx:pt idx="14142">0</cx:pt>
          <cx:pt idx="14143">1</cx:pt>
          <cx:pt idx="14144">0</cx:pt>
          <cx:pt idx="14145">1</cx:pt>
          <cx:pt idx="14146">0</cx:pt>
          <cx:pt idx="14147">1</cx:pt>
          <cx:pt idx="14148">1</cx:pt>
          <cx:pt idx="14149">1</cx:pt>
          <cx:pt idx="14150">1</cx:pt>
          <cx:pt idx="14151">0</cx:pt>
          <cx:pt idx="14152">0</cx:pt>
          <cx:pt idx="14153">1</cx:pt>
          <cx:pt idx="14154">1</cx:pt>
          <cx:pt idx="14155">0</cx:pt>
          <cx:pt idx="14156">1</cx:pt>
          <cx:pt idx="14157">0</cx:pt>
          <cx:pt idx="14158">0</cx:pt>
          <cx:pt idx="14159">1</cx:pt>
          <cx:pt idx="14160">0</cx:pt>
          <cx:pt idx="14161">1</cx:pt>
          <cx:pt idx="14162">0</cx:pt>
          <cx:pt idx="14163">1</cx:pt>
          <cx:pt idx="14164">0</cx:pt>
          <cx:pt idx="14165">0</cx:pt>
          <cx:pt idx="14166">1</cx:pt>
          <cx:pt idx="14167">0</cx:pt>
          <cx:pt idx="14168">1</cx:pt>
          <cx:pt idx="14169">1</cx:pt>
          <cx:pt idx="14170">1</cx:pt>
          <cx:pt idx="14171">0</cx:pt>
          <cx:pt idx="14172">1</cx:pt>
          <cx:pt idx="14173">1</cx:pt>
          <cx:pt idx="14174">0</cx:pt>
          <cx:pt idx="14175">0</cx:pt>
          <cx:pt idx="14176">0</cx:pt>
          <cx:pt idx="14177">0</cx:pt>
          <cx:pt idx="14178">0</cx:pt>
          <cx:pt idx="14179">0</cx:pt>
          <cx:pt idx="14180">0</cx:pt>
          <cx:pt idx="14181">1</cx:pt>
          <cx:pt idx="14182">0</cx:pt>
          <cx:pt idx="14183">1</cx:pt>
          <cx:pt idx="14184">1</cx:pt>
          <cx:pt idx="14185">1</cx:pt>
          <cx:pt idx="14186">1</cx:pt>
          <cx:pt idx="14187">1</cx:pt>
          <cx:pt idx="14188">0</cx:pt>
          <cx:pt idx="14189">1</cx:pt>
          <cx:pt idx="14190">1</cx:pt>
          <cx:pt idx="14191">1</cx:pt>
          <cx:pt idx="14192">1</cx:pt>
          <cx:pt idx="14193">0</cx:pt>
          <cx:pt idx="14194">0</cx:pt>
          <cx:pt idx="14195">1</cx:pt>
          <cx:pt idx="14196">0</cx:pt>
          <cx:pt idx="14197">1</cx:pt>
          <cx:pt idx="14198">0</cx:pt>
          <cx:pt idx="14199">1</cx:pt>
          <cx:pt idx="14200">0</cx:pt>
          <cx:pt idx="14201">0</cx:pt>
          <cx:pt idx="14202">0</cx:pt>
          <cx:pt idx="14203">1</cx:pt>
          <cx:pt idx="14204">0</cx:pt>
          <cx:pt idx="14205">1</cx:pt>
          <cx:pt idx="14206">1</cx:pt>
          <cx:pt idx="14207">0</cx:pt>
          <cx:pt idx="14208">0</cx:pt>
          <cx:pt idx="14209">0</cx:pt>
          <cx:pt idx="14210">0</cx:pt>
          <cx:pt idx="14211">1</cx:pt>
          <cx:pt idx="14212">1</cx:pt>
          <cx:pt idx="14213">0</cx:pt>
          <cx:pt idx="14214">0</cx:pt>
          <cx:pt idx="14215">0</cx:pt>
          <cx:pt idx="14216">0</cx:pt>
          <cx:pt idx="14217">1</cx:pt>
          <cx:pt idx="14218">0</cx:pt>
          <cx:pt idx="14219">1</cx:pt>
          <cx:pt idx="14220">0</cx:pt>
          <cx:pt idx="14221">0</cx:pt>
          <cx:pt idx="14222">0</cx:pt>
          <cx:pt idx="14223">0</cx:pt>
          <cx:pt idx="14224">1</cx:pt>
          <cx:pt idx="14225">1</cx:pt>
          <cx:pt idx="14226">1</cx:pt>
          <cx:pt idx="14227">1</cx:pt>
          <cx:pt idx="14228">1</cx:pt>
          <cx:pt idx="14229">0</cx:pt>
          <cx:pt idx="14230">1</cx:pt>
          <cx:pt idx="14231">0</cx:pt>
          <cx:pt idx="14232">0</cx:pt>
          <cx:pt idx="14233">0</cx:pt>
          <cx:pt idx="14234">1</cx:pt>
          <cx:pt idx="14235">0</cx:pt>
          <cx:pt idx="14236">1</cx:pt>
          <cx:pt idx="14237">0</cx:pt>
          <cx:pt idx="14238">1</cx:pt>
          <cx:pt idx="14239">0</cx:pt>
          <cx:pt idx="14240">1</cx:pt>
          <cx:pt idx="14241">0</cx:pt>
          <cx:pt idx="14242">1</cx:pt>
          <cx:pt idx="14243">0</cx:pt>
          <cx:pt idx="14244">0</cx:pt>
          <cx:pt idx="14245">0</cx:pt>
          <cx:pt idx="14246">1</cx:pt>
          <cx:pt idx="14247">0</cx:pt>
          <cx:pt idx="14248">1</cx:pt>
          <cx:pt idx="14249">0</cx:pt>
          <cx:pt idx="14250">1</cx:pt>
          <cx:pt idx="14251">1</cx:pt>
          <cx:pt idx="14252">1</cx:pt>
          <cx:pt idx="14253">1</cx:pt>
          <cx:pt idx="14254">1</cx:pt>
          <cx:pt idx="14255">0</cx:pt>
          <cx:pt idx="14256">0</cx:pt>
          <cx:pt idx="14257">1</cx:pt>
          <cx:pt idx="14258">0</cx:pt>
          <cx:pt idx="14259">0</cx:pt>
          <cx:pt idx="14260">1</cx:pt>
          <cx:pt idx="14261">0</cx:pt>
          <cx:pt idx="14262">0</cx:pt>
          <cx:pt idx="14263">1</cx:pt>
          <cx:pt idx="14264">1</cx:pt>
          <cx:pt idx="14265">1</cx:pt>
          <cx:pt idx="14266">1</cx:pt>
          <cx:pt idx="14267">0</cx:pt>
          <cx:pt idx="14268">1</cx:pt>
          <cx:pt idx="14269">0</cx:pt>
          <cx:pt idx="14270">0</cx:pt>
          <cx:pt idx="14271">0</cx:pt>
          <cx:pt idx="14272">1</cx:pt>
          <cx:pt idx="14273">1</cx:pt>
          <cx:pt idx="14274">0</cx:pt>
          <cx:pt idx="14275">0</cx:pt>
          <cx:pt idx="14276">1</cx:pt>
          <cx:pt idx="14277">0</cx:pt>
          <cx:pt idx="14278">1</cx:pt>
          <cx:pt idx="14279">0</cx:pt>
          <cx:pt idx="14280">0</cx:pt>
          <cx:pt idx="14281">0</cx:pt>
          <cx:pt idx="14282">1</cx:pt>
          <cx:pt idx="14283">0</cx:pt>
          <cx:pt idx="14284">0</cx:pt>
          <cx:pt idx="14285">1</cx:pt>
          <cx:pt idx="14286">0</cx:pt>
          <cx:pt idx="14287">1</cx:pt>
          <cx:pt idx="14288">0</cx:pt>
          <cx:pt idx="14289">1</cx:pt>
          <cx:pt idx="14290">1</cx:pt>
          <cx:pt idx="14291">0</cx:pt>
          <cx:pt idx="14292">1</cx:pt>
          <cx:pt idx="14293">1</cx:pt>
          <cx:pt idx="14294">1</cx:pt>
          <cx:pt idx="14295">1</cx:pt>
          <cx:pt idx="14296">0</cx:pt>
          <cx:pt idx="14297">0</cx:pt>
          <cx:pt idx="14298">1</cx:pt>
          <cx:pt idx="14299">1</cx:pt>
          <cx:pt idx="14300">0</cx:pt>
          <cx:pt idx="14301">0</cx:pt>
          <cx:pt idx="14302">1</cx:pt>
          <cx:pt idx="14303">0</cx:pt>
          <cx:pt idx="14304">1</cx:pt>
          <cx:pt idx="14305">1</cx:pt>
          <cx:pt idx="14306">1</cx:pt>
          <cx:pt idx="14307">0</cx:pt>
          <cx:pt idx="14308">0</cx:pt>
          <cx:pt idx="14309">0</cx:pt>
          <cx:pt idx="14310">0</cx:pt>
          <cx:pt idx="14311">0</cx:pt>
          <cx:pt idx="14312">0</cx:pt>
          <cx:pt idx="14313">0</cx:pt>
          <cx:pt idx="14314">0</cx:pt>
          <cx:pt idx="14315">0</cx:pt>
          <cx:pt idx="14316">0</cx:pt>
          <cx:pt idx="14317">0</cx:pt>
          <cx:pt idx="14318">0</cx:pt>
          <cx:pt idx="14319">0</cx:pt>
          <cx:pt idx="14320">0</cx:pt>
          <cx:pt idx="14321">0</cx:pt>
          <cx:pt idx="14322">1</cx:pt>
          <cx:pt idx="14323">1</cx:pt>
          <cx:pt idx="14324">1</cx:pt>
          <cx:pt idx="14325">1</cx:pt>
          <cx:pt idx="14326">0</cx:pt>
          <cx:pt idx="14327">0</cx:pt>
          <cx:pt idx="14328">0</cx:pt>
          <cx:pt idx="14329">0</cx:pt>
          <cx:pt idx="14330">0</cx:pt>
          <cx:pt idx="14331">0</cx:pt>
          <cx:pt idx="14332">1</cx:pt>
          <cx:pt idx="14333">0</cx:pt>
          <cx:pt idx="14334">0</cx:pt>
          <cx:pt idx="14335">1</cx:pt>
          <cx:pt idx="14336">1</cx:pt>
          <cx:pt idx="14337">0</cx:pt>
          <cx:pt idx="14338">0</cx:pt>
          <cx:pt idx="14339">0</cx:pt>
          <cx:pt idx="14340">0</cx:pt>
          <cx:pt idx="14341">0</cx:pt>
          <cx:pt idx="14342">0</cx:pt>
          <cx:pt idx="14343">0</cx:pt>
          <cx:pt idx="14344">1</cx:pt>
          <cx:pt idx="14345">1</cx:pt>
          <cx:pt idx="14346">0</cx:pt>
          <cx:pt idx="14347">0</cx:pt>
          <cx:pt idx="14348">1</cx:pt>
          <cx:pt idx="14349">0</cx:pt>
          <cx:pt idx="14350">0</cx:pt>
          <cx:pt idx="14351">0</cx:pt>
          <cx:pt idx="14352">0</cx:pt>
          <cx:pt idx="14353">0</cx:pt>
          <cx:pt idx="14354">1</cx:pt>
          <cx:pt idx="14355">1</cx:pt>
          <cx:pt idx="14356">1</cx:pt>
          <cx:pt idx="14357">0</cx:pt>
          <cx:pt idx="14358">0</cx:pt>
          <cx:pt idx="14359">0</cx:pt>
          <cx:pt idx="14360">0</cx:pt>
          <cx:pt idx="14361">1</cx:pt>
          <cx:pt idx="14362">0</cx:pt>
          <cx:pt idx="14363">1</cx:pt>
          <cx:pt idx="14364">1</cx:pt>
          <cx:pt idx="14365">1</cx:pt>
          <cx:pt idx="14366">1</cx:pt>
          <cx:pt idx="14367">1</cx:pt>
          <cx:pt idx="14368">1</cx:pt>
          <cx:pt idx="14369">1</cx:pt>
          <cx:pt idx="14370">0</cx:pt>
          <cx:pt idx="14371">1</cx:pt>
          <cx:pt idx="14372">0</cx:pt>
          <cx:pt idx="14373">0</cx:pt>
          <cx:pt idx="14374">0</cx:pt>
          <cx:pt idx="14375">1</cx:pt>
          <cx:pt idx="14376">1</cx:pt>
          <cx:pt idx="14377">1</cx:pt>
          <cx:pt idx="14378">0</cx:pt>
          <cx:pt idx="14379">1</cx:pt>
          <cx:pt idx="14380">1</cx:pt>
          <cx:pt idx="14381">0</cx:pt>
          <cx:pt idx="14382">1</cx:pt>
          <cx:pt idx="14383">1</cx:pt>
          <cx:pt idx="14384">0</cx:pt>
          <cx:pt idx="14385">0</cx:pt>
          <cx:pt idx="14386">0</cx:pt>
          <cx:pt idx="14387">1</cx:pt>
          <cx:pt idx="14388">0</cx:pt>
          <cx:pt idx="14389">1</cx:pt>
          <cx:pt idx="14390">1</cx:pt>
          <cx:pt idx="14391">0</cx:pt>
          <cx:pt idx="14392">0</cx:pt>
          <cx:pt idx="14393">1</cx:pt>
          <cx:pt idx="14394">0</cx:pt>
          <cx:pt idx="14395">0</cx:pt>
          <cx:pt idx="14396">0</cx:pt>
          <cx:pt idx="14397">0</cx:pt>
          <cx:pt idx="14398">0</cx:pt>
          <cx:pt idx="14399">1</cx:pt>
          <cx:pt idx="14400">1</cx:pt>
          <cx:pt idx="14401">0</cx:pt>
          <cx:pt idx="14402">0</cx:pt>
          <cx:pt idx="14403">1</cx:pt>
          <cx:pt idx="14404">0</cx:pt>
          <cx:pt idx="14405">0</cx:pt>
          <cx:pt idx="14406">0</cx:pt>
          <cx:pt idx="14407">1</cx:pt>
          <cx:pt idx="14408">0</cx:pt>
          <cx:pt idx="14409">0</cx:pt>
          <cx:pt idx="14410">1</cx:pt>
          <cx:pt idx="14411">1</cx:pt>
          <cx:pt idx="14412">0</cx:pt>
          <cx:pt idx="14413">1</cx:pt>
          <cx:pt idx="14414">0</cx:pt>
          <cx:pt idx="14415">0</cx:pt>
          <cx:pt idx="14416">1</cx:pt>
          <cx:pt idx="14417">0</cx:pt>
          <cx:pt idx="14418">0</cx:pt>
          <cx:pt idx="14419">0</cx:pt>
          <cx:pt idx="14420">0</cx:pt>
          <cx:pt idx="14421">0</cx:pt>
          <cx:pt idx="14422">1</cx:pt>
          <cx:pt idx="14423">0</cx:pt>
          <cx:pt idx="14424">0</cx:pt>
          <cx:pt idx="14425">1</cx:pt>
          <cx:pt idx="14426">1</cx:pt>
          <cx:pt idx="14427">0</cx:pt>
          <cx:pt idx="14428">0</cx:pt>
          <cx:pt idx="14429">0</cx:pt>
          <cx:pt idx="14430">0</cx:pt>
          <cx:pt idx="14431">0</cx:pt>
          <cx:pt idx="14432">0</cx:pt>
          <cx:pt idx="14433">1</cx:pt>
          <cx:pt idx="14434">0</cx:pt>
          <cx:pt idx="14435">0</cx:pt>
          <cx:pt idx="14436">0</cx:pt>
          <cx:pt idx="14437">1</cx:pt>
          <cx:pt idx="14438">0</cx:pt>
          <cx:pt idx="14439">1</cx:pt>
          <cx:pt idx="14440">1</cx:pt>
          <cx:pt idx="14441">0</cx:pt>
          <cx:pt idx="14442">0</cx:pt>
          <cx:pt idx="14443">1</cx:pt>
          <cx:pt idx="14444">0</cx:pt>
          <cx:pt idx="14445">0</cx:pt>
          <cx:pt idx="14446">1</cx:pt>
          <cx:pt idx="14447">1</cx:pt>
          <cx:pt idx="14448">1</cx:pt>
          <cx:pt idx="14449">0</cx:pt>
          <cx:pt idx="14450">0</cx:pt>
          <cx:pt idx="14451">0</cx:pt>
          <cx:pt idx="14452">1</cx:pt>
          <cx:pt idx="14453">0</cx:pt>
          <cx:pt idx="14454">0</cx:pt>
          <cx:pt idx="14455">1</cx:pt>
          <cx:pt idx="14456">0</cx:pt>
          <cx:pt idx="14457">1</cx:pt>
          <cx:pt idx="14458">1</cx:pt>
          <cx:pt idx="14459">0</cx:pt>
          <cx:pt idx="14460">0</cx:pt>
          <cx:pt idx="14461">1</cx:pt>
          <cx:pt idx="14462">1</cx:pt>
          <cx:pt idx="14463">0</cx:pt>
          <cx:pt idx="14464">1</cx:pt>
          <cx:pt idx="14465">0</cx:pt>
          <cx:pt idx="14466">0</cx:pt>
          <cx:pt idx="14467">1</cx:pt>
          <cx:pt idx="14468">0</cx:pt>
          <cx:pt idx="14469">0</cx:pt>
          <cx:pt idx="14470">0</cx:pt>
          <cx:pt idx="14471">0</cx:pt>
          <cx:pt idx="14472">0</cx:pt>
          <cx:pt idx="14473">1</cx:pt>
          <cx:pt idx="14474">0</cx:pt>
          <cx:pt idx="14475">1</cx:pt>
          <cx:pt idx="14476">1</cx:pt>
          <cx:pt idx="14477">0</cx:pt>
          <cx:pt idx="14478">0</cx:pt>
          <cx:pt idx="14479">0</cx:pt>
          <cx:pt idx="14480">0</cx:pt>
          <cx:pt idx="14481">0</cx:pt>
          <cx:pt idx="14482">0</cx:pt>
          <cx:pt idx="14483">0</cx:pt>
          <cx:pt idx="14484">0</cx:pt>
          <cx:pt idx="14485">1</cx:pt>
          <cx:pt idx="14486">0</cx:pt>
          <cx:pt idx="14487">1</cx:pt>
          <cx:pt idx="14488">0</cx:pt>
          <cx:pt idx="14489">0</cx:pt>
          <cx:pt idx="14490">1</cx:pt>
          <cx:pt idx="14491">1</cx:pt>
          <cx:pt idx="14492">0</cx:pt>
          <cx:pt idx="14493">0</cx:pt>
          <cx:pt idx="14494">1</cx:pt>
          <cx:pt idx="14495">1</cx:pt>
          <cx:pt idx="14496">0</cx:pt>
          <cx:pt idx="14497">0</cx:pt>
          <cx:pt idx="14498">1</cx:pt>
          <cx:pt idx="14499">1</cx:pt>
          <cx:pt idx="14500">0</cx:pt>
          <cx:pt idx="14501">1</cx:pt>
          <cx:pt idx="14502">0</cx:pt>
          <cx:pt idx="14503">1</cx:pt>
          <cx:pt idx="14504">0</cx:pt>
          <cx:pt idx="14505">0</cx:pt>
          <cx:pt idx="14506">1</cx:pt>
          <cx:pt idx="14507">1</cx:pt>
          <cx:pt idx="14508">1</cx:pt>
          <cx:pt idx="14509">1</cx:pt>
          <cx:pt idx="14510">0</cx:pt>
          <cx:pt idx="14511">1</cx:pt>
          <cx:pt idx="14512">0</cx:pt>
          <cx:pt idx="14513">1</cx:pt>
          <cx:pt idx="14514">0</cx:pt>
          <cx:pt idx="14515">0</cx:pt>
          <cx:pt idx="14516">1</cx:pt>
          <cx:pt idx="14517">1</cx:pt>
          <cx:pt idx="14518">0</cx:pt>
          <cx:pt idx="14519">1</cx:pt>
          <cx:pt idx="14520">1</cx:pt>
          <cx:pt idx="14521">0</cx:pt>
          <cx:pt idx="14522">1</cx:pt>
          <cx:pt idx="14523">1</cx:pt>
          <cx:pt idx="14524">1</cx:pt>
          <cx:pt idx="14525">1</cx:pt>
          <cx:pt idx="14526">0</cx:pt>
          <cx:pt idx="14527">0</cx:pt>
          <cx:pt idx="14528">1</cx:pt>
          <cx:pt idx="14529">1</cx:pt>
          <cx:pt idx="14530">0</cx:pt>
          <cx:pt idx="14531">1</cx:pt>
          <cx:pt idx="14532">1</cx:pt>
          <cx:pt idx="14533">0</cx:pt>
          <cx:pt idx="14534">1</cx:pt>
          <cx:pt idx="14535">1</cx:pt>
          <cx:pt idx="14536">0</cx:pt>
          <cx:pt idx="14537">1</cx:pt>
          <cx:pt idx="14538">0</cx:pt>
          <cx:pt idx="14539">1</cx:pt>
          <cx:pt idx="14540">0</cx:pt>
          <cx:pt idx="14541">0</cx:pt>
          <cx:pt idx="14542">0</cx:pt>
          <cx:pt idx="14543">1</cx:pt>
          <cx:pt idx="14544">0</cx:pt>
          <cx:pt idx="14545">0</cx:pt>
          <cx:pt idx="14546">0</cx:pt>
          <cx:pt idx="14547">0</cx:pt>
          <cx:pt idx="14548">1</cx:pt>
          <cx:pt idx="14549">1</cx:pt>
          <cx:pt idx="14550">0</cx:pt>
          <cx:pt idx="14551">0</cx:pt>
          <cx:pt idx="14552">1</cx:pt>
          <cx:pt idx="14553">1</cx:pt>
          <cx:pt idx="14554">1</cx:pt>
          <cx:pt idx="14555">0</cx:pt>
          <cx:pt idx="14556">1</cx:pt>
          <cx:pt idx="14557">0</cx:pt>
          <cx:pt idx="14558">1</cx:pt>
          <cx:pt idx="14559">0</cx:pt>
          <cx:pt idx="14560">0</cx:pt>
          <cx:pt idx="14561">0</cx:pt>
          <cx:pt idx="14562">0</cx:pt>
          <cx:pt idx="14563">1</cx:pt>
          <cx:pt idx="14564">0</cx:pt>
          <cx:pt idx="14565">0</cx:pt>
          <cx:pt idx="14566">0</cx:pt>
          <cx:pt idx="14567">0</cx:pt>
          <cx:pt idx="14568">1</cx:pt>
          <cx:pt idx="14569">1</cx:pt>
          <cx:pt idx="14570">1</cx:pt>
          <cx:pt idx="14571">1</cx:pt>
          <cx:pt idx="14572">0</cx:pt>
          <cx:pt idx="14573">0</cx:pt>
          <cx:pt idx="14574">1</cx:pt>
          <cx:pt idx="14575">0</cx:pt>
          <cx:pt idx="14576">1</cx:pt>
          <cx:pt idx="14577">0</cx:pt>
          <cx:pt idx="14578">0</cx:pt>
          <cx:pt idx="14579">1</cx:pt>
          <cx:pt idx="14580">1</cx:pt>
          <cx:pt idx="14581">0</cx:pt>
          <cx:pt idx="14582">1</cx:pt>
          <cx:pt idx="14583">0</cx:pt>
          <cx:pt idx="14584">0</cx:pt>
          <cx:pt idx="14585">0</cx:pt>
          <cx:pt idx="14586">1</cx:pt>
          <cx:pt idx="14587">0</cx:pt>
          <cx:pt idx="14588">1</cx:pt>
          <cx:pt idx="14589">0</cx:pt>
          <cx:pt idx="14590">0</cx:pt>
          <cx:pt idx="14591">0</cx:pt>
          <cx:pt idx="14592">0</cx:pt>
          <cx:pt idx="14593">0</cx:pt>
          <cx:pt idx="14594">0</cx:pt>
          <cx:pt idx="14595">0</cx:pt>
          <cx:pt idx="14596">0</cx:pt>
          <cx:pt idx="14597">1</cx:pt>
          <cx:pt idx="14598">1</cx:pt>
          <cx:pt idx="14599">1</cx:pt>
          <cx:pt idx="14600">0</cx:pt>
          <cx:pt idx="14601">0</cx:pt>
          <cx:pt idx="14602">1</cx:pt>
          <cx:pt idx="14603">0</cx:pt>
          <cx:pt idx="14604">0</cx:pt>
          <cx:pt idx="14605">1</cx:pt>
          <cx:pt idx="14606">0</cx:pt>
          <cx:pt idx="14607">0</cx:pt>
          <cx:pt idx="14608">1</cx:pt>
          <cx:pt idx="14609">1</cx:pt>
          <cx:pt idx="14610">1</cx:pt>
          <cx:pt idx="14611">0</cx:pt>
          <cx:pt idx="14612">1</cx:pt>
          <cx:pt idx="14613">0</cx:pt>
          <cx:pt idx="14614">0</cx:pt>
          <cx:pt idx="14615">1</cx:pt>
          <cx:pt idx="14616">0</cx:pt>
          <cx:pt idx="14617">1</cx:pt>
          <cx:pt idx="14618">1</cx:pt>
          <cx:pt idx="14619">0</cx:pt>
          <cx:pt idx="14620">0</cx:pt>
          <cx:pt idx="14621">1</cx:pt>
          <cx:pt idx="14622">0</cx:pt>
          <cx:pt idx="14623">1</cx:pt>
          <cx:pt idx="14624">0</cx:pt>
          <cx:pt idx="14625">1</cx:pt>
          <cx:pt idx="14626">0</cx:pt>
          <cx:pt idx="14627">0</cx:pt>
          <cx:pt idx="14628">1</cx:pt>
          <cx:pt idx="14629">1</cx:pt>
          <cx:pt idx="14630">0</cx:pt>
          <cx:pt idx="14631">0</cx:pt>
          <cx:pt idx="14632">1</cx:pt>
          <cx:pt idx="14633">1</cx:pt>
          <cx:pt idx="14634">0</cx:pt>
          <cx:pt idx="14635">0</cx:pt>
          <cx:pt idx="14636">1</cx:pt>
          <cx:pt idx="14637">1</cx:pt>
          <cx:pt idx="14638">0</cx:pt>
          <cx:pt idx="14639">0</cx:pt>
          <cx:pt idx="14640">1</cx:pt>
          <cx:pt idx="14641">0</cx:pt>
          <cx:pt idx="14642">1</cx:pt>
          <cx:pt idx="14643">0</cx:pt>
          <cx:pt idx="14644">1</cx:pt>
          <cx:pt idx="14645">0</cx:pt>
          <cx:pt idx="14646">1</cx:pt>
          <cx:pt idx="14647">0</cx:pt>
          <cx:pt idx="14648">0</cx:pt>
          <cx:pt idx="14649">1</cx:pt>
          <cx:pt idx="14650">0</cx:pt>
          <cx:pt idx="14651">1</cx:pt>
          <cx:pt idx="14652">1</cx:pt>
          <cx:pt idx="14653">1</cx:pt>
          <cx:pt idx="14654">0</cx:pt>
          <cx:pt idx="14655">1</cx:pt>
          <cx:pt idx="14656">0</cx:pt>
          <cx:pt idx="14657">1</cx:pt>
          <cx:pt idx="14658">0</cx:pt>
          <cx:pt idx="14659">1</cx:pt>
          <cx:pt idx="14660">0</cx:pt>
          <cx:pt idx="14661">1</cx:pt>
          <cx:pt idx="14662">0</cx:pt>
          <cx:pt idx="14663">0</cx:pt>
          <cx:pt idx="14664">1</cx:pt>
          <cx:pt idx="14665">1</cx:pt>
          <cx:pt idx="14666">1</cx:pt>
          <cx:pt idx="14667">0</cx:pt>
          <cx:pt idx="14668">0</cx:pt>
          <cx:pt idx="14669">0</cx:pt>
          <cx:pt idx="14670">0</cx:pt>
          <cx:pt idx="14671">1</cx:pt>
          <cx:pt idx="14672">0</cx:pt>
          <cx:pt idx="14673">0</cx:pt>
          <cx:pt idx="14674">1</cx:pt>
          <cx:pt idx="14675">1</cx:pt>
          <cx:pt idx="14676">0</cx:pt>
          <cx:pt idx="14677">0</cx:pt>
          <cx:pt idx="14678">1</cx:pt>
          <cx:pt idx="14679">0</cx:pt>
          <cx:pt idx="14680">1</cx:pt>
          <cx:pt idx="14681">0</cx:pt>
          <cx:pt idx="14682">1</cx:pt>
          <cx:pt idx="14683">0</cx:pt>
          <cx:pt idx="14684">0</cx:pt>
          <cx:pt idx="14685">0</cx:pt>
          <cx:pt idx="14686">0</cx:pt>
          <cx:pt idx="14687">0</cx:pt>
          <cx:pt idx="14688">0</cx:pt>
          <cx:pt idx="14689">0</cx:pt>
          <cx:pt idx="14690">0</cx:pt>
          <cx:pt idx="14691">0</cx:pt>
          <cx:pt idx="14692">1</cx:pt>
          <cx:pt idx="14693">1</cx:pt>
          <cx:pt idx="14694">0</cx:pt>
          <cx:pt idx="14695">0</cx:pt>
          <cx:pt idx="14696">1</cx:pt>
          <cx:pt idx="14697">0</cx:pt>
          <cx:pt idx="14698">1</cx:pt>
          <cx:pt idx="14699">1</cx:pt>
          <cx:pt idx="14700">0</cx:pt>
          <cx:pt idx="14701">1</cx:pt>
          <cx:pt idx="14702">0</cx:pt>
          <cx:pt idx="14703">1</cx:pt>
          <cx:pt idx="14704">1</cx:pt>
          <cx:pt idx="14705">0</cx:pt>
          <cx:pt idx="14706">1</cx:pt>
          <cx:pt idx="14707">0</cx:pt>
          <cx:pt idx="14708">1</cx:pt>
          <cx:pt idx="14709">0</cx:pt>
          <cx:pt idx="14710">1</cx:pt>
          <cx:pt idx="14711">0</cx:pt>
          <cx:pt idx="14712">0</cx:pt>
          <cx:pt idx="14713">1</cx:pt>
          <cx:pt idx="14714">1</cx:pt>
          <cx:pt idx="14715">1</cx:pt>
          <cx:pt idx="14716">0</cx:pt>
          <cx:pt idx="14717">0</cx:pt>
          <cx:pt idx="14718">0</cx:pt>
          <cx:pt idx="14719">1</cx:pt>
          <cx:pt idx="14720">1</cx:pt>
          <cx:pt idx="14721">1</cx:pt>
          <cx:pt idx="14722">1</cx:pt>
          <cx:pt idx="14723">0</cx:pt>
          <cx:pt idx="14724">1</cx:pt>
          <cx:pt idx="14725">1</cx:pt>
          <cx:pt idx="14726">1</cx:pt>
          <cx:pt idx="14727">0</cx:pt>
          <cx:pt idx="14728">0</cx:pt>
          <cx:pt idx="14729">0</cx:pt>
          <cx:pt idx="14730">0</cx:pt>
          <cx:pt idx="14731">0</cx:pt>
          <cx:pt idx="14732">1</cx:pt>
          <cx:pt idx="14733">1</cx:pt>
          <cx:pt idx="14734">1</cx:pt>
          <cx:pt idx="14735">1</cx:pt>
          <cx:pt idx="14736">1</cx:pt>
          <cx:pt idx="14737">1</cx:pt>
          <cx:pt idx="14738">0</cx:pt>
          <cx:pt idx="14739">0</cx:pt>
          <cx:pt idx="14740">1</cx:pt>
          <cx:pt idx="14741">0</cx:pt>
          <cx:pt idx="14742">1</cx:pt>
          <cx:pt idx="14743">1</cx:pt>
          <cx:pt idx="14744">1</cx:pt>
          <cx:pt idx="14745">0</cx:pt>
          <cx:pt idx="14746">0</cx:pt>
          <cx:pt idx="14747">0</cx:pt>
          <cx:pt idx="14748">0</cx:pt>
          <cx:pt idx="14749">0</cx:pt>
          <cx:pt idx="14750">1</cx:pt>
          <cx:pt idx="14751">0</cx:pt>
          <cx:pt idx="14752">1</cx:pt>
          <cx:pt idx="14753">1</cx:pt>
          <cx:pt idx="14754">0</cx:pt>
          <cx:pt idx="14755">0</cx:pt>
          <cx:pt idx="14756">0</cx:pt>
          <cx:pt idx="14757">1</cx:pt>
          <cx:pt idx="14758">1</cx:pt>
          <cx:pt idx="14759">0</cx:pt>
          <cx:pt idx="14760">1</cx:pt>
          <cx:pt idx="14761">0</cx:pt>
          <cx:pt idx="14762">0</cx:pt>
          <cx:pt idx="14763">0</cx:pt>
          <cx:pt idx="14764">0</cx:pt>
          <cx:pt idx="14765">1</cx:pt>
          <cx:pt idx="14766">1</cx:pt>
          <cx:pt idx="14767">1</cx:pt>
          <cx:pt idx="14768">1</cx:pt>
          <cx:pt idx="14769">0</cx:pt>
          <cx:pt idx="14770">1</cx:pt>
          <cx:pt idx="14771">0</cx:pt>
          <cx:pt idx="14772">0</cx:pt>
          <cx:pt idx="14773">0</cx:pt>
          <cx:pt idx="14774">0</cx:pt>
          <cx:pt idx="14775">1</cx:pt>
          <cx:pt idx="14776">0</cx:pt>
          <cx:pt idx="14777">1</cx:pt>
          <cx:pt idx="14778">1</cx:pt>
          <cx:pt idx="14779">0</cx:pt>
          <cx:pt idx="14780">1</cx:pt>
          <cx:pt idx="14781">0</cx:pt>
          <cx:pt idx="14782">1</cx:pt>
          <cx:pt idx="14783">1</cx:pt>
          <cx:pt idx="14784">1</cx:pt>
          <cx:pt idx="14785">0</cx:pt>
          <cx:pt idx="14786">1</cx:pt>
          <cx:pt idx="14787">1</cx:pt>
          <cx:pt idx="14788">0</cx:pt>
          <cx:pt idx="14789">1</cx:pt>
          <cx:pt idx="14790">1</cx:pt>
          <cx:pt idx="14791">0</cx:pt>
          <cx:pt idx="14792">1</cx:pt>
          <cx:pt idx="14793">0</cx:pt>
          <cx:pt idx="14794">1</cx:pt>
          <cx:pt idx="14795">1</cx:pt>
          <cx:pt idx="14796">0</cx:pt>
          <cx:pt idx="14797">1</cx:pt>
          <cx:pt idx="14798">1</cx:pt>
          <cx:pt idx="14799">0</cx:pt>
          <cx:pt idx="14800">1</cx:pt>
          <cx:pt idx="14801">1</cx:pt>
          <cx:pt idx="14802">1</cx:pt>
          <cx:pt idx="14803">0</cx:pt>
          <cx:pt idx="14804">1</cx:pt>
          <cx:pt idx="14805">1</cx:pt>
          <cx:pt idx="14806">0</cx:pt>
          <cx:pt idx="14807">1</cx:pt>
          <cx:pt idx="14808">1</cx:pt>
          <cx:pt idx="14809">0</cx:pt>
          <cx:pt idx="14810">0</cx:pt>
          <cx:pt idx="14811">1</cx:pt>
          <cx:pt idx="14812">1</cx:pt>
          <cx:pt idx="14813">1</cx:pt>
          <cx:pt idx="14814">1</cx:pt>
          <cx:pt idx="14815">1</cx:pt>
          <cx:pt idx="14816">1</cx:pt>
          <cx:pt idx="14817">0</cx:pt>
          <cx:pt idx="14818">0</cx:pt>
          <cx:pt idx="14819">0</cx:pt>
          <cx:pt idx="14820">0</cx:pt>
          <cx:pt idx="14821">1</cx:pt>
          <cx:pt idx="14822">1</cx:pt>
          <cx:pt idx="14823">0</cx:pt>
          <cx:pt idx="14824">1</cx:pt>
          <cx:pt idx="14825">1</cx:pt>
          <cx:pt idx="14826">0</cx:pt>
          <cx:pt idx="14827">1</cx:pt>
          <cx:pt idx="14828">1</cx:pt>
          <cx:pt idx="14829">1</cx:pt>
          <cx:pt idx="14830">0</cx:pt>
          <cx:pt idx="14831">0</cx:pt>
          <cx:pt idx="14832">0</cx:pt>
          <cx:pt idx="14833">0</cx:pt>
          <cx:pt idx="14834">1</cx:pt>
          <cx:pt idx="14835">0</cx:pt>
          <cx:pt idx="14836">0</cx:pt>
          <cx:pt idx="14837">1</cx:pt>
          <cx:pt idx="14838">1</cx:pt>
          <cx:pt idx="14839">1</cx:pt>
          <cx:pt idx="14840">0</cx:pt>
          <cx:pt idx="14841">0</cx:pt>
          <cx:pt idx="14842">0</cx:pt>
          <cx:pt idx="14843">0</cx:pt>
          <cx:pt idx="14844">1</cx:pt>
          <cx:pt idx="14845">1</cx:pt>
          <cx:pt idx="14846">0</cx:pt>
          <cx:pt idx="14847">0</cx:pt>
          <cx:pt idx="14848">1</cx:pt>
          <cx:pt idx="14849">0</cx:pt>
          <cx:pt idx="14850">1</cx:pt>
          <cx:pt idx="14851">0</cx:pt>
          <cx:pt idx="14852">0</cx:pt>
          <cx:pt idx="14853">0</cx:pt>
          <cx:pt idx="14854">0</cx:pt>
          <cx:pt idx="14855">1</cx:pt>
          <cx:pt idx="14856">0</cx:pt>
          <cx:pt idx="14857">1</cx:pt>
          <cx:pt idx="14858">1</cx:pt>
          <cx:pt idx="14859">0</cx:pt>
          <cx:pt idx="14860">0</cx:pt>
          <cx:pt idx="14861">0</cx:pt>
          <cx:pt idx="14862">1</cx:pt>
          <cx:pt idx="14863">1</cx:pt>
          <cx:pt idx="14864">0</cx:pt>
          <cx:pt idx="14865">0</cx:pt>
          <cx:pt idx="14866">0</cx:pt>
          <cx:pt idx="14867">0</cx:pt>
          <cx:pt idx="14868">0</cx:pt>
          <cx:pt idx="14869">1</cx:pt>
          <cx:pt idx="14870">0</cx:pt>
          <cx:pt idx="14871">0</cx:pt>
          <cx:pt idx="14872">0</cx:pt>
          <cx:pt idx="14873">1</cx:pt>
          <cx:pt idx="14874">1</cx:pt>
          <cx:pt idx="14875">1</cx:pt>
          <cx:pt idx="14876">0</cx:pt>
          <cx:pt idx="14877">0</cx:pt>
          <cx:pt idx="14878">0</cx:pt>
          <cx:pt idx="14879">0</cx:pt>
          <cx:pt idx="14880">1</cx:pt>
          <cx:pt idx="14881">1</cx:pt>
          <cx:pt idx="14882">1</cx:pt>
          <cx:pt idx="14883">0</cx:pt>
          <cx:pt idx="14884">0</cx:pt>
          <cx:pt idx="14885">0</cx:pt>
          <cx:pt idx="14886">0</cx:pt>
          <cx:pt idx="14887">1</cx:pt>
          <cx:pt idx="14888">1</cx:pt>
          <cx:pt idx="14889">0</cx:pt>
          <cx:pt idx="14890">1</cx:pt>
          <cx:pt idx="14891">1</cx:pt>
          <cx:pt idx="14892">0</cx:pt>
          <cx:pt idx="14893">0</cx:pt>
          <cx:pt idx="14894">0</cx:pt>
          <cx:pt idx="14895">1</cx:pt>
          <cx:pt idx="14896">0</cx:pt>
          <cx:pt idx="14897">1</cx:pt>
          <cx:pt idx="14898">0</cx:pt>
          <cx:pt idx="14899">0</cx:pt>
          <cx:pt idx="14900">1</cx:pt>
          <cx:pt idx="14901">0</cx:pt>
          <cx:pt idx="14902">0</cx:pt>
          <cx:pt idx="14903">1</cx:pt>
          <cx:pt idx="14904">1</cx:pt>
          <cx:pt idx="14905">0</cx:pt>
          <cx:pt idx="14906">1</cx:pt>
          <cx:pt idx="14907">1</cx:pt>
          <cx:pt idx="14908">0</cx:pt>
          <cx:pt idx="14909">0</cx:pt>
          <cx:pt idx="14910">1</cx:pt>
          <cx:pt idx="14911">1</cx:pt>
          <cx:pt idx="14912">0</cx:pt>
          <cx:pt idx="14913">0</cx:pt>
          <cx:pt idx="14914">1</cx:pt>
          <cx:pt idx="14915">1</cx:pt>
          <cx:pt idx="14916">1</cx:pt>
          <cx:pt idx="14917">1</cx:pt>
          <cx:pt idx="14918">0</cx:pt>
          <cx:pt idx="14919">0</cx:pt>
          <cx:pt idx="14920">1</cx:pt>
          <cx:pt idx="14921">0</cx:pt>
          <cx:pt idx="14922">1</cx:pt>
          <cx:pt idx="14923">0</cx:pt>
          <cx:pt idx="14924">1</cx:pt>
          <cx:pt idx="14925">0</cx:pt>
          <cx:pt idx="14926">0</cx:pt>
          <cx:pt idx="14927">0</cx:pt>
          <cx:pt idx="14928">0</cx:pt>
          <cx:pt idx="14929">0</cx:pt>
          <cx:pt idx="14930">0</cx:pt>
          <cx:pt idx="14931">0</cx:pt>
          <cx:pt idx="14932">1</cx:pt>
          <cx:pt idx="14933">0</cx:pt>
          <cx:pt idx="14934">1</cx:pt>
          <cx:pt idx="14935">0</cx:pt>
          <cx:pt idx="14936">1</cx:pt>
          <cx:pt idx="14937">1</cx:pt>
          <cx:pt idx="14938">0</cx:pt>
          <cx:pt idx="14939">1</cx:pt>
          <cx:pt idx="14940">0</cx:pt>
          <cx:pt idx="14941">0</cx:pt>
          <cx:pt idx="14942">1</cx:pt>
          <cx:pt idx="14943">0</cx:pt>
          <cx:pt idx="14944">0</cx:pt>
          <cx:pt idx="14945">1</cx:pt>
          <cx:pt idx="14946">0</cx:pt>
          <cx:pt idx="14947">1</cx:pt>
          <cx:pt idx="14948">1</cx:pt>
          <cx:pt idx="14949">0</cx:pt>
          <cx:pt idx="14950">1</cx:pt>
          <cx:pt idx="14951">0</cx:pt>
          <cx:pt idx="14952">0</cx:pt>
          <cx:pt idx="14953">0</cx:pt>
          <cx:pt idx="14954">1</cx:pt>
          <cx:pt idx="14955">0</cx:pt>
          <cx:pt idx="14956">0</cx:pt>
          <cx:pt idx="14957">0</cx:pt>
          <cx:pt idx="14958">0</cx:pt>
          <cx:pt idx="14959">1</cx:pt>
          <cx:pt idx="14960">0</cx:pt>
          <cx:pt idx="14961">0</cx:pt>
          <cx:pt idx="14962">0</cx:pt>
          <cx:pt idx="14963">1</cx:pt>
          <cx:pt idx="14964">0</cx:pt>
          <cx:pt idx="14965">1</cx:pt>
          <cx:pt idx="14966">0</cx:pt>
          <cx:pt idx="14967">1</cx:pt>
          <cx:pt idx="14968">1</cx:pt>
          <cx:pt idx="14969">0</cx:pt>
          <cx:pt idx="14970">1</cx:pt>
          <cx:pt idx="14971">0</cx:pt>
          <cx:pt idx="14972">0</cx:pt>
          <cx:pt idx="14973">1</cx:pt>
          <cx:pt idx="14974">1</cx:pt>
          <cx:pt idx="14975">0</cx:pt>
          <cx:pt idx="14976">0</cx:pt>
          <cx:pt idx="14977">1</cx:pt>
          <cx:pt idx="14978">0</cx:pt>
          <cx:pt idx="14979">1</cx:pt>
          <cx:pt idx="14980">0</cx:pt>
          <cx:pt idx="14981">1</cx:pt>
          <cx:pt idx="14982">1</cx:pt>
          <cx:pt idx="14983">0</cx:pt>
          <cx:pt idx="14984">0</cx:pt>
          <cx:pt idx="14985">0</cx:pt>
          <cx:pt idx="14986">0</cx:pt>
          <cx:pt idx="14987">0</cx:pt>
          <cx:pt idx="14988">0</cx:pt>
          <cx:pt idx="14989">0</cx:pt>
          <cx:pt idx="14990">0</cx:pt>
          <cx:pt idx="14991">0</cx:pt>
          <cx:pt idx="14992">0</cx:pt>
          <cx:pt idx="14993">0</cx:pt>
          <cx:pt idx="14994">0</cx:pt>
          <cx:pt idx="14995">0</cx:pt>
          <cx:pt idx="14996">0</cx:pt>
          <cx:pt idx="14997">1</cx:pt>
          <cx:pt idx="14998">0</cx:pt>
          <cx:pt idx="14999">0</cx:pt>
          <cx:pt idx="15000">0</cx:pt>
          <cx:pt idx="15001">1</cx:pt>
          <cx:pt idx="15002">0</cx:pt>
          <cx:pt idx="15003">0</cx:pt>
          <cx:pt idx="15004">1</cx:pt>
          <cx:pt idx="15005">1</cx:pt>
          <cx:pt idx="15006">1</cx:pt>
          <cx:pt idx="15007">1</cx:pt>
          <cx:pt idx="15008">1</cx:pt>
          <cx:pt idx="15009">0</cx:pt>
          <cx:pt idx="15010">0</cx:pt>
          <cx:pt idx="15011">0</cx:pt>
          <cx:pt idx="15012">0</cx:pt>
          <cx:pt idx="15013">0</cx:pt>
          <cx:pt idx="15014">1</cx:pt>
          <cx:pt idx="15015">0</cx:pt>
          <cx:pt idx="15016">0</cx:pt>
          <cx:pt idx="15017">0</cx:pt>
          <cx:pt idx="15018">0</cx:pt>
          <cx:pt idx="15019">0</cx:pt>
          <cx:pt idx="15020">0</cx:pt>
          <cx:pt idx="15021">1</cx:pt>
          <cx:pt idx="15022">0</cx:pt>
          <cx:pt idx="15023">0</cx:pt>
          <cx:pt idx="15024">1</cx:pt>
          <cx:pt idx="15025">1</cx:pt>
          <cx:pt idx="15026">1</cx:pt>
          <cx:pt idx="15027">0</cx:pt>
          <cx:pt idx="15028">1</cx:pt>
          <cx:pt idx="15029">1</cx:pt>
          <cx:pt idx="15030">1</cx:pt>
          <cx:pt idx="15031">1</cx:pt>
          <cx:pt idx="15032">1</cx:pt>
          <cx:pt idx="15033">0</cx:pt>
          <cx:pt idx="15034">0</cx:pt>
          <cx:pt idx="15035">0</cx:pt>
          <cx:pt idx="15036">0</cx:pt>
          <cx:pt idx="15037">0</cx:pt>
          <cx:pt idx="15038">1</cx:pt>
          <cx:pt idx="15039">1</cx:pt>
          <cx:pt idx="15040">0</cx:pt>
          <cx:pt idx="15041">1</cx:pt>
          <cx:pt idx="15042">0</cx:pt>
          <cx:pt idx="15043">0</cx:pt>
          <cx:pt idx="15044">0</cx:pt>
          <cx:pt idx="15045">1</cx:pt>
          <cx:pt idx="15046">1</cx:pt>
          <cx:pt idx="15047">1</cx:pt>
          <cx:pt idx="15048">0</cx:pt>
          <cx:pt idx="15049">0</cx:pt>
          <cx:pt idx="15050">1</cx:pt>
          <cx:pt idx="15051">1</cx:pt>
          <cx:pt idx="15052">1</cx:pt>
          <cx:pt idx="15053">0</cx:pt>
          <cx:pt idx="15054">1</cx:pt>
          <cx:pt idx="15055">1</cx:pt>
          <cx:pt idx="15056">1</cx:pt>
          <cx:pt idx="15057">0</cx:pt>
          <cx:pt idx="15058">1</cx:pt>
          <cx:pt idx="15059">1</cx:pt>
          <cx:pt idx="15060">1</cx:pt>
          <cx:pt idx="15061">0</cx:pt>
          <cx:pt idx="15062">1</cx:pt>
          <cx:pt idx="15063">1</cx:pt>
          <cx:pt idx="15064">1</cx:pt>
          <cx:pt idx="15065">0</cx:pt>
          <cx:pt idx="15066">1</cx:pt>
          <cx:pt idx="15067">1</cx:pt>
          <cx:pt idx="15068">1</cx:pt>
          <cx:pt idx="15069">1</cx:pt>
          <cx:pt idx="15070">1</cx:pt>
          <cx:pt idx="15071">1</cx:pt>
          <cx:pt idx="15072">1</cx:pt>
          <cx:pt idx="15073">0</cx:pt>
          <cx:pt idx="15074">1</cx:pt>
          <cx:pt idx="15075">0</cx:pt>
          <cx:pt idx="15076">0</cx:pt>
          <cx:pt idx="15077">1</cx:pt>
          <cx:pt idx="15078">0</cx:pt>
          <cx:pt idx="15079">0</cx:pt>
          <cx:pt idx="15080">1</cx:pt>
          <cx:pt idx="15081">0</cx:pt>
          <cx:pt idx="15082">0</cx:pt>
          <cx:pt idx="15083">1</cx:pt>
          <cx:pt idx="15084">1</cx:pt>
          <cx:pt idx="15085">1</cx:pt>
          <cx:pt idx="15086">0</cx:pt>
          <cx:pt idx="15087">1</cx:pt>
          <cx:pt idx="15088">1</cx:pt>
          <cx:pt idx="15089">1</cx:pt>
          <cx:pt idx="15090">1</cx:pt>
          <cx:pt idx="15091">1</cx:pt>
          <cx:pt idx="15092">0</cx:pt>
          <cx:pt idx="15093">0</cx:pt>
          <cx:pt idx="15094">0</cx:pt>
          <cx:pt idx="15095">1</cx:pt>
          <cx:pt idx="15096">1</cx:pt>
          <cx:pt idx="15097">1</cx:pt>
          <cx:pt idx="15098">0</cx:pt>
          <cx:pt idx="15099">1</cx:pt>
          <cx:pt idx="15100">0</cx:pt>
          <cx:pt idx="15101">0</cx:pt>
          <cx:pt idx="15102">0</cx:pt>
          <cx:pt idx="15103">1</cx:pt>
          <cx:pt idx="15104">0</cx:pt>
          <cx:pt idx="15105">1</cx:pt>
          <cx:pt idx="15106">1</cx:pt>
          <cx:pt idx="15107">1</cx:pt>
          <cx:pt idx="15108">0</cx:pt>
          <cx:pt idx="15109">1</cx:pt>
          <cx:pt idx="15110">0</cx:pt>
          <cx:pt idx="15111">0</cx:pt>
          <cx:pt idx="15112">1</cx:pt>
          <cx:pt idx="15113">0</cx:pt>
          <cx:pt idx="15114">1</cx:pt>
          <cx:pt idx="15115">0</cx:pt>
          <cx:pt idx="15116">0</cx:pt>
          <cx:pt idx="15117">0</cx:pt>
          <cx:pt idx="15118">0</cx:pt>
          <cx:pt idx="15119">0</cx:pt>
          <cx:pt idx="15120">0</cx:pt>
          <cx:pt idx="15121">0</cx:pt>
          <cx:pt idx="15122">0</cx:pt>
          <cx:pt idx="15123">0</cx:pt>
          <cx:pt idx="15124">1</cx:pt>
          <cx:pt idx="15125">1</cx:pt>
          <cx:pt idx="15126">1</cx:pt>
          <cx:pt idx="15127">1</cx:pt>
          <cx:pt idx="15128">1</cx:pt>
          <cx:pt idx="15129">0</cx:pt>
          <cx:pt idx="15130">1</cx:pt>
          <cx:pt idx="15131">0</cx:pt>
          <cx:pt idx="15132">0</cx:pt>
          <cx:pt idx="15133">1</cx:pt>
          <cx:pt idx="15134">1</cx:pt>
          <cx:pt idx="15135">0</cx:pt>
          <cx:pt idx="15136">1</cx:pt>
          <cx:pt idx="15137">0</cx:pt>
          <cx:pt idx="15138">0</cx:pt>
          <cx:pt idx="15139">0</cx:pt>
          <cx:pt idx="15140">0</cx:pt>
          <cx:pt idx="15141">1</cx:pt>
          <cx:pt idx="15142">0</cx:pt>
          <cx:pt idx="15143">1</cx:pt>
          <cx:pt idx="15144">0</cx:pt>
          <cx:pt idx="15145">0</cx:pt>
          <cx:pt idx="15146">0</cx:pt>
          <cx:pt idx="15147">0</cx:pt>
          <cx:pt idx="15148">1</cx:pt>
          <cx:pt idx="15149">0</cx:pt>
          <cx:pt idx="15150">1</cx:pt>
          <cx:pt idx="15151">0</cx:pt>
          <cx:pt idx="15152">1</cx:pt>
          <cx:pt idx="15153">0</cx:pt>
          <cx:pt idx="15154">1</cx:pt>
          <cx:pt idx="15155">1</cx:pt>
          <cx:pt idx="15156">1</cx:pt>
          <cx:pt idx="15157">1</cx:pt>
          <cx:pt idx="15158">0</cx:pt>
          <cx:pt idx="15159">0</cx:pt>
          <cx:pt idx="15160">0</cx:pt>
          <cx:pt idx="15161">0</cx:pt>
          <cx:pt idx="15162">1</cx:pt>
          <cx:pt idx="15163">0</cx:pt>
          <cx:pt idx="15164">1</cx:pt>
          <cx:pt idx="15165">0</cx:pt>
          <cx:pt idx="15166">1</cx:pt>
          <cx:pt idx="15167">1</cx:pt>
          <cx:pt idx="15168">1</cx:pt>
          <cx:pt idx="15169">1</cx:pt>
          <cx:pt idx="15170">0</cx:pt>
          <cx:pt idx="15171">0</cx:pt>
          <cx:pt idx="15172">1</cx:pt>
          <cx:pt idx="15173">0</cx:pt>
          <cx:pt idx="15174">1</cx:pt>
          <cx:pt idx="15175">1</cx:pt>
          <cx:pt idx="15176">1</cx:pt>
          <cx:pt idx="15177">0</cx:pt>
          <cx:pt idx="15178">0</cx:pt>
          <cx:pt idx="15179">1</cx:pt>
          <cx:pt idx="15180">1</cx:pt>
          <cx:pt idx="15181">1</cx:pt>
          <cx:pt idx="15182">0</cx:pt>
          <cx:pt idx="15183">1</cx:pt>
          <cx:pt idx="15184">0</cx:pt>
          <cx:pt idx="15185">0</cx:pt>
          <cx:pt idx="15186">0</cx:pt>
          <cx:pt idx="15187">1</cx:pt>
          <cx:pt idx="15188">0</cx:pt>
          <cx:pt idx="15189">0</cx:pt>
          <cx:pt idx="15190">0</cx:pt>
          <cx:pt idx="15191">1</cx:pt>
          <cx:pt idx="15192">0</cx:pt>
          <cx:pt idx="15193">1</cx:pt>
          <cx:pt idx="15194">0</cx:pt>
          <cx:pt idx="15195">0</cx:pt>
          <cx:pt idx="15196">0</cx:pt>
          <cx:pt idx="15197">0</cx:pt>
          <cx:pt idx="15198">1</cx:pt>
          <cx:pt idx="15199">1</cx:pt>
          <cx:pt idx="15200">0</cx:pt>
          <cx:pt idx="15201">1</cx:pt>
          <cx:pt idx="15202">1</cx:pt>
          <cx:pt idx="15203">1</cx:pt>
          <cx:pt idx="15204">1</cx:pt>
          <cx:pt idx="15205">0</cx:pt>
          <cx:pt idx="15206">1</cx:pt>
          <cx:pt idx="15207">0</cx:pt>
          <cx:pt idx="15208">1</cx:pt>
          <cx:pt idx="15209">1</cx:pt>
          <cx:pt idx="15210">0</cx:pt>
          <cx:pt idx="15211">1</cx:pt>
          <cx:pt idx="15212">0</cx:pt>
          <cx:pt idx="15213">1</cx:pt>
          <cx:pt idx="15214">1</cx:pt>
          <cx:pt idx="15215">1</cx:pt>
          <cx:pt idx="15216">0</cx:pt>
          <cx:pt idx="15217">1</cx:pt>
          <cx:pt idx="15218">1</cx:pt>
          <cx:pt idx="15219">0</cx:pt>
          <cx:pt idx="15220">1</cx:pt>
          <cx:pt idx="15221">0</cx:pt>
          <cx:pt idx="15222">0</cx:pt>
          <cx:pt idx="15223">1</cx:pt>
          <cx:pt idx="15224">0</cx:pt>
          <cx:pt idx="15225">0</cx:pt>
          <cx:pt idx="15226">1</cx:pt>
          <cx:pt idx="15227">1</cx:pt>
          <cx:pt idx="15228">1</cx:pt>
          <cx:pt idx="15229">0</cx:pt>
          <cx:pt idx="15230">0</cx:pt>
          <cx:pt idx="15231">0</cx:pt>
          <cx:pt idx="15232">0</cx:pt>
          <cx:pt idx="15233">0</cx:pt>
          <cx:pt idx="15234">0</cx:pt>
          <cx:pt idx="15235">0</cx:pt>
          <cx:pt idx="15236">0</cx:pt>
          <cx:pt idx="15237">1</cx:pt>
          <cx:pt idx="15238">0</cx:pt>
          <cx:pt idx="15239">1</cx:pt>
          <cx:pt idx="15240">0</cx:pt>
          <cx:pt idx="15241">1</cx:pt>
          <cx:pt idx="15242">0</cx:pt>
          <cx:pt idx="15243">1</cx:pt>
          <cx:pt idx="15244">0</cx:pt>
          <cx:pt idx="15245">0</cx:pt>
          <cx:pt idx="15246">0</cx:pt>
          <cx:pt idx="15247">1</cx:pt>
          <cx:pt idx="15248">1</cx:pt>
          <cx:pt idx="15249">1</cx:pt>
          <cx:pt idx="15250">0</cx:pt>
          <cx:pt idx="15251">0</cx:pt>
          <cx:pt idx="15252">1</cx:pt>
          <cx:pt idx="15253">1</cx:pt>
          <cx:pt idx="15254">1</cx:pt>
          <cx:pt idx="15255">1</cx:pt>
          <cx:pt idx="15256">0</cx:pt>
          <cx:pt idx="15257">1</cx:pt>
          <cx:pt idx="15258">1</cx:pt>
          <cx:pt idx="15259">1</cx:pt>
          <cx:pt idx="15260">0</cx:pt>
          <cx:pt idx="15261">0</cx:pt>
          <cx:pt idx="15262">0</cx:pt>
          <cx:pt idx="15263">0</cx:pt>
          <cx:pt idx="15264">1</cx:pt>
          <cx:pt idx="15265">1</cx:pt>
          <cx:pt idx="15266">1</cx:pt>
          <cx:pt idx="15267">0</cx:pt>
          <cx:pt idx="15268">1</cx:pt>
          <cx:pt idx="15269">0</cx:pt>
          <cx:pt idx="15270">1</cx:pt>
          <cx:pt idx="15271">1</cx:pt>
          <cx:pt idx="15272">0</cx:pt>
          <cx:pt idx="15273">0</cx:pt>
          <cx:pt idx="15274">0</cx:pt>
          <cx:pt idx="15275">0</cx:pt>
          <cx:pt idx="15276">0</cx:pt>
          <cx:pt idx="15277">1</cx:pt>
          <cx:pt idx="15278">0</cx:pt>
          <cx:pt idx="15279">1</cx:pt>
          <cx:pt idx="15280">0</cx:pt>
          <cx:pt idx="15281">0</cx:pt>
          <cx:pt idx="15282">1</cx:pt>
          <cx:pt idx="15283">1</cx:pt>
          <cx:pt idx="15284">0</cx:pt>
          <cx:pt idx="15285">0</cx:pt>
          <cx:pt idx="15286">0</cx:pt>
          <cx:pt idx="15287">0</cx:pt>
          <cx:pt idx="15288">0</cx:pt>
          <cx:pt idx="15289">1</cx:pt>
          <cx:pt idx="15290">1</cx:pt>
          <cx:pt idx="15291">0</cx:pt>
          <cx:pt idx="15292">1</cx:pt>
          <cx:pt idx="15293">1</cx:pt>
          <cx:pt idx="15294">1</cx:pt>
          <cx:pt idx="15295">0</cx:pt>
          <cx:pt idx="15296">0</cx:pt>
          <cx:pt idx="15297">0</cx:pt>
          <cx:pt idx="15298">0</cx:pt>
          <cx:pt idx="15299">0</cx:pt>
          <cx:pt idx="15300">0</cx:pt>
          <cx:pt idx="15301">1</cx:pt>
          <cx:pt idx="15302">0</cx:pt>
          <cx:pt idx="15303">0</cx:pt>
          <cx:pt idx="15304">1</cx:pt>
          <cx:pt idx="15305">0</cx:pt>
          <cx:pt idx="15306">0</cx:pt>
          <cx:pt idx="15307">1</cx:pt>
          <cx:pt idx="15308">0</cx:pt>
          <cx:pt idx="15309">1</cx:pt>
          <cx:pt idx="15310">0</cx:pt>
          <cx:pt idx="15311">1</cx:pt>
          <cx:pt idx="15312">1</cx:pt>
          <cx:pt idx="15313">0</cx:pt>
          <cx:pt idx="15314">1</cx:pt>
          <cx:pt idx="15315">1</cx:pt>
          <cx:pt idx="15316">0</cx:pt>
          <cx:pt idx="15317">0</cx:pt>
          <cx:pt idx="15318">1</cx:pt>
          <cx:pt idx="15319">0</cx:pt>
          <cx:pt idx="15320">0</cx:pt>
          <cx:pt idx="15321">0</cx:pt>
          <cx:pt idx="15322">0</cx:pt>
          <cx:pt idx="15323">0</cx:pt>
          <cx:pt idx="15324">0</cx:pt>
          <cx:pt idx="15325">0</cx:pt>
          <cx:pt idx="15326">1</cx:pt>
          <cx:pt idx="15327">0</cx:pt>
          <cx:pt idx="15328">1</cx:pt>
          <cx:pt idx="15329">1</cx:pt>
          <cx:pt idx="15330">1</cx:pt>
          <cx:pt idx="15331">1</cx:pt>
          <cx:pt idx="15332">0</cx:pt>
          <cx:pt idx="15333">1</cx:pt>
          <cx:pt idx="15334">0</cx:pt>
          <cx:pt idx="15335">0</cx:pt>
          <cx:pt idx="15336">1</cx:pt>
          <cx:pt idx="15337">0</cx:pt>
          <cx:pt idx="15338">0</cx:pt>
          <cx:pt idx="15339">1</cx:pt>
          <cx:pt idx="15340">1</cx:pt>
          <cx:pt idx="15341">1</cx:pt>
          <cx:pt idx="15342">1</cx:pt>
          <cx:pt idx="15343">1</cx:pt>
          <cx:pt idx="15344">1</cx:pt>
          <cx:pt idx="15345">0</cx:pt>
          <cx:pt idx="15346">1</cx:pt>
          <cx:pt idx="15347">0</cx:pt>
          <cx:pt idx="15348">0</cx:pt>
          <cx:pt idx="15349">1</cx:pt>
          <cx:pt idx="15350">0</cx:pt>
          <cx:pt idx="15351">1</cx:pt>
          <cx:pt idx="15352">0</cx:pt>
          <cx:pt idx="15353">0</cx:pt>
          <cx:pt idx="15354">0</cx:pt>
          <cx:pt idx="15355">0</cx:pt>
          <cx:pt idx="15356">1</cx:pt>
          <cx:pt idx="15357">0</cx:pt>
          <cx:pt idx="15358">0</cx:pt>
          <cx:pt idx="15359">1</cx:pt>
          <cx:pt idx="15360">1</cx:pt>
          <cx:pt idx="15361">0</cx:pt>
          <cx:pt idx="15362">1</cx:pt>
          <cx:pt idx="15363">0</cx:pt>
          <cx:pt idx="15364">0</cx:pt>
          <cx:pt idx="15365">0</cx:pt>
          <cx:pt idx="15366">1</cx:pt>
          <cx:pt idx="15367">1</cx:pt>
          <cx:pt idx="15368">0</cx:pt>
          <cx:pt idx="15369">1</cx:pt>
          <cx:pt idx="15370">0</cx:pt>
          <cx:pt idx="15371">0</cx:pt>
          <cx:pt idx="15372">1</cx:pt>
          <cx:pt idx="15373">0</cx:pt>
          <cx:pt idx="15374">0</cx:pt>
          <cx:pt idx="15375">1</cx:pt>
          <cx:pt idx="15376">0</cx:pt>
          <cx:pt idx="15377">0</cx:pt>
          <cx:pt idx="15378">1</cx:pt>
          <cx:pt idx="15379">0</cx:pt>
          <cx:pt idx="15380">1</cx:pt>
          <cx:pt idx="15381">1</cx:pt>
          <cx:pt idx="15382">0</cx:pt>
          <cx:pt idx="15383">0</cx:pt>
          <cx:pt idx="15384">1</cx:pt>
          <cx:pt idx="15385">1</cx:pt>
          <cx:pt idx="15386">0</cx:pt>
          <cx:pt idx="15387">1</cx:pt>
          <cx:pt idx="15388">0</cx:pt>
          <cx:pt idx="15389">1</cx:pt>
          <cx:pt idx="15390">1</cx:pt>
          <cx:pt idx="15391">0</cx:pt>
          <cx:pt idx="15392">0</cx:pt>
          <cx:pt idx="15393">0</cx:pt>
          <cx:pt idx="15394">0</cx:pt>
          <cx:pt idx="15395">1</cx:pt>
          <cx:pt idx="15396">0</cx:pt>
          <cx:pt idx="15397">1</cx:pt>
          <cx:pt idx="15398">0</cx:pt>
          <cx:pt idx="15399">1</cx:pt>
          <cx:pt idx="15400">1</cx:pt>
          <cx:pt idx="15401">1</cx:pt>
          <cx:pt idx="15402">1</cx:pt>
          <cx:pt idx="15403">1</cx:pt>
          <cx:pt idx="15404">1</cx:pt>
          <cx:pt idx="15405">0</cx:pt>
          <cx:pt idx="15406">0</cx:pt>
          <cx:pt idx="15407">0</cx:pt>
          <cx:pt idx="15408">1</cx:pt>
          <cx:pt idx="15409">1</cx:pt>
          <cx:pt idx="15410">1</cx:pt>
          <cx:pt idx="15411">0</cx:pt>
          <cx:pt idx="15412">1</cx:pt>
          <cx:pt idx="15413">0</cx:pt>
          <cx:pt idx="15414">0</cx:pt>
          <cx:pt idx="15415">0</cx:pt>
          <cx:pt idx="15416">0</cx:pt>
          <cx:pt idx="15417">1</cx:pt>
          <cx:pt idx="15418">0</cx:pt>
          <cx:pt idx="15419">0</cx:pt>
          <cx:pt idx="15420">0</cx:pt>
          <cx:pt idx="15421">0</cx:pt>
          <cx:pt idx="15422">0</cx:pt>
          <cx:pt idx="15423">0</cx:pt>
          <cx:pt idx="15424">0</cx:pt>
          <cx:pt idx="15425">0</cx:pt>
          <cx:pt idx="15426">1</cx:pt>
          <cx:pt idx="15427">0</cx:pt>
          <cx:pt idx="15428">0</cx:pt>
          <cx:pt idx="15429">0</cx:pt>
          <cx:pt idx="15430">1</cx:pt>
          <cx:pt idx="15431">1</cx:pt>
          <cx:pt idx="15432">0</cx:pt>
          <cx:pt idx="15433">0</cx:pt>
          <cx:pt idx="15434">1</cx:pt>
          <cx:pt idx="15435">1</cx:pt>
          <cx:pt idx="15436">0</cx:pt>
          <cx:pt idx="15437">1</cx:pt>
          <cx:pt idx="15438">0</cx:pt>
          <cx:pt idx="15439">0</cx:pt>
          <cx:pt idx="15440">0</cx:pt>
          <cx:pt idx="15441">0</cx:pt>
          <cx:pt idx="15442">1</cx:pt>
          <cx:pt idx="15443">1</cx:pt>
          <cx:pt idx="15444">0</cx:pt>
          <cx:pt idx="15445">1</cx:pt>
          <cx:pt idx="15446">0</cx:pt>
          <cx:pt idx="15447">0</cx:pt>
          <cx:pt idx="15448">0</cx:pt>
          <cx:pt idx="15449">0</cx:pt>
          <cx:pt idx="15450">1</cx:pt>
          <cx:pt idx="15451">1</cx:pt>
          <cx:pt idx="15452">1</cx:pt>
          <cx:pt idx="15453">1</cx:pt>
          <cx:pt idx="15454">0</cx:pt>
          <cx:pt idx="15455">0</cx:pt>
          <cx:pt idx="15456">0</cx:pt>
          <cx:pt idx="15457">1</cx:pt>
          <cx:pt idx="15458">0</cx:pt>
          <cx:pt idx="15459">0</cx:pt>
          <cx:pt idx="15460">0</cx:pt>
          <cx:pt idx="15461">0</cx:pt>
          <cx:pt idx="15462">0</cx:pt>
          <cx:pt idx="15463">0</cx:pt>
          <cx:pt idx="15464">0</cx:pt>
          <cx:pt idx="15465">1</cx:pt>
          <cx:pt idx="15466">0</cx:pt>
          <cx:pt idx="15467">0</cx:pt>
          <cx:pt idx="15468">0</cx:pt>
          <cx:pt idx="15469">0</cx:pt>
          <cx:pt idx="15470">0</cx:pt>
          <cx:pt idx="15471">0</cx:pt>
          <cx:pt idx="15472">0</cx:pt>
          <cx:pt idx="15473">0</cx:pt>
          <cx:pt idx="15474">1</cx:pt>
          <cx:pt idx="15475">1</cx:pt>
          <cx:pt idx="15476">1</cx:pt>
          <cx:pt idx="15477">1</cx:pt>
          <cx:pt idx="15478">0</cx:pt>
          <cx:pt idx="15479">0</cx:pt>
          <cx:pt idx="15480">0</cx:pt>
          <cx:pt idx="15481">0</cx:pt>
          <cx:pt idx="15482">1</cx:pt>
          <cx:pt idx="15483">0</cx:pt>
          <cx:pt idx="15484">1</cx:pt>
          <cx:pt idx="15485">0</cx:pt>
          <cx:pt idx="15486">1</cx:pt>
          <cx:pt idx="15487">0</cx:pt>
          <cx:pt idx="15488">1</cx:pt>
          <cx:pt idx="15489">0</cx:pt>
          <cx:pt idx="15490">0</cx:pt>
          <cx:pt idx="15491">0</cx:pt>
          <cx:pt idx="15492">1</cx:pt>
          <cx:pt idx="15493">0</cx:pt>
          <cx:pt idx="15494">1</cx:pt>
          <cx:pt idx="15495">0</cx:pt>
          <cx:pt idx="15496">0</cx:pt>
          <cx:pt idx="15497">0</cx:pt>
          <cx:pt idx="15498">0</cx:pt>
          <cx:pt idx="15499">0</cx:pt>
          <cx:pt idx="15500">0</cx:pt>
          <cx:pt idx="15501">0</cx:pt>
          <cx:pt idx="15502">1</cx:pt>
          <cx:pt idx="15503">0</cx:pt>
          <cx:pt idx="15504">1</cx:pt>
          <cx:pt idx="15505">0</cx:pt>
          <cx:pt idx="15506">1</cx:pt>
          <cx:pt idx="15507">1</cx:pt>
          <cx:pt idx="15508">0</cx:pt>
          <cx:pt idx="15509">0</cx:pt>
          <cx:pt idx="15510">0</cx:pt>
          <cx:pt idx="15511">0</cx:pt>
          <cx:pt idx="15512">1</cx:pt>
          <cx:pt idx="15513">0</cx:pt>
          <cx:pt idx="15514">1</cx:pt>
          <cx:pt idx="15515">0</cx:pt>
          <cx:pt idx="15516">0</cx:pt>
          <cx:pt idx="15517">1</cx:pt>
          <cx:pt idx="15518">0</cx:pt>
          <cx:pt idx="15519">0</cx:pt>
          <cx:pt idx="15520">0</cx:pt>
          <cx:pt idx="15521">0</cx:pt>
          <cx:pt idx="15522">1</cx:pt>
          <cx:pt idx="15523">1</cx:pt>
          <cx:pt idx="15524">0</cx:pt>
          <cx:pt idx="15525">0</cx:pt>
          <cx:pt idx="15526">0</cx:pt>
          <cx:pt idx="15527">0</cx:pt>
          <cx:pt idx="15528">0</cx:pt>
          <cx:pt idx="15529">0</cx:pt>
          <cx:pt idx="15530">1</cx:pt>
          <cx:pt idx="15531">0</cx:pt>
          <cx:pt idx="15532">1</cx:pt>
          <cx:pt idx="15533">0</cx:pt>
          <cx:pt idx="15534">1</cx:pt>
          <cx:pt idx="15535">0</cx:pt>
          <cx:pt idx="15536">1</cx:pt>
          <cx:pt idx="15537">1</cx:pt>
          <cx:pt idx="15538">1</cx:pt>
          <cx:pt idx="15539">0</cx:pt>
          <cx:pt idx="15540">0</cx:pt>
          <cx:pt idx="15541">0</cx:pt>
          <cx:pt idx="15542">1</cx:pt>
          <cx:pt idx="15543">0</cx:pt>
          <cx:pt idx="15544">0</cx:pt>
          <cx:pt idx="15545">1</cx:pt>
          <cx:pt idx="15546">0</cx:pt>
          <cx:pt idx="15547">1</cx:pt>
          <cx:pt idx="15548">0</cx:pt>
          <cx:pt idx="15549">0</cx:pt>
          <cx:pt idx="15550">0</cx:pt>
          <cx:pt idx="15551">0</cx:pt>
          <cx:pt idx="15552">0</cx:pt>
          <cx:pt idx="15553">0</cx:pt>
          <cx:pt idx="15554">1</cx:pt>
          <cx:pt idx="15555">0</cx:pt>
          <cx:pt idx="15556">0</cx:pt>
          <cx:pt idx="15557">1</cx:pt>
          <cx:pt idx="15558">1</cx:pt>
          <cx:pt idx="15559">1</cx:pt>
          <cx:pt idx="15560">0</cx:pt>
          <cx:pt idx="15561">1</cx:pt>
          <cx:pt idx="15562">0</cx:pt>
          <cx:pt idx="15563">1</cx:pt>
          <cx:pt idx="15564">0</cx:pt>
          <cx:pt idx="15565">1</cx:pt>
          <cx:pt idx="15566">1</cx:pt>
          <cx:pt idx="15567">1</cx:pt>
          <cx:pt idx="15568">0</cx:pt>
          <cx:pt idx="15569">0</cx:pt>
          <cx:pt idx="15570">1</cx:pt>
          <cx:pt idx="15571">0</cx:pt>
          <cx:pt idx="15572">1</cx:pt>
          <cx:pt idx="15573">0</cx:pt>
          <cx:pt idx="15574">0</cx:pt>
          <cx:pt idx="15575">1</cx:pt>
          <cx:pt idx="15576">0</cx:pt>
          <cx:pt idx="15577">0</cx:pt>
          <cx:pt idx="15578">0</cx:pt>
          <cx:pt idx="15579">1</cx:pt>
          <cx:pt idx="15580">0</cx:pt>
          <cx:pt idx="15581">0</cx:pt>
          <cx:pt idx="15582">0</cx:pt>
          <cx:pt idx="15583">1</cx:pt>
          <cx:pt idx="15584">0</cx:pt>
          <cx:pt idx="15585">1</cx:pt>
          <cx:pt idx="15586">0</cx:pt>
          <cx:pt idx="15587">1</cx:pt>
          <cx:pt idx="15588">0</cx:pt>
          <cx:pt idx="15589">1</cx:pt>
          <cx:pt idx="15590">1</cx:pt>
          <cx:pt idx="15591">1</cx:pt>
          <cx:pt idx="15592">1</cx:pt>
          <cx:pt idx="15593">0</cx:pt>
          <cx:pt idx="15594">0</cx:pt>
          <cx:pt idx="15595">1</cx:pt>
          <cx:pt idx="15596">0</cx:pt>
          <cx:pt idx="15597">1</cx:pt>
          <cx:pt idx="15598">1</cx:pt>
          <cx:pt idx="15599">0</cx:pt>
          <cx:pt idx="15600">1</cx:pt>
          <cx:pt idx="15601">0</cx:pt>
          <cx:pt idx="15602">1</cx:pt>
          <cx:pt idx="15603">1</cx:pt>
          <cx:pt idx="15604">1</cx:pt>
          <cx:pt idx="15605">0</cx:pt>
          <cx:pt idx="15606">1</cx:pt>
          <cx:pt idx="15607">1</cx:pt>
          <cx:pt idx="15608">1</cx:pt>
          <cx:pt idx="15609">1</cx:pt>
          <cx:pt idx="15610">0</cx:pt>
          <cx:pt idx="15611">0</cx:pt>
          <cx:pt idx="15612">1</cx:pt>
          <cx:pt idx="15613">1</cx:pt>
          <cx:pt idx="15614">1</cx:pt>
          <cx:pt idx="15615">0</cx:pt>
          <cx:pt idx="15616">1</cx:pt>
          <cx:pt idx="15617">0</cx:pt>
          <cx:pt idx="15618">0</cx:pt>
          <cx:pt idx="15619">0</cx:pt>
          <cx:pt idx="15620">1</cx:pt>
          <cx:pt idx="15621">1</cx:pt>
          <cx:pt idx="15622">0</cx:pt>
          <cx:pt idx="15623">1</cx:pt>
          <cx:pt idx="15624">0</cx:pt>
          <cx:pt idx="15625">1</cx:pt>
          <cx:pt idx="15626">1</cx:pt>
          <cx:pt idx="15627">0</cx:pt>
          <cx:pt idx="15628">1</cx:pt>
          <cx:pt idx="15629">0</cx:pt>
          <cx:pt idx="15630">1</cx:pt>
          <cx:pt idx="15631">1</cx:pt>
          <cx:pt idx="15632">0</cx:pt>
          <cx:pt idx="15633">0</cx:pt>
          <cx:pt idx="15634">1</cx:pt>
          <cx:pt idx="15635">0</cx:pt>
          <cx:pt idx="15636">1</cx:pt>
          <cx:pt idx="15637">1</cx:pt>
          <cx:pt idx="15638">1</cx:pt>
          <cx:pt idx="15639">1</cx:pt>
          <cx:pt idx="15640">1</cx:pt>
          <cx:pt idx="15641">0</cx:pt>
          <cx:pt idx="15642">0</cx:pt>
          <cx:pt idx="15643">1</cx:pt>
          <cx:pt idx="15644">1</cx:pt>
          <cx:pt idx="15645">0</cx:pt>
          <cx:pt idx="15646">0</cx:pt>
          <cx:pt idx="15647">1</cx:pt>
          <cx:pt idx="15648">0</cx:pt>
          <cx:pt idx="15649">0</cx:pt>
          <cx:pt idx="15650">0</cx:pt>
          <cx:pt idx="15651">0</cx:pt>
          <cx:pt idx="15652">1</cx:pt>
          <cx:pt idx="15653">1</cx:pt>
          <cx:pt idx="15654">0</cx:pt>
          <cx:pt idx="15655">1</cx:pt>
          <cx:pt idx="15656">0</cx:pt>
          <cx:pt idx="15657">1</cx:pt>
          <cx:pt idx="15658">0</cx:pt>
          <cx:pt idx="15659">0</cx:pt>
          <cx:pt idx="15660">0</cx:pt>
          <cx:pt idx="15661">1</cx:pt>
          <cx:pt idx="15662">1</cx:pt>
          <cx:pt idx="15663">1</cx:pt>
          <cx:pt idx="15664">1</cx:pt>
          <cx:pt idx="15665">0</cx:pt>
          <cx:pt idx="15666">0</cx:pt>
          <cx:pt idx="15667">0</cx:pt>
          <cx:pt idx="15668">0</cx:pt>
          <cx:pt idx="15669">1</cx:pt>
          <cx:pt idx="15670">0</cx:pt>
          <cx:pt idx="15671">0</cx:pt>
          <cx:pt idx="15672">1</cx:pt>
          <cx:pt idx="15673">1</cx:pt>
          <cx:pt idx="15674">0</cx:pt>
          <cx:pt idx="15675">1</cx:pt>
          <cx:pt idx="15676">0</cx:pt>
          <cx:pt idx="15677">0</cx:pt>
          <cx:pt idx="15678">0</cx:pt>
          <cx:pt idx="15679">0</cx:pt>
          <cx:pt idx="15680">0</cx:pt>
          <cx:pt idx="15681">0</cx:pt>
          <cx:pt idx="15682">1</cx:pt>
          <cx:pt idx="15683">0</cx:pt>
          <cx:pt idx="15684">1</cx:pt>
          <cx:pt idx="15685">0</cx:pt>
          <cx:pt idx="15686">1</cx:pt>
          <cx:pt idx="15687">0</cx:pt>
          <cx:pt idx="15688">0</cx:pt>
          <cx:pt idx="15689">0</cx:pt>
          <cx:pt idx="15690">0</cx:pt>
          <cx:pt idx="15691">1</cx:pt>
          <cx:pt idx="15692">0</cx:pt>
          <cx:pt idx="15693">1</cx:pt>
          <cx:pt idx="15694">1</cx:pt>
          <cx:pt idx="15695">0</cx:pt>
          <cx:pt idx="15696">0</cx:pt>
          <cx:pt idx="15697">1</cx:pt>
          <cx:pt idx="15698">1</cx:pt>
          <cx:pt idx="15699">0</cx:pt>
          <cx:pt idx="15700">1</cx:pt>
          <cx:pt idx="15701">1</cx:pt>
          <cx:pt idx="15702">0</cx:pt>
          <cx:pt idx="15703">1</cx:pt>
          <cx:pt idx="15704">0</cx:pt>
          <cx:pt idx="15705">0</cx:pt>
          <cx:pt idx="15706">0</cx:pt>
          <cx:pt idx="15707">1</cx:pt>
          <cx:pt idx="15708">0</cx:pt>
          <cx:pt idx="15709">1</cx:pt>
          <cx:pt idx="15710">1</cx:pt>
          <cx:pt idx="15711">0</cx:pt>
          <cx:pt idx="15712">0</cx:pt>
          <cx:pt idx="15713">1</cx:pt>
          <cx:pt idx="15714">1</cx:pt>
          <cx:pt idx="15715">0</cx:pt>
          <cx:pt idx="15716">0</cx:pt>
          <cx:pt idx="15717">0</cx:pt>
          <cx:pt idx="15718">1</cx:pt>
          <cx:pt idx="15719">1</cx:pt>
          <cx:pt idx="15720">1</cx:pt>
          <cx:pt idx="15721">1</cx:pt>
          <cx:pt idx="15722">1</cx:pt>
          <cx:pt idx="15723">1</cx:pt>
          <cx:pt idx="15724">0</cx:pt>
          <cx:pt idx="15725">0</cx:pt>
          <cx:pt idx="15726">1</cx:pt>
          <cx:pt idx="15727">0</cx:pt>
          <cx:pt idx="15728">1</cx:pt>
          <cx:pt idx="15729">1</cx:pt>
          <cx:pt idx="15730">1</cx:pt>
          <cx:pt idx="15731">0</cx:pt>
          <cx:pt idx="15732">1</cx:pt>
          <cx:pt idx="15733">0</cx:pt>
          <cx:pt idx="15734">1</cx:pt>
          <cx:pt idx="15735">0</cx:pt>
          <cx:pt idx="15736">0</cx:pt>
          <cx:pt idx="15737">0</cx:pt>
          <cx:pt idx="15738">1</cx:pt>
          <cx:pt idx="15739">0</cx:pt>
          <cx:pt idx="15740">0</cx:pt>
          <cx:pt idx="15741">0</cx:pt>
          <cx:pt idx="15742">1</cx:pt>
          <cx:pt idx="15743">0</cx:pt>
          <cx:pt idx="15744">1</cx:pt>
          <cx:pt idx="15745">1</cx:pt>
          <cx:pt idx="15746">0</cx:pt>
          <cx:pt idx="15747">0</cx:pt>
          <cx:pt idx="15748">0</cx:pt>
          <cx:pt idx="15749">0</cx:pt>
          <cx:pt idx="15750">1</cx:pt>
          <cx:pt idx="15751">1</cx:pt>
          <cx:pt idx="15752">1</cx:pt>
          <cx:pt idx="15753">0</cx:pt>
          <cx:pt idx="15754">0</cx:pt>
          <cx:pt idx="15755">1</cx:pt>
          <cx:pt idx="15756">0</cx:pt>
          <cx:pt idx="15757">0</cx:pt>
          <cx:pt idx="15758">1</cx:pt>
          <cx:pt idx="15759">1</cx:pt>
          <cx:pt idx="15760">0</cx:pt>
          <cx:pt idx="15761">0</cx:pt>
          <cx:pt idx="15762">1</cx:pt>
          <cx:pt idx="15763">1</cx:pt>
          <cx:pt idx="15764">0</cx:pt>
          <cx:pt idx="15765">0</cx:pt>
          <cx:pt idx="15766">0</cx:pt>
          <cx:pt idx="15767">1</cx:pt>
          <cx:pt idx="15768">1</cx:pt>
          <cx:pt idx="15769">0</cx:pt>
          <cx:pt idx="15770">0</cx:pt>
          <cx:pt idx="15771">0</cx:pt>
          <cx:pt idx="15772">0</cx:pt>
          <cx:pt idx="15773">0</cx:pt>
          <cx:pt idx="15774">0</cx:pt>
          <cx:pt idx="15775">1</cx:pt>
          <cx:pt idx="15776">0</cx:pt>
          <cx:pt idx="15777">0</cx:pt>
          <cx:pt idx="15778">1</cx:pt>
          <cx:pt idx="15779">0</cx:pt>
          <cx:pt idx="15780">0</cx:pt>
          <cx:pt idx="15781">0</cx:pt>
          <cx:pt idx="15782">0</cx:pt>
          <cx:pt idx="15783">1</cx:pt>
          <cx:pt idx="15784">0</cx:pt>
          <cx:pt idx="15785">1</cx:pt>
          <cx:pt idx="15786">1</cx:pt>
          <cx:pt idx="15787">0</cx:pt>
          <cx:pt idx="15788">0</cx:pt>
          <cx:pt idx="15789">0</cx:pt>
          <cx:pt idx="15790">1</cx:pt>
          <cx:pt idx="15791">1</cx:pt>
          <cx:pt idx="15792">0</cx:pt>
          <cx:pt idx="15793">1</cx:pt>
          <cx:pt idx="15794">0</cx:pt>
          <cx:pt idx="15795">0</cx:pt>
          <cx:pt idx="15796">0</cx:pt>
          <cx:pt idx="15797">1</cx:pt>
          <cx:pt idx="15798">0</cx:pt>
          <cx:pt idx="15799">1</cx:pt>
          <cx:pt idx="15800">0</cx:pt>
          <cx:pt idx="15801">0</cx:pt>
          <cx:pt idx="15802">1</cx:pt>
          <cx:pt idx="15803">1</cx:pt>
          <cx:pt idx="15804">0</cx:pt>
          <cx:pt idx="15805">1</cx:pt>
          <cx:pt idx="15806">1</cx:pt>
          <cx:pt idx="15807">1</cx:pt>
          <cx:pt idx="15808">1</cx:pt>
          <cx:pt idx="15809">0</cx:pt>
          <cx:pt idx="15810">0</cx:pt>
          <cx:pt idx="15811">1</cx:pt>
          <cx:pt idx="15812">1</cx:pt>
          <cx:pt idx="15813">1</cx:pt>
          <cx:pt idx="15814">0</cx:pt>
          <cx:pt idx="15815">1</cx:pt>
          <cx:pt idx="15816">0</cx:pt>
          <cx:pt idx="15817">1</cx:pt>
          <cx:pt idx="15818">1</cx:pt>
          <cx:pt idx="15819">1</cx:pt>
          <cx:pt idx="15820">0</cx:pt>
          <cx:pt idx="15821">1</cx:pt>
          <cx:pt idx="15822">0</cx:pt>
          <cx:pt idx="15823">0</cx:pt>
          <cx:pt idx="15824">0</cx:pt>
          <cx:pt idx="15825">1</cx:pt>
          <cx:pt idx="15826">1</cx:pt>
          <cx:pt idx="15827">0</cx:pt>
          <cx:pt idx="15828">0</cx:pt>
          <cx:pt idx="15829">1</cx:pt>
          <cx:pt idx="15830">1</cx:pt>
          <cx:pt idx="15831">0</cx:pt>
          <cx:pt idx="15832">1</cx:pt>
          <cx:pt idx="15833">0</cx:pt>
          <cx:pt idx="15834">0</cx:pt>
          <cx:pt idx="15835">0</cx:pt>
          <cx:pt idx="15836">0</cx:pt>
          <cx:pt idx="15837">0</cx:pt>
          <cx:pt idx="15838">0</cx:pt>
          <cx:pt idx="15839">0</cx:pt>
          <cx:pt idx="15840">1</cx:pt>
          <cx:pt idx="15841">0</cx:pt>
          <cx:pt idx="15842">0</cx:pt>
          <cx:pt idx="15843">0</cx:pt>
          <cx:pt idx="15844">0</cx:pt>
          <cx:pt idx="15845">1</cx:pt>
          <cx:pt idx="15846">0</cx:pt>
          <cx:pt idx="15847">0</cx:pt>
          <cx:pt idx="15848">0</cx:pt>
          <cx:pt idx="15849">0</cx:pt>
          <cx:pt idx="15850">0</cx:pt>
          <cx:pt idx="15851">1</cx:pt>
          <cx:pt idx="15852">1</cx:pt>
          <cx:pt idx="15853">1</cx:pt>
          <cx:pt idx="15854">1</cx:pt>
          <cx:pt idx="15855">1</cx:pt>
          <cx:pt idx="15856">0</cx:pt>
          <cx:pt idx="15857">0</cx:pt>
          <cx:pt idx="15858">0</cx:pt>
          <cx:pt idx="15859">1</cx:pt>
          <cx:pt idx="15860">0</cx:pt>
          <cx:pt idx="15861">0</cx:pt>
          <cx:pt idx="15862">0</cx:pt>
          <cx:pt idx="15863">1</cx:pt>
          <cx:pt idx="15864">1</cx:pt>
          <cx:pt idx="15865">0</cx:pt>
          <cx:pt idx="15866">1</cx:pt>
          <cx:pt idx="15867">1</cx:pt>
          <cx:pt idx="15868">1</cx:pt>
          <cx:pt idx="15869">1</cx:pt>
          <cx:pt idx="15870">1</cx:pt>
          <cx:pt idx="15871">1</cx:pt>
          <cx:pt idx="15872">1</cx:pt>
          <cx:pt idx="15873">0</cx:pt>
          <cx:pt idx="15874">0</cx:pt>
          <cx:pt idx="15875">1</cx:pt>
          <cx:pt idx="15876">1</cx:pt>
          <cx:pt idx="15877">1</cx:pt>
          <cx:pt idx="15878">1</cx:pt>
          <cx:pt idx="15879">0</cx:pt>
          <cx:pt idx="15880">0</cx:pt>
          <cx:pt idx="15881">0</cx:pt>
          <cx:pt idx="15882">0</cx:pt>
          <cx:pt idx="15883">0</cx:pt>
          <cx:pt idx="15884">0</cx:pt>
          <cx:pt idx="15885">0</cx:pt>
          <cx:pt idx="15886">1</cx:pt>
          <cx:pt idx="15887">1</cx:pt>
          <cx:pt idx="15888">1</cx:pt>
          <cx:pt idx="15889">0</cx:pt>
          <cx:pt idx="15890">0</cx:pt>
          <cx:pt idx="15891">1</cx:pt>
          <cx:pt idx="15892">1</cx:pt>
          <cx:pt idx="15893">1</cx:pt>
          <cx:pt idx="15894">1</cx:pt>
          <cx:pt idx="15895">0</cx:pt>
          <cx:pt idx="15896">0</cx:pt>
          <cx:pt idx="15897">1</cx:pt>
          <cx:pt idx="15898">1</cx:pt>
          <cx:pt idx="15899">1</cx:pt>
          <cx:pt idx="15900">1</cx:pt>
          <cx:pt idx="15901">0</cx:pt>
          <cx:pt idx="15902">0</cx:pt>
          <cx:pt idx="15903">1</cx:pt>
          <cx:pt idx="15904">0</cx:pt>
          <cx:pt idx="15905">1</cx:pt>
          <cx:pt idx="15906">1</cx:pt>
          <cx:pt idx="15907">1</cx:pt>
          <cx:pt idx="15908">1</cx:pt>
          <cx:pt idx="15909">0</cx:pt>
          <cx:pt idx="15910">0</cx:pt>
          <cx:pt idx="15911">0</cx:pt>
          <cx:pt idx="15912">0</cx:pt>
          <cx:pt idx="15913">0</cx:pt>
          <cx:pt idx="15914">0</cx:pt>
          <cx:pt idx="15915">1</cx:pt>
          <cx:pt idx="15916">0</cx:pt>
          <cx:pt idx="15917">0</cx:pt>
          <cx:pt idx="15918">0</cx:pt>
          <cx:pt idx="15919">0</cx:pt>
          <cx:pt idx="15920">1</cx:pt>
          <cx:pt idx="15921">0</cx:pt>
          <cx:pt idx="15922">0</cx:pt>
          <cx:pt idx="15923">0</cx:pt>
          <cx:pt idx="15924">0</cx:pt>
          <cx:pt idx="15925">1</cx:pt>
          <cx:pt idx="15926">1</cx:pt>
          <cx:pt idx="15927">0</cx:pt>
          <cx:pt idx="15928">0</cx:pt>
          <cx:pt idx="15929">1</cx:pt>
          <cx:pt idx="15930">0</cx:pt>
          <cx:pt idx="15931">0</cx:pt>
          <cx:pt idx="15932">0</cx:pt>
          <cx:pt idx="15933">0</cx:pt>
          <cx:pt idx="15934">0</cx:pt>
          <cx:pt idx="15935">0</cx:pt>
          <cx:pt idx="15936">0</cx:pt>
          <cx:pt idx="15937">0</cx:pt>
          <cx:pt idx="15938">0</cx:pt>
          <cx:pt idx="15939">0</cx:pt>
          <cx:pt idx="15940">0</cx:pt>
          <cx:pt idx="15941">1</cx:pt>
          <cx:pt idx="15942">0</cx:pt>
          <cx:pt idx="15943">0</cx:pt>
          <cx:pt idx="15944">0</cx:pt>
          <cx:pt idx="15945">1</cx:pt>
          <cx:pt idx="15946">0</cx:pt>
          <cx:pt idx="15947">1</cx:pt>
          <cx:pt idx="15948">1</cx:pt>
          <cx:pt idx="15949">0</cx:pt>
          <cx:pt idx="15950">0</cx:pt>
          <cx:pt idx="15951">0</cx:pt>
          <cx:pt idx="15952">0</cx:pt>
          <cx:pt idx="15953">1</cx:pt>
          <cx:pt idx="15954">0</cx:pt>
          <cx:pt idx="15955">0</cx:pt>
          <cx:pt idx="15956">1</cx:pt>
          <cx:pt idx="15957">1</cx:pt>
          <cx:pt idx="15958">0</cx:pt>
          <cx:pt idx="15959">0</cx:pt>
          <cx:pt idx="15960">0</cx:pt>
          <cx:pt idx="15961">1</cx:pt>
          <cx:pt idx="15962">1</cx:pt>
          <cx:pt idx="15963">0</cx:pt>
          <cx:pt idx="15964">0</cx:pt>
          <cx:pt idx="15965">1</cx:pt>
          <cx:pt idx="15966">0</cx:pt>
          <cx:pt idx="15967">0</cx:pt>
          <cx:pt idx="15968">1</cx:pt>
          <cx:pt idx="15969">0</cx:pt>
          <cx:pt idx="15970">1</cx:pt>
          <cx:pt idx="15971">0</cx:pt>
          <cx:pt idx="15972">0</cx:pt>
          <cx:pt idx="15973">1</cx:pt>
          <cx:pt idx="15974">1</cx:pt>
          <cx:pt idx="15975">1</cx:pt>
          <cx:pt idx="15976">0</cx:pt>
          <cx:pt idx="15977">1</cx:pt>
          <cx:pt idx="15978">0</cx:pt>
          <cx:pt idx="15979">1</cx:pt>
          <cx:pt idx="15980">0</cx:pt>
          <cx:pt idx="15981">0</cx:pt>
          <cx:pt idx="15982">0</cx:pt>
          <cx:pt idx="15983">1</cx:pt>
          <cx:pt idx="15984">0</cx:pt>
          <cx:pt idx="15985">0</cx:pt>
          <cx:pt idx="15986">0</cx:pt>
          <cx:pt idx="15987">0</cx:pt>
          <cx:pt idx="15988">1</cx:pt>
          <cx:pt idx="15989">0</cx:pt>
          <cx:pt idx="15990">0</cx:pt>
          <cx:pt idx="15991">0</cx:pt>
          <cx:pt idx="15992">1</cx:pt>
          <cx:pt idx="15993">1</cx:pt>
          <cx:pt idx="15994">0</cx:pt>
          <cx:pt idx="15995">1</cx:pt>
          <cx:pt idx="15996">0</cx:pt>
          <cx:pt idx="15997">1</cx:pt>
          <cx:pt idx="15998">1</cx:pt>
          <cx:pt idx="15999">1</cx:pt>
          <cx:pt idx="16000">0</cx:pt>
          <cx:pt idx="16001">0</cx:pt>
          <cx:pt idx="16002">0</cx:pt>
          <cx:pt idx="16003">0</cx:pt>
          <cx:pt idx="16004">0</cx:pt>
          <cx:pt idx="16005">0</cx:pt>
          <cx:pt idx="16006">1</cx:pt>
          <cx:pt idx="16007">0</cx:pt>
          <cx:pt idx="16008">0</cx:pt>
          <cx:pt idx="16009">0</cx:pt>
          <cx:pt idx="16010">0</cx:pt>
          <cx:pt idx="16011">1</cx:pt>
          <cx:pt idx="16012">0</cx:pt>
          <cx:pt idx="16013">0</cx:pt>
          <cx:pt idx="16014">1</cx:pt>
          <cx:pt idx="16015">1</cx:pt>
          <cx:pt idx="16016">0</cx:pt>
          <cx:pt idx="16017">0</cx:pt>
          <cx:pt idx="16018">0</cx:pt>
          <cx:pt idx="16019">1</cx:pt>
          <cx:pt idx="16020">0</cx:pt>
          <cx:pt idx="16021">1</cx:pt>
          <cx:pt idx="16022">0</cx:pt>
          <cx:pt idx="16023">0</cx:pt>
          <cx:pt idx="16024">1</cx:pt>
          <cx:pt idx="16025">1</cx:pt>
          <cx:pt idx="16026">1</cx:pt>
          <cx:pt idx="16027">1</cx:pt>
          <cx:pt idx="16028">1</cx:pt>
          <cx:pt idx="16029">1</cx:pt>
          <cx:pt idx="16030">1</cx:pt>
          <cx:pt idx="16031">0</cx:pt>
          <cx:pt idx="16032">1</cx:pt>
          <cx:pt idx="16033">1</cx:pt>
          <cx:pt idx="16034">1</cx:pt>
          <cx:pt idx="16035">0</cx:pt>
          <cx:pt idx="16036">0</cx:pt>
          <cx:pt idx="16037">0</cx:pt>
          <cx:pt idx="16038">0</cx:pt>
          <cx:pt idx="16039">0</cx:pt>
          <cx:pt idx="16040">0</cx:pt>
          <cx:pt idx="16041">1</cx:pt>
          <cx:pt idx="16042">0</cx:pt>
          <cx:pt idx="16043">0</cx:pt>
          <cx:pt idx="16044">0</cx:pt>
          <cx:pt idx="16045">1</cx:pt>
          <cx:pt idx="16046">0</cx:pt>
          <cx:pt idx="16047">1</cx:pt>
          <cx:pt idx="16048">1</cx:pt>
          <cx:pt idx="16049">0</cx:pt>
          <cx:pt idx="16050">1</cx:pt>
          <cx:pt idx="16051">0</cx:pt>
          <cx:pt idx="16052">0</cx:pt>
          <cx:pt idx="16053">1</cx:pt>
          <cx:pt idx="16054">0</cx:pt>
          <cx:pt idx="16055">0</cx:pt>
          <cx:pt idx="16056">1</cx:pt>
          <cx:pt idx="16057">0</cx:pt>
          <cx:pt idx="16058">0</cx:pt>
          <cx:pt idx="16059">0</cx:pt>
          <cx:pt idx="16060">0</cx:pt>
          <cx:pt idx="16061">0</cx:pt>
          <cx:pt idx="16062">0</cx:pt>
          <cx:pt idx="16063">0</cx:pt>
          <cx:pt idx="16064">1</cx:pt>
          <cx:pt idx="16065">0</cx:pt>
          <cx:pt idx="16066">1</cx:pt>
          <cx:pt idx="16067">1</cx:pt>
          <cx:pt idx="16068">0</cx:pt>
          <cx:pt idx="16069">0</cx:pt>
          <cx:pt idx="16070">1</cx:pt>
          <cx:pt idx="16071">0</cx:pt>
          <cx:pt idx="16072">1</cx:pt>
          <cx:pt idx="16073">0</cx:pt>
          <cx:pt idx="16074">1</cx:pt>
          <cx:pt idx="16075">0</cx:pt>
          <cx:pt idx="16076">0</cx:pt>
          <cx:pt idx="16077">0</cx:pt>
          <cx:pt idx="16078">0</cx:pt>
          <cx:pt idx="16079">1</cx:pt>
          <cx:pt idx="16080">0</cx:pt>
          <cx:pt idx="16081">1</cx:pt>
          <cx:pt idx="16082">0</cx:pt>
          <cx:pt idx="16083">1</cx:pt>
          <cx:pt idx="16084">1</cx:pt>
          <cx:pt idx="16085">0</cx:pt>
          <cx:pt idx="16086">0</cx:pt>
          <cx:pt idx="16087">0</cx:pt>
          <cx:pt idx="16088">0</cx:pt>
          <cx:pt idx="16089">0</cx:pt>
          <cx:pt idx="16090">0</cx:pt>
          <cx:pt idx="16091">1</cx:pt>
          <cx:pt idx="16092">1</cx:pt>
          <cx:pt idx="16093">1</cx:pt>
          <cx:pt idx="16094">1</cx:pt>
          <cx:pt idx="16095">1</cx:pt>
          <cx:pt idx="16096">0</cx:pt>
          <cx:pt idx="16097">1</cx:pt>
          <cx:pt idx="16098">1</cx:pt>
          <cx:pt idx="16099">1</cx:pt>
          <cx:pt idx="16100">0</cx:pt>
          <cx:pt idx="16101">1</cx:pt>
          <cx:pt idx="16102">0</cx:pt>
          <cx:pt idx="16103">0</cx:pt>
          <cx:pt idx="16104">0</cx:pt>
          <cx:pt idx="16105">0</cx:pt>
          <cx:pt idx="16106">0</cx:pt>
          <cx:pt idx="16107">0</cx:pt>
          <cx:pt idx="16108">1</cx:pt>
          <cx:pt idx="16109">1</cx:pt>
          <cx:pt idx="16110">0</cx:pt>
          <cx:pt idx="16111">1</cx:pt>
          <cx:pt idx="16112">0</cx:pt>
          <cx:pt idx="16113">1</cx:pt>
          <cx:pt idx="16114">1</cx:pt>
          <cx:pt idx="16115">1</cx:pt>
          <cx:pt idx="16116">1</cx:pt>
          <cx:pt idx="16117">0</cx:pt>
          <cx:pt idx="16118">1</cx:pt>
          <cx:pt idx="16119">1</cx:pt>
          <cx:pt idx="16120">1</cx:pt>
          <cx:pt idx="16121">0</cx:pt>
          <cx:pt idx="16122">0</cx:pt>
          <cx:pt idx="16123">0</cx:pt>
          <cx:pt idx="16124">0</cx:pt>
          <cx:pt idx="16125">1</cx:pt>
          <cx:pt idx="16126">0</cx:pt>
          <cx:pt idx="16127">0</cx:pt>
          <cx:pt idx="16128">0</cx:pt>
          <cx:pt idx="16129">0</cx:pt>
          <cx:pt idx="16130">0</cx:pt>
          <cx:pt idx="16131">0</cx:pt>
          <cx:pt idx="16132">1</cx:pt>
          <cx:pt idx="16133">1</cx:pt>
          <cx:pt idx="16134">0</cx:pt>
          <cx:pt idx="16135">0</cx:pt>
          <cx:pt idx="16136">0</cx:pt>
          <cx:pt idx="16137">0</cx:pt>
          <cx:pt idx="16138">0</cx:pt>
          <cx:pt idx="16139">0</cx:pt>
          <cx:pt idx="16140">1</cx:pt>
          <cx:pt idx="16141">0</cx:pt>
          <cx:pt idx="16142">0</cx:pt>
          <cx:pt idx="16143">1</cx:pt>
          <cx:pt idx="16144">0</cx:pt>
          <cx:pt idx="16145">1</cx:pt>
          <cx:pt idx="16146">1</cx:pt>
          <cx:pt idx="16147">1</cx:pt>
          <cx:pt idx="16148">0</cx:pt>
          <cx:pt idx="16149">0</cx:pt>
          <cx:pt idx="16150">0</cx:pt>
          <cx:pt idx="16151">0</cx:pt>
          <cx:pt idx="16152">0</cx:pt>
          <cx:pt idx="16153">0</cx:pt>
          <cx:pt idx="16154">0</cx:pt>
          <cx:pt idx="16155">0</cx:pt>
          <cx:pt idx="16156">0</cx:pt>
          <cx:pt idx="16157">1</cx:pt>
          <cx:pt idx="16158">0</cx:pt>
          <cx:pt idx="16159">1</cx:pt>
          <cx:pt idx="16160">1</cx:pt>
          <cx:pt idx="16161">1</cx:pt>
          <cx:pt idx="16162">1</cx:pt>
          <cx:pt idx="16163">0</cx:pt>
          <cx:pt idx="16164">0</cx:pt>
          <cx:pt idx="16165">0</cx:pt>
          <cx:pt idx="16166">0</cx:pt>
          <cx:pt idx="16167">0</cx:pt>
          <cx:pt idx="16168">1</cx:pt>
          <cx:pt idx="16169">0</cx:pt>
          <cx:pt idx="16170">0</cx:pt>
          <cx:pt idx="16171">0</cx:pt>
          <cx:pt idx="16172">1</cx:pt>
          <cx:pt idx="16173">1</cx:pt>
          <cx:pt idx="16174">0</cx:pt>
          <cx:pt idx="16175">0</cx:pt>
          <cx:pt idx="16176">1</cx:pt>
          <cx:pt idx="16177">1</cx:pt>
          <cx:pt idx="16178">0</cx:pt>
          <cx:pt idx="16179">0</cx:pt>
          <cx:pt idx="16180">1</cx:pt>
          <cx:pt idx="16181">0</cx:pt>
          <cx:pt idx="16182">0</cx:pt>
          <cx:pt idx="16183">0</cx:pt>
          <cx:pt idx="16184">0</cx:pt>
          <cx:pt idx="16185">0</cx:pt>
          <cx:pt idx="16186">1</cx:pt>
          <cx:pt idx="16187">0</cx:pt>
          <cx:pt idx="16188">0</cx:pt>
          <cx:pt idx="16189">1</cx:pt>
          <cx:pt idx="16190">0</cx:pt>
          <cx:pt idx="16191">1</cx:pt>
          <cx:pt idx="16192">0</cx:pt>
          <cx:pt idx="16193">1</cx:pt>
          <cx:pt idx="16194">1</cx:pt>
          <cx:pt idx="16195">1</cx:pt>
          <cx:pt idx="16196">1</cx:pt>
          <cx:pt idx="16197">1</cx:pt>
          <cx:pt idx="16198">1</cx:pt>
          <cx:pt idx="16199">1</cx:pt>
          <cx:pt idx="16200">1</cx:pt>
          <cx:pt idx="16201">0</cx:pt>
          <cx:pt idx="16202">0</cx:pt>
          <cx:pt idx="16203">0</cx:pt>
          <cx:pt idx="16204">1</cx:pt>
          <cx:pt idx="16205">1</cx:pt>
          <cx:pt idx="16206">0</cx:pt>
          <cx:pt idx="16207">0</cx:pt>
          <cx:pt idx="16208">0</cx:pt>
          <cx:pt idx="16209">1</cx:pt>
          <cx:pt idx="16210">0</cx:pt>
          <cx:pt idx="16211">1</cx:pt>
          <cx:pt idx="16212">1</cx:pt>
          <cx:pt idx="16213">0</cx:pt>
          <cx:pt idx="16214">0</cx:pt>
          <cx:pt idx="16215">1</cx:pt>
          <cx:pt idx="16216">0</cx:pt>
          <cx:pt idx="16217">0</cx:pt>
          <cx:pt idx="16218">0</cx:pt>
          <cx:pt idx="16219">0</cx:pt>
          <cx:pt idx="16220">0</cx:pt>
          <cx:pt idx="16221">1</cx:pt>
          <cx:pt idx="16222">1</cx:pt>
          <cx:pt idx="16223">0</cx:pt>
          <cx:pt idx="16224">0</cx:pt>
          <cx:pt idx="16225">0</cx:pt>
          <cx:pt idx="16226">0</cx:pt>
          <cx:pt idx="16227">1</cx:pt>
          <cx:pt idx="16228">1</cx:pt>
          <cx:pt idx="16229">0</cx:pt>
          <cx:pt idx="16230">0</cx:pt>
          <cx:pt idx="16231">0</cx:pt>
          <cx:pt idx="16232">0</cx:pt>
          <cx:pt idx="16233">1</cx:pt>
          <cx:pt idx="16234">1</cx:pt>
          <cx:pt idx="16235">0</cx:pt>
          <cx:pt idx="16236">0</cx:pt>
          <cx:pt idx="16237">0</cx:pt>
          <cx:pt idx="16238">0</cx:pt>
          <cx:pt idx="16239">1</cx:pt>
          <cx:pt idx="16240">1</cx:pt>
          <cx:pt idx="16241">1</cx:pt>
          <cx:pt idx="16242">0</cx:pt>
          <cx:pt idx="16243">1</cx:pt>
          <cx:pt idx="16244">0</cx:pt>
          <cx:pt idx="16245">1</cx:pt>
          <cx:pt idx="16246">0</cx:pt>
          <cx:pt idx="16247">0</cx:pt>
          <cx:pt idx="16248">0</cx:pt>
          <cx:pt idx="16249">1</cx:pt>
          <cx:pt idx="16250">1</cx:pt>
          <cx:pt idx="16251">0</cx:pt>
          <cx:pt idx="16252">0</cx:pt>
          <cx:pt idx="16253">1</cx:pt>
          <cx:pt idx="16254">0</cx:pt>
          <cx:pt idx="16255">0</cx:pt>
          <cx:pt idx="16256">0</cx:pt>
          <cx:pt idx="16257">1</cx:pt>
          <cx:pt idx="16258">1</cx:pt>
          <cx:pt idx="16259">0</cx:pt>
          <cx:pt idx="16260">1</cx:pt>
          <cx:pt idx="16261">1</cx:pt>
          <cx:pt idx="16262">0</cx:pt>
          <cx:pt idx="16263">0</cx:pt>
          <cx:pt idx="16264">0</cx:pt>
          <cx:pt idx="16265">0</cx:pt>
          <cx:pt idx="16266">0</cx:pt>
          <cx:pt idx="16267">0</cx:pt>
          <cx:pt idx="16268">1</cx:pt>
          <cx:pt idx="16269">1</cx:pt>
          <cx:pt idx="16270">0</cx:pt>
          <cx:pt idx="16271">0</cx:pt>
          <cx:pt idx="16272">0</cx:pt>
          <cx:pt idx="16273">1</cx:pt>
          <cx:pt idx="16274">0</cx:pt>
          <cx:pt idx="16275">1</cx:pt>
          <cx:pt idx="16276">0</cx:pt>
          <cx:pt idx="16277">1</cx:pt>
          <cx:pt idx="16278">1</cx:pt>
          <cx:pt idx="16279">0</cx:pt>
          <cx:pt idx="16280">0</cx:pt>
          <cx:pt idx="16281">0</cx:pt>
          <cx:pt idx="16282">0</cx:pt>
          <cx:pt idx="16283">1</cx:pt>
          <cx:pt idx="16284">0</cx:pt>
          <cx:pt idx="16285">0</cx:pt>
          <cx:pt idx="16286">0</cx:pt>
          <cx:pt idx="16287">0</cx:pt>
          <cx:pt idx="16288">1</cx:pt>
          <cx:pt idx="16289">1</cx:pt>
          <cx:pt idx="16290">0</cx:pt>
          <cx:pt idx="16291">0</cx:pt>
          <cx:pt idx="16292">1</cx:pt>
          <cx:pt idx="16293">1</cx:pt>
          <cx:pt idx="16294">1</cx:pt>
          <cx:pt idx="16295">0</cx:pt>
          <cx:pt idx="16296">1</cx:pt>
          <cx:pt idx="16297">1</cx:pt>
          <cx:pt idx="16298">0</cx:pt>
          <cx:pt idx="16299">1</cx:pt>
          <cx:pt idx="16300">1</cx:pt>
          <cx:pt idx="16301">0</cx:pt>
          <cx:pt idx="16302">1</cx:pt>
          <cx:pt idx="16303">0</cx:pt>
          <cx:pt idx="16304">1</cx:pt>
          <cx:pt idx="16305">1</cx:pt>
          <cx:pt idx="16306">1</cx:pt>
          <cx:pt idx="16307">0</cx:pt>
          <cx:pt idx="16308">0</cx:pt>
          <cx:pt idx="16309">0</cx:pt>
          <cx:pt idx="16310">0</cx:pt>
          <cx:pt idx="16311">0</cx:pt>
          <cx:pt idx="16312">0</cx:pt>
          <cx:pt idx="16313">0</cx:pt>
          <cx:pt idx="16314">1</cx:pt>
          <cx:pt idx="16315">0</cx:pt>
          <cx:pt idx="16316">1</cx:pt>
          <cx:pt idx="16317">0</cx:pt>
          <cx:pt idx="16318">1</cx:pt>
          <cx:pt idx="16319">0</cx:pt>
          <cx:pt idx="16320">0</cx:pt>
          <cx:pt idx="16321">1</cx:pt>
          <cx:pt idx="16322">1</cx:pt>
          <cx:pt idx="16323">1</cx:pt>
          <cx:pt idx="16324">0</cx:pt>
          <cx:pt idx="16325">1</cx:pt>
          <cx:pt idx="16326">1</cx:pt>
          <cx:pt idx="16327">0</cx:pt>
          <cx:pt idx="16328">1</cx:pt>
          <cx:pt idx="16329">1</cx:pt>
          <cx:pt idx="16330">0</cx:pt>
          <cx:pt idx="16331">0</cx:pt>
          <cx:pt idx="16332">0</cx:pt>
          <cx:pt idx="16333">0</cx:pt>
          <cx:pt idx="16334">1</cx:pt>
          <cx:pt idx="16335">0</cx:pt>
          <cx:pt idx="16336">0</cx:pt>
          <cx:pt idx="16337">0</cx:pt>
          <cx:pt idx="16338">0</cx:pt>
          <cx:pt idx="16339">0</cx:pt>
          <cx:pt idx="16340">1</cx:pt>
          <cx:pt idx="16341">0</cx:pt>
          <cx:pt idx="16342">1</cx:pt>
          <cx:pt idx="16343">1</cx:pt>
          <cx:pt idx="16344">1</cx:pt>
          <cx:pt idx="16345">0</cx:pt>
          <cx:pt idx="16346">1</cx:pt>
          <cx:pt idx="16347">1</cx:pt>
          <cx:pt idx="16348">1</cx:pt>
          <cx:pt idx="16349">1</cx:pt>
          <cx:pt idx="16350">1</cx:pt>
          <cx:pt idx="16351">0</cx:pt>
          <cx:pt idx="16352">0</cx:pt>
          <cx:pt idx="16353">1</cx:pt>
          <cx:pt idx="16354">1</cx:pt>
          <cx:pt idx="16355">0</cx:pt>
          <cx:pt idx="16356">1</cx:pt>
          <cx:pt idx="16357">0</cx:pt>
          <cx:pt idx="16358">0</cx:pt>
          <cx:pt idx="16359">1</cx:pt>
          <cx:pt idx="16360">0</cx:pt>
          <cx:pt idx="16361">0</cx:pt>
          <cx:pt idx="16362">0</cx:pt>
          <cx:pt idx="16363">1</cx:pt>
          <cx:pt idx="16364">0</cx:pt>
          <cx:pt idx="16365">1</cx:pt>
          <cx:pt idx="16366">0</cx:pt>
          <cx:pt idx="16367">0</cx:pt>
          <cx:pt idx="16368">1</cx:pt>
          <cx:pt idx="16369">0</cx:pt>
          <cx:pt idx="16370">0</cx:pt>
          <cx:pt idx="16371">0</cx:pt>
          <cx:pt idx="16372">1</cx:pt>
          <cx:pt idx="16373">1</cx:pt>
          <cx:pt idx="16374">1</cx:pt>
          <cx:pt idx="16375">1</cx:pt>
          <cx:pt idx="16376">1</cx:pt>
          <cx:pt idx="16377">0</cx:pt>
          <cx:pt idx="16378">0</cx:pt>
          <cx:pt idx="16379">0</cx:pt>
          <cx:pt idx="16380">1</cx:pt>
          <cx:pt idx="16381">0</cx:pt>
          <cx:pt idx="16382">1</cx:pt>
          <cx:pt idx="16383">0</cx:pt>
          <cx:pt idx="16384">0</cx:pt>
          <cx:pt idx="16385">1</cx:pt>
          <cx:pt idx="16386">1</cx:pt>
          <cx:pt idx="16387">1</cx:pt>
          <cx:pt idx="16388">0</cx:pt>
          <cx:pt idx="16389">0</cx:pt>
          <cx:pt idx="16390">0</cx:pt>
          <cx:pt idx="16391">1</cx:pt>
          <cx:pt idx="16392">0</cx:pt>
          <cx:pt idx="16393">1</cx:pt>
          <cx:pt idx="16394">1</cx:pt>
          <cx:pt idx="16395">0</cx:pt>
          <cx:pt idx="16396">1</cx:pt>
          <cx:pt idx="16397">1</cx:pt>
          <cx:pt idx="16398">1</cx:pt>
          <cx:pt idx="16399">0</cx:pt>
          <cx:pt idx="16400">0</cx:pt>
          <cx:pt idx="16401">0</cx:pt>
          <cx:pt idx="16402">0</cx:pt>
          <cx:pt idx="16403">0</cx:pt>
          <cx:pt idx="16404">0</cx:pt>
          <cx:pt idx="16405">0</cx:pt>
          <cx:pt idx="16406">0</cx:pt>
          <cx:pt idx="16407">1</cx:pt>
          <cx:pt idx="16408">1</cx:pt>
          <cx:pt idx="16409">0</cx:pt>
          <cx:pt idx="16410">1</cx:pt>
          <cx:pt idx="16411">1</cx:pt>
          <cx:pt idx="16412">0</cx:pt>
          <cx:pt idx="16413">0</cx:pt>
          <cx:pt idx="16414">0</cx:pt>
          <cx:pt idx="16415">1</cx:pt>
          <cx:pt idx="16416">1</cx:pt>
          <cx:pt idx="16417">0</cx:pt>
          <cx:pt idx="16418">0</cx:pt>
          <cx:pt idx="16419">0</cx:pt>
          <cx:pt idx="16420">0</cx:pt>
          <cx:pt idx="16421">0</cx:pt>
          <cx:pt idx="16422">1</cx:pt>
          <cx:pt idx="16423">1</cx:pt>
          <cx:pt idx="16424">1</cx:pt>
          <cx:pt idx="16425">0</cx:pt>
          <cx:pt idx="16426">1</cx:pt>
          <cx:pt idx="16427">1</cx:pt>
          <cx:pt idx="16428">1</cx:pt>
          <cx:pt idx="16429">0</cx:pt>
          <cx:pt idx="16430">1</cx:pt>
          <cx:pt idx="16431">0</cx:pt>
          <cx:pt idx="16432">1</cx:pt>
          <cx:pt idx="16433">0</cx:pt>
          <cx:pt idx="16434">1</cx:pt>
          <cx:pt idx="16435">1</cx:pt>
          <cx:pt idx="16436">0</cx:pt>
          <cx:pt idx="16437">0</cx:pt>
          <cx:pt idx="16438">1</cx:pt>
          <cx:pt idx="16439">0</cx:pt>
          <cx:pt idx="16440">1</cx:pt>
          <cx:pt idx="16441">1</cx:pt>
          <cx:pt idx="16442">1</cx:pt>
          <cx:pt idx="16443">1</cx:pt>
          <cx:pt idx="16444">1</cx:pt>
          <cx:pt idx="16445">0</cx:pt>
          <cx:pt idx="16446">1</cx:pt>
          <cx:pt idx="16447">0</cx:pt>
          <cx:pt idx="16448">1</cx:pt>
          <cx:pt idx="16449">1</cx:pt>
          <cx:pt idx="16450">1</cx:pt>
          <cx:pt idx="16451">0</cx:pt>
          <cx:pt idx="16452">1</cx:pt>
          <cx:pt idx="16453">0</cx:pt>
          <cx:pt idx="16454">1</cx:pt>
          <cx:pt idx="16455">1</cx:pt>
          <cx:pt idx="16456">0</cx:pt>
          <cx:pt idx="16457">1</cx:pt>
          <cx:pt idx="16458">0</cx:pt>
          <cx:pt idx="16459">0</cx:pt>
          <cx:pt idx="16460">0</cx:pt>
          <cx:pt idx="16461">1</cx:pt>
          <cx:pt idx="16462">0</cx:pt>
          <cx:pt idx="16463">1</cx:pt>
          <cx:pt idx="16464">1</cx:pt>
          <cx:pt idx="16465">1</cx:pt>
          <cx:pt idx="16466">1</cx:pt>
          <cx:pt idx="16467">0</cx:pt>
          <cx:pt idx="16468">0</cx:pt>
          <cx:pt idx="16469">0</cx:pt>
          <cx:pt idx="16470">0</cx:pt>
          <cx:pt idx="16471">0</cx:pt>
          <cx:pt idx="16472">0</cx:pt>
          <cx:pt idx="16473">1</cx:pt>
          <cx:pt idx="16474">1</cx:pt>
          <cx:pt idx="16475">0</cx:pt>
          <cx:pt idx="16476">0</cx:pt>
          <cx:pt idx="16477">0</cx:pt>
          <cx:pt idx="16478">0</cx:pt>
          <cx:pt idx="16479">0</cx:pt>
          <cx:pt idx="16480">0</cx:pt>
          <cx:pt idx="16481">1</cx:pt>
          <cx:pt idx="16482">0</cx:pt>
          <cx:pt idx="16483">0</cx:pt>
          <cx:pt idx="16484">1</cx:pt>
          <cx:pt idx="16485">1</cx:pt>
          <cx:pt idx="16486">0</cx:pt>
          <cx:pt idx="16487">1</cx:pt>
          <cx:pt idx="16488">1</cx:pt>
          <cx:pt idx="16489">0</cx:pt>
          <cx:pt idx="16490">0</cx:pt>
          <cx:pt idx="16491">0</cx:pt>
          <cx:pt idx="16492">0</cx:pt>
          <cx:pt idx="16493">1</cx:pt>
          <cx:pt idx="16494">1</cx:pt>
          <cx:pt idx="16495">0</cx:pt>
          <cx:pt idx="16496">1</cx:pt>
          <cx:pt idx="16497">0</cx:pt>
          <cx:pt idx="16498">1</cx:pt>
          <cx:pt idx="16499">0</cx:pt>
          <cx:pt idx="16500">0</cx:pt>
          <cx:pt idx="16501">0</cx:pt>
          <cx:pt idx="16502">1</cx:pt>
          <cx:pt idx="16503">1</cx:pt>
          <cx:pt idx="16504">0</cx:pt>
          <cx:pt idx="16505">0</cx:pt>
          <cx:pt idx="16506">0</cx:pt>
          <cx:pt idx="16507">0</cx:pt>
          <cx:pt idx="16508">1</cx:pt>
          <cx:pt idx="16509">1</cx:pt>
          <cx:pt idx="16510">0</cx:pt>
          <cx:pt idx="16511">1</cx:pt>
          <cx:pt idx="16512">0</cx:pt>
          <cx:pt idx="16513">0</cx:pt>
          <cx:pt idx="16514">0</cx:pt>
          <cx:pt idx="16515">1</cx:pt>
          <cx:pt idx="16516">0</cx:pt>
          <cx:pt idx="16517">0</cx:pt>
          <cx:pt idx="16518">1</cx:pt>
          <cx:pt idx="16519">0</cx:pt>
          <cx:pt idx="16520">0</cx:pt>
          <cx:pt idx="16521">0</cx:pt>
          <cx:pt idx="16522">1</cx:pt>
          <cx:pt idx="16523">0</cx:pt>
          <cx:pt idx="16524">0</cx:pt>
          <cx:pt idx="16525">0</cx:pt>
          <cx:pt idx="16526">0</cx:pt>
          <cx:pt idx="16527">0</cx:pt>
          <cx:pt idx="16528">0</cx:pt>
          <cx:pt idx="16529">0</cx:pt>
          <cx:pt idx="16530">0</cx:pt>
          <cx:pt idx="16531">0</cx:pt>
          <cx:pt idx="16532">1</cx:pt>
          <cx:pt idx="16533">1</cx:pt>
          <cx:pt idx="16534">0</cx:pt>
          <cx:pt idx="16535">1</cx:pt>
          <cx:pt idx="16536">0</cx:pt>
          <cx:pt idx="16537">1</cx:pt>
          <cx:pt idx="16538">0</cx:pt>
          <cx:pt idx="16539">1</cx:pt>
          <cx:pt idx="16540">0</cx:pt>
          <cx:pt idx="16541">1</cx:pt>
          <cx:pt idx="16542">0</cx:pt>
          <cx:pt idx="16543">0</cx:pt>
          <cx:pt idx="16544">0</cx:pt>
          <cx:pt idx="16545">0</cx:pt>
          <cx:pt idx="16546">1</cx:pt>
          <cx:pt idx="16547">1</cx:pt>
          <cx:pt idx="16548">1</cx:pt>
          <cx:pt idx="16549">0</cx:pt>
          <cx:pt idx="16550">1</cx:pt>
          <cx:pt idx="16551">0</cx:pt>
          <cx:pt idx="16552">0</cx:pt>
          <cx:pt idx="16553">1</cx:pt>
          <cx:pt idx="16554">0</cx:pt>
          <cx:pt idx="16555">1</cx:pt>
          <cx:pt idx="16556">1</cx:pt>
          <cx:pt idx="16557">1</cx:pt>
          <cx:pt idx="16558">1</cx:pt>
          <cx:pt idx="16559">0</cx:pt>
          <cx:pt idx="16560">1</cx:pt>
          <cx:pt idx="16561">1</cx:pt>
          <cx:pt idx="16562">0</cx:pt>
          <cx:pt idx="16563">1</cx:pt>
          <cx:pt idx="16564">1</cx:pt>
          <cx:pt idx="16565">0</cx:pt>
          <cx:pt idx="16566">0</cx:pt>
          <cx:pt idx="16567">0</cx:pt>
          <cx:pt idx="16568">0</cx:pt>
          <cx:pt idx="16569">0</cx:pt>
          <cx:pt idx="16570">0</cx:pt>
          <cx:pt idx="16571">0</cx:pt>
          <cx:pt idx="16572">0</cx:pt>
          <cx:pt idx="16573">0</cx:pt>
          <cx:pt idx="16574">0</cx:pt>
          <cx:pt idx="16575">0</cx:pt>
          <cx:pt idx="16576">0</cx:pt>
          <cx:pt idx="16577">0</cx:pt>
          <cx:pt idx="16578">0</cx:pt>
          <cx:pt idx="16579">0</cx:pt>
          <cx:pt idx="16580">0</cx:pt>
          <cx:pt idx="16581">1</cx:pt>
          <cx:pt idx="16582">1</cx:pt>
          <cx:pt idx="16583">1</cx:pt>
          <cx:pt idx="16584">1</cx:pt>
          <cx:pt idx="16585">1</cx:pt>
          <cx:pt idx="16586">0</cx:pt>
          <cx:pt idx="16587">0</cx:pt>
          <cx:pt idx="16588">1</cx:pt>
          <cx:pt idx="16589">1</cx:pt>
          <cx:pt idx="16590">0</cx:pt>
          <cx:pt idx="16591">0</cx:pt>
          <cx:pt idx="16592">1</cx:pt>
          <cx:pt idx="16593">0</cx:pt>
          <cx:pt idx="16594">1</cx:pt>
          <cx:pt idx="16595">1</cx:pt>
          <cx:pt idx="16596">0</cx:pt>
          <cx:pt idx="16597">0</cx:pt>
          <cx:pt idx="16598">1</cx:pt>
          <cx:pt idx="16599">1</cx:pt>
          <cx:pt idx="16600">0</cx:pt>
          <cx:pt idx="16601">1</cx:pt>
          <cx:pt idx="16602">0</cx:pt>
          <cx:pt idx="16603">1</cx:pt>
          <cx:pt idx="16604">0</cx:pt>
          <cx:pt idx="16605">1</cx:pt>
          <cx:pt idx="16606">1</cx:pt>
          <cx:pt idx="16607">1</cx:pt>
          <cx:pt idx="16608">0</cx:pt>
          <cx:pt idx="16609">0</cx:pt>
          <cx:pt idx="16610">0</cx:pt>
          <cx:pt idx="16611">1</cx:pt>
          <cx:pt idx="16612">1</cx:pt>
          <cx:pt idx="16613">1</cx:pt>
          <cx:pt idx="16614">1</cx:pt>
          <cx:pt idx="16615">1</cx:pt>
          <cx:pt idx="16616">0</cx:pt>
          <cx:pt idx="16617">0</cx:pt>
          <cx:pt idx="16618">1</cx:pt>
          <cx:pt idx="16619">1</cx:pt>
          <cx:pt idx="16620">0</cx:pt>
          <cx:pt idx="16621">0</cx:pt>
          <cx:pt idx="16622">1</cx:pt>
          <cx:pt idx="16623">1</cx:pt>
          <cx:pt idx="16624">1</cx:pt>
          <cx:pt idx="16625">0</cx:pt>
          <cx:pt idx="16626">0</cx:pt>
          <cx:pt idx="16627">0</cx:pt>
          <cx:pt idx="16628">1</cx:pt>
          <cx:pt idx="16629">0</cx:pt>
          <cx:pt idx="16630">1</cx:pt>
          <cx:pt idx="16631">1</cx:pt>
          <cx:pt idx="16632">1</cx:pt>
          <cx:pt idx="16633">0</cx:pt>
          <cx:pt idx="16634">0</cx:pt>
          <cx:pt idx="16635">0</cx:pt>
          <cx:pt idx="16636">0</cx:pt>
          <cx:pt idx="16637">0</cx:pt>
          <cx:pt idx="16638">0</cx:pt>
          <cx:pt idx="16639">0</cx:pt>
          <cx:pt idx="16640">0</cx:pt>
          <cx:pt idx="16641">1</cx:pt>
          <cx:pt idx="16642">1</cx:pt>
          <cx:pt idx="16643">1</cx:pt>
          <cx:pt idx="16644">0</cx:pt>
          <cx:pt idx="16645">0</cx:pt>
          <cx:pt idx="16646">0</cx:pt>
          <cx:pt idx="16647">0</cx:pt>
          <cx:pt idx="16648">1</cx:pt>
          <cx:pt idx="16649">0</cx:pt>
          <cx:pt idx="16650">1</cx:pt>
          <cx:pt idx="16651">1</cx:pt>
          <cx:pt idx="16652">0</cx:pt>
          <cx:pt idx="16653">0</cx:pt>
          <cx:pt idx="16654">0</cx:pt>
          <cx:pt idx="16655">1</cx:pt>
          <cx:pt idx="16656">1</cx:pt>
          <cx:pt idx="16657">1</cx:pt>
          <cx:pt idx="16658">1</cx:pt>
          <cx:pt idx="16659">0</cx:pt>
          <cx:pt idx="16660">0</cx:pt>
          <cx:pt idx="16661">0</cx:pt>
          <cx:pt idx="16662">0</cx:pt>
          <cx:pt idx="16663">1</cx:pt>
          <cx:pt idx="16664">1</cx:pt>
          <cx:pt idx="16665">1</cx:pt>
          <cx:pt idx="16666">1</cx:pt>
          <cx:pt idx="16667">0</cx:pt>
          <cx:pt idx="16668">1</cx:pt>
          <cx:pt idx="16669">1</cx:pt>
          <cx:pt idx="16670">0</cx:pt>
          <cx:pt idx="16671">0</cx:pt>
          <cx:pt idx="16672">0</cx:pt>
          <cx:pt idx="16673">0</cx:pt>
          <cx:pt idx="16674">1</cx:pt>
          <cx:pt idx="16675">1</cx:pt>
          <cx:pt idx="16676">0</cx:pt>
          <cx:pt idx="16677">0</cx:pt>
          <cx:pt idx="16678">1</cx:pt>
          <cx:pt idx="16679">0</cx:pt>
          <cx:pt idx="16680">0</cx:pt>
          <cx:pt idx="16681">1</cx:pt>
          <cx:pt idx="16682">0</cx:pt>
          <cx:pt idx="16683">1</cx:pt>
          <cx:pt idx="16684">1</cx:pt>
          <cx:pt idx="16685">1</cx:pt>
          <cx:pt idx="16686">1</cx:pt>
          <cx:pt idx="16687">1</cx:pt>
          <cx:pt idx="16688">0</cx:pt>
          <cx:pt idx="16689">1</cx:pt>
          <cx:pt idx="16690">0</cx:pt>
          <cx:pt idx="16691">1</cx:pt>
          <cx:pt idx="16692">0</cx:pt>
          <cx:pt idx="16693">1</cx:pt>
          <cx:pt idx="16694">0</cx:pt>
          <cx:pt idx="16695">0</cx:pt>
          <cx:pt idx="16696">1</cx:pt>
          <cx:pt idx="16697">1</cx:pt>
          <cx:pt idx="16698">0</cx:pt>
          <cx:pt idx="16699">0</cx:pt>
          <cx:pt idx="16700">0</cx:pt>
          <cx:pt idx="16701">1</cx:pt>
          <cx:pt idx="16702">1</cx:pt>
          <cx:pt idx="16703">1</cx:pt>
          <cx:pt idx="16704">1</cx:pt>
          <cx:pt idx="16705">0</cx:pt>
          <cx:pt idx="16706">0</cx:pt>
          <cx:pt idx="16707">1</cx:pt>
          <cx:pt idx="16708">1</cx:pt>
          <cx:pt idx="16709">0</cx:pt>
          <cx:pt idx="16710">1</cx:pt>
          <cx:pt idx="16711">0</cx:pt>
          <cx:pt idx="16712">1</cx:pt>
          <cx:pt idx="16713">0</cx:pt>
          <cx:pt idx="16714">0</cx:pt>
          <cx:pt idx="16715">0</cx:pt>
          <cx:pt idx="16716">0</cx:pt>
          <cx:pt idx="16717">0</cx:pt>
          <cx:pt idx="16718">1</cx:pt>
          <cx:pt idx="16719">0</cx:pt>
          <cx:pt idx="16720">1</cx:pt>
          <cx:pt idx="16721">1</cx:pt>
          <cx:pt idx="16722">0</cx:pt>
          <cx:pt idx="16723">1</cx:pt>
          <cx:pt idx="16724">0</cx:pt>
          <cx:pt idx="16725">1</cx:pt>
          <cx:pt idx="16726">0</cx:pt>
          <cx:pt idx="16727">1</cx:pt>
          <cx:pt idx="16728">1</cx:pt>
          <cx:pt idx="16729">1</cx:pt>
          <cx:pt idx="16730">0</cx:pt>
          <cx:pt idx="16731">1</cx:pt>
          <cx:pt idx="16732">1</cx:pt>
          <cx:pt idx="16733">0</cx:pt>
          <cx:pt idx="16734">1</cx:pt>
          <cx:pt idx="16735">1</cx:pt>
          <cx:pt idx="16736">0</cx:pt>
          <cx:pt idx="16737">0</cx:pt>
          <cx:pt idx="16738">0</cx:pt>
          <cx:pt idx="16739">1</cx:pt>
          <cx:pt idx="16740">1</cx:pt>
          <cx:pt idx="16741">1</cx:pt>
          <cx:pt idx="16742">0</cx:pt>
          <cx:pt idx="16743">1</cx:pt>
          <cx:pt idx="16744">0</cx:pt>
          <cx:pt idx="16745">0</cx:pt>
          <cx:pt idx="16746">1</cx:pt>
          <cx:pt idx="16747">1</cx:pt>
          <cx:pt idx="16748">1</cx:pt>
          <cx:pt idx="16749">0</cx:pt>
          <cx:pt idx="16750">0</cx:pt>
          <cx:pt idx="16751">0</cx:pt>
          <cx:pt idx="16752">1</cx:pt>
          <cx:pt idx="16753">1</cx:pt>
          <cx:pt idx="16754">0</cx:pt>
          <cx:pt idx="16755">0</cx:pt>
          <cx:pt idx="16756">1</cx:pt>
          <cx:pt idx="16757">0</cx:pt>
          <cx:pt idx="16758">0</cx:pt>
          <cx:pt idx="16759">0</cx:pt>
          <cx:pt idx="16760">0</cx:pt>
          <cx:pt idx="16761">1</cx:pt>
          <cx:pt idx="16762">1</cx:pt>
          <cx:pt idx="16763">1</cx:pt>
          <cx:pt idx="16764">0</cx:pt>
          <cx:pt idx="16765">1</cx:pt>
          <cx:pt idx="16766">0</cx:pt>
          <cx:pt idx="16767">1</cx:pt>
          <cx:pt idx="16768">0</cx:pt>
          <cx:pt idx="16769">0</cx:pt>
          <cx:pt idx="16770">0</cx:pt>
          <cx:pt idx="16771">0</cx:pt>
          <cx:pt idx="16772">1</cx:pt>
          <cx:pt idx="16773">1</cx:pt>
          <cx:pt idx="16774">1</cx:pt>
          <cx:pt idx="16775">1</cx:pt>
          <cx:pt idx="16776">1</cx:pt>
          <cx:pt idx="16777">0</cx:pt>
          <cx:pt idx="16778">1</cx:pt>
          <cx:pt idx="16779">1</cx:pt>
          <cx:pt idx="16780">1</cx:pt>
          <cx:pt idx="16781">0</cx:pt>
          <cx:pt idx="16782">0</cx:pt>
          <cx:pt idx="16783">1</cx:pt>
          <cx:pt idx="16784">1</cx:pt>
          <cx:pt idx="16785">0</cx:pt>
          <cx:pt idx="16786">0</cx:pt>
          <cx:pt idx="16787">1</cx:pt>
          <cx:pt idx="16788">0</cx:pt>
          <cx:pt idx="16789">0</cx:pt>
          <cx:pt idx="16790">1</cx:pt>
          <cx:pt idx="16791">0</cx:pt>
          <cx:pt idx="16792">0</cx:pt>
          <cx:pt idx="16793">0</cx:pt>
          <cx:pt idx="16794">1</cx:pt>
          <cx:pt idx="16795">1</cx:pt>
          <cx:pt idx="16796">0</cx:pt>
          <cx:pt idx="16797">1</cx:pt>
          <cx:pt idx="16798">1</cx:pt>
          <cx:pt idx="16799">0</cx:pt>
          <cx:pt idx="16800">0</cx:pt>
          <cx:pt idx="16801">0</cx:pt>
          <cx:pt idx="16802">0</cx:pt>
          <cx:pt idx="16803">1</cx:pt>
          <cx:pt idx="16804">0</cx:pt>
          <cx:pt idx="16805">0</cx:pt>
          <cx:pt idx="16806">1</cx:pt>
          <cx:pt idx="16807">1</cx:pt>
          <cx:pt idx="16808">0</cx:pt>
          <cx:pt idx="16809">0</cx:pt>
          <cx:pt idx="16810">0</cx:pt>
          <cx:pt idx="16811">1</cx:pt>
          <cx:pt idx="16812">1</cx:pt>
          <cx:pt idx="16813">0</cx:pt>
          <cx:pt idx="16814">0</cx:pt>
          <cx:pt idx="16815">0</cx:pt>
          <cx:pt idx="16816">1</cx:pt>
          <cx:pt idx="16817">1</cx:pt>
          <cx:pt idx="16818">0</cx:pt>
          <cx:pt idx="16819">1</cx:pt>
          <cx:pt idx="16820">0</cx:pt>
          <cx:pt idx="16821">0</cx:pt>
          <cx:pt idx="16822">1</cx:pt>
          <cx:pt idx="16823">1</cx:pt>
          <cx:pt idx="16824">0</cx:pt>
          <cx:pt idx="16825">1</cx:pt>
          <cx:pt idx="16826">1</cx:pt>
          <cx:pt idx="16827">1</cx:pt>
          <cx:pt idx="16828">0</cx:pt>
          <cx:pt idx="16829">0</cx:pt>
          <cx:pt idx="16830">1</cx:pt>
          <cx:pt idx="16831">0</cx:pt>
          <cx:pt idx="16832">0</cx:pt>
          <cx:pt idx="16833">1</cx:pt>
          <cx:pt idx="16834">0</cx:pt>
          <cx:pt idx="16835">0</cx:pt>
          <cx:pt idx="16836">0</cx:pt>
          <cx:pt idx="16837">0</cx:pt>
          <cx:pt idx="16838">0</cx:pt>
          <cx:pt idx="16839">0</cx:pt>
          <cx:pt idx="16840">0</cx:pt>
          <cx:pt idx="16841">1</cx:pt>
          <cx:pt idx="16842">1</cx:pt>
          <cx:pt idx="16843">0</cx:pt>
          <cx:pt idx="16844">0</cx:pt>
          <cx:pt idx="16845">0</cx:pt>
          <cx:pt idx="16846">0</cx:pt>
          <cx:pt idx="16847">1</cx:pt>
          <cx:pt idx="16848">0</cx:pt>
          <cx:pt idx="16849">0</cx:pt>
          <cx:pt idx="16850">1</cx:pt>
          <cx:pt idx="16851">1</cx:pt>
          <cx:pt idx="16852">1</cx:pt>
          <cx:pt idx="16853">1</cx:pt>
          <cx:pt idx="16854">1</cx:pt>
          <cx:pt idx="16855">1</cx:pt>
          <cx:pt idx="16856">0</cx:pt>
          <cx:pt idx="16857">1</cx:pt>
          <cx:pt idx="16858">1</cx:pt>
          <cx:pt idx="16859">1</cx:pt>
          <cx:pt idx="16860">0</cx:pt>
          <cx:pt idx="16861">1</cx:pt>
          <cx:pt idx="16862">0</cx:pt>
          <cx:pt idx="16863">0</cx:pt>
          <cx:pt idx="16864">0</cx:pt>
          <cx:pt idx="16865">0</cx:pt>
          <cx:pt idx="16866">0</cx:pt>
          <cx:pt idx="16867">0</cx:pt>
          <cx:pt idx="16868">0</cx:pt>
          <cx:pt idx="16869">1</cx:pt>
          <cx:pt idx="16870">1</cx:pt>
          <cx:pt idx="16871">1</cx:pt>
          <cx:pt idx="16872">1</cx:pt>
          <cx:pt idx="16873">0</cx:pt>
          <cx:pt idx="16874">0</cx:pt>
          <cx:pt idx="16875">0</cx:pt>
          <cx:pt idx="16876">0</cx:pt>
          <cx:pt idx="16877">0</cx:pt>
          <cx:pt idx="16878">1</cx:pt>
          <cx:pt idx="16879">0</cx:pt>
          <cx:pt idx="16880">1</cx:pt>
          <cx:pt idx="16881">1</cx:pt>
          <cx:pt idx="16882">0</cx:pt>
          <cx:pt idx="16883">1</cx:pt>
          <cx:pt idx="16884">0</cx:pt>
          <cx:pt idx="16885">0</cx:pt>
          <cx:pt idx="16886">0</cx:pt>
          <cx:pt idx="16887">0</cx:pt>
          <cx:pt idx="16888">0</cx:pt>
          <cx:pt idx="16889">1</cx:pt>
          <cx:pt idx="16890">1</cx:pt>
          <cx:pt idx="16891">1</cx:pt>
          <cx:pt idx="16892">1</cx:pt>
          <cx:pt idx="16893">0</cx:pt>
          <cx:pt idx="16894">1</cx:pt>
          <cx:pt idx="16895">1</cx:pt>
          <cx:pt idx="16896">1</cx:pt>
          <cx:pt idx="16897">1</cx:pt>
          <cx:pt idx="16898">0</cx:pt>
          <cx:pt idx="16899">0</cx:pt>
          <cx:pt idx="16900">0</cx:pt>
          <cx:pt idx="16901">1</cx:pt>
          <cx:pt idx="16902">1</cx:pt>
          <cx:pt idx="16903">1</cx:pt>
          <cx:pt idx="16904">0</cx:pt>
          <cx:pt idx="16905">0</cx:pt>
          <cx:pt idx="16906">0</cx:pt>
          <cx:pt idx="16907">1</cx:pt>
          <cx:pt idx="16908">1</cx:pt>
          <cx:pt idx="16909">1</cx:pt>
          <cx:pt idx="16910">0</cx:pt>
          <cx:pt idx="16911">0</cx:pt>
          <cx:pt idx="16912">0</cx:pt>
          <cx:pt idx="16913">1</cx:pt>
          <cx:pt idx="16914">0</cx:pt>
          <cx:pt idx="16915">0</cx:pt>
          <cx:pt idx="16916">0</cx:pt>
          <cx:pt idx="16917">0</cx:pt>
          <cx:pt idx="16918">0</cx:pt>
          <cx:pt idx="16919">0</cx:pt>
          <cx:pt idx="16920">0</cx:pt>
          <cx:pt idx="16921">1</cx:pt>
          <cx:pt idx="16922">0</cx:pt>
          <cx:pt idx="16923">1</cx:pt>
          <cx:pt idx="16924">1</cx:pt>
          <cx:pt idx="16925">1</cx:pt>
          <cx:pt idx="16926">1</cx:pt>
          <cx:pt idx="16927">1</cx:pt>
          <cx:pt idx="16928">1</cx:pt>
          <cx:pt idx="16929">1</cx:pt>
          <cx:pt idx="16930">0</cx:pt>
          <cx:pt idx="16931">1</cx:pt>
          <cx:pt idx="16932">0</cx:pt>
          <cx:pt idx="16933">1</cx:pt>
          <cx:pt idx="16934">0</cx:pt>
          <cx:pt idx="16935">1</cx:pt>
          <cx:pt idx="16936">1</cx:pt>
          <cx:pt idx="16937">1</cx:pt>
          <cx:pt idx="16938">1</cx:pt>
          <cx:pt idx="16939">0</cx:pt>
          <cx:pt idx="16940">0</cx:pt>
          <cx:pt idx="16941">0</cx:pt>
          <cx:pt idx="16942">0</cx:pt>
          <cx:pt idx="16943">1</cx:pt>
          <cx:pt idx="16944">0</cx:pt>
          <cx:pt idx="16945">0</cx:pt>
          <cx:pt idx="16946">0</cx:pt>
          <cx:pt idx="16947">0</cx:pt>
          <cx:pt idx="16948">1</cx:pt>
          <cx:pt idx="16949">0</cx:pt>
          <cx:pt idx="16950">1</cx:pt>
          <cx:pt idx="16951">0</cx:pt>
          <cx:pt idx="16952">1</cx:pt>
          <cx:pt idx="16953">1</cx:pt>
          <cx:pt idx="16954">0</cx:pt>
          <cx:pt idx="16955">0</cx:pt>
          <cx:pt idx="16956">0</cx:pt>
          <cx:pt idx="16957">1</cx:pt>
          <cx:pt idx="16958">0</cx:pt>
          <cx:pt idx="16959">0</cx:pt>
          <cx:pt idx="16960">0</cx:pt>
          <cx:pt idx="16961">1</cx:pt>
          <cx:pt idx="16962">1</cx:pt>
          <cx:pt idx="16963">1</cx:pt>
          <cx:pt idx="16964">0</cx:pt>
          <cx:pt idx="16965">0</cx:pt>
          <cx:pt idx="16966">1</cx:pt>
          <cx:pt idx="16967">0</cx:pt>
          <cx:pt idx="16968">1</cx:pt>
          <cx:pt idx="16969">1</cx:pt>
          <cx:pt idx="16970">1</cx:pt>
          <cx:pt idx="16971">0</cx:pt>
          <cx:pt idx="16972">0</cx:pt>
          <cx:pt idx="16973">0</cx:pt>
          <cx:pt idx="16974">0</cx:pt>
          <cx:pt idx="16975">1</cx:pt>
          <cx:pt idx="16976">0</cx:pt>
          <cx:pt idx="16977">1</cx:pt>
          <cx:pt idx="16978">0</cx:pt>
          <cx:pt idx="16979">1</cx:pt>
          <cx:pt idx="16980">0</cx:pt>
          <cx:pt idx="16981">1</cx:pt>
          <cx:pt idx="16982">0</cx:pt>
          <cx:pt idx="16983">0</cx:pt>
          <cx:pt idx="16984">0</cx:pt>
          <cx:pt idx="16985">0</cx:pt>
          <cx:pt idx="16986">1</cx:pt>
          <cx:pt idx="16987">0</cx:pt>
          <cx:pt idx="16988">0</cx:pt>
          <cx:pt idx="16989">0</cx:pt>
          <cx:pt idx="16990">0</cx:pt>
          <cx:pt idx="16991">0</cx:pt>
          <cx:pt idx="16992">0</cx:pt>
          <cx:pt idx="16993">0</cx:pt>
          <cx:pt idx="16994">1</cx:pt>
          <cx:pt idx="16995">0</cx:pt>
          <cx:pt idx="16996">0</cx:pt>
          <cx:pt idx="16997">0</cx:pt>
          <cx:pt idx="16998">0</cx:pt>
          <cx:pt idx="16999">0</cx:pt>
          <cx:pt idx="17000">0</cx:pt>
          <cx:pt idx="17001">0</cx:pt>
          <cx:pt idx="17002">1</cx:pt>
          <cx:pt idx="17003">0</cx:pt>
          <cx:pt idx="17004">0</cx:pt>
          <cx:pt idx="17005">0</cx:pt>
          <cx:pt idx="17006">0</cx:pt>
          <cx:pt idx="17007">0</cx:pt>
          <cx:pt idx="17008">0</cx:pt>
          <cx:pt idx="17009">0</cx:pt>
          <cx:pt idx="17010">0</cx:pt>
          <cx:pt idx="17011">0</cx:pt>
          <cx:pt idx="17012">1</cx:pt>
          <cx:pt idx="17013">1</cx:pt>
          <cx:pt idx="17014">1</cx:pt>
          <cx:pt idx="17015">0</cx:pt>
          <cx:pt idx="17016">0</cx:pt>
          <cx:pt idx="17017">1</cx:pt>
          <cx:pt idx="17018">0</cx:pt>
          <cx:pt idx="17019">0</cx:pt>
          <cx:pt idx="17020">0</cx:pt>
          <cx:pt idx="17021">0</cx:pt>
          <cx:pt idx="17022">0</cx:pt>
          <cx:pt idx="17023">0</cx:pt>
          <cx:pt idx="17024">1</cx:pt>
          <cx:pt idx="17025">0</cx:pt>
          <cx:pt idx="17026">0</cx:pt>
          <cx:pt idx="17027">0</cx:pt>
          <cx:pt idx="17028">1</cx:pt>
          <cx:pt idx="17029">0</cx:pt>
          <cx:pt idx="17030">0</cx:pt>
          <cx:pt idx="17031">0</cx:pt>
          <cx:pt idx="17032">0</cx:pt>
          <cx:pt idx="17033">1</cx:pt>
          <cx:pt idx="17034">0</cx:pt>
          <cx:pt idx="17035">0</cx:pt>
          <cx:pt idx="17036">1</cx:pt>
          <cx:pt idx="17037">1</cx:pt>
          <cx:pt idx="17038">0</cx:pt>
          <cx:pt idx="17039">1</cx:pt>
          <cx:pt idx="17040">1</cx:pt>
          <cx:pt idx="17041">0</cx:pt>
          <cx:pt idx="17042">0</cx:pt>
          <cx:pt idx="17043">0</cx:pt>
          <cx:pt idx="17044">0</cx:pt>
          <cx:pt idx="17045">0</cx:pt>
          <cx:pt idx="17046">1</cx:pt>
          <cx:pt idx="17047">0</cx:pt>
          <cx:pt idx="17048">1</cx:pt>
          <cx:pt idx="17049">1</cx:pt>
          <cx:pt idx="17050">0</cx:pt>
          <cx:pt idx="17051">1</cx:pt>
          <cx:pt idx="17052">1</cx:pt>
          <cx:pt idx="17053">0</cx:pt>
          <cx:pt idx="17054">1</cx:pt>
          <cx:pt idx="17055">1</cx:pt>
          <cx:pt idx="17056">1</cx:pt>
          <cx:pt idx="17057">1</cx:pt>
          <cx:pt idx="17058">1</cx:pt>
          <cx:pt idx="17059">0</cx:pt>
          <cx:pt idx="17060">0</cx:pt>
          <cx:pt idx="17061">0</cx:pt>
          <cx:pt idx="17062">1</cx:pt>
          <cx:pt idx="17063">1</cx:pt>
          <cx:pt idx="17064">0</cx:pt>
          <cx:pt idx="17065">0</cx:pt>
          <cx:pt idx="17066">1</cx:pt>
          <cx:pt idx="17067">0</cx:pt>
          <cx:pt idx="17068">1</cx:pt>
          <cx:pt idx="17069">0</cx:pt>
          <cx:pt idx="17070">0</cx:pt>
          <cx:pt idx="17071">1</cx:pt>
          <cx:pt idx="17072">0</cx:pt>
          <cx:pt idx="17073">1</cx:pt>
          <cx:pt idx="17074">1</cx:pt>
          <cx:pt idx="17075">1</cx:pt>
          <cx:pt idx="17076">1</cx:pt>
          <cx:pt idx="17077">0</cx:pt>
          <cx:pt idx="17078">0</cx:pt>
          <cx:pt idx="17079">1</cx:pt>
          <cx:pt idx="17080">0</cx:pt>
          <cx:pt idx="17081">0</cx:pt>
          <cx:pt idx="17082">0</cx:pt>
          <cx:pt idx="17083">1</cx:pt>
          <cx:pt idx="17084">0</cx:pt>
          <cx:pt idx="17085">0</cx:pt>
          <cx:pt idx="17086">0</cx:pt>
          <cx:pt idx="17087">0</cx:pt>
          <cx:pt idx="17088">1</cx:pt>
          <cx:pt idx="17089">1</cx:pt>
          <cx:pt idx="17090">0</cx:pt>
          <cx:pt idx="17091">0</cx:pt>
          <cx:pt idx="17092">0</cx:pt>
          <cx:pt idx="17093">0</cx:pt>
          <cx:pt idx="17094">0</cx:pt>
          <cx:pt idx="17095">0</cx:pt>
          <cx:pt idx="17096">1</cx:pt>
          <cx:pt idx="17097">0</cx:pt>
          <cx:pt idx="17098">1</cx:pt>
          <cx:pt idx="17099">1</cx:pt>
          <cx:pt idx="17100">1</cx:pt>
          <cx:pt idx="17101">1</cx:pt>
          <cx:pt idx="17102">0</cx:pt>
          <cx:pt idx="17103">0</cx:pt>
          <cx:pt idx="17104">0</cx:pt>
          <cx:pt idx="17105">0</cx:pt>
          <cx:pt idx="17106">1</cx:pt>
          <cx:pt idx="17107">0</cx:pt>
          <cx:pt idx="17108">1</cx:pt>
          <cx:pt idx="17109">0</cx:pt>
          <cx:pt idx="17110">1</cx:pt>
          <cx:pt idx="17111">1</cx:pt>
          <cx:pt idx="17112">0</cx:pt>
          <cx:pt idx="17113">1</cx:pt>
          <cx:pt idx="17114">1</cx:pt>
          <cx:pt idx="17115">1</cx:pt>
          <cx:pt idx="17116">1</cx:pt>
          <cx:pt idx="17117">0</cx:pt>
          <cx:pt idx="17118">0</cx:pt>
          <cx:pt idx="17119">0</cx:pt>
          <cx:pt idx="17120">0</cx:pt>
          <cx:pt idx="17121">1</cx:pt>
          <cx:pt idx="17122">0</cx:pt>
          <cx:pt idx="17123">0</cx:pt>
          <cx:pt idx="17124">0</cx:pt>
          <cx:pt idx="17125">0</cx:pt>
          <cx:pt idx="17126">0</cx:pt>
          <cx:pt idx="17127">1</cx:pt>
          <cx:pt idx="17128">1</cx:pt>
          <cx:pt idx="17129">0</cx:pt>
          <cx:pt idx="17130">0</cx:pt>
          <cx:pt idx="17131">0</cx:pt>
          <cx:pt idx="17132">0</cx:pt>
          <cx:pt idx="17133">0</cx:pt>
          <cx:pt idx="17134">1</cx:pt>
          <cx:pt idx="17135">0</cx:pt>
          <cx:pt idx="17136">1</cx:pt>
          <cx:pt idx="17137">0</cx:pt>
          <cx:pt idx="17138">1</cx:pt>
          <cx:pt idx="17139">1</cx:pt>
          <cx:pt idx="17140">0</cx:pt>
          <cx:pt idx="17141">0</cx:pt>
          <cx:pt idx="17142">0</cx:pt>
          <cx:pt idx="17143">0</cx:pt>
          <cx:pt idx="17144">0</cx:pt>
          <cx:pt idx="17145">1</cx:pt>
          <cx:pt idx="17146">0</cx:pt>
          <cx:pt idx="17147">1</cx:pt>
          <cx:pt idx="17148">0</cx:pt>
          <cx:pt idx="17149">1</cx:pt>
          <cx:pt idx="17150">0</cx:pt>
          <cx:pt idx="17151">1</cx:pt>
          <cx:pt idx="17152">1</cx:pt>
          <cx:pt idx="17153">0</cx:pt>
          <cx:pt idx="17154">0</cx:pt>
          <cx:pt idx="17155">0</cx:pt>
          <cx:pt idx="17156">0</cx:pt>
          <cx:pt idx="17157">1</cx:pt>
          <cx:pt idx="17158">1</cx:pt>
          <cx:pt idx="17159">0</cx:pt>
          <cx:pt idx="17160">1</cx:pt>
          <cx:pt idx="17161">1</cx:pt>
          <cx:pt idx="17162">1</cx:pt>
          <cx:pt idx="17163">0</cx:pt>
          <cx:pt idx="17164">0</cx:pt>
          <cx:pt idx="17165">0</cx:pt>
          <cx:pt idx="17166">1</cx:pt>
          <cx:pt idx="17167">0</cx:pt>
          <cx:pt idx="17168">0</cx:pt>
          <cx:pt idx="17169">1</cx:pt>
          <cx:pt idx="17170">1</cx:pt>
          <cx:pt idx="17171">1</cx:pt>
          <cx:pt idx="17172">0</cx:pt>
          <cx:pt idx="17173">0</cx:pt>
          <cx:pt idx="17174">1</cx:pt>
          <cx:pt idx="17175">1</cx:pt>
          <cx:pt idx="17176">0</cx:pt>
          <cx:pt idx="17177">1</cx:pt>
          <cx:pt idx="17178">1</cx:pt>
          <cx:pt idx="17179">0</cx:pt>
          <cx:pt idx="17180">0</cx:pt>
          <cx:pt idx="17181">0</cx:pt>
          <cx:pt idx="17182">1</cx:pt>
          <cx:pt idx="17183">1</cx:pt>
          <cx:pt idx="17184">0</cx:pt>
          <cx:pt idx="17185">0</cx:pt>
          <cx:pt idx="17186">0</cx:pt>
          <cx:pt idx="17187">1</cx:pt>
          <cx:pt idx="17188">0</cx:pt>
          <cx:pt idx="17189">1</cx:pt>
          <cx:pt idx="17190">0</cx:pt>
          <cx:pt idx="17191">1</cx:pt>
          <cx:pt idx="17192">1</cx:pt>
          <cx:pt idx="17193">1</cx:pt>
          <cx:pt idx="17194">1</cx:pt>
          <cx:pt idx="17195">0</cx:pt>
          <cx:pt idx="17196">1</cx:pt>
          <cx:pt idx="17197">1</cx:pt>
          <cx:pt idx="17198">1</cx:pt>
          <cx:pt idx="17199">0</cx:pt>
          <cx:pt idx="17200">1</cx:pt>
          <cx:pt idx="17201">1</cx:pt>
          <cx:pt idx="17202">1</cx:pt>
          <cx:pt idx="17203">1</cx:pt>
          <cx:pt idx="17204">1</cx:pt>
          <cx:pt idx="17205">0</cx:pt>
          <cx:pt idx="17206">0</cx:pt>
          <cx:pt idx="17207">0</cx:pt>
          <cx:pt idx="17208">0</cx:pt>
          <cx:pt idx="17209">1</cx:pt>
          <cx:pt idx="17210">0</cx:pt>
          <cx:pt idx="17211">1</cx:pt>
          <cx:pt idx="17212">0</cx:pt>
          <cx:pt idx="17213">0</cx:pt>
          <cx:pt idx="17214">1</cx:pt>
          <cx:pt idx="17215">0</cx:pt>
          <cx:pt idx="17216">0</cx:pt>
          <cx:pt idx="17217">1</cx:pt>
          <cx:pt idx="17218">0</cx:pt>
          <cx:pt idx="17219">1</cx:pt>
          <cx:pt idx="17220">0</cx:pt>
          <cx:pt idx="17221">0</cx:pt>
          <cx:pt idx="17222">1</cx:pt>
          <cx:pt idx="17223">0</cx:pt>
          <cx:pt idx="17224">1</cx:pt>
          <cx:pt idx="17225">0</cx:pt>
          <cx:pt idx="17226">1</cx:pt>
          <cx:pt idx="17227">1</cx:pt>
          <cx:pt idx="17228">0</cx:pt>
          <cx:pt idx="17229">0</cx:pt>
          <cx:pt idx="17230">0</cx:pt>
          <cx:pt idx="17231">0</cx:pt>
          <cx:pt idx="17232">1</cx:pt>
          <cx:pt idx="17233">0</cx:pt>
          <cx:pt idx="17234">1</cx:pt>
          <cx:pt idx="17235">1</cx:pt>
          <cx:pt idx="17236">0</cx:pt>
          <cx:pt idx="17237">0</cx:pt>
          <cx:pt idx="17238">0</cx:pt>
          <cx:pt idx="17239">1</cx:pt>
          <cx:pt idx="17240">0</cx:pt>
          <cx:pt idx="17241">0</cx:pt>
          <cx:pt idx="17242">0</cx:pt>
          <cx:pt idx="17243">0</cx:pt>
          <cx:pt idx="17244">1</cx:pt>
          <cx:pt idx="17245">0</cx:pt>
          <cx:pt idx="17246">0</cx:pt>
          <cx:pt idx="17247">0</cx:pt>
          <cx:pt idx="17248">0</cx:pt>
          <cx:pt idx="17249">0</cx:pt>
          <cx:pt idx="17250">1</cx:pt>
          <cx:pt idx="17251">1</cx:pt>
          <cx:pt idx="17252">0</cx:pt>
          <cx:pt idx="17253">0</cx:pt>
          <cx:pt idx="17254">0</cx:pt>
          <cx:pt idx="17255">1</cx:pt>
          <cx:pt idx="17256">0</cx:pt>
          <cx:pt idx="17257">1</cx:pt>
          <cx:pt idx="17258">1</cx:pt>
          <cx:pt idx="17259">0</cx:pt>
          <cx:pt idx="17260">0</cx:pt>
          <cx:pt idx="17261">0</cx:pt>
          <cx:pt idx="17262">0</cx:pt>
          <cx:pt idx="17263">0</cx:pt>
          <cx:pt idx="17264">0</cx:pt>
          <cx:pt idx="17265">1</cx:pt>
          <cx:pt idx="17266">0</cx:pt>
          <cx:pt idx="17267">1</cx:pt>
          <cx:pt idx="17268">1</cx:pt>
          <cx:pt idx="17269">1</cx:pt>
          <cx:pt idx="17270">0</cx:pt>
          <cx:pt idx="17271">0</cx:pt>
          <cx:pt idx="17272">0</cx:pt>
          <cx:pt idx="17273">0</cx:pt>
          <cx:pt idx="17274">0</cx:pt>
          <cx:pt idx="17275">1</cx:pt>
          <cx:pt idx="17276">0</cx:pt>
          <cx:pt idx="17277">0</cx:pt>
          <cx:pt idx="17278">1</cx:pt>
          <cx:pt idx="17279">1</cx:pt>
          <cx:pt idx="17280">0</cx:pt>
          <cx:pt idx="17281">0</cx:pt>
          <cx:pt idx="17282">0</cx:pt>
          <cx:pt idx="17283">0</cx:pt>
          <cx:pt idx="17284">1</cx:pt>
          <cx:pt idx="17285">0</cx:pt>
          <cx:pt idx="17286">1</cx:pt>
          <cx:pt idx="17287">1</cx:pt>
          <cx:pt idx="17288">0</cx:pt>
          <cx:pt idx="17289">1</cx:pt>
          <cx:pt idx="17290">0</cx:pt>
          <cx:pt idx="17291">1</cx:pt>
          <cx:pt idx="17292">1</cx:pt>
          <cx:pt idx="17293">0</cx:pt>
          <cx:pt idx="17294">0</cx:pt>
          <cx:pt idx="17295">0</cx:pt>
          <cx:pt idx="17296">0</cx:pt>
          <cx:pt idx="17297">1</cx:pt>
          <cx:pt idx="17298">0</cx:pt>
          <cx:pt idx="17299">0</cx:pt>
          <cx:pt idx="17300">0</cx:pt>
          <cx:pt idx="17301">0</cx:pt>
          <cx:pt idx="17302">1</cx:pt>
          <cx:pt idx="17303">0</cx:pt>
          <cx:pt idx="17304">1</cx:pt>
          <cx:pt idx="17305">1</cx:pt>
          <cx:pt idx="17306">1</cx:pt>
          <cx:pt idx="17307">1</cx:pt>
          <cx:pt idx="17308">1</cx:pt>
          <cx:pt idx="17309">0</cx:pt>
          <cx:pt idx="17310">1</cx:pt>
          <cx:pt idx="17311">0</cx:pt>
          <cx:pt idx="17312">0</cx:pt>
          <cx:pt idx="17313">1</cx:pt>
          <cx:pt idx="17314">0</cx:pt>
          <cx:pt idx="17315">0</cx:pt>
          <cx:pt idx="17316">0</cx:pt>
          <cx:pt idx="17317">0</cx:pt>
          <cx:pt idx="17318">1</cx:pt>
          <cx:pt idx="17319">0</cx:pt>
          <cx:pt idx="17320">1</cx:pt>
          <cx:pt idx="17321">0</cx:pt>
          <cx:pt idx="17322">1</cx:pt>
          <cx:pt idx="17323">0</cx:pt>
          <cx:pt idx="17324">0</cx:pt>
          <cx:pt idx="17325">0</cx:pt>
          <cx:pt idx="17326">1</cx:pt>
          <cx:pt idx="17327">1</cx:pt>
          <cx:pt idx="17328">0</cx:pt>
          <cx:pt idx="17329">1</cx:pt>
          <cx:pt idx="17330">0</cx:pt>
          <cx:pt idx="17331">1</cx:pt>
          <cx:pt idx="17332">0</cx:pt>
          <cx:pt idx="17333">0</cx:pt>
          <cx:pt idx="17334">0</cx:pt>
          <cx:pt idx="17335">0</cx:pt>
          <cx:pt idx="17336">1</cx:pt>
          <cx:pt idx="17337">1</cx:pt>
          <cx:pt idx="17338">0</cx:pt>
          <cx:pt idx="17339">0</cx:pt>
          <cx:pt idx="17340">0</cx:pt>
          <cx:pt idx="17341">0</cx:pt>
          <cx:pt idx="17342">1</cx:pt>
          <cx:pt idx="17343">0</cx:pt>
          <cx:pt idx="17344">0</cx:pt>
          <cx:pt idx="17345">0</cx:pt>
          <cx:pt idx="17346">1</cx:pt>
          <cx:pt idx="17347">0</cx:pt>
          <cx:pt idx="17348">1</cx:pt>
          <cx:pt idx="17349">1</cx:pt>
          <cx:pt idx="17350">1</cx:pt>
          <cx:pt idx="17351">0</cx:pt>
          <cx:pt idx="17352">1</cx:pt>
          <cx:pt idx="17353">0</cx:pt>
          <cx:pt idx="17354">0</cx:pt>
          <cx:pt idx="17355">0</cx:pt>
          <cx:pt idx="17356">0</cx:pt>
          <cx:pt idx="17357">1</cx:pt>
          <cx:pt idx="17358">0</cx:pt>
          <cx:pt idx="17359">0</cx:pt>
          <cx:pt idx="17360">0</cx:pt>
          <cx:pt idx="17361">0</cx:pt>
          <cx:pt idx="17362">0</cx:pt>
          <cx:pt idx="17363">0</cx:pt>
          <cx:pt idx="17364">1</cx:pt>
          <cx:pt idx="17365">0</cx:pt>
          <cx:pt idx="17366">0</cx:pt>
          <cx:pt idx="17367">1</cx:pt>
          <cx:pt idx="17368">0</cx:pt>
          <cx:pt idx="17369">1</cx:pt>
          <cx:pt idx="17370">0</cx:pt>
          <cx:pt idx="17371">0</cx:pt>
          <cx:pt idx="17372">1</cx:pt>
          <cx:pt idx="17373">0</cx:pt>
          <cx:pt idx="17374">1</cx:pt>
          <cx:pt idx="17375">0</cx:pt>
          <cx:pt idx="17376">0</cx:pt>
          <cx:pt idx="17377">0</cx:pt>
          <cx:pt idx="17378">0</cx:pt>
          <cx:pt idx="17379">1</cx:pt>
          <cx:pt idx="17380">1</cx:pt>
          <cx:pt idx="17381">0</cx:pt>
          <cx:pt idx="17382">1</cx:pt>
          <cx:pt idx="17383">0</cx:pt>
          <cx:pt idx="17384">0</cx:pt>
          <cx:pt idx="17385">1</cx:pt>
          <cx:pt idx="17386">0</cx:pt>
          <cx:pt idx="17387">0</cx:pt>
          <cx:pt idx="17388">0</cx:pt>
          <cx:pt idx="17389">0</cx:pt>
          <cx:pt idx="17390">1</cx:pt>
          <cx:pt idx="17391">1</cx:pt>
          <cx:pt idx="17392">1</cx:pt>
          <cx:pt idx="17393">1</cx:pt>
          <cx:pt idx="17394">1</cx:pt>
          <cx:pt idx="17395">1</cx:pt>
          <cx:pt idx="17396">1</cx:pt>
          <cx:pt idx="17397">0</cx:pt>
          <cx:pt idx="17398">0</cx:pt>
          <cx:pt idx="17399">0</cx:pt>
          <cx:pt idx="17400">0</cx:pt>
          <cx:pt idx="17401">1</cx:pt>
          <cx:pt idx="17402">0</cx:pt>
          <cx:pt idx="17403">0</cx:pt>
          <cx:pt idx="17404">0</cx:pt>
          <cx:pt idx="17405">0</cx:pt>
          <cx:pt idx="17406">1</cx:pt>
          <cx:pt idx="17407">0</cx:pt>
          <cx:pt idx="17408">0</cx:pt>
          <cx:pt idx="17409">1</cx:pt>
          <cx:pt idx="17410">1</cx:pt>
          <cx:pt idx="17411">1</cx:pt>
          <cx:pt idx="17412">0</cx:pt>
          <cx:pt idx="17413">0</cx:pt>
          <cx:pt idx="17414">1</cx:pt>
          <cx:pt idx="17415">1</cx:pt>
          <cx:pt idx="17416">1</cx:pt>
          <cx:pt idx="17417">1</cx:pt>
          <cx:pt idx="17418">1</cx:pt>
          <cx:pt idx="17419">0</cx:pt>
          <cx:pt idx="17420">0</cx:pt>
          <cx:pt idx="17421">0</cx:pt>
          <cx:pt idx="17422">0</cx:pt>
          <cx:pt idx="17423">0</cx:pt>
          <cx:pt idx="17424">1</cx:pt>
          <cx:pt idx="17425">1</cx:pt>
          <cx:pt idx="17426">1</cx:pt>
          <cx:pt idx="17427">1</cx:pt>
          <cx:pt idx="17428">0</cx:pt>
          <cx:pt idx="17429">1</cx:pt>
          <cx:pt idx="17430">1</cx:pt>
          <cx:pt idx="17431">1</cx:pt>
          <cx:pt idx="17432">0</cx:pt>
          <cx:pt idx="17433">0</cx:pt>
          <cx:pt idx="17434">0</cx:pt>
          <cx:pt idx="17435">0</cx:pt>
          <cx:pt idx="17436">0</cx:pt>
          <cx:pt idx="17437">0</cx:pt>
          <cx:pt idx="17438">1</cx:pt>
          <cx:pt idx="17439">0</cx:pt>
          <cx:pt idx="17440">0</cx:pt>
          <cx:pt idx="17441">0</cx:pt>
          <cx:pt idx="17442">0</cx:pt>
          <cx:pt idx="17443">1</cx:pt>
          <cx:pt idx="17444">1</cx:pt>
          <cx:pt idx="17445">1</cx:pt>
          <cx:pt idx="17446">0</cx:pt>
          <cx:pt idx="17447">1</cx:pt>
          <cx:pt idx="17448">0</cx:pt>
          <cx:pt idx="17449">0</cx:pt>
          <cx:pt idx="17450">0</cx:pt>
          <cx:pt idx="17451">1</cx:pt>
          <cx:pt idx="17452">0</cx:pt>
          <cx:pt idx="17453">1</cx:pt>
          <cx:pt idx="17454">0</cx:pt>
          <cx:pt idx="17455">0</cx:pt>
          <cx:pt idx="17456">1</cx:pt>
          <cx:pt idx="17457">1</cx:pt>
          <cx:pt idx="17458">0</cx:pt>
          <cx:pt idx="17459">0</cx:pt>
          <cx:pt idx="17460">1</cx:pt>
          <cx:pt idx="17461">1</cx:pt>
          <cx:pt idx="17462">0</cx:pt>
          <cx:pt idx="17463">0</cx:pt>
          <cx:pt idx="17464">1</cx:pt>
          <cx:pt idx="17465">0</cx:pt>
          <cx:pt idx="17466">0</cx:pt>
          <cx:pt idx="17467">1</cx:pt>
          <cx:pt idx="17468">0</cx:pt>
          <cx:pt idx="17469">1</cx:pt>
          <cx:pt idx="17470">0</cx:pt>
          <cx:pt idx="17471">0</cx:pt>
          <cx:pt idx="17472">0</cx:pt>
          <cx:pt idx="17473">0</cx:pt>
          <cx:pt idx="17474">0</cx:pt>
          <cx:pt idx="17475">0</cx:pt>
          <cx:pt idx="17476">0</cx:pt>
          <cx:pt idx="17477">1</cx:pt>
          <cx:pt idx="17478">1</cx:pt>
          <cx:pt idx="17479">0</cx:pt>
          <cx:pt idx="17480">0</cx:pt>
          <cx:pt idx="17481">1</cx:pt>
          <cx:pt idx="17482">1</cx:pt>
          <cx:pt idx="17483">0</cx:pt>
          <cx:pt idx="17484">0</cx:pt>
          <cx:pt idx="17485">1</cx:pt>
          <cx:pt idx="17486">0</cx:pt>
          <cx:pt idx="17487">0</cx:pt>
          <cx:pt idx="17488">0</cx:pt>
          <cx:pt idx="17489">1</cx:pt>
          <cx:pt idx="17490">1</cx:pt>
          <cx:pt idx="17491">1</cx:pt>
          <cx:pt idx="17492">1</cx:pt>
          <cx:pt idx="17493">1</cx:pt>
          <cx:pt idx="17494">0</cx:pt>
          <cx:pt idx="17495">1</cx:pt>
          <cx:pt idx="17496">1</cx:pt>
          <cx:pt idx="17497">1</cx:pt>
          <cx:pt idx="17498">0</cx:pt>
          <cx:pt idx="17499">0</cx:pt>
          <cx:pt idx="17500">1</cx:pt>
          <cx:pt idx="17501">1</cx:pt>
          <cx:pt idx="17502">1</cx:pt>
          <cx:pt idx="17503">0</cx:pt>
          <cx:pt idx="17504">0</cx:pt>
          <cx:pt idx="17505">0</cx:pt>
          <cx:pt idx="17506">1</cx:pt>
          <cx:pt idx="17507">1</cx:pt>
          <cx:pt idx="17508">0</cx:pt>
          <cx:pt idx="17509">1</cx:pt>
          <cx:pt idx="17510">0</cx:pt>
          <cx:pt idx="17511">0</cx:pt>
          <cx:pt idx="17512">1</cx:pt>
          <cx:pt idx="17513">0</cx:pt>
          <cx:pt idx="17514">1</cx:pt>
          <cx:pt idx="17515">1</cx:pt>
          <cx:pt idx="17516">0</cx:pt>
          <cx:pt idx="17517">1</cx:pt>
          <cx:pt idx="17518">1</cx:pt>
          <cx:pt idx="17519">0</cx:pt>
          <cx:pt idx="17520">0</cx:pt>
          <cx:pt idx="17521">0</cx:pt>
          <cx:pt idx="17522">1</cx:pt>
          <cx:pt idx="17523">1</cx:pt>
          <cx:pt idx="17524">0</cx:pt>
          <cx:pt idx="17525">0</cx:pt>
          <cx:pt idx="17526">1</cx:pt>
          <cx:pt idx="17527">0</cx:pt>
          <cx:pt idx="17528">0</cx:pt>
          <cx:pt idx="17529">1</cx:pt>
          <cx:pt idx="17530">1</cx:pt>
          <cx:pt idx="17531">0</cx:pt>
          <cx:pt idx="17532">1</cx:pt>
          <cx:pt idx="17533">1</cx:pt>
          <cx:pt idx="17534">0</cx:pt>
          <cx:pt idx="17535">0</cx:pt>
          <cx:pt idx="17536">0</cx:pt>
          <cx:pt idx="17537">1</cx:pt>
          <cx:pt idx="17538">0</cx:pt>
          <cx:pt idx="17539">1</cx:pt>
          <cx:pt idx="17540">1</cx:pt>
          <cx:pt idx="17541">0</cx:pt>
          <cx:pt idx="17542">1</cx:pt>
          <cx:pt idx="17543">1</cx:pt>
          <cx:pt idx="17544">0</cx:pt>
          <cx:pt idx="17545">1</cx:pt>
          <cx:pt idx="17546">1</cx:pt>
          <cx:pt idx="17547">0</cx:pt>
          <cx:pt idx="17548">1</cx:pt>
          <cx:pt idx="17549">0</cx:pt>
          <cx:pt idx="17550">0</cx:pt>
          <cx:pt idx="17551">0</cx:pt>
          <cx:pt idx="17552">1</cx:pt>
          <cx:pt idx="17553">0</cx:pt>
          <cx:pt idx="17554">0</cx:pt>
          <cx:pt idx="17555">0</cx:pt>
          <cx:pt idx="17556">0</cx:pt>
          <cx:pt idx="17557">0</cx:pt>
          <cx:pt idx="17558">1</cx:pt>
          <cx:pt idx="17559">1</cx:pt>
          <cx:pt idx="17560">0</cx:pt>
          <cx:pt idx="17561">0</cx:pt>
          <cx:pt idx="17562">0</cx:pt>
          <cx:pt idx="17563">1</cx:pt>
          <cx:pt idx="17564">1</cx:pt>
          <cx:pt idx="17565">1</cx:pt>
          <cx:pt idx="17566">1</cx:pt>
          <cx:pt idx="17567">1</cx:pt>
          <cx:pt idx="17568">1</cx:pt>
          <cx:pt idx="17569">0</cx:pt>
          <cx:pt idx="17570">0</cx:pt>
          <cx:pt idx="17571">1</cx:pt>
          <cx:pt idx="17572">0</cx:pt>
          <cx:pt idx="17573">1</cx:pt>
          <cx:pt idx="17574">0</cx:pt>
          <cx:pt idx="17575">0</cx:pt>
          <cx:pt idx="17576">1</cx:pt>
          <cx:pt idx="17577">0</cx:pt>
          <cx:pt idx="17578">0</cx:pt>
          <cx:pt idx="17579">0</cx:pt>
          <cx:pt idx="17580">0</cx:pt>
          <cx:pt idx="17581">0</cx:pt>
          <cx:pt idx="17582">1</cx:pt>
          <cx:pt idx="17583">1</cx:pt>
          <cx:pt idx="17584">0</cx:pt>
          <cx:pt idx="17585">1</cx:pt>
          <cx:pt idx="17586">1</cx:pt>
          <cx:pt idx="17587">0</cx:pt>
          <cx:pt idx="17588">1</cx:pt>
          <cx:pt idx="17589">0</cx:pt>
          <cx:pt idx="17590">0</cx:pt>
          <cx:pt idx="17591">1</cx:pt>
          <cx:pt idx="17592">0</cx:pt>
          <cx:pt idx="17593">1</cx:pt>
          <cx:pt idx="17594">1</cx:pt>
          <cx:pt idx="17595">1</cx:pt>
          <cx:pt idx="17596">1</cx:pt>
          <cx:pt idx="17597">1</cx:pt>
          <cx:pt idx="17598">1</cx:pt>
          <cx:pt idx="17599">1</cx:pt>
          <cx:pt idx="17600">0</cx:pt>
          <cx:pt idx="17601">0</cx:pt>
          <cx:pt idx="17602">1</cx:pt>
          <cx:pt idx="17603">0</cx:pt>
          <cx:pt idx="17604">0</cx:pt>
          <cx:pt idx="17605">0</cx:pt>
          <cx:pt idx="17606">1</cx:pt>
          <cx:pt idx="17607">1</cx:pt>
          <cx:pt idx="17608">0</cx:pt>
          <cx:pt idx="17609">0</cx:pt>
          <cx:pt idx="17610">1</cx:pt>
          <cx:pt idx="17611">0</cx:pt>
          <cx:pt idx="17612">0</cx:pt>
          <cx:pt idx="17613">0</cx:pt>
          <cx:pt idx="17614">0</cx:pt>
          <cx:pt idx="17615">0</cx:pt>
          <cx:pt idx="17616">0</cx:pt>
          <cx:pt idx="17617">0</cx:pt>
          <cx:pt idx="17618">1</cx:pt>
          <cx:pt idx="17619">0</cx:pt>
          <cx:pt idx="17620">0</cx:pt>
          <cx:pt idx="17621">0</cx:pt>
          <cx:pt idx="17622">1</cx:pt>
          <cx:pt idx="17623">1</cx:pt>
          <cx:pt idx="17624">0</cx:pt>
          <cx:pt idx="17625">0</cx:pt>
          <cx:pt idx="17626">0</cx:pt>
          <cx:pt idx="17627">0</cx:pt>
          <cx:pt idx="17628">1</cx:pt>
          <cx:pt idx="17629">1</cx:pt>
          <cx:pt idx="17630">0</cx:pt>
          <cx:pt idx="17631">1</cx:pt>
          <cx:pt idx="17632">1</cx:pt>
          <cx:pt idx="17633">0</cx:pt>
          <cx:pt idx="17634">1</cx:pt>
          <cx:pt idx="17635">0</cx:pt>
          <cx:pt idx="17636">0</cx:pt>
          <cx:pt idx="17637">0</cx:pt>
          <cx:pt idx="17638">0</cx:pt>
          <cx:pt idx="17639">1</cx:pt>
          <cx:pt idx="17640">1</cx:pt>
          <cx:pt idx="17641">0</cx:pt>
          <cx:pt idx="17642">0</cx:pt>
          <cx:pt idx="17643">1</cx:pt>
          <cx:pt idx="17644">0</cx:pt>
          <cx:pt idx="17645">1</cx:pt>
          <cx:pt idx="17646">0</cx:pt>
          <cx:pt idx="17647">1</cx:pt>
          <cx:pt idx="17648">1</cx:pt>
          <cx:pt idx="17649">0</cx:pt>
          <cx:pt idx="17650">0</cx:pt>
          <cx:pt idx="17651">0</cx:pt>
          <cx:pt idx="17652">1</cx:pt>
          <cx:pt idx="17653">0</cx:pt>
          <cx:pt idx="17654">0</cx:pt>
          <cx:pt idx="17655">1</cx:pt>
          <cx:pt idx="17656">0</cx:pt>
          <cx:pt idx="17657">1</cx:pt>
          <cx:pt idx="17658">0</cx:pt>
          <cx:pt idx="17659">1</cx:pt>
          <cx:pt idx="17660">1</cx:pt>
          <cx:pt idx="17661">1</cx:pt>
          <cx:pt idx="17662">1</cx:pt>
          <cx:pt idx="17663">0</cx:pt>
          <cx:pt idx="17664">1</cx:pt>
          <cx:pt idx="17665">1</cx:pt>
          <cx:pt idx="17666">0</cx:pt>
          <cx:pt idx="17667">1</cx:pt>
          <cx:pt idx="17668">0</cx:pt>
          <cx:pt idx="17669">0</cx:pt>
          <cx:pt idx="17670">1</cx:pt>
          <cx:pt idx="17671">0</cx:pt>
          <cx:pt idx="17672">0</cx:pt>
          <cx:pt idx="17673">0</cx:pt>
          <cx:pt idx="17674">0</cx:pt>
          <cx:pt idx="17675">1</cx:pt>
          <cx:pt idx="17676">0</cx:pt>
          <cx:pt idx="17677">0</cx:pt>
          <cx:pt idx="17678">0</cx:pt>
          <cx:pt idx="17679">1</cx:pt>
          <cx:pt idx="17680">1</cx:pt>
          <cx:pt idx="17681">1</cx:pt>
          <cx:pt idx="17682">1</cx:pt>
          <cx:pt idx="17683">0</cx:pt>
          <cx:pt idx="17684">1</cx:pt>
          <cx:pt idx="17685">0</cx:pt>
          <cx:pt idx="17686">0</cx:pt>
          <cx:pt idx="17687">1</cx:pt>
          <cx:pt idx="17688">1</cx:pt>
          <cx:pt idx="17689">0</cx:pt>
          <cx:pt idx="17690">1</cx:pt>
          <cx:pt idx="17691">0</cx:pt>
          <cx:pt idx="17692">0</cx:pt>
          <cx:pt idx="17693">0</cx:pt>
          <cx:pt idx="17694">1</cx:pt>
          <cx:pt idx="17695">1</cx:pt>
          <cx:pt idx="17696">1</cx:pt>
          <cx:pt idx="17697">1</cx:pt>
          <cx:pt idx="17698">0</cx:pt>
          <cx:pt idx="17699">0</cx:pt>
          <cx:pt idx="17700">1</cx:pt>
          <cx:pt idx="17701">1</cx:pt>
          <cx:pt idx="17702">1</cx:pt>
          <cx:pt idx="17703">0</cx:pt>
          <cx:pt idx="17704">1</cx:pt>
          <cx:pt idx="17705">1</cx:pt>
          <cx:pt idx="17706">1</cx:pt>
          <cx:pt idx="17707">0</cx:pt>
          <cx:pt idx="17708">0</cx:pt>
          <cx:pt idx="17709">0</cx:pt>
          <cx:pt idx="17710">0</cx:pt>
          <cx:pt idx="17711">1</cx:pt>
          <cx:pt idx="17712">0</cx:pt>
          <cx:pt idx="17713">1</cx:pt>
          <cx:pt idx="17714">0</cx:pt>
          <cx:pt idx="17715">1</cx:pt>
          <cx:pt idx="17716">0</cx:pt>
          <cx:pt idx="17717">1</cx:pt>
          <cx:pt idx="17718">1</cx:pt>
          <cx:pt idx="17719">1</cx:pt>
          <cx:pt idx="17720">0</cx:pt>
          <cx:pt idx="17721">0</cx:pt>
          <cx:pt idx="17722">0</cx:pt>
          <cx:pt idx="17723">0</cx:pt>
          <cx:pt idx="17724">0</cx:pt>
          <cx:pt idx="17725">1</cx:pt>
          <cx:pt idx="17726">1</cx:pt>
          <cx:pt idx="17727">0</cx:pt>
          <cx:pt idx="17728">1</cx:pt>
          <cx:pt idx="17729">0</cx:pt>
          <cx:pt idx="17730">1</cx:pt>
          <cx:pt idx="17731">0</cx:pt>
          <cx:pt idx="17732">0</cx:pt>
          <cx:pt idx="17733">1</cx:pt>
          <cx:pt idx="17734">1</cx:pt>
          <cx:pt idx="17735">1</cx:pt>
          <cx:pt idx="17736">0</cx:pt>
          <cx:pt idx="17737">0</cx:pt>
          <cx:pt idx="17738">1</cx:pt>
          <cx:pt idx="17739">1</cx:pt>
          <cx:pt idx="17740">0</cx:pt>
          <cx:pt idx="17741">0</cx:pt>
          <cx:pt idx="17742">1</cx:pt>
          <cx:pt idx="17743">0</cx:pt>
          <cx:pt idx="17744">0</cx:pt>
          <cx:pt idx="17745">0</cx:pt>
          <cx:pt idx="17746">1</cx:pt>
          <cx:pt idx="17747">0</cx:pt>
          <cx:pt idx="17748">0</cx:pt>
          <cx:pt idx="17749">1</cx:pt>
          <cx:pt idx="17750">0</cx:pt>
          <cx:pt idx="17751">1</cx:pt>
          <cx:pt idx="17752">1</cx:pt>
          <cx:pt idx="17753">0</cx:pt>
          <cx:pt idx="17754">0</cx:pt>
          <cx:pt idx="17755">1</cx:pt>
          <cx:pt idx="17756">1</cx:pt>
          <cx:pt idx="17757">0</cx:pt>
          <cx:pt idx="17758">0</cx:pt>
          <cx:pt idx="17759">1</cx:pt>
          <cx:pt idx="17760">1</cx:pt>
          <cx:pt idx="17761">0</cx:pt>
          <cx:pt idx="17762">0</cx:pt>
          <cx:pt idx="17763">0</cx:pt>
          <cx:pt idx="17764">0</cx:pt>
          <cx:pt idx="17765">1</cx:pt>
          <cx:pt idx="17766">0</cx:pt>
          <cx:pt idx="17767">1</cx:pt>
          <cx:pt idx="17768">0</cx:pt>
          <cx:pt idx="17769">1</cx:pt>
          <cx:pt idx="17770">0</cx:pt>
          <cx:pt idx="17771">0</cx:pt>
          <cx:pt idx="17772">1</cx:pt>
          <cx:pt idx="17773">0</cx:pt>
          <cx:pt idx="17774">0</cx:pt>
          <cx:pt idx="17775">0</cx:pt>
          <cx:pt idx="17776">0</cx:pt>
          <cx:pt idx="17777">1</cx:pt>
          <cx:pt idx="17778">0</cx:pt>
          <cx:pt idx="17779">0</cx:pt>
          <cx:pt idx="17780">0</cx:pt>
          <cx:pt idx="17781">1</cx:pt>
          <cx:pt idx="17782">0</cx:pt>
          <cx:pt idx="17783">1</cx:pt>
          <cx:pt idx="17784">0</cx:pt>
          <cx:pt idx="17785">1</cx:pt>
          <cx:pt idx="17786">1</cx:pt>
          <cx:pt idx="17787">0</cx:pt>
          <cx:pt idx="17788">0</cx:pt>
          <cx:pt idx="17789">1</cx:pt>
          <cx:pt idx="17790">0</cx:pt>
          <cx:pt idx="17791">1</cx:pt>
          <cx:pt idx="17792">0</cx:pt>
          <cx:pt idx="17793">0</cx:pt>
          <cx:pt idx="17794">0</cx:pt>
          <cx:pt idx="17795">1</cx:pt>
          <cx:pt idx="17796">0</cx:pt>
          <cx:pt idx="17797">1</cx:pt>
          <cx:pt idx="17798">0</cx:pt>
          <cx:pt idx="17799">0</cx:pt>
          <cx:pt idx="17800">1</cx:pt>
          <cx:pt idx="17801">1</cx:pt>
          <cx:pt idx="17802">0</cx:pt>
          <cx:pt idx="17803">0</cx:pt>
          <cx:pt idx="17804">1</cx:pt>
          <cx:pt idx="17805">1</cx:pt>
          <cx:pt idx="17806">0</cx:pt>
          <cx:pt idx="17807">1</cx:pt>
          <cx:pt idx="17808">1</cx:pt>
          <cx:pt idx="17809">0</cx:pt>
          <cx:pt idx="17810">0</cx:pt>
          <cx:pt idx="17811">0</cx:pt>
          <cx:pt idx="17812">0</cx:pt>
          <cx:pt idx="17813">0</cx:pt>
          <cx:pt idx="17814">0</cx:pt>
          <cx:pt idx="17815">0</cx:pt>
          <cx:pt idx="17816">0</cx:pt>
          <cx:pt idx="17817">0</cx:pt>
          <cx:pt idx="17818">1</cx:pt>
          <cx:pt idx="17819">1</cx:pt>
          <cx:pt idx="17820">1</cx:pt>
          <cx:pt idx="17821">1</cx:pt>
          <cx:pt idx="17822">0</cx:pt>
          <cx:pt idx="17823">1</cx:pt>
          <cx:pt idx="17824">1</cx:pt>
          <cx:pt idx="17825">0</cx:pt>
          <cx:pt idx="17826">0</cx:pt>
          <cx:pt idx="17827">0</cx:pt>
          <cx:pt idx="17828">1</cx:pt>
          <cx:pt idx="17829">1</cx:pt>
          <cx:pt idx="17830">0</cx:pt>
          <cx:pt idx="17831">1</cx:pt>
          <cx:pt idx="17832">0</cx:pt>
          <cx:pt idx="17833">1</cx:pt>
          <cx:pt idx="17834">0</cx:pt>
          <cx:pt idx="17835">0</cx:pt>
          <cx:pt idx="17836">1</cx:pt>
          <cx:pt idx="17837">0</cx:pt>
          <cx:pt idx="17838">1</cx:pt>
          <cx:pt idx="17839">1</cx:pt>
          <cx:pt idx="17840">1</cx:pt>
          <cx:pt idx="17841">0</cx:pt>
          <cx:pt idx="17842">0</cx:pt>
          <cx:pt idx="17843">0</cx:pt>
          <cx:pt idx="17844">0</cx:pt>
          <cx:pt idx="17845">0</cx:pt>
          <cx:pt idx="17846">1</cx:pt>
          <cx:pt idx="17847">1</cx:pt>
          <cx:pt idx="17848">1</cx:pt>
          <cx:pt idx="17849">1</cx:pt>
          <cx:pt idx="17850">0</cx:pt>
          <cx:pt idx="17851">0</cx:pt>
          <cx:pt idx="17852">1</cx:pt>
          <cx:pt idx="17853">0</cx:pt>
          <cx:pt idx="17854">1</cx:pt>
          <cx:pt idx="17855">0</cx:pt>
          <cx:pt idx="17856">0</cx:pt>
          <cx:pt idx="17857">0</cx:pt>
          <cx:pt idx="17858">0</cx:pt>
          <cx:pt idx="17859">0</cx:pt>
          <cx:pt idx="17860">0</cx:pt>
          <cx:pt idx="17861">1</cx:pt>
          <cx:pt idx="17862">0</cx:pt>
          <cx:pt idx="17863">1</cx:pt>
          <cx:pt idx="17864">1</cx:pt>
          <cx:pt idx="17865">1</cx:pt>
          <cx:pt idx="17866">0</cx:pt>
          <cx:pt idx="17867">1</cx:pt>
          <cx:pt idx="17868">1</cx:pt>
          <cx:pt idx="17869">0</cx:pt>
          <cx:pt idx="17870">0</cx:pt>
          <cx:pt idx="17871">0</cx:pt>
          <cx:pt idx="17872">1</cx:pt>
          <cx:pt idx="17873">0</cx:pt>
          <cx:pt idx="17874">0</cx:pt>
          <cx:pt idx="17875">0</cx:pt>
          <cx:pt idx="17876">1</cx:pt>
          <cx:pt idx="17877">0</cx:pt>
          <cx:pt idx="17878">0</cx:pt>
          <cx:pt idx="17879">0</cx:pt>
          <cx:pt idx="17880">1</cx:pt>
          <cx:pt idx="17881">0</cx:pt>
          <cx:pt idx="17882">1</cx:pt>
          <cx:pt idx="17883">1</cx:pt>
          <cx:pt idx="17884">1</cx:pt>
          <cx:pt idx="17885">0</cx:pt>
          <cx:pt idx="17886">0</cx:pt>
          <cx:pt idx="17887">0</cx:pt>
          <cx:pt idx="17888">1</cx:pt>
          <cx:pt idx="17889">0</cx:pt>
          <cx:pt idx="17890">1</cx:pt>
          <cx:pt idx="17891">1</cx:pt>
          <cx:pt idx="17892">0</cx:pt>
          <cx:pt idx="17893">0</cx:pt>
          <cx:pt idx="17894">0</cx:pt>
          <cx:pt idx="17895">1</cx:pt>
          <cx:pt idx="17896">0</cx:pt>
          <cx:pt idx="17897">1</cx:pt>
          <cx:pt idx="17898">1</cx:pt>
          <cx:pt idx="17899">0</cx:pt>
          <cx:pt idx="17900">0</cx:pt>
          <cx:pt idx="17901">0</cx:pt>
          <cx:pt idx="17902">0</cx:pt>
          <cx:pt idx="17903">1</cx:pt>
          <cx:pt idx="17904">1</cx:pt>
          <cx:pt idx="17905">0</cx:pt>
          <cx:pt idx="17906">0</cx:pt>
          <cx:pt idx="17907">1</cx:pt>
          <cx:pt idx="17908">1</cx:pt>
          <cx:pt idx="17909">1</cx:pt>
          <cx:pt idx="17910">0</cx:pt>
          <cx:pt idx="17911">0</cx:pt>
          <cx:pt idx="17912">0</cx:pt>
          <cx:pt idx="17913">0</cx:pt>
          <cx:pt idx="17914">0</cx:pt>
          <cx:pt idx="17915">0</cx:pt>
          <cx:pt idx="17916">0</cx:pt>
          <cx:pt idx="17917">0</cx:pt>
          <cx:pt idx="17918">1</cx:pt>
          <cx:pt idx="17919">0</cx:pt>
          <cx:pt idx="17920">0</cx:pt>
          <cx:pt idx="17921">0</cx:pt>
          <cx:pt idx="17922">0</cx:pt>
          <cx:pt idx="17923">0</cx:pt>
          <cx:pt idx="17924">1</cx:pt>
          <cx:pt idx="17925">0</cx:pt>
          <cx:pt idx="17926">0</cx:pt>
          <cx:pt idx="17927">0</cx:pt>
          <cx:pt idx="17928">1</cx:pt>
          <cx:pt idx="17929">0</cx:pt>
          <cx:pt idx="17930">0</cx:pt>
          <cx:pt idx="17931">1</cx:pt>
          <cx:pt idx="17932">1</cx:pt>
          <cx:pt idx="17933">0</cx:pt>
          <cx:pt idx="17934">0</cx:pt>
          <cx:pt idx="17935">0</cx:pt>
          <cx:pt idx="17936">0</cx:pt>
          <cx:pt idx="17937">0</cx:pt>
          <cx:pt idx="17938">0</cx:pt>
          <cx:pt idx="17939">1</cx:pt>
          <cx:pt idx="17940">0</cx:pt>
          <cx:pt idx="17941">0</cx:pt>
          <cx:pt idx="17942">0</cx:pt>
          <cx:pt idx="17943">0</cx:pt>
          <cx:pt idx="17944">1</cx:pt>
          <cx:pt idx="17945">0</cx:pt>
          <cx:pt idx="17946">0</cx:pt>
          <cx:pt idx="17947">0</cx:pt>
          <cx:pt idx="17948">0</cx:pt>
          <cx:pt idx="17949">0</cx:pt>
          <cx:pt idx="17950">0</cx:pt>
          <cx:pt idx="17951">0</cx:pt>
          <cx:pt idx="17952">1</cx:pt>
          <cx:pt idx="17953">1</cx:pt>
          <cx:pt idx="17954">0</cx:pt>
          <cx:pt idx="17955">0</cx:pt>
          <cx:pt idx="17956">0</cx:pt>
          <cx:pt idx="17957">1</cx:pt>
          <cx:pt idx="17958">0</cx:pt>
          <cx:pt idx="17959">0</cx:pt>
          <cx:pt idx="17960">1</cx:pt>
          <cx:pt idx="17961">0</cx:pt>
          <cx:pt idx="17962">1</cx:pt>
          <cx:pt idx="17963">1</cx:pt>
          <cx:pt idx="17964">0</cx:pt>
          <cx:pt idx="17965">1</cx:pt>
          <cx:pt idx="17966">0</cx:pt>
          <cx:pt idx="17967">1</cx:pt>
          <cx:pt idx="17968">0</cx:pt>
          <cx:pt idx="17969">0</cx:pt>
          <cx:pt idx="17970">0</cx:pt>
          <cx:pt idx="17971">0</cx:pt>
          <cx:pt idx="17972">0</cx:pt>
          <cx:pt idx="17973">0</cx:pt>
          <cx:pt idx="17974">0</cx:pt>
          <cx:pt idx="17975">0</cx:pt>
          <cx:pt idx="17976">1</cx:pt>
          <cx:pt idx="17977">1</cx:pt>
          <cx:pt idx="17978">1</cx:pt>
          <cx:pt idx="17979">0</cx:pt>
          <cx:pt idx="17980">0</cx:pt>
          <cx:pt idx="17981">0</cx:pt>
          <cx:pt idx="17982">0</cx:pt>
          <cx:pt idx="17983">1</cx:pt>
          <cx:pt idx="17984">0</cx:pt>
          <cx:pt idx="17985">1</cx:pt>
          <cx:pt idx="17986">1</cx:pt>
          <cx:pt idx="17987">1</cx:pt>
          <cx:pt idx="17988">1</cx:pt>
          <cx:pt idx="17989">1</cx:pt>
          <cx:pt idx="17990">0</cx:pt>
          <cx:pt idx="17991">1</cx:pt>
          <cx:pt idx="17992">0</cx:pt>
          <cx:pt idx="17993">0</cx:pt>
          <cx:pt idx="17994">0</cx:pt>
          <cx:pt idx="17995">1</cx:pt>
          <cx:pt idx="17996">1</cx:pt>
          <cx:pt idx="17997">0</cx:pt>
          <cx:pt idx="17998">1</cx:pt>
          <cx:pt idx="17999">1</cx:pt>
          <cx:pt idx="18000">0</cx:pt>
          <cx:pt idx="18001">1</cx:pt>
          <cx:pt idx="18002">0</cx:pt>
          <cx:pt idx="18003">1</cx:pt>
          <cx:pt idx="18004">0</cx:pt>
          <cx:pt idx="18005">0</cx:pt>
          <cx:pt idx="18006">0</cx:pt>
          <cx:pt idx="18007">1</cx:pt>
          <cx:pt idx="18008">0</cx:pt>
          <cx:pt idx="18009">1</cx:pt>
          <cx:pt idx="18010">1</cx:pt>
          <cx:pt idx="18011">1</cx:pt>
          <cx:pt idx="18012">1</cx:pt>
          <cx:pt idx="18013">0</cx:pt>
          <cx:pt idx="18014">0</cx:pt>
          <cx:pt idx="18015">0</cx:pt>
          <cx:pt idx="18016">0</cx:pt>
          <cx:pt idx="18017">1</cx:pt>
          <cx:pt idx="18018">0</cx:pt>
          <cx:pt idx="18019">1</cx:pt>
          <cx:pt idx="18020">0</cx:pt>
          <cx:pt idx="18021">0</cx:pt>
          <cx:pt idx="18022">1</cx:pt>
          <cx:pt idx="18023">0</cx:pt>
          <cx:pt idx="18024">0</cx:pt>
          <cx:pt idx="18025">0</cx:pt>
          <cx:pt idx="18026">1</cx:pt>
          <cx:pt idx="18027">1</cx:pt>
          <cx:pt idx="18028">0</cx:pt>
          <cx:pt idx="18029">1</cx:pt>
          <cx:pt idx="18030">0</cx:pt>
          <cx:pt idx="18031">1</cx:pt>
          <cx:pt idx="18032">0</cx:pt>
          <cx:pt idx="18033">0</cx:pt>
          <cx:pt idx="18034">0</cx:pt>
          <cx:pt idx="18035">1</cx:pt>
          <cx:pt idx="18036">1</cx:pt>
          <cx:pt idx="18037">0</cx:pt>
          <cx:pt idx="18038">0</cx:pt>
          <cx:pt idx="18039">1</cx:pt>
          <cx:pt idx="18040">0</cx:pt>
          <cx:pt idx="18041">0</cx:pt>
          <cx:pt idx="18042">0</cx:pt>
          <cx:pt idx="18043">1</cx:pt>
          <cx:pt idx="18044">0</cx:pt>
          <cx:pt idx="18045">1</cx:pt>
          <cx:pt idx="18046">0</cx:pt>
          <cx:pt idx="18047">1</cx:pt>
          <cx:pt idx="18048">0</cx:pt>
          <cx:pt idx="18049">0</cx:pt>
          <cx:pt idx="18050">0</cx:pt>
          <cx:pt idx="18051">0</cx:pt>
          <cx:pt idx="18052">0</cx:pt>
          <cx:pt idx="18053">0</cx:pt>
          <cx:pt idx="18054">0</cx:pt>
          <cx:pt idx="18055">1</cx:pt>
          <cx:pt idx="18056">1</cx:pt>
          <cx:pt idx="18057">1</cx:pt>
          <cx:pt idx="18058">1</cx:pt>
          <cx:pt idx="18059">0</cx:pt>
          <cx:pt idx="18060">0</cx:pt>
          <cx:pt idx="18061">1</cx:pt>
          <cx:pt idx="18062">0</cx:pt>
          <cx:pt idx="18063">0</cx:pt>
          <cx:pt idx="18064">1</cx:pt>
          <cx:pt idx="18065">1</cx:pt>
          <cx:pt idx="18066">0</cx:pt>
          <cx:pt idx="18067">1</cx:pt>
          <cx:pt idx="18068">0</cx:pt>
          <cx:pt idx="18069">0</cx:pt>
          <cx:pt idx="18070">0</cx:pt>
          <cx:pt idx="18071">0</cx:pt>
          <cx:pt idx="18072">0</cx:pt>
          <cx:pt idx="18073">0</cx:pt>
          <cx:pt idx="18074">0</cx:pt>
          <cx:pt idx="18075">1</cx:pt>
          <cx:pt idx="18076">1</cx:pt>
          <cx:pt idx="18077">0</cx:pt>
          <cx:pt idx="18078">1</cx:pt>
          <cx:pt idx="18079">0</cx:pt>
          <cx:pt idx="18080">0</cx:pt>
          <cx:pt idx="18081">1</cx:pt>
          <cx:pt idx="18082">1</cx:pt>
          <cx:pt idx="18083">1</cx:pt>
          <cx:pt idx="18084">1</cx:pt>
          <cx:pt idx="18085">0</cx:pt>
          <cx:pt idx="18086">0</cx:pt>
          <cx:pt idx="18087">0</cx:pt>
          <cx:pt idx="18088">0</cx:pt>
          <cx:pt idx="18089">0</cx:pt>
          <cx:pt idx="18090">1</cx:pt>
          <cx:pt idx="18091">0</cx:pt>
          <cx:pt idx="18092">0</cx:pt>
          <cx:pt idx="18093">0</cx:pt>
          <cx:pt idx="18094">0</cx:pt>
          <cx:pt idx="18095">0</cx:pt>
          <cx:pt idx="18096">0</cx:pt>
          <cx:pt idx="18097">0</cx:pt>
          <cx:pt idx="18098">0</cx:pt>
          <cx:pt idx="18099">0</cx:pt>
          <cx:pt idx="18100">1</cx:pt>
          <cx:pt idx="18101">1</cx:pt>
          <cx:pt idx="18102">1</cx:pt>
          <cx:pt idx="18103">0</cx:pt>
          <cx:pt idx="18104">1</cx:pt>
          <cx:pt idx="18105">0</cx:pt>
          <cx:pt idx="18106">0</cx:pt>
          <cx:pt idx="18107">0</cx:pt>
          <cx:pt idx="18108">0</cx:pt>
          <cx:pt idx="18109">1</cx:pt>
          <cx:pt idx="18110">0</cx:pt>
          <cx:pt idx="18111">0</cx:pt>
          <cx:pt idx="18112">1</cx:pt>
          <cx:pt idx="18113">0</cx:pt>
          <cx:pt idx="18114">0</cx:pt>
          <cx:pt idx="18115">1</cx:pt>
          <cx:pt idx="18116">0</cx:pt>
          <cx:pt idx="18117">0</cx:pt>
          <cx:pt idx="18118">0</cx:pt>
          <cx:pt idx="18119">0</cx:pt>
          <cx:pt idx="18120">1</cx:pt>
          <cx:pt idx="18121">0</cx:pt>
          <cx:pt idx="18122">0</cx:pt>
          <cx:pt idx="18123">1</cx:pt>
          <cx:pt idx="18124">0</cx:pt>
          <cx:pt idx="18125">1</cx:pt>
          <cx:pt idx="18126">1</cx:pt>
          <cx:pt idx="18127">0</cx:pt>
          <cx:pt idx="18128">1</cx:pt>
          <cx:pt idx="18129">0</cx:pt>
          <cx:pt idx="18130">0</cx:pt>
          <cx:pt idx="18131">0</cx:pt>
          <cx:pt idx="18132">1</cx:pt>
          <cx:pt idx="18133">1</cx:pt>
          <cx:pt idx="18134">1</cx:pt>
          <cx:pt idx="18135">1</cx:pt>
          <cx:pt idx="18136">0</cx:pt>
          <cx:pt idx="18137">1</cx:pt>
          <cx:pt idx="18138">0</cx:pt>
          <cx:pt idx="18139">0</cx:pt>
          <cx:pt idx="18140">0</cx:pt>
          <cx:pt idx="18141">0</cx:pt>
          <cx:pt idx="18142">0</cx:pt>
          <cx:pt idx="18143">0</cx:pt>
          <cx:pt idx="18144">1</cx:pt>
          <cx:pt idx="18145">1</cx:pt>
          <cx:pt idx="18146">1</cx:pt>
          <cx:pt idx="18147">0</cx:pt>
          <cx:pt idx="18148">1</cx:pt>
          <cx:pt idx="18149">1</cx:pt>
          <cx:pt idx="18150">0</cx:pt>
          <cx:pt idx="18151">1</cx:pt>
          <cx:pt idx="18152">1</cx:pt>
          <cx:pt idx="18153">0</cx:pt>
          <cx:pt idx="18154">0</cx:pt>
          <cx:pt idx="18155">0</cx:pt>
          <cx:pt idx="18156">0</cx:pt>
          <cx:pt idx="18157">1</cx:pt>
          <cx:pt idx="18158">0</cx:pt>
          <cx:pt idx="18159">0</cx:pt>
          <cx:pt idx="18160">0</cx:pt>
          <cx:pt idx="18161">0</cx:pt>
          <cx:pt idx="18162">0</cx:pt>
          <cx:pt idx="18163">0</cx:pt>
          <cx:pt idx="18164">0</cx:pt>
          <cx:pt idx="18165">0</cx:pt>
          <cx:pt idx="18166">0</cx:pt>
          <cx:pt idx="18167">0</cx:pt>
          <cx:pt idx="18168">1</cx:pt>
          <cx:pt idx="18169">1</cx:pt>
          <cx:pt idx="18170">0</cx:pt>
          <cx:pt idx="18171">1</cx:pt>
          <cx:pt idx="18172">0</cx:pt>
          <cx:pt idx="18173">0</cx:pt>
          <cx:pt idx="18174">0</cx:pt>
          <cx:pt idx="18175">1</cx:pt>
          <cx:pt idx="18176">0</cx:pt>
          <cx:pt idx="18177">0</cx:pt>
          <cx:pt idx="18178">1</cx:pt>
          <cx:pt idx="18179">1</cx:pt>
          <cx:pt idx="18180">1</cx:pt>
          <cx:pt idx="18181">1</cx:pt>
          <cx:pt idx="18182">1</cx:pt>
          <cx:pt idx="18183">0</cx:pt>
          <cx:pt idx="18184">0</cx:pt>
          <cx:pt idx="18185">0</cx:pt>
          <cx:pt idx="18186">1</cx:pt>
          <cx:pt idx="18187">0</cx:pt>
          <cx:pt idx="18188">1</cx:pt>
          <cx:pt idx="18189">0</cx:pt>
          <cx:pt idx="18190">1</cx:pt>
          <cx:pt idx="18191">0</cx:pt>
          <cx:pt idx="18192">1</cx:pt>
          <cx:pt idx="18193">1</cx:pt>
          <cx:pt idx="18194">1</cx:pt>
          <cx:pt idx="18195">0</cx:pt>
          <cx:pt idx="18196">0</cx:pt>
          <cx:pt idx="18197">0</cx:pt>
          <cx:pt idx="18198">0</cx:pt>
          <cx:pt idx="18199">1</cx:pt>
          <cx:pt idx="18200">0</cx:pt>
          <cx:pt idx="18201">0</cx:pt>
          <cx:pt idx="18202">0</cx:pt>
          <cx:pt idx="18203">0</cx:pt>
          <cx:pt idx="18204">0</cx:pt>
          <cx:pt idx="18205">1</cx:pt>
          <cx:pt idx="18206">1</cx:pt>
          <cx:pt idx="18207">0</cx:pt>
          <cx:pt idx="18208">0</cx:pt>
          <cx:pt idx="18209">1</cx:pt>
          <cx:pt idx="18210">1</cx:pt>
          <cx:pt idx="18211">0</cx:pt>
          <cx:pt idx="18212">1</cx:pt>
          <cx:pt idx="18213">0</cx:pt>
          <cx:pt idx="18214">1</cx:pt>
          <cx:pt idx="18215">0</cx:pt>
          <cx:pt idx="18216">0</cx:pt>
          <cx:pt idx="18217">0</cx:pt>
          <cx:pt idx="18218">1</cx:pt>
          <cx:pt idx="18219">0</cx:pt>
          <cx:pt idx="18220">1</cx:pt>
          <cx:pt idx="18221">1</cx:pt>
          <cx:pt idx="18222">1</cx:pt>
          <cx:pt idx="18223">0</cx:pt>
          <cx:pt idx="18224">0</cx:pt>
          <cx:pt idx="18225">0</cx:pt>
          <cx:pt idx="18226">0</cx:pt>
          <cx:pt idx="18227">0</cx:pt>
          <cx:pt idx="18228">1</cx:pt>
          <cx:pt idx="18229">1</cx:pt>
          <cx:pt idx="18230">1</cx:pt>
          <cx:pt idx="18231">0</cx:pt>
          <cx:pt idx="18232">1</cx:pt>
          <cx:pt idx="18233">0</cx:pt>
          <cx:pt idx="18234">0</cx:pt>
          <cx:pt idx="18235">1</cx:pt>
          <cx:pt idx="18236">0</cx:pt>
          <cx:pt idx="18237">1</cx:pt>
          <cx:pt idx="18238">1</cx:pt>
          <cx:pt idx="18239">0</cx:pt>
          <cx:pt idx="18240">1</cx:pt>
          <cx:pt idx="18241">1</cx:pt>
          <cx:pt idx="18242">1</cx:pt>
          <cx:pt idx="18243">1</cx:pt>
          <cx:pt idx="18244">1</cx:pt>
          <cx:pt idx="18245">0</cx:pt>
          <cx:pt idx="18246">0</cx:pt>
          <cx:pt idx="18247">1</cx:pt>
          <cx:pt idx="18248">0</cx:pt>
          <cx:pt idx="18249">0</cx:pt>
          <cx:pt idx="18250">0</cx:pt>
          <cx:pt idx="18251">1</cx:pt>
          <cx:pt idx="18252">1</cx:pt>
          <cx:pt idx="18253">0</cx:pt>
          <cx:pt idx="18254">1</cx:pt>
          <cx:pt idx="18255">1</cx:pt>
          <cx:pt idx="18256">0</cx:pt>
          <cx:pt idx="18257">1</cx:pt>
          <cx:pt idx="18258">1</cx:pt>
          <cx:pt idx="18259">0</cx:pt>
          <cx:pt idx="18260">0</cx:pt>
          <cx:pt idx="18261">0</cx:pt>
          <cx:pt idx="18262">0</cx:pt>
          <cx:pt idx="18263">1</cx:pt>
          <cx:pt idx="18264">0</cx:pt>
          <cx:pt idx="18265">0</cx:pt>
          <cx:pt idx="18266">1</cx:pt>
          <cx:pt idx="18267">0</cx:pt>
          <cx:pt idx="18268">0</cx:pt>
          <cx:pt idx="18269">0</cx:pt>
          <cx:pt idx="18270">0</cx:pt>
          <cx:pt idx="18271">1</cx:pt>
          <cx:pt idx="18272">1</cx:pt>
          <cx:pt idx="18273">0</cx:pt>
          <cx:pt idx="18274">1</cx:pt>
          <cx:pt idx="18275">1</cx:pt>
          <cx:pt idx="18276">0</cx:pt>
          <cx:pt idx="18277">0</cx:pt>
          <cx:pt idx="18278">1</cx:pt>
          <cx:pt idx="18279">0</cx:pt>
          <cx:pt idx="18280">0</cx:pt>
          <cx:pt idx="18281">0</cx:pt>
          <cx:pt idx="18282">1</cx:pt>
          <cx:pt idx="18283">1</cx:pt>
          <cx:pt idx="18284">1</cx:pt>
          <cx:pt idx="18285">1</cx:pt>
          <cx:pt idx="18286">1</cx:pt>
          <cx:pt idx="18287">0</cx:pt>
          <cx:pt idx="18288">0</cx:pt>
          <cx:pt idx="18289">1</cx:pt>
          <cx:pt idx="18290">1</cx:pt>
          <cx:pt idx="18291">1</cx:pt>
          <cx:pt idx="18292">0</cx:pt>
          <cx:pt idx="18293">0</cx:pt>
          <cx:pt idx="18294">1</cx:pt>
          <cx:pt idx="18295">0</cx:pt>
          <cx:pt idx="18296">1</cx:pt>
          <cx:pt idx="18297">0</cx:pt>
          <cx:pt idx="18298">0</cx:pt>
          <cx:pt idx="18299">0</cx:pt>
          <cx:pt idx="18300">1</cx:pt>
          <cx:pt idx="18301">0</cx:pt>
          <cx:pt idx="18302">1</cx:pt>
          <cx:pt idx="18303">0</cx:pt>
          <cx:pt idx="18304">0</cx:pt>
          <cx:pt idx="18305">1</cx:pt>
          <cx:pt idx="18306">0</cx:pt>
          <cx:pt idx="18307">1</cx:pt>
          <cx:pt idx="18308">1</cx:pt>
          <cx:pt idx="18309">0</cx:pt>
          <cx:pt idx="18310">1</cx:pt>
          <cx:pt idx="18311">1</cx:pt>
          <cx:pt idx="18312">0</cx:pt>
          <cx:pt idx="18313">0</cx:pt>
          <cx:pt idx="18314">0</cx:pt>
          <cx:pt idx="18315">1</cx:pt>
          <cx:pt idx="18316">1</cx:pt>
          <cx:pt idx="18317">1</cx:pt>
          <cx:pt idx="18318">0</cx:pt>
          <cx:pt idx="18319">0</cx:pt>
          <cx:pt idx="18320">1</cx:pt>
          <cx:pt idx="18321">0</cx:pt>
          <cx:pt idx="18322">0</cx:pt>
          <cx:pt idx="18323">1</cx:pt>
          <cx:pt idx="18324">0</cx:pt>
          <cx:pt idx="18325">0</cx:pt>
          <cx:pt idx="18326">0</cx:pt>
          <cx:pt idx="18327">0</cx:pt>
          <cx:pt idx="18328">0</cx:pt>
          <cx:pt idx="18329">0</cx:pt>
          <cx:pt idx="18330">1</cx:pt>
          <cx:pt idx="18331">1</cx:pt>
          <cx:pt idx="18332">0</cx:pt>
          <cx:pt idx="18333">0</cx:pt>
          <cx:pt idx="18334">0</cx:pt>
          <cx:pt idx="18335">1</cx:pt>
          <cx:pt idx="18336">1</cx:pt>
          <cx:pt idx="18337">0</cx:pt>
          <cx:pt idx="18338">0</cx:pt>
          <cx:pt idx="18339">0</cx:pt>
          <cx:pt idx="18340">0</cx:pt>
          <cx:pt idx="18341">1</cx:pt>
          <cx:pt idx="18342">1</cx:pt>
          <cx:pt idx="18343">0</cx:pt>
          <cx:pt idx="18344">1</cx:pt>
          <cx:pt idx="18345">0</cx:pt>
          <cx:pt idx="18346">0</cx:pt>
          <cx:pt idx="18347">1</cx:pt>
          <cx:pt idx="18348">0</cx:pt>
          <cx:pt idx="18349">1</cx:pt>
          <cx:pt idx="18350">0</cx:pt>
          <cx:pt idx="18351">0</cx:pt>
          <cx:pt idx="18352">0</cx:pt>
          <cx:pt idx="18353">1</cx:pt>
          <cx:pt idx="18354">0</cx:pt>
          <cx:pt idx="18355">1</cx:pt>
          <cx:pt idx="18356">0</cx:pt>
          <cx:pt idx="18357">0</cx:pt>
          <cx:pt idx="18358">0</cx:pt>
          <cx:pt idx="18359">1</cx:pt>
          <cx:pt idx="18360">0</cx:pt>
          <cx:pt idx="18361">0</cx:pt>
          <cx:pt idx="18362">0</cx:pt>
          <cx:pt idx="18363">0</cx:pt>
          <cx:pt idx="18364">1</cx:pt>
          <cx:pt idx="18365">0</cx:pt>
          <cx:pt idx="18366">1</cx:pt>
          <cx:pt idx="18367">0</cx:pt>
          <cx:pt idx="18368">1</cx:pt>
          <cx:pt idx="18369">0</cx:pt>
          <cx:pt idx="18370">1</cx:pt>
          <cx:pt idx="18371">0</cx:pt>
          <cx:pt idx="18372">1</cx:pt>
          <cx:pt idx="18373">0</cx:pt>
          <cx:pt idx="18374">0</cx:pt>
          <cx:pt idx="18375">0</cx:pt>
          <cx:pt idx="18376">0</cx:pt>
          <cx:pt idx="18377">0</cx:pt>
          <cx:pt idx="18378">0</cx:pt>
          <cx:pt idx="18379">0</cx:pt>
          <cx:pt idx="18380">0</cx:pt>
          <cx:pt idx="18381">1</cx:pt>
          <cx:pt idx="18382">0</cx:pt>
          <cx:pt idx="18383">0</cx:pt>
          <cx:pt idx="18384">0</cx:pt>
          <cx:pt idx="18385">0</cx:pt>
          <cx:pt idx="18386">0</cx:pt>
          <cx:pt idx="18387">0</cx:pt>
          <cx:pt idx="18388">0</cx:pt>
          <cx:pt idx="18389">1</cx:pt>
          <cx:pt idx="18390">1</cx:pt>
          <cx:pt idx="18391">0</cx:pt>
          <cx:pt idx="18392">0</cx:pt>
          <cx:pt idx="18393">0</cx:pt>
          <cx:pt idx="18394">0</cx:pt>
          <cx:pt idx="18395">0</cx:pt>
          <cx:pt idx="18396">1</cx:pt>
          <cx:pt idx="18397">0</cx:pt>
          <cx:pt idx="18398">0</cx:pt>
          <cx:pt idx="18399">1</cx:pt>
          <cx:pt idx="18400">0</cx:pt>
          <cx:pt idx="18401">0</cx:pt>
          <cx:pt idx="18402">0</cx:pt>
          <cx:pt idx="18403">0</cx:pt>
          <cx:pt idx="18404">1</cx:pt>
          <cx:pt idx="18405">1</cx:pt>
          <cx:pt idx="18406">0</cx:pt>
          <cx:pt idx="18407">0</cx:pt>
          <cx:pt idx="18408">1</cx:pt>
          <cx:pt idx="18409">0</cx:pt>
          <cx:pt idx="18410">1</cx:pt>
          <cx:pt idx="18411">0</cx:pt>
          <cx:pt idx="18412">0</cx:pt>
          <cx:pt idx="18413">0</cx:pt>
          <cx:pt idx="18414">1</cx:pt>
          <cx:pt idx="18415">1</cx:pt>
          <cx:pt idx="18416">0</cx:pt>
          <cx:pt idx="18417">1</cx:pt>
          <cx:pt idx="18418">0</cx:pt>
          <cx:pt idx="18419">0</cx:pt>
          <cx:pt idx="18420">1</cx:pt>
          <cx:pt idx="18421">0</cx:pt>
          <cx:pt idx="18422">0</cx:pt>
          <cx:pt idx="18423">0</cx:pt>
          <cx:pt idx="18424">1</cx:pt>
          <cx:pt idx="18425">0</cx:pt>
          <cx:pt idx="18426">0</cx:pt>
          <cx:pt idx="18427">0</cx:pt>
          <cx:pt idx="18428">1</cx:pt>
          <cx:pt idx="18429">0</cx:pt>
          <cx:pt idx="18430">1</cx:pt>
          <cx:pt idx="18431">0</cx:pt>
          <cx:pt idx="18432">0</cx:pt>
          <cx:pt idx="18433">0</cx:pt>
          <cx:pt idx="18434">1</cx:pt>
          <cx:pt idx="18435">0</cx:pt>
          <cx:pt idx="18436">1</cx:pt>
          <cx:pt idx="18437">0</cx:pt>
          <cx:pt idx="18438">0</cx:pt>
          <cx:pt idx="18439">0</cx:pt>
          <cx:pt idx="18440">1</cx:pt>
          <cx:pt idx="18441">0</cx:pt>
          <cx:pt idx="18442">1</cx:pt>
          <cx:pt idx="18443">1</cx:pt>
          <cx:pt idx="18444">0</cx:pt>
          <cx:pt idx="18445">0</cx:pt>
          <cx:pt idx="18446">0</cx:pt>
          <cx:pt idx="18447">0</cx:pt>
          <cx:pt idx="18448">0</cx:pt>
          <cx:pt idx="18449">0</cx:pt>
          <cx:pt idx="18450">0</cx:pt>
          <cx:pt idx="18451">1</cx:pt>
          <cx:pt idx="18452">1</cx:pt>
          <cx:pt idx="18453">0</cx:pt>
          <cx:pt idx="18454">1</cx:pt>
          <cx:pt idx="18455">0</cx:pt>
          <cx:pt idx="18456">0</cx:pt>
          <cx:pt idx="18457">1</cx:pt>
          <cx:pt idx="18458">1</cx:pt>
          <cx:pt idx="18459">0</cx:pt>
          <cx:pt idx="18460">0</cx:pt>
          <cx:pt idx="18461">0</cx:pt>
          <cx:pt idx="18462">1</cx:pt>
          <cx:pt idx="18463">1</cx:pt>
          <cx:pt idx="18464">0</cx:pt>
          <cx:pt idx="18465">1</cx:pt>
          <cx:pt idx="18466">1</cx:pt>
          <cx:pt idx="18467">1</cx:pt>
          <cx:pt idx="18468">1</cx:pt>
          <cx:pt idx="18469">0</cx:pt>
          <cx:pt idx="18470">0</cx:pt>
          <cx:pt idx="18471">0</cx:pt>
          <cx:pt idx="18472">1</cx:pt>
          <cx:pt idx="18473">0</cx:pt>
          <cx:pt idx="18474">0</cx:pt>
          <cx:pt idx="18475">1</cx:pt>
          <cx:pt idx="18476">0</cx:pt>
          <cx:pt idx="18477">1</cx:pt>
          <cx:pt idx="18478">0</cx:pt>
          <cx:pt idx="18479">0</cx:pt>
          <cx:pt idx="18480">0</cx:pt>
          <cx:pt idx="18481">0</cx:pt>
          <cx:pt idx="18482">1</cx:pt>
          <cx:pt idx="18483">0</cx:pt>
          <cx:pt idx="18484">1</cx:pt>
          <cx:pt idx="18485">0</cx:pt>
          <cx:pt idx="18486">0</cx:pt>
          <cx:pt idx="18487">0</cx:pt>
          <cx:pt idx="18488">1</cx:pt>
          <cx:pt idx="18489">0</cx:pt>
          <cx:pt idx="18490">0</cx:pt>
          <cx:pt idx="18491">0</cx:pt>
          <cx:pt idx="18492">1</cx:pt>
          <cx:pt idx="18493">0</cx:pt>
          <cx:pt idx="18494">1</cx:pt>
          <cx:pt idx="18495">0</cx:pt>
          <cx:pt idx="18496">1</cx:pt>
          <cx:pt idx="18497">0</cx:pt>
          <cx:pt idx="18498">0</cx:pt>
          <cx:pt idx="18499">0</cx:pt>
          <cx:pt idx="18500">0</cx:pt>
          <cx:pt idx="18501">1</cx:pt>
          <cx:pt idx="18502">0</cx:pt>
          <cx:pt idx="18503">0</cx:pt>
          <cx:pt idx="18504">1</cx:pt>
          <cx:pt idx="18505">0</cx:pt>
          <cx:pt idx="18506">1</cx:pt>
          <cx:pt idx="18507">0</cx:pt>
          <cx:pt idx="18508">0</cx:pt>
          <cx:pt idx="18509">0</cx:pt>
          <cx:pt idx="18510">0</cx:pt>
          <cx:pt idx="18511">0</cx:pt>
          <cx:pt idx="18512">1</cx:pt>
          <cx:pt idx="18513">0</cx:pt>
          <cx:pt idx="18514">0</cx:pt>
          <cx:pt idx="18515">0</cx:pt>
          <cx:pt idx="18516">0</cx:pt>
          <cx:pt idx="18517">0</cx:pt>
          <cx:pt idx="18518">0</cx:pt>
          <cx:pt idx="18519">1</cx:pt>
          <cx:pt idx="18520">1</cx:pt>
          <cx:pt idx="18521">0</cx:pt>
          <cx:pt idx="18522">0</cx:pt>
          <cx:pt idx="18523">1</cx:pt>
          <cx:pt idx="18524">0</cx:pt>
          <cx:pt idx="18525">1</cx:pt>
          <cx:pt idx="18526">1</cx:pt>
          <cx:pt idx="18527">0</cx:pt>
          <cx:pt idx="18528">0</cx:pt>
          <cx:pt idx="18529">0</cx:pt>
          <cx:pt idx="18530">1</cx:pt>
          <cx:pt idx="18531">1</cx:pt>
          <cx:pt idx="18532">0</cx:pt>
          <cx:pt idx="18533">1</cx:pt>
          <cx:pt idx="18534">0</cx:pt>
          <cx:pt idx="18535">0</cx:pt>
          <cx:pt idx="18536">0</cx:pt>
          <cx:pt idx="18537">0</cx:pt>
          <cx:pt idx="18538">1</cx:pt>
          <cx:pt idx="18539">1</cx:pt>
          <cx:pt idx="18540">0</cx:pt>
          <cx:pt idx="18541">0</cx:pt>
          <cx:pt idx="18542">1</cx:pt>
          <cx:pt idx="18543">0</cx:pt>
          <cx:pt idx="18544">1</cx:pt>
          <cx:pt idx="18545">1</cx:pt>
          <cx:pt idx="18546">0</cx:pt>
          <cx:pt idx="18547">1</cx:pt>
          <cx:pt idx="18548">1</cx:pt>
          <cx:pt idx="18549">0</cx:pt>
          <cx:pt idx="18550">1</cx:pt>
          <cx:pt idx="18551">1</cx:pt>
          <cx:pt idx="18552">0</cx:pt>
          <cx:pt idx="18553">0</cx:pt>
          <cx:pt idx="18554">1</cx:pt>
          <cx:pt idx="18555">1</cx:pt>
          <cx:pt idx="18556">1</cx:pt>
          <cx:pt idx="18557">0</cx:pt>
          <cx:pt idx="18558">0</cx:pt>
          <cx:pt idx="18559">1</cx:pt>
          <cx:pt idx="18560">0</cx:pt>
          <cx:pt idx="18561">1</cx:pt>
          <cx:pt idx="18562">1</cx:pt>
          <cx:pt idx="18563">1</cx:pt>
          <cx:pt idx="18564">1</cx:pt>
          <cx:pt idx="18565">0</cx:pt>
          <cx:pt idx="18566">1</cx:pt>
          <cx:pt idx="18567">1</cx:pt>
          <cx:pt idx="18568">0</cx:pt>
          <cx:pt idx="18569">1</cx:pt>
          <cx:pt idx="18570">0</cx:pt>
          <cx:pt idx="18571">0</cx:pt>
          <cx:pt idx="18572">1</cx:pt>
          <cx:pt idx="18573">1</cx:pt>
          <cx:pt idx="18574">1</cx:pt>
          <cx:pt idx="18575">1</cx:pt>
          <cx:pt idx="18576">0</cx:pt>
          <cx:pt idx="18577">1</cx:pt>
          <cx:pt idx="18578">1</cx:pt>
          <cx:pt idx="18579">0</cx:pt>
          <cx:pt idx="18580">0</cx:pt>
          <cx:pt idx="18581">1</cx:pt>
          <cx:pt idx="18582">0</cx:pt>
          <cx:pt idx="18583">0</cx:pt>
          <cx:pt idx="18584">0</cx:pt>
          <cx:pt idx="18585">0</cx:pt>
          <cx:pt idx="18586">1</cx:pt>
          <cx:pt idx="18587">1</cx:pt>
          <cx:pt idx="18588">0</cx:pt>
          <cx:pt idx="18589">0</cx:pt>
          <cx:pt idx="18590">0</cx:pt>
          <cx:pt idx="18591">0</cx:pt>
          <cx:pt idx="18592">0</cx:pt>
          <cx:pt idx="18593">0</cx:pt>
          <cx:pt idx="18594">1</cx:pt>
          <cx:pt idx="18595">1</cx:pt>
          <cx:pt idx="18596">1</cx:pt>
          <cx:pt idx="18597">0</cx:pt>
          <cx:pt idx="18598">0</cx:pt>
          <cx:pt idx="18599">0</cx:pt>
          <cx:pt idx="18600">1</cx:pt>
          <cx:pt idx="18601">1</cx:pt>
          <cx:pt idx="18602">1</cx:pt>
          <cx:pt idx="18603">1</cx:pt>
          <cx:pt idx="18604">0</cx:pt>
          <cx:pt idx="18605">0</cx:pt>
          <cx:pt idx="18606">1</cx:pt>
          <cx:pt idx="18607">1</cx:pt>
          <cx:pt idx="18608">1</cx:pt>
          <cx:pt idx="18609">1</cx:pt>
          <cx:pt idx="18610">1</cx:pt>
          <cx:pt idx="18611">1</cx:pt>
          <cx:pt idx="18612">0</cx:pt>
          <cx:pt idx="18613">1</cx:pt>
          <cx:pt idx="18614">0</cx:pt>
          <cx:pt idx="18615">0</cx:pt>
          <cx:pt idx="18616">1</cx:pt>
          <cx:pt idx="18617">1</cx:pt>
          <cx:pt idx="18618">0</cx:pt>
          <cx:pt idx="18619">1</cx:pt>
          <cx:pt idx="18620">1</cx:pt>
          <cx:pt idx="18621">0</cx:pt>
          <cx:pt idx="18622">1</cx:pt>
          <cx:pt idx="18623">0</cx:pt>
          <cx:pt idx="18624">1</cx:pt>
          <cx:pt idx="18625">1</cx:pt>
          <cx:pt idx="18626">0</cx:pt>
          <cx:pt idx="18627">0</cx:pt>
          <cx:pt idx="18628">0</cx:pt>
          <cx:pt idx="18629">0</cx:pt>
          <cx:pt idx="18630">0</cx:pt>
          <cx:pt idx="18631">0</cx:pt>
          <cx:pt idx="18632">1</cx:pt>
          <cx:pt idx="18633">0</cx:pt>
          <cx:pt idx="18634">0</cx:pt>
          <cx:pt idx="18635">1</cx:pt>
          <cx:pt idx="18636">1</cx:pt>
          <cx:pt idx="18637">0</cx:pt>
          <cx:pt idx="18638">0</cx:pt>
          <cx:pt idx="18639">0</cx:pt>
          <cx:pt idx="18640">0</cx:pt>
          <cx:pt idx="18641">1</cx:pt>
          <cx:pt idx="18642">0</cx:pt>
          <cx:pt idx="18643">0</cx:pt>
          <cx:pt idx="18644">0</cx:pt>
          <cx:pt idx="18645">0</cx:pt>
          <cx:pt idx="18646">0</cx:pt>
          <cx:pt idx="18647">1</cx:pt>
          <cx:pt idx="18648">1</cx:pt>
          <cx:pt idx="18649">1</cx:pt>
          <cx:pt idx="18650">0</cx:pt>
          <cx:pt idx="18651">0</cx:pt>
          <cx:pt idx="18652">0</cx:pt>
          <cx:pt idx="18653">0</cx:pt>
          <cx:pt idx="18654">0</cx:pt>
          <cx:pt idx="18655">0</cx:pt>
          <cx:pt idx="18656">1</cx:pt>
          <cx:pt idx="18657">0</cx:pt>
          <cx:pt idx="18658">0</cx:pt>
          <cx:pt idx="18659">0</cx:pt>
          <cx:pt idx="18660">0</cx:pt>
          <cx:pt idx="18661">1</cx:pt>
          <cx:pt idx="18662">0</cx:pt>
          <cx:pt idx="18663">1</cx:pt>
          <cx:pt idx="18664">1</cx:pt>
          <cx:pt idx="18665">1</cx:pt>
          <cx:pt idx="18666">1</cx:pt>
          <cx:pt idx="18667">1</cx:pt>
          <cx:pt idx="18668">0</cx:pt>
          <cx:pt idx="18669">0</cx:pt>
          <cx:pt idx="18670">0</cx:pt>
          <cx:pt idx="18671">1</cx:pt>
          <cx:pt idx="18672">1</cx:pt>
          <cx:pt idx="18673">0</cx:pt>
          <cx:pt idx="18674">1</cx:pt>
          <cx:pt idx="18675">0</cx:pt>
          <cx:pt idx="18676">0</cx:pt>
          <cx:pt idx="18677">1</cx:pt>
          <cx:pt idx="18678">0</cx:pt>
          <cx:pt idx="18679">0</cx:pt>
          <cx:pt idx="18680">1</cx:pt>
          <cx:pt idx="18681">0</cx:pt>
          <cx:pt idx="18682">1</cx:pt>
          <cx:pt idx="18683">1</cx:pt>
          <cx:pt idx="18684">0</cx:pt>
          <cx:pt idx="18685">0</cx:pt>
          <cx:pt idx="18686">0</cx:pt>
          <cx:pt idx="18687">1</cx:pt>
          <cx:pt idx="18688">1</cx:pt>
          <cx:pt idx="18689">0</cx:pt>
          <cx:pt idx="18690">0</cx:pt>
          <cx:pt idx="18691">1</cx:pt>
          <cx:pt idx="18692">1</cx:pt>
          <cx:pt idx="18693">1</cx:pt>
          <cx:pt idx="18694">1</cx:pt>
          <cx:pt idx="18695">0</cx:pt>
          <cx:pt idx="18696">0</cx:pt>
          <cx:pt idx="18697">0</cx:pt>
          <cx:pt idx="18698">0</cx:pt>
          <cx:pt idx="18699">0</cx:pt>
          <cx:pt idx="18700">1</cx:pt>
          <cx:pt idx="18701">1</cx:pt>
          <cx:pt idx="18702">0</cx:pt>
          <cx:pt idx="18703">0</cx:pt>
          <cx:pt idx="18704">0</cx:pt>
          <cx:pt idx="18705">1</cx:pt>
          <cx:pt idx="18706">0</cx:pt>
          <cx:pt idx="18707">0</cx:pt>
          <cx:pt idx="18708">1</cx:pt>
          <cx:pt idx="18709">1</cx:pt>
          <cx:pt idx="18710">0</cx:pt>
          <cx:pt idx="18711">1</cx:pt>
          <cx:pt idx="18712">0</cx:pt>
          <cx:pt idx="18713">0</cx:pt>
          <cx:pt idx="18714">0</cx:pt>
          <cx:pt idx="18715">0</cx:pt>
          <cx:pt idx="18716">0</cx:pt>
          <cx:pt idx="18717">0</cx:pt>
          <cx:pt idx="18718">0</cx:pt>
          <cx:pt idx="18719">0</cx:pt>
          <cx:pt idx="18720">1</cx:pt>
          <cx:pt idx="18721">1</cx:pt>
          <cx:pt idx="18722">0</cx:pt>
          <cx:pt idx="18723">1</cx:pt>
          <cx:pt idx="18724">1</cx:pt>
          <cx:pt idx="18725">1</cx:pt>
          <cx:pt idx="18726">0</cx:pt>
          <cx:pt idx="18727">1</cx:pt>
          <cx:pt idx="18728">1</cx:pt>
          <cx:pt idx="18729">0</cx:pt>
          <cx:pt idx="18730">0</cx:pt>
          <cx:pt idx="18731">1</cx:pt>
          <cx:pt idx="18732">0</cx:pt>
          <cx:pt idx="18733">0</cx:pt>
          <cx:pt idx="18734">1</cx:pt>
          <cx:pt idx="18735">1</cx:pt>
          <cx:pt idx="18736">0</cx:pt>
          <cx:pt idx="18737">0</cx:pt>
          <cx:pt idx="18738">0</cx:pt>
          <cx:pt idx="18739">0</cx:pt>
          <cx:pt idx="18740">0</cx:pt>
          <cx:pt idx="18741">1</cx:pt>
          <cx:pt idx="18742">0</cx:pt>
          <cx:pt idx="18743">1</cx:pt>
          <cx:pt idx="18744">1</cx:pt>
          <cx:pt idx="18745">1</cx:pt>
          <cx:pt idx="18746">0</cx:pt>
          <cx:pt idx="18747">0</cx:pt>
          <cx:pt idx="18748">0</cx:pt>
          <cx:pt idx="18749">0</cx:pt>
          <cx:pt idx="18750">0</cx:pt>
          <cx:pt idx="18751">0</cx:pt>
          <cx:pt idx="18752">1</cx:pt>
          <cx:pt idx="18753">0</cx:pt>
          <cx:pt idx="18754">1</cx:pt>
          <cx:pt idx="18755">0</cx:pt>
          <cx:pt idx="18756">1</cx:pt>
          <cx:pt idx="18757">1</cx:pt>
          <cx:pt idx="18758">0</cx:pt>
          <cx:pt idx="18759">0</cx:pt>
          <cx:pt idx="18760">0</cx:pt>
          <cx:pt idx="18761">1</cx:pt>
          <cx:pt idx="18762">0</cx:pt>
          <cx:pt idx="18763">0</cx:pt>
          <cx:pt idx="18764">1</cx:pt>
          <cx:pt idx="18765">0</cx:pt>
          <cx:pt idx="18766">1</cx:pt>
          <cx:pt idx="18767">0</cx:pt>
          <cx:pt idx="18768">1</cx:pt>
          <cx:pt idx="18769">1</cx:pt>
          <cx:pt idx="18770">0</cx:pt>
          <cx:pt idx="18771">0</cx:pt>
          <cx:pt idx="18772">0</cx:pt>
          <cx:pt idx="18773">1</cx:pt>
          <cx:pt idx="18774">0</cx:pt>
          <cx:pt idx="18775">1</cx:pt>
          <cx:pt idx="18776">1</cx:pt>
          <cx:pt idx="18777">1</cx:pt>
          <cx:pt idx="18778">0</cx:pt>
          <cx:pt idx="18779">0</cx:pt>
          <cx:pt idx="18780">1</cx:pt>
          <cx:pt idx="18781">0</cx:pt>
          <cx:pt idx="18782">0</cx:pt>
          <cx:pt idx="18783">0</cx:pt>
          <cx:pt idx="18784">0</cx:pt>
          <cx:pt idx="18785">0</cx:pt>
          <cx:pt idx="18786">1</cx:pt>
          <cx:pt idx="18787">1</cx:pt>
          <cx:pt idx="18788">1</cx:pt>
          <cx:pt idx="18789">1</cx:pt>
          <cx:pt idx="18790">0</cx:pt>
          <cx:pt idx="18791">1</cx:pt>
          <cx:pt idx="18792">1</cx:pt>
          <cx:pt idx="18793">0</cx:pt>
          <cx:pt idx="18794">1</cx:pt>
          <cx:pt idx="18795">1</cx:pt>
          <cx:pt idx="18796">0</cx:pt>
          <cx:pt idx="18797">0</cx:pt>
          <cx:pt idx="18798">1</cx:pt>
          <cx:pt idx="18799">1</cx:pt>
          <cx:pt idx="18800">1</cx:pt>
          <cx:pt idx="18801">0</cx:pt>
          <cx:pt idx="18802">1</cx:pt>
          <cx:pt idx="18803">0</cx:pt>
          <cx:pt idx="18804">1</cx:pt>
          <cx:pt idx="18805">0</cx:pt>
          <cx:pt idx="18806">1</cx:pt>
          <cx:pt idx="18807">0</cx:pt>
          <cx:pt idx="18808">0</cx:pt>
          <cx:pt idx="18809">1</cx:pt>
          <cx:pt idx="18810">0</cx:pt>
          <cx:pt idx="18811">1</cx:pt>
          <cx:pt idx="18812">1</cx:pt>
          <cx:pt idx="18813">0</cx:pt>
          <cx:pt idx="18814">1</cx:pt>
          <cx:pt idx="18815">1</cx:pt>
          <cx:pt idx="18816">1</cx:pt>
          <cx:pt idx="18817">0</cx:pt>
          <cx:pt idx="18818">0</cx:pt>
          <cx:pt idx="18819">0</cx:pt>
          <cx:pt idx="18820">0</cx:pt>
          <cx:pt idx="18821">1</cx:pt>
          <cx:pt idx="18822">1</cx:pt>
          <cx:pt idx="18823">1</cx:pt>
          <cx:pt idx="18824">0</cx:pt>
          <cx:pt idx="18825">0</cx:pt>
          <cx:pt idx="18826">0</cx:pt>
          <cx:pt idx="18827">1</cx:pt>
          <cx:pt idx="18828">1</cx:pt>
          <cx:pt idx="18829">1</cx:pt>
          <cx:pt idx="18830">0</cx:pt>
          <cx:pt idx="18831">0</cx:pt>
          <cx:pt idx="18832">1</cx:pt>
          <cx:pt idx="18833">0</cx:pt>
          <cx:pt idx="18834">0</cx:pt>
          <cx:pt idx="18835">0</cx:pt>
          <cx:pt idx="18836">0</cx:pt>
          <cx:pt idx="18837">1</cx:pt>
          <cx:pt idx="18838">1</cx:pt>
          <cx:pt idx="18839">0</cx:pt>
          <cx:pt idx="18840">1</cx:pt>
          <cx:pt idx="18841">0</cx:pt>
          <cx:pt idx="18842">0</cx:pt>
          <cx:pt idx="18843">1</cx:pt>
          <cx:pt idx="18844">0</cx:pt>
          <cx:pt idx="18845">0</cx:pt>
          <cx:pt idx="18846">0</cx:pt>
          <cx:pt idx="18847">1</cx:pt>
          <cx:pt idx="18848">1</cx:pt>
          <cx:pt idx="18849">1</cx:pt>
          <cx:pt idx="18850">0</cx:pt>
          <cx:pt idx="18851">0</cx:pt>
          <cx:pt idx="18852">0</cx:pt>
          <cx:pt idx="18853">0</cx:pt>
          <cx:pt idx="18854">0</cx:pt>
          <cx:pt idx="18855">1</cx:pt>
          <cx:pt idx="18856">0</cx:pt>
          <cx:pt idx="18857">0</cx:pt>
          <cx:pt idx="18858">0</cx:pt>
          <cx:pt idx="18859">0</cx:pt>
          <cx:pt idx="18860">0</cx:pt>
          <cx:pt idx="18861">0</cx:pt>
          <cx:pt idx="18862">0</cx:pt>
          <cx:pt idx="18863">0</cx:pt>
          <cx:pt idx="18864">1</cx:pt>
          <cx:pt idx="18865">1</cx:pt>
          <cx:pt idx="18866">0</cx:pt>
          <cx:pt idx="18867">0</cx:pt>
          <cx:pt idx="18868">0</cx:pt>
          <cx:pt idx="18869">0</cx:pt>
          <cx:pt idx="18870">0</cx:pt>
          <cx:pt idx="18871">0</cx:pt>
          <cx:pt idx="18872">0</cx:pt>
          <cx:pt idx="18873">0</cx:pt>
          <cx:pt idx="18874">1</cx:pt>
          <cx:pt idx="18875">0</cx:pt>
          <cx:pt idx="18876">0</cx:pt>
          <cx:pt idx="18877">1</cx:pt>
          <cx:pt idx="18878">1</cx:pt>
          <cx:pt idx="18879">1</cx:pt>
          <cx:pt idx="18880">0</cx:pt>
          <cx:pt idx="18881">0</cx:pt>
          <cx:pt idx="18882">0</cx:pt>
          <cx:pt idx="18883">1</cx:pt>
          <cx:pt idx="18884">1</cx:pt>
          <cx:pt idx="18885">1</cx:pt>
          <cx:pt idx="18886">1</cx:pt>
          <cx:pt idx="18887">1</cx:pt>
          <cx:pt idx="18888">0</cx:pt>
          <cx:pt idx="18889">1</cx:pt>
          <cx:pt idx="18890">1</cx:pt>
          <cx:pt idx="18891">0</cx:pt>
          <cx:pt idx="18892">0</cx:pt>
          <cx:pt idx="18893">0</cx:pt>
          <cx:pt idx="18894">1</cx:pt>
          <cx:pt idx="18895">0</cx:pt>
          <cx:pt idx="18896">1</cx:pt>
          <cx:pt idx="18897">1</cx:pt>
          <cx:pt idx="18898">1</cx:pt>
          <cx:pt idx="18899">0</cx:pt>
          <cx:pt idx="18900">1</cx:pt>
          <cx:pt idx="18901">1</cx:pt>
          <cx:pt idx="18902">1</cx:pt>
          <cx:pt idx="18903">1</cx:pt>
          <cx:pt idx="18904">0</cx:pt>
          <cx:pt idx="18905">1</cx:pt>
          <cx:pt idx="18906">0</cx:pt>
          <cx:pt idx="18907">1</cx:pt>
          <cx:pt idx="18908">0</cx:pt>
          <cx:pt idx="18909">1</cx:pt>
          <cx:pt idx="18910">0</cx:pt>
          <cx:pt idx="18911">1</cx:pt>
          <cx:pt idx="18912">1</cx:pt>
          <cx:pt idx="18913">0</cx:pt>
          <cx:pt idx="18914">1</cx:pt>
          <cx:pt idx="18915">0</cx:pt>
          <cx:pt idx="18916">0</cx:pt>
          <cx:pt idx="18917">0</cx:pt>
          <cx:pt idx="18918">1</cx:pt>
          <cx:pt idx="18919">0</cx:pt>
          <cx:pt idx="18920">0</cx:pt>
          <cx:pt idx="18921">0</cx:pt>
          <cx:pt idx="18922">0</cx:pt>
          <cx:pt idx="18923">1</cx:pt>
          <cx:pt idx="18924">1</cx:pt>
          <cx:pt idx="18925">1</cx:pt>
          <cx:pt idx="18926">0</cx:pt>
          <cx:pt idx="18927">0</cx:pt>
          <cx:pt idx="18928">0</cx:pt>
          <cx:pt idx="18929">1</cx:pt>
          <cx:pt idx="18930">0</cx:pt>
          <cx:pt idx="18931">1</cx:pt>
          <cx:pt idx="18932">1</cx:pt>
          <cx:pt idx="18933">1</cx:pt>
          <cx:pt idx="18934">0</cx:pt>
          <cx:pt idx="18935">0</cx:pt>
          <cx:pt idx="18936">0</cx:pt>
          <cx:pt idx="18937">1</cx:pt>
          <cx:pt idx="18938">0</cx:pt>
          <cx:pt idx="18939">1</cx:pt>
          <cx:pt idx="18940">0</cx:pt>
          <cx:pt idx="18941">1</cx:pt>
          <cx:pt idx="18942">0</cx:pt>
          <cx:pt idx="18943">0</cx:pt>
          <cx:pt idx="18944">0</cx:pt>
          <cx:pt idx="18945">1</cx:pt>
          <cx:pt idx="18946">1</cx:pt>
          <cx:pt idx="18947">1</cx:pt>
          <cx:pt idx="18948">0</cx:pt>
          <cx:pt idx="18949">0</cx:pt>
          <cx:pt idx="18950">1</cx:pt>
          <cx:pt idx="18951">0</cx:pt>
          <cx:pt idx="18952">0</cx:pt>
          <cx:pt idx="18953">1</cx:pt>
          <cx:pt idx="18954">0</cx:pt>
          <cx:pt idx="18955">0</cx:pt>
          <cx:pt idx="18956">0</cx:pt>
          <cx:pt idx="18957">1</cx:pt>
          <cx:pt idx="18958">0</cx:pt>
          <cx:pt idx="18959">1</cx:pt>
          <cx:pt idx="18960">1</cx:pt>
          <cx:pt idx="18961">1</cx:pt>
          <cx:pt idx="18962">0</cx:pt>
          <cx:pt idx="18963">0</cx:pt>
          <cx:pt idx="18964">1</cx:pt>
          <cx:pt idx="18965">0</cx:pt>
          <cx:pt idx="18966">0</cx:pt>
          <cx:pt idx="18967">1</cx:pt>
          <cx:pt idx="18968">1</cx:pt>
          <cx:pt idx="18969">0</cx:pt>
          <cx:pt idx="18970">1</cx:pt>
          <cx:pt idx="18971">0</cx:pt>
          <cx:pt idx="18972">0</cx:pt>
          <cx:pt idx="18973">1</cx:pt>
          <cx:pt idx="18974">0</cx:pt>
          <cx:pt idx="18975">1</cx:pt>
          <cx:pt idx="18976">1</cx:pt>
          <cx:pt idx="18977">0</cx:pt>
          <cx:pt idx="18978">1</cx:pt>
          <cx:pt idx="18979">1</cx:pt>
          <cx:pt idx="18980">0</cx:pt>
          <cx:pt idx="18981">1</cx:pt>
          <cx:pt idx="18982">0</cx:pt>
          <cx:pt idx="18983">0</cx:pt>
          <cx:pt idx="18984">0</cx:pt>
          <cx:pt idx="18985">0</cx:pt>
          <cx:pt idx="18986">1</cx:pt>
          <cx:pt idx="18987">0</cx:pt>
          <cx:pt idx="18988">1</cx:pt>
          <cx:pt idx="18989">1</cx:pt>
          <cx:pt idx="18990">0</cx:pt>
          <cx:pt idx="18991">0</cx:pt>
          <cx:pt idx="18992">1</cx:pt>
          <cx:pt idx="18993">1</cx:pt>
          <cx:pt idx="18994">0</cx:pt>
          <cx:pt idx="18995">0</cx:pt>
          <cx:pt idx="18996">1</cx:pt>
          <cx:pt idx="18997">1</cx:pt>
          <cx:pt idx="18998">0</cx:pt>
          <cx:pt idx="18999">1</cx:pt>
          <cx:pt idx="19000">0</cx:pt>
          <cx:pt idx="19001">0</cx:pt>
          <cx:pt idx="19002">0</cx:pt>
          <cx:pt idx="19003">0</cx:pt>
          <cx:pt idx="19004">0</cx:pt>
          <cx:pt idx="19005">1</cx:pt>
          <cx:pt idx="19006">1</cx:pt>
          <cx:pt idx="19007">1</cx:pt>
          <cx:pt idx="19008">1</cx:pt>
          <cx:pt idx="19009">1</cx:pt>
          <cx:pt idx="19010">0</cx:pt>
          <cx:pt idx="19011">1</cx:pt>
          <cx:pt idx="19012">1</cx:pt>
          <cx:pt idx="19013">1</cx:pt>
          <cx:pt idx="19014">0</cx:pt>
          <cx:pt idx="19015">0</cx:pt>
          <cx:pt idx="19016">0</cx:pt>
          <cx:pt idx="19017">0</cx:pt>
          <cx:pt idx="19018">1</cx:pt>
          <cx:pt idx="19019">0</cx:pt>
          <cx:pt idx="19020">1</cx:pt>
          <cx:pt idx="19021">0</cx:pt>
          <cx:pt idx="19022">0</cx:pt>
          <cx:pt idx="19023">0</cx:pt>
          <cx:pt idx="19024">1</cx:pt>
          <cx:pt idx="19025">1</cx:pt>
          <cx:pt idx="19026">1</cx:pt>
          <cx:pt idx="19027">0</cx:pt>
          <cx:pt idx="19028">1</cx:pt>
          <cx:pt idx="19029">1</cx:pt>
          <cx:pt idx="19030">0</cx:pt>
          <cx:pt idx="19031">1</cx:pt>
          <cx:pt idx="19032">0</cx:pt>
          <cx:pt idx="19033">1</cx:pt>
          <cx:pt idx="19034">1</cx:pt>
          <cx:pt idx="19035">0</cx:pt>
          <cx:pt idx="19036">0</cx:pt>
          <cx:pt idx="19037">0</cx:pt>
          <cx:pt idx="19038">1</cx:pt>
          <cx:pt idx="19039">1</cx:pt>
          <cx:pt idx="19040">0</cx:pt>
          <cx:pt idx="19041">0</cx:pt>
          <cx:pt idx="19042">1</cx:pt>
          <cx:pt idx="19043">0</cx:pt>
          <cx:pt idx="19044">0</cx:pt>
          <cx:pt idx="19045">0</cx:pt>
          <cx:pt idx="19046">0</cx:pt>
          <cx:pt idx="19047">1</cx:pt>
          <cx:pt idx="19048">0</cx:pt>
          <cx:pt idx="19049">0</cx:pt>
          <cx:pt idx="19050">0</cx:pt>
          <cx:pt idx="19051">1</cx:pt>
          <cx:pt idx="19052">1</cx:pt>
          <cx:pt idx="19053">0</cx:pt>
          <cx:pt idx="19054">0</cx:pt>
          <cx:pt idx="19055">1</cx:pt>
          <cx:pt idx="19056">1</cx:pt>
          <cx:pt idx="19057">0</cx:pt>
          <cx:pt idx="19058">1</cx:pt>
          <cx:pt idx="19059">0</cx:pt>
          <cx:pt idx="19060">0</cx:pt>
          <cx:pt idx="19061">0</cx:pt>
          <cx:pt idx="19062">1</cx:pt>
          <cx:pt idx="19063">0</cx:pt>
          <cx:pt idx="19064">0</cx:pt>
          <cx:pt idx="19065">1</cx:pt>
          <cx:pt idx="19066">0</cx:pt>
          <cx:pt idx="19067">1</cx:pt>
          <cx:pt idx="19068">1</cx:pt>
          <cx:pt idx="19069">0</cx:pt>
          <cx:pt idx="19070">1</cx:pt>
          <cx:pt idx="19071">1</cx:pt>
          <cx:pt idx="19072">1</cx:pt>
          <cx:pt idx="19073">1</cx:pt>
          <cx:pt idx="19074">0</cx:pt>
          <cx:pt idx="19075">1</cx:pt>
          <cx:pt idx="19076">0</cx:pt>
          <cx:pt idx="19077">1</cx:pt>
          <cx:pt idx="19078">0</cx:pt>
          <cx:pt idx="19079">1</cx:pt>
          <cx:pt idx="19080">0</cx:pt>
          <cx:pt idx="19081">0</cx:pt>
          <cx:pt idx="19082">0</cx:pt>
          <cx:pt idx="19083">0</cx:pt>
          <cx:pt idx="19084">1</cx:pt>
          <cx:pt idx="19085">1</cx:pt>
          <cx:pt idx="19086">0</cx:pt>
          <cx:pt idx="19087">1</cx:pt>
          <cx:pt idx="19088">1</cx:pt>
          <cx:pt idx="19089">1</cx:pt>
          <cx:pt idx="19090">0</cx:pt>
          <cx:pt idx="19091">1</cx:pt>
          <cx:pt idx="19092">1</cx:pt>
          <cx:pt idx="19093">0</cx:pt>
          <cx:pt idx="19094">0</cx:pt>
          <cx:pt idx="19095">0</cx:pt>
          <cx:pt idx="19096">0</cx:pt>
          <cx:pt idx="19097">1</cx:pt>
          <cx:pt idx="19098">1</cx:pt>
          <cx:pt idx="19099">0</cx:pt>
          <cx:pt idx="19100">0</cx:pt>
          <cx:pt idx="19101">0</cx:pt>
          <cx:pt idx="19102">0</cx:pt>
          <cx:pt idx="19103">1</cx:pt>
          <cx:pt idx="19104">1</cx:pt>
          <cx:pt idx="19105">1</cx:pt>
          <cx:pt idx="19106">1</cx:pt>
          <cx:pt idx="19107">1</cx:pt>
          <cx:pt idx="19108">0</cx:pt>
          <cx:pt idx="19109">0</cx:pt>
          <cx:pt idx="19110">0</cx:pt>
          <cx:pt idx="19111">0</cx:pt>
          <cx:pt idx="19112">1</cx:pt>
          <cx:pt idx="19113">0</cx:pt>
          <cx:pt idx="19114">0</cx:pt>
          <cx:pt idx="19115">0</cx:pt>
          <cx:pt idx="19116">0</cx:pt>
          <cx:pt idx="19117">1</cx:pt>
          <cx:pt idx="19118">1</cx:pt>
          <cx:pt idx="19119">1</cx:pt>
          <cx:pt idx="19120">1</cx:pt>
          <cx:pt idx="19121">1</cx:pt>
          <cx:pt idx="19122">1</cx:pt>
          <cx:pt idx="19123">0</cx:pt>
          <cx:pt idx="19124">0</cx:pt>
          <cx:pt idx="19125">0</cx:pt>
          <cx:pt idx="19126">1</cx:pt>
          <cx:pt idx="19127">0</cx:pt>
          <cx:pt idx="19128">1</cx:pt>
          <cx:pt idx="19129">1</cx:pt>
          <cx:pt idx="19130">0</cx:pt>
          <cx:pt idx="19131">0</cx:pt>
          <cx:pt idx="19132">1</cx:pt>
          <cx:pt idx="19133">1</cx:pt>
          <cx:pt idx="19134">0</cx:pt>
          <cx:pt idx="19135">1</cx:pt>
          <cx:pt idx="19136">0</cx:pt>
          <cx:pt idx="19137">1</cx:pt>
          <cx:pt idx="19138">1</cx:pt>
          <cx:pt idx="19139">0</cx:pt>
          <cx:pt idx="19140">1</cx:pt>
          <cx:pt idx="19141">0</cx:pt>
          <cx:pt idx="19142">1</cx:pt>
          <cx:pt idx="19143">1</cx:pt>
          <cx:pt idx="19144">0</cx:pt>
          <cx:pt idx="19145">1</cx:pt>
          <cx:pt idx="19146">1</cx:pt>
          <cx:pt idx="19147">0</cx:pt>
          <cx:pt idx="19148">1</cx:pt>
          <cx:pt idx="19149">1</cx:pt>
          <cx:pt idx="19150">0</cx:pt>
          <cx:pt idx="19151">1</cx:pt>
          <cx:pt idx="19152">1</cx:pt>
          <cx:pt idx="19153">0</cx:pt>
          <cx:pt idx="19154">1</cx:pt>
          <cx:pt idx="19155">1</cx:pt>
          <cx:pt idx="19156">1</cx:pt>
          <cx:pt idx="19157">1</cx:pt>
          <cx:pt idx="19158">1</cx:pt>
          <cx:pt idx="19159">1</cx:pt>
          <cx:pt idx="19160">0</cx:pt>
          <cx:pt idx="19161">0</cx:pt>
          <cx:pt idx="19162">0</cx:pt>
          <cx:pt idx="19163">0</cx:pt>
          <cx:pt idx="19164">0</cx:pt>
          <cx:pt idx="19165">1</cx:pt>
          <cx:pt idx="19166">0</cx:pt>
          <cx:pt idx="19167">1</cx:pt>
          <cx:pt idx="19168">0</cx:pt>
          <cx:pt idx="19169">0</cx:pt>
          <cx:pt idx="19170">1</cx:pt>
          <cx:pt idx="19171">0</cx:pt>
          <cx:pt idx="19172">1</cx:pt>
          <cx:pt idx="19173">1</cx:pt>
          <cx:pt idx="19174">0</cx:pt>
          <cx:pt idx="19175">0</cx:pt>
          <cx:pt idx="19176">1</cx:pt>
          <cx:pt idx="19177">1</cx:pt>
          <cx:pt idx="19178">0</cx:pt>
          <cx:pt idx="19179">0</cx:pt>
          <cx:pt idx="19180">1</cx:pt>
          <cx:pt idx="19181">0</cx:pt>
          <cx:pt idx="19182">0</cx:pt>
          <cx:pt idx="19183">1</cx:pt>
          <cx:pt idx="19184">1</cx:pt>
          <cx:pt idx="19185">0</cx:pt>
          <cx:pt idx="19186">1</cx:pt>
          <cx:pt idx="19187">0</cx:pt>
          <cx:pt idx="19188">0</cx:pt>
          <cx:pt idx="19189">0</cx:pt>
          <cx:pt idx="19190">1</cx:pt>
          <cx:pt idx="19191">1</cx:pt>
          <cx:pt idx="19192">0</cx:pt>
          <cx:pt idx="19193">1</cx:pt>
          <cx:pt idx="19194">0</cx:pt>
          <cx:pt idx="19195">0</cx:pt>
          <cx:pt idx="19196">0</cx:pt>
          <cx:pt idx="19197">0</cx:pt>
          <cx:pt idx="19198">0</cx:pt>
          <cx:pt idx="19199">1</cx:pt>
          <cx:pt idx="19200">0</cx:pt>
          <cx:pt idx="19201">0</cx:pt>
          <cx:pt idx="19202">0</cx:pt>
          <cx:pt idx="19203">1</cx:pt>
          <cx:pt idx="19204">0</cx:pt>
          <cx:pt idx="19205">1</cx:pt>
          <cx:pt idx="19206">0</cx:pt>
          <cx:pt idx="19207">0</cx:pt>
          <cx:pt idx="19208">1</cx:pt>
          <cx:pt idx="19209">1</cx:pt>
          <cx:pt idx="19210">0</cx:pt>
          <cx:pt idx="19211">1</cx:pt>
          <cx:pt idx="19212">1</cx:pt>
          <cx:pt idx="19213">0</cx:pt>
          <cx:pt idx="19214">0</cx:pt>
          <cx:pt idx="19215">0</cx:pt>
          <cx:pt idx="19216">1</cx:pt>
          <cx:pt idx="19217">0</cx:pt>
          <cx:pt idx="19218">1</cx:pt>
          <cx:pt idx="19219">0</cx:pt>
          <cx:pt idx="19220">1</cx:pt>
          <cx:pt idx="19221">1</cx:pt>
          <cx:pt idx="19222">1</cx:pt>
          <cx:pt idx="19223">1</cx:pt>
          <cx:pt idx="19224">0</cx:pt>
          <cx:pt idx="19225">0</cx:pt>
          <cx:pt idx="19226">0</cx:pt>
          <cx:pt idx="19227">1</cx:pt>
          <cx:pt idx="19228">0</cx:pt>
          <cx:pt idx="19229">1</cx:pt>
          <cx:pt idx="19230">0</cx:pt>
          <cx:pt idx="19231">1</cx:pt>
          <cx:pt idx="19232">1</cx:pt>
          <cx:pt idx="19233">1</cx:pt>
          <cx:pt idx="19234">0</cx:pt>
          <cx:pt idx="19235">1</cx:pt>
          <cx:pt idx="19236">0</cx:pt>
          <cx:pt idx="19237">0</cx:pt>
          <cx:pt idx="19238">1</cx:pt>
          <cx:pt idx="19239">0</cx:pt>
          <cx:pt idx="19240">1</cx:pt>
          <cx:pt idx="19241">1</cx:pt>
          <cx:pt idx="19242">0</cx:pt>
          <cx:pt idx="19243">1</cx:pt>
          <cx:pt idx="19244">0</cx:pt>
          <cx:pt idx="19245">1</cx:pt>
          <cx:pt idx="19246">1</cx:pt>
          <cx:pt idx="19247">1</cx:pt>
          <cx:pt idx="19248">1</cx:pt>
          <cx:pt idx="19249">0</cx:pt>
          <cx:pt idx="19250">0</cx:pt>
          <cx:pt idx="19251">1</cx:pt>
          <cx:pt idx="19252">0</cx:pt>
          <cx:pt idx="19253">0</cx:pt>
          <cx:pt idx="19254">1</cx:pt>
          <cx:pt idx="19255">0</cx:pt>
          <cx:pt idx="19256">0</cx:pt>
          <cx:pt idx="19257">0</cx:pt>
          <cx:pt idx="19258">0</cx:pt>
          <cx:pt idx="19259">0</cx:pt>
          <cx:pt idx="19260">1</cx:pt>
          <cx:pt idx="19261">0</cx:pt>
          <cx:pt idx="19262">1</cx:pt>
          <cx:pt idx="19263">0</cx:pt>
          <cx:pt idx="19264">1</cx:pt>
          <cx:pt idx="19265">1</cx:pt>
          <cx:pt idx="19266">1</cx:pt>
          <cx:pt idx="19267">1</cx:pt>
          <cx:pt idx="19268">0</cx:pt>
          <cx:pt idx="19269">1</cx:pt>
          <cx:pt idx="19270">0</cx:pt>
          <cx:pt idx="19271">1</cx:pt>
          <cx:pt idx="19272">0</cx:pt>
          <cx:pt idx="19273">1</cx:pt>
          <cx:pt idx="19274">1</cx:pt>
          <cx:pt idx="19275">1</cx:pt>
          <cx:pt idx="19276">0</cx:pt>
          <cx:pt idx="19277">0</cx:pt>
          <cx:pt idx="19278">1</cx:pt>
          <cx:pt idx="19279">0</cx:pt>
          <cx:pt idx="19280">0</cx:pt>
          <cx:pt idx="19281">0</cx:pt>
          <cx:pt idx="19282">0</cx:pt>
          <cx:pt idx="19283">0</cx:pt>
          <cx:pt idx="19284">0</cx:pt>
          <cx:pt idx="19285">0</cx:pt>
          <cx:pt idx="19286">1</cx:pt>
          <cx:pt idx="19287">0</cx:pt>
          <cx:pt idx="19288">1</cx:pt>
          <cx:pt idx="19289">0</cx:pt>
          <cx:pt idx="19290">0</cx:pt>
          <cx:pt idx="19291">0</cx:pt>
          <cx:pt idx="19292">1</cx:pt>
          <cx:pt idx="19293">1</cx:pt>
          <cx:pt idx="19294">0</cx:pt>
          <cx:pt idx="19295">1</cx:pt>
          <cx:pt idx="19296">1</cx:pt>
          <cx:pt idx="19297">0</cx:pt>
          <cx:pt idx="19298">1</cx:pt>
          <cx:pt idx="19299">1</cx:pt>
          <cx:pt idx="19300">0</cx:pt>
          <cx:pt idx="19301">0</cx:pt>
          <cx:pt idx="19302">0</cx:pt>
          <cx:pt idx="19303">0</cx:pt>
          <cx:pt idx="19304">0</cx:pt>
          <cx:pt idx="19305">0</cx:pt>
          <cx:pt idx="19306">0</cx:pt>
          <cx:pt idx="19307">0</cx:pt>
          <cx:pt idx="19308">1</cx:pt>
          <cx:pt idx="19309">1</cx:pt>
          <cx:pt idx="19310">0</cx:pt>
          <cx:pt idx="19311">0</cx:pt>
          <cx:pt idx="19312">0</cx:pt>
          <cx:pt idx="19313">1</cx:pt>
          <cx:pt idx="19314">1</cx:pt>
          <cx:pt idx="19315">1</cx:pt>
          <cx:pt idx="19316">1</cx:pt>
          <cx:pt idx="19317">0</cx:pt>
          <cx:pt idx="19318">1</cx:pt>
          <cx:pt idx="19319">1</cx:pt>
          <cx:pt idx="19320">0</cx:pt>
          <cx:pt idx="19321">0</cx:pt>
          <cx:pt idx="19322">1</cx:pt>
          <cx:pt idx="19323">0</cx:pt>
          <cx:pt idx="19324">1</cx:pt>
          <cx:pt idx="19325">1</cx:pt>
          <cx:pt idx="19326">0</cx:pt>
          <cx:pt idx="19327">0</cx:pt>
          <cx:pt idx="19328">1</cx:pt>
          <cx:pt idx="19329">1</cx:pt>
          <cx:pt idx="19330">0</cx:pt>
          <cx:pt idx="19331">0</cx:pt>
          <cx:pt idx="19332">1</cx:pt>
          <cx:pt idx="19333">1</cx:pt>
          <cx:pt idx="19334">1</cx:pt>
          <cx:pt idx="19335">0</cx:pt>
          <cx:pt idx="19336">0</cx:pt>
          <cx:pt idx="19337">0</cx:pt>
          <cx:pt idx="19338">0</cx:pt>
          <cx:pt idx="19339">1</cx:pt>
          <cx:pt idx="19340">0</cx:pt>
          <cx:pt idx="19341">1</cx:pt>
          <cx:pt idx="19342">0</cx:pt>
          <cx:pt idx="19343">1</cx:pt>
          <cx:pt idx="19344">1</cx:pt>
          <cx:pt idx="19345">0</cx:pt>
          <cx:pt idx="19346">0</cx:pt>
          <cx:pt idx="19347">0</cx:pt>
          <cx:pt idx="19348">0</cx:pt>
          <cx:pt idx="19349">0</cx:pt>
          <cx:pt idx="19350">0</cx:pt>
          <cx:pt idx="19351">0</cx:pt>
          <cx:pt idx="19352">0</cx:pt>
          <cx:pt idx="19353">0</cx:pt>
          <cx:pt idx="19354">0</cx:pt>
          <cx:pt idx="19355">0</cx:pt>
          <cx:pt idx="19356">1</cx:pt>
          <cx:pt idx="19357">1</cx:pt>
          <cx:pt idx="19358">0</cx:pt>
          <cx:pt idx="19359">1</cx:pt>
          <cx:pt idx="19360">1</cx:pt>
          <cx:pt idx="19361">0</cx:pt>
          <cx:pt idx="19362">1</cx:pt>
          <cx:pt idx="19363">1</cx:pt>
          <cx:pt idx="19364">1</cx:pt>
          <cx:pt idx="19365">0</cx:pt>
          <cx:pt idx="19366">1</cx:pt>
          <cx:pt idx="19367">0</cx:pt>
          <cx:pt idx="19368">1</cx:pt>
          <cx:pt idx="19369">0</cx:pt>
          <cx:pt idx="19370">0</cx:pt>
          <cx:pt idx="19371">1</cx:pt>
          <cx:pt idx="19372">0</cx:pt>
          <cx:pt idx="19373">0</cx:pt>
          <cx:pt idx="19374">0</cx:pt>
          <cx:pt idx="19375">0</cx:pt>
          <cx:pt idx="19376">1</cx:pt>
          <cx:pt idx="19377">1</cx:pt>
          <cx:pt idx="19378">0</cx:pt>
          <cx:pt idx="19379">0</cx:pt>
          <cx:pt idx="19380">1</cx:pt>
          <cx:pt idx="19381">1</cx:pt>
          <cx:pt idx="19382">0</cx:pt>
          <cx:pt idx="19383">0</cx:pt>
          <cx:pt idx="19384">0</cx:pt>
          <cx:pt idx="19385">0</cx:pt>
          <cx:pt idx="19386">0</cx:pt>
          <cx:pt idx="19387">1</cx:pt>
          <cx:pt idx="19388">0</cx:pt>
          <cx:pt idx="19389">1</cx:pt>
          <cx:pt idx="19390">1</cx:pt>
          <cx:pt idx="19391">1</cx:pt>
          <cx:pt idx="19392">0</cx:pt>
          <cx:pt idx="19393">0</cx:pt>
          <cx:pt idx="19394">1</cx:pt>
          <cx:pt idx="19395">1</cx:pt>
          <cx:pt idx="19396">1</cx:pt>
          <cx:pt idx="19397">1</cx:pt>
          <cx:pt idx="19398">1</cx:pt>
          <cx:pt idx="19399">0</cx:pt>
          <cx:pt idx="19400">0</cx:pt>
          <cx:pt idx="19401">1</cx:pt>
          <cx:pt idx="19402">1</cx:pt>
          <cx:pt idx="19403">1</cx:pt>
          <cx:pt idx="19404">0</cx:pt>
          <cx:pt idx="19405">0</cx:pt>
          <cx:pt idx="19406">1</cx:pt>
          <cx:pt idx="19407">0</cx:pt>
          <cx:pt idx="19408">1</cx:pt>
          <cx:pt idx="19409">0</cx:pt>
          <cx:pt idx="19410">1</cx:pt>
          <cx:pt idx="19411">1</cx:pt>
          <cx:pt idx="19412">1</cx:pt>
          <cx:pt idx="19413">0</cx:pt>
          <cx:pt idx="19414">1</cx:pt>
          <cx:pt idx="19415">1</cx:pt>
          <cx:pt idx="19416">0</cx:pt>
          <cx:pt idx="19417">1</cx:pt>
          <cx:pt idx="19418">0</cx:pt>
          <cx:pt idx="19419">1</cx:pt>
          <cx:pt idx="19420">1</cx:pt>
          <cx:pt idx="19421">0</cx:pt>
          <cx:pt idx="19422">0</cx:pt>
          <cx:pt idx="19423">0</cx:pt>
          <cx:pt idx="19424">0</cx:pt>
          <cx:pt idx="19425">1</cx:pt>
          <cx:pt idx="19426">0</cx:pt>
          <cx:pt idx="19427">1</cx:pt>
          <cx:pt idx="19428">0</cx:pt>
          <cx:pt idx="19429">0</cx:pt>
          <cx:pt idx="19430">1</cx:pt>
          <cx:pt idx="19431">0</cx:pt>
          <cx:pt idx="19432">0</cx:pt>
          <cx:pt idx="19433">1</cx:pt>
          <cx:pt idx="19434">0</cx:pt>
          <cx:pt idx="19435">0</cx:pt>
          <cx:pt idx="19436">0</cx:pt>
          <cx:pt idx="19437">0</cx:pt>
          <cx:pt idx="19438">0</cx:pt>
          <cx:pt idx="19439">1</cx:pt>
          <cx:pt idx="19440">1</cx:pt>
          <cx:pt idx="19441">0</cx:pt>
          <cx:pt idx="19442">0</cx:pt>
          <cx:pt idx="19443">1</cx:pt>
          <cx:pt idx="19444">0</cx:pt>
          <cx:pt idx="19445">0</cx:pt>
          <cx:pt idx="19446">1</cx:pt>
          <cx:pt idx="19447">0</cx:pt>
          <cx:pt idx="19448">0</cx:pt>
          <cx:pt idx="19449">0</cx:pt>
          <cx:pt idx="19450">0</cx:pt>
          <cx:pt idx="19451">0</cx:pt>
          <cx:pt idx="19452">1</cx:pt>
          <cx:pt idx="19453">0</cx:pt>
          <cx:pt idx="19454">0</cx:pt>
          <cx:pt idx="19455">1</cx:pt>
          <cx:pt idx="19456">0</cx:pt>
          <cx:pt idx="19457">0</cx:pt>
          <cx:pt idx="19458">1</cx:pt>
          <cx:pt idx="19459">0</cx:pt>
          <cx:pt idx="19460">0</cx:pt>
          <cx:pt idx="19461">0</cx:pt>
          <cx:pt idx="19462">0</cx:pt>
          <cx:pt idx="19463">1</cx:pt>
          <cx:pt idx="19464">0</cx:pt>
          <cx:pt idx="19465">1</cx:pt>
          <cx:pt idx="19466">0</cx:pt>
          <cx:pt idx="19467">1</cx:pt>
          <cx:pt idx="19468">0</cx:pt>
          <cx:pt idx="19469">1</cx:pt>
          <cx:pt idx="19470">1</cx:pt>
          <cx:pt idx="19471">1</cx:pt>
          <cx:pt idx="19472">1</cx:pt>
          <cx:pt idx="19473">1</cx:pt>
          <cx:pt idx="19474">1</cx:pt>
          <cx:pt idx="19475">1</cx:pt>
          <cx:pt idx="19476">1</cx:pt>
          <cx:pt idx="19477">0</cx:pt>
          <cx:pt idx="19478">1</cx:pt>
          <cx:pt idx="19479">1</cx:pt>
          <cx:pt idx="19480">0</cx:pt>
          <cx:pt idx="19481">1</cx:pt>
          <cx:pt idx="19482">1</cx:pt>
          <cx:pt idx="19483">1</cx:pt>
          <cx:pt idx="19484">1</cx:pt>
          <cx:pt idx="19485">1</cx:pt>
          <cx:pt idx="19486">1</cx:pt>
          <cx:pt idx="19487">1</cx:pt>
          <cx:pt idx="19488">0</cx:pt>
          <cx:pt idx="19489">1</cx:pt>
          <cx:pt idx="19490">0</cx:pt>
          <cx:pt idx="19491">1</cx:pt>
          <cx:pt idx="19492">1</cx:pt>
          <cx:pt idx="19493">0</cx:pt>
          <cx:pt idx="19494">1</cx:pt>
          <cx:pt idx="19495">0</cx:pt>
          <cx:pt idx="19496">1</cx:pt>
          <cx:pt idx="19497">0</cx:pt>
          <cx:pt idx="19498">0</cx:pt>
          <cx:pt idx="19499">0</cx:pt>
          <cx:pt idx="19500">1</cx:pt>
          <cx:pt idx="19501">0</cx:pt>
          <cx:pt idx="19502">0</cx:pt>
          <cx:pt idx="19503">0</cx:pt>
          <cx:pt idx="19504">1</cx:pt>
          <cx:pt idx="19505">0</cx:pt>
          <cx:pt idx="19506">1</cx:pt>
          <cx:pt idx="19507">1</cx:pt>
          <cx:pt idx="19508">0</cx:pt>
          <cx:pt idx="19509">1</cx:pt>
          <cx:pt idx="19510">0</cx:pt>
          <cx:pt idx="19511">1</cx:pt>
          <cx:pt idx="19512">1</cx:pt>
          <cx:pt idx="19513">0</cx:pt>
          <cx:pt idx="19514">0</cx:pt>
          <cx:pt idx="19515">1</cx:pt>
          <cx:pt idx="19516">0</cx:pt>
          <cx:pt idx="19517">1</cx:pt>
          <cx:pt idx="19518">1</cx:pt>
          <cx:pt idx="19519">0</cx:pt>
          <cx:pt idx="19520">1</cx:pt>
          <cx:pt idx="19521">1</cx:pt>
          <cx:pt idx="19522">1</cx:pt>
          <cx:pt idx="19523">0</cx:pt>
          <cx:pt idx="19524">1</cx:pt>
          <cx:pt idx="19525">1</cx:pt>
          <cx:pt idx="19526">0</cx:pt>
          <cx:pt idx="19527">1</cx:pt>
          <cx:pt idx="19528">0</cx:pt>
          <cx:pt idx="19529">1</cx:pt>
          <cx:pt idx="19530">0</cx:pt>
          <cx:pt idx="19531">0</cx:pt>
          <cx:pt idx="19532">1</cx:pt>
          <cx:pt idx="19533">1</cx:pt>
          <cx:pt idx="19534">1</cx:pt>
          <cx:pt idx="19535">0</cx:pt>
          <cx:pt idx="19536">0</cx:pt>
          <cx:pt idx="19537">0</cx:pt>
          <cx:pt idx="19538">1</cx:pt>
          <cx:pt idx="19539">0</cx:pt>
          <cx:pt idx="19540">1</cx:pt>
          <cx:pt idx="19541">1</cx:pt>
          <cx:pt idx="19542">0</cx:pt>
          <cx:pt idx="19543">1</cx:pt>
          <cx:pt idx="19544">0</cx:pt>
          <cx:pt idx="19545">1</cx:pt>
          <cx:pt idx="19546">1</cx:pt>
          <cx:pt idx="19547">1</cx:pt>
          <cx:pt idx="19548">1</cx:pt>
          <cx:pt idx="19549">1</cx:pt>
          <cx:pt idx="19550">0</cx:pt>
          <cx:pt idx="19551">0</cx:pt>
          <cx:pt idx="19552">0</cx:pt>
          <cx:pt idx="19553">1</cx:pt>
          <cx:pt idx="19554">1</cx:pt>
          <cx:pt idx="19555">0</cx:pt>
          <cx:pt idx="19556">0</cx:pt>
          <cx:pt idx="19557">1</cx:pt>
          <cx:pt idx="19558">0</cx:pt>
          <cx:pt idx="19559">0</cx:pt>
          <cx:pt idx="19560">0</cx:pt>
          <cx:pt idx="19561">0</cx:pt>
          <cx:pt idx="19562">1</cx:pt>
          <cx:pt idx="19563">1</cx:pt>
          <cx:pt idx="19564">1</cx:pt>
          <cx:pt idx="19565">1</cx:pt>
          <cx:pt idx="19566">0</cx:pt>
          <cx:pt idx="19567">0</cx:pt>
          <cx:pt idx="19568">1</cx:pt>
          <cx:pt idx="19569">0</cx:pt>
          <cx:pt idx="19570">0</cx:pt>
          <cx:pt idx="19571">0</cx:pt>
          <cx:pt idx="19572">0</cx:pt>
          <cx:pt idx="19573">1</cx:pt>
          <cx:pt idx="19574">1</cx:pt>
          <cx:pt idx="19575">0</cx:pt>
          <cx:pt idx="19576">1</cx:pt>
          <cx:pt idx="19577">1</cx:pt>
          <cx:pt idx="19578">0</cx:pt>
          <cx:pt idx="19579">0</cx:pt>
          <cx:pt idx="19580">0</cx:pt>
          <cx:pt idx="19581">0</cx:pt>
          <cx:pt idx="19582">1</cx:pt>
          <cx:pt idx="19583">1</cx:pt>
          <cx:pt idx="19584">0</cx:pt>
          <cx:pt idx="19585">1</cx:pt>
          <cx:pt idx="19586">1</cx:pt>
          <cx:pt idx="19587">0</cx:pt>
          <cx:pt idx="19588">1</cx:pt>
          <cx:pt idx="19589">1</cx:pt>
          <cx:pt idx="19590">0</cx:pt>
          <cx:pt idx="19591">0</cx:pt>
          <cx:pt idx="19592">0</cx:pt>
          <cx:pt idx="19593">0</cx:pt>
          <cx:pt idx="19594">1</cx:pt>
          <cx:pt idx="19595">0</cx:pt>
          <cx:pt idx="19596">0</cx:pt>
          <cx:pt idx="19597">1</cx:pt>
          <cx:pt idx="19598">0</cx:pt>
          <cx:pt idx="19599">0</cx:pt>
          <cx:pt idx="19600">0</cx:pt>
          <cx:pt idx="19601">1</cx:pt>
          <cx:pt idx="19602">1</cx:pt>
          <cx:pt idx="19603">0</cx:pt>
          <cx:pt idx="19604">1</cx:pt>
          <cx:pt idx="19605">0</cx:pt>
          <cx:pt idx="19606">0</cx:pt>
          <cx:pt idx="19607">0</cx:pt>
          <cx:pt idx="19608">1</cx:pt>
          <cx:pt idx="19609">0</cx:pt>
          <cx:pt idx="19610">0</cx:pt>
          <cx:pt idx="19611">1</cx:pt>
          <cx:pt idx="19612">0</cx:pt>
          <cx:pt idx="19613">0</cx:pt>
          <cx:pt idx="19614">1</cx:pt>
          <cx:pt idx="19615">1</cx:pt>
          <cx:pt idx="19616">1</cx:pt>
          <cx:pt idx="19617">1</cx:pt>
          <cx:pt idx="19618">0</cx:pt>
          <cx:pt idx="19619">1</cx:pt>
          <cx:pt idx="19620">0</cx:pt>
          <cx:pt idx="19621">0</cx:pt>
          <cx:pt idx="19622">0</cx:pt>
          <cx:pt idx="19623">0</cx:pt>
          <cx:pt idx="19624">0</cx:pt>
          <cx:pt idx="19625">0</cx:pt>
          <cx:pt idx="19626">1</cx:pt>
          <cx:pt idx="19627">0</cx:pt>
          <cx:pt idx="19628">0</cx:pt>
          <cx:pt idx="19629">1</cx:pt>
          <cx:pt idx="19630">0</cx:pt>
          <cx:pt idx="19631">0</cx:pt>
          <cx:pt idx="19632">1</cx:pt>
          <cx:pt idx="19633">1</cx:pt>
          <cx:pt idx="19634">0</cx:pt>
          <cx:pt idx="19635">0</cx:pt>
          <cx:pt idx="19636">0</cx:pt>
          <cx:pt idx="19637">1</cx:pt>
          <cx:pt idx="19638">0</cx:pt>
          <cx:pt idx="19639">1</cx:pt>
          <cx:pt idx="19640">0</cx:pt>
          <cx:pt idx="19641">0</cx:pt>
          <cx:pt idx="19642">1</cx:pt>
          <cx:pt idx="19643">1</cx:pt>
          <cx:pt idx="19644">0</cx:pt>
          <cx:pt idx="19645">0</cx:pt>
          <cx:pt idx="19646">0</cx:pt>
          <cx:pt idx="19647">1</cx:pt>
          <cx:pt idx="19648">1</cx:pt>
          <cx:pt idx="19649">0</cx:pt>
          <cx:pt idx="19650">1</cx:pt>
          <cx:pt idx="19651">0</cx:pt>
          <cx:pt idx="19652">1</cx:pt>
          <cx:pt idx="19653">1</cx:pt>
          <cx:pt idx="19654">0</cx:pt>
          <cx:pt idx="19655">0</cx:pt>
          <cx:pt idx="19656">1</cx:pt>
          <cx:pt idx="19657">0</cx:pt>
          <cx:pt idx="19658">1</cx:pt>
          <cx:pt idx="19659">0</cx:pt>
          <cx:pt idx="19660">0</cx:pt>
          <cx:pt idx="19661">1</cx:pt>
          <cx:pt idx="19662">0</cx:pt>
          <cx:pt idx="19663">1</cx:pt>
          <cx:pt idx="19664">0</cx:pt>
          <cx:pt idx="19665">0</cx:pt>
          <cx:pt idx="19666">0</cx:pt>
          <cx:pt idx="19667">0</cx:pt>
          <cx:pt idx="19668">0</cx:pt>
          <cx:pt idx="19669">0</cx:pt>
          <cx:pt idx="19670">0</cx:pt>
          <cx:pt idx="19671">0</cx:pt>
          <cx:pt idx="19672">1</cx:pt>
          <cx:pt idx="19673">0</cx:pt>
          <cx:pt idx="19674">1</cx:pt>
          <cx:pt idx="19675">1</cx:pt>
          <cx:pt idx="19676">0</cx:pt>
          <cx:pt idx="19677">0</cx:pt>
          <cx:pt idx="19678">1</cx:pt>
          <cx:pt idx="19679">0</cx:pt>
          <cx:pt idx="19680">1</cx:pt>
          <cx:pt idx="19681">0</cx:pt>
          <cx:pt idx="19682">1</cx:pt>
          <cx:pt idx="19683">0</cx:pt>
          <cx:pt idx="19684">1</cx:pt>
          <cx:pt idx="19685">0</cx:pt>
          <cx:pt idx="19686">1</cx:pt>
          <cx:pt idx="19687">1</cx:pt>
          <cx:pt idx="19688">0</cx:pt>
          <cx:pt idx="19689">1</cx:pt>
          <cx:pt idx="19690">1</cx:pt>
          <cx:pt idx="19691">1</cx:pt>
          <cx:pt idx="19692">0</cx:pt>
          <cx:pt idx="19693">0</cx:pt>
          <cx:pt idx="19694">0</cx:pt>
          <cx:pt idx="19695">1</cx:pt>
          <cx:pt idx="19696">1</cx:pt>
          <cx:pt idx="19697">0</cx:pt>
          <cx:pt idx="19698">1</cx:pt>
          <cx:pt idx="19699">0</cx:pt>
          <cx:pt idx="19700">1</cx:pt>
          <cx:pt idx="19701">0</cx:pt>
          <cx:pt idx="19702">1</cx:pt>
          <cx:pt idx="19703">0</cx:pt>
          <cx:pt idx="19704">0</cx:pt>
          <cx:pt idx="19705">1</cx:pt>
          <cx:pt idx="19706">0</cx:pt>
          <cx:pt idx="19707">1</cx:pt>
          <cx:pt idx="19708">1</cx:pt>
          <cx:pt idx="19709">1</cx:pt>
          <cx:pt idx="19710">0</cx:pt>
          <cx:pt idx="19711">1</cx:pt>
          <cx:pt idx="19712">1</cx:pt>
          <cx:pt idx="19713">0</cx:pt>
          <cx:pt idx="19714">1</cx:pt>
          <cx:pt idx="19715">1</cx:pt>
          <cx:pt idx="19716">1</cx:pt>
          <cx:pt idx="19717">0</cx:pt>
          <cx:pt idx="19718">0</cx:pt>
          <cx:pt idx="19719">1</cx:pt>
          <cx:pt idx="19720">0</cx:pt>
          <cx:pt idx="19721">1</cx:pt>
          <cx:pt idx="19722">0</cx:pt>
          <cx:pt idx="19723">0</cx:pt>
          <cx:pt idx="19724">1</cx:pt>
          <cx:pt idx="19725">0</cx:pt>
          <cx:pt idx="19726">0</cx:pt>
          <cx:pt idx="19727">1</cx:pt>
          <cx:pt idx="19728">1</cx:pt>
          <cx:pt idx="19729">0</cx:pt>
          <cx:pt idx="19730">0</cx:pt>
          <cx:pt idx="19731">0</cx:pt>
          <cx:pt idx="19732">0</cx:pt>
          <cx:pt idx="19733">0</cx:pt>
          <cx:pt idx="19734">0</cx:pt>
          <cx:pt idx="19735">0</cx:pt>
          <cx:pt idx="19736">0</cx:pt>
          <cx:pt idx="19737">0</cx:pt>
          <cx:pt idx="19738">1</cx:pt>
          <cx:pt idx="19739">1</cx:pt>
          <cx:pt idx="19740">1</cx:pt>
          <cx:pt idx="19741">1</cx:pt>
          <cx:pt idx="19742">1</cx:pt>
          <cx:pt idx="19743">1</cx:pt>
          <cx:pt idx="19744">0</cx:pt>
          <cx:pt idx="19745">0</cx:pt>
          <cx:pt idx="19746">0</cx:pt>
          <cx:pt idx="19747">0</cx:pt>
          <cx:pt idx="19748">0</cx:pt>
          <cx:pt idx="19749">0</cx:pt>
          <cx:pt idx="19750">1</cx:pt>
          <cx:pt idx="19751">0</cx:pt>
          <cx:pt idx="19752">1</cx:pt>
          <cx:pt idx="19753">0</cx:pt>
          <cx:pt idx="19754">1</cx:pt>
          <cx:pt idx="19755">1</cx:pt>
          <cx:pt idx="19756">0</cx:pt>
          <cx:pt idx="19757">0</cx:pt>
          <cx:pt idx="19758">1</cx:pt>
          <cx:pt idx="19759">0</cx:pt>
          <cx:pt idx="19760">1</cx:pt>
          <cx:pt idx="19761">0</cx:pt>
          <cx:pt idx="19762">1</cx:pt>
          <cx:pt idx="19763">1</cx:pt>
          <cx:pt idx="19764">0</cx:pt>
          <cx:pt idx="19765">1</cx:pt>
          <cx:pt idx="19766">1</cx:pt>
          <cx:pt idx="19767">0</cx:pt>
          <cx:pt idx="19768">1</cx:pt>
          <cx:pt idx="19769">0</cx:pt>
          <cx:pt idx="19770">0</cx:pt>
          <cx:pt idx="19771">1</cx:pt>
          <cx:pt idx="19772">0</cx:pt>
          <cx:pt idx="19773">1</cx:pt>
          <cx:pt idx="19774">0</cx:pt>
          <cx:pt idx="19775">0</cx:pt>
          <cx:pt idx="19776">0</cx:pt>
          <cx:pt idx="19777">0</cx:pt>
          <cx:pt idx="19778">1</cx:pt>
          <cx:pt idx="19779">0</cx:pt>
          <cx:pt idx="19780">0</cx:pt>
          <cx:pt idx="19781">0</cx:pt>
          <cx:pt idx="19782">0</cx:pt>
          <cx:pt idx="19783">0</cx:pt>
          <cx:pt idx="19784">0</cx:pt>
          <cx:pt idx="19785">0</cx:pt>
          <cx:pt idx="19786">1</cx:pt>
          <cx:pt idx="19787">1</cx:pt>
          <cx:pt idx="19788">1</cx:pt>
          <cx:pt idx="19789">1</cx:pt>
          <cx:pt idx="19790">0</cx:pt>
          <cx:pt idx="19791">0</cx:pt>
          <cx:pt idx="19792">1</cx:pt>
          <cx:pt idx="19793">0</cx:pt>
          <cx:pt idx="19794">0</cx:pt>
          <cx:pt idx="19795">1</cx:pt>
          <cx:pt idx="19796">1</cx:pt>
          <cx:pt idx="19797">0</cx:pt>
          <cx:pt idx="19798">0</cx:pt>
          <cx:pt idx="19799">1</cx:pt>
          <cx:pt idx="19800">0</cx:pt>
          <cx:pt idx="19801">0</cx:pt>
          <cx:pt idx="19802">0</cx:pt>
          <cx:pt idx="19803">1</cx:pt>
          <cx:pt idx="19804">0</cx:pt>
          <cx:pt idx="19805">0</cx:pt>
          <cx:pt idx="19806">0</cx:pt>
          <cx:pt idx="19807">1</cx:pt>
          <cx:pt idx="19808">0</cx:pt>
          <cx:pt idx="19809">0</cx:pt>
          <cx:pt idx="19810">1</cx:pt>
          <cx:pt idx="19811">1</cx:pt>
          <cx:pt idx="19812">1</cx:pt>
          <cx:pt idx="19813">0</cx:pt>
          <cx:pt idx="19814">1</cx:pt>
          <cx:pt idx="19815">0</cx:pt>
          <cx:pt idx="19816">1</cx:pt>
          <cx:pt idx="19817">0</cx:pt>
          <cx:pt idx="19818">1</cx:pt>
          <cx:pt idx="19819">1</cx:pt>
          <cx:pt idx="19820">0</cx:pt>
          <cx:pt idx="19821">0</cx:pt>
          <cx:pt idx="19822">0</cx:pt>
          <cx:pt idx="19823">1</cx:pt>
          <cx:pt idx="19824">0</cx:pt>
          <cx:pt idx="19825">1</cx:pt>
          <cx:pt idx="19826">0</cx:pt>
          <cx:pt idx="19827">1</cx:pt>
          <cx:pt idx="19828">0</cx:pt>
          <cx:pt idx="19829">0</cx:pt>
          <cx:pt idx="19830">0</cx:pt>
          <cx:pt idx="19831">1</cx:pt>
          <cx:pt idx="19832">0</cx:pt>
          <cx:pt idx="19833">1</cx:pt>
          <cx:pt idx="19834">0</cx:pt>
          <cx:pt idx="19835">1</cx:pt>
          <cx:pt idx="19836">1</cx:pt>
          <cx:pt idx="19837">1</cx:pt>
          <cx:pt idx="19838">1</cx:pt>
          <cx:pt idx="19839">0</cx:pt>
          <cx:pt idx="19840">1</cx:pt>
          <cx:pt idx="19841">1</cx:pt>
          <cx:pt idx="19842">0</cx:pt>
          <cx:pt idx="19843">1</cx:pt>
          <cx:pt idx="19844">1</cx:pt>
          <cx:pt idx="19845">0</cx:pt>
          <cx:pt idx="19846">1</cx:pt>
          <cx:pt idx="19847">0</cx:pt>
          <cx:pt idx="19848">0</cx:pt>
          <cx:pt idx="19849">0</cx:pt>
          <cx:pt idx="19850">0</cx:pt>
          <cx:pt idx="19851">0</cx:pt>
          <cx:pt idx="19852">0</cx:pt>
          <cx:pt idx="19853">1</cx:pt>
          <cx:pt idx="19854">1</cx:pt>
          <cx:pt idx="19855">0</cx:pt>
          <cx:pt idx="19856">0</cx:pt>
          <cx:pt idx="19857">1</cx:pt>
          <cx:pt idx="19858">0</cx:pt>
          <cx:pt idx="19859">0</cx:pt>
          <cx:pt idx="19860">0</cx:pt>
          <cx:pt idx="19861">1</cx:pt>
          <cx:pt idx="19862">1</cx:pt>
          <cx:pt idx="19863">0</cx:pt>
          <cx:pt idx="19864">0</cx:pt>
          <cx:pt idx="19865">0</cx:pt>
          <cx:pt idx="19866">0</cx:pt>
          <cx:pt idx="19867">1</cx:pt>
          <cx:pt idx="19868">0</cx:pt>
          <cx:pt idx="19869">0</cx:pt>
          <cx:pt idx="19870">0</cx:pt>
          <cx:pt idx="19871">0</cx:pt>
          <cx:pt idx="19872">0</cx:pt>
          <cx:pt idx="19873">1</cx:pt>
          <cx:pt idx="19874">1</cx:pt>
          <cx:pt idx="19875">0</cx:pt>
          <cx:pt idx="19876">0</cx:pt>
          <cx:pt idx="19877">1</cx:pt>
          <cx:pt idx="19878">1</cx:pt>
          <cx:pt idx="19879">0</cx:pt>
          <cx:pt idx="19880">1</cx:pt>
          <cx:pt idx="19881">1</cx:pt>
          <cx:pt idx="19882">0</cx:pt>
          <cx:pt idx="19883">1</cx:pt>
          <cx:pt idx="19884">0</cx:pt>
          <cx:pt idx="19885">1</cx:pt>
          <cx:pt idx="19886">1</cx:pt>
          <cx:pt idx="19887">1</cx:pt>
          <cx:pt idx="19888">1</cx:pt>
          <cx:pt idx="19889">0</cx:pt>
          <cx:pt idx="19890">1</cx:pt>
          <cx:pt idx="19891">1</cx:pt>
          <cx:pt idx="19892">0</cx:pt>
          <cx:pt idx="19893">1</cx:pt>
          <cx:pt idx="19894">0</cx:pt>
          <cx:pt idx="19895">1</cx:pt>
          <cx:pt idx="19896">0</cx:pt>
          <cx:pt idx="19897">0</cx:pt>
          <cx:pt idx="19898">0</cx:pt>
          <cx:pt idx="19899">0</cx:pt>
          <cx:pt idx="19900">0</cx:pt>
          <cx:pt idx="19901">1</cx:pt>
          <cx:pt idx="19902">0</cx:pt>
          <cx:pt idx="19903">0</cx:pt>
          <cx:pt idx="19904">1</cx:pt>
          <cx:pt idx="19905">0</cx:pt>
          <cx:pt idx="19906">1</cx:pt>
          <cx:pt idx="19907">0</cx:pt>
          <cx:pt idx="19908">0</cx:pt>
          <cx:pt idx="19909">1</cx:pt>
          <cx:pt idx="19910">0</cx:pt>
          <cx:pt idx="19911">0</cx:pt>
          <cx:pt idx="19912">1</cx:pt>
          <cx:pt idx="19913">1</cx:pt>
          <cx:pt idx="19914">1</cx:pt>
          <cx:pt idx="19915">1</cx:pt>
          <cx:pt idx="19916">1</cx:pt>
          <cx:pt idx="19917">0</cx:pt>
          <cx:pt idx="19918">1</cx:pt>
          <cx:pt idx="19919">1</cx:pt>
          <cx:pt idx="19920">1</cx:pt>
          <cx:pt idx="19921">1</cx:pt>
          <cx:pt idx="19922">1</cx:pt>
          <cx:pt idx="19923">0</cx:pt>
          <cx:pt idx="19924">0</cx:pt>
          <cx:pt idx="19925">0</cx:pt>
          <cx:pt idx="19926">0</cx:pt>
          <cx:pt idx="19927">1</cx:pt>
          <cx:pt idx="19928">1</cx:pt>
          <cx:pt idx="19929">0</cx:pt>
          <cx:pt idx="19930">0</cx:pt>
          <cx:pt idx="19931">1</cx:pt>
          <cx:pt idx="19932">1</cx:pt>
          <cx:pt idx="19933">0</cx:pt>
          <cx:pt idx="19934">1</cx:pt>
          <cx:pt idx="19935">0</cx:pt>
          <cx:pt idx="19936">1</cx:pt>
          <cx:pt idx="19937">0</cx:pt>
          <cx:pt idx="19938">1</cx:pt>
          <cx:pt idx="19939">1</cx:pt>
          <cx:pt idx="19940">0</cx:pt>
          <cx:pt idx="19941">1</cx:pt>
          <cx:pt idx="19942">1</cx:pt>
          <cx:pt idx="19943">1</cx:pt>
          <cx:pt idx="19944">0</cx:pt>
          <cx:pt idx="19945">1</cx:pt>
          <cx:pt idx="19946">1</cx:pt>
          <cx:pt idx="19947">1</cx:pt>
          <cx:pt idx="19948">1</cx:pt>
          <cx:pt idx="19949">0</cx:pt>
          <cx:pt idx="19950">0</cx:pt>
          <cx:pt idx="19951">1</cx:pt>
          <cx:pt idx="19952">0</cx:pt>
          <cx:pt idx="19953">0</cx:pt>
          <cx:pt idx="19954">0</cx:pt>
          <cx:pt idx="19955">0</cx:pt>
          <cx:pt idx="19956">1</cx:pt>
          <cx:pt idx="19957">0</cx:pt>
          <cx:pt idx="19958">0</cx:pt>
          <cx:pt idx="19959">1</cx:pt>
          <cx:pt idx="19960">1</cx:pt>
          <cx:pt idx="19961">1</cx:pt>
          <cx:pt idx="19962">1</cx:pt>
          <cx:pt idx="19963">0</cx:pt>
          <cx:pt idx="19964">1</cx:pt>
          <cx:pt idx="19965">0</cx:pt>
          <cx:pt idx="19966">1</cx:pt>
          <cx:pt idx="19967">1</cx:pt>
          <cx:pt idx="19968">1</cx:pt>
          <cx:pt idx="19969">0</cx:pt>
          <cx:pt idx="19970">1</cx:pt>
          <cx:pt idx="19971">1</cx:pt>
          <cx:pt idx="19972">0</cx:pt>
          <cx:pt idx="19973">1</cx:pt>
          <cx:pt idx="19974">1</cx:pt>
          <cx:pt idx="19975">0</cx:pt>
          <cx:pt idx="19976">0</cx:pt>
          <cx:pt idx="19977">0</cx:pt>
          <cx:pt idx="19978">1</cx:pt>
          <cx:pt idx="19979">0</cx:pt>
          <cx:pt idx="19980">1</cx:pt>
          <cx:pt idx="19981">1</cx:pt>
          <cx:pt idx="19982">0</cx:pt>
          <cx:pt idx="19983">0</cx:pt>
          <cx:pt idx="19984">0</cx:pt>
          <cx:pt idx="19985">1</cx:pt>
          <cx:pt idx="19986">1</cx:pt>
          <cx:pt idx="19987">0</cx:pt>
          <cx:pt idx="19988">0</cx:pt>
          <cx:pt idx="19989">0</cx:pt>
          <cx:pt idx="19990">0</cx:pt>
          <cx:pt idx="19991">0</cx:pt>
          <cx:pt idx="19992">0</cx:pt>
          <cx:pt idx="19993">1</cx:pt>
          <cx:pt idx="19994">0</cx:pt>
          <cx:pt idx="19995">1</cx:pt>
          <cx:pt idx="19996">0</cx:pt>
          <cx:pt idx="19997">1</cx:pt>
          <cx:pt idx="19998">0</cx:pt>
          <cx:pt idx="19999">1</cx:pt>
          <cx:pt idx="20000">0</cx:pt>
          <cx:pt idx="20001">0</cx:pt>
          <cx:pt idx="20002">0</cx:pt>
          <cx:pt idx="20003">0</cx:pt>
          <cx:pt idx="20004">1</cx:pt>
          <cx:pt idx="20005">1</cx:pt>
          <cx:pt idx="20006">0</cx:pt>
          <cx:pt idx="20007">1</cx:pt>
          <cx:pt idx="20008">1</cx:pt>
          <cx:pt idx="20009">0</cx:pt>
          <cx:pt idx="20010">0</cx:pt>
          <cx:pt idx="20011">1</cx:pt>
          <cx:pt idx="20012">0</cx:pt>
          <cx:pt idx="20013">0</cx:pt>
          <cx:pt idx="20014">1</cx:pt>
          <cx:pt idx="20015">0</cx:pt>
          <cx:pt idx="20016">1</cx:pt>
          <cx:pt idx="20017">1</cx:pt>
          <cx:pt idx="20018">0</cx:pt>
          <cx:pt idx="20019">0</cx:pt>
          <cx:pt idx="20020">0</cx:pt>
          <cx:pt idx="20021">0</cx:pt>
          <cx:pt idx="20022">0</cx:pt>
          <cx:pt idx="20023">0</cx:pt>
          <cx:pt idx="20024">1</cx:pt>
          <cx:pt idx="20025">0</cx:pt>
          <cx:pt idx="20026">0</cx:pt>
          <cx:pt idx="20027">1</cx:pt>
          <cx:pt idx="20028">1</cx:pt>
          <cx:pt idx="20029">0</cx:pt>
          <cx:pt idx="20030">0</cx:pt>
          <cx:pt idx="20031">1</cx:pt>
          <cx:pt idx="20032">1</cx:pt>
          <cx:pt idx="20033">0</cx:pt>
          <cx:pt idx="20034">1</cx:pt>
          <cx:pt idx="20035">1</cx:pt>
          <cx:pt idx="20036">0</cx:pt>
          <cx:pt idx="20037">1</cx:pt>
          <cx:pt idx="20038">0</cx:pt>
          <cx:pt idx="20039">0</cx:pt>
          <cx:pt idx="20040">0</cx:pt>
          <cx:pt idx="20041">1</cx:pt>
          <cx:pt idx="20042">0</cx:pt>
          <cx:pt idx="20043">1</cx:pt>
          <cx:pt idx="20044">1</cx:pt>
          <cx:pt idx="20045">0</cx:pt>
          <cx:pt idx="20046">0</cx:pt>
          <cx:pt idx="20047">1</cx:pt>
          <cx:pt idx="20048">1</cx:pt>
          <cx:pt idx="20049">0</cx:pt>
          <cx:pt idx="20050">0</cx:pt>
          <cx:pt idx="20051">1</cx:pt>
          <cx:pt idx="20052">0</cx:pt>
          <cx:pt idx="20053">0</cx:pt>
          <cx:pt idx="20054">1</cx:pt>
          <cx:pt idx="20055">1</cx:pt>
          <cx:pt idx="20056">1</cx:pt>
          <cx:pt idx="20057">0</cx:pt>
          <cx:pt idx="20058">0</cx:pt>
          <cx:pt idx="20059">0</cx:pt>
          <cx:pt idx="20060">1</cx:pt>
          <cx:pt idx="20061">0</cx:pt>
          <cx:pt idx="20062">1</cx:pt>
          <cx:pt idx="20063">0</cx:pt>
          <cx:pt idx="20064">0</cx:pt>
          <cx:pt idx="20065">0</cx:pt>
          <cx:pt idx="20066">0</cx:pt>
          <cx:pt idx="20067">0</cx:pt>
          <cx:pt idx="20068">0</cx:pt>
          <cx:pt idx="20069">0</cx:pt>
          <cx:pt idx="20070">0</cx:pt>
          <cx:pt idx="20071">0</cx:pt>
          <cx:pt idx="20072">0</cx:pt>
          <cx:pt idx="20073">0</cx:pt>
          <cx:pt idx="20074">0</cx:pt>
          <cx:pt idx="20075">1</cx:pt>
          <cx:pt idx="20076">0</cx:pt>
          <cx:pt idx="20077">0</cx:pt>
          <cx:pt idx="20078">1</cx:pt>
          <cx:pt idx="20079">0</cx:pt>
          <cx:pt idx="20080">1</cx:pt>
          <cx:pt idx="20081">0</cx:pt>
          <cx:pt idx="20082">1</cx:pt>
          <cx:pt idx="20083">1</cx:pt>
          <cx:pt idx="20084">0</cx:pt>
          <cx:pt idx="20085">1</cx:pt>
          <cx:pt idx="20086">0</cx:pt>
          <cx:pt idx="20087">1</cx:pt>
          <cx:pt idx="20088">1</cx:pt>
          <cx:pt idx="20089">0</cx:pt>
          <cx:pt idx="20090">1</cx:pt>
          <cx:pt idx="20091">1</cx:pt>
          <cx:pt idx="20092">0</cx:pt>
          <cx:pt idx="20093">0</cx:pt>
          <cx:pt idx="20094">0</cx:pt>
          <cx:pt idx="20095">0</cx:pt>
          <cx:pt idx="20096">0</cx:pt>
          <cx:pt idx="20097">0</cx:pt>
          <cx:pt idx="20098">0</cx:pt>
          <cx:pt idx="20099">1</cx:pt>
          <cx:pt idx="20100">1</cx:pt>
          <cx:pt idx="20101">1</cx:pt>
          <cx:pt idx="20102">1</cx:pt>
          <cx:pt idx="20103">0</cx:pt>
          <cx:pt idx="20104">0</cx:pt>
          <cx:pt idx="20105">0</cx:pt>
          <cx:pt idx="20106">1</cx:pt>
          <cx:pt idx="20107">1</cx:pt>
          <cx:pt idx="20108">0</cx:pt>
          <cx:pt idx="20109">0</cx:pt>
          <cx:pt idx="20110">1</cx:pt>
          <cx:pt idx="20111">0</cx:pt>
          <cx:pt idx="20112">1</cx:pt>
          <cx:pt idx="20113">0</cx:pt>
          <cx:pt idx="20114">0</cx:pt>
          <cx:pt idx="20115">1</cx:pt>
          <cx:pt idx="20116">0</cx:pt>
          <cx:pt idx="20117">1</cx:pt>
          <cx:pt idx="20118">1</cx:pt>
          <cx:pt idx="20119">1</cx:pt>
          <cx:pt idx="20120">0</cx:pt>
          <cx:pt idx="20121">1</cx:pt>
          <cx:pt idx="20122">1</cx:pt>
          <cx:pt idx="20123">0</cx:pt>
          <cx:pt idx="20124">0</cx:pt>
          <cx:pt idx="20125">0</cx:pt>
          <cx:pt idx="20126">1</cx:pt>
          <cx:pt idx="20127">0</cx:pt>
          <cx:pt idx="20128">0</cx:pt>
          <cx:pt idx="20129">0</cx:pt>
          <cx:pt idx="20130">0</cx:pt>
          <cx:pt idx="20131">1</cx:pt>
          <cx:pt idx="20132">1</cx:pt>
          <cx:pt idx="20133">1</cx:pt>
          <cx:pt idx="20134">0</cx:pt>
          <cx:pt idx="20135">0</cx:pt>
          <cx:pt idx="20136">1</cx:pt>
          <cx:pt idx="20137">0</cx:pt>
          <cx:pt idx="20138">0</cx:pt>
          <cx:pt idx="20139">0</cx:pt>
          <cx:pt idx="20140">1</cx:pt>
          <cx:pt idx="20141">0</cx:pt>
          <cx:pt idx="20142">0</cx:pt>
          <cx:pt idx="20143">0</cx:pt>
          <cx:pt idx="20144">1</cx:pt>
          <cx:pt idx="20145">1</cx:pt>
          <cx:pt idx="20146">0</cx:pt>
          <cx:pt idx="20147">0</cx:pt>
          <cx:pt idx="20148">0</cx:pt>
          <cx:pt idx="20149">1</cx:pt>
          <cx:pt idx="20150">0</cx:pt>
          <cx:pt idx="20151">0</cx:pt>
          <cx:pt idx="20152">1</cx:pt>
          <cx:pt idx="20153">1</cx:pt>
          <cx:pt idx="20154">0</cx:pt>
          <cx:pt idx="20155">0</cx:pt>
          <cx:pt idx="20156">1</cx:pt>
          <cx:pt idx="20157">0</cx:pt>
          <cx:pt idx="20158">0</cx:pt>
          <cx:pt idx="20159">1</cx:pt>
          <cx:pt idx="20160">0</cx:pt>
          <cx:pt idx="20161">0</cx:pt>
          <cx:pt idx="20162">0</cx:pt>
          <cx:pt idx="20163">0</cx:pt>
          <cx:pt idx="20164">0</cx:pt>
          <cx:pt idx="20165">1</cx:pt>
          <cx:pt idx="20166">0</cx:pt>
          <cx:pt idx="20167">1</cx:pt>
          <cx:pt idx="20168">0</cx:pt>
          <cx:pt idx="20169">0</cx:pt>
          <cx:pt idx="20170">0</cx:pt>
          <cx:pt idx="20171">1</cx:pt>
          <cx:pt idx="20172">0</cx:pt>
          <cx:pt idx="20173">1</cx:pt>
          <cx:pt idx="20174">0</cx:pt>
          <cx:pt idx="20175">0</cx:pt>
          <cx:pt idx="20176">1</cx:pt>
          <cx:pt idx="20177">1</cx:pt>
          <cx:pt idx="20178">0</cx:pt>
          <cx:pt idx="20179">0</cx:pt>
          <cx:pt idx="20180">1</cx:pt>
          <cx:pt idx="20181">1</cx:pt>
          <cx:pt idx="20182">0</cx:pt>
          <cx:pt idx="20183">0</cx:pt>
          <cx:pt idx="20184">0</cx:pt>
          <cx:pt idx="20185">0</cx:pt>
          <cx:pt idx="20186">0</cx:pt>
          <cx:pt idx="20187">1</cx:pt>
          <cx:pt idx="20188">1</cx:pt>
          <cx:pt idx="20189">0</cx:pt>
          <cx:pt idx="20190">1</cx:pt>
          <cx:pt idx="20191">0</cx:pt>
          <cx:pt idx="20192">1</cx:pt>
          <cx:pt idx="20193">0</cx:pt>
          <cx:pt idx="20194">1</cx:pt>
          <cx:pt idx="20195">1</cx:pt>
          <cx:pt idx="20196">0</cx:pt>
          <cx:pt idx="20197">0</cx:pt>
          <cx:pt idx="20198">1</cx:pt>
          <cx:pt idx="20199">1</cx:pt>
          <cx:pt idx="20200">1</cx:pt>
          <cx:pt idx="20201">0</cx:pt>
          <cx:pt idx="20202">0</cx:pt>
          <cx:pt idx="20203">1</cx:pt>
          <cx:pt idx="20204">0</cx:pt>
          <cx:pt idx="20205">0</cx:pt>
          <cx:pt idx="20206">0</cx:pt>
          <cx:pt idx="20207">0</cx:pt>
          <cx:pt idx="20208">0</cx:pt>
          <cx:pt idx="20209">1</cx:pt>
          <cx:pt idx="20210">1</cx:pt>
          <cx:pt idx="20211">0</cx:pt>
          <cx:pt idx="20212">0</cx:pt>
          <cx:pt idx="20213">1</cx:pt>
          <cx:pt idx="20214">1</cx:pt>
          <cx:pt idx="20215">1</cx:pt>
          <cx:pt idx="20216">0</cx:pt>
          <cx:pt idx="20217">1</cx:pt>
          <cx:pt idx="20218">1</cx:pt>
          <cx:pt idx="20219">0</cx:pt>
          <cx:pt idx="20220">1</cx:pt>
          <cx:pt idx="20221">0</cx:pt>
          <cx:pt idx="20222">0</cx:pt>
          <cx:pt idx="20223">0</cx:pt>
          <cx:pt idx="20224">0</cx:pt>
          <cx:pt idx="20225">0</cx:pt>
          <cx:pt idx="20226">0</cx:pt>
          <cx:pt idx="20227">0</cx:pt>
          <cx:pt idx="20228">0</cx:pt>
          <cx:pt idx="20229">1</cx:pt>
          <cx:pt idx="20230">0</cx:pt>
          <cx:pt idx="20231">0</cx:pt>
          <cx:pt idx="20232">0</cx:pt>
          <cx:pt idx="20233">0</cx:pt>
          <cx:pt idx="20234">0</cx:pt>
          <cx:pt idx="20235">1</cx:pt>
          <cx:pt idx="20236">0</cx:pt>
          <cx:pt idx="20237">0</cx:pt>
          <cx:pt idx="20238">0</cx:pt>
          <cx:pt idx="20239">0</cx:pt>
          <cx:pt idx="20240">1</cx:pt>
          <cx:pt idx="20241">0</cx:pt>
          <cx:pt idx="20242">1</cx:pt>
          <cx:pt idx="20243">0</cx:pt>
          <cx:pt idx="20244">0</cx:pt>
          <cx:pt idx="20245">1</cx:pt>
          <cx:pt idx="20246">0</cx:pt>
          <cx:pt idx="20247">0</cx:pt>
          <cx:pt idx="20248">0</cx:pt>
          <cx:pt idx="20249">1</cx:pt>
          <cx:pt idx="20250">1</cx:pt>
          <cx:pt idx="20251">1</cx:pt>
          <cx:pt idx="20252">0</cx:pt>
          <cx:pt idx="20253">0</cx:pt>
          <cx:pt idx="20254">0</cx:pt>
          <cx:pt idx="20255">0</cx:pt>
          <cx:pt idx="20256">0</cx:pt>
          <cx:pt idx="20257">1</cx:pt>
          <cx:pt idx="20258">1</cx:pt>
          <cx:pt idx="20259">0</cx:pt>
          <cx:pt idx="20260">1</cx:pt>
          <cx:pt idx="20261">0</cx:pt>
          <cx:pt idx="20262">0</cx:pt>
          <cx:pt idx="20263">1</cx:pt>
          <cx:pt idx="20264">0</cx:pt>
          <cx:pt idx="20265">0</cx:pt>
          <cx:pt idx="20266">1</cx:pt>
          <cx:pt idx="20267">1</cx:pt>
          <cx:pt idx="20268">0</cx:pt>
          <cx:pt idx="20269">1</cx:pt>
          <cx:pt idx="20270">0</cx:pt>
          <cx:pt idx="20271">1</cx:pt>
          <cx:pt idx="20272">1</cx:pt>
          <cx:pt idx="20273">1</cx:pt>
          <cx:pt idx="20274">0</cx:pt>
          <cx:pt idx="20275">0</cx:pt>
          <cx:pt idx="20276">0</cx:pt>
          <cx:pt idx="20277">0</cx:pt>
          <cx:pt idx="20278">1</cx:pt>
          <cx:pt idx="20279">0</cx:pt>
          <cx:pt idx="20280">1</cx:pt>
          <cx:pt idx="20281">0</cx:pt>
          <cx:pt idx="20282">0</cx:pt>
          <cx:pt idx="20283">1</cx:pt>
          <cx:pt idx="20284">1</cx:pt>
          <cx:pt idx="20285">1</cx:pt>
          <cx:pt idx="20286">1</cx:pt>
          <cx:pt idx="20287">1</cx:pt>
          <cx:pt idx="20288">1</cx:pt>
          <cx:pt idx="20289">0</cx:pt>
          <cx:pt idx="20290">0</cx:pt>
          <cx:pt idx="20291">1</cx:pt>
          <cx:pt idx="20292">0</cx:pt>
          <cx:pt idx="20293">0</cx:pt>
          <cx:pt idx="20294">0</cx:pt>
          <cx:pt idx="20295">0</cx:pt>
          <cx:pt idx="20296">1</cx:pt>
          <cx:pt idx="20297">1</cx:pt>
          <cx:pt idx="20298">1</cx:pt>
          <cx:pt idx="20299">1</cx:pt>
          <cx:pt idx="20300">0</cx:pt>
          <cx:pt idx="20301">0</cx:pt>
          <cx:pt idx="20302">0</cx:pt>
          <cx:pt idx="20303">1</cx:pt>
          <cx:pt idx="20304">0</cx:pt>
          <cx:pt idx="20305">1</cx:pt>
          <cx:pt idx="20306">0</cx:pt>
          <cx:pt idx="20307">0</cx:pt>
          <cx:pt idx="20308">1</cx:pt>
          <cx:pt idx="20309">0</cx:pt>
          <cx:pt idx="20310">1</cx:pt>
          <cx:pt idx="20311">0</cx:pt>
          <cx:pt idx="20312">0</cx:pt>
          <cx:pt idx="20313">0</cx:pt>
          <cx:pt idx="20314">0</cx:pt>
          <cx:pt idx="20315">1</cx:pt>
          <cx:pt idx="20316">0</cx:pt>
          <cx:pt idx="20317">0</cx:pt>
          <cx:pt idx="20318">0</cx:pt>
          <cx:pt idx="20319">1</cx:pt>
          <cx:pt idx="20320">0</cx:pt>
          <cx:pt idx="20321">1</cx:pt>
          <cx:pt idx="20322">1</cx:pt>
          <cx:pt idx="20323">0</cx:pt>
          <cx:pt idx="20324">1</cx:pt>
          <cx:pt idx="20325">1</cx:pt>
          <cx:pt idx="20326">0</cx:pt>
          <cx:pt idx="20327">1</cx:pt>
          <cx:pt idx="20328">0</cx:pt>
          <cx:pt idx="20329">1</cx:pt>
          <cx:pt idx="20330">1</cx:pt>
          <cx:pt idx="20331">0</cx:pt>
          <cx:pt idx="20332">1</cx:pt>
          <cx:pt idx="20333">0</cx:pt>
          <cx:pt idx="20334">0</cx:pt>
          <cx:pt idx="20335">1</cx:pt>
          <cx:pt idx="20336">0</cx:pt>
          <cx:pt idx="20337">0</cx:pt>
          <cx:pt idx="20338">1</cx:pt>
          <cx:pt idx="20339">0</cx:pt>
          <cx:pt idx="20340">1</cx:pt>
          <cx:pt idx="20341">0</cx:pt>
          <cx:pt idx="20342">0</cx:pt>
          <cx:pt idx="20343">1</cx:pt>
          <cx:pt idx="20344">1</cx:pt>
          <cx:pt idx="20345">1</cx:pt>
          <cx:pt idx="20346">0</cx:pt>
          <cx:pt idx="20347">1</cx:pt>
          <cx:pt idx="20348">0</cx:pt>
          <cx:pt idx="20349">1</cx:pt>
          <cx:pt idx="20350">1</cx:pt>
          <cx:pt idx="20351">1</cx:pt>
          <cx:pt idx="20352">0</cx:pt>
          <cx:pt idx="20353">0</cx:pt>
          <cx:pt idx="20354">1</cx:pt>
          <cx:pt idx="20355">1</cx:pt>
          <cx:pt idx="20356">1</cx:pt>
          <cx:pt idx="20357">0</cx:pt>
          <cx:pt idx="20358">0</cx:pt>
          <cx:pt idx="20359">1</cx:pt>
          <cx:pt idx="20360">1</cx:pt>
          <cx:pt idx="20361">0</cx:pt>
          <cx:pt idx="20362">1</cx:pt>
          <cx:pt idx="20363">0</cx:pt>
          <cx:pt idx="20364">1</cx:pt>
          <cx:pt idx="20365">1</cx:pt>
          <cx:pt idx="20366">1</cx:pt>
          <cx:pt idx="20367">0</cx:pt>
          <cx:pt idx="20368">1</cx:pt>
          <cx:pt idx="20369">0</cx:pt>
          <cx:pt idx="20370">1</cx:pt>
          <cx:pt idx="20371">0</cx:pt>
          <cx:pt idx="20372">0</cx:pt>
          <cx:pt idx="20373">0</cx:pt>
          <cx:pt idx="20374">0</cx:pt>
          <cx:pt idx="20375">0</cx:pt>
          <cx:pt idx="20376">1</cx:pt>
          <cx:pt idx="20377">1</cx:pt>
          <cx:pt idx="20378">0</cx:pt>
          <cx:pt idx="20379">1</cx:pt>
          <cx:pt idx="20380">1</cx:pt>
          <cx:pt idx="20381">0</cx:pt>
          <cx:pt idx="20382">1</cx:pt>
          <cx:pt idx="20383">0</cx:pt>
          <cx:pt idx="20384">0</cx:pt>
          <cx:pt idx="20385">0</cx:pt>
          <cx:pt idx="20386">1</cx:pt>
          <cx:pt idx="20387">0</cx:pt>
          <cx:pt idx="20388">0</cx:pt>
          <cx:pt idx="20389">0</cx:pt>
          <cx:pt idx="20390">0</cx:pt>
          <cx:pt idx="20391">1</cx:pt>
          <cx:pt idx="20392">0</cx:pt>
          <cx:pt idx="20393">0</cx:pt>
          <cx:pt idx="20394">1</cx:pt>
          <cx:pt idx="20395">1</cx:pt>
          <cx:pt idx="20396">1</cx:pt>
          <cx:pt idx="20397">1</cx:pt>
          <cx:pt idx="20398">0</cx:pt>
          <cx:pt idx="20399">1</cx:pt>
          <cx:pt idx="20400">1</cx:pt>
          <cx:pt idx="20401">0</cx:pt>
          <cx:pt idx="20402">1</cx:pt>
          <cx:pt idx="20403">0</cx:pt>
          <cx:pt idx="20404">1</cx:pt>
          <cx:pt idx="20405">0</cx:pt>
          <cx:pt idx="20406">1</cx:pt>
          <cx:pt idx="20407">0</cx:pt>
          <cx:pt idx="20408">0</cx:pt>
          <cx:pt idx="20409">0</cx:pt>
          <cx:pt idx="20410">1</cx:pt>
          <cx:pt idx="20411">1</cx:pt>
          <cx:pt idx="20412">0</cx:pt>
          <cx:pt idx="20413">0</cx:pt>
          <cx:pt idx="20414">0</cx:pt>
          <cx:pt idx="20415">0</cx:pt>
          <cx:pt idx="20416">0</cx:pt>
          <cx:pt idx="20417">0</cx:pt>
          <cx:pt idx="20418">1</cx:pt>
          <cx:pt idx="20419">0</cx:pt>
          <cx:pt idx="20420">1</cx:pt>
          <cx:pt idx="20421">0</cx:pt>
          <cx:pt idx="20422">1</cx:pt>
          <cx:pt idx="20423">0</cx:pt>
          <cx:pt idx="20424">1</cx:pt>
          <cx:pt idx="20425">1</cx:pt>
          <cx:pt idx="20426">0</cx:pt>
          <cx:pt idx="20427">0</cx:pt>
          <cx:pt idx="20428">0</cx:pt>
          <cx:pt idx="20429">1</cx:pt>
          <cx:pt idx="20430">0</cx:pt>
          <cx:pt idx="20431">0</cx:pt>
          <cx:pt idx="20432">0</cx:pt>
          <cx:pt idx="20433">1</cx:pt>
          <cx:pt idx="20434">0</cx:pt>
          <cx:pt idx="20435">1</cx:pt>
          <cx:pt idx="20436">1</cx:pt>
          <cx:pt idx="20437">1</cx:pt>
          <cx:pt idx="20438">0</cx:pt>
          <cx:pt idx="20439">1</cx:pt>
          <cx:pt idx="20440">0</cx:pt>
          <cx:pt idx="20441">0</cx:pt>
          <cx:pt idx="20442">1</cx:pt>
          <cx:pt idx="20443">0</cx:pt>
          <cx:pt idx="20444">1</cx:pt>
          <cx:pt idx="20445">1</cx:pt>
          <cx:pt idx="20446">0</cx:pt>
          <cx:pt idx="20447">1</cx:pt>
          <cx:pt idx="20448">1</cx:pt>
          <cx:pt idx="20449">1</cx:pt>
          <cx:pt idx="20450">0</cx:pt>
          <cx:pt idx="20451">0</cx:pt>
          <cx:pt idx="20452">1</cx:pt>
          <cx:pt idx="20453">0</cx:pt>
          <cx:pt idx="20454">0</cx:pt>
          <cx:pt idx="20455">0</cx:pt>
          <cx:pt idx="20456">1</cx:pt>
          <cx:pt idx="20457">0</cx:pt>
          <cx:pt idx="20458">0</cx:pt>
          <cx:pt idx="20459">0</cx:pt>
          <cx:pt idx="20460">0</cx:pt>
          <cx:pt idx="20461">1</cx:pt>
          <cx:pt idx="20462">1</cx:pt>
          <cx:pt idx="20463">0</cx:pt>
          <cx:pt idx="20464">1</cx:pt>
          <cx:pt idx="20465">1</cx:pt>
          <cx:pt idx="20466">1</cx:pt>
          <cx:pt idx="20467">1</cx:pt>
          <cx:pt idx="20468">0</cx:pt>
          <cx:pt idx="20469">0</cx:pt>
          <cx:pt idx="20470">1</cx:pt>
          <cx:pt idx="20471">1</cx:pt>
          <cx:pt idx="20472">0</cx:pt>
          <cx:pt idx="20473">1</cx:pt>
          <cx:pt idx="20474">0</cx:pt>
          <cx:pt idx="20475">0</cx:pt>
          <cx:pt idx="20476">0</cx:pt>
          <cx:pt idx="20477">1</cx:pt>
          <cx:pt idx="20478">1</cx:pt>
          <cx:pt idx="20479">1</cx:pt>
          <cx:pt idx="20480">0</cx:pt>
          <cx:pt idx="20481">1</cx:pt>
          <cx:pt idx="20482">1</cx:pt>
          <cx:pt idx="20483">0</cx:pt>
          <cx:pt idx="20484">0</cx:pt>
          <cx:pt idx="20485">1</cx:pt>
          <cx:pt idx="20486">1</cx:pt>
          <cx:pt idx="20487">1</cx:pt>
          <cx:pt idx="20488">0</cx:pt>
          <cx:pt idx="20489">1</cx:pt>
          <cx:pt idx="20490">0</cx:pt>
          <cx:pt idx="20491">0</cx:pt>
          <cx:pt idx="20492">1</cx:pt>
          <cx:pt idx="20493">0</cx:pt>
          <cx:pt idx="20494">1</cx:pt>
          <cx:pt idx="20495">0</cx:pt>
          <cx:pt idx="20496">1</cx:pt>
          <cx:pt idx="20497">1</cx:pt>
          <cx:pt idx="20498">1</cx:pt>
          <cx:pt idx="20499">1</cx:pt>
          <cx:pt idx="20500">0</cx:pt>
          <cx:pt idx="20501">0</cx:pt>
          <cx:pt idx="20502">0</cx:pt>
          <cx:pt idx="20503">1</cx:pt>
          <cx:pt idx="20504">0</cx:pt>
          <cx:pt idx="20505">0</cx:pt>
          <cx:pt idx="20506">1</cx:pt>
          <cx:pt idx="20507">0</cx:pt>
          <cx:pt idx="20508">0</cx:pt>
          <cx:pt idx="20509">0</cx:pt>
          <cx:pt idx="20510">0</cx:pt>
          <cx:pt idx="20511">1</cx:pt>
          <cx:pt idx="20512">1</cx:pt>
          <cx:pt idx="20513">0</cx:pt>
          <cx:pt idx="20514">0</cx:pt>
          <cx:pt idx="20515">0</cx:pt>
          <cx:pt idx="20516">1</cx:pt>
          <cx:pt idx="20517">0</cx:pt>
          <cx:pt idx="20518">0</cx:pt>
          <cx:pt idx="20519">1</cx:pt>
          <cx:pt idx="20520">0</cx:pt>
          <cx:pt idx="20521">0</cx:pt>
          <cx:pt idx="20522">0</cx:pt>
          <cx:pt idx="20523">0</cx:pt>
          <cx:pt idx="20524">0</cx:pt>
          <cx:pt idx="20525">1</cx:pt>
          <cx:pt idx="20526">0</cx:pt>
          <cx:pt idx="20527">1</cx:pt>
          <cx:pt idx="20528">0</cx:pt>
          <cx:pt idx="20529">1</cx:pt>
          <cx:pt idx="20530">1</cx:pt>
          <cx:pt idx="20531">0</cx:pt>
          <cx:pt idx="20532">0</cx:pt>
          <cx:pt idx="20533">0</cx:pt>
          <cx:pt idx="20534">0</cx:pt>
          <cx:pt idx="20535">1</cx:pt>
          <cx:pt idx="20536">0</cx:pt>
          <cx:pt idx="20537">0</cx:pt>
          <cx:pt idx="20538">0</cx:pt>
          <cx:pt idx="20539">0</cx:pt>
          <cx:pt idx="20540">0</cx:pt>
          <cx:pt idx="20541">0</cx:pt>
          <cx:pt idx="20542">0</cx:pt>
          <cx:pt idx="20543">0</cx:pt>
          <cx:pt idx="20544">1</cx:pt>
          <cx:pt idx="20545">1</cx:pt>
          <cx:pt idx="20546">0</cx:pt>
          <cx:pt idx="20547">0</cx:pt>
          <cx:pt idx="20548">1</cx:pt>
          <cx:pt idx="20549">0</cx:pt>
          <cx:pt idx="20550">1</cx:pt>
          <cx:pt idx="20551">1</cx:pt>
          <cx:pt idx="20552">0</cx:pt>
          <cx:pt idx="20553">0</cx:pt>
          <cx:pt idx="20554">0</cx:pt>
          <cx:pt idx="20555">0</cx:pt>
          <cx:pt idx="20556">0</cx:pt>
          <cx:pt idx="20557">0</cx:pt>
          <cx:pt idx="20558">1</cx:pt>
          <cx:pt idx="20559">1</cx:pt>
          <cx:pt idx="20560">1</cx:pt>
          <cx:pt idx="20561">1</cx:pt>
          <cx:pt idx="20562">1</cx:pt>
          <cx:pt idx="20563">1</cx:pt>
          <cx:pt idx="20564">0</cx:pt>
          <cx:pt idx="20565">1</cx:pt>
          <cx:pt idx="20566">0</cx:pt>
          <cx:pt idx="20567">1</cx:pt>
          <cx:pt idx="20568">1</cx:pt>
          <cx:pt idx="20569">1</cx:pt>
          <cx:pt idx="20570">0</cx:pt>
          <cx:pt idx="20571">1</cx:pt>
          <cx:pt idx="20572">0</cx:pt>
          <cx:pt idx="20573">1</cx:pt>
          <cx:pt idx="20574">0</cx:pt>
          <cx:pt idx="20575">1</cx:pt>
          <cx:pt idx="20576">0</cx:pt>
          <cx:pt idx="20577">0</cx:pt>
          <cx:pt idx="20578">0</cx:pt>
          <cx:pt idx="20579">1</cx:pt>
          <cx:pt idx="20580">0</cx:pt>
          <cx:pt idx="20581">1</cx:pt>
          <cx:pt idx="20582">0</cx:pt>
          <cx:pt idx="20583">0</cx:pt>
          <cx:pt idx="20584">1</cx:pt>
          <cx:pt idx="20585">1</cx:pt>
          <cx:pt idx="20586">0</cx:pt>
          <cx:pt idx="20587">0</cx:pt>
          <cx:pt idx="20588">0</cx:pt>
          <cx:pt idx="20589">0</cx:pt>
          <cx:pt idx="20590">1</cx:pt>
          <cx:pt idx="20591">0</cx:pt>
          <cx:pt idx="20592">0</cx:pt>
          <cx:pt idx="20593">0</cx:pt>
          <cx:pt idx="20594">1</cx:pt>
          <cx:pt idx="20595">1</cx:pt>
          <cx:pt idx="20596">0</cx:pt>
          <cx:pt idx="20597">1</cx:pt>
          <cx:pt idx="20598">1</cx:pt>
          <cx:pt idx="20599">0</cx:pt>
          <cx:pt idx="20600">0</cx:pt>
          <cx:pt idx="20601">0</cx:pt>
          <cx:pt idx="20602">1</cx:pt>
          <cx:pt idx="20603">1</cx:pt>
          <cx:pt idx="20604">1</cx:pt>
          <cx:pt idx="20605">0</cx:pt>
          <cx:pt idx="20606">0</cx:pt>
          <cx:pt idx="20607">1</cx:pt>
          <cx:pt idx="20608">1</cx:pt>
          <cx:pt idx="20609">1</cx:pt>
          <cx:pt idx="20610">1</cx:pt>
          <cx:pt idx="20611">0</cx:pt>
          <cx:pt idx="20612">1</cx:pt>
          <cx:pt idx="20613">1</cx:pt>
          <cx:pt idx="20614">0</cx:pt>
          <cx:pt idx="20615">0</cx:pt>
          <cx:pt idx="20616">0</cx:pt>
          <cx:pt idx="20617">1</cx:pt>
          <cx:pt idx="20618">1</cx:pt>
          <cx:pt idx="20619">0</cx:pt>
          <cx:pt idx="20620">1</cx:pt>
          <cx:pt idx="20621">1</cx:pt>
          <cx:pt idx="20622">0</cx:pt>
          <cx:pt idx="20623">0</cx:pt>
          <cx:pt idx="20624">0</cx:pt>
          <cx:pt idx="20625">1</cx:pt>
          <cx:pt idx="20626">0</cx:pt>
          <cx:pt idx="20627">1</cx:pt>
          <cx:pt idx="20628">0</cx:pt>
          <cx:pt idx="20629">1</cx:pt>
          <cx:pt idx="20630">1</cx:pt>
          <cx:pt idx="20631">1</cx:pt>
          <cx:pt idx="20632">1</cx:pt>
          <cx:pt idx="20633">1</cx:pt>
          <cx:pt idx="20634">1</cx:pt>
          <cx:pt idx="20635">1</cx:pt>
          <cx:pt idx="20636">1</cx:pt>
          <cx:pt idx="20637">1</cx:pt>
          <cx:pt idx="20638">0</cx:pt>
          <cx:pt idx="20639">0</cx:pt>
          <cx:pt idx="20640">0</cx:pt>
          <cx:pt idx="20641">0</cx:pt>
          <cx:pt idx="20642">0</cx:pt>
          <cx:pt idx="20643">1</cx:pt>
          <cx:pt idx="20644">1</cx:pt>
          <cx:pt idx="20645">1</cx:pt>
          <cx:pt idx="20646">1</cx:pt>
          <cx:pt idx="20647">1</cx:pt>
          <cx:pt idx="20648">0</cx:pt>
          <cx:pt idx="20649">0</cx:pt>
          <cx:pt idx="20650">0</cx:pt>
          <cx:pt idx="20651">1</cx:pt>
          <cx:pt idx="20652">0</cx:pt>
          <cx:pt idx="20653">1</cx:pt>
          <cx:pt idx="20654">0</cx:pt>
          <cx:pt idx="20655">0</cx:pt>
          <cx:pt idx="20656">0</cx:pt>
          <cx:pt idx="20657">0</cx:pt>
          <cx:pt idx="20658">0</cx:pt>
          <cx:pt idx="20659">1</cx:pt>
          <cx:pt idx="20660">1</cx:pt>
          <cx:pt idx="20661">0</cx:pt>
          <cx:pt idx="20662">1</cx:pt>
          <cx:pt idx="20663">0</cx:pt>
          <cx:pt idx="20664">1</cx:pt>
          <cx:pt idx="20665">1</cx:pt>
          <cx:pt idx="20666">1</cx:pt>
          <cx:pt idx="20667">1</cx:pt>
          <cx:pt idx="20668">0</cx:pt>
          <cx:pt idx="20669">1</cx:pt>
          <cx:pt idx="20670">0</cx:pt>
          <cx:pt idx="20671">1</cx:pt>
          <cx:pt idx="20672">1</cx:pt>
          <cx:pt idx="20673">1</cx:pt>
          <cx:pt idx="20674">1</cx:pt>
          <cx:pt idx="20675">0</cx:pt>
          <cx:pt idx="20676">0</cx:pt>
          <cx:pt idx="20677">1</cx:pt>
          <cx:pt idx="20678">1</cx:pt>
          <cx:pt idx="20679">1</cx:pt>
          <cx:pt idx="20680">1</cx:pt>
          <cx:pt idx="20681">0</cx:pt>
          <cx:pt idx="20682">0</cx:pt>
          <cx:pt idx="20683">0</cx:pt>
          <cx:pt idx="20684">0</cx:pt>
          <cx:pt idx="20685">1</cx:pt>
          <cx:pt idx="20686">1</cx:pt>
          <cx:pt idx="20687">1</cx:pt>
          <cx:pt idx="20688">0</cx:pt>
          <cx:pt idx="20689">0</cx:pt>
          <cx:pt idx="20690">0</cx:pt>
          <cx:pt idx="20691">1</cx:pt>
          <cx:pt idx="20692">0</cx:pt>
          <cx:pt idx="20693">1</cx:pt>
          <cx:pt idx="20694">0</cx:pt>
          <cx:pt idx="20695">1</cx:pt>
          <cx:pt idx="20696">1</cx:pt>
          <cx:pt idx="20697">0</cx:pt>
          <cx:pt idx="20698">0</cx:pt>
          <cx:pt idx="20699">1</cx:pt>
          <cx:pt idx="20700">1</cx:pt>
          <cx:pt idx="20701">0</cx:pt>
          <cx:pt idx="20702">0</cx:pt>
          <cx:pt idx="20703">1</cx:pt>
          <cx:pt idx="20704">0</cx:pt>
          <cx:pt idx="20705">0</cx:pt>
          <cx:pt idx="20706">1</cx:pt>
          <cx:pt idx="20707">0</cx:pt>
          <cx:pt idx="20708">1</cx:pt>
          <cx:pt idx="20709">1</cx:pt>
          <cx:pt idx="20710">0</cx:pt>
          <cx:pt idx="20711">0</cx:pt>
          <cx:pt idx="20712">0</cx:pt>
          <cx:pt idx="20713">0</cx:pt>
          <cx:pt idx="20714">0</cx:pt>
          <cx:pt idx="20715">0</cx:pt>
          <cx:pt idx="20716">1</cx:pt>
          <cx:pt idx="20717">1</cx:pt>
          <cx:pt idx="20718">1</cx:pt>
          <cx:pt idx="20719">0</cx:pt>
          <cx:pt idx="20720">0</cx:pt>
          <cx:pt idx="20721">0</cx:pt>
          <cx:pt idx="20722">1</cx:pt>
          <cx:pt idx="20723">1</cx:pt>
          <cx:pt idx="20724">0</cx:pt>
          <cx:pt idx="20725">1</cx:pt>
          <cx:pt idx="20726">0</cx:pt>
          <cx:pt idx="20727">1</cx:pt>
          <cx:pt idx="20728">0</cx:pt>
          <cx:pt idx="20729">1</cx:pt>
          <cx:pt idx="20730">1</cx:pt>
          <cx:pt idx="20731">0</cx:pt>
          <cx:pt idx="20732">1</cx:pt>
          <cx:pt idx="20733">0</cx:pt>
          <cx:pt idx="20734">0</cx:pt>
          <cx:pt idx="20735">0</cx:pt>
          <cx:pt idx="20736">0</cx:pt>
          <cx:pt idx="20737">1</cx:pt>
          <cx:pt idx="20738">1</cx:pt>
          <cx:pt idx="20739">1</cx:pt>
          <cx:pt idx="20740">1</cx:pt>
          <cx:pt idx="20741">0</cx:pt>
          <cx:pt idx="20742">0</cx:pt>
          <cx:pt idx="20743">1</cx:pt>
          <cx:pt idx="20744">1</cx:pt>
          <cx:pt idx="20745">0</cx:pt>
          <cx:pt idx="20746">0</cx:pt>
          <cx:pt idx="20747">1</cx:pt>
          <cx:pt idx="20748">1</cx:pt>
          <cx:pt idx="20749">0</cx:pt>
          <cx:pt idx="20750">1</cx:pt>
          <cx:pt idx="20751">0</cx:pt>
          <cx:pt idx="20752">0</cx:pt>
          <cx:pt idx="20753">0</cx:pt>
          <cx:pt idx="20754">1</cx:pt>
          <cx:pt idx="20755">1</cx:pt>
          <cx:pt idx="20756">1</cx:pt>
          <cx:pt idx="20757">0</cx:pt>
          <cx:pt idx="20758">0</cx:pt>
          <cx:pt idx="20759">0</cx:pt>
          <cx:pt idx="20760">1</cx:pt>
          <cx:pt idx="20761">0</cx:pt>
          <cx:pt idx="20762">1</cx:pt>
          <cx:pt idx="20763">0</cx:pt>
          <cx:pt idx="20764">0</cx:pt>
          <cx:pt idx="20765">0</cx:pt>
          <cx:pt idx="20766">0</cx:pt>
          <cx:pt idx="20767">1</cx:pt>
          <cx:pt idx="20768">1</cx:pt>
          <cx:pt idx="20769">1</cx:pt>
          <cx:pt idx="20770">0</cx:pt>
          <cx:pt idx="20771">0</cx:pt>
          <cx:pt idx="20772">1</cx:pt>
          <cx:pt idx="20773">1</cx:pt>
          <cx:pt idx="20774">1</cx:pt>
          <cx:pt idx="20775">0</cx:pt>
          <cx:pt idx="20776">1</cx:pt>
          <cx:pt idx="20777">1</cx:pt>
          <cx:pt idx="20778">1</cx:pt>
          <cx:pt idx="20779">1</cx:pt>
          <cx:pt idx="20780">0</cx:pt>
          <cx:pt idx="20781">0</cx:pt>
          <cx:pt idx="20782">1</cx:pt>
          <cx:pt idx="20783">0</cx:pt>
          <cx:pt idx="20784">1</cx:pt>
          <cx:pt idx="20785">1</cx:pt>
          <cx:pt idx="20786">0</cx:pt>
          <cx:pt idx="20787">1</cx:pt>
          <cx:pt idx="20788">0</cx:pt>
          <cx:pt idx="20789">0</cx:pt>
          <cx:pt idx="20790">0</cx:pt>
          <cx:pt idx="20791">0</cx:pt>
          <cx:pt idx="20792">0</cx:pt>
          <cx:pt idx="20793">0</cx:pt>
          <cx:pt idx="20794">0</cx:pt>
          <cx:pt idx="20795">1</cx:pt>
          <cx:pt idx="20796">0</cx:pt>
          <cx:pt idx="20797">0</cx:pt>
          <cx:pt idx="20798">1</cx:pt>
          <cx:pt idx="20799">0</cx:pt>
          <cx:pt idx="20800">0</cx:pt>
          <cx:pt idx="20801">1</cx:pt>
          <cx:pt idx="20802">1</cx:pt>
          <cx:pt idx="20803">0</cx:pt>
          <cx:pt idx="20804">1</cx:pt>
          <cx:pt idx="20805">0</cx:pt>
          <cx:pt idx="20806">1</cx:pt>
          <cx:pt idx="20807">0</cx:pt>
          <cx:pt idx="20808">1</cx:pt>
          <cx:pt idx="20809">0</cx:pt>
          <cx:pt idx="20810">0</cx:pt>
          <cx:pt idx="20811">0</cx:pt>
          <cx:pt idx="20812">0</cx:pt>
          <cx:pt idx="20813">0</cx:pt>
          <cx:pt idx="20814">1</cx:pt>
          <cx:pt idx="20815">1</cx:pt>
          <cx:pt idx="20816">1</cx:pt>
          <cx:pt idx="20817">0</cx:pt>
          <cx:pt idx="20818">1</cx:pt>
          <cx:pt idx="20819">0</cx:pt>
          <cx:pt idx="20820">1</cx:pt>
          <cx:pt idx="20821">0</cx:pt>
          <cx:pt idx="20822">1</cx:pt>
          <cx:pt idx="20823">0</cx:pt>
          <cx:pt idx="20824">0</cx:pt>
          <cx:pt idx="20825">0</cx:pt>
          <cx:pt idx="20826">1</cx:pt>
          <cx:pt idx="20827">1</cx:pt>
          <cx:pt idx="20828">1</cx:pt>
          <cx:pt idx="20829">1</cx:pt>
          <cx:pt idx="20830">1</cx:pt>
          <cx:pt idx="20831">0</cx:pt>
          <cx:pt idx="20832">1</cx:pt>
          <cx:pt idx="20833">1</cx:pt>
          <cx:pt idx="20834">0</cx:pt>
          <cx:pt idx="20835">1</cx:pt>
          <cx:pt idx="20836">1</cx:pt>
          <cx:pt idx="20837">0</cx:pt>
          <cx:pt idx="20838">1</cx:pt>
          <cx:pt idx="20839">0</cx:pt>
          <cx:pt idx="20840">1</cx:pt>
          <cx:pt idx="20841">0</cx:pt>
          <cx:pt idx="20842">1</cx:pt>
          <cx:pt idx="20843">0</cx:pt>
          <cx:pt idx="20844">0</cx:pt>
          <cx:pt idx="20845">1</cx:pt>
          <cx:pt idx="20846">1</cx:pt>
          <cx:pt idx="20847">0</cx:pt>
          <cx:pt idx="20848">0</cx:pt>
          <cx:pt idx="20849">1</cx:pt>
          <cx:pt idx="20850">0</cx:pt>
          <cx:pt idx="20851">0</cx:pt>
          <cx:pt idx="20852">0</cx:pt>
          <cx:pt idx="20853">0</cx:pt>
          <cx:pt idx="20854">0</cx:pt>
          <cx:pt idx="20855">0</cx:pt>
          <cx:pt idx="20856">1</cx:pt>
          <cx:pt idx="20857">1</cx:pt>
          <cx:pt idx="20858">0</cx:pt>
          <cx:pt idx="20859">0</cx:pt>
          <cx:pt idx="20860">0</cx:pt>
          <cx:pt idx="20861">0</cx:pt>
          <cx:pt idx="20862">0</cx:pt>
          <cx:pt idx="20863">0</cx:pt>
          <cx:pt idx="20864">0</cx:pt>
          <cx:pt idx="20865">1</cx:pt>
          <cx:pt idx="20866">1</cx:pt>
          <cx:pt idx="20867">1</cx:pt>
          <cx:pt idx="20868">0</cx:pt>
          <cx:pt idx="20869">0</cx:pt>
          <cx:pt idx="20870">0</cx:pt>
          <cx:pt idx="20871">0</cx:pt>
          <cx:pt idx="20872">0</cx:pt>
          <cx:pt idx="20873">0</cx:pt>
          <cx:pt idx="20874">1</cx:pt>
          <cx:pt idx="20875">0</cx:pt>
          <cx:pt idx="20876">0</cx:pt>
          <cx:pt idx="20877">0</cx:pt>
          <cx:pt idx="20878">1</cx:pt>
          <cx:pt idx="20879">1</cx:pt>
          <cx:pt idx="20880">0</cx:pt>
          <cx:pt idx="20881">0</cx:pt>
          <cx:pt idx="20882">0</cx:pt>
          <cx:pt idx="20883">1</cx:pt>
          <cx:pt idx="20884">1</cx:pt>
          <cx:pt idx="20885">1</cx:pt>
          <cx:pt idx="20886">1</cx:pt>
          <cx:pt idx="20887">1</cx:pt>
          <cx:pt idx="20888">0</cx:pt>
          <cx:pt idx="20889">0</cx:pt>
          <cx:pt idx="20890">0</cx:pt>
          <cx:pt idx="20891">1</cx:pt>
          <cx:pt idx="20892">0</cx:pt>
          <cx:pt idx="20893">1</cx:pt>
          <cx:pt idx="20894">1</cx:pt>
          <cx:pt idx="20895">1</cx:pt>
          <cx:pt idx="20896">0</cx:pt>
          <cx:pt idx="20897">1</cx:pt>
          <cx:pt idx="20898">1</cx:pt>
          <cx:pt idx="20899">1</cx:pt>
          <cx:pt idx="20900">1</cx:pt>
          <cx:pt idx="20901">1</cx:pt>
          <cx:pt idx="20902">0</cx:pt>
          <cx:pt idx="20903">0</cx:pt>
          <cx:pt idx="20904">0</cx:pt>
          <cx:pt idx="20905">1</cx:pt>
          <cx:pt idx="20906">1</cx:pt>
          <cx:pt idx="20907">1</cx:pt>
          <cx:pt idx="20908">1</cx:pt>
          <cx:pt idx="20909">1</cx:pt>
          <cx:pt idx="20910">0</cx:pt>
          <cx:pt idx="20911">0</cx:pt>
          <cx:pt idx="20912">0</cx:pt>
          <cx:pt idx="20913">0</cx:pt>
          <cx:pt idx="20914">0</cx:pt>
          <cx:pt idx="20915">0</cx:pt>
          <cx:pt idx="20916">1</cx:pt>
          <cx:pt idx="20917">0</cx:pt>
          <cx:pt idx="20918">0</cx:pt>
          <cx:pt idx="20919">0</cx:pt>
          <cx:pt idx="20920">0</cx:pt>
          <cx:pt idx="20921">0</cx:pt>
          <cx:pt idx="20922">1</cx:pt>
          <cx:pt idx="20923">0</cx:pt>
          <cx:pt idx="20924">1</cx:pt>
          <cx:pt idx="20925">0</cx:pt>
          <cx:pt idx="20926">0</cx:pt>
          <cx:pt idx="20927">0</cx:pt>
          <cx:pt idx="20928">1</cx:pt>
          <cx:pt idx="20929">1</cx:pt>
          <cx:pt idx="20930">1</cx:pt>
          <cx:pt idx="20931">1</cx:pt>
          <cx:pt idx="20932">0</cx:pt>
          <cx:pt idx="20933">1</cx:pt>
          <cx:pt idx="20934">1</cx:pt>
          <cx:pt idx="20935">1</cx:pt>
          <cx:pt idx="20936">1</cx:pt>
          <cx:pt idx="20937">0</cx:pt>
          <cx:pt idx="20938">0</cx:pt>
          <cx:pt idx="20939">1</cx:pt>
          <cx:pt idx="20940">0</cx:pt>
          <cx:pt idx="20941">0</cx:pt>
          <cx:pt idx="20942">1</cx:pt>
          <cx:pt idx="20943">0</cx:pt>
          <cx:pt idx="20944">0</cx:pt>
          <cx:pt idx="20945">0</cx:pt>
          <cx:pt idx="20946">0</cx:pt>
          <cx:pt idx="20947">0</cx:pt>
          <cx:pt idx="20948">1</cx:pt>
          <cx:pt idx="20949">0</cx:pt>
          <cx:pt idx="20950">0</cx:pt>
          <cx:pt idx="20951">0</cx:pt>
          <cx:pt idx="20952">0</cx:pt>
          <cx:pt idx="20953">1</cx:pt>
          <cx:pt idx="20954">0</cx:pt>
          <cx:pt idx="20955">0</cx:pt>
          <cx:pt idx="20956">1</cx:pt>
          <cx:pt idx="20957">1</cx:pt>
          <cx:pt idx="20958">1</cx:pt>
          <cx:pt idx="20959">1</cx:pt>
          <cx:pt idx="20960">0</cx:pt>
          <cx:pt idx="20961">1</cx:pt>
          <cx:pt idx="20962">0</cx:pt>
          <cx:pt idx="20963">1</cx:pt>
          <cx:pt idx="20964">0</cx:pt>
          <cx:pt idx="20965">0</cx:pt>
          <cx:pt idx="20966">0</cx:pt>
          <cx:pt idx="20967">0</cx:pt>
          <cx:pt idx="20968">1</cx:pt>
          <cx:pt idx="20969">0</cx:pt>
          <cx:pt idx="20970">1</cx:pt>
          <cx:pt idx="20971">1</cx:pt>
          <cx:pt idx="20972">1</cx:pt>
          <cx:pt idx="20973">0</cx:pt>
          <cx:pt idx="20974">1</cx:pt>
          <cx:pt idx="20975">0</cx:pt>
          <cx:pt idx="20976">0</cx:pt>
          <cx:pt idx="20977">0</cx:pt>
          <cx:pt idx="20978">1</cx:pt>
          <cx:pt idx="20979">0</cx:pt>
          <cx:pt idx="20980">0</cx:pt>
          <cx:pt idx="20981">0</cx:pt>
          <cx:pt idx="20982">0</cx:pt>
          <cx:pt idx="20983">1</cx:pt>
          <cx:pt idx="20984">1</cx:pt>
          <cx:pt idx="20985">0</cx:pt>
          <cx:pt idx="20986">0</cx:pt>
          <cx:pt idx="20987">1</cx:pt>
          <cx:pt idx="20988">1</cx:pt>
          <cx:pt idx="20989">1</cx:pt>
          <cx:pt idx="20990">0</cx:pt>
          <cx:pt idx="20991">1</cx:pt>
          <cx:pt idx="20992">1</cx:pt>
          <cx:pt idx="20993">0</cx:pt>
          <cx:pt idx="20994">1</cx:pt>
          <cx:pt idx="20995">1</cx:pt>
          <cx:pt idx="20996">1</cx:pt>
          <cx:pt idx="20997">1</cx:pt>
          <cx:pt idx="20998">0</cx:pt>
          <cx:pt idx="20999">1</cx:pt>
          <cx:pt idx="21000">1</cx:pt>
          <cx:pt idx="21001">0</cx:pt>
          <cx:pt idx="21002">1</cx:pt>
          <cx:pt idx="21003">1</cx:pt>
          <cx:pt idx="21004">1</cx:pt>
          <cx:pt idx="21005">0</cx:pt>
          <cx:pt idx="21006">0</cx:pt>
          <cx:pt idx="21007">0</cx:pt>
          <cx:pt idx="21008">1</cx:pt>
          <cx:pt idx="21009">0</cx:pt>
          <cx:pt idx="21010">0</cx:pt>
          <cx:pt idx="21011">1</cx:pt>
          <cx:pt idx="21012">1</cx:pt>
          <cx:pt idx="21013">0</cx:pt>
          <cx:pt idx="21014">1</cx:pt>
          <cx:pt idx="21015">1</cx:pt>
          <cx:pt idx="21016">0</cx:pt>
          <cx:pt idx="21017">0</cx:pt>
          <cx:pt idx="21018">0</cx:pt>
          <cx:pt idx="21019">0</cx:pt>
          <cx:pt idx="21020">0</cx:pt>
          <cx:pt idx="21021">0</cx:pt>
          <cx:pt idx="21022">0</cx:pt>
          <cx:pt idx="21023">1</cx:pt>
          <cx:pt idx="21024">0</cx:pt>
          <cx:pt idx="21025">1</cx:pt>
          <cx:pt idx="21026">1</cx:pt>
          <cx:pt idx="21027">0</cx:pt>
          <cx:pt idx="21028">0</cx:pt>
          <cx:pt idx="21029">0</cx:pt>
          <cx:pt idx="21030">0</cx:pt>
          <cx:pt idx="21031">1</cx:pt>
          <cx:pt idx="21032">0</cx:pt>
          <cx:pt idx="21033">0</cx:pt>
          <cx:pt idx="21034">1</cx:pt>
          <cx:pt idx="21035">1</cx:pt>
          <cx:pt idx="21036">0</cx:pt>
          <cx:pt idx="21037">0</cx:pt>
          <cx:pt idx="21038">0</cx:pt>
          <cx:pt idx="21039">0</cx:pt>
          <cx:pt idx="21040">0</cx:pt>
          <cx:pt idx="21041">0</cx:pt>
          <cx:pt idx="21042">0</cx:pt>
          <cx:pt idx="21043">0</cx:pt>
          <cx:pt idx="21044">1</cx:pt>
          <cx:pt idx="21045">0</cx:pt>
          <cx:pt idx="21046">1</cx:pt>
          <cx:pt idx="21047">0</cx:pt>
          <cx:pt idx="21048">1</cx:pt>
          <cx:pt idx="21049">0</cx:pt>
          <cx:pt idx="21050">0</cx:pt>
          <cx:pt idx="21051">1</cx:pt>
          <cx:pt idx="21052">1</cx:pt>
          <cx:pt idx="21053">1</cx:pt>
          <cx:pt idx="21054">0</cx:pt>
          <cx:pt idx="21055">0</cx:pt>
          <cx:pt idx="21056">1</cx:pt>
          <cx:pt idx="21057">1</cx:pt>
          <cx:pt idx="21058">1</cx:pt>
          <cx:pt idx="21059">0</cx:pt>
          <cx:pt idx="21060">1</cx:pt>
          <cx:pt idx="21061">1</cx:pt>
          <cx:pt idx="21062">1</cx:pt>
          <cx:pt idx="21063">0</cx:pt>
          <cx:pt idx="21064">0</cx:pt>
          <cx:pt idx="21065">1</cx:pt>
          <cx:pt idx="21066">0</cx:pt>
          <cx:pt idx="21067">1</cx:pt>
          <cx:pt idx="21068">0</cx:pt>
          <cx:pt idx="21069">0</cx:pt>
          <cx:pt idx="21070">1</cx:pt>
          <cx:pt idx="21071">0</cx:pt>
          <cx:pt idx="21072">0</cx:pt>
          <cx:pt idx="21073">1</cx:pt>
          <cx:pt idx="21074">0</cx:pt>
          <cx:pt idx="21075">1</cx:pt>
          <cx:pt idx="21076">1</cx:pt>
          <cx:pt idx="21077">0</cx:pt>
          <cx:pt idx="21078">1</cx:pt>
          <cx:pt idx="21079">1</cx:pt>
          <cx:pt idx="21080">0</cx:pt>
          <cx:pt idx="21081">0</cx:pt>
          <cx:pt idx="21082">0</cx:pt>
          <cx:pt idx="21083">0</cx:pt>
          <cx:pt idx="21084">1</cx:pt>
          <cx:pt idx="21085">0</cx:pt>
          <cx:pt idx="21086">0</cx:pt>
          <cx:pt idx="21087">0</cx:pt>
          <cx:pt idx="21088">1</cx:pt>
          <cx:pt idx="21089">0</cx:pt>
          <cx:pt idx="21090">0</cx:pt>
          <cx:pt idx="21091">1</cx:pt>
          <cx:pt idx="21092">0</cx:pt>
          <cx:pt idx="21093">0</cx:pt>
          <cx:pt idx="21094">0</cx:pt>
          <cx:pt idx="21095">0</cx:pt>
          <cx:pt idx="21096">0</cx:pt>
          <cx:pt idx="21097">0</cx:pt>
          <cx:pt idx="21098">0</cx:pt>
          <cx:pt idx="21099">0</cx:pt>
          <cx:pt idx="21100">0</cx:pt>
          <cx:pt idx="21101">1</cx:pt>
          <cx:pt idx="21102">1</cx:pt>
          <cx:pt idx="21103">1</cx:pt>
          <cx:pt idx="21104">0</cx:pt>
          <cx:pt idx="21105">0</cx:pt>
          <cx:pt idx="21106">0</cx:pt>
          <cx:pt idx="21107">0</cx:pt>
          <cx:pt idx="21108">0</cx:pt>
          <cx:pt idx="21109">1</cx:pt>
          <cx:pt idx="21110">0</cx:pt>
          <cx:pt idx="21111">0</cx:pt>
          <cx:pt idx="21112">1</cx:pt>
          <cx:pt idx="21113">0</cx:pt>
          <cx:pt idx="21114">1</cx:pt>
          <cx:pt idx="21115">1</cx:pt>
          <cx:pt idx="21116">1</cx:pt>
          <cx:pt idx="21117">1</cx:pt>
          <cx:pt idx="21118">0</cx:pt>
          <cx:pt idx="21119">1</cx:pt>
          <cx:pt idx="21120">0</cx:pt>
          <cx:pt idx="21121">1</cx:pt>
          <cx:pt idx="21122">0</cx:pt>
          <cx:pt idx="21123">0</cx:pt>
          <cx:pt idx="21124">0</cx:pt>
          <cx:pt idx="21125">1</cx:pt>
          <cx:pt idx="21126">1</cx:pt>
          <cx:pt idx="21127">0</cx:pt>
          <cx:pt idx="21128">0</cx:pt>
          <cx:pt idx="21129">1</cx:pt>
          <cx:pt idx="21130">0</cx:pt>
          <cx:pt idx="21131">0</cx:pt>
          <cx:pt idx="21132">0</cx:pt>
          <cx:pt idx="21133">0</cx:pt>
          <cx:pt idx="21134">0</cx:pt>
          <cx:pt idx="21135">0</cx:pt>
          <cx:pt idx="21136">1</cx:pt>
          <cx:pt idx="21137">0</cx:pt>
          <cx:pt idx="21138">0</cx:pt>
          <cx:pt idx="21139">1</cx:pt>
          <cx:pt idx="21140">0</cx:pt>
          <cx:pt idx="21141">1</cx:pt>
          <cx:pt idx="21142">0</cx:pt>
          <cx:pt idx="21143">0</cx:pt>
          <cx:pt idx="21144">0</cx:pt>
          <cx:pt idx="21145">0</cx:pt>
          <cx:pt idx="21146">0</cx:pt>
          <cx:pt idx="21147">0</cx:pt>
          <cx:pt idx="21148">1</cx:pt>
          <cx:pt idx="21149">1</cx:pt>
          <cx:pt idx="21150">0</cx:pt>
          <cx:pt idx="21151">0</cx:pt>
          <cx:pt idx="21152">0</cx:pt>
          <cx:pt idx="21153">1</cx:pt>
          <cx:pt idx="21154">1</cx:pt>
          <cx:pt idx="21155">1</cx:pt>
          <cx:pt idx="21156">1</cx:pt>
          <cx:pt idx="21157">0</cx:pt>
          <cx:pt idx="21158">0</cx:pt>
          <cx:pt idx="21159">0</cx:pt>
          <cx:pt idx="21160">1</cx:pt>
          <cx:pt idx="21161">1</cx:pt>
          <cx:pt idx="21162">1</cx:pt>
          <cx:pt idx="21163">0</cx:pt>
          <cx:pt idx="21164">0</cx:pt>
          <cx:pt idx="21165">1</cx:pt>
          <cx:pt idx="21166">0</cx:pt>
          <cx:pt idx="21167">1</cx:pt>
          <cx:pt idx="21168">0</cx:pt>
          <cx:pt idx="21169">1</cx:pt>
          <cx:pt idx="21170">1</cx:pt>
          <cx:pt idx="21171">1</cx:pt>
          <cx:pt idx="21172">1</cx:pt>
          <cx:pt idx="21173">1</cx:pt>
          <cx:pt idx="21174">0</cx:pt>
          <cx:pt idx="21175">0</cx:pt>
          <cx:pt idx="21176">0</cx:pt>
          <cx:pt idx="21177">1</cx:pt>
          <cx:pt idx="21178">1</cx:pt>
          <cx:pt idx="21179">1</cx:pt>
          <cx:pt idx="21180">1</cx:pt>
          <cx:pt idx="21181">0</cx:pt>
          <cx:pt idx="21182">0</cx:pt>
          <cx:pt idx="21183">0</cx:pt>
          <cx:pt idx="21184">0</cx:pt>
          <cx:pt idx="21185">1</cx:pt>
          <cx:pt idx="21186">0</cx:pt>
          <cx:pt idx="21187">0</cx:pt>
          <cx:pt idx="21188">0</cx:pt>
          <cx:pt idx="21189">1</cx:pt>
          <cx:pt idx="21190">0</cx:pt>
          <cx:pt idx="21191">0</cx:pt>
          <cx:pt idx="21192">0</cx:pt>
          <cx:pt idx="21193">0</cx:pt>
          <cx:pt idx="21194">1</cx:pt>
          <cx:pt idx="21195">1</cx:pt>
          <cx:pt idx="21196">0</cx:pt>
          <cx:pt idx="21197">1</cx:pt>
          <cx:pt idx="21198">1</cx:pt>
          <cx:pt idx="21199">0</cx:pt>
          <cx:pt idx="21200">1</cx:pt>
          <cx:pt idx="21201">0</cx:pt>
          <cx:pt idx="21202">1</cx:pt>
          <cx:pt idx="21203">0</cx:pt>
          <cx:pt idx="21204">0</cx:pt>
          <cx:pt idx="21205">0</cx:pt>
          <cx:pt idx="21206">0</cx:pt>
          <cx:pt idx="21207">0</cx:pt>
          <cx:pt idx="21208">1</cx:pt>
          <cx:pt idx="21209">0</cx:pt>
          <cx:pt idx="21210">1</cx:pt>
          <cx:pt idx="21211">1</cx:pt>
          <cx:pt idx="21212">0</cx:pt>
          <cx:pt idx="21213">1</cx:pt>
          <cx:pt idx="21214">1</cx:pt>
          <cx:pt idx="21215">0</cx:pt>
          <cx:pt idx="21216">0</cx:pt>
          <cx:pt idx="21217">0</cx:pt>
          <cx:pt idx="21218">1</cx:pt>
          <cx:pt idx="21219">1</cx:pt>
          <cx:pt idx="21220">1</cx:pt>
          <cx:pt idx="21221">0</cx:pt>
          <cx:pt idx="21222">0</cx:pt>
          <cx:pt idx="21223">0</cx:pt>
          <cx:pt idx="21224">0</cx:pt>
          <cx:pt idx="21225">1</cx:pt>
          <cx:pt idx="21226">0</cx:pt>
          <cx:pt idx="21227">1</cx:pt>
          <cx:pt idx="21228">0</cx:pt>
          <cx:pt idx="21229">0</cx:pt>
          <cx:pt idx="21230">1</cx:pt>
          <cx:pt idx="21231">1</cx:pt>
          <cx:pt idx="21232">1</cx:pt>
          <cx:pt idx="21233">0</cx:pt>
          <cx:pt idx="21234">0</cx:pt>
          <cx:pt idx="21235">1</cx:pt>
          <cx:pt idx="21236">0</cx:pt>
          <cx:pt idx="21237">1</cx:pt>
          <cx:pt idx="21238">0</cx:pt>
          <cx:pt idx="21239">0</cx:pt>
          <cx:pt idx="21240">0</cx:pt>
          <cx:pt idx="21241">1</cx:pt>
          <cx:pt idx="21242">0</cx:pt>
          <cx:pt idx="21243">1</cx:pt>
          <cx:pt idx="21244">0</cx:pt>
          <cx:pt idx="21245">0</cx:pt>
          <cx:pt idx="21246">0</cx:pt>
          <cx:pt idx="21247">0</cx:pt>
          <cx:pt idx="21248">1</cx:pt>
          <cx:pt idx="21249">1</cx:pt>
          <cx:pt idx="21250">0</cx:pt>
          <cx:pt idx="21251">1</cx:pt>
          <cx:pt idx="21252">0</cx:pt>
          <cx:pt idx="21253">1</cx:pt>
          <cx:pt idx="21254">1</cx:pt>
          <cx:pt idx="21255">0</cx:pt>
          <cx:pt idx="21256">1</cx:pt>
          <cx:pt idx="21257">1</cx:pt>
          <cx:pt idx="21258">0</cx:pt>
          <cx:pt idx="21259">0</cx:pt>
          <cx:pt idx="21260">1</cx:pt>
          <cx:pt idx="21261">0</cx:pt>
          <cx:pt idx="21262">1</cx:pt>
          <cx:pt idx="21263">1</cx:pt>
          <cx:pt idx="21264">0</cx:pt>
          <cx:pt idx="21265">0</cx:pt>
          <cx:pt idx="21266">0</cx:pt>
          <cx:pt idx="21267">0</cx:pt>
          <cx:pt idx="21268">1</cx:pt>
          <cx:pt idx="21269">1</cx:pt>
          <cx:pt idx="21270">0</cx:pt>
          <cx:pt idx="21271">1</cx:pt>
          <cx:pt idx="21272">1</cx:pt>
          <cx:pt idx="21273">0</cx:pt>
          <cx:pt idx="21274">0</cx:pt>
          <cx:pt idx="21275">1</cx:pt>
          <cx:pt idx="21276">0</cx:pt>
          <cx:pt idx="21277">1</cx:pt>
          <cx:pt idx="21278">0</cx:pt>
          <cx:pt idx="21279">0</cx:pt>
          <cx:pt idx="21280">0</cx:pt>
          <cx:pt idx="21281">1</cx:pt>
          <cx:pt idx="21282">1</cx:pt>
          <cx:pt idx="21283">1</cx:pt>
          <cx:pt idx="21284">1</cx:pt>
          <cx:pt idx="21285">0</cx:pt>
          <cx:pt idx="21286">1</cx:pt>
          <cx:pt idx="21287">0</cx:pt>
          <cx:pt idx="21288">0</cx:pt>
          <cx:pt idx="21289">0</cx:pt>
          <cx:pt idx="21290">0</cx:pt>
          <cx:pt idx="21291">0</cx:pt>
          <cx:pt idx="21292">1</cx:pt>
          <cx:pt idx="21293">1</cx:pt>
          <cx:pt idx="21294">1</cx:pt>
          <cx:pt idx="21295">1</cx:pt>
          <cx:pt idx="21296">1</cx:pt>
          <cx:pt idx="21297">0</cx:pt>
          <cx:pt idx="21298">1</cx:pt>
          <cx:pt idx="21299">0</cx:pt>
          <cx:pt idx="21300">1</cx:pt>
          <cx:pt idx="21301">1</cx:pt>
          <cx:pt idx="21302">0</cx:pt>
          <cx:pt idx="21303">0</cx:pt>
          <cx:pt idx="21304">1</cx:pt>
          <cx:pt idx="21305">0</cx:pt>
          <cx:pt idx="21306">0</cx:pt>
          <cx:pt idx="21307">0</cx:pt>
          <cx:pt idx="21308">0</cx:pt>
          <cx:pt idx="21309">0</cx:pt>
          <cx:pt idx="21310">0</cx:pt>
          <cx:pt idx="21311">0</cx:pt>
          <cx:pt idx="21312">0</cx:pt>
          <cx:pt idx="21313">1</cx:pt>
          <cx:pt idx="21314">1</cx:pt>
          <cx:pt idx="21315">0</cx:pt>
          <cx:pt idx="21316">1</cx:pt>
          <cx:pt idx="21317">1</cx:pt>
          <cx:pt idx="21318">1</cx:pt>
          <cx:pt idx="21319">0</cx:pt>
          <cx:pt idx="21320">0</cx:pt>
          <cx:pt idx="21321">1</cx:pt>
          <cx:pt idx="21322">1</cx:pt>
          <cx:pt idx="21323">0</cx:pt>
          <cx:pt idx="21324">1</cx:pt>
          <cx:pt idx="21325">0</cx:pt>
          <cx:pt idx="21326">0</cx:pt>
          <cx:pt idx="21327">1</cx:pt>
          <cx:pt idx="21328">0</cx:pt>
          <cx:pt idx="21329">0</cx:pt>
          <cx:pt idx="21330">0</cx:pt>
          <cx:pt idx="21331">0</cx:pt>
          <cx:pt idx="21332">1</cx:pt>
          <cx:pt idx="21333">1</cx:pt>
          <cx:pt idx="21334">0</cx:pt>
          <cx:pt idx="21335">1</cx:pt>
          <cx:pt idx="21336">0</cx:pt>
          <cx:pt idx="21337">1</cx:pt>
          <cx:pt idx="21338">1</cx:pt>
          <cx:pt idx="21339">1</cx:pt>
          <cx:pt idx="21340">0</cx:pt>
          <cx:pt idx="21341">0</cx:pt>
          <cx:pt idx="21342">0</cx:pt>
          <cx:pt idx="21343">1</cx:pt>
          <cx:pt idx="21344">1</cx:pt>
          <cx:pt idx="21345">0</cx:pt>
          <cx:pt idx="21346">1</cx:pt>
          <cx:pt idx="21347">1</cx:pt>
          <cx:pt idx="21348">0</cx:pt>
          <cx:pt idx="21349">0</cx:pt>
          <cx:pt idx="21350">0</cx:pt>
          <cx:pt idx="21351">1</cx:pt>
          <cx:pt idx="21352">0</cx:pt>
          <cx:pt idx="21353">0</cx:pt>
          <cx:pt idx="21354">0</cx:pt>
          <cx:pt idx="21355">0</cx:pt>
          <cx:pt idx="21356">1</cx:pt>
          <cx:pt idx="21357">1</cx:pt>
          <cx:pt idx="21358">0</cx:pt>
          <cx:pt idx="21359">1</cx:pt>
          <cx:pt idx="21360">0</cx:pt>
          <cx:pt idx="21361">0</cx:pt>
          <cx:pt idx="21362">0</cx:pt>
          <cx:pt idx="21363">0</cx:pt>
          <cx:pt idx="21364">0</cx:pt>
          <cx:pt idx="21365">1</cx:pt>
          <cx:pt idx="21366">1</cx:pt>
          <cx:pt idx="21367">1</cx:pt>
          <cx:pt idx="21368">1</cx:pt>
          <cx:pt idx="21369">1</cx:pt>
          <cx:pt idx="21370">1</cx:pt>
          <cx:pt idx="21371">0</cx:pt>
          <cx:pt idx="21372">0</cx:pt>
          <cx:pt idx="21373">1</cx:pt>
          <cx:pt idx="21374">0</cx:pt>
          <cx:pt idx="21375">1</cx:pt>
          <cx:pt idx="21376">0</cx:pt>
          <cx:pt idx="21377">0</cx:pt>
          <cx:pt idx="21378">0</cx:pt>
          <cx:pt idx="21379">1</cx:pt>
          <cx:pt idx="21380">0</cx:pt>
          <cx:pt idx="21381">1</cx:pt>
          <cx:pt idx="21382">0</cx:pt>
          <cx:pt idx="21383">1</cx:pt>
          <cx:pt idx="21384">0</cx:pt>
          <cx:pt idx="21385">0</cx:pt>
          <cx:pt idx="21386">0</cx:pt>
          <cx:pt idx="21387">0</cx:pt>
          <cx:pt idx="21388">1</cx:pt>
          <cx:pt idx="21389">0</cx:pt>
          <cx:pt idx="21390">1</cx:pt>
          <cx:pt idx="21391">0</cx:pt>
          <cx:pt idx="21392">0</cx:pt>
          <cx:pt idx="21393">1</cx:pt>
          <cx:pt idx="21394">0</cx:pt>
          <cx:pt idx="21395">0</cx:pt>
          <cx:pt idx="21396">0</cx:pt>
          <cx:pt idx="21397">0</cx:pt>
          <cx:pt idx="21398">0</cx:pt>
          <cx:pt idx="21399">1</cx:pt>
          <cx:pt idx="21400">1</cx:pt>
          <cx:pt idx="21401">0</cx:pt>
          <cx:pt idx="21402">0</cx:pt>
          <cx:pt idx="21403">1</cx:pt>
          <cx:pt idx="21404">0</cx:pt>
          <cx:pt idx="21405">1</cx:pt>
          <cx:pt idx="21406">1</cx:pt>
          <cx:pt idx="21407">0</cx:pt>
          <cx:pt idx="21408">0</cx:pt>
          <cx:pt idx="21409">0</cx:pt>
          <cx:pt idx="21410">0</cx:pt>
          <cx:pt idx="21411">1</cx:pt>
          <cx:pt idx="21412">1</cx:pt>
          <cx:pt idx="21413">0</cx:pt>
          <cx:pt idx="21414">0</cx:pt>
          <cx:pt idx="21415">1</cx:pt>
          <cx:pt idx="21416">1</cx:pt>
          <cx:pt idx="21417">1</cx:pt>
          <cx:pt idx="21418">0</cx:pt>
          <cx:pt idx="21419">1</cx:pt>
          <cx:pt idx="21420">1</cx:pt>
          <cx:pt idx="21421">0</cx:pt>
          <cx:pt idx="21422">0</cx:pt>
          <cx:pt idx="21423">1</cx:pt>
          <cx:pt idx="21424">0</cx:pt>
          <cx:pt idx="21425">1</cx:pt>
          <cx:pt idx="21426">0</cx:pt>
          <cx:pt idx="21427">1</cx:pt>
          <cx:pt idx="21428">1</cx:pt>
          <cx:pt idx="21429">1</cx:pt>
          <cx:pt idx="21430">1</cx:pt>
          <cx:pt idx="21431">0</cx:pt>
          <cx:pt idx="21432">0</cx:pt>
          <cx:pt idx="21433">1</cx:pt>
          <cx:pt idx="21434">0</cx:pt>
          <cx:pt idx="21435">1</cx:pt>
          <cx:pt idx="21436">0</cx:pt>
          <cx:pt idx="21437">1</cx:pt>
          <cx:pt idx="21438">1</cx:pt>
          <cx:pt idx="21439">0</cx:pt>
          <cx:pt idx="21440">1</cx:pt>
          <cx:pt idx="21441">0</cx:pt>
          <cx:pt idx="21442">1</cx:pt>
          <cx:pt idx="21443">1</cx:pt>
          <cx:pt idx="21444">0</cx:pt>
          <cx:pt idx="21445">0</cx:pt>
          <cx:pt idx="21446">0</cx:pt>
          <cx:pt idx="21447">0</cx:pt>
          <cx:pt idx="21448">0</cx:pt>
          <cx:pt idx="21449">0</cx:pt>
          <cx:pt idx="21450">1</cx:pt>
          <cx:pt idx="21451">0</cx:pt>
          <cx:pt idx="21452">1</cx:pt>
          <cx:pt idx="21453">0</cx:pt>
          <cx:pt idx="21454">0</cx:pt>
          <cx:pt idx="21455">1</cx:pt>
          <cx:pt idx="21456">0</cx:pt>
          <cx:pt idx="21457">1</cx:pt>
          <cx:pt idx="21458">0</cx:pt>
          <cx:pt idx="21459">0</cx:pt>
          <cx:pt idx="21460">0</cx:pt>
          <cx:pt idx="21461">1</cx:pt>
          <cx:pt idx="21462">1</cx:pt>
          <cx:pt idx="21463">0</cx:pt>
          <cx:pt idx="21464">0</cx:pt>
          <cx:pt idx="21465">0</cx:pt>
          <cx:pt idx="21466">1</cx:pt>
          <cx:pt idx="21467">0</cx:pt>
          <cx:pt idx="21468">1</cx:pt>
          <cx:pt idx="21469">0</cx:pt>
          <cx:pt idx="21470">1</cx:pt>
          <cx:pt idx="21471">1</cx:pt>
          <cx:pt idx="21472">0</cx:pt>
          <cx:pt idx="21473">1</cx:pt>
          <cx:pt idx="21474">0</cx:pt>
          <cx:pt idx="21475">1</cx:pt>
          <cx:pt idx="21476">1</cx:pt>
          <cx:pt idx="21477">1</cx:pt>
          <cx:pt idx="21478">0</cx:pt>
          <cx:pt idx="21479">1</cx:pt>
          <cx:pt idx="21480">1</cx:pt>
          <cx:pt idx="21481">1</cx:pt>
          <cx:pt idx="21482">0</cx:pt>
          <cx:pt idx="21483">1</cx:pt>
          <cx:pt idx="21484">1</cx:pt>
          <cx:pt idx="21485">0</cx:pt>
          <cx:pt idx="21486">0</cx:pt>
          <cx:pt idx="21487">1</cx:pt>
          <cx:pt idx="21488">0</cx:pt>
          <cx:pt idx="21489">0</cx:pt>
          <cx:pt idx="21490">0</cx:pt>
          <cx:pt idx="21491">0</cx:pt>
          <cx:pt idx="21492">0</cx:pt>
          <cx:pt idx="21493">1</cx:pt>
          <cx:pt idx="21494">0</cx:pt>
          <cx:pt idx="21495">0</cx:pt>
          <cx:pt idx="21496">0</cx:pt>
          <cx:pt idx="21497">1</cx:pt>
          <cx:pt idx="21498">0</cx:pt>
          <cx:pt idx="21499">0</cx:pt>
          <cx:pt idx="21500">1</cx:pt>
          <cx:pt idx="21501">0</cx:pt>
          <cx:pt idx="21502">0</cx:pt>
          <cx:pt idx="21503">1</cx:pt>
          <cx:pt idx="21504">1</cx:pt>
          <cx:pt idx="21505">0</cx:pt>
          <cx:pt idx="21506">1</cx:pt>
          <cx:pt idx="21507">1</cx:pt>
          <cx:pt idx="21508">0</cx:pt>
          <cx:pt idx="21509">0</cx:pt>
          <cx:pt idx="21510">0</cx:pt>
          <cx:pt idx="21511">1</cx:pt>
          <cx:pt idx="21512">0</cx:pt>
          <cx:pt idx="21513">0</cx:pt>
          <cx:pt idx="21514">0</cx:pt>
          <cx:pt idx="21515">0</cx:pt>
          <cx:pt idx="21516">0</cx:pt>
          <cx:pt idx="21517">1</cx:pt>
          <cx:pt idx="21518">1</cx:pt>
          <cx:pt idx="21519">1</cx:pt>
          <cx:pt idx="21520">1</cx:pt>
          <cx:pt idx="21521">0</cx:pt>
          <cx:pt idx="21522">0</cx:pt>
          <cx:pt idx="21523">0</cx:pt>
          <cx:pt idx="21524">0</cx:pt>
          <cx:pt idx="21525">0</cx:pt>
          <cx:pt idx="21526">1</cx:pt>
          <cx:pt idx="21527">0</cx:pt>
          <cx:pt idx="21528">0</cx:pt>
          <cx:pt idx="21529">0</cx:pt>
          <cx:pt idx="21530">1</cx:pt>
          <cx:pt idx="21531">1</cx:pt>
          <cx:pt idx="21532">0</cx:pt>
          <cx:pt idx="21533">0</cx:pt>
          <cx:pt idx="21534">0</cx:pt>
          <cx:pt idx="21535">0</cx:pt>
          <cx:pt idx="21536">0</cx:pt>
          <cx:pt idx="21537">0</cx:pt>
          <cx:pt idx="21538">0</cx:pt>
          <cx:pt idx="21539">1</cx:pt>
          <cx:pt idx="21540">1</cx:pt>
          <cx:pt idx="21541">1</cx:pt>
          <cx:pt idx="21542">0</cx:pt>
          <cx:pt idx="21543">0</cx:pt>
          <cx:pt idx="21544">0</cx:pt>
          <cx:pt idx="21545">0</cx:pt>
          <cx:pt idx="21546">1</cx:pt>
          <cx:pt idx="21547">1</cx:pt>
          <cx:pt idx="21548">1</cx:pt>
          <cx:pt idx="21549">0</cx:pt>
          <cx:pt idx="21550">1</cx:pt>
          <cx:pt idx="21551">0</cx:pt>
          <cx:pt idx="21552">1</cx:pt>
          <cx:pt idx="21553">0</cx:pt>
          <cx:pt idx="21554">0</cx:pt>
          <cx:pt idx="21555">1</cx:pt>
          <cx:pt idx="21556">1</cx:pt>
          <cx:pt idx="21557">1</cx:pt>
          <cx:pt idx="21558">1</cx:pt>
          <cx:pt idx="21559">0</cx:pt>
          <cx:pt idx="21560">0</cx:pt>
          <cx:pt idx="21561">1</cx:pt>
          <cx:pt idx="21562">0</cx:pt>
          <cx:pt idx="21563">0</cx:pt>
          <cx:pt idx="21564">1</cx:pt>
          <cx:pt idx="21565">1</cx:pt>
          <cx:pt idx="21566">0</cx:pt>
          <cx:pt idx="21567">0</cx:pt>
          <cx:pt idx="21568">1</cx:pt>
          <cx:pt idx="21569">0</cx:pt>
          <cx:pt idx="21570">0</cx:pt>
          <cx:pt idx="21571">0</cx:pt>
          <cx:pt idx="21572">1</cx:pt>
          <cx:pt idx="21573">0</cx:pt>
          <cx:pt idx="21574">1</cx:pt>
          <cx:pt idx="21575">0</cx:pt>
          <cx:pt idx="21576">1</cx:pt>
          <cx:pt idx="21577">0</cx:pt>
          <cx:pt idx="21578">0</cx:pt>
          <cx:pt idx="21579">0</cx:pt>
          <cx:pt idx="21580">1</cx:pt>
          <cx:pt idx="21581">0</cx:pt>
          <cx:pt idx="21582">1</cx:pt>
          <cx:pt idx="21583">0</cx:pt>
          <cx:pt idx="21584">1</cx:pt>
          <cx:pt idx="21585">0</cx:pt>
          <cx:pt idx="21586">1</cx:pt>
          <cx:pt idx="21587">1</cx:pt>
          <cx:pt idx="21588">1</cx:pt>
          <cx:pt idx="21589">1</cx:pt>
          <cx:pt idx="21590">1</cx:pt>
          <cx:pt idx="21591">0</cx:pt>
          <cx:pt idx="21592">0</cx:pt>
          <cx:pt idx="21593">0</cx:pt>
          <cx:pt idx="21594">1</cx:pt>
          <cx:pt idx="21595">1</cx:pt>
          <cx:pt idx="21596">0</cx:pt>
          <cx:pt idx="21597">0</cx:pt>
          <cx:pt idx="21598">0</cx:pt>
          <cx:pt idx="21599">1</cx:pt>
          <cx:pt idx="21600">1</cx:pt>
          <cx:pt idx="21601">1</cx:pt>
          <cx:pt idx="21602">0</cx:pt>
          <cx:pt idx="21603">0</cx:pt>
          <cx:pt idx="21604">0</cx:pt>
          <cx:pt idx="21605">1</cx:pt>
          <cx:pt idx="21606">0</cx:pt>
          <cx:pt idx="21607">0</cx:pt>
          <cx:pt idx="21608">0</cx:pt>
          <cx:pt idx="21609">0</cx:pt>
          <cx:pt idx="21610">1</cx:pt>
          <cx:pt idx="21611">0</cx:pt>
          <cx:pt idx="21612">1</cx:pt>
          <cx:pt idx="21613">0</cx:pt>
          <cx:pt idx="21614">0</cx:pt>
          <cx:pt idx="21615">1</cx:pt>
          <cx:pt idx="21616">1</cx:pt>
          <cx:pt idx="21617">0</cx:pt>
          <cx:pt idx="21618">1</cx:pt>
          <cx:pt idx="21619">0</cx:pt>
          <cx:pt idx="21620">1</cx:pt>
          <cx:pt idx="21621">0</cx:pt>
          <cx:pt idx="21622">0</cx:pt>
          <cx:pt idx="21623">0</cx:pt>
          <cx:pt idx="21624">1</cx:pt>
          <cx:pt idx="21625">1</cx:pt>
          <cx:pt idx="21626">0</cx:pt>
          <cx:pt idx="21627">1</cx:pt>
          <cx:pt idx="21628">0</cx:pt>
          <cx:pt idx="21629">0</cx:pt>
          <cx:pt idx="21630">0</cx:pt>
          <cx:pt idx="21631">0</cx:pt>
          <cx:pt idx="21632">0</cx:pt>
          <cx:pt idx="21633">0</cx:pt>
          <cx:pt idx="21634">1</cx:pt>
          <cx:pt idx="21635">1</cx:pt>
          <cx:pt idx="21636">0</cx:pt>
          <cx:pt idx="21637">1</cx:pt>
          <cx:pt idx="21638">0</cx:pt>
          <cx:pt idx="21639">0</cx:pt>
          <cx:pt idx="21640">1</cx:pt>
          <cx:pt idx="21641">0</cx:pt>
          <cx:pt idx="21642">0</cx:pt>
          <cx:pt idx="21643">0</cx:pt>
          <cx:pt idx="21644">1</cx:pt>
          <cx:pt idx="21645">1</cx:pt>
          <cx:pt idx="21646">1</cx:pt>
          <cx:pt idx="21647">0</cx:pt>
          <cx:pt idx="21648">0</cx:pt>
          <cx:pt idx="21649">0</cx:pt>
          <cx:pt idx="21650">0</cx:pt>
          <cx:pt idx="21651">1</cx:pt>
          <cx:pt idx="21652">1</cx:pt>
          <cx:pt idx="21653">1</cx:pt>
          <cx:pt idx="21654">0</cx:pt>
          <cx:pt idx="21655">0</cx:pt>
          <cx:pt idx="21656">0</cx:pt>
          <cx:pt idx="21657">0</cx:pt>
          <cx:pt idx="21658">0</cx:pt>
          <cx:pt idx="21659">1</cx:pt>
          <cx:pt idx="21660">1</cx:pt>
          <cx:pt idx="21661">1</cx:pt>
          <cx:pt idx="21662">0</cx:pt>
          <cx:pt idx="21663">1</cx:pt>
          <cx:pt idx="21664">0</cx:pt>
          <cx:pt idx="21665">1</cx:pt>
          <cx:pt idx="21666">0</cx:pt>
          <cx:pt idx="21667">0</cx:pt>
          <cx:pt idx="21668">0</cx:pt>
          <cx:pt idx="21669">0</cx:pt>
          <cx:pt idx="21670">1</cx:pt>
          <cx:pt idx="21671">0</cx:pt>
          <cx:pt idx="21672">0</cx:pt>
          <cx:pt idx="21673">0</cx:pt>
          <cx:pt idx="21674">0</cx:pt>
          <cx:pt idx="21675">1</cx:pt>
          <cx:pt idx="21676">0</cx:pt>
          <cx:pt idx="21677">1</cx:pt>
          <cx:pt idx="21678">1</cx:pt>
          <cx:pt idx="21679">1</cx:pt>
          <cx:pt idx="21680">0</cx:pt>
          <cx:pt idx="21681">0</cx:pt>
          <cx:pt idx="21682">1</cx:pt>
          <cx:pt idx="21683">0</cx:pt>
          <cx:pt idx="21684">0</cx:pt>
          <cx:pt idx="21685">0</cx:pt>
          <cx:pt idx="21686">0</cx:pt>
          <cx:pt idx="21687">1</cx:pt>
          <cx:pt idx="21688">0</cx:pt>
          <cx:pt idx="21689">0</cx:pt>
          <cx:pt idx="21690">0</cx:pt>
          <cx:pt idx="21691">1</cx:pt>
          <cx:pt idx="21692">1</cx:pt>
          <cx:pt idx="21693">1</cx:pt>
          <cx:pt idx="21694">1</cx:pt>
          <cx:pt idx="21695">0</cx:pt>
          <cx:pt idx="21696">1</cx:pt>
          <cx:pt idx="21697">0</cx:pt>
          <cx:pt idx="21698">1</cx:pt>
          <cx:pt idx="21699">0</cx:pt>
          <cx:pt idx="21700">0</cx:pt>
          <cx:pt idx="21701">1</cx:pt>
          <cx:pt idx="21702">1</cx:pt>
          <cx:pt idx="21703">1</cx:pt>
          <cx:pt idx="21704">0</cx:pt>
          <cx:pt idx="21705">1</cx:pt>
          <cx:pt idx="21706">0</cx:pt>
          <cx:pt idx="21707">0</cx:pt>
          <cx:pt idx="21708">0</cx:pt>
          <cx:pt idx="21709">1</cx:pt>
          <cx:pt idx="21710">0</cx:pt>
          <cx:pt idx="21711">1</cx:pt>
          <cx:pt idx="21712">0</cx:pt>
          <cx:pt idx="21713">1</cx:pt>
          <cx:pt idx="21714">0</cx:pt>
          <cx:pt idx="21715">0</cx:pt>
          <cx:pt idx="21716">0</cx:pt>
          <cx:pt idx="21717">1</cx:pt>
          <cx:pt idx="21718">0</cx:pt>
          <cx:pt idx="21719">1</cx:pt>
          <cx:pt idx="21720">0</cx:pt>
          <cx:pt idx="21721">0</cx:pt>
          <cx:pt idx="21722">1</cx:pt>
          <cx:pt idx="21723">0</cx:pt>
          <cx:pt idx="21724">1</cx:pt>
          <cx:pt idx="21725">0</cx:pt>
          <cx:pt idx="21726">1</cx:pt>
          <cx:pt idx="21727">0</cx:pt>
          <cx:pt idx="21728">0</cx:pt>
          <cx:pt idx="21729">0</cx:pt>
          <cx:pt idx="21730">0</cx:pt>
          <cx:pt idx="21731">1</cx:pt>
          <cx:pt idx="21732">1</cx:pt>
          <cx:pt idx="21733">0</cx:pt>
          <cx:pt idx="21734">0</cx:pt>
          <cx:pt idx="21735">1</cx:pt>
          <cx:pt idx="21736">1</cx:pt>
          <cx:pt idx="21737">1</cx:pt>
          <cx:pt idx="21738">0</cx:pt>
          <cx:pt idx="21739">0</cx:pt>
          <cx:pt idx="21740">0</cx:pt>
          <cx:pt idx="21741">0</cx:pt>
          <cx:pt idx="21742">1</cx:pt>
          <cx:pt idx="21743">1</cx:pt>
          <cx:pt idx="21744">0</cx:pt>
          <cx:pt idx="21745">0</cx:pt>
          <cx:pt idx="21746">1</cx:pt>
          <cx:pt idx="21747">1</cx:pt>
          <cx:pt idx="21748">0</cx:pt>
          <cx:pt idx="21749">0</cx:pt>
          <cx:pt idx="21750">1</cx:pt>
          <cx:pt idx="21751">0</cx:pt>
          <cx:pt idx="21752">1</cx:pt>
          <cx:pt idx="21753">1</cx:pt>
          <cx:pt idx="21754">1</cx:pt>
          <cx:pt idx="21755">1</cx:pt>
          <cx:pt idx="21756">1</cx:pt>
          <cx:pt idx="21757">0</cx:pt>
          <cx:pt idx="21758">1</cx:pt>
          <cx:pt idx="21759">1</cx:pt>
          <cx:pt idx="21760">0</cx:pt>
          <cx:pt idx="21761">0</cx:pt>
          <cx:pt idx="21762">1</cx:pt>
          <cx:pt idx="21763">0</cx:pt>
          <cx:pt idx="21764">1</cx:pt>
          <cx:pt idx="21765">1</cx:pt>
          <cx:pt idx="21766">1</cx:pt>
          <cx:pt idx="21767">0</cx:pt>
          <cx:pt idx="21768">1</cx:pt>
          <cx:pt idx="21769">1</cx:pt>
          <cx:pt idx="21770">1</cx:pt>
          <cx:pt idx="21771">1</cx:pt>
          <cx:pt idx="21772">1</cx:pt>
          <cx:pt idx="21773">1</cx:pt>
          <cx:pt idx="21774">1</cx:pt>
          <cx:pt idx="21775">1</cx:pt>
          <cx:pt idx="21776">1</cx:pt>
          <cx:pt idx="21777">1</cx:pt>
          <cx:pt idx="21778">1</cx:pt>
          <cx:pt idx="21779">0</cx:pt>
          <cx:pt idx="21780">0</cx:pt>
          <cx:pt idx="21781">0</cx:pt>
          <cx:pt idx="21782">0</cx:pt>
          <cx:pt idx="21783">1</cx:pt>
          <cx:pt idx="21784">0</cx:pt>
          <cx:pt idx="21785">1</cx:pt>
          <cx:pt idx="21786">1</cx:pt>
          <cx:pt idx="21787">1</cx:pt>
          <cx:pt idx="21788">1</cx:pt>
          <cx:pt idx="21789">0</cx:pt>
          <cx:pt idx="21790">0</cx:pt>
          <cx:pt idx="21791">0</cx:pt>
          <cx:pt idx="21792">1</cx:pt>
          <cx:pt idx="21793">0</cx:pt>
          <cx:pt idx="21794">0</cx:pt>
          <cx:pt idx="21795">1</cx:pt>
          <cx:pt idx="21796">1</cx:pt>
          <cx:pt idx="21797">1</cx:pt>
          <cx:pt idx="21798">1</cx:pt>
          <cx:pt idx="21799">0</cx:pt>
          <cx:pt idx="21800">1</cx:pt>
          <cx:pt idx="21801">0</cx:pt>
          <cx:pt idx="21802">1</cx:pt>
          <cx:pt idx="21803">0</cx:pt>
          <cx:pt idx="21804">0</cx:pt>
          <cx:pt idx="21805">0</cx:pt>
          <cx:pt idx="21806">1</cx:pt>
          <cx:pt idx="21807">1</cx:pt>
          <cx:pt idx="21808">0</cx:pt>
          <cx:pt idx="21809">1</cx:pt>
          <cx:pt idx="21810">1</cx:pt>
          <cx:pt idx="21811">1</cx:pt>
          <cx:pt idx="21812">0</cx:pt>
          <cx:pt idx="21813">1</cx:pt>
          <cx:pt idx="21814">1</cx:pt>
          <cx:pt idx="21815">0</cx:pt>
          <cx:pt idx="21816">1</cx:pt>
          <cx:pt idx="21817">1</cx:pt>
          <cx:pt idx="21818">1</cx:pt>
          <cx:pt idx="21819">0</cx:pt>
          <cx:pt idx="21820">0</cx:pt>
          <cx:pt idx="21821">0</cx:pt>
          <cx:pt idx="21822">1</cx:pt>
          <cx:pt idx="21823">1</cx:pt>
          <cx:pt idx="21824">1</cx:pt>
          <cx:pt idx="21825">0</cx:pt>
          <cx:pt idx="21826">1</cx:pt>
          <cx:pt idx="21827">1</cx:pt>
          <cx:pt idx="21828">0</cx:pt>
          <cx:pt idx="21829">0</cx:pt>
          <cx:pt idx="21830">0</cx:pt>
          <cx:pt idx="21831">0</cx:pt>
          <cx:pt idx="21832">1</cx:pt>
          <cx:pt idx="21833">1</cx:pt>
          <cx:pt idx="21834">1</cx:pt>
          <cx:pt idx="21835">0</cx:pt>
          <cx:pt idx="21836">0</cx:pt>
          <cx:pt idx="21837">0</cx:pt>
          <cx:pt idx="21838">0</cx:pt>
          <cx:pt idx="21839">0</cx:pt>
          <cx:pt idx="21840">0</cx:pt>
          <cx:pt idx="21841">0</cx:pt>
          <cx:pt idx="21842">0</cx:pt>
          <cx:pt idx="21843">0</cx:pt>
          <cx:pt idx="21844">0</cx:pt>
          <cx:pt idx="21845">1</cx:pt>
          <cx:pt idx="21846">0</cx:pt>
          <cx:pt idx="21847">0</cx:pt>
          <cx:pt idx="21848">0</cx:pt>
          <cx:pt idx="21849">1</cx:pt>
          <cx:pt idx="21850">1</cx:pt>
          <cx:pt idx="21851">1</cx:pt>
          <cx:pt idx="21852">1</cx:pt>
          <cx:pt idx="21853">1</cx:pt>
          <cx:pt idx="21854">0</cx:pt>
          <cx:pt idx="21855">1</cx:pt>
          <cx:pt idx="21856">0</cx:pt>
          <cx:pt idx="21857">0</cx:pt>
          <cx:pt idx="21858">1</cx:pt>
          <cx:pt idx="21859">0</cx:pt>
          <cx:pt idx="21860">1</cx:pt>
          <cx:pt idx="21861">0</cx:pt>
          <cx:pt idx="21862">1</cx:pt>
          <cx:pt idx="21863">1</cx:pt>
          <cx:pt idx="21864">1</cx:pt>
          <cx:pt idx="21865">1</cx:pt>
          <cx:pt idx="21866">0</cx:pt>
          <cx:pt idx="21867">0</cx:pt>
          <cx:pt idx="21868">1</cx:pt>
          <cx:pt idx="21869">0</cx:pt>
          <cx:pt idx="21870">0</cx:pt>
          <cx:pt idx="21871">1</cx:pt>
          <cx:pt idx="21872">0</cx:pt>
          <cx:pt idx="21873">1</cx:pt>
          <cx:pt idx="21874">1</cx:pt>
          <cx:pt idx="21875">0</cx:pt>
          <cx:pt idx="21876">0</cx:pt>
          <cx:pt idx="21877">0</cx:pt>
          <cx:pt idx="21878">0</cx:pt>
          <cx:pt idx="21879">1</cx:pt>
          <cx:pt idx="21880">1</cx:pt>
          <cx:pt idx="21881">0</cx:pt>
          <cx:pt idx="21882">1</cx:pt>
          <cx:pt idx="21883">0</cx:pt>
          <cx:pt idx="21884">1</cx:pt>
          <cx:pt idx="21885">1</cx:pt>
          <cx:pt idx="21886">0</cx:pt>
          <cx:pt idx="21887">1</cx:pt>
          <cx:pt idx="21888">1</cx:pt>
          <cx:pt idx="21889">0</cx:pt>
          <cx:pt idx="21890">1</cx:pt>
          <cx:pt idx="21891">1</cx:pt>
          <cx:pt idx="21892">1</cx:pt>
          <cx:pt idx="21893">0</cx:pt>
          <cx:pt idx="21894">0</cx:pt>
          <cx:pt idx="21895">0</cx:pt>
          <cx:pt idx="21896">0</cx:pt>
          <cx:pt idx="21897">0</cx:pt>
          <cx:pt idx="21898">0</cx:pt>
          <cx:pt idx="21899">1</cx:pt>
          <cx:pt idx="21900">0</cx:pt>
          <cx:pt idx="21901">0</cx:pt>
          <cx:pt idx="21902">0</cx:pt>
          <cx:pt idx="21903">1</cx:pt>
          <cx:pt idx="21904">1</cx:pt>
          <cx:pt idx="21905">0</cx:pt>
          <cx:pt idx="21906">0</cx:pt>
          <cx:pt idx="21907">1</cx:pt>
          <cx:pt idx="21908">0</cx:pt>
          <cx:pt idx="21909">0</cx:pt>
          <cx:pt idx="21910">1</cx:pt>
          <cx:pt idx="21911">0</cx:pt>
          <cx:pt idx="21912">0</cx:pt>
          <cx:pt idx="21913">0</cx:pt>
          <cx:pt idx="21914">1</cx:pt>
          <cx:pt idx="21915">0</cx:pt>
          <cx:pt idx="21916">0</cx:pt>
          <cx:pt idx="21917">0</cx:pt>
          <cx:pt idx="21918">1</cx:pt>
          <cx:pt idx="21919">1</cx:pt>
          <cx:pt idx="21920">0</cx:pt>
          <cx:pt idx="21921">0</cx:pt>
          <cx:pt idx="21922">0</cx:pt>
          <cx:pt idx="21923">0</cx:pt>
          <cx:pt idx="21924">0</cx:pt>
          <cx:pt idx="21925">1</cx:pt>
          <cx:pt idx="21926">0</cx:pt>
          <cx:pt idx="21927">1</cx:pt>
          <cx:pt idx="21928">0</cx:pt>
          <cx:pt idx="21929">0</cx:pt>
          <cx:pt idx="21930">0</cx:pt>
          <cx:pt idx="21931">0</cx:pt>
          <cx:pt idx="21932">1</cx:pt>
          <cx:pt idx="21933">0</cx:pt>
          <cx:pt idx="21934">0</cx:pt>
          <cx:pt idx="21935">1</cx:pt>
          <cx:pt idx="21936">1</cx:pt>
          <cx:pt idx="21937">0</cx:pt>
          <cx:pt idx="21938">1</cx:pt>
          <cx:pt idx="21939">1</cx:pt>
          <cx:pt idx="21940">1</cx:pt>
          <cx:pt idx="21941">0</cx:pt>
          <cx:pt idx="21942">0</cx:pt>
          <cx:pt idx="21943">0</cx:pt>
          <cx:pt idx="21944">0</cx:pt>
          <cx:pt idx="21945">1</cx:pt>
          <cx:pt idx="21946">0</cx:pt>
          <cx:pt idx="21947">1</cx:pt>
          <cx:pt idx="21948">0</cx:pt>
          <cx:pt idx="21949">1</cx:pt>
          <cx:pt idx="21950">0</cx:pt>
          <cx:pt idx="21951">0</cx:pt>
          <cx:pt idx="21952">1</cx:pt>
          <cx:pt idx="21953">0</cx:pt>
          <cx:pt idx="21954">1</cx:pt>
          <cx:pt idx="21955">0</cx:pt>
          <cx:pt idx="21956">0</cx:pt>
          <cx:pt idx="21957">0</cx:pt>
          <cx:pt idx="21958">0</cx:pt>
          <cx:pt idx="21959">0</cx:pt>
          <cx:pt idx="21960">1</cx:pt>
          <cx:pt idx="21961">0</cx:pt>
          <cx:pt idx="21962">1</cx:pt>
          <cx:pt idx="21963">0</cx:pt>
          <cx:pt idx="21964">1</cx:pt>
          <cx:pt idx="21965">1</cx:pt>
          <cx:pt idx="21966">1</cx:pt>
          <cx:pt idx="21967">0</cx:pt>
          <cx:pt idx="21968">1</cx:pt>
          <cx:pt idx="21969">1</cx:pt>
          <cx:pt idx="21970">1</cx:pt>
          <cx:pt idx="21971">0</cx:pt>
          <cx:pt idx="21972">1</cx:pt>
          <cx:pt idx="21973">0</cx:pt>
          <cx:pt idx="21974">0</cx:pt>
          <cx:pt idx="21975">0</cx:pt>
          <cx:pt idx="21976">1</cx:pt>
          <cx:pt idx="21977">1</cx:pt>
          <cx:pt idx="21978">0</cx:pt>
          <cx:pt idx="21979">0</cx:pt>
          <cx:pt idx="21980">0</cx:pt>
          <cx:pt idx="21981">0</cx:pt>
          <cx:pt idx="21982">0</cx:pt>
          <cx:pt idx="21983">0</cx:pt>
          <cx:pt idx="21984">0</cx:pt>
          <cx:pt idx="21985">1</cx:pt>
          <cx:pt idx="21986">0</cx:pt>
          <cx:pt idx="21987">1</cx:pt>
          <cx:pt idx="21988">1</cx:pt>
          <cx:pt idx="21989">1</cx:pt>
          <cx:pt idx="21990">0</cx:pt>
          <cx:pt idx="21991">1</cx:pt>
          <cx:pt idx="21992">0</cx:pt>
          <cx:pt idx="21993">1</cx:pt>
          <cx:pt idx="21994">0</cx:pt>
          <cx:pt idx="21995">0</cx:pt>
          <cx:pt idx="21996">0</cx:pt>
          <cx:pt idx="21997">0</cx:pt>
          <cx:pt idx="21998">0</cx:pt>
          <cx:pt idx="21999">0</cx:pt>
          <cx:pt idx="22000">0</cx:pt>
          <cx:pt idx="22001">0</cx:pt>
          <cx:pt idx="22002">1</cx:pt>
          <cx:pt idx="22003">1</cx:pt>
          <cx:pt idx="22004">0</cx:pt>
          <cx:pt idx="22005">0</cx:pt>
          <cx:pt idx="22006">0</cx:pt>
          <cx:pt idx="22007">0</cx:pt>
          <cx:pt idx="22008">1</cx:pt>
          <cx:pt idx="22009">1</cx:pt>
          <cx:pt idx="22010">0</cx:pt>
          <cx:pt idx="22011">0</cx:pt>
          <cx:pt idx="22012">1</cx:pt>
          <cx:pt idx="22013">1</cx:pt>
          <cx:pt idx="22014">1</cx:pt>
          <cx:pt idx="22015">1</cx:pt>
          <cx:pt idx="22016">0</cx:pt>
          <cx:pt idx="22017">1</cx:pt>
          <cx:pt idx="22018">0</cx:pt>
          <cx:pt idx="22019">0</cx:pt>
          <cx:pt idx="22020">1</cx:pt>
          <cx:pt idx="22021">1</cx:pt>
          <cx:pt idx="22022">0</cx:pt>
          <cx:pt idx="22023">0</cx:pt>
          <cx:pt idx="22024">0</cx:pt>
          <cx:pt idx="22025">0</cx:pt>
          <cx:pt idx="22026">0</cx:pt>
          <cx:pt idx="22027">0</cx:pt>
          <cx:pt idx="22028">1</cx:pt>
          <cx:pt idx="22029">1</cx:pt>
          <cx:pt idx="22030">1</cx:pt>
          <cx:pt idx="22031">0</cx:pt>
          <cx:pt idx="22032">1</cx:pt>
          <cx:pt idx="22033">1</cx:pt>
          <cx:pt idx="22034">0</cx:pt>
          <cx:pt idx="22035">1</cx:pt>
          <cx:pt idx="22036">0</cx:pt>
          <cx:pt idx="22037">1</cx:pt>
          <cx:pt idx="22038">1</cx:pt>
          <cx:pt idx="22039">0</cx:pt>
          <cx:pt idx="22040">1</cx:pt>
          <cx:pt idx="22041">0</cx:pt>
          <cx:pt idx="22042">0</cx:pt>
          <cx:pt idx="22043">0</cx:pt>
          <cx:pt idx="22044">0</cx:pt>
          <cx:pt idx="22045">0</cx:pt>
          <cx:pt idx="22046">0</cx:pt>
          <cx:pt idx="22047">0</cx:pt>
          <cx:pt idx="22048">0</cx:pt>
          <cx:pt idx="22049">1</cx:pt>
          <cx:pt idx="22050">1</cx:pt>
          <cx:pt idx="22051">0</cx:pt>
          <cx:pt idx="22052">1</cx:pt>
          <cx:pt idx="22053">1</cx:pt>
          <cx:pt idx="22054">1</cx:pt>
          <cx:pt idx="22055">0</cx:pt>
          <cx:pt idx="22056">1</cx:pt>
          <cx:pt idx="22057">1</cx:pt>
          <cx:pt idx="22058">0</cx:pt>
          <cx:pt idx="22059">0</cx:pt>
          <cx:pt idx="22060">1</cx:pt>
          <cx:pt idx="22061">0</cx:pt>
          <cx:pt idx="22062">0</cx:pt>
          <cx:pt idx="22063">1</cx:pt>
          <cx:pt idx="22064">1</cx:pt>
          <cx:pt idx="22065">1</cx:pt>
          <cx:pt idx="22066">0</cx:pt>
          <cx:pt idx="22067">1</cx:pt>
          <cx:pt idx="22068">0</cx:pt>
          <cx:pt idx="22069">1</cx:pt>
          <cx:pt idx="22070">0</cx:pt>
          <cx:pt idx="22071">0</cx:pt>
          <cx:pt idx="22072">0</cx:pt>
          <cx:pt idx="22073">0</cx:pt>
          <cx:pt idx="22074">0</cx:pt>
          <cx:pt idx="22075">0</cx:pt>
          <cx:pt idx="22076">1</cx:pt>
          <cx:pt idx="22077">1</cx:pt>
          <cx:pt idx="22078">0</cx:pt>
          <cx:pt idx="22079">0</cx:pt>
          <cx:pt idx="22080">1</cx:pt>
          <cx:pt idx="22081">1</cx:pt>
          <cx:pt idx="22082">1</cx:pt>
          <cx:pt idx="22083">0</cx:pt>
          <cx:pt idx="22084">0</cx:pt>
          <cx:pt idx="22085">0</cx:pt>
          <cx:pt idx="22086">0</cx:pt>
          <cx:pt idx="22087">0</cx:pt>
          <cx:pt idx="22088">1</cx:pt>
          <cx:pt idx="22089">0</cx:pt>
          <cx:pt idx="22090">0</cx:pt>
          <cx:pt idx="22091">1</cx:pt>
          <cx:pt idx="22092">1</cx:pt>
          <cx:pt idx="22093">1</cx:pt>
          <cx:pt idx="22094">1</cx:pt>
          <cx:pt idx="22095">0</cx:pt>
          <cx:pt idx="22096">0</cx:pt>
          <cx:pt idx="22097">0</cx:pt>
          <cx:pt idx="22098">0</cx:pt>
          <cx:pt idx="22099">0</cx:pt>
          <cx:pt idx="22100">0</cx:pt>
          <cx:pt idx="22101">1</cx:pt>
          <cx:pt idx="22102">0</cx:pt>
          <cx:pt idx="22103">0</cx:pt>
          <cx:pt idx="22104">1</cx:pt>
          <cx:pt idx="22105">1</cx:pt>
          <cx:pt idx="22106">1</cx:pt>
          <cx:pt idx="22107">0</cx:pt>
          <cx:pt idx="22108">1</cx:pt>
          <cx:pt idx="22109">1</cx:pt>
          <cx:pt idx="22110">1</cx:pt>
          <cx:pt idx="22111">0</cx:pt>
          <cx:pt idx="22112">1</cx:pt>
          <cx:pt idx="22113">0</cx:pt>
          <cx:pt idx="22114">0</cx:pt>
          <cx:pt idx="22115">1</cx:pt>
          <cx:pt idx="22116">1</cx:pt>
          <cx:pt idx="22117">1</cx:pt>
          <cx:pt idx="22118">0</cx:pt>
          <cx:pt idx="22119">0</cx:pt>
          <cx:pt idx="22120">0</cx:pt>
          <cx:pt idx="22121">0</cx:pt>
          <cx:pt idx="22122">1</cx:pt>
          <cx:pt idx="22123">0</cx:pt>
          <cx:pt idx="22124">1</cx:pt>
          <cx:pt idx="22125">0</cx:pt>
          <cx:pt idx="22126">1</cx:pt>
          <cx:pt idx="22127">1</cx:pt>
          <cx:pt idx="22128">0</cx:pt>
          <cx:pt idx="22129">0</cx:pt>
          <cx:pt idx="22130">1</cx:pt>
          <cx:pt idx="22131">0</cx:pt>
          <cx:pt idx="22132">1</cx:pt>
          <cx:pt idx="22133">0</cx:pt>
          <cx:pt idx="22134">1</cx:pt>
          <cx:pt idx="22135">0</cx:pt>
          <cx:pt idx="22136">0</cx:pt>
          <cx:pt idx="22137">0</cx:pt>
          <cx:pt idx="22138">0</cx:pt>
          <cx:pt idx="22139">1</cx:pt>
          <cx:pt idx="22140">0</cx:pt>
          <cx:pt idx="22141">1</cx:pt>
          <cx:pt idx="22142">1</cx:pt>
          <cx:pt idx="22143">0</cx:pt>
          <cx:pt idx="22144">0</cx:pt>
          <cx:pt idx="22145">0</cx:pt>
          <cx:pt idx="22146">1</cx:pt>
          <cx:pt idx="22147">0</cx:pt>
          <cx:pt idx="22148">0</cx:pt>
          <cx:pt idx="22149">0</cx:pt>
          <cx:pt idx="22150">0</cx:pt>
          <cx:pt idx="22151">0</cx:pt>
          <cx:pt idx="22152">1</cx:pt>
          <cx:pt idx="22153">0</cx:pt>
          <cx:pt idx="22154">0</cx:pt>
          <cx:pt idx="22155">0</cx:pt>
          <cx:pt idx="22156">0</cx:pt>
          <cx:pt idx="22157">0</cx:pt>
          <cx:pt idx="22158">0</cx:pt>
          <cx:pt idx="22159">1</cx:pt>
          <cx:pt idx="22160">1</cx:pt>
          <cx:pt idx="22161">0</cx:pt>
          <cx:pt idx="22162">0</cx:pt>
          <cx:pt idx="22163">1</cx:pt>
          <cx:pt idx="22164">0</cx:pt>
          <cx:pt idx="22165">0</cx:pt>
          <cx:pt idx="22166">1</cx:pt>
          <cx:pt idx="22167">0</cx:pt>
          <cx:pt idx="22168">0</cx:pt>
          <cx:pt idx="22169">0</cx:pt>
          <cx:pt idx="22170">1</cx:pt>
          <cx:pt idx="22171">0</cx:pt>
          <cx:pt idx="22172">1</cx:pt>
          <cx:pt idx="22173">0</cx:pt>
          <cx:pt idx="22174">1</cx:pt>
          <cx:pt idx="22175">0</cx:pt>
          <cx:pt idx="22176">1</cx:pt>
          <cx:pt idx="22177">1</cx:pt>
          <cx:pt idx="22178">0</cx:pt>
          <cx:pt idx="22179">1</cx:pt>
          <cx:pt idx="22180">1</cx:pt>
          <cx:pt idx="22181">0</cx:pt>
          <cx:pt idx="22182">0</cx:pt>
          <cx:pt idx="22183">1</cx:pt>
          <cx:pt idx="22184">1</cx:pt>
          <cx:pt idx="22185">0</cx:pt>
          <cx:pt idx="22186">1</cx:pt>
          <cx:pt idx="22187">0</cx:pt>
          <cx:pt idx="22188">1</cx:pt>
          <cx:pt idx="22189">1</cx:pt>
          <cx:pt idx="22190">0</cx:pt>
          <cx:pt idx="22191">1</cx:pt>
          <cx:pt idx="22192">1</cx:pt>
          <cx:pt idx="22193">1</cx:pt>
          <cx:pt idx="22194">1</cx:pt>
          <cx:pt idx="22195">0</cx:pt>
          <cx:pt idx="22196">1</cx:pt>
          <cx:pt idx="22197">0</cx:pt>
          <cx:pt idx="22198">0</cx:pt>
          <cx:pt idx="22199">0</cx:pt>
          <cx:pt idx="22200">1</cx:pt>
          <cx:pt idx="22201">1</cx:pt>
          <cx:pt idx="22202">1</cx:pt>
          <cx:pt idx="22203">1</cx:pt>
          <cx:pt idx="22204">1</cx:pt>
          <cx:pt idx="22205">0</cx:pt>
          <cx:pt idx="22206">0</cx:pt>
          <cx:pt idx="22207">1</cx:pt>
          <cx:pt idx="22208">1</cx:pt>
          <cx:pt idx="22209">0</cx:pt>
          <cx:pt idx="22210">0</cx:pt>
          <cx:pt idx="22211">0</cx:pt>
          <cx:pt idx="22212">1</cx:pt>
          <cx:pt idx="22213">1</cx:pt>
          <cx:pt idx="22214">0</cx:pt>
          <cx:pt idx="22215">1</cx:pt>
          <cx:pt idx="22216">0</cx:pt>
          <cx:pt idx="22217">0</cx:pt>
          <cx:pt idx="22218">0</cx:pt>
          <cx:pt idx="22219">1</cx:pt>
          <cx:pt idx="22220">0</cx:pt>
          <cx:pt idx="22221">1</cx:pt>
          <cx:pt idx="22222">0</cx:pt>
          <cx:pt idx="22223">0</cx:pt>
          <cx:pt idx="22224">0</cx:pt>
          <cx:pt idx="22225">0</cx:pt>
          <cx:pt idx="22226">1</cx:pt>
          <cx:pt idx="22227">0</cx:pt>
          <cx:pt idx="22228">1</cx:pt>
          <cx:pt idx="22229">0</cx:pt>
          <cx:pt idx="22230">1</cx:pt>
          <cx:pt idx="22231">0</cx:pt>
          <cx:pt idx="22232">0</cx:pt>
          <cx:pt idx="22233">0</cx:pt>
          <cx:pt idx="22234">0</cx:pt>
          <cx:pt idx="22235">0</cx:pt>
          <cx:pt idx="22236">0</cx:pt>
          <cx:pt idx="22237">1</cx:pt>
          <cx:pt idx="22238">0</cx:pt>
          <cx:pt idx="22239">0</cx:pt>
          <cx:pt idx="22240">1</cx:pt>
          <cx:pt idx="22241">0</cx:pt>
          <cx:pt idx="22242">0</cx:pt>
          <cx:pt idx="22243">1</cx:pt>
          <cx:pt idx="22244">0</cx:pt>
          <cx:pt idx="22245">1</cx:pt>
          <cx:pt idx="22246">0</cx:pt>
          <cx:pt idx="22247">1</cx:pt>
          <cx:pt idx="22248">0</cx:pt>
          <cx:pt idx="22249">0</cx:pt>
          <cx:pt idx="22250">1</cx:pt>
          <cx:pt idx="22251">0</cx:pt>
          <cx:pt idx="22252">0</cx:pt>
          <cx:pt idx="22253">1</cx:pt>
          <cx:pt idx="22254">1</cx:pt>
          <cx:pt idx="22255">1</cx:pt>
          <cx:pt idx="22256">0</cx:pt>
          <cx:pt idx="22257">0</cx:pt>
          <cx:pt idx="22258">0</cx:pt>
          <cx:pt idx="22259">0</cx:pt>
          <cx:pt idx="22260">0</cx:pt>
          <cx:pt idx="22261">0</cx:pt>
          <cx:pt idx="22262">1</cx:pt>
          <cx:pt idx="22263">0</cx:pt>
          <cx:pt idx="22264">1</cx:pt>
          <cx:pt idx="22265">1</cx:pt>
          <cx:pt idx="22266">1</cx:pt>
          <cx:pt idx="22267">1</cx:pt>
          <cx:pt idx="22268">0</cx:pt>
          <cx:pt idx="22269">1</cx:pt>
          <cx:pt idx="22270">0</cx:pt>
          <cx:pt idx="22271">1</cx:pt>
          <cx:pt idx="22272">0</cx:pt>
          <cx:pt idx="22273">0</cx:pt>
          <cx:pt idx="22274">0</cx:pt>
          <cx:pt idx="22275">0</cx:pt>
          <cx:pt idx="22276">1</cx:pt>
          <cx:pt idx="22277">0</cx:pt>
          <cx:pt idx="22278">1</cx:pt>
          <cx:pt idx="22279">1</cx:pt>
          <cx:pt idx="22280">0</cx:pt>
          <cx:pt idx="22281">1</cx:pt>
          <cx:pt idx="22282">0</cx:pt>
          <cx:pt idx="22283">1</cx:pt>
          <cx:pt idx="22284">1</cx:pt>
          <cx:pt idx="22285">0</cx:pt>
          <cx:pt idx="22286">0</cx:pt>
          <cx:pt idx="22287">0</cx:pt>
          <cx:pt idx="22288">0</cx:pt>
          <cx:pt idx="22289">0</cx:pt>
          <cx:pt idx="22290">1</cx:pt>
          <cx:pt idx="22291">0</cx:pt>
          <cx:pt idx="22292">1</cx:pt>
          <cx:pt idx="22293">0</cx:pt>
          <cx:pt idx="22294">0</cx:pt>
          <cx:pt idx="22295">1</cx:pt>
          <cx:pt idx="22296">1</cx:pt>
          <cx:pt idx="22297">0</cx:pt>
          <cx:pt idx="22298">0</cx:pt>
          <cx:pt idx="22299">0</cx:pt>
          <cx:pt idx="22300">0</cx:pt>
          <cx:pt idx="22301">0</cx:pt>
          <cx:pt idx="22302">0</cx:pt>
          <cx:pt idx="22303">0</cx:pt>
          <cx:pt idx="22304">1</cx:pt>
          <cx:pt idx="22305">1</cx:pt>
          <cx:pt idx="22306">1</cx:pt>
          <cx:pt idx="22307">1</cx:pt>
          <cx:pt idx="22308">0</cx:pt>
          <cx:pt idx="22309">1</cx:pt>
          <cx:pt idx="22310">0</cx:pt>
          <cx:pt idx="22311">1</cx:pt>
          <cx:pt idx="22312">0</cx:pt>
          <cx:pt idx="22313">1</cx:pt>
          <cx:pt idx="22314">0</cx:pt>
          <cx:pt idx="22315">1</cx:pt>
          <cx:pt idx="22316">1</cx:pt>
          <cx:pt idx="22317">1</cx:pt>
          <cx:pt idx="22318">0</cx:pt>
          <cx:pt idx="22319">0</cx:pt>
          <cx:pt idx="22320">1</cx:pt>
          <cx:pt idx="22321">0</cx:pt>
          <cx:pt idx="22322">0</cx:pt>
          <cx:pt idx="22323">1</cx:pt>
          <cx:pt idx="22324">1</cx:pt>
          <cx:pt idx="22325">0</cx:pt>
          <cx:pt idx="22326">0</cx:pt>
          <cx:pt idx="22327">0</cx:pt>
          <cx:pt idx="22328">0</cx:pt>
          <cx:pt idx="22329">0</cx:pt>
          <cx:pt idx="22330">0</cx:pt>
          <cx:pt idx="22331">1</cx:pt>
          <cx:pt idx="22332">1</cx:pt>
          <cx:pt idx="22333">0</cx:pt>
          <cx:pt idx="22334">0</cx:pt>
          <cx:pt idx="22335">0</cx:pt>
          <cx:pt idx="22336">1</cx:pt>
          <cx:pt idx="22337">0</cx:pt>
          <cx:pt idx="22338">1</cx:pt>
          <cx:pt idx="22339">0</cx:pt>
          <cx:pt idx="22340">0</cx:pt>
          <cx:pt idx="22341">0</cx:pt>
          <cx:pt idx="22342">1</cx:pt>
          <cx:pt idx="22343">1</cx:pt>
          <cx:pt idx="22344">0</cx:pt>
          <cx:pt idx="22345">1</cx:pt>
          <cx:pt idx="22346">0</cx:pt>
          <cx:pt idx="22347">1</cx:pt>
          <cx:pt idx="22348">1</cx:pt>
          <cx:pt idx="22349">0</cx:pt>
          <cx:pt idx="22350">0</cx:pt>
          <cx:pt idx="22351">1</cx:pt>
          <cx:pt idx="22352">0</cx:pt>
          <cx:pt idx="22353">0</cx:pt>
          <cx:pt idx="22354">1</cx:pt>
          <cx:pt idx="22355">1</cx:pt>
          <cx:pt idx="22356">0</cx:pt>
          <cx:pt idx="22357">0</cx:pt>
          <cx:pt idx="22358">1</cx:pt>
          <cx:pt idx="22359">1</cx:pt>
          <cx:pt idx="22360">0</cx:pt>
          <cx:pt idx="22361">0</cx:pt>
          <cx:pt idx="22362">0</cx:pt>
          <cx:pt idx="22363">1</cx:pt>
          <cx:pt idx="22364">0</cx:pt>
          <cx:pt idx="22365">0</cx:pt>
          <cx:pt idx="22366">0</cx:pt>
          <cx:pt idx="22367">1</cx:pt>
          <cx:pt idx="22368">0</cx:pt>
          <cx:pt idx="22369">0</cx:pt>
          <cx:pt idx="22370">1</cx:pt>
          <cx:pt idx="22371">0</cx:pt>
          <cx:pt idx="22372">0</cx:pt>
          <cx:pt idx="22373">1</cx:pt>
          <cx:pt idx="22374">1</cx:pt>
          <cx:pt idx="22375">0</cx:pt>
          <cx:pt idx="22376">1</cx:pt>
          <cx:pt idx="22377">0</cx:pt>
          <cx:pt idx="22378">0</cx:pt>
          <cx:pt idx="22379">0</cx:pt>
          <cx:pt idx="22380">0</cx:pt>
          <cx:pt idx="22381">0</cx:pt>
          <cx:pt idx="22382">0</cx:pt>
          <cx:pt idx="22383">0</cx:pt>
          <cx:pt idx="22384">0</cx:pt>
          <cx:pt idx="22385">0</cx:pt>
          <cx:pt idx="22386">0</cx:pt>
          <cx:pt idx="22387">1</cx:pt>
          <cx:pt idx="22388">0</cx:pt>
          <cx:pt idx="22389">1</cx:pt>
          <cx:pt idx="22390">0</cx:pt>
          <cx:pt idx="22391">0</cx:pt>
          <cx:pt idx="22392">0</cx:pt>
          <cx:pt idx="22393">1</cx:pt>
          <cx:pt idx="22394">0</cx:pt>
          <cx:pt idx="22395">0</cx:pt>
          <cx:pt idx="22396">1</cx:pt>
          <cx:pt idx="22397">0</cx:pt>
          <cx:pt idx="22398">1</cx:pt>
          <cx:pt idx="22399">1</cx:pt>
          <cx:pt idx="22400">0</cx:pt>
          <cx:pt idx="22401">0</cx:pt>
          <cx:pt idx="22402">1</cx:pt>
          <cx:pt idx="22403">1</cx:pt>
          <cx:pt idx="22404">0</cx:pt>
          <cx:pt idx="22405">0</cx:pt>
          <cx:pt idx="22406">1</cx:pt>
          <cx:pt idx="22407">1</cx:pt>
          <cx:pt idx="22408">1</cx:pt>
          <cx:pt idx="22409">0</cx:pt>
          <cx:pt idx="22410">0</cx:pt>
          <cx:pt idx="22411">1</cx:pt>
          <cx:pt idx="22412">0</cx:pt>
          <cx:pt idx="22413">0</cx:pt>
          <cx:pt idx="22414">0</cx:pt>
          <cx:pt idx="22415">0</cx:pt>
          <cx:pt idx="22416">0</cx:pt>
          <cx:pt idx="22417">1</cx:pt>
          <cx:pt idx="22418">0</cx:pt>
          <cx:pt idx="22419">1</cx:pt>
          <cx:pt idx="22420">1</cx:pt>
          <cx:pt idx="22421">1</cx:pt>
          <cx:pt idx="22422">1</cx:pt>
          <cx:pt idx="22423">0</cx:pt>
          <cx:pt idx="22424">1</cx:pt>
          <cx:pt idx="22425">0</cx:pt>
          <cx:pt idx="22426">0</cx:pt>
          <cx:pt idx="22427">0</cx:pt>
          <cx:pt idx="22428">1</cx:pt>
          <cx:pt idx="22429">0</cx:pt>
          <cx:pt idx="22430">0</cx:pt>
          <cx:pt idx="22431">0</cx:pt>
          <cx:pt idx="22432">1</cx:pt>
          <cx:pt idx="22433">0</cx:pt>
          <cx:pt idx="22434">1</cx:pt>
          <cx:pt idx="22435">0</cx:pt>
          <cx:pt idx="22436">0</cx:pt>
          <cx:pt idx="22437">0</cx:pt>
          <cx:pt idx="22438">0</cx:pt>
          <cx:pt idx="22439">1</cx:pt>
          <cx:pt idx="22440">1</cx:pt>
          <cx:pt idx="22441">1</cx:pt>
          <cx:pt idx="22442">1</cx:pt>
          <cx:pt idx="22443">1</cx:pt>
          <cx:pt idx="22444">0</cx:pt>
          <cx:pt idx="22445">1</cx:pt>
          <cx:pt idx="22446">0</cx:pt>
          <cx:pt idx="22447">0</cx:pt>
          <cx:pt idx="22448">0</cx:pt>
          <cx:pt idx="22449">0</cx:pt>
          <cx:pt idx="22450">1</cx:pt>
          <cx:pt idx="22451">0</cx:pt>
          <cx:pt idx="22452">0</cx:pt>
          <cx:pt idx="22453">0</cx:pt>
          <cx:pt idx="22454">1</cx:pt>
          <cx:pt idx="22455">1</cx:pt>
          <cx:pt idx="22456">0</cx:pt>
          <cx:pt idx="22457">0</cx:pt>
          <cx:pt idx="22458">1</cx:pt>
          <cx:pt idx="22459">0</cx:pt>
          <cx:pt idx="22460">0</cx:pt>
          <cx:pt idx="22461">1</cx:pt>
          <cx:pt idx="22462">0</cx:pt>
          <cx:pt idx="22463">0</cx:pt>
          <cx:pt idx="22464">0</cx:pt>
          <cx:pt idx="22465">1</cx:pt>
          <cx:pt idx="22466">0</cx:pt>
          <cx:pt idx="22467">0</cx:pt>
          <cx:pt idx="22468">1</cx:pt>
          <cx:pt idx="22469">1</cx:pt>
          <cx:pt idx="22470">1</cx:pt>
          <cx:pt idx="22471">0</cx:pt>
          <cx:pt idx="22472">1</cx:pt>
          <cx:pt idx="22473">1</cx:pt>
          <cx:pt idx="22474">1</cx:pt>
          <cx:pt idx="22475">0</cx:pt>
          <cx:pt idx="22476">0</cx:pt>
          <cx:pt idx="22477">1</cx:pt>
          <cx:pt idx="22478">0</cx:pt>
          <cx:pt idx="22479">0</cx:pt>
          <cx:pt idx="22480">0</cx:pt>
          <cx:pt idx="22481">1</cx:pt>
          <cx:pt idx="22482">1</cx:pt>
          <cx:pt idx="22483">1</cx:pt>
          <cx:pt idx="22484">0</cx:pt>
          <cx:pt idx="22485">1</cx:pt>
          <cx:pt idx="22486">0</cx:pt>
          <cx:pt idx="22487">1</cx:pt>
          <cx:pt idx="22488">0</cx:pt>
          <cx:pt idx="22489">0</cx:pt>
          <cx:pt idx="22490">0</cx:pt>
          <cx:pt idx="22491">0</cx:pt>
          <cx:pt idx="22492">1</cx:pt>
          <cx:pt idx="22493">0</cx:pt>
          <cx:pt idx="22494">1</cx:pt>
          <cx:pt idx="22495">0</cx:pt>
          <cx:pt idx="22496">0</cx:pt>
          <cx:pt idx="22497">1</cx:pt>
          <cx:pt idx="22498">0</cx:pt>
          <cx:pt idx="22499">0</cx:pt>
          <cx:pt idx="22500">1</cx:pt>
          <cx:pt idx="22501">1</cx:pt>
          <cx:pt idx="22502">0</cx:pt>
          <cx:pt idx="22503">1</cx:pt>
          <cx:pt idx="22504">1</cx:pt>
          <cx:pt idx="22505">0</cx:pt>
          <cx:pt idx="22506">0</cx:pt>
          <cx:pt idx="22507">0</cx:pt>
          <cx:pt idx="22508">0</cx:pt>
          <cx:pt idx="22509">0</cx:pt>
          <cx:pt idx="22510">0</cx:pt>
          <cx:pt idx="22511">0</cx:pt>
          <cx:pt idx="22512">1</cx:pt>
          <cx:pt idx="22513">0</cx:pt>
          <cx:pt idx="22514">1</cx:pt>
          <cx:pt idx="22515">0</cx:pt>
          <cx:pt idx="22516">1</cx:pt>
          <cx:pt idx="22517">1</cx:pt>
          <cx:pt idx="22518">0</cx:pt>
          <cx:pt idx="22519">1</cx:pt>
          <cx:pt idx="22520">0</cx:pt>
          <cx:pt idx="22521">0</cx:pt>
          <cx:pt idx="22522">1</cx:pt>
          <cx:pt idx="22523">1</cx:pt>
          <cx:pt idx="22524">1</cx:pt>
          <cx:pt idx="22525">0</cx:pt>
          <cx:pt idx="22526">1</cx:pt>
          <cx:pt idx="22527">1</cx:pt>
          <cx:pt idx="22528">1</cx:pt>
          <cx:pt idx="22529">1</cx:pt>
          <cx:pt idx="22530">0</cx:pt>
          <cx:pt idx="22531">0</cx:pt>
          <cx:pt idx="22532">0</cx:pt>
          <cx:pt idx="22533">0</cx:pt>
          <cx:pt idx="22534">1</cx:pt>
          <cx:pt idx="22535">1</cx:pt>
          <cx:pt idx="22536">0</cx:pt>
          <cx:pt idx="22537">0</cx:pt>
          <cx:pt idx="22538">1</cx:pt>
          <cx:pt idx="22539">0</cx:pt>
          <cx:pt idx="22540">1</cx:pt>
          <cx:pt idx="22541">0</cx:pt>
          <cx:pt idx="22542">1</cx:pt>
          <cx:pt idx="22543">0</cx:pt>
          <cx:pt idx="22544">1</cx:pt>
          <cx:pt idx="22545">0</cx:pt>
          <cx:pt idx="22546">1</cx:pt>
          <cx:pt idx="22547">1</cx:pt>
          <cx:pt idx="22548">0</cx:pt>
          <cx:pt idx="22549">1</cx:pt>
          <cx:pt idx="22550">1</cx:pt>
          <cx:pt idx="22551">0</cx:pt>
          <cx:pt idx="22552">0</cx:pt>
          <cx:pt idx="22553">1</cx:pt>
          <cx:pt idx="22554">1</cx:pt>
          <cx:pt idx="22555">0</cx:pt>
          <cx:pt idx="22556">0</cx:pt>
          <cx:pt idx="22557">0</cx:pt>
          <cx:pt idx="22558">1</cx:pt>
          <cx:pt idx="22559">0</cx:pt>
          <cx:pt idx="22560">1</cx:pt>
          <cx:pt idx="22561">1</cx:pt>
          <cx:pt idx="22562">1</cx:pt>
          <cx:pt idx="22563">1</cx:pt>
          <cx:pt idx="22564">0</cx:pt>
          <cx:pt idx="22565">1</cx:pt>
          <cx:pt idx="22566">1</cx:pt>
          <cx:pt idx="22567">1</cx:pt>
          <cx:pt idx="22568">1</cx:pt>
          <cx:pt idx="22569">1</cx:pt>
          <cx:pt idx="22570">1</cx:pt>
          <cx:pt idx="22571">1</cx:pt>
          <cx:pt idx="22572">0</cx:pt>
          <cx:pt idx="22573">0</cx:pt>
          <cx:pt idx="22574">1</cx:pt>
          <cx:pt idx="22575">1</cx:pt>
          <cx:pt idx="22576">1</cx:pt>
          <cx:pt idx="22577">0</cx:pt>
          <cx:pt idx="22578">1</cx:pt>
          <cx:pt idx="22579">0</cx:pt>
          <cx:pt idx="22580">1</cx:pt>
          <cx:pt idx="22581">0</cx:pt>
          <cx:pt idx="22582">0</cx:pt>
          <cx:pt idx="22583">0</cx:pt>
          <cx:pt idx="22584">0</cx:pt>
          <cx:pt idx="22585">0</cx:pt>
          <cx:pt idx="22586">0</cx:pt>
          <cx:pt idx="22587">0</cx:pt>
          <cx:pt idx="22588">1</cx:pt>
          <cx:pt idx="22589">0</cx:pt>
          <cx:pt idx="22590">0</cx:pt>
          <cx:pt idx="22591">0</cx:pt>
          <cx:pt idx="22592">1</cx:pt>
          <cx:pt idx="22593">1</cx:pt>
          <cx:pt idx="22594">1</cx:pt>
          <cx:pt idx="22595">0</cx:pt>
          <cx:pt idx="22596">0</cx:pt>
          <cx:pt idx="22597">1</cx:pt>
          <cx:pt idx="22598">0</cx:pt>
          <cx:pt idx="22599">0</cx:pt>
          <cx:pt idx="22600">1</cx:pt>
          <cx:pt idx="22601">0</cx:pt>
          <cx:pt idx="22602">1</cx:pt>
          <cx:pt idx="22603">1</cx:pt>
          <cx:pt idx="22604">0</cx:pt>
          <cx:pt idx="22605">0</cx:pt>
          <cx:pt idx="22606">1</cx:pt>
          <cx:pt idx="22607">1</cx:pt>
          <cx:pt idx="22608">0</cx:pt>
          <cx:pt idx="22609">1</cx:pt>
          <cx:pt idx="22610">0</cx:pt>
          <cx:pt idx="22611">1</cx:pt>
          <cx:pt idx="22612">0</cx:pt>
          <cx:pt idx="22613">0</cx:pt>
          <cx:pt idx="22614">1</cx:pt>
          <cx:pt idx="22615">1</cx:pt>
          <cx:pt idx="22616">1</cx:pt>
          <cx:pt idx="22617">0</cx:pt>
          <cx:pt idx="22618">0</cx:pt>
          <cx:pt idx="22619">0</cx:pt>
          <cx:pt idx="22620">0</cx:pt>
          <cx:pt idx="22621">0</cx:pt>
          <cx:pt idx="22622">1</cx:pt>
          <cx:pt idx="22623">0</cx:pt>
          <cx:pt idx="22624">1</cx:pt>
          <cx:pt idx="22625">0</cx:pt>
          <cx:pt idx="22626">0</cx:pt>
          <cx:pt idx="22627">0</cx:pt>
          <cx:pt idx="22628">0</cx:pt>
          <cx:pt idx="22629">0</cx:pt>
          <cx:pt idx="22630">0</cx:pt>
          <cx:pt idx="22631">1</cx:pt>
          <cx:pt idx="22632">1</cx:pt>
          <cx:pt idx="22633">1</cx:pt>
          <cx:pt idx="22634">0</cx:pt>
          <cx:pt idx="22635">0</cx:pt>
          <cx:pt idx="22636">0</cx:pt>
          <cx:pt idx="22637">0</cx:pt>
          <cx:pt idx="22638">0</cx:pt>
          <cx:pt idx="22639">0</cx:pt>
          <cx:pt idx="22640">0</cx:pt>
          <cx:pt idx="22641">0</cx:pt>
          <cx:pt idx="22642">1</cx:pt>
          <cx:pt idx="22643">1</cx:pt>
          <cx:pt idx="22644">1</cx:pt>
          <cx:pt idx="22645">1</cx:pt>
          <cx:pt idx="22646">0</cx:pt>
          <cx:pt idx="22647">0</cx:pt>
          <cx:pt idx="22648">0</cx:pt>
          <cx:pt idx="22649">0</cx:pt>
          <cx:pt idx="22650">0</cx:pt>
          <cx:pt idx="22651">0</cx:pt>
          <cx:pt idx="22652">0</cx:pt>
          <cx:pt idx="22653">1</cx:pt>
          <cx:pt idx="22654">1</cx:pt>
          <cx:pt idx="22655">0</cx:pt>
          <cx:pt idx="22656">0</cx:pt>
          <cx:pt idx="22657">0</cx:pt>
          <cx:pt idx="22658">1</cx:pt>
          <cx:pt idx="22659">0</cx:pt>
          <cx:pt idx="22660">1</cx:pt>
          <cx:pt idx="22661">1</cx:pt>
          <cx:pt idx="22662">1</cx:pt>
          <cx:pt idx="22663">0</cx:pt>
          <cx:pt idx="22664">1</cx:pt>
          <cx:pt idx="22665">1</cx:pt>
          <cx:pt idx="22666">1</cx:pt>
          <cx:pt idx="22667">0</cx:pt>
          <cx:pt idx="22668">0</cx:pt>
          <cx:pt idx="22669">0</cx:pt>
          <cx:pt idx="22670">0</cx:pt>
          <cx:pt idx="22671">1</cx:pt>
          <cx:pt idx="22672">0</cx:pt>
          <cx:pt idx="22673">0</cx:pt>
          <cx:pt idx="22674">0</cx:pt>
          <cx:pt idx="22675">0</cx:pt>
          <cx:pt idx="22676">0</cx:pt>
          <cx:pt idx="22677">1</cx:pt>
          <cx:pt idx="22678">1</cx:pt>
          <cx:pt idx="22679">1</cx:pt>
          <cx:pt idx="22680">0</cx:pt>
          <cx:pt idx="22681">1</cx:pt>
          <cx:pt idx="22682">0</cx:pt>
          <cx:pt idx="22683">0</cx:pt>
          <cx:pt idx="22684">0</cx:pt>
          <cx:pt idx="22685">0</cx:pt>
          <cx:pt idx="22686">0</cx:pt>
          <cx:pt idx="22687">1</cx:pt>
          <cx:pt idx="22688">0</cx:pt>
          <cx:pt idx="22689">0</cx:pt>
          <cx:pt idx="22690">1</cx:pt>
          <cx:pt idx="22691">1</cx:pt>
          <cx:pt idx="22692">0</cx:pt>
          <cx:pt idx="22693">1</cx:pt>
          <cx:pt idx="22694">0</cx:pt>
          <cx:pt idx="22695">1</cx:pt>
          <cx:pt idx="22696">0</cx:pt>
          <cx:pt idx="22697">1</cx:pt>
          <cx:pt idx="22698">1</cx:pt>
          <cx:pt idx="22699">1</cx:pt>
          <cx:pt idx="22700">1</cx:pt>
          <cx:pt idx="22701">0</cx:pt>
          <cx:pt idx="22702">0</cx:pt>
          <cx:pt idx="22703">0</cx:pt>
          <cx:pt idx="22704">1</cx:pt>
          <cx:pt idx="22705">1</cx:pt>
          <cx:pt idx="22706">1</cx:pt>
          <cx:pt idx="22707">1</cx:pt>
          <cx:pt idx="22708">0</cx:pt>
          <cx:pt idx="22709">1</cx:pt>
          <cx:pt idx="22710">0</cx:pt>
          <cx:pt idx="22711">0</cx:pt>
          <cx:pt idx="22712">0</cx:pt>
          <cx:pt idx="22713">1</cx:pt>
          <cx:pt idx="22714">0</cx:pt>
          <cx:pt idx="22715">0</cx:pt>
          <cx:pt idx="22716">0</cx:pt>
          <cx:pt idx="22717">0</cx:pt>
          <cx:pt idx="22718">1</cx:pt>
          <cx:pt idx="22719">1</cx:pt>
          <cx:pt idx="22720">1</cx:pt>
          <cx:pt idx="22721">0</cx:pt>
          <cx:pt idx="22722">0</cx:pt>
          <cx:pt idx="22723">0</cx:pt>
          <cx:pt idx="22724">0</cx:pt>
          <cx:pt idx="22725">1</cx:pt>
          <cx:pt idx="22726">1</cx:pt>
          <cx:pt idx="22727">1</cx:pt>
          <cx:pt idx="22728">0</cx:pt>
          <cx:pt idx="22729">0</cx:pt>
          <cx:pt idx="22730">0</cx:pt>
          <cx:pt idx="22731">0</cx:pt>
          <cx:pt idx="22732">0</cx:pt>
          <cx:pt idx="22733">0</cx:pt>
          <cx:pt idx="22734">1</cx:pt>
          <cx:pt idx="22735">0</cx:pt>
          <cx:pt idx="22736">1</cx:pt>
          <cx:pt idx="22737">0</cx:pt>
          <cx:pt idx="22738">1</cx:pt>
          <cx:pt idx="22739">1</cx:pt>
          <cx:pt idx="22740">1</cx:pt>
          <cx:pt idx="22741">1</cx:pt>
          <cx:pt idx="22742">0</cx:pt>
          <cx:pt idx="22743">0</cx:pt>
          <cx:pt idx="22744">0</cx:pt>
          <cx:pt idx="22745">0</cx:pt>
          <cx:pt idx="22746">0</cx:pt>
          <cx:pt idx="22747">0</cx:pt>
          <cx:pt idx="22748">0</cx:pt>
          <cx:pt idx="22749">1</cx:pt>
          <cx:pt idx="22750">0</cx:pt>
          <cx:pt idx="22751">0</cx:pt>
          <cx:pt idx="22752">0</cx:pt>
          <cx:pt idx="22753">1</cx:pt>
          <cx:pt idx="22754">0</cx:pt>
          <cx:pt idx="22755">0</cx:pt>
          <cx:pt idx="22756">0</cx:pt>
          <cx:pt idx="22757">0</cx:pt>
          <cx:pt idx="22758">1</cx:pt>
          <cx:pt idx="22759">1</cx:pt>
          <cx:pt idx="22760">1</cx:pt>
          <cx:pt idx="22761">0</cx:pt>
          <cx:pt idx="22762">0</cx:pt>
          <cx:pt idx="22763">0</cx:pt>
          <cx:pt idx="22764">0</cx:pt>
          <cx:pt idx="22765">1</cx:pt>
          <cx:pt idx="22766">1</cx:pt>
          <cx:pt idx="22767">1</cx:pt>
          <cx:pt idx="22768">1</cx:pt>
          <cx:pt idx="22769">1</cx:pt>
          <cx:pt idx="22770">0</cx:pt>
          <cx:pt idx="22771">1</cx:pt>
          <cx:pt idx="22772">1</cx:pt>
          <cx:pt idx="22773">0</cx:pt>
          <cx:pt idx="22774">0</cx:pt>
          <cx:pt idx="22775">1</cx:pt>
          <cx:pt idx="22776">1</cx:pt>
          <cx:pt idx="22777">0</cx:pt>
          <cx:pt idx="22778">1</cx:pt>
          <cx:pt idx="22779">0</cx:pt>
          <cx:pt idx="22780">1</cx:pt>
          <cx:pt idx="22781">1</cx:pt>
          <cx:pt idx="22782">0</cx:pt>
          <cx:pt idx="22783">0</cx:pt>
          <cx:pt idx="22784">0</cx:pt>
          <cx:pt idx="22785">1</cx:pt>
          <cx:pt idx="22786">0</cx:pt>
          <cx:pt idx="22787">0</cx:pt>
          <cx:pt idx="22788">1</cx:pt>
          <cx:pt idx="22789">0</cx:pt>
          <cx:pt idx="22790">1</cx:pt>
          <cx:pt idx="22791">0</cx:pt>
          <cx:pt idx="22792">0</cx:pt>
          <cx:pt idx="22793">1</cx:pt>
          <cx:pt idx="22794">1</cx:pt>
          <cx:pt idx="22795">0</cx:pt>
          <cx:pt idx="22796">0</cx:pt>
          <cx:pt idx="22797">0</cx:pt>
          <cx:pt idx="22798">0</cx:pt>
          <cx:pt idx="22799">0</cx:pt>
          <cx:pt idx="22800">1</cx:pt>
          <cx:pt idx="22801">1</cx:pt>
          <cx:pt idx="22802">1</cx:pt>
          <cx:pt idx="22803">0</cx:pt>
          <cx:pt idx="22804">0</cx:pt>
          <cx:pt idx="22805">0</cx:pt>
          <cx:pt idx="22806">0</cx:pt>
          <cx:pt idx="22807">1</cx:pt>
          <cx:pt idx="22808">0</cx:pt>
          <cx:pt idx="22809">1</cx:pt>
          <cx:pt idx="22810">1</cx:pt>
          <cx:pt idx="22811">1</cx:pt>
          <cx:pt idx="22812">0</cx:pt>
          <cx:pt idx="22813">0</cx:pt>
          <cx:pt idx="22814">1</cx:pt>
          <cx:pt idx="22815">0</cx:pt>
          <cx:pt idx="22816">0</cx:pt>
          <cx:pt idx="22817">0</cx:pt>
          <cx:pt idx="22818">0</cx:pt>
          <cx:pt idx="22819">0</cx:pt>
          <cx:pt idx="22820">1</cx:pt>
          <cx:pt idx="22821">0</cx:pt>
          <cx:pt idx="22822">1</cx:pt>
          <cx:pt idx="22823">1</cx:pt>
          <cx:pt idx="22824">0</cx:pt>
          <cx:pt idx="22825">1</cx:pt>
          <cx:pt idx="22826">0</cx:pt>
          <cx:pt idx="22827">1</cx:pt>
          <cx:pt idx="22828">1</cx:pt>
          <cx:pt idx="22829">1</cx:pt>
          <cx:pt idx="22830">0</cx:pt>
          <cx:pt idx="22831">0</cx:pt>
          <cx:pt idx="22832">0</cx:pt>
          <cx:pt idx="22833">1</cx:pt>
          <cx:pt idx="22834">0</cx:pt>
          <cx:pt idx="22835">1</cx:pt>
          <cx:pt idx="22836">1</cx:pt>
          <cx:pt idx="22837">0</cx:pt>
          <cx:pt idx="22838">0</cx:pt>
          <cx:pt idx="22839">1</cx:pt>
          <cx:pt idx="22840">1</cx:pt>
          <cx:pt idx="22841">1</cx:pt>
          <cx:pt idx="22842">1</cx:pt>
          <cx:pt idx="22843">1</cx:pt>
          <cx:pt idx="22844">1</cx:pt>
          <cx:pt idx="22845">0</cx:pt>
          <cx:pt idx="22846">0</cx:pt>
          <cx:pt idx="22847">1</cx:pt>
          <cx:pt idx="22848">1</cx:pt>
          <cx:pt idx="22849">0</cx:pt>
          <cx:pt idx="22850">1</cx:pt>
          <cx:pt idx="22851">0</cx:pt>
          <cx:pt idx="22852">1</cx:pt>
          <cx:pt idx="22853">1</cx:pt>
          <cx:pt idx="22854">0</cx:pt>
          <cx:pt idx="22855">0</cx:pt>
          <cx:pt idx="22856">0</cx:pt>
          <cx:pt idx="22857">1</cx:pt>
          <cx:pt idx="22858">1</cx:pt>
          <cx:pt idx="22859">1</cx:pt>
          <cx:pt idx="22860">1</cx:pt>
          <cx:pt idx="22861">0</cx:pt>
          <cx:pt idx="22862">0</cx:pt>
          <cx:pt idx="22863">1</cx:pt>
          <cx:pt idx="22864">1</cx:pt>
          <cx:pt idx="22865">1</cx:pt>
          <cx:pt idx="22866">0</cx:pt>
          <cx:pt idx="22867">0</cx:pt>
          <cx:pt idx="22868">0</cx:pt>
          <cx:pt idx="22869">1</cx:pt>
          <cx:pt idx="22870">0</cx:pt>
          <cx:pt idx="22871">0</cx:pt>
          <cx:pt idx="22872">0</cx:pt>
          <cx:pt idx="22873">0</cx:pt>
          <cx:pt idx="22874">0</cx:pt>
          <cx:pt idx="22875">0</cx:pt>
          <cx:pt idx="22876">1</cx:pt>
          <cx:pt idx="22877">1</cx:pt>
          <cx:pt idx="22878">1</cx:pt>
          <cx:pt idx="22879">1</cx:pt>
          <cx:pt idx="22880">0</cx:pt>
          <cx:pt idx="22881">0</cx:pt>
          <cx:pt idx="22882">0</cx:pt>
          <cx:pt idx="22883">1</cx:pt>
          <cx:pt idx="22884">1</cx:pt>
          <cx:pt idx="22885">0</cx:pt>
          <cx:pt idx="22886">1</cx:pt>
          <cx:pt idx="22887">1</cx:pt>
          <cx:pt idx="22888">0</cx:pt>
          <cx:pt idx="22889">0</cx:pt>
          <cx:pt idx="22890">1</cx:pt>
          <cx:pt idx="22891">0</cx:pt>
          <cx:pt idx="22892">1</cx:pt>
          <cx:pt idx="22893">0</cx:pt>
          <cx:pt idx="22894">0</cx:pt>
          <cx:pt idx="22895">1</cx:pt>
          <cx:pt idx="22896">1</cx:pt>
          <cx:pt idx="22897">0</cx:pt>
          <cx:pt idx="22898">1</cx:pt>
          <cx:pt idx="22899">0</cx:pt>
          <cx:pt idx="22900">0</cx:pt>
          <cx:pt idx="22901">0</cx:pt>
          <cx:pt idx="22902">0</cx:pt>
          <cx:pt idx="22903">0</cx:pt>
          <cx:pt idx="22904">1</cx:pt>
          <cx:pt idx="22905">1</cx:pt>
          <cx:pt idx="22906">1</cx:pt>
          <cx:pt idx="22907">0</cx:pt>
          <cx:pt idx="22908">0</cx:pt>
          <cx:pt idx="22909">0</cx:pt>
          <cx:pt idx="22910">0</cx:pt>
          <cx:pt idx="22911">0</cx:pt>
          <cx:pt idx="22912">1</cx:pt>
          <cx:pt idx="22913">0</cx:pt>
          <cx:pt idx="22914">0</cx:pt>
          <cx:pt idx="22915">0</cx:pt>
          <cx:pt idx="22916">0</cx:pt>
          <cx:pt idx="22917">1</cx:pt>
          <cx:pt idx="22918">0</cx:pt>
          <cx:pt idx="22919">0</cx:pt>
          <cx:pt idx="22920">1</cx:pt>
          <cx:pt idx="22921">0</cx:pt>
          <cx:pt idx="22922">0</cx:pt>
          <cx:pt idx="22923">0</cx:pt>
          <cx:pt idx="22924">0</cx:pt>
          <cx:pt idx="22925">1</cx:pt>
          <cx:pt idx="22926">0</cx:pt>
          <cx:pt idx="22927">1</cx:pt>
          <cx:pt idx="22928">0</cx:pt>
          <cx:pt idx="22929">1</cx:pt>
          <cx:pt idx="22930">1</cx:pt>
          <cx:pt idx="22931">1</cx:pt>
          <cx:pt idx="22932">0</cx:pt>
          <cx:pt idx="22933">0</cx:pt>
          <cx:pt idx="22934">0</cx:pt>
          <cx:pt idx="22935">1</cx:pt>
          <cx:pt idx="22936">1</cx:pt>
          <cx:pt idx="22937">1</cx:pt>
          <cx:pt idx="22938">0</cx:pt>
          <cx:pt idx="22939">1</cx:pt>
          <cx:pt idx="22940">1</cx:pt>
          <cx:pt idx="22941">0</cx:pt>
          <cx:pt idx="22942">0</cx:pt>
          <cx:pt idx="22943">1</cx:pt>
          <cx:pt idx="22944">1</cx:pt>
          <cx:pt idx="22945">1</cx:pt>
          <cx:pt idx="22946">1</cx:pt>
          <cx:pt idx="22947">1</cx:pt>
          <cx:pt idx="22948">0</cx:pt>
          <cx:pt idx="22949">0</cx:pt>
          <cx:pt idx="22950">1</cx:pt>
          <cx:pt idx="22951">0</cx:pt>
          <cx:pt idx="22952">0</cx:pt>
          <cx:pt idx="22953">0</cx:pt>
          <cx:pt idx="22954">0</cx:pt>
          <cx:pt idx="22955">1</cx:pt>
          <cx:pt idx="22956">0</cx:pt>
          <cx:pt idx="22957">0</cx:pt>
          <cx:pt idx="22958">1</cx:pt>
          <cx:pt idx="22959">1</cx:pt>
          <cx:pt idx="22960">0</cx:pt>
          <cx:pt idx="22961">1</cx:pt>
          <cx:pt idx="22962">0</cx:pt>
          <cx:pt idx="22963">0</cx:pt>
          <cx:pt idx="22964">1</cx:pt>
          <cx:pt idx="22965">0</cx:pt>
          <cx:pt idx="22966">0</cx:pt>
          <cx:pt idx="22967">0</cx:pt>
          <cx:pt idx="22968">0</cx:pt>
          <cx:pt idx="22969">1</cx:pt>
          <cx:pt idx="22970">1</cx:pt>
          <cx:pt idx="22971">0</cx:pt>
          <cx:pt idx="22972">0</cx:pt>
          <cx:pt idx="22973">0</cx:pt>
          <cx:pt idx="22974">0</cx:pt>
          <cx:pt idx="22975">0</cx:pt>
          <cx:pt idx="22976">1</cx:pt>
          <cx:pt idx="22977">0</cx:pt>
          <cx:pt idx="22978">1</cx:pt>
          <cx:pt idx="22979">1</cx:pt>
          <cx:pt idx="22980">0</cx:pt>
          <cx:pt idx="22981">0</cx:pt>
          <cx:pt idx="22982">1</cx:pt>
          <cx:pt idx="22983">0</cx:pt>
          <cx:pt idx="22984">0</cx:pt>
          <cx:pt idx="22985">1</cx:pt>
          <cx:pt idx="22986">0</cx:pt>
          <cx:pt idx="22987">0</cx:pt>
          <cx:pt idx="22988">1</cx:pt>
          <cx:pt idx="22989">1</cx:pt>
          <cx:pt idx="22990">0</cx:pt>
          <cx:pt idx="22991">1</cx:pt>
          <cx:pt idx="22992">0</cx:pt>
          <cx:pt idx="22993">0</cx:pt>
          <cx:pt idx="22994">1</cx:pt>
          <cx:pt idx="22995">1</cx:pt>
          <cx:pt idx="22996">0</cx:pt>
          <cx:pt idx="22997">1</cx:pt>
          <cx:pt idx="22998">0</cx:pt>
          <cx:pt idx="22999">0</cx:pt>
          <cx:pt idx="23000">1</cx:pt>
          <cx:pt idx="23001">0</cx:pt>
          <cx:pt idx="23002">0</cx:pt>
          <cx:pt idx="23003">0</cx:pt>
          <cx:pt idx="23004">1</cx:pt>
          <cx:pt idx="23005">0</cx:pt>
          <cx:pt idx="23006">1</cx:pt>
          <cx:pt idx="23007">0</cx:pt>
          <cx:pt idx="23008">1</cx:pt>
          <cx:pt idx="23009">0</cx:pt>
          <cx:pt idx="23010">1</cx:pt>
          <cx:pt idx="23011">1</cx:pt>
          <cx:pt idx="23012">0</cx:pt>
          <cx:pt idx="23013">1</cx:pt>
          <cx:pt idx="23014">0</cx:pt>
          <cx:pt idx="23015">0</cx:pt>
          <cx:pt idx="23016">1</cx:pt>
          <cx:pt idx="23017">1</cx:pt>
          <cx:pt idx="23018">0</cx:pt>
          <cx:pt idx="23019">0</cx:pt>
          <cx:pt idx="23020">1</cx:pt>
          <cx:pt idx="23021">0</cx:pt>
          <cx:pt idx="23022">1</cx:pt>
          <cx:pt idx="23023">0</cx:pt>
          <cx:pt idx="23024">1</cx:pt>
          <cx:pt idx="23025">0</cx:pt>
          <cx:pt idx="23026">1</cx:pt>
          <cx:pt idx="23027">0</cx:pt>
          <cx:pt idx="23028">0</cx:pt>
          <cx:pt idx="23029">0</cx:pt>
          <cx:pt idx="23030">0</cx:pt>
          <cx:pt idx="23031">0</cx:pt>
          <cx:pt idx="23032">0</cx:pt>
          <cx:pt idx="23033">1</cx:pt>
          <cx:pt idx="23034">1</cx:pt>
          <cx:pt idx="23035">1</cx:pt>
          <cx:pt idx="23036">0</cx:pt>
          <cx:pt idx="23037">0</cx:pt>
          <cx:pt idx="23038">1</cx:pt>
          <cx:pt idx="23039">0</cx:pt>
          <cx:pt idx="23040">1</cx:pt>
          <cx:pt idx="23041">0</cx:pt>
          <cx:pt idx="23042">0</cx:pt>
          <cx:pt idx="23043">0</cx:pt>
          <cx:pt idx="23044">0</cx:pt>
          <cx:pt idx="23045">0</cx:pt>
          <cx:pt idx="23046">0</cx:pt>
          <cx:pt idx="23047">0</cx:pt>
          <cx:pt idx="23048">0</cx:pt>
          <cx:pt idx="23049">0</cx:pt>
          <cx:pt idx="23050">1</cx:pt>
          <cx:pt idx="23051">1</cx:pt>
          <cx:pt idx="23052">0</cx:pt>
          <cx:pt idx="23053">0</cx:pt>
          <cx:pt idx="23054">1</cx:pt>
          <cx:pt idx="23055">0</cx:pt>
          <cx:pt idx="23056">1</cx:pt>
          <cx:pt idx="23057">1</cx:pt>
          <cx:pt idx="23058">0</cx:pt>
          <cx:pt idx="23059">0</cx:pt>
          <cx:pt idx="23060">0</cx:pt>
          <cx:pt idx="23061">0</cx:pt>
          <cx:pt idx="23062">1</cx:pt>
          <cx:pt idx="23063">0</cx:pt>
          <cx:pt idx="23064">1</cx:pt>
          <cx:pt idx="23065">0</cx:pt>
          <cx:pt idx="23066">1</cx:pt>
          <cx:pt idx="23067">0</cx:pt>
          <cx:pt idx="23068">0</cx:pt>
          <cx:pt idx="23069">1</cx:pt>
          <cx:pt idx="23070">1</cx:pt>
          <cx:pt idx="23071">0</cx:pt>
          <cx:pt idx="23072">1</cx:pt>
          <cx:pt idx="23073">0</cx:pt>
          <cx:pt idx="23074">0</cx:pt>
          <cx:pt idx="23075">1</cx:pt>
          <cx:pt idx="23076">0</cx:pt>
          <cx:pt idx="23077">0</cx:pt>
          <cx:pt idx="23078">1</cx:pt>
          <cx:pt idx="23079">0</cx:pt>
          <cx:pt idx="23080">1</cx:pt>
          <cx:pt idx="23081">0</cx:pt>
          <cx:pt idx="23082">1</cx:pt>
          <cx:pt idx="23083">0</cx:pt>
          <cx:pt idx="23084">0</cx:pt>
          <cx:pt idx="23085">0</cx:pt>
          <cx:pt idx="23086">1</cx:pt>
          <cx:pt idx="23087">0</cx:pt>
          <cx:pt idx="23088">0</cx:pt>
          <cx:pt idx="23089">0</cx:pt>
          <cx:pt idx="23090">0</cx:pt>
          <cx:pt idx="23091">1</cx:pt>
          <cx:pt idx="23092">1</cx:pt>
          <cx:pt idx="23093">0</cx:pt>
          <cx:pt idx="23094">0</cx:pt>
          <cx:pt idx="23095">1</cx:pt>
          <cx:pt idx="23096">1</cx:pt>
          <cx:pt idx="23097">0</cx:pt>
          <cx:pt idx="23098">1</cx:pt>
          <cx:pt idx="23099">0</cx:pt>
          <cx:pt idx="23100">1</cx:pt>
          <cx:pt idx="23101">0</cx:pt>
          <cx:pt idx="23102">0</cx:pt>
          <cx:pt idx="23103">1</cx:pt>
          <cx:pt idx="23104">0</cx:pt>
          <cx:pt idx="23105">1</cx:pt>
          <cx:pt idx="23106">0</cx:pt>
          <cx:pt idx="23107">0</cx:pt>
          <cx:pt idx="23108">0</cx:pt>
          <cx:pt idx="23109">0</cx:pt>
          <cx:pt idx="23110">1</cx:pt>
          <cx:pt idx="23111">1</cx:pt>
          <cx:pt idx="23112">0</cx:pt>
          <cx:pt idx="23113">0</cx:pt>
          <cx:pt idx="23114">0</cx:pt>
          <cx:pt idx="23115">0</cx:pt>
          <cx:pt idx="23116">0</cx:pt>
          <cx:pt idx="23117">1</cx:pt>
          <cx:pt idx="23118">1</cx:pt>
          <cx:pt idx="23119">0</cx:pt>
          <cx:pt idx="23120">0</cx:pt>
          <cx:pt idx="23121">1</cx:pt>
          <cx:pt idx="23122">0</cx:pt>
          <cx:pt idx="23123">1</cx:pt>
          <cx:pt idx="23124">1</cx:pt>
          <cx:pt idx="23125">0</cx:pt>
          <cx:pt idx="23126">1</cx:pt>
          <cx:pt idx="23127">1</cx:pt>
          <cx:pt idx="23128">0</cx:pt>
          <cx:pt idx="23129">0</cx:pt>
          <cx:pt idx="23130">0</cx:pt>
          <cx:pt idx="23131">0</cx:pt>
          <cx:pt idx="23132">0</cx:pt>
          <cx:pt idx="23133">0</cx:pt>
          <cx:pt idx="23134">1</cx:pt>
          <cx:pt idx="23135">0</cx:pt>
          <cx:pt idx="23136">1</cx:pt>
          <cx:pt idx="23137">0</cx:pt>
          <cx:pt idx="23138">0</cx:pt>
          <cx:pt idx="23139">0</cx:pt>
          <cx:pt idx="23140">0</cx:pt>
          <cx:pt idx="23141">0</cx:pt>
          <cx:pt idx="23142">1</cx:pt>
          <cx:pt idx="23143">0</cx:pt>
          <cx:pt idx="23144">0</cx:pt>
          <cx:pt idx="23145">0</cx:pt>
          <cx:pt idx="23146">1</cx:pt>
          <cx:pt idx="23147">1</cx:pt>
          <cx:pt idx="23148">1</cx:pt>
          <cx:pt idx="23149">1</cx:pt>
          <cx:pt idx="23150">1</cx:pt>
          <cx:pt idx="23151">0</cx:pt>
          <cx:pt idx="23152">0</cx:pt>
          <cx:pt idx="23153">0</cx:pt>
          <cx:pt idx="23154">1</cx:pt>
          <cx:pt idx="23155">1</cx:pt>
          <cx:pt idx="23156">0</cx:pt>
          <cx:pt idx="23157">1</cx:pt>
          <cx:pt idx="23158">1</cx:pt>
          <cx:pt idx="23159">0</cx:pt>
          <cx:pt idx="23160">1</cx:pt>
          <cx:pt idx="23161">1</cx:pt>
          <cx:pt idx="23162">0</cx:pt>
          <cx:pt idx="23163">1</cx:pt>
          <cx:pt idx="23164">1</cx:pt>
          <cx:pt idx="23165">1</cx:pt>
          <cx:pt idx="23166">0</cx:pt>
          <cx:pt idx="23167">0</cx:pt>
          <cx:pt idx="23168">1</cx:pt>
          <cx:pt idx="23169">1</cx:pt>
          <cx:pt idx="23170">0</cx:pt>
          <cx:pt idx="23171">0</cx:pt>
          <cx:pt idx="23172">1</cx:pt>
          <cx:pt idx="23173">0</cx:pt>
          <cx:pt idx="23174">0</cx:pt>
          <cx:pt idx="23175">0</cx:pt>
          <cx:pt idx="23176">1</cx:pt>
          <cx:pt idx="23177">1</cx:pt>
          <cx:pt idx="23178">1</cx:pt>
          <cx:pt idx="23179">1</cx:pt>
          <cx:pt idx="23180">0</cx:pt>
          <cx:pt idx="23181">0</cx:pt>
          <cx:pt idx="23182">0</cx:pt>
          <cx:pt idx="23183">0</cx:pt>
          <cx:pt idx="23184">1</cx:pt>
          <cx:pt idx="23185">0</cx:pt>
          <cx:pt idx="23186">1</cx:pt>
          <cx:pt idx="23187">1</cx:pt>
          <cx:pt idx="23188">0</cx:pt>
          <cx:pt idx="23189">0</cx:pt>
          <cx:pt idx="23190">1</cx:pt>
          <cx:pt idx="23191">0</cx:pt>
          <cx:pt idx="23192">1</cx:pt>
          <cx:pt idx="23193">1</cx:pt>
          <cx:pt idx="23194">0</cx:pt>
          <cx:pt idx="23195">0</cx:pt>
          <cx:pt idx="23196">0</cx:pt>
          <cx:pt idx="23197">1</cx:pt>
          <cx:pt idx="23198">0</cx:pt>
          <cx:pt idx="23199">0</cx:pt>
          <cx:pt idx="23200">0</cx:pt>
          <cx:pt idx="23201">1</cx:pt>
          <cx:pt idx="23202">0</cx:pt>
          <cx:pt idx="23203">1</cx:pt>
          <cx:pt idx="23204">0</cx:pt>
          <cx:pt idx="23205">0</cx:pt>
          <cx:pt idx="23206">0</cx:pt>
          <cx:pt idx="23207">0</cx:pt>
          <cx:pt idx="23208">0</cx:pt>
          <cx:pt idx="23209">0</cx:pt>
          <cx:pt idx="23210">0</cx:pt>
          <cx:pt idx="23211">0</cx:pt>
          <cx:pt idx="23212">0</cx:pt>
          <cx:pt idx="23213">1</cx:pt>
          <cx:pt idx="23214">1</cx:pt>
          <cx:pt idx="23215">0</cx:pt>
          <cx:pt idx="23216">0</cx:pt>
          <cx:pt idx="23217">1</cx:pt>
          <cx:pt idx="23218">0</cx:pt>
          <cx:pt idx="23219">0</cx:pt>
          <cx:pt idx="23220">0</cx:pt>
          <cx:pt idx="23221">0</cx:pt>
          <cx:pt idx="23222">0</cx:pt>
          <cx:pt idx="23223">1</cx:pt>
          <cx:pt idx="23224">0</cx:pt>
          <cx:pt idx="23225">1</cx:pt>
          <cx:pt idx="23226">1</cx:pt>
          <cx:pt idx="23227">0</cx:pt>
          <cx:pt idx="23228">0</cx:pt>
          <cx:pt idx="23229">1</cx:pt>
          <cx:pt idx="23230">0</cx:pt>
          <cx:pt idx="23231">0</cx:pt>
          <cx:pt idx="23232">1</cx:pt>
          <cx:pt idx="23233">1</cx:pt>
          <cx:pt idx="23234">1</cx:pt>
          <cx:pt idx="23235">1</cx:pt>
          <cx:pt idx="23236">0</cx:pt>
          <cx:pt idx="23237">1</cx:pt>
          <cx:pt idx="23238">0</cx:pt>
          <cx:pt idx="23239">1</cx:pt>
          <cx:pt idx="23240">1</cx:pt>
          <cx:pt idx="23241">0</cx:pt>
          <cx:pt idx="23242">0</cx:pt>
          <cx:pt idx="23243">0</cx:pt>
          <cx:pt idx="23244">1</cx:pt>
          <cx:pt idx="23245">0</cx:pt>
          <cx:pt idx="23246">0</cx:pt>
          <cx:pt idx="23247">1</cx:pt>
          <cx:pt idx="23248">0</cx:pt>
          <cx:pt idx="23249">0</cx:pt>
          <cx:pt idx="23250">0</cx:pt>
          <cx:pt idx="23251">1</cx:pt>
          <cx:pt idx="23252">0</cx:pt>
          <cx:pt idx="23253">0</cx:pt>
          <cx:pt idx="23254">0</cx:pt>
          <cx:pt idx="23255">0</cx:pt>
          <cx:pt idx="23256">1</cx:pt>
          <cx:pt idx="23257">0</cx:pt>
          <cx:pt idx="23258">1</cx:pt>
          <cx:pt idx="23259">1</cx:pt>
          <cx:pt idx="23260">1</cx:pt>
          <cx:pt idx="23261">1</cx:pt>
          <cx:pt idx="23262">1</cx:pt>
          <cx:pt idx="23263">0</cx:pt>
          <cx:pt idx="23264">1</cx:pt>
          <cx:pt idx="23265">1</cx:pt>
          <cx:pt idx="23266">0</cx:pt>
          <cx:pt idx="23267">1</cx:pt>
          <cx:pt idx="23268">0</cx:pt>
          <cx:pt idx="23269">0</cx:pt>
          <cx:pt idx="23270">1</cx:pt>
          <cx:pt idx="23271">0</cx:pt>
          <cx:pt idx="23272">0</cx:pt>
          <cx:pt idx="23273">0</cx:pt>
          <cx:pt idx="23274">1</cx:pt>
          <cx:pt idx="23275">1</cx:pt>
          <cx:pt idx="23276">0</cx:pt>
          <cx:pt idx="23277">0</cx:pt>
          <cx:pt idx="23278">0</cx:pt>
          <cx:pt idx="23279">0</cx:pt>
          <cx:pt idx="23280">0</cx:pt>
          <cx:pt idx="23281">1</cx:pt>
          <cx:pt idx="23282">1</cx:pt>
          <cx:pt idx="23283">1</cx:pt>
          <cx:pt idx="23284">0</cx:pt>
          <cx:pt idx="23285">0</cx:pt>
          <cx:pt idx="23286">1</cx:pt>
          <cx:pt idx="23287">1</cx:pt>
          <cx:pt idx="23288">0</cx:pt>
          <cx:pt idx="23289">1</cx:pt>
          <cx:pt idx="23290">1</cx:pt>
          <cx:pt idx="23291">0</cx:pt>
          <cx:pt idx="23292">1</cx:pt>
          <cx:pt idx="23293">0</cx:pt>
          <cx:pt idx="23294">0</cx:pt>
          <cx:pt idx="23295">1</cx:pt>
          <cx:pt idx="23296">0</cx:pt>
          <cx:pt idx="23297">0</cx:pt>
          <cx:pt idx="23298">0</cx:pt>
          <cx:pt idx="23299">0</cx:pt>
          <cx:pt idx="23300">0</cx:pt>
          <cx:pt idx="23301">0</cx:pt>
          <cx:pt idx="23302">0</cx:pt>
          <cx:pt idx="23303">1</cx:pt>
          <cx:pt idx="23304">0</cx:pt>
          <cx:pt idx="23305">1</cx:pt>
          <cx:pt idx="23306">1</cx:pt>
          <cx:pt idx="23307">0</cx:pt>
          <cx:pt idx="23308">0</cx:pt>
          <cx:pt idx="23309">1</cx:pt>
          <cx:pt idx="23310">0</cx:pt>
          <cx:pt idx="23311">0</cx:pt>
          <cx:pt idx="23312">1</cx:pt>
          <cx:pt idx="23313">1</cx:pt>
          <cx:pt idx="23314">1</cx:pt>
          <cx:pt idx="23315">0</cx:pt>
          <cx:pt idx="23316">1</cx:pt>
          <cx:pt idx="23317">0</cx:pt>
          <cx:pt idx="23318">0</cx:pt>
          <cx:pt idx="23319">0</cx:pt>
          <cx:pt idx="23320">1</cx:pt>
          <cx:pt idx="23321">0</cx:pt>
          <cx:pt idx="23322">1</cx:pt>
          <cx:pt idx="23323">1</cx:pt>
          <cx:pt idx="23324">1</cx:pt>
          <cx:pt idx="23325">0</cx:pt>
          <cx:pt idx="23326">0</cx:pt>
          <cx:pt idx="23327">0</cx:pt>
          <cx:pt idx="23328">1</cx:pt>
          <cx:pt idx="23329">1</cx:pt>
          <cx:pt idx="23330">1</cx:pt>
          <cx:pt idx="23331">0</cx:pt>
          <cx:pt idx="23332">0</cx:pt>
          <cx:pt idx="23333">0</cx:pt>
          <cx:pt idx="23334">1</cx:pt>
          <cx:pt idx="23335">1</cx:pt>
          <cx:pt idx="23336">1</cx:pt>
          <cx:pt idx="23337">1</cx:pt>
          <cx:pt idx="23338">0</cx:pt>
          <cx:pt idx="23339">0</cx:pt>
          <cx:pt idx="23340">1</cx:pt>
          <cx:pt idx="23341">0</cx:pt>
          <cx:pt idx="23342">0</cx:pt>
          <cx:pt idx="23343">0</cx:pt>
          <cx:pt idx="23344">1</cx:pt>
          <cx:pt idx="23345">1</cx:pt>
          <cx:pt idx="23346">1</cx:pt>
          <cx:pt idx="23347">0</cx:pt>
          <cx:pt idx="23348">1</cx:pt>
          <cx:pt idx="23349">1</cx:pt>
          <cx:pt idx="23350">1</cx:pt>
          <cx:pt idx="23351">0</cx:pt>
          <cx:pt idx="23352">1</cx:pt>
          <cx:pt idx="23353">1</cx:pt>
          <cx:pt idx="23354">0</cx:pt>
          <cx:pt idx="23355">1</cx:pt>
          <cx:pt idx="23356">1</cx:pt>
          <cx:pt idx="23357">0</cx:pt>
          <cx:pt idx="23358">0</cx:pt>
          <cx:pt idx="23359">1</cx:pt>
          <cx:pt idx="23360">0</cx:pt>
          <cx:pt idx="23361">0</cx:pt>
          <cx:pt idx="23362">1</cx:pt>
          <cx:pt idx="23363">1</cx:pt>
          <cx:pt idx="23364">0</cx:pt>
          <cx:pt idx="23365">1</cx:pt>
          <cx:pt idx="23366">0</cx:pt>
          <cx:pt idx="23367">0</cx:pt>
          <cx:pt idx="23368">0</cx:pt>
          <cx:pt idx="23369">0</cx:pt>
          <cx:pt idx="23370">1</cx:pt>
          <cx:pt idx="23371">0</cx:pt>
          <cx:pt idx="23372">0</cx:pt>
          <cx:pt idx="23373">0</cx:pt>
          <cx:pt idx="23374">1</cx:pt>
          <cx:pt idx="23375">1</cx:pt>
          <cx:pt idx="23376">1</cx:pt>
          <cx:pt idx="23377">0</cx:pt>
          <cx:pt idx="23378">1</cx:pt>
          <cx:pt idx="23379">0</cx:pt>
          <cx:pt idx="23380">1</cx:pt>
          <cx:pt idx="23381">0</cx:pt>
          <cx:pt idx="23382">0</cx:pt>
          <cx:pt idx="23383">1</cx:pt>
          <cx:pt idx="23384">0</cx:pt>
          <cx:pt idx="23385">0</cx:pt>
          <cx:pt idx="23386">1</cx:pt>
          <cx:pt idx="23387">1</cx:pt>
          <cx:pt idx="23388">0</cx:pt>
          <cx:pt idx="23389">0</cx:pt>
          <cx:pt idx="23390">0</cx:pt>
          <cx:pt idx="23391">0</cx:pt>
          <cx:pt idx="23392">0</cx:pt>
          <cx:pt idx="23393">1</cx:pt>
          <cx:pt idx="23394">0</cx:pt>
          <cx:pt idx="23395">1</cx:pt>
          <cx:pt idx="23396">0</cx:pt>
          <cx:pt idx="23397">1</cx:pt>
          <cx:pt idx="23398">0</cx:pt>
          <cx:pt idx="23399">0</cx:pt>
          <cx:pt idx="23400">1</cx:pt>
          <cx:pt idx="23401">1</cx:pt>
          <cx:pt idx="23402">1</cx:pt>
          <cx:pt idx="23403">0</cx:pt>
          <cx:pt idx="23404">0</cx:pt>
          <cx:pt idx="23405">0</cx:pt>
          <cx:pt idx="23406">1</cx:pt>
          <cx:pt idx="23407">0</cx:pt>
          <cx:pt idx="23408">0</cx:pt>
          <cx:pt idx="23409">1</cx:pt>
          <cx:pt idx="23410">0</cx:pt>
          <cx:pt idx="23411">0</cx:pt>
          <cx:pt idx="23412">0</cx:pt>
          <cx:pt idx="23413">0</cx:pt>
          <cx:pt idx="23414">0</cx:pt>
          <cx:pt idx="23415">0</cx:pt>
          <cx:pt idx="23416">0</cx:pt>
          <cx:pt idx="23417">1</cx:pt>
          <cx:pt idx="23418">1</cx:pt>
          <cx:pt idx="23419">0</cx:pt>
          <cx:pt idx="23420">1</cx:pt>
          <cx:pt idx="23421">0</cx:pt>
          <cx:pt idx="23422">0</cx:pt>
          <cx:pt idx="23423">0</cx:pt>
          <cx:pt idx="23424">0</cx:pt>
          <cx:pt idx="23425">1</cx:pt>
          <cx:pt idx="23426">1</cx:pt>
          <cx:pt idx="23427">1</cx:pt>
          <cx:pt idx="23428">1</cx:pt>
          <cx:pt idx="23429">0</cx:pt>
          <cx:pt idx="23430">0</cx:pt>
          <cx:pt idx="23431">1</cx:pt>
          <cx:pt idx="23432">0</cx:pt>
          <cx:pt idx="23433">0</cx:pt>
          <cx:pt idx="23434">0</cx:pt>
          <cx:pt idx="23435">0</cx:pt>
          <cx:pt idx="23436">1</cx:pt>
          <cx:pt idx="23437">1</cx:pt>
          <cx:pt idx="23438">0</cx:pt>
          <cx:pt idx="23439">1</cx:pt>
          <cx:pt idx="23440">1</cx:pt>
          <cx:pt idx="23441">0</cx:pt>
          <cx:pt idx="23442">1</cx:pt>
          <cx:pt idx="23443">0</cx:pt>
          <cx:pt idx="23444">1</cx:pt>
          <cx:pt idx="23445">1</cx:pt>
          <cx:pt idx="23446">1</cx:pt>
          <cx:pt idx="23447">0</cx:pt>
          <cx:pt idx="23448">1</cx:pt>
          <cx:pt idx="23449">1</cx:pt>
          <cx:pt idx="23450">0</cx:pt>
          <cx:pt idx="23451">1</cx:pt>
          <cx:pt idx="23452">0</cx:pt>
          <cx:pt idx="23453">0</cx:pt>
          <cx:pt idx="23454">0</cx:pt>
          <cx:pt idx="23455">0</cx:pt>
          <cx:pt idx="23456">1</cx:pt>
          <cx:pt idx="23457">0</cx:pt>
          <cx:pt idx="23458">0</cx:pt>
          <cx:pt idx="23459">1</cx:pt>
          <cx:pt idx="23460">0</cx:pt>
          <cx:pt idx="23461">1</cx:pt>
          <cx:pt idx="23462">0</cx:pt>
          <cx:pt idx="23463">1</cx:pt>
          <cx:pt idx="23464">0</cx:pt>
          <cx:pt idx="23465">0</cx:pt>
          <cx:pt idx="23466">0</cx:pt>
          <cx:pt idx="23467">1</cx:pt>
          <cx:pt idx="23468">1</cx:pt>
          <cx:pt idx="23469">0</cx:pt>
          <cx:pt idx="23470">0</cx:pt>
          <cx:pt idx="23471">1</cx:pt>
          <cx:pt idx="23472">1</cx:pt>
          <cx:pt idx="23473">1</cx:pt>
          <cx:pt idx="23474">0</cx:pt>
          <cx:pt idx="23475">1</cx:pt>
          <cx:pt idx="23476">0</cx:pt>
          <cx:pt idx="23477">0</cx:pt>
          <cx:pt idx="23478">0</cx:pt>
          <cx:pt idx="23479">1</cx:pt>
          <cx:pt idx="23480">1</cx:pt>
          <cx:pt idx="23481">0</cx:pt>
          <cx:pt idx="23482">1</cx:pt>
          <cx:pt idx="23483">0</cx:pt>
          <cx:pt idx="23484">1</cx:pt>
          <cx:pt idx="23485">1</cx:pt>
          <cx:pt idx="23486">0</cx:pt>
          <cx:pt idx="23487">1</cx:pt>
          <cx:pt idx="23488">0</cx:pt>
          <cx:pt idx="23489">0</cx:pt>
          <cx:pt idx="23490">1</cx:pt>
          <cx:pt idx="23491">1</cx:pt>
          <cx:pt idx="23492">1</cx:pt>
          <cx:pt idx="23493">0</cx:pt>
          <cx:pt idx="23494">1</cx:pt>
          <cx:pt idx="23495">1</cx:pt>
          <cx:pt idx="23496">0</cx:pt>
          <cx:pt idx="23497">1</cx:pt>
          <cx:pt idx="23498">1</cx:pt>
          <cx:pt idx="23499">1</cx:pt>
          <cx:pt idx="23500">0</cx:pt>
          <cx:pt idx="23501">0</cx:pt>
          <cx:pt idx="23502">0</cx:pt>
          <cx:pt idx="23503">0</cx:pt>
          <cx:pt idx="23504">0</cx:pt>
          <cx:pt idx="23505">1</cx:pt>
          <cx:pt idx="23506">0</cx:pt>
          <cx:pt idx="23507">0</cx:pt>
          <cx:pt idx="23508">0</cx:pt>
          <cx:pt idx="23509">0</cx:pt>
          <cx:pt idx="23510">1</cx:pt>
          <cx:pt idx="23511">1</cx:pt>
          <cx:pt idx="23512">1</cx:pt>
          <cx:pt idx="23513">1</cx:pt>
          <cx:pt idx="23514">1</cx:pt>
          <cx:pt idx="23515">1</cx:pt>
          <cx:pt idx="23516">1</cx:pt>
          <cx:pt idx="23517">0</cx:pt>
          <cx:pt idx="23518">0</cx:pt>
          <cx:pt idx="23519">0</cx:pt>
          <cx:pt idx="23520">0</cx:pt>
          <cx:pt idx="23521">1</cx:pt>
          <cx:pt idx="23522">0</cx:pt>
          <cx:pt idx="23523">0</cx:pt>
          <cx:pt idx="23524">1</cx:pt>
          <cx:pt idx="23525">0</cx:pt>
          <cx:pt idx="23526">0</cx:pt>
          <cx:pt idx="23527">1</cx:pt>
          <cx:pt idx="23528">0</cx:pt>
          <cx:pt idx="23529">0</cx:pt>
          <cx:pt idx="23530">0</cx:pt>
          <cx:pt idx="23531">0</cx:pt>
          <cx:pt idx="23532">1</cx:pt>
          <cx:pt idx="23533">1</cx:pt>
          <cx:pt idx="23534">1</cx:pt>
          <cx:pt idx="23535">1</cx:pt>
          <cx:pt idx="23536">1</cx:pt>
          <cx:pt idx="23537">1</cx:pt>
          <cx:pt idx="23538">1</cx:pt>
          <cx:pt idx="23539">1</cx:pt>
          <cx:pt idx="23540">1</cx:pt>
          <cx:pt idx="23541">0</cx:pt>
          <cx:pt idx="23542">0</cx:pt>
          <cx:pt idx="23543">0</cx:pt>
          <cx:pt idx="23544">1</cx:pt>
          <cx:pt idx="23545">0</cx:pt>
          <cx:pt idx="23546">0</cx:pt>
          <cx:pt idx="23547">0</cx:pt>
          <cx:pt idx="23548">0</cx:pt>
          <cx:pt idx="23549">0</cx:pt>
          <cx:pt idx="23550">1</cx:pt>
          <cx:pt idx="23551">0</cx:pt>
          <cx:pt idx="23552">0</cx:pt>
          <cx:pt idx="23553">0</cx:pt>
          <cx:pt idx="23554">0</cx:pt>
          <cx:pt idx="23555">1</cx:pt>
          <cx:pt idx="23556">0</cx:pt>
          <cx:pt idx="23557">1</cx:pt>
          <cx:pt idx="23558">0</cx:pt>
          <cx:pt idx="23559">0</cx:pt>
          <cx:pt idx="23560">0</cx:pt>
          <cx:pt idx="23561">0</cx:pt>
          <cx:pt idx="23562">0</cx:pt>
          <cx:pt idx="23563">1</cx:pt>
          <cx:pt idx="23564">1</cx:pt>
          <cx:pt idx="23565">1</cx:pt>
          <cx:pt idx="23566">0</cx:pt>
          <cx:pt idx="23567">0</cx:pt>
          <cx:pt idx="23568">1</cx:pt>
          <cx:pt idx="23569">1</cx:pt>
          <cx:pt idx="23570">0</cx:pt>
          <cx:pt idx="23571">0</cx:pt>
          <cx:pt idx="23572">0</cx:pt>
          <cx:pt idx="23573">1</cx:pt>
          <cx:pt idx="23574">0</cx:pt>
          <cx:pt idx="23575">0</cx:pt>
          <cx:pt idx="23576">0</cx:pt>
          <cx:pt idx="23577">0</cx:pt>
          <cx:pt idx="23578">1</cx:pt>
          <cx:pt idx="23579">1</cx:pt>
          <cx:pt idx="23580">0</cx:pt>
          <cx:pt idx="23581">1</cx:pt>
          <cx:pt idx="23582">0</cx:pt>
          <cx:pt idx="23583">1</cx:pt>
          <cx:pt idx="23584">1</cx:pt>
          <cx:pt idx="23585">0</cx:pt>
          <cx:pt idx="23586">1</cx:pt>
          <cx:pt idx="23587">1</cx:pt>
          <cx:pt idx="23588">0</cx:pt>
          <cx:pt idx="23589">0</cx:pt>
          <cx:pt idx="23590">1</cx:pt>
          <cx:pt idx="23591">0</cx:pt>
          <cx:pt idx="23592">0</cx:pt>
          <cx:pt idx="23593">0</cx:pt>
          <cx:pt idx="23594">0</cx:pt>
          <cx:pt idx="23595">1</cx:pt>
          <cx:pt idx="23596">1</cx:pt>
          <cx:pt idx="23597">1</cx:pt>
          <cx:pt idx="23598">1</cx:pt>
          <cx:pt idx="23599">1</cx:pt>
          <cx:pt idx="23600">0</cx:pt>
          <cx:pt idx="23601">1</cx:pt>
          <cx:pt idx="23602">0</cx:pt>
          <cx:pt idx="23603">0</cx:pt>
          <cx:pt idx="23604">0</cx:pt>
          <cx:pt idx="23605">1</cx:pt>
          <cx:pt idx="23606">1</cx:pt>
          <cx:pt idx="23607">1</cx:pt>
          <cx:pt idx="23608">0</cx:pt>
          <cx:pt idx="23609">1</cx:pt>
          <cx:pt idx="23610">1</cx:pt>
          <cx:pt idx="23611">0</cx:pt>
          <cx:pt idx="23612">0</cx:pt>
          <cx:pt idx="23613">1</cx:pt>
          <cx:pt idx="23614">1</cx:pt>
          <cx:pt idx="23615">1</cx:pt>
          <cx:pt idx="23616">0</cx:pt>
          <cx:pt idx="23617">0</cx:pt>
          <cx:pt idx="23618">0</cx:pt>
          <cx:pt idx="23619">1</cx:pt>
          <cx:pt idx="23620">1</cx:pt>
          <cx:pt idx="23621">1</cx:pt>
          <cx:pt idx="23622">0</cx:pt>
          <cx:pt idx="23623">0</cx:pt>
          <cx:pt idx="23624">1</cx:pt>
          <cx:pt idx="23625">0</cx:pt>
          <cx:pt idx="23626">0</cx:pt>
          <cx:pt idx="23627">1</cx:pt>
          <cx:pt idx="23628">0</cx:pt>
          <cx:pt idx="23629">1</cx:pt>
          <cx:pt idx="23630">1</cx:pt>
          <cx:pt idx="23631">1</cx:pt>
          <cx:pt idx="23632">0</cx:pt>
          <cx:pt idx="23633">0</cx:pt>
          <cx:pt idx="23634">1</cx:pt>
          <cx:pt idx="23635">0</cx:pt>
          <cx:pt idx="23636">0</cx:pt>
          <cx:pt idx="23637">0</cx:pt>
          <cx:pt idx="23638">0</cx:pt>
          <cx:pt idx="23639">1</cx:pt>
          <cx:pt idx="23640">0</cx:pt>
          <cx:pt idx="23641">1</cx:pt>
          <cx:pt idx="23642">0</cx:pt>
          <cx:pt idx="23643">0</cx:pt>
          <cx:pt idx="23644">0</cx:pt>
          <cx:pt idx="23645">1</cx:pt>
          <cx:pt idx="23646">1</cx:pt>
          <cx:pt idx="23647">1</cx:pt>
          <cx:pt idx="23648">1</cx:pt>
          <cx:pt idx="23649">1</cx:pt>
          <cx:pt idx="23650">1</cx:pt>
          <cx:pt idx="23651">1</cx:pt>
          <cx:pt idx="23652">1</cx:pt>
          <cx:pt idx="23653">0</cx:pt>
          <cx:pt idx="23654">0</cx:pt>
          <cx:pt idx="23655">1</cx:pt>
          <cx:pt idx="23656">1</cx:pt>
          <cx:pt idx="23657">0</cx:pt>
          <cx:pt idx="23658">0</cx:pt>
          <cx:pt idx="23659">1</cx:pt>
          <cx:pt idx="23660">0</cx:pt>
          <cx:pt idx="23661">1</cx:pt>
          <cx:pt idx="23662">0</cx:pt>
          <cx:pt idx="23663">0</cx:pt>
          <cx:pt idx="23664">1</cx:pt>
          <cx:pt idx="23665">1</cx:pt>
          <cx:pt idx="23666">0</cx:pt>
          <cx:pt idx="23667">0</cx:pt>
          <cx:pt idx="23668">0</cx:pt>
          <cx:pt idx="23669">1</cx:pt>
          <cx:pt idx="23670">1</cx:pt>
          <cx:pt idx="23671">1</cx:pt>
          <cx:pt idx="23672">0</cx:pt>
          <cx:pt idx="23673">1</cx:pt>
          <cx:pt idx="23674">0</cx:pt>
          <cx:pt idx="23675">1</cx:pt>
          <cx:pt idx="23676">1</cx:pt>
          <cx:pt idx="23677">0</cx:pt>
          <cx:pt idx="23678">1</cx:pt>
          <cx:pt idx="23679">0</cx:pt>
          <cx:pt idx="23680">0</cx:pt>
          <cx:pt idx="23681">0</cx:pt>
          <cx:pt idx="23682">0</cx:pt>
          <cx:pt idx="23683">1</cx:pt>
          <cx:pt idx="23684">1</cx:pt>
          <cx:pt idx="23685">1</cx:pt>
          <cx:pt idx="23686">0</cx:pt>
          <cx:pt idx="23687">0</cx:pt>
          <cx:pt idx="23688">0</cx:pt>
          <cx:pt idx="23689">1</cx:pt>
          <cx:pt idx="23690">1</cx:pt>
          <cx:pt idx="23691">1</cx:pt>
          <cx:pt idx="23692">0</cx:pt>
          <cx:pt idx="23693">0</cx:pt>
          <cx:pt idx="23694">0</cx:pt>
          <cx:pt idx="23695">0</cx:pt>
          <cx:pt idx="23696">1</cx:pt>
          <cx:pt idx="23697">0</cx:pt>
          <cx:pt idx="23698">1</cx:pt>
          <cx:pt idx="23699">0</cx:pt>
          <cx:pt idx="23700">1</cx:pt>
          <cx:pt idx="23701">1</cx:pt>
          <cx:pt idx="23702">0</cx:pt>
          <cx:pt idx="23703">1</cx:pt>
          <cx:pt idx="23704">0</cx:pt>
          <cx:pt idx="23705">0</cx:pt>
          <cx:pt idx="23706">0</cx:pt>
          <cx:pt idx="23707">1</cx:pt>
          <cx:pt idx="23708">0</cx:pt>
          <cx:pt idx="23709">1</cx:pt>
          <cx:pt idx="23710">1</cx:pt>
          <cx:pt idx="23711">1</cx:pt>
          <cx:pt idx="23712">0</cx:pt>
          <cx:pt idx="23713">1</cx:pt>
          <cx:pt idx="23714">0</cx:pt>
          <cx:pt idx="23715">0</cx:pt>
          <cx:pt idx="23716">1</cx:pt>
          <cx:pt idx="23717">1</cx:pt>
          <cx:pt idx="23718">1</cx:pt>
          <cx:pt idx="23719">1</cx:pt>
          <cx:pt idx="23720">1</cx:pt>
          <cx:pt idx="23721">1</cx:pt>
          <cx:pt idx="23722">1</cx:pt>
          <cx:pt idx="23723">1</cx:pt>
          <cx:pt idx="23724">1</cx:pt>
          <cx:pt idx="23725">0</cx:pt>
          <cx:pt idx="23726">1</cx:pt>
          <cx:pt idx="23727">0</cx:pt>
          <cx:pt idx="23728">0</cx:pt>
          <cx:pt idx="23729">1</cx:pt>
          <cx:pt idx="23730">0</cx:pt>
          <cx:pt idx="23731">0</cx:pt>
          <cx:pt idx="23732">0</cx:pt>
          <cx:pt idx="23733">1</cx:pt>
          <cx:pt idx="23734">0</cx:pt>
          <cx:pt idx="23735">1</cx:pt>
          <cx:pt idx="23736">0</cx:pt>
          <cx:pt idx="23737">0</cx:pt>
          <cx:pt idx="23738">1</cx:pt>
          <cx:pt idx="23739">0</cx:pt>
          <cx:pt idx="23740">0</cx:pt>
          <cx:pt idx="23741">1</cx:pt>
          <cx:pt idx="23742">1</cx:pt>
          <cx:pt idx="23743">1</cx:pt>
          <cx:pt idx="23744">1</cx:pt>
          <cx:pt idx="23745">0</cx:pt>
          <cx:pt idx="23746">1</cx:pt>
          <cx:pt idx="23747">0</cx:pt>
          <cx:pt idx="23748">0</cx:pt>
          <cx:pt idx="23749">0</cx:pt>
          <cx:pt idx="23750">1</cx:pt>
          <cx:pt idx="23751">1</cx:pt>
          <cx:pt idx="23752">1</cx:pt>
          <cx:pt idx="23753">1</cx:pt>
          <cx:pt idx="23754">1</cx:pt>
          <cx:pt idx="23755">0</cx:pt>
          <cx:pt idx="23756">1</cx:pt>
          <cx:pt idx="23757">1</cx:pt>
          <cx:pt idx="23758">1</cx:pt>
          <cx:pt idx="23759">1</cx:pt>
          <cx:pt idx="23760">0</cx:pt>
          <cx:pt idx="23761">0</cx:pt>
          <cx:pt idx="23762">0</cx:pt>
          <cx:pt idx="23763">0</cx:pt>
          <cx:pt idx="23764">1</cx:pt>
          <cx:pt idx="23765">1</cx:pt>
          <cx:pt idx="23766">1</cx:pt>
          <cx:pt idx="23767">0</cx:pt>
          <cx:pt idx="23768">1</cx:pt>
          <cx:pt idx="23769">1</cx:pt>
          <cx:pt idx="23770">0</cx:pt>
          <cx:pt idx="23771">1</cx:pt>
          <cx:pt idx="23772">0</cx:pt>
          <cx:pt idx="23773">0</cx:pt>
          <cx:pt idx="23774">1</cx:pt>
          <cx:pt idx="23775">0</cx:pt>
          <cx:pt idx="23776">1</cx:pt>
          <cx:pt idx="23777">0</cx:pt>
          <cx:pt idx="23778">0</cx:pt>
          <cx:pt idx="23779">0</cx:pt>
          <cx:pt idx="23780">1</cx:pt>
          <cx:pt idx="23781">0</cx:pt>
          <cx:pt idx="23782">1</cx:pt>
          <cx:pt idx="23783">0</cx:pt>
          <cx:pt idx="23784">1</cx:pt>
          <cx:pt idx="23785">1</cx:pt>
          <cx:pt idx="23786">1</cx:pt>
          <cx:pt idx="23787">1</cx:pt>
          <cx:pt idx="23788">0</cx:pt>
          <cx:pt idx="23789">0</cx:pt>
          <cx:pt idx="23790">1</cx:pt>
          <cx:pt idx="23791">1</cx:pt>
          <cx:pt idx="23792">0</cx:pt>
          <cx:pt idx="23793">0</cx:pt>
          <cx:pt idx="23794">0</cx:pt>
          <cx:pt idx="23795">1</cx:pt>
          <cx:pt idx="23796">0</cx:pt>
          <cx:pt idx="23797">1</cx:pt>
          <cx:pt idx="23798">1</cx:pt>
          <cx:pt idx="23799">1</cx:pt>
          <cx:pt idx="23800">0</cx:pt>
          <cx:pt idx="23801">1</cx:pt>
          <cx:pt idx="23802">1</cx:pt>
          <cx:pt idx="23803">1</cx:pt>
          <cx:pt idx="23804">0</cx:pt>
          <cx:pt idx="23805">0</cx:pt>
          <cx:pt idx="23806">0</cx:pt>
          <cx:pt idx="23807">0</cx:pt>
          <cx:pt idx="23808">0</cx:pt>
          <cx:pt idx="23809">0</cx:pt>
          <cx:pt idx="23810">0</cx:pt>
          <cx:pt idx="23811">0</cx:pt>
          <cx:pt idx="23812">1</cx:pt>
          <cx:pt idx="23813">1</cx:pt>
          <cx:pt idx="23814">1</cx:pt>
          <cx:pt idx="23815">0</cx:pt>
          <cx:pt idx="23816">0</cx:pt>
          <cx:pt idx="23817">0</cx:pt>
          <cx:pt idx="23818">0</cx:pt>
          <cx:pt idx="23819">1</cx:pt>
          <cx:pt idx="23820">1</cx:pt>
          <cx:pt idx="23821">0</cx:pt>
          <cx:pt idx="23822">0</cx:pt>
          <cx:pt idx="23823">0</cx:pt>
          <cx:pt idx="23824">0</cx:pt>
          <cx:pt idx="23825">1</cx:pt>
          <cx:pt idx="23826">1</cx:pt>
          <cx:pt idx="23827">0</cx:pt>
          <cx:pt idx="23828">1</cx:pt>
          <cx:pt idx="23829">0</cx:pt>
          <cx:pt idx="23830">0</cx:pt>
          <cx:pt idx="23831">1</cx:pt>
          <cx:pt idx="23832">1</cx:pt>
          <cx:pt idx="23833">0</cx:pt>
          <cx:pt idx="23834">0</cx:pt>
          <cx:pt idx="23835">1</cx:pt>
          <cx:pt idx="23836">1</cx:pt>
          <cx:pt idx="23837">1</cx:pt>
          <cx:pt idx="23838">0</cx:pt>
          <cx:pt idx="23839">1</cx:pt>
          <cx:pt idx="23840">0</cx:pt>
          <cx:pt idx="23841">1</cx:pt>
          <cx:pt idx="23842">1</cx:pt>
          <cx:pt idx="23843">1</cx:pt>
          <cx:pt idx="23844">0</cx:pt>
          <cx:pt idx="23845">1</cx:pt>
          <cx:pt idx="23846">1</cx:pt>
          <cx:pt idx="23847">0</cx:pt>
          <cx:pt idx="23848">1</cx:pt>
          <cx:pt idx="23849">1</cx:pt>
          <cx:pt idx="23850">1</cx:pt>
          <cx:pt idx="23851">0</cx:pt>
          <cx:pt idx="23852">0</cx:pt>
          <cx:pt idx="23853">1</cx:pt>
          <cx:pt idx="23854">0</cx:pt>
          <cx:pt idx="23855">1</cx:pt>
          <cx:pt idx="23856">1</cx:pt>
          <cx:pt idx="23857">1</cx:pt>
          <cx:pt idx="23858">0</cx:pt>
          <cx:pt idx="23859">0</cx:pt>
          <cx:pt idx="23860">0</cx:pt>
          <cx:pt idx="23861">0</cx:pt>
          <cx:pt idx="23862">0</cx:pt>
          <cx:pt idx="23863">1</cx:pt>
          <cx:pt idx="23864">1</cx:pt>
          <cx:pt idx="23865">0</cx:pt>
          <cx:pt idx="23866">0</cx:pt>
          <cx:pt idx="23867">0</cx:pt>
          <cx:pt idx="23868">1</cx:pt>
          <cx:pt idx="23869">1</cx:pt>
          <cx:pt idx="23870">1</cx:pt>
          <cx:pt idx="23871">1</cx:pt>
          <cx:pt idx="23872">1</cx:pt>
          <cx:pt idx="23873">1</cx:pt>
          <cx:pt idx="23874">0</cx:pt>
          <cx:pt idx="23875">0</cx:pt>
          <cx:pt idx="23876">1</cx:pt>
          <cx:pt idx="23877">0</cx:pt>
          <cx:pt idx="23878">0</cx:pt>
          <cx:pt idx="23879">0</cx:pt>
          <cx:pt idx="23880">1</cx:pt>
          <cx:pt idx="23881">0</cx:pt>
          <cx:pt idx="23882">1</cx:pt>
          <cx:pt idx="23883">0</cx:pt>
          <cx:pt idx="23884">0</cx:pt>
          <cx:pt idx="23885">1</cx:pt>
          <cx:pt idx="23886">0</cx:pt>
          <cx:pt idx="23887">1</cx:pt>
          <cx:pt idx="23888">0</cx:pt>
          <cx:pt idx="23889">1</cx:pt>
          <cx:pt idx="23890">1</cx:pt>
          <cx:pt idx="23891">1</cx:pt>
          <cx:pt idx="23892">1</cx:pt>
          <cx:pt idx="23893">1</cx:pt>
          <cx:pt idx="23894">0</cx:pt>
          <cx:pt idx="23895">0</cx:pt>
          <cx:pt idx="23896">1</cx:pt>
          <cx:pt idx="23897">1</cx:pt>
          <cx:pt idx="23898">0</cx:pt>
          <cx:pt idx="23899">0</cx:pt>
          <cx:pt idx="23900">0</cx:pt>
          <cx:pt idx="23901">0</cx:pt>
          <cx:pt idx="23902">1</cx:pt>
          <cx:pt idx="23903">0</cx:pt>
          <cx:pt idx="23904">0</cx:pt>
          <cx:pt idx="23905">1</cx:pt>
          <cx:pt idx="23906">1</cx:pt>
          <cx:pt idx="23907">0</cx:pt>
          <cx:pt idx="23908">1</cx:pt>
          <cx:pt idx="23909">0</cx:pt>
          <cx:pt idx="23910">1</cx:pt>
          <cx:pt idx="23911">0</cx:pt>
          <cx:pt idx="23912">0</cx:pt>
          <cx:pt idx="23913">1</cx:pt>
          <cx:pt idx="23914">1</cx:pt>
          <cx:pt idx="23915">0</cx:pt>
          <cx:pt idx="23916">0</cx:pt>
          <cx:pt idx="23917">0</cx:pt>
          <cx:pt idx="23918">0</cx:pt>
          <cx:pt idx="23919">1</cx:pt>
          <cx:pt idx="23920">1</cx:pt>
          <cx:pt idx="23921">0</cx:pt>
          <cx:pt idx="23922">0</cx:pt>
          <cx:pt idx="23923">0</cx:pt>
          <cx:pt idx="23924">0</cx:pt>
          <cx:pt idx="23925">1</cx:pt>
          <cx:pt idx="23926">1</cx:pt>
          <cx:pt idx="23927">1</cx:pt>
          <cx:pt idx="23928">0</cx:pt>
          <cx:pt idx="23929">1</cx:pt>
          <cx:pt idx="23930">1</cx:pt>
          <cx:pt idx="23931">1</cx:pt>
          <cx:pt idx="23932">0</cx:pt>
          <cx:pt idx="23933">0</cx:pt>
          <cx:pt idx="23934">1</cx:pt>
          <cx:pt idx="23935">0</cx:pt>
          <cx:pt idx="23936">1</cx:pt>
          <cx:pt idx="23937">0</cx:pt>
          <cx:pt idx="23938">0</cx:pt>
          <cx:pt idx="23939">0</cx:pt>
          <cx:pt idx="23940">0</cx:pt>
          <cx:pt idx="23941">0</cx:pt>
          <cx:pt idx="23942">1</cx:pt>
          <cx:pt idx="23943">0</cx:pt>
          <cx:pt idx="23944">1</cx:pt>
          <cx:pt idx="23945">0</cx:pt>
          <cx:pt idx="23946">1</cx:pt>
          <cx:pt idx="23947">0</cx:pt>
          <cx:pt idx="23948">1</cx:pt>
          <cx:pt idx="23949">0</cx:pt>
          <cx:pt idx="23950">1</cx:pt>
          <cx:pt idx="23951">1</cx:pt>
          <cx:pt idx="23952">0</cx:pt>
          <cx:pt idx="23953">0</cx:pt>
          <cx:pt idx="23954">0</cx:pt>
          <cx:pt idx="23955">1</cx:pt>
          <cx:pt idx="23956">0</cx:pt>
          <cx:pt idx="23957">0</cx:pt>
          <cx:pt idx="23958">0</cx:pt>
          <cx:pt idx="23959">0</cx:pt>
          <cx:pt idx="23960">0</cx:pt>
          <cx:pt idx="23961">0</cx:pt>
          <cx:pt idx="23962">0</cx:pt>
          <cx:pt idx="23963">1</cx:pt>
          <cx:pt idx="23964">0</cx:pt>
          <cx:pt idx="23965">0</cx:pt>
          <cx:pt idx="23966">0</cx:pt>
          <cx:pt idx="23967">0</cx:pt>
          <cx:pt idx="23968">1</cx:pt>
          <cx:pt idx="23969">1</cx:pt>
          <cx:pt idx="23970">1</cx:pt>
          <cx:pt idx="23971">0</cx:pt>
          <cx:pt idx="23972">1</cx:pt>
          <cx:pt idx="23973">1</cx:pt>
          <cx:pt idx="23974">1</cx:pt>
          <cx:pt idx="23975">0</cx:pt>
          <cx:pt idx="23976">0</cx:pt>
          <cx:pt idx="23977">1</cx:pt>
          <cx:pt idx="23978">0</cx:pt>
          <cx:pt idx="23979">0</cx:pt>
          <cx:pt idx="23980">1</cx:pt>
          <cx:pt idx="23981">0</cx:pt>
          <cx:pt idx="23982">1</cx:pt>
          <cx:pt idx="23983">1</cx:pt>
          <cx:pt idx="23984">1</cx:pt>
          <cx:pt idx="23985">0</cx:pt>
          <cx:pt idx="23986">0</cx:pt>
          <cx:pt idx="23987">1</cx:pt>
          <cx:pt idx="23988">0</cx:pt>
          <cx:pt idx="23989">0</cx:pt>
          <cx:pt idx="23990">1</cx:pt>
          <cx:pt idx="23991">0</cx:pt>
          <cx:pt idx="23992">1</cx:pt>
          <cx:pt idx="23993">0</cx:pt>
          <cx:pt idx="23994">1</cx:pt>
          <cx:pt idx="23995">1</cx:pt>
          <cx:pt idx="23996">1</cx:pt>
          <cx:pt idx="23997">0</cx:pt>
          <cx:pt idx="23998">0</cx:pt>
          <cx:pt idx="23999">0</cx:pt>
          <cx:pt idx="24000">0</cx:pt>
          <cx:pt idx="24001">0</cx:pt>
          <cx:pt idx="24002">1</cx:pt>
          <cx:pt idx="24003">1</cx:pt>
          <cx:pt idx="24004">1</cx:pt>
          <cx:pt idx="24005">0</cx:pt>
          <cx:pt idx="24006">1</cx:pt>
          <cx:pt idx="24007">0</cx:pt>
          <cx:pt idx="24008">0</cx:pt>
          <cx:pt idx="24009">1</cx:pt>
          <cx:pt idx="24010">0</cx:pt>
          <cx:pt idx="24011">0</cx:pt>
          <cx:pt idx="24012">0</cx:pt>
          <cx:pt idx="24013">0</cx:pt>
          <cx:pt idx="24014">1</cx:pt>
          <cx:pt idx="24015">0</cx:pt>
          <cx:pt idx="24016">1</cx:pt>
          <cx:pt idx="24017">1</cx:pt>
          <cx:pt idx="24018">0</cx:pt>
          <cx:pt idx="24019">0</cx:pt>
          <cx:pt idx="24020">0</cx:pt>
          <cx:pt idx="24021">0</cx:pt>
          <cx:pt idx="24022">1</cx:pt>
          <cx:pt idx="24023">0</cx:pt>
          <cx:pt idx="24024">1</cx:pt>
          <cx:pt idx="24025">1</cx:pt>
          <cx:pt idx="24026">0</cx:pt>
          <cx:pt idx="24027">0</cx:pt>
          <cx:pt idx="24028">0</cx:pt>
          <cx:pt idx="24029">0</cx:pt>
          <cx:pt idx="24030">0</cx:pt>
          <cx:pt idx="24031">0</cx:pt>
          <cx:pt idx="24032">1</cx:pt>
          <cx:pt idx="24033">0</cx:pt>
          <cx:pt idx="24034">1</cx:pt>
          <cx:pt idx="24035">0</cx:pt>
          <cx:pt idx="24036">1</cx:pt>
          <cx:pt idx="24037">0</cx:pt>
          <cx:pt idx="24038">1</cx:pt>
          <cx:pt idx="24039">0</cx:pt>
          <cx:pt idx="24040">0</cx:pt>
          <cx:pt idx="24041">0</cx:pt>
          <cx:pt idx="24042">0</cx:pt>
          <cx:pt idx="24043">1</cx:pt>
          <cx:pt idx="24044">0</cx:pt>
          <cx:pt idx="24045">1</cx:pt>
          <cx:pt idx="24046">1</cx:pt>
          <cx:pt idx="24047">1</cx:pt>
          <cx:pt idx="24048">1</cx:pt>
          <cx:pt idx="24049">0</cx:pt>
          <cx:pt idx="24050">0</cx:pt>
          <cx:pt idx="24051">1</cx:pt>
          <cx:pt idx="24052">1</cx:pt>
          <cx:pt idx="24053">1</cx:pt>
          <cx:pt idx="24054">1</cx:pt>
          <cx:pt idx="24055">1</cx:pt>
          <cx:pt idx="24056">0</cx:pt>
          <cx:pt idx="24057">1</cx:pt>
          <cx:pt idx="24058">0</cx:pt>
          <cx:pt idx="24059">0</cx:pt>
          <cx:pt idx="24060">0</cx:pt>
          <cx:pt idx="24061">1</cx:pt>
          <cx:pt idx="24062">1</cx:pt>
          <cx:pt idx="24063">1</cx:pt>
          <cx:pt idx="24064">0</cx:pt>
          <cx:pt idx="24065">1</cx:pt>
          <cx:pt idx="24066">1</cx:pt>
          <cx:pt idx="24067">0</cx:pt>
          <cx:pt idx="24068">1</cx:pt>
          <cx:pt idx="24069">1</cx:pt>
          <cx:pt idx="24070">0</cx:pt>
          <cx:pt idx="24071">0</cx:pt>
          <cx:pt idx="24072">1</cx:pt>
          <cx:pt idx="24073">0</cx:pt>
          <cx:pt idx="24074">1</cx:pt>
          <cx:pt idx="24075">0</cx:pt>
          <cx:pt idx="24076">0</cx:pt>
          <cx:pt idx="24077">0</cx:pt>
          <cx:pt idx="24078">0</cx:pt>
          <cx:pt idx="24079">0</cx:pt>
          <cx:pt idx="24080">0</cx:pt>
          <cx:pt idx="24081">0</cx:pt>
          <cx:pt idx="24082">0</cx:pt>
          <cx:pt idx="24083">0</cx:pt>
          <cx:pt idx="24084">1</cx:pt>
          <cx:pt idx="24085">0</cx:pt>
          <cx:pt idx="24086">0</cx:pt>
          <cx:pt idx="24087">1</cx:pt>
          <cx:pt idx="24088">0</cx:pt>
          <cx:pt idx="24089">0</cx:pt>
          <cx:pt idx="24090">0</cx:pt>
          <cx:pt idx="24091">1</cx:pt>
          <cx:pt idx="24092">0</cx:pt>
          <cx:pt idx="24093">1</cx:pt>
          <cx:pt idx="24094">1</cx:pt>
          <cx:pt idx="24095">0</cx:pt>
          <cx:pt idx="24096">0</cx:pt>
          <cx:pt idx="24097">1</cx:pt>
          <cx:pt idx="24098">1</cx:pt>
          <cx:pt idx="24099">1</cx:pt>
          <cx:pt idx="24100">0</cx:pt>
          <cx:pt idx="24101">1</cx:pt>
          <cx:pt idx="24102">0</cx:pt>
          <cx:pt idx="24103">0</cx:pt>
          <cx:pt idx="24104">1</cx:pt>
          <cx:pt idx="24105">0</cx:pt>
          <cx:pt idx="24106">1</cx:pt>
          <cx:pt idx="24107">0</cx:pt>
          <cx:pt idx="24108">1</cx:pt>
          <cx:pt idx="24109">0</cx:pt>
          <cx:pt idx="24110">0</cx:pt>
          <cx:pt idx="24111">1</cx:pt>
          <cx:pt idx="24112">0</cx:pt>
          <cx:pt idx="24113">0</cx:pt>
          <cx:pt idx="24114">1</cx:pt>
          <cx:pt idx="24115">0</cx:pt>
          <cx:pt idx="24116">0</cx:pt>
          <cx:pt idx="24117">0</cx:pt>
          <cx:pt idx="24118">1</cx:pt>
          <cx:pt idx="24119">1</cx:pt>
          <cx:pt idx="24120">0</cx:pt>
          <cx:pt idx="24121">0</cx:pt>
          <cx:pt idx="24122">1</cx:pt>
          <cx:pt idx="24123">0</cx:pt>
          <cx:pt idx="24124">1</cx:pt>
          <cx:pt idx="24125">1</cx:pt>
          <cx:pt idx="24126">0</cx:pt>
          <cx:pt idx="24127">1</cx:pt>
          <cx:pt idx="24128">1</cx:pt>
          <cx:pt idx="24129">0</cx:pt>
          <cx:pt idx="24130">1</cx:pt>
          <cx:pt idx="24131">0</cx:pt>
          <cx:pt idx="24132">1</cx:pt>
          <cx:pt idx="24133">0</cx:pt>
          <cx:pt idx="24134">0</cx:pt>
          <cx:pt idx="24135">0</cx:pt>
          <cx:pt idx="24136">1</cx:pt>
          <cx:pt idx="24137">0</cx:pt>
          <cx:pt idx="24138">1</cx:pt>
          <cx:pt idx="24139">0</cx:pt>
          <cx:pt idx="24140">0</cx:pt>
          <cx:pt idx="24141">1</cx:pt>
          <cx:pt idx="24142">1</cx:pt>
          <cx:pt idx="24143">0</cx:pt>
          <cx:pt idx="24144">0</cx:pt>
          <cx:pt idx="24145">0</cx:pt>
          <cx:pt idx="24146">1</cx:pt>
          <cx:pt idx="24147">1</cx:pt>
          <cx:pt idx="24148">1</cx:pt>
          <cx:pt idx="24149">0</cx:pt>
          <cx:pt idx="24150">0</cx:pt>
          <cx:pt idx="24151">0</cx:pt>
          <cx:pt idx="24152">1</cx:pt>
          <cx:pt idx="24153">0</cx:pt>
          <cx:pt idx="24154">1</cx:pt>
          <cx:pt idx="24155">1</cx:pt>
          <cx:pt idx="24156">0</cx:pt>
          <cx:pt idx="24157">0</cx:pt>
          <cx:pt idx="24158">0</cx:pt>
          <cx:pt idx="24159">1</cx:pt>
          <cx:pt idx="24160">1</cx:pt>
          <cx:pt idx="24161">1</cx:pt>
          <cx:pt idx="24162">0</cx:pt>
          <cx:pt idx="24163">0</cx:pt>
          <cx:pt idx="24164">0</cx:pt>
          <cx:pt idx="24165">0</cx:pt>
          <cx:pt idx="24166">0</cx:pt>
          <cx:pt idx="24167">0</cx:pt>
          <cx:pt idx="24168">0</cx:pt>
          <cx:pt idx="24169">1</cx:pt>
          <cx:pt idx="24170">0</cx:pt>
          <cx:pt idx="24171">0</cx:pt>
          <cx:pt idx="24172">0</cx:pt>
          <cx:pt idx="24173">1</cx:pt>
          <cx:pt idx="24174">0</cx:pt>
          <cx:pt idx="24175">0</cx:pt>
          <cx:pt idx="24176">1</cx:pt>
          <cx:pt idx="24177">0</cx:pt>
          <cx:pt idx="24178">1</cx:pt>
          <cx:pt idx="24179">0</cx:pt>
          <cx:pt idx="24180">1</cx:pt>
          <cx:pt idx="24181">1</cx:pt>
          <cx:pt idx="24182">0</cx:pt>
          <cx:pt idx="24183">0</cx:pt>
          <cx:pt idx="24184">1</cx:pt>
          <cx:pt idx="24185">1</cx:pt>
          <cx:pt idx="24186">0</cx:pt>
          <cx:pt idx="24187">1</cx:pt>
          <cx:pt idx="24188">1</cx:pt>
          <cx:pt idx="24189">0</cx:pt>
          <cx:pt idx="24190">1</cx:pt>
          <cx:pt idx="24191">1</cx:pt>
          <cx:pt idx="24192">1</cx:pt>
          <cx:pt idx="24193">0</cx:pt>
          <cx:pt idx="24194">1</cx:pt>
          <cx:pt idx="24195">0</cx:pt>
          <cx:pt idx="24196">0</cx:pt>
          <cx:pt idx="24197">0</cx:pt>
          <cx:pt idx="24198">0</cx:pt>
          <cx:pt idx="24199">0</cx:pt>
          <cx:pt idx="24200">0</cx:pt>
          <cx:pt idx="24201">1</cx:pt>
          <cx:pt idx="24202">1</cx:pt>
          <cx:pt idx="24203">0</cx:pt>
          <cx:pt idx="24204">0</cx:pt>
          <cx:pt idx="24205">0</cx:pt>
          <cx:pt idx="24206">1</cx:pt>
          <cx:pt idx="24207">1</cx:pt>
          <cx:pt idx="24208">1</cx:pt>
          <cx:pt idx="24209">0</cx:pt>
          <cx:pt idx="24210">0</cx:pt>
          <cx:pt idx="24211">1</cx:pt>
          <cx:pt idx="24212">1</cx:pt>
          <cx:pt idx="24213">0</cx:pt>
          <cx:pt idx="24214">1</cx:pt>
          <cx:pt idx="24215">0</cx:pt>
          <cx:pt idx="24216">1</cx:pt>
          <cx:pt idx="24217">0</cx:pt>
          <cx:pt idx="24218">0</cx:pt>
          <cx:pt idx="24219">0</cx:pt>
          <cx:pt idx="24220">1</cx:pt>
          <cx:pt idx="24221">1</cx:pt>
          <cx:pt idx="24222">0</cx:pt>
          <cx:pt idx="24223">0</cx:pt>
          <cx:pt idx="24224">1</cx:pt>
          <cx:pt idx="24225">0</cx:pt>
          <cx:pt idx="24226">0</cx:pt>
          <cx:pt idx="24227">1</cx:pt>
          <cx:pt idx="24228">0</cx:pt>
          <cx:pt idx="24229">0</cx:pt>
          <cx:pt idx="24230">0</cx:pt>
          <cx:pt idx="24231">1</cx:pt>
          <cx:pt idx="24232">0</cx:pt>
          <cx:pt idx="24233">1</cx:pt>
          <cx:pt idx="24234">1</cx:pt>
          <cx:pt idx="24235">1</cx:pt>
          <cx:pt idx="24236">1</cx:pt>
          <cx:pt idx="24237">0</cx:pt>
          <cx:pt idx="24238">0</cx:pt>
          <cx:pt idx="24239">0</cx:pt>
          <cx:pt idx="24240">1</cx:pt>
          <cx:pt idx="24241">0</cx:pt>
          <cx:pt idx="24242">0</cx:pt>
          <cx:pt idx="24243">0</cx:pt>
          <cx:pt idx="24244">1</cx:pt>
          <cx:pt idx="24245">0</cx:pt>
          <cx:pt idx="24246">0</cx:pt>
          <cx:pt idx="24247">0</cx:pt>
          <cx:pt idx="24248">0</cx:pt>
          <cx:pt idx="24249">0</cx:pt>
          <cx:pt idx="24250">0</cx:pt>
          <cx:pt idx="24251">0</cx:pt>
          <cx:pt idx="24252">1</cx:pt>
          <cx:pt idx="24253">1</cx:pt>
          <cx:pt idx="24254">1</cx:pt>
          <cx:pt idx="24255">0</cx:pt>
          <cx:pt idx="24256">1</cx:pt>
          <cx:pt idx="24257">0</cx:pt>
          <cx:pt idx="24258">1</cx:pt>
          <cx:pt idx="24259">0</cx:pt>
          <cx:pt idx="24260">0</cx:pt>
          <cx:pt idx="24261">1</cx:pt>
          <cx:pt idx="24262">1</cx:pt>
          <cx:pt idx="24263">1</cx:pt>
          <cx:pt idx="24264">0</cx:pt>
          <cx:pt idx="24265">1</cx:pt>
          <cx:pt idx="24266">1</cx:pt>
          <cx:pt idx="24267">0</cx:pt>
          <cx:pt idx="24268">0</cx:pt>
          <cx:pt idx="24269">0</cx:pt>
          <cx:pt idx="24270">1</cx:pt>
          <cx:pt idx="24271">0</cx:pt>
          <cx:pt idx="24272">0</cx:pt>
          <cx:pt idx="24273">1</cx:pt>
          <cx:pt idx="24274">0</cx:pt>
          <cx:pt idx="24275">1</cx:pt>
          <cx:pt idx="24276">0</cx:pt>
          <cx:pt idx="24277">0</cx:pt>
          <cx:pt idx="24278">1</cx:pt>
          <cx:pt idx="24279">0</cx:pt>
          <cx:pt idx="24280">1</cx:pt>
          <cx:pt idx="24281">0</cx:pt>
          <cx:pt idx="24282">0</cx:pt>
          <cx:pt idx="24283">1</cx:pt>
          <cx:pt idx="24284">0</cx:pt>
          <cx:pt idx="24285">0</cx:pt>
          <cx:pt idx="24286">1</cx:pt>
          <cx:pt idx="24287">1</cx:pt>
          <cx:pt idx="24288">0</cx:pt>
          <cx:pt idx="24289">0</cx:pt>
          <cx:pt idx="24290">0</cx:pt>
          <cx:pt idx="24291">1</cx:pt>
          <cx:pt idx="24292">1</cx:pt>
          <cx:pt idx="24293">1</cx:pt>
          <cx:pt idx="24294">1</cx:pt>
          <cx:pt idx="24295">0</cx:pt>
          <cx:pt idx="24296">0</cx:pt>
          <cx:pt idx="24297">0</cx:pt>
          <cx:pt idx="24298">0</cx:pt>
          <cx:pt idx="24299">0</cx:pt>
          <cx:pt idx="24300">0</cx:pt>
          <cx:pt idx="24301">1</cx:pt>
          <cx:pt idx="24302">0</cx:pt>
          <cx:pt idx="24303">0</cx:pt>
          <cx:pt idx="24304">1</cx:pt>
          <cx:pt idx="24305">1</cx:pt>
          <cx:pt idx="24306">1</cx:pt>
          <cx:pt idx="24307">0</cx:pt>
          <cx:pt idx="24308">0</cx:pt>
          <cx:pt idx="24309">1</cx:pt>
          <cx:pt idx="24310">0</cx:pt>
          <cx:pt idx="24311">0</cx:pt>
          <cx:pt idx="24312">0</cx:pt>
          <cx:pt idx="24313">1</cx:pt>
          <cx:pt idx="24314">1</cx:pt>
          <cx:pt idx="24315">1</cx:pt>
          <cx:pt idx="24316">1</cx:pt>
          <cx:pt idx="24317">1</cx:pt>
          <cx:pt idx="24318">1</cx:pt>
          <cx:pt idx="24319">0</cx:pt>
          <cx:pt idx="24320">0</cx:pt>
          <cx:pt idx="24321">0</cx:pt>
          <cx:pt idx="24322">0</cx:pt>
          <cx:pt idx="24323">1</cx:pt>
          <cx:pt idx="24324">1</cx:pt>
          <cx:pt idx="24325">1</cx:pt>
          <cx:pt idx="24326">0</cx:pt>
          <cx:pt idx="24327">0</cx:pt>
          <cx:pt idx="24328">0</cx:pt>
          <cx:pt idx="24329">1</cx:pt>
          <cx:pt idx="24330">0</cx:pt>
          <cx:pt idx="24331">0</cx:pt>
          <cx:pt idx="24332">0</cx:pt>
          <cx:pt idx="24333">0</cx:pt>
          <cx:pt idx="24334">0</cx:pt>
          <cx:pt idx="24335">0</cx:pt>
          <cx:pt idx="24336">0</cx:pt>
          <cx:pt idx="24337">1</cx:pt>
          <cx:pt idx="24338">0</cx:pt>
          <cx:pt idx="24339">0</cx:pt>
          <cx:pt idx="24340">0</cx:pt>
          <cx:pt idx="24341">1</cx:pt>
          <cx:pt idx="24342">1</cx:pt>
          <cx:pt idx="24343">1</cx:pt>
          <cx:pt idx="24344">0</cx:pt>
          <cx:pt idx="24345">0</cx:pt>
          <cx:pt idx="24346">1</cx:pt>
          <cx:pt idx="24347">1</cx:pt>
          <cx:pt idx="24348">0</cx:pt>
          <cx:pt idx="24349">1</cx:pt>
          <cx:pt idx="24350">0</cx:pt>
          <cx:pt idx="24351">0</cx:pt>
          <cx:pt idx="24352">1</cx:pt>
          <cx:pt idx="24353">0</cx:pt>
          <cx:pt idx="24354">0</cx:pt>
          <cx:pt idx="24355">0</cx:pt>
          <cx:pt idx="24356">1</cx:pt>
          <cx:pt idx="24357">0</cx:pt>
          <cx:pt idx="24358">0</cx:pt>
          <cx:pt idx="24359">1</cx:pt>
          <cx:pt idx="24360">1</cx:pt>
          <cx:pt idx="24361">0</cx:pt>
          <cx:pt idx="24362">0</cx:pt>
          <cx:pt idx="24363">0</cx:pt>
          <cx:pt idx="24364">1</cx:pt>
          <cx:pt idx="24365">1</cx:pt>
          <cx:pt idx="24366">1</cx:pt>
          <cx:pt idx="24367">1</cx:pt>
          <cx:pt idx="24368">0</cx:pt>
          <cx:pt idx="24369">0</cx:pt>
          <cx:pt idx="24370">0</cx:pt>
          <cx:pt idx="24371">1</cx:pt>
          <cx:pt idx="24372">0</cx:pt>
          <cx:pt idx="24373">0</cx:pt>
          <cx:pt idx="24374">1</cx:pt>
          <cx:pt idx="24375">1</cx:pt>
          <cx:pt idx="24376">1</cx:pt>
          <cx:pt idx="24377">0</cx:pt>
          <cx:pt idx="24378">0</cx:pt>
          <cx:pt idx="24379">0</cx:pt>
          <cx:pt idx="24380">1</cx:pt>
          <cx:pt idx="24381">1</cx:pt>
          <cx:pt idx="24382">0</cx:pt>
          <cx:pt idx="24383">0</cx:pt>
          <cx:pt idx="24384">1</cx:pt>
          <cx:pt idx="24385">0</cx:pt>
          <cx:pt idx="24386">1</cx:pt>
          <cx:pt idx="24387">1</cx:pt>
          <cx:pt idx="24388">0</cx:pt>
          <cx:pt idx="24389">0</cx:pt>
          <cx:pt idx="24390">1</cx:pt>
          <cx:pt idx="24391">1</cx:pt>
          <cx:pt idx="24392">0</cx:pt>
          <cx:pt idx="24393">0</cx:pt>
          <cx:pt idx="24394">1</cx:pt>
          <cx:pt idx="24395">1</cx:pt>
          <cx:pt idx="24396">1</cx:pt>
          <cx:pt idx="24397">1</cx:pt>
          <cx:pt idx="24398">0</cx:pt>
          <cx:pt idx="24399">1</cx:pt>
          <cx:pt idx="24400">1</cx:pt>
          <cx:pt idx="24401">0</cx:pt>
          <cx:pt idx="24402">1</cx:pt>
          <cx:pt idx="24403">0</cx:pt>
          <cx:pt idx="24404">0</cx:pt>
          <cx:pt idx="24405">0</cx:pt>
          <cx:pt idx="24406">0</cx:pt>
          <cx:pt idx="24407">1</cx:pt>
          <cx:pt idx="24408">0</cx:pt>
          <cx:pt idx="24409">1</cx:pt>
          <cx:pt idx="24410">0</cx:pt>
          <cx:pt idx="24411">0</cx:pt>
          <cx:pt idx="24412">1</cx:pt>
          <cx:pt idx="24413">0</cx:pt>
          <cx:pt idx="24414">0</cx:pt>
          <cx:pt idx="24415">0</cx:pt>
          <cx:pt idx="24416">1</cx:pt>
          <cx:pt idx="24417">1</cx:pt>
          <cx:pt idx="24418">1</cx:pt>
          <cx:pt idx="24419">0</cx:pt>
          <cx:pt idx="24420">0</cx:pt>
          <cx:pt idx="24421">1</cx:pt>
          <cx:pt idx="24422">0</cx:pt>
          <cx:pt idx="24423">0</cx:pt>
          <cx:pt idx="24424">0</cx:pt>
          <cx:pt idx="24425">1</cx:pt>
          <cx:pt idx="24426">1</cx:pt>
          <cx:pt idx="24427">0</cx:pt>
          <cx:pt idx="24428">1</cx:pt>
          <cx:pt idx="24429">1</cx:pt>
          <cx:pt idx="24430">0</cx:pt>
          <cx:pt idx="24431">1</cx:pt>
          <cx:pt idx="24432">1</cx:pt>
          <cx:pt idx="24433">0</cx:pt>
          <cx:pt idx="24434">1</cx:pt>
          <cx:pt idx="24435">0</cx:pt>
          <cx:pt idx="24436">0</cx:pt>
          <cx:pt idx="24437">0</cx:pt>
          <cx:pt idx="24438">0</cx:pt>
          <cx:pt idx="24439">0</cx:pt>
          <cx:pt idx="24440">0</cx:pt>
          <cx:pt idx="24441">0</cx:pt>
          <cx:pt idx="24442">0</cx:pt>
          <cx:pt idx="24443">1</cx:pt>
          <cx:pt idx="24444">1</cx:pt>
          <cx:pt idx="24445">1</cx:pt>
          <cx:pt idx="24446">0</cx:pt>
          <cx:pt idx="24447">0</cx:pt>
          <cx:pt idx="24448">1</cx:pt>
          <cx:pt idx="24449">0</cx:pt>
          <cx:pt idx="24450">1</cx:pt>
          <cx:pt idx="24451">1</cx:pt>
          <cx:pt idx="24452">1</cx:pt>
          <cx:pt idx="24453">0</cx:pt>
          <cx:pt idx="24454">0</cx:pt>
          <cx:pt idx="24455">0</cx:pt>
          <cx:pt idx="24456">0</cx:pt>
          <cx:pt idx="24457">0</cx:pt>
          <cx:pt idx="24458">0</cx:pt>
          <cx:pt idx="24459">0</cx:pt>
          <cx:pt idx="24460">0</cx:pt>
          <cx:pt idx="24461">0</cx:pt>
          <cx:pt idx="24462">0</cx:pt>
          <cx:pt idx="24463">0</cx:pt>
          <cx:pt idx="24464">1</cx:pt>
          <cx:pt idx="24465">1</cx:pt>
          <cx:pt idx="24466">0</cx:pt>
          <cx:pt idx="24467">0</cx:pt>
          <cx:pt idx="24468">0</cx:pt>
          <cx:pt idx="24469">1</cx:pt>
          <cx:pt idx="24470">0</cx:pt>
          <cx:pt idx="24471">1</cx:pt>
          <cx:pt idx="24472">1</cx:pt>
          <cx:pt idx="24473">1</cx:pt>
          <cx:pt idx="24474">0</cx:pt>
          <cx:pt idx="24475">0</cx:pt>
          <cx:pt idx="24476">1</cx:pt>
          <cx:pt idx="24477">0</cx:pt>
          <cx:pt idx="24478">1</cx:pt>
          <cx:pt idx="24479">1</cx:pt>
          <cx:pt idx="24480">0</cx:pt>
          <cx:pt idx="24481">1</cx:pt>
          <cx:pt idx="24482">1</cx:pt>
          <cx:pt idx="24483">1</cx:pt>
          <cx:pt idx="24484">0</cx:pt>
          <cx:pt idx="24485">1</cx:pt>
          <cx:pt idx="24486">0</cx:pt>
          <cx:pt idx="24487">0</cx:pt>
          <cx:pt idx="24488">1</cx:pt>
          <cx:pt idx="24489">1</cx:pt>
          <cx:pt idx="24490">1</cx:pt>
          <cx:pt idx="24491">1</cx:pt>
          <cx:pt idx="24492">0</cx:pt>
          <cx:pt idx="24493">0</cx:pt>
          <cx:pt idx="24494">0</cx:pt>
          <cx:pt idx="24495">0</cx:pt>
          <cx:pt idx="24496">1</cx:pt>
          <cx:pt idx="24497">1</cx:pt>
          <cx:pt idx="24498">1</cx:pt>
          <cx:pt idx="24499">1</cx:pt>
          <cx:pt idx="24500">0</cx:pt>
          <cx:pt idx="24501">1</cx:pt>
          <cx:pt idx="24502">0</cx:pt>
          <cx:pt idx="24503">0</cx:pt>
          <cx:pt idx="24504">0</cx:pt>
          <cx:pt idx="24505">0</cx:pt>
          <cx:pt idx="24506">1</cx:pt>
          <cx:pt idx="24507">0</cx:pt>
          <cx:pt idx="24508">1</cx:pt>
          <cx:pt idx="24509">0</cx:pt>
          <cx:pt idx="24510">1</cx:pt>
          <cx:pt idx="24511">1</cx:pt>
          <cx:pt idx="24512">1</cx:pt>
          <cx:pt idx="24513">0</cx:pt>
          <cx:pt idx="24514">0</cx:pt>
          <cx:pt idx="24515">0</cx:pt>
          <cx:pt idx="24516">1</cx:pt>
          <cx:pt idx="24517">1</cx:pt>
          <cx:pt idx="24518">0</cx:pt>
          <cx:pt idx="24519">0</cx:pt>
          <cx:pt idx="24520">0</cx:pt>
          <cx:pt idx="24521">0</cx:pt>
          <cx:pt idx="24522">0</cx:pt>
          <cx:pt idx="24523">0</cx:pt>
          <cx:pt idx="24524">1</cx:pt>
          <cx:pt idx="24525">1</cx:pt>
          <cx:pt idx="24526">0</cx:pt>
          <cx:pt idx="24527">1</cx:pt>
          <cx:pt idx="24528">0</cx:pt>
          <cx:pt idx="24529">0</cx:pt>
          <cx:pt idx="24530">1</cx:pt>
          <cx:pt idx="24531">1</cx:pt>
          <cx:pt idx="24532">0</cx:pt>
          <cx:pt idx="24533">0</cx:pt>
          <cx:pt idx="24534">0</cx:pt>
          <cx:pt idx="24535">0</cx:pt>
          <cx:pt idx="24536">1</cx:pt>
          <cx:pt idx="24537">1</cx:pt>
          <cx:pt idx="24538">0</cx:pt>
          <cx:pt idx="24539">0</cx:pt>
          <cx:pt idx="24540">1</cx:pt>
          <cx:pt idx="24541">1</cx:pt>
          <cx:pt idx="24542">1</cx:pt>
          <cx:pt idx="24543">0</cx:pt>
          <cx:pt idx="24544">1</cx:pt>
          <cx:pt idx="24545">0</cx:pt>
          <cx:pt idx="24546">1</cx:pt>
          <cx:pt idx="24547">1</cx:pt>
          <cx:pt idx="24548">1</cx:pt>
          <cx:pt idx="24549">0</cx:pt>
          <cx:pt idx="24550">0</cx:pt>
          <cx:pt idx="24551">0</cx:pt>
          <cx:pt idx="24552">0</cx:pt>
          <cx:pt idx="24553">0</cx:pt>
          <cx:pt idx="24554">0</cx:pt>
          <cx:pt idx="24555">0</cx:pt>
          <cx:pt idx="24556">0</cx:pt>
          <cx:pt idx="24557">0</cx:pt>
          <cx:pt idx="24558">0</cx:pt>
          <cx:pt idx="24559">1</cx:pt>
          <cx:pt idx="24560">1</cx:pt>
          <cx:pt idx="24561">0</cx:pt>
          <cx:pt idx="24562">1</cx:pt>
          <cx:pt idx="24563">0</cx:pt>
          <cx:pt idx="24564">0</cx:pt>
          <cx:pt idx="24565">0</cx:pt>
          <cx:pt idx="24566">0</cx:pt>
          <cx:pt idx="24567">0</cx:pt>
          <cx:pt idx="24568">1</cx:pt>
          <cx:pt idx="24569">0</cx:pt>
          <cx:pt idx="24570">0</cx:pt>
          <cx:pt idx="24571">0</cx:pt>
          <cx:pt idx="24572">0</cx:pt>
          <cx:pt idx="24573">0</cx:pt>
          <cx:pt idx="24574">0</cx:pt>
          <cx:pt idx="24575">0</cx:pt>
          <cx:pt idx="24576">0</cx:pt>
          <cx:pt idx="24577">1</cx:pt>
          <cx:pt idx="24578">1</cx:pt>
          <cx:pt idx="24579">1</cx:pt>
          <cx:pt idx="24580">0</cx:pt>
          <cx:pt idx="24581">0</cx:pt>
          <cx:pt idx="24582">1</cx:pt>
          <cx:pt idx="24583">0</cx:pt>
          <cx:pt idx="24584">0</cx:pt>
          <cx:pt idx="24585">1</cx:pt>
          <cx:pt idx="24586">1</cx:pt>
          <cx:pt idx="24587">0</cx:pt>
          <cx:pt idx="24588">1</cx:pt>
          <cx:pt idx="24589">0</cx:pt>
          <cx:pt idx="24590">0</cx:pt>
          <cx:pt idx="24591">0</cx:pt>
          <cx:pt idx="24592">0</cx:pt>
          <cx:pt idx="24593">0</cx:pt>
          <cx:pt idx="24594">1</cx:pt>
          <cx:pt idx="24595">1</cx:pt>
          <cx:pt idx="24596">0</cx:pt>
          <cx:pt idx="24597">0</cx:pt>
          <cx:pt idx="24598">0</cx:pt>
          <cx:pt idx="24599">1</cx:pt>
          <cx:pt idx="24600">0</cx:pt>
          <cx:pt idx="24601">0</cx:pt>
          <cx:pt idx="24602">0</cx:pt>
          <cx:pt idx="24603">0</cx:pt>
          <cx:pt idx="24604">0</cx:pt>
          <cx:pt idx="24605">0</cx:pt>
          <cx:pt idx="24606">0</cx:pt>
          <cx:pt idx="24607">0</cx:pt>
          <cx:pt idx="24608">1</cx:pt>
          <cx:pt idx="24609">0</cx:pt>
          <cx:pt idx="24610">0</cx:pt>
          <cx:pt idx="24611">0</cx:pt>
          <cx:pt idx="24612">0</cx:pt>
          <cx:pt idx="24613">1</cx:pt>
          <cx:pt idx="24614">0</cx:pt>
          <cx:pt idx="24615">1</cx:pt>
          <cx:pt idx="24616">0</cx:pt>
          <cx:pt idx="24617">1</cx:pt>
          <cx:pt idx="24618">0</cx:pt>
          <cx:pt idx="24619">1</cx:pt>
          <cx:pt idx="24620">0</cx:pt>
          <cx:pt idx="24621">1</cx:pt>
          <cx:pt idx="24622">1</cx:pt>
          <cx:pt idx="24623">0</cx:pt>
          <cx:pt idx="24624">1</cx:pt>
          <cx:pt idx="24625">1</cx:pt>
          <cx:pt idx="24626">1</cx:pt>
          <cx:pt idx="24627">0</cx:pt>
          <cx:pt idx="24628">0</cx:pt>
          <cx:pt idx="24629">1</cx:pt>
          <cx:pt idx="24630">0</cx:pt>
          <cx:pt idx="24631">1</cx:pt>
          <cx:pt idx="24632">0</cx:pt>
          <cx:pt idx="24633">0</cx:pt>
          <cx:pt idx="24634">1</cx:pt>
          <cx:pt idx="24635">0</cx:pt>
          <cx:pt idx="24636">1</cx:pt>
          <cx:pt idx="24637">0</cx:pt>
          <cx:pt idx="24638">0</cx:pt>
          <cx:pt idx="24639">0</cx:pt>
          <cx:pt idx="24640">1</cx:pt>
          <cx:pt idx="24641">0</cx:pt>
          <cx:pt idx="24642">0</cx:pt>
          <cx:pt idx="24643">1</cx:pt>
          <cx:pt idx="24644">0</cx:pt>
          <cx:pt idx="24645">1</cx:pt>
          <cx:pt idx="24646">1</cx:pt>
          <cx:pt idx="24647">0</cx:pt>
          <cx:pt idx="24648">0</cx:pt>
          <cx:pt idx="24649">1</cx:pt>
          <cx:pt idx="24650">0</cx:pt>
          <cx:pt idx="24651">1</cx:pt>
          <cx:pt idx="24652">1</cx:pt>
          <cx:pt idx="24653">0</cx:pt>
          <cx:pt idx="24654">0</cx:pt>
          <cx:pt idx="24655">1</cx:pt>
          <cx:pt idx="24656">1</cx:pt>
          <cx:pt idx="24657">1</cx:pt>
          <cx:pt idx="24658">0</cx:pt>
          <cx:pt idx="24659">0</cx:pt>
          <cx:pt idx="24660">1</cx:pt>
          <cx:pt idx="24661">1</cx:pt>
          <cx:pt idx="24662">0</cx:pt>
          <cx:pt idx="24663">0</cx:pt>
          <cx:pt idx="24664">1</cx:pt>
          <cx:pt idx="24665">0</cx:pt>
          <cx:pt idx="24666">1</cx:pt>
          <cx:pt idx="24667">0</cx:pt>
          <cx:pt idx="24668">1</cx:pt>
          <cx:pt idx="24669">1</cx:pt>
          <cx:pt idx="24670">1</cx:pt>
          <cx:pt idx="24671">1</cx:pt>
          <cx:pt idx="24672">0</cx:pt>
          <cx:pt idx="24673">0</cx:pt>
          <cx:pt idx="24674">0</cx:pt>
          <cx:pt idx="24675">0</cx:pt>
          <cx:pt idx="24676">1</cx:pt>
          <cx:pt idx="24677">0</cx:pt>
          <cx:pt idx="24678">0</cx:pt>
          <cx:pt idx="24679">1</cx:pt>
          <cx:pt idx="24680">0</cx:pt>
          <cx:pt idx="24681">1</cx:pt>
          <cx:pt idx="24682">0</cx:pt>
          <cx:pt idx="24683">0</cx:pt>
          <cx:pt idx="24684">0</cx:pt>
          <cx:pt idx="24685">1</cx:pt>
          <cx:pt idx="24686">1</cx:pt>
          <cx:pt idx="24687">0</cx:pt>
          <cx:pt idx="24688">1</cx:pt>
          <cx:pt idx="24689">1</cx:pt>
          <cx:pt idx="24690">0</cx:pt>
          <cx:pt idx="24691">1</cx:pt>
          <cx:pt idx="24692">1</cx:pt>
          <cx:pt idx="24693">1</cx:pt>
          <cx:pt idx="24694">0</cx:pt>
          <cx:pt idx="24695">1</cx:pt>
          <cx:pt idx="24696">0</cx:pt>
          <cx:pt idx="24697">0</cx:pt>
          <cx:pt idx="24698">0</cx:pt>
          <cx:pt idx="24699">0</cx:pt>
          <cx:pt idx="24700">1</cx:pt>
          <cx:pt idx="24701">0</cx:pt>
          <cx:pt idx="24702">1</cx:pt>
          <cx:pt idx="24703">0</cx:pt>
          <cx:pt idx="24704">1</cx:pt>
          <cx:pt idx="24705">1</cx:pt>
          <cx:pt idx="24706">0</cx:pt>
          <cx:pt idx="24707">0</cx:pt>
          <cx:pt idx="24708">0</cx:pt>
          <cx:pt idx="24709">0</cx:pt>
          <cx:pt idx="24710">0</cx:pt>
          <cx:pt idx="24711">1</cx:pt>
          <cx:pt idx="24712">0</cx:pt>
          <cx:pt idx="24713">0</cx:pt>
          <cx:pt idx="24714">0</cx:pt>
          <cx:pt idx="24715">0</cx:pt>
          <cx:pt idx="24716">0</cx:pt>
          <cx:pt idx="24717">0</cx:pt>
          <cx:pt idx="24718">0</cx:pt>
          <cx:pt idx="24719">0</cx:pt>
          <cx:pt idx="24720">1</cx:pt>
          <cx:pt idx="24721">0</cx:pt>
          <cx:pt idx="24722">0</cx:pt>
          <cx:pt idx="24723">0</cx:pt>
          <cx:pt idx="24724">0</cx:pt>
          <cx:pt idx="24725">0</cx:pt>
          <cx:pt idx="24726">1</cx:pt>
          <cx:pt idx="24727">1</cx:pt>
          <cx:pt idx="24728">1</cx:pt>
          <cx:pt idx="24729">1</cx:pt>
          <cx:pt idx="24730">1</cx:pt>
          <cx:pt idx="24731">0</cx:pt>
          <cx:pt idx="24732">0</cx:pt>
          <cx:pt idx="24733">1</cx:pt>
          <cx:pt idx="24734">1</cx:pt>
          <cx:pt idx="24735">0</cx:pt>
          <cx:pt idx="24736">0</cx:pt>
          <cx:pt idx="24737">0</cx:pt>
          <cx:pt idx="24738">1</cx:pt>
          <cx:pt idx="24739">0</cx:pt>
          <cx:pt idx="24740">0</cx:pt>
          <cx:pt idx="24741">1</cx:pt>
          <cx:pt idx="24742">0</cx:pt>
          <cx:pt idx="24743">1</cx:pt>
          <cx:pt idx="24744">0</cx:pt>
          <cx:pt idx="24745">1</cx:pt>
          <cx:pt idx="24746">0</cx:pt>
          <cx:pt idx="24747">0</cx:pt>
          <cx:pt idx="24748">0</cx:pt>
          <cx:pt idx="24749">1</cx:pt>
          <cx:pt idx="24750">0</cx:pt>
          <cx:pt idx="24751">0</cx:pt>
          <cx:pt idx="24752">0</cx:pt>
          <cx:pt idx="24753">1</cx:pt>
          <cx:pt idx="24754">0</cx:pt>
          <cx:pt idx="24755">1</cx:pt>
          <cx:pt idx="24756">0</cx:pt>
          <cx:pt idx="24757">0</cx:pt>
          <cx:pt idx="24758">1</cx:pt>
          <cx:pt idx="24759">0</cx:pt>
          <cx:pt idx="24760">1</cx:pt>
          <cx:pt idx="24761">1</cx:pt>
          <cx:pt idx="24762">0</cx:pt>
          <cx:pt idx="24763">0</cx:pt>
          <cx:pt idx="24764">1</cx:pt>
          <cx:pt idx="24765">0</cx:pt>
          <cx:pt idx="24766">1</cx:pt>
          <cx:pt idx="24767">0</cx:pt>
          <cx:pt idx="24768">1</cx:pt>
          <cx:pt idx="24769">1</cx:pt>
          <cx:pt idx="24770">1</cx:pt>
          <cx:pt idx="24771">0</cx:pt>
          <cx:pt idx="24772">1</cx:pt>
          <cx:pt idx="24773">1</cx:pt>
          <cx:pt idx="24774">1</cx:pt>
          <cx:pt idx="24775">0</cx:pt>
          <cx:pt idx="24776">0</cx:pt>
          <cx:pt idx="24777">0</cx:pt>
          <cx:pt idx="24778">1</cx:pt>
          <cx:pt idx="24779">0</cx:pt>
          <cx:pt idx="24780">0</cx:pt>
          <cx:pt idx="24781">1</cx:pt>
          <cx:pt idx="24782">0</cx:pt>
          <cx:pt idx="24783">1</cx:pt>
          <cx:pt idx="24784">0</cx:pt>
          <cx:pt idx="24785">1</cx:pt>
          <cx:pt idx="24786">1</cx:pt>
          <cx:pt idx="24787">1</cx:pt>
          <cx:pt idx="24788">1</cx:pt>
          <cx:pt idx="24789">0</cx:pt>
          <cx:pt idx="24790">1</cx:pt>
          <cx:pt idx="24791">1</cx:pt>
          <cx:pt idx="24792">1</cx:pt>
          <cx:pt idx="24793">1</cx:pt>
          <cx:pt idx="24794">1</cx:pt>
          <cx:pt idx="24795">1</cx:pt>
          <cx:pt idx="24796">1</cx:pt>
          <cx:pt idx="24797">0</cx:pt>
          <cx:pt idx="24798">0</cx:pt>
          <cx:pt idx="24799">1</cx:pt>
          <cx:pt idx="24800">0</cx:pt>
          <cx:pt idx="24801">0</cx:pt>
          <cx:pt idx="24802">1</cx:pt>
          <cx:pt idx="24803">0</cx:pt>
          <cx:pt idx="24804">0</cx:pt>
          <cx:pt idx="24805">1</cx:pt>
          <cx:pt idx="24806">1</cx:pt>
          <cx:pt idx="24807">0</cx:pt>
          <cx:pt idx="24808">0</cx:pt>
          <cx:pt idx="24809">0</cx:pt>
          <cx:pt idx="24810">1</cx:pt>
          <cx:pt idx="24811">0</cx:pt>
          <cx:pt idx="24812">0</cx:pt>
          <cx:pt idx="24813">0</cx:pt>
          <cx:pt idx="24814">0</cx:pt>
          <cx:pt idx="24815">0</cx:pt>
          <cx:pt idx="24816">1</cx:pt>
          <cx:pt idx="24817">0</cx:pt>
          <cx:pt idx="24818">1</cx:pt>
          <cx:pt idx="24819">1</cx:pt>
          <cx:pt idx="24820">0</cx:pt>
          <cx:pt idx="24821">0</cx:pt>
          <cx:pt idx="24822">1</cx:pt>
          <cx:pt idx="24823">0</cx:pt>
          <cx:pt idx="24824">0</cx:pt>
          <cx:pt idx="24825">0</cx:pt>
          <cx:pt idx="24826">1</cx:pt>
          <cx:pt idx="24827">1</cx:pt>
          <cx:pt idx="24828">0</cx:pt>
          <cx:pt idx="24829">0</cx:pt>
          <cx:pt idx="24830">1</cx:pt>
          <cx:pt idx="24831">1</cx:pt>
          <cx:pt idx="24832">0</cx:pt>
          <cx:pt idx="24833">1</cx:pt>
          <cx:pt idx="24834">0</cx:pt>
          <cx:pt idx="24835">0</cx:pt>
          <cx:pt idx="24836">0</cx:pt>
          <cx:pt idx="24837">0</cx:pt>
          <cx:pt idx="24838">0</cx:pt>
          <cx:pt idx="24839">1</cx:pt>
          <cx:pt idx="24840">0</cx:pt>
          <cx:pt idx="24841">0</cx:pt>
          <cx:pt idx="24842">1</cx:pt>
          <cx:pt idx="24843">0</cx:pt>
          <cx:pt idx="24844">0</cx:pt>
          <cx:pt idx="24845">0</cx:pt>
          <cx:pt idx="24846">1</cx:pt>
          <cx:pt idx="24847">1</cx:pt>
          <cx:pt idx="24848">1</cx:pt>
          <cx:pt idx="24849">0</cx:pt>
          <cx:pt idx="24850">0</cx:pt>
          <cx:pt idx="24851">1</cx:pt>
          <cx:pt idx="24852">0</cx:pt>
          <cx:pt idx="24853">1</cx:pt>
          <cx:pt idx="24854">0</cx:pt>
          <cx:pt idx="24855">1</cx:pt>
          <cx:pt idx="24856">1</cx:pt>
          <cx:pt idx="24857">1</cx:pt>
          <cx:pt idx="24858">1</cx:pt>
          <cx:pt idx="24859">1</cx:pt>
          <cx:pt idx="24860">0</cx:pt>
          <cx:pt idx="24861">1</cx:pt>
          <cx:pt idx="24862">1</cx:pt>
          <cx:pt idx="24863">0</cx:pt>
          <cx:pt idx="24864">0</cx:pt>
          <cx:pt idx="24865">0</cx:pt>
          <cx:pt idx="24866">1</cx:pt>
          <cx:pt idx="24867">1</cx:pt>
          <cx:pt idx="24868">1</cx:pt>
          <cx:pt idx="24869">0</cx:pt>
          <cx:pt idx="24870">0</cx:pt>
          <cx:pt idx="24871">1</cx:pt>
          <cx:pt idx="24872">0</cx:pt>
          <cx:pt idx="24873">0</cx:pt>
          <cx:pt idx="24874">1</cx:pt>
          <cx:pt idx="24875">1</cx:pt>
          <cx:pt idx="24876">1</cx:pt>
          <cx:pt idx="24877">0</cx:pt>
          <cx:pt idx="24878">0</cx:pt>
          <cx:pt idx="24879">0</cx:pt>
          <cx:pt idx="24880">0</cx:pt>
          <cx:pt idx="24881">1</cx:pt>
          <cx:pt idx="24882">1</cx:pt>
          <cx:pt idx="24883">0</cx:pt>
          <cx:pt idx="24884">1</cx:pt>
          <cx:pt idx="24885">0</cx:pt>
          <cx:pt idx="24886">0</cx:pt>
          <cx:pt idx="24887">0</cx:pt>
          <cx:pt idx="24888">0</cx:pt>
          <cx:pt idx="24889">0</cx:pt>
          <cx:pt idx="24890">0</cx:pt>
          <cx:pt idx="24891">0</cx:pt>
          <cx:pt idx="24892">0</cx:pt>
          <cx:pt idx="24893">0</cx:pt>
          <cx:pt idx="24894">0</cx:pt>
          <cx:pt idx="24895">1</cx:pt>
          <cx:pt idx="24896">0</cx:pt>
          <cx:pt idx="24897">1</cx:pt>
          <cx:pt idx="24898">1</cx:pt>
          <cx:pt idx="24899">1</cx:pt>
          <cx:pt idx="24900">0</cx:pt>
          <cx:pt idx="24901">0</cx:pt>
          <cx:pt idx="24902">0</cx:pt>
          <cx:pt idx="24903">0</cx:pt>
          <cx:pt idx="24904">0</cx:pt>
          <cx:pt idx="24905">0</cx:pt>
          <cx:pt idx="24906">0</cx:pt>
          <cx:pt idx="24907">0</cx:pt>
          <cx:pt idx="24908">1</cx:pt>
          <cx:pt idx="24909">0</cx:pt>
          <cx:pt idx="24910">0</cx:pt>
          <cx:pt idx="24911">1</cx:pt>
          <cx:pt idx="24912">0</cx:pt>
          <cx:pt idx="24913">0</cx:pt>
          <cx:pt idx="24914">0</cx:pt>
          <cx:pt idx="24915">1</cx:pt>
          <cx:pt idx="24916">1</cx:pt>
          <cx:pt idx="24917">0</cx:pt>
          <cx:pt idx="24918">0</cx:pt>
          <cx:pt idx="24919">0</cx:pt>
          <cx:pt idx="24920">0</cx:pt>
          <cx:pt idx="24921">1</cx:pt>
          <cx:pt idx="24922">0</cx:pt>
          <cx:pt idx="24923">0</cx:pt>
          <cx:pt idx="24924">0</cx:pt>
          <cx:pt idx="24925">0</cx:pt>
          <cx:pt idx="24926">0</cx:pt>
          <cx:pt idx="24927">0</cx:pt>
          <cx:pt idx="24928">1</cx:pt>
          <cx:pt idx="24929">0</cx:pt>
          <cx:pt idx="24930">0</cx:pt>
          <cx:pt idx="24931">1</cx:pt>
          <cx:pt idx="24932">0</cx:pt>
          <cx:pt idx="24933">0</cx:pt>
          <cx:pt idx="24934">0</cx:pt>
          <cx:pt idx="24935">0</cx:pt>
          <cx:pt idx="24936">0</cx:pt>
          <cx:pt idx="24937">0</cx:pt>
          <cx:pt idx="24938">0</cx:pt>
          <cx:pt idx="24939">0</cx:pt>
          <cx:pt idx="24940">1</cx:pt>
          <cx:pt idx="24941">1</cx:pt>
          <cx:pt idx="24942">0</cx:pt>
          <cx:pt idx="24943">1</cx:pt>
          <cx:pt idx="24944">1</cx:pt>
          <cx:pt idx="24945">0</cx:pt>
          <cx:pt idx="24946">0</cx:pt>
          <cx:pt idx="24947">0</cx:pt>
          <cx:pt idx="24948">1</cx:pt>
          <cx:pt idx="24949">1</cx:pt>
          <cx:pt idx="24950">1</cx:pt>
          <cx:pt idx="24951">0</cx:pt>
          <cx:pt idx="24952">1</cx:pt>
          <cx:pt idx="24953">1</cx:pt>
          <cx:pt idx="24954">0</cx:pt>
          <cx:pt idx="24955">0</cx:pt>
          <cx:pt idx="24956">0</cx:pt>
          <cx:pt idx="24957">1</cx:pt>
          <cx:pt idx="24958">1</cx:pt>
          <cx:pt idx="24959">0</cx:pt>
          <cx:pt idx="24960">1</cx:pt>
          <cx:pt idx="24961">1</cx:pt>
          <cx:pt idx="24962">0</cx:pt>
          <cx:pt idx="24963">1</cx:pt>
          <cx:pt idx="24964">0</cx:pt>
          <cx:pt idx="24965">1</cx:pt>
          <cx:pt idx="24966">0</cx:pt>
          <cx:pt idx="24967">1</cx:pt>
          <cx:pt idx="24968">0</cx:pt>
          <cx:pt idx="24969">0</cx:pt>
          <cx:pt idx="24970">1</cx:pt>
          <cx:pt idx="24971">0</cx:pt>
          <cx:pt idx="24972">0</cx:pt>
          <cx:pt idx="24973">0</cx:pt>
          <cx:pt idx="24974">0</cx:pt>
          <cx:pt idx="24975">0</cx:pt>
          <cx:pt idx="24976">0</cx:pt>
          <cx:pt idx="24977">1</cx:pt>
          <cx:pt idx="24978">0</cx:pt>
          <cx:pt idx="24979">1</cx:pt>
          <cx:pt idx="24980">0</cx:pt>
          <cx:pt idx="24981">0</cx:pt>
          <cx:pt idx="24982">0</cx:pt>
          <cx:pt idx="24983">1</cx:pt>
          <cx:pt idx="24984">1</cx:pt>
          <cx:pt idx="24985">0</cx:pt>
          <cx:pt idx="24986">0</cx:pt>
          <cx:pt idx="24987">0</cx:pt>
          <cx:pt idx="24988">0</cx:pt>
          <cx:pt idx="24989">1</cx:pt>
          <cx:pt idx="24990">1</cx:pt>
          <cx:pt idx="24991">1</cx:pt>
          <cx:pt idx="24992">1</cx:pt>
          <cx:pt idx="24993">0</cx:pt>
          <cx:pt idx="24994">0</cx:pt>
          <cx:pt idx="24995">1</cx:pt>
          <cx:pt idx="24996">1</cx:pt>
          <cx:pt idx="24997">1</cx:pt>
          <cx:pt idx="24998">1</cx:pt>
          <cx:pt idx="24999">0</cx:pt>
          <cx:pt idx="25000">0</cx:pt>
          <cx:pt idx="25001">1</cx:pt>
          <cx:pt idx="25002">0</cx:pt>
          <cx:pt idx="25003">1</cx:pt>
          <cx:pt idx="25004">0</cx:pt>
          <cx:pt idx="25005">0</cx:pt>
          <cx:pt idx="25006">0</cx:pt>
          <cx:pt idx="25007">1</cx:pt>
          <cx:pt idx="25008">0</cx:pt>
          <cx:pt idx="25009">0</cx:pt>
          <cx:pt idx="25010">0</cx:pt>
          <cx:pt idx="25011">0</cx:pt>
          <cx:pt idx="25012">0</cx:pt>
          <cx:pt idx="25013">1</cx:pt>
          <cx:pt idx="25014">1</cx:pt>
          <cx:pt idx="25015">1</cx:pt>
          <cx:pt idx="25016">0</cx:pt>
          <cx:pt idx="25017">1</cx:pt>
          <cx:pt idx="25018">0</cx:pt>
          <cx:pt idx="25019">0</cx:pt>
          <cx:pt idx="25020">1</cx:pt>
          <cx:pt idx="25021">0</cx:pt>
          <cx:pt idx="25022">1</cx:pt>
          <cx:pt idx="25023">1</cx:pt>
          <cx:pt idx="25024">0</cx:pt>
          <cx:pt idx="25025">0</cx:pt>
          <cx:pt idx="25026">0</cx:pt>
          <cx:pt idx="25027">1</cx:pt>
          <cx:pt idx="25028">1</cx:pt>
          <cx:pt idx="25029">0</cx:pt>
          <cx:pt idx="25030">1</cx:pt>
          <cx:pt idx="25031">1</cx:pt>
          <cx:pt idx="25032">1</cx:pt>
          <cx:pt idx="25033">0</cx:pt>
          <cx:pt idx="25034">1</cx:pt>
          <cx:pt idx="25035">1</cx:pt>
          <cx:pt idx="25036">0</cx:pt>
          <cx:pt idx="25037">0</cx:pt>
          <cx:pt idx="25038">1</cx:pt>
          <cx:pt idx="25039">0</cx:pt>
          <cx:pt idx="25040">0</cx:pt>
          <cx:pt idx="25041">0</cx:pt>
          <cx:pt idx="25042">1</cx:pt>
          <cx:pt idx="25043">0</cx:pt>
          <cx:pt idx="25044">0</cx:pt>
          <cx:pt idx="25045">1</cx:pt>
          <cx:pt idx="25046">1</cx:pt>
          <cx:pt idx="25047">1</cx:pt>
          <cx:pt idx="25048">1</cx:pt>
          <cx:pt idx="25049">1</cx:pt>
          <cx:pt idx="25050">0</cx:pt>
          <cx:pt idx="25051">0</cx:pt>
          <cx:pt idx="25052">1</cx:pt>
          <cx:pt idx="25053">0</cx:pt>
          <cx:pt idx="25054">1</cx:pt>
          <cx:pt idx="25055">0</cx:pt>
          <cx:pt idx="25056">0</cx:pt>
          <cx:pt idx="25057">1</cx:pt>
          <cx:pt idx="25058">0</cx:pt>
          <cx:pt idx="25059">1</cx:pt>
          <cx:pt idx="25060">1</cx:pt>
          <cx:pt idx="25061">0</cx:pt>
          <cx:pt idx="25062">1</cx:pt>
          <cx:pt idx="25063">0</cx:pt>
          <cx:pt idx="25064">1</cx:pt>
          <cx:pt idx="25065">1</cx:pt>
          <cx:pt idx="25066">0</cx:pt>
          <cx:pt idx="25067">1</cx:pt>
          <cx:pt idx="25068">0</cx:pt>
          <cx:pt idx="25069">0</cx:pt>
          <cx:pt idx="25070">1</cx:pt>
          <cx:pt idx="25071">0</cx:pt>
          <cx:pt idx="25072">1</cx:pt>
          <cx:pt idx="25073">0</cx:pt>
          <cx:pt idx="25074">0</cx:pt>
          <cx:pt idx="25075">0</cx:pt>
          <cx:pt idx="25076">0</cx:pt>
          <cx:pt idx="25077">0</cx:pt>
          <cx:pt idx="25078">0</cx:pt>
          <cx:pt idx="25079">1</cx:pt>
          <cx:pt idx="25080">0</cx:pt>
          <cx:pt idx="25081">0</cx:pt>
          <cx:pt idx="25082">1</cx:pt>
          <cx:pt idx="25083">0</cx:pt>
          <cx:pt idx="25084">0</cx:pt>
          <cx:pt idx="25085">0</cx:pt>
          <cx:pt idx="25086">0</cx:pt>
          <cx:pt idx="25087">0</cx:pt>
          <cx:pt idx="25088">1</cx:pt>
          <cx:pt idx="25089">0</cx:pt>
          <cx:pt idx="25090">1</cx:pt>
          <cx:pt idx="25091">0</cx:pt>
          <cx:pt idx="25092">1</cx:pt>
          <cx:pt idx="25093">1</cx:pt>
          <cx:pt idx="25094">0</cx:pt>
          <cx:pt idx="25095">0</cx:pt>
          <cx:pt idx="25096">0</cx:pt>
          <cx:pt idx="25097">0</cx:pt>
          <cx:pt idx="25098">0</cx:pt>
          <cx:pt idx="25099">1</cx:pt>
          <cx:pt idx="25100">1</cx:pt>
          <cx:pt idx="25101">0</cx:pt>
          <cx:pt idx="25102">0</cx:pt>
          <cx:pt idx="25103">1</cx:pt>
          <cx:pt idx="25104">0</cx:pt>
          <cx:pt idx="25105">1</cx:pt>
          <cx:pt idx="25106">0</cx:pt>
          <cx:pt idx="25107">0</cx:pt>
          <cx:pt idx="25108">1</cx:pt>
          <cx:pt idx="25109">1</cx:pt>
          <cx:pt idx="25110">0</cx:pt>
          <cx:pt idx="25111">0</cx:pt>
          <cx:pt idx="25112">0</cx:pt>
          <cx:pt idx="25113">0</cx:pt>
          <cx:pt idx="25114">1</cx:pt>
          <cx:pt idx="25115">1</cx:pt>
          <cx:pt idx="25116">1</cx:pt>
          <cx:pt idx="25117">0</cx:pt>
          <cx:pt idx="25118">1</cx:pt>
          <cx:pt idx="25119">1</cx:pt>
          <cx:pt idx="25120">0</cx:pt>
          <cx:pt idx="25121">0</cx:pt>
          <cx:pt idx="25122">1</cx:pt>
          <cx:pt idx="25123">1</cx:pt>
          <cx:pt idx="25124">1</cx:pt>
          <cx:pt idx="25125">1</cx:pt>
          <cx:pt idx="25126">0</cx:pt>
          <cx:pt idx="25127">0</cx:pt>
          <cx:pt idx="25128">1</cx:pt>
          <cx:pt idx="25129">0</cx:pt>
          <cx:pt idx="25130">1</cx:pt>
          <cx:pt idx="25131">1</cx:pt>
          <cx:pt idx="25132">0</cx:pt>
          <cx:pt idx="25133">0</cx:pt>
          <cx:pt idx="25134">1</cx:pt>
          <cx:pt idx="25135">0</cx:pt>
          <cx:pt idx="25136">1</cx:pt>
          <cx:pt idx="25137">1</cx:pt>
          <cx:pt idx="25138">0</cx:pt>
          <cx:pt idx="25139">0</cx:pt>
          <cx:pt idx="25140">1</cx:pt>
          <cx:pt idx="25141">0</cx:pt>
          <cx:pt idx="25142">0</cx:pt>
          <cx:pt idx="25143">0</cx:pt>
          <cx:pt idx="25144">1</cx:pt>
          <cx:pt idx="25145">1</cx:pt>
          <cx:pt idx="25146">0</cx:pt>
          <cx:pt idx="25147">1</cx:pt>
          <cx:pt idx="25148">1</cx:pt>
          <cx:pt idx="25149">0</cx:pt>
          <cx:pt idx="25150">1</cx:pt>
          <cx:pt idx="25151">0</cx:pt>
          <cx:pt idx="25152">0</cx:pt>
          <cx:pt idx="25153">0</cx:pt>
          <cx:pt idx="25154">1</cx:pt>
          <cx:pt idx="25155">0</cx:pt>
          <cx:pt idx="25156">0</cx:pt>
          <cx:pt idx="25157">0</cx:pt>
          <cx:pt idx="25158">0</cx:pt>
          <cx:pt idx="25159">1</cx:pt>
          <cx:pt idx="25160">1</cx:pt>
          <cx:pt idx="25161">1</cx:pt>
          <cx:pt idx="25162">1</cx:pt>
          <cx:pt idx="25163">1</cx:pt>
          <cx:pt idx="25164">0</cx:pt>
          <cx:pt idx="25165">0</cx:pt>
          <cx:pt idx="25166">0</cx:pt>
          <cx:pt idx="25167">1</cx:pt>
          <cx:pt idx="25168">0</cx:pt>
          <cx:pt idx="25169">0</cx:pt>
          <cx:pt idx="25170">1</cx:pt>
          <cx:pt idx="25171">0</cx:pt>
          <cx:pt idx="25172">0</cx:pt>
          <cx:pt idx="25173">1</cx:pt>
          <cx:pt idx="25174">1</cx:pt>
          <cx:pt idx="25175">0</cx:pt>
          <cx:pt idx="25176">0</cx:pt>
          <cx:pt idx="25177">1</cx:pt>
          <cx:pt idx="25178">0</cx:pt>
          <cx:pt idx="25179">0</cx:pt>
          <cx:pt idx="25180">0</cx:pt>
          <cx:pt idx="25181">0</cx:pt>
          <cx:pt idx="25182">1</cx:pt>
          <cx:pt idx="25183">0</cx:pt>
          <cx:pt idx="25184">1</cx:pt>
          <cx:pt idx="25185">1</cx:pt>
          <cx:pt idx="25186">0</cx:pt>
          <cx:pt idx="25187">0</cx:pt>
          <cx:pt idx="25188">0</cx:pt>
          <cx:pt idx="25189">1</cx:pt>
          <cx:pt idx="25190">0</cx:pt>
          <cx:pt idx="25191">0</cx:pt>
          <cx:pt idx="25192">1</cx:pt>
          <cx:pt idx="25193">0</cx:pt>
          <cx:pt idx="25194">1</cx:pt>
          <cx:pt idx="25195">1</cx:pt>
          <cx:pt idx="25196">0</cx:pt>
          <cx:pt idx="25197">0</cx:pt>
          <cx:pt idx="25198">0</cx:pt>
          <cx:pt idx="25199">1</cx:pt>
          <cx:pt idx="25200">0</cx:pt>
          <cx:pt idx="25201">0</cx:pt>
          <cx:pt idx="25202">1</cx:pt>
          <cx:pt idx="25203">1</cx:pt>
          <cx:pt idx="25204">0</cx:pt>
          <cx:pt idx="25205">1</cx:pt>
          <cx:pt idx="25206">0</cx:pt>
          <cx:pt idx="25207">1</cx:pt>
          <cx:pt idx="25208">0</cx:pt>
          <cx:pt idx="25209">0</cx:pt>
          <cx:pt idx="25210">0</cx:pt>
          <cx:pt idx="25211">0</cx:pt>
          <cx:pt idx="25212">1</cx:pt>
          <cx:pt idx="25213">0</cx:pt>
          <cx:pt idx="25214">0</cx:pt>
          <cx:pt idx="25215">0</cx:pt>
          <cx:pt idx="25216">1</cx:pt>
          <cx:pt idx="25217">1</cx:pt>
          <cx:pt idx="25218">0</cx:pt>
          <cx:pt idx="25219">0</cx:pt>
          <cx:pt idx="25220">0</cx:pt>
          <cx:pt idx="25221">0</cx:pt>
          <cx:pt idx="25222">0</cx:pt>
          <cx:pt idx="25223">1</cx:pt>
          <cx:pt idx="25224">1</cx:pt>
          <cx:pt idx="25225">1</cx:pt>
          <cx:pt idx="25226">0</cx:pt>
          <cx:pt idx="25227">1</cx:pt>
          <cx:pt idx="25228">0</cx:pt>
          <cx:pt idx="25229">0</cx:pt>
          <cx:pt idx="25230">1</cx:pt>
          <cx:pt idx="25231">1</cx:pt>
          <cx:pt idx="25232">1</cx:pt>
          <cx:pt idx="25233">0</cx:pt>
          <cx:pt idx="25234">0</cx:pt>
          <cx:pt idx="25235">0</cx:pt>
          <cx:pt idx="25236">0</cx:pt>
          <cx:pt idx="25237">0</cx:pt>
          <cx:pt idx="25238">0</cx:pt>
          <cx:pt idx="25239">0</cx:pt>
          <cx:pt idx="25240">1</cx:pt>
          <cx:pt idx="25241">0</cx:pt>
          <cx:pt idx="25242">1</cx:pt>
          <cx:pt idx="25243">0</cx:pt>
          <cx:pt idx="25244">0</cx:pt>
          <cx:pt idx="25245">0</cx:pt>
          <cx:pt idx="25246">0</cx:pt>
          <cx:pt idx="25247">0</cx:pt>
          <cx:pt idx="25248">1</cx:pt>
          <cx:pt idx="25249">1</cx:pt>
          <cx:pt idx="25250">1</cx:pt>
          <cx:pt idx="25251">0</cx:pt>
          <cx:pt idx="25252">1</cx:pt>
          <cx:pt idx="25253">1</cx:pt>
          <cx:pt idx="25254">1</cx:pt>
          <cx:pt idx="25255">0</cx:pt>
          <cx:pt idx="25256">1</cx:pt>
          <cx:pt idx="25257">0</cx:pt>
          <cx:pt idx="25258">1</cx:pt>
          <cx:pt idx="25259">0</cx:pt>
          <cx:pt idx="25260">1</cx:pt>
          <cx:pt idx="25261">1</cx:pt>
          <cx:pt idx="25262">0</cx:pt>
          <cx:pt idx="25263">1</cx:pt>
          <cx:pt idx="25264">0</cx:pt>
          <cx:pt idx="25265">1</cx:pt>
          <cx:pt idx="25266">0</cx:pt>
          <cx:pt idx="25267">0</cx:pt>
          <cx:pt idx="25268">1</cx:pt>
          <cx:pt idx="25269">1</cx:pt>
          <cx:pt idx="25270">1</cx:pt>
          <cx:pt idx="25271">0</cx:pt>
          <cx:pt idx="25272">1</cx:pt>
          <cx:pt idx="25273">1</cx:pt>
          <cx:pt idx="25274">1</cx:pt>
          <cx:pt idx="25275">0</cx:pt>
          <cx:pt idx="25276">1</cx:pt>
          <cx:pt idx="25277">1</cx:pt>
          <cx:pt idx="25278">1</cx:pt>
          <cx:pt idx="25279">1</cx:pt>
          <cx:pt idx="25280">0</cx:pt>
          <cx:pt idx="25281">0</cx:pt>
          <cx:pt idx="25282">0</cx:pt>
          <cx:pt idx="25283">1</cx:pt>
          <cx:pt idx="25284">0</cx:pt>
          <cx:pt idx="25285">0</cx:pt>
          <cx:pt idx="25286">0</cx:pt>
          <cx:pt idx="25287">0</cx:pt>
          <cx:pt idx="25288">1</cx:pt>
          <cx:pt idx="25289">0</cx:pt>
          <cx:pt idx="25290">1</cx:pt>
          <cx:pt idx="25291">0</cx:pt>
          <cx:pt idx="25292">0</cx:pt>
          <cx:pt idx="25293">1</cx:pt>
          <cx:pt idx="25294">0</cx:pt>
          <cx:pt idx="25295">0</cx:pt>
          <cx:pt idx="25296">1</cx:pt>
          <cx:pt idx="25297">1</cx:pt>
          <cx:pt idx="25298">1</cx:pt>
          <cx:pt idx="25299">0</cx:pt>
          <cx:pt idx="25300">1</cx:pt>
          <cx:pt idx="25301">1</cx:pt>
          <cx:pt idx="25302">1</cx:pt>
          <cx:pt idx="25303">0</cx:pt>
          <cx:pt idx="25304">1</cx:pt>
          <cx:pt idx="25305">1</cx:pt>
          <cx:pt idx="25306">1</cx:pt>
          <cx:pt idx="25307">1</cx:pt>
          <cx:pt idx="25308">0</cx:pt>
          <cx:pt idx="25309">1</cx:pt>
          <cx:pt idx="25310">1</cx:pt>
          <cx:pt idx="25311">1</cx:pt>
          <cx:pt idx="25312">0</cx:pt>
          <cx:pt idx="25313">0</cx:pt>
          <cx:pt idx="25314">1</cx:pt>
          <cx:pt idx="25315">1</cx:pt>
          <cx:pt idx="25316">1</cx:pt>
          <cx:pt idx="25317">1</cx:pt>
          <cx:pt idx="25318">1</cx:pt>
          <cx:pt idx="25319">0</cx:pt>
          <cx:pt idx="25320">1</cx:pt>
          <cx:pt idx="25321">0</cx:pt>
          <cx:pt idx="25322">1</cx:pt>
          <cx:pt idx="25323">0</cx:pt>
          <cx:pt idx="25324">1</cx:pt>
          <cx:pt idx="25325">1</cx:pt>
          <cx:pt idx="25326">1</cx:pt>
          <cx:pt idx="25327">1</cx:pt>
          <cx:pt idx="25328">1</cx:pt>
          <cx:pt idx="25329">0</cx:pt>
          <cx:pt idx="25330">1</cx:pt>
          <cx:pt idx="25331">0</cx:pt>
          <cx:pt idx="25332">1</cx:pt>
          <cx:pt idx="25333">0</cx:pt>
          <cx:pt idx="25334">1</cx:pt>
          <cx:pt idx="25335">1</cx:pt>
          <cx:pt idx="25336">1</cx:pt>
          <cx:pt idx="25337">0</cx:pt>
          <cx:pt idx="25338">1</cx:pt>
          <cx:pt idx="25339">0</cx:pt>
          <cx:pt idx="25340">1</cx:pt>
          <cx:pt idx="25341">1</cx:pt>
          <cx:pt idx="25342">1</cx:pt>
          <cx:pt idx="25343">0</cx:pt>
          <cx:pt idx="25344">1</cx:pt>
          <cx:pt idx="25345">1</cx:pt>
          <cx:pt idx="25346">0</cx:pt>
          <cx:pt idx="25347">0</cx:pt>
          <cx:pt idx="25348">1</cx:pt>
          <cx:pt idx="25349">1</cx:pt>
          <cx:pt idx="25350">1</cx:pt>
          <cx:pt idx="25351">0</cx:pt>
          <cx:pt idx="25352">1</cx:pt>
          <cx:pt idx="25353">1</cx:pt>
          <cx:pt idx="25354">0</cx:pt>
          <cx:pt idx="25355">1</cx:pt>
          <cx:pt idx="25356">1</cx:pt>
          <cx:pt idx="25357">0</cx:pt>
          <cx:pt idx="25358">0</cx:pt>
          <cx:pt idx="25359">0</cx:pt>
          <cx:pt idx="25360">0</cx:pt>
          <cx:pt idx="25361">0</cx:pt>
          <cx:pt idx="25362">1</cx:pt>
          <cx:pt idx="25363">1</cx:pt>
          <cx:pt idx="25364">0</cx:pt>
          <cx:pt idx="25365">0</cx:pt>
          <cx:pt idx="25366">0</cx:pt>
          <cx:pt idx="25367">0</cx:pt>
          <cx:pt idx="25368">1</cx:pt>
          <cx:pt idx="25369">1</cx:pt>
          <cx:pt idx="25370">0</cx:pt>
          <cx:pt idx="25371">1</cx:pt>
          <cx:pt idx="25372">0</cx:pt>
          <cx:pt idx="25373">1</cx:pt>
          <cx:pt idx="25374">1</cx:pt>
          <cx:pt idx="25375">1</cx:pt>
          <cx:pt idx="25376">0</cx:pt>
          <cx:pt idx="25377">0</cx:pt>
          <cx:pt idx="25378">0</cx:pt>
          <cx:pt idx="25379">0</cx:pt>
          <cx:pt idx="25380">0</cx:pt>
          <cx:pt idx="25381">0</cx:pt>
          <cx:pt idx="25382">0</cx:pt>
          <cx:pt idx="25383">1</cx:pt>
          <cx:pt idx="25384">1</cx:pt>
          <cx:pt idx="25385">1</cx:pt>
          <cx:pt idx="25386">0</cx:pt>
          <cx:pt idx="25387">0</cx:pt>
          <cx:pt idx="25388">1</cx:pt>
          <cx:pt idx="25389">0</cx:pt>
          <cx:pt idx="25390">1</cx:pt>
          <cx:pt idx="25391">0</cx:pt>
          <cx:pt idx="25392">0</cx:pt>
          <cx:pt idx="25393">0</cx:pt>
          <cx:pt idx="25394">0</cx:pt>
          <cx:pt idx="25395">0</cx:pt>
          <cx:pt idx="25396">0</cx:pt>
          <cx:pt idx="25397">1</cx:pt>
          <cx:pt idx="25398">1</cx:pt>
          <cx:pt idx="25399">0</cx:pt>
          <cx:pt idx="25400">0</cx:pt>
          <cx:pt idx="25401">0</cx:pt>
          <cx:pt idx="25402">1</cx:pt>
          <cx:pt idx="25403">1</cx:pt>
          <cx:pt idx="25404">0</cx:pt>
          <cx:pt idx="25405">1</cx:pt>
          <cx:pt idx="25406">1</cx:pt>
          <cx:pt idx="25407">0</cx:pt>
          <cx:pt idx="25408">0</cx:pt>
          <cx:pt idx="25409">0</cx:pt>
          <cx:pt idx="25410">0</cx:pt>
          <cx:pt idx="25411">1</cx:pt>
          <cx:pt idx="25412">1</cx:pt>
          <cx:pt idx="25413">0</cx:pt>
          <cx:pt idx="25414">0</cx:pt>
          <cx:pt idx="25415">0</cx:pt>
          <cx:pt idx="25416">0</cx:pt>
          <cx:pt idx="25417">0</cx:pt>
          <cx:pt idx="25418">0</cx:pt>
          <cx:pt idx="25419">1</cx:pt>
          <cx:pt idx="25420">1</cx:pt>
          <cx:pt idx="25421">0</cx:pt>
          <cx:pt idx="25422">0</cx:pt>
          <cx:pt idx="25423">1</cx:pt>
          <cx:pt idx="25424">1</cx:pt>
          <cx:pt idx="25425">0</cx:pt>
          <cx:pt idx="25426">0</cx:pt>
          <cx:pt idx="25427">1</cx:pt>
          <cx:pt idx="25428">0</cx:pt>
          <cx:pt idx="25429">0</cx:pt>
          <cx:pt idx="25430">0</cx:pt>
          <cx:pt idx="25431">1</cx:pt>
          <cx:pt idx="25432">0</cx:pt>
          <cx:pt idx="25433">0</cx:pt>
          <cx:pt idx="25434">1</cx:pt>
          <cx:pt idx="25435">0</cx:pt>
          <cx:pt idx="25436">0</cx:pt>
          <cx:pt idx="25437">1</cx:pt>
          <cx:pt idx="25438">1</cx:pt>
          <cx:pt idx="25439">0</cx:pt>
          <cx:pt idx="25440">1</cx:pt>
          <cx:pt idx="25441">1</cx:pt>
          <cx:pt idx="25442">0</cx:pt>
          <cx:pt idx="25443">0</cx:pt>
          <cx:pt idx="25444">1</cx:pt>
          <cx:pt idx="25445">0</cx:pt>
          <cx:pt idx="25446">0</cx:pt>
          <cx:pt idx="25447">0</cx:pt>
          <cx:pt idx="25448">0</cx:pt>
          <cx:pt idx="25449">0</cx:pt>
          <cx:pt idx="25450">1</cx:pt>
          <cx:pt idx="25451">0</cx:pt>
          <cx:pt idx="25452">1</cx:pt>
          <cx:pt idx="25453">0</cx:pt>
          <cx:pt idx="25454">0</cx:pt>
          <cx:pt idx="25455">0</cx:pt>
          <cx:pt idx="25456">0</cx:pt>
          <cx:pt idx="25457">0</cx:pt>
          <cx:pt idx="25458">1</cx:pt>
          <cx:pt idx="25459">1</cx:pt>
          <cx:pt idx="25460">1</cx:pt>
          <cx:pt idx="25461">0</cx:pt>
          <cx:pt idx="25462">1</cx:pt>
          <cx:pt idx="25463">0</cx:pt>
          <cx:pt idx="25464">1</cx:pt>
          <cx:pt idx="25465">0</cx:pt>
          <cx:pt idx="25466">0</cx:pt>
          <cx:pt idx="25467">0</cx:pt>
          <cx:pt idx="25468">1</cx:pt>
          <cx:pt idx="25469">1</cx:pt>
          <cx:pt idx="25470">1</cx:pt>
          <cx:pt idx="25471">0</cx:pt>
          <cx:pt idx="25472">0</cx:pt>
          <cx:pt idx="25473">0</cx:pt>
          <cx:pt idx="25474">1</cx:pt>
          <cx:pt idx="25475">1</cx:pt>
          <cx:pt idx="25476">1</cx:pt>
          <cx:pt idx="25477">0</cx:pt>
          <cx:pt idx="25478">1</cx:pt>
          <cx:pt idx="25479">1</cx:pt>
          <cx:pt idx="25480">0</cx:pt>
          <cx:pt idx="25481">0</cx:pt>
          <cx:pt idx="25482">1</cx:pt>
          <cx:pt idx="25483">0</cx:pt>
          <cx:pt idx="25484">0</cx:pt>
          <cx:pt idx="25485">0</cx:pt>
          <cx:pt idx="25486">0</cx:pt>
          <cx:pt idx="25487">1</cx:pt>
          <cx:pt idx="25488">0</cx:pt>
          <cx:pt idx="25489">1</cx:pt>
          <cx:pt idx="25490">0</cx:pt>
          <cx:pt idx="25491">1</cx:pt>
          <cx:pt idx="25492">1</cx:pt>
          <cx:pt idx="25493">1</cx:pt>
          <cx:pt idx="25494">0</cx:pt>
          <cx:pt idx="25495">1</cx:pt>
          <cx:pt idx="25496">1</cx:pt>
          <cx:pt idx="25497">0</cx:pt>
          <cx:pt idx="25498">1</cx:pt>
          <cx:pt idx="25499">1</cx:pt>
          <cx:pt idx="25500">1</cx:pt>
          <cx:pt idx="25501">0</cx:pt>
          <cx:pt idx="25502">0</cx:pt>
          <cx:pt idx="25503">0</cx:pt>
          <cx:pt idx="25504">0</cx:pt>
          <cx:pt idx="25505">1</cx:pt>
          <cx:pt idx="25506">1</cx:pt>
          <cx:pt idx="25507">0</cx:pt>
          <cx:pt idx="25508">1</cx:pt>
          <cx:pt idx="25509">1</cx:pt>
          <cx:pt idx="25510">1</cx:pt>
          <cx:pt idx="25511">0</cx:pt>
          <cx:pt idx="25512">1</cx:pt>
          <cx:pt idx="25513">0</cx:pt>
          <cx:pt idx="25514">0</cx:pt>
          <cx:pt idx="25515">0</cx:pt>
          <cx:pt idx="25516">1</cx:pt>
          <cx:pt idx="25517">0</cx:pt>
          <cx:pt idx="25518">1</cx:pt>
          <cx:pt idx="25519">0</cx:pt>
          <cx:pt idx="25520">1</cx:pt>
          <cx:pt idx="25521">0</cx:pt>
          <cx:pt idx="25522">1</cx:pt>
          <cx:pt idx="25523">1</cx:pt>
          <cx:pt idx="25524">0</cx:pt>
          <cx:pt idx="25525">1</cx:pt>
          <cx:pt idx="25526">0</cx:pt>
          <cx:pt idx="25527">0</cx:pt>
          <cx:pt idx="25528">1</cx:pt>
          <cx:pt idx="25529">1</cx:pt>
          <cx:pt idx="25530">0</cx:pt>
          <cx:pt idx="25531">0</cx:pt>
          <cx:pt idx="25532">1</cx:pt>
          <cx:pt idx="25533">0</cx:pt>
          <cx:pt idx="25534">1</cx:pt>
          <cx:pt idx="25535">1</cx:pt>
          <cx:pt idx="25536">0</cx:pt>
          <cx:pt idx="25537">1</cx:pt>
          <cx:pt idx="25538">1</cx:pt>
          <cx:pt idx="25539">0</cx:pt>
          <cx:pt idx="25540">1</cx:pt>
          <cx:pt idx="25541">0</cx:pt>
          <cx:pt idx="25542">0</cx:pt>
          <cx:pt idx="25543">0</cx:pt>
          <cx:pt idx="25544">0</cx:pt>
          <cx:pt idx="25545">1</cx:pt>
          <cx:pt idx="25546">0</cx:pt>
          <cx:pt idx="25547">1</cx:pt>
          <cx:pt idx="25548">0</cx:pt>
          <cx:pt idx="25549">0</cx:pt>
          <cx:pt idx="25550">0</cx:pt>
          <cx:pt idx="25551">1</cx:pt>
          <cx:pt idx="25552">0</cx:pt>
          <cx:pt idx="25553">1</cx:pt>
          <cx:pt idx="25554">1</cx:pt>
          <cx:pt idx="25555">0</cx:pt>
          <cx:pt idx="25556">0</cx:pt>
          <cx:pt idx="25557">0</cx:pt>
          <cx:pt idx="25558">1</cx:pt>
          <cx:pt idx="25559">0</cx:pt>
          <cx:pt idx="25560">1</cx:pt>
          <cx:pt idx="25561">0</cx:pt>
          <cx:pt idx="25562">0</cx:pt>
          <cx:pt idx="25563">1</cx:pt>
          <cx:pt idx="25564">1</cx:pt>
          <cx:pt idx="25565">1</cx:pt>
          <cx:pt idx="25566">0</cx:pt>
          <cx:pt idx="25567">1</cx:pt>
          <cx:pt idx="25568">0</cx:pt>
          <cx:pt idx="25569">0</cx:pt>
          <cx:pt idx="25570">0</cx:pt>
          <cx:pt idx="25571">0</cx:pt>
          <cx:pt idx="25572">0</cx:pt>
          <cx:pt idx="25573">1</cx:pt>
          <cx:pt idx="25574">1</cx:pt>
          <cx:pt idx="25575">1</cx:pt>
          <cx:pt idx="25576">0</cx:pt>
          <cx:pt idx="25577">0</cx:pt>
          <cx:pt idx="25578">0</cx:pt>
          <cx:pt idx="25579">1</cx:pt>
          <cx:pt idx="25580">1</cx:pt>
          <cx:pt idx="25581">0</cx:pt>
          <cx:pt idx="25582">0</cx:pt>
          <cx:pt idx="25583">1</cx:pt>
          <cx:pt idx="25584">0</cx:pt>
          <cx:pt idx="25585">0</cx:pt>
          <cx:pt idx="25586">0</cx:pt>
          <cx:pt idx="25587">0</cx:pt>
          <cx:pt idx="25588">0</cx:pt>
          <cx:pt idx="25589">1</cx:pt>
          <cx:pt idx="25590">0</cx:pt>
          <cx:pt idx="25591">1</cx:pt>
          <cx:pt idx="25592">1</cx:pt>
          <cx:pt idx="25593">0</cx:pt>
          <cx:pt idx="25594">0</cx:pt>
          <cx:pt idx="25595">0</cx:pt>
          <cx:pt idx="25596">0</cx:pt>
          <cx:pt idx="25597">1</cx:pt>
          <cx:pt idx="25598">0</cx:pt>
          <cx:pt idx="25599">0</cx:pt>
          <cx:pt idx="25600">1</cx:pt>
          <cx:pt idx="25601">0</cx:pt>
          <cx:pt idx="25602">1</cx:pt>
          <cx:pt idx="25603">0</cx:pt>
          <cx:pt idx="25604">0</cx:pt>
          <cx:pt idx="25605">1</cx:pt>
          <cx:pt idx="25606">1</cx:pt>
          <cx:pt idx="25607">0</cx:pt>
          <cx:pt idx="25608">0</cx:pt>
          <cx:pt idx="25609">0</cx:pt>
          <cx:pt idx="25610">1</cx:pt>
          <cx:pt idx="25611">1</cx:pt>
          <cx:pt idx="25612">0</cx:pt>
          <cx:pt idx="25613">0</cx:pt>
          <cx:pt idx="25614">1</cx:pt>
          <cx:pt idx="25615">1</cx:pt>
          <cx:pt idx="25616">1</cx:pt>
          <cx:pt idx="25617">1</cx:pt>
          <cx:pt idx="25618">0</cx:pt>
          <cx:pt idx="25619">1</cx:pt>
          <cx:pt idx="25620">0</cx:pt>
          <cx:pt idx="25621">1</cx:pt>
          <cx:pt idx="25622">0</cx:pt>
          <cx:pt idx="25623">0</cx:pt>
          <cx:pt idx="25624">1</cx:pt>
          <cx:pt idx="25625">0</cx:pt>
          <cx:pt idx="25626">0</cx:pt>
          <cx:pt idx="25627">1</cx:pt>
          <cx:pt idx="25628">0</cx:pt>
          <cx:pt idx="25629">0</cx:pt>
          <cx:pt idx="25630">0</cx:pt>
          <cx:pt idx="25631">1</cx:pt>
          <cx:pt idx="25632">0</cx:pt>
          <cx:pt idx="25633">1</cx:pt>
          <cx:pt idx="25634">1</cx:pt>
          <cx:pt idx="25635">0</cx:pt>
          <cx:pt idx="25636">1</cx:pt>
          <cx:pt idx="25637">0</cx:pt>
          <cx:pt idx="25638">1</cx:pt>
          <cx:pt idx="25639">0</cx:pt>
          <cx:pt idx="25640">1</cx:pt>
          <cx:pt idx="25641">0</cx:pt>
          <cx:pt idx="25642">0</cx:pt>
          <cx:pt idx="25643">1</cx:pt>
          <cx:pt idx="25644">1</cx:pt>
          <cx:pt idx="25645">1</cx:pt>
          <cx:pt idx="25646">0</cx:pt>
          <cx:pt idx="25647">1</cx:pt>
          <cx:pt idx="25648">1</cx:pt>
          <cx:pt idx="25649">1</cx:pt>
          <cx:pt idx="25650">0</cx:pt>
          <cx:pt idx="25651">0</cx:pt>
          <cx:pt idx="25652">1</cx:pt>
          <cx:pt idx="25653">0</cx:pt>
          <cx:pt idx="25654">1</cx:pt>
          <cx:pt idx="25655">0</cx:pt>
          <cx:pt idx="25656">1</cx:pt>
          <cx:pt idx="25657">0</cx:pt>
          <cx:pt idx="25658">0</cx:pt>
          <cx:pt idx="25659">0</cx:pt>
          <cx:pt idx="25660">1</cx:pt>
          <cx:pt idx="25661">0</cx:pt>
          <cx:pt idx="25662">1</cx:pt>
          <cx:pt idx="25663">0</cx:pt>
          <cx:pt idx="25664">0</cx:pt>
          <cx:pt idx="25665">0</cx:pt>
          <cx:pt idx="25666">1</cx:pt>
          <cx:pt idx="25667">0</cx:pt>
          <cx:pt idx="25668">1</cx:pt>
          <cx:pt idx="25669">0</cx:pt>
          <cx:pt idx="25670">0</cx:pt>
          <cx:pt idx="25671">0</cx:pt>
          <cx:pt idx="25672">1</cx:pt>
          <cx:pt idx="25673">0</cx:pt>
          <cx:pt idx="25674">0</cx:pt>
          <cx:pt idx="25675">1</cx:pt>
          <cx:pt idx="25676">1</cx:pt>
          <cx:pt idx="25677">0</cx:pt>
          <cx:pt idx="25678">1</cx:pt>
          <cx:pt idx="25679">1</cx:pt>
          <cx:pt idx="25680">0</cx:pt>
          <cx:pt idx="25681">1</cx:pt>
          <cx:pt idx="25682">0</cx:pt>
          <cx:pt idx="25683">1</cx:pt>
          <cx:pt idx="25684">0</cx:pt>
          <cx:pt idx="25685">0</cx:pt>
          <cx:pt idx="25686">0</cx:pt>
          <cx:pt idx="25687">0</cx:pt>
          <cx:pt idx="25688">1</cx:pt>
          <cx:pt idx="25689">0</cx:pt>
          <cx:pt idx="25690">0</cx:pt>
          <cx:pt idx="25691">1</cx:pt>
          <cx:pt idx="25692">1</cx:pt>
          <cx:pt idx="25693">0</cx:pt>
          <cx:pt idx="25694">1</cx:pt>
          <cx:pt idx="25695">0</cx:pt>
          <cx:pt idx="25696">0</cx:pt>
          <cx:pt idx="25697">1</cx:pt>
          <cx:pt idx="25698">1</cx:pt>
          <cx:pt idx="25699">0</cx:pt>
          <cx:pt idx="25700">0</cx:pt>
          <cx:pt idx="25701">0</cx:pt>
          <cx:pt idx="25702">0</cx:pt>
          <cx:pt idx="25703">1</cx:pt>
          <cx:pt idx="25704">0</cx:pt>
          <cx:pt idx="25705">1</cx:pt>
          <cx:pt idx="25706">1</cx:pt>
          <cx:pt idx="25707">1</cx:pt>
          <cx:pt idx="25708">1</cx:pt>
          <cx:pt idx="25709">0</cx:pt>
          <cx:pt idx="25710">1</cx:pt>
          <cx:pt idx="25711">0</cx:pt>
          <cx:pt idx="25712">0</cx:pt>
          <cx:pt idx="25713">0</cx:pt>
          <cx:pt idx="25714">1</cx:pt>
          <cx:pt idx="25715">1</cx:pt>
          <cx:pt idx="25716">0</cx:pt>
          <cx:pt idx="25717">0</cx:pt>
          <cx:pt idx="25718">1</cx:pt>
          <cx:pt idx="25719">0</cx:pt>
          <cx:pt idx="25720">0</cx:pt>
          <cx:pt idx="25721">0</cx:pt>
          <cx:pt idx="25722">0</cx:pt>
          <cx:pt idx="25723">0</cx:pt>
          <cx:pt idx="25724">1</cx:pt>
          <cx:pt idx="25725">1</cx:pt>
          <cx:pt idx="25726">1</cx:pt>
          <cx:pt idx="25727">1</cx:pt>
          <cx:pt idx="25728">0</cx:pt>
          <cx:pt idx="25729">0</cx:pt>
          <cx:pt idx="25730">0</cx:pt>
          <cx:pt idx="25731">1</cx:pt>
          <cx:pt idx="25732">1</cx:pt>
          <cx:pt idx="25733">0</cx:pt>
          <cx:pt idx="25734">0</cx:pt>
          <cx:pt idx="25735">0</cx:pt>
          <cx:pt idx="25736">0</cx:pt>
          <cx:pt idx="25737">0</cx:pt>
          <cx:pt idx="25738">0</cx:pt>
          <cx:pt idx="25739">0</cx:pt>
          <cx:pt idx="25740">1</cx:pt>
          <cx:pt idx="25741">1</cx:pt>
          <cx:pt idx="25742">0</cx:pt>
          <cx:pt idx="25743">1</cx:pt>
          <cx:pt idx="25744">0</cx:pt>
          <cx:pt idx="25745">0</cx:pt>
          <cx:pt idx="25746">0</cx:pt>
          <cx:pt idx="25747">0</cx:pt>
          <cx:pt idx="25748">0</cx:pt>
          <cx:pt idx="25749">0</cx:pt>
          <cx:pt idx="25750">0</cx:pt>
          <cx:pt idx="25751">0</cx:pt>
          <cx:pt idx="25752">1</cx:pt>
          <cx:pt idx="25753">0</cx:pt>
          <cx:pt idx="25754">0</cx:pt>
          <cx:pt idx="25755">1</cx:pt>
          <cx:pt idx="25756">0</cx:pt>
          <cx:pt idx="25757">0</cx:pt>
          <cx:pt idx="25758">0</cx:pt>
          <cx:pt idx="25759">1</cx:pt>
          <cx:pt idx="25760">1</cx:pt>
          <cx:pt idx="25761">0</cx:pt>
          <cx:pt idx="25762">1</cx:pt>
          <cx:pt idx="25763">0</cx:pt>
          <cx:pt idx="25764">1</cx:pt>
          <cx:pt idx="25765">0</cx:pt>
          <cx:pt idx="25766">0</cx:pt>
          <cx:pt idx="25767">1</cx:pt>
          <cx:pt idx="25768">0</cx:pt>
          <cx:pt idx="25769">1</cx:pt>
          <cx:pt idx="25770">0</cx:pt>
          <cx:pt idx="25771">0</cx:pt>
          <cx:pt idx="25772">0</cx:pt>
          <cx:pt idx="25773">0</cx:pt>
          <cx:pt idx="25774">0</cx:pt>
          <cx:pt idx="25775">0</cx:pt>
          <cx:pt idx="25776">1</cx:pt>
          <cx:pt idx="25777">0</cx:pt>
          <cx:pt idx="25778">0</cx:pt>
          <cx:pt idx="25779">0</cx:pt>
          <cx:pt idx="25780">0</cx:pt>
          <cx:pt idx="25781">0</cx:pt>
          <cx:pt idx="25782">1</cx:pt>
          <cx:pt idx="25783">0</cx:pt>
          <cx:pt idx="25784">0</cx:pt>
          <cx:pt idx="25785">1</cx:pt>
          <cx:pt idx="25786">1</cx:pt>
          <cx:pt idx="25787">0</cx:pt>
          <cx:pt idx="25788">0</cx:pt>
          <cx:pt idx="25789">0</cx:pt>
          <cx:pt idx="25790">1</cx:pt>
          <cx:pt idx="25791">1</cx:pt>
          <cx:pt idx="25792">0</cx:pt>
          <cx:pt idx="25793">0</cx:pt>
          <cx:pt idx="25794">0</cx:pt>
          <cx:pt idx="25795">0</cx:pt>
          <cx:pt idx="25796">1</cx:pt>
          <cx:pt idx="25797">0</cx:pt>
          <cx:pt idx="25798">0</cx:pt>
          <cx:pt idx="25799">0</cx:pt>
          <cx:pt idx="25800">0</cx:pt>
          <cx:pt idx="25801">0</cx:pt>
          <cx:pt idx="25802">0</cx:pt>
          <cx:pt idx="25803">0</cx:pt>
          <cx:pt idx="25804">0</cx:pt>
          <cx:pt idx="25805">1</cx:pt>
          <cx:pt idx="25806">0</cx:pt>
          <cx:pt idx="25807">1</cx:pt>
          <cx:pt idx="25808">0</cx:pt>
          <cx:pt idx="25809">1</cx:pt>
          <cx:pt idx="25810">0</cx:pt>
          <cx:pt idx="25811">0</cx:pt>
          <cx:pt idx="25812">1</cx:pt>
          <cx:pt idx="25813">0</cx:pt>
          <cx:pt idx="25814">0</cx:pt>
          <cx:pt idx="25815">0</cx:pt>
          <cx:pt idx="25816">1</cx:pt>
          <cx:pt idx="25817">0</cx:pt>
          <cx:pt idx="25818">1</cx:pt>
          <cx:pt idx="25819">0</cx:pt>
          <cx:pt idx="25820">0</cx:pt>
          <cx:pt idx="25821">1</cx:pt>
          <cx:pt idx="25822">1</cx:pt>
          <cx:pt idx="25823">0</cx:pt>
          <cx:pt idx="25824">0</cx:pt>
          <cx:pt idx="25825">1</cx:pt>
          <cx:pt idx="25826">0</cx:pt>
          <cx:pt idx="25827">1</cx:pt>
          <cx:pt idx="25828">0</cx:pt>
          <cx:pt idx="25829">1</cx:pt>
          <cx:pt idx="25830">1</cx:pt>
          <cx:pt idx="25831">0</cx:pt>
          <cx:pt idx="25832">1</cx:pt>
          <cx:pt idx="25833">0</cx:pt>
          <cx:pt idx="25834">0</cx:pt>
          <cx:pt idx="25835">0</cx:pt>
          <cx:pt idx="25836">0</cx:pt>
          <cx:pt idx="25837">1</cx:pt>
          <cx:pt idx="25838">0</cx:pt>
          <cx:pt idx="25839">0</cx:pt>
          <cx:pt idx="25840">1</cx:pt>
          <cx:pt idx="25841">1</cx:pt>
          <cx:pt idx="25842">1</cx:pt>
          <cx:pt idx="25843">0</cx:pt>
          <cx:pt idx="25844">1</cx:pt>
          <cx:pt idx="25845">0</cx:pt>
          <cx:pt idx="25846">1</cx:pt>
          <cx:pt idx="25847">0</cx:pt>
          <cx:pt idx="25848">1</cx:pt>
          <cx:pt idx="25849">1</cx:pt>
          <cx:pt idx="25850">0</cx:pt>
          <cx:pt idx="25851">0</cx:pt>
          <cx:pt idx="25852">0</cx:pt>
          <cx:pt idx="25853">0</cx:pt>
          <cx:pt idx="25854">1</cx:pt>
          <cx:pt idx="25855">0</cx:pt>
          <cx:pt idx="25856">0</cx:pt>
          <cx:pt idx="25857">0</cx:pt>
          <cx:pt idx="25858">0</cx:pt>
          <cx:pt idx="25859">0</cx:pt>
          <cx:pt idx="25860">1</cx:pt>
          <cx:pt idx="25861">1</cx:pt>
          <cx:pt idx="25862">0</cx:pt>
          <cx:pt idx="25863">1</cx:pt>
          <cx:pt idx="25864">0</cx:pt>
          <cx:pt idx="25865">0</cx:pt>
          <cx:pt idx="25866">1</cx:pt>
          <cx:pt idx="25867">1</cx:pt>
          <cx:pt idx="25868">0</cx:pt>
          <cx:pt idx="25869">1</cx:pt>
          <cx:pt idx="25870">0</cx:pt>
          <cx:pt idx="25871">0</cx:pt>
          <cx:pt idx="25872">0</cx:pt>
          <cx:pt idx="25873">0</cx:pt>
          <cx:pt idx="25874">0</cx:pt>
          <cx:pt idx="25875">0</cx:pt>
          <cx:pt idx="25876">0</cx:pt>
          <cx:pt idx="25877">0</cx:pt>
          <cx:pt idx="25878">1</cx:pt>
          <cx:pt idx="25879">0</cx:pt>
          <cx:pt idx="25880">0</cx:pt>
          <cx:pt idx="25881">0</cx:pt>
          <cx:pt idx="25882">1</cx:pt>
          <cx:pt idx="25883">1</cx:pt>
          <cx:pt idx="25884">0</cx:pt>
          <cx:pt idx="25885">1</cx:pt>
          <cx:pt idx="25886">0</cx:pt>
          <cx:pt idx="25887">0</cx:pt>
          <cx:pt idx="25888">0</cx:pt>
          <cx:pt idx="25889">1</cx:pt>
          <cx:pt idx="25890">0</cx:pt>
          <cx:pt idx="25891">0</cx:pt>
          <cx:pt idx="25892">1</cx:pt>
          <cx:pt idx="25893">1</cx:pt>
          <cx:pt idx="25894">0</cx:pt>
          <cx:pt idx="25895">1</cx:pt>
          <cx:pt idx="25896">0</cx:pt>
          <cx:pt idx="25897">1</cx:pt>
          <cx:pt idx="25898">1</cx:pt>
          <cx:pt idx="25899">1</cx:pt>
          <cx:pt idx="25900">1</cx:pt>
          <cx:pt idx="25901">0</cx:pt>
          <cx:pt idx="25902">0</cx:pt>
          <cx:pt idx="25903">0</cx:pt>
          <cx:pt idx="25904">0</cx:pt>
          <cx:pt idx="25905">1</cx:pt>
          <cx:pt idx="25906">1</cx:pt>
          <cx:pt idx="25907">1</cx:pt>
          <cx:pt idx="25908">0</cx:pt>
          <cx:pt idx="25909">0</cx:pt>
          <cx:pt idx="25910">0</cx:pt>
          <cx:pt idx="25911">1</cx:pt>
          <cx:pt idx="25912">0</cx:pt>
          <cx:pt idx="25913">0</cx:pt>
          <cx:pt idx="25914">1</cx:pt>
          <cx:pt idx="25915">0</cx:pt>
          <cx:pt idx="25916">0</cx:pt>
          <cx:pt idx="25917">0</cx:pt>
          <cx:pt idx="25918">1</cx:pt>
          <cx:pt idx="25919">1</cx:pt>
          <cx:pt idx="25920">0</cx:pt>
          <cx:pt idx="25921">0</cx:pt>
          <cx:pt idx="25922">0</cx:pt>
          <cx:pt idx="25923">0</cx:pt>
          <cx:pt idx="25924">0</cx:pt>
          <cx:pt idx="25925">1</cx:pt>
          <cx:pt idx="25926">0</cx:pt>
          <cx:pt idx="25927">1</cx:pt>
          <cx:pt idx="25928">1</cx:pt>
          <cx:pt idx="25929">0</cx:pt>
          <cx:pt idx="25930">0</cx:pt>
          <cx:pt idx="25931">1</cx:pt>
          <cx:pt idx="25932">1</cx:pt>
          <cx:pt idx="25933">0</cx:pt>
          <cx:pt idx="25934">1</cx:pt>
          <cx:pt idx="25935">0</cx:pt>
          <cx:pt idx="25936">1</cx:pt>
          <cx:pt idx="25937">0</cx:pt>
          <cx:pt idx="25938">0</cx:pt>
          <cx:pt idx="25939">0</cx:pt>
          <cx:pt idx="25940">1</cx:pt>
          <cx:pt idx="25941">1</cx:pt>
          <cx:pt idx="25942">0</cx:pt>
          <cx:pt idx="25943">0</cx:pt>
          <cx:pt idx="25944">1</cx:pt>
          <cx:pt idx="25945">0</cx:pt>
          <cx:pt idx="25946">0</cx:pt>
          <cx:pt idx="25947">1</cx:pt>
          <cx:pt idx="25948">1</cx:pt>
          <cx:pt idx="25949">0</cx:pt>
          <cx:pt idx="25950">0</cx:pt>
          <cx:pt idx="25951">1</cx:pt>
          <cx:pt idx="25952">1</cx:pt>
          <cx:pt idx="25953">0</cx:pt>
          <cx:pt idx="25954">0</cx:pt>
          <cx:pt idx="25955">1</cx:pt>
          <cx:pt idx="25956">0</cx:pt>
          <cx:pt idx="25957">0</cx:pt>
          <cx:pt idx="25958">0</cx:pt>
          <cx:pt idx="25959">0</cx:pt>
          <cx:pt idx="25960">1</cx:pt>
          <cx:pt idx="25961">0</cx:pt>
          <cx:pt idx="25962">0</cx:pt>
          <cx:pt idx="25963">0</cx:pt>
          <cx:pt idx="25964">0</cx:pt>
          <cx:pt idx="25965">0</cx:pt>
          <cx:pt idx="25966">1</cx:pt>
          <cx:pt idx="25967">0</cx:pt>
          <cx:pt idx="25968">0</cx:pt>
          <cx:pt idx="25969">0</cx:pt>
          <cx:pt idx="25970">0</cx:pt>
          <cx:pt idx="25971">0</cx:pt>
          <cx:pt idx="25972">0</cx:pt>
          <cx:pt idx="25973">1</cx:pt>
          <cx:pt idx="25974">1</cx:pt>
          <cx:pt idx="25975">1</cx:pt>
          <cx:pt idx="25976">1</cx:pt>
          <cx:pt idx="25977">1</cx:pt>
          <cx:pt idx="25978">0</cx:pt>
          <cx:pt idx="25979">0</cx:pt>
          <cx:pt idx="25980">1</cx:pt>
          <cx:pt idx="25981">0</cx:pt>
          <cx:pt idx="25982">1</cx:pt>
          <cx:pt idx="25983">1</cx:pt>
          <cx:pt idx="25984">0</cx:pt>
          <cx:pt idx="25985">1</cx:pt>
          <cx:pt idx="25986">0</cx:pt>
          <cx:pt idx="25987">0</cx:pt>
          <cx:pt idx="25988">0</cx:pt>
          <cx:pt idx="25989">0</cx:pt>
          <cx:pt idx="25990">0</cx:pt>
          <cx:pt idx="25991">0</cx:pt>
          <cx:pt idx="25992">1</cx:pt>
          <cx:pt idx="25993">1</cx:pt>
          <cx:pt idx="25994">1</cx:pt>
          <cx:pt idx="25995">1</cx:pt>
          <cx:pt idx="25996">1</cx:pt>
          <cx:pt idx="25997">1</cx:pt>
          <cx:pt idx="25998">1</cx:pt>
          <cx:pt idx="25999">0</cx:pt>
          <cx:pt idx="26000">1</cx:pt>
          <cx:pt idx="26001">0</cx:pt>
          <cx:pt idx="26002">0</cx:pt>
          <cx:pt idx="26003">1</cx:pt>
          <cx:pt idx="26004">0</cx:pt>
          <cx:pt idx="26005">0</cx:pt>
          <cx:pt idx="26006">1</cx:pt>
          <cx:pt idx="26007">0</cx:pt>
          <cx:pt idx="26008">1</cx:pt>
          <cx:pt idx="26009">1</cx:pt>
          <cx:pt idx="26010">0</cx:pt>
          <cx:pt idx="26011">0</cx:pt>
          <cx:pt idx="26012">1</cx:pt>
          <cx:pt idx="26013">0</cx:pt>
          <cx:pt idx="26014">0</cx:pt>
          <cx:pt idx="26015">0</cx:pt>
          <cx:pt idx="26016">0</cx:pt>
          <cx:pt idx="26017">0</cx:pt>
          <cx:pt idx="26018">1</cx:pt>
          <cx:pt idx="26019">0</cx:pt>
          <cx:pt idx="26020">0</cx:pt>
          <cx:pt idx="26021">1</cx:pt>
          <cx:pt idx="26022">0</cx:pt>
          <cx:pt idx="26023">0</cx:pt>
          <cx:pt idx="26024">1</cx:pt>
          <cx:pt idx="26025">1</cx:pt>
          <cx:pt idx="26026">1</cx:pt>
          <cx:pt idx="26027">0</cx:pt>
          <cx:pt idx="26028">1</cx:pt>
          <cx:pt idx="26029">1</cx:pt>
          <cx:pt idx="26030">0</cx:pt>
          <cx:pt idx="26031">0</cx:pt>
          <cx:pt idx="26032">0</cx:pt>
          <cx:pt idx="26033">0</cx:pt>
          <cx:pt idx="26034">1</cx:pt>
          <cx:pt idx="26035">0</cx:pt>
          <cx:pt idx="26036">0</cx:pt>
          <cx:pt idx="26037">1</cx:pt>
          <cx:pt idx="26038">0</cx:pt>
          <cx:pt idx="26039">1</cx:pt>
          <cx:pt idx="26040">0</cx:pt>
          <cx:pt idx="26041">1</cx:pt>
          <cx:pt idx="26042">1</cx:pt>
          <cx:pt idx="26043">1</cx:pt>
          <cx:pt idx="26044">1</cx:pt>
          <cx:pt idx="26045">1</cx:pt>
          <cx:pt idx="26046">1</cx:pt>
          <cx:pt idx="26047">1</cx:pt>
          <cx:pt idx="26048">0</cx:pt>
          <cx:pt idx="26049">0</cx:pt>
          <cx:pt idx="26050">0</cx:pt>
          <cx:pt idx="26051">1</cx:pt>
          <cx:pt idx="26052">1</cx:pt>
          <cx:pt idx="26053">0</cx:pt>
          <cx:pt idx="26054">0</cx:pt>
          <cx:pt idx="26055">0</cx:pt>
          <cx:pt idx="26056">0</cx:pt>
          <cx:pt idx="26057">1</cx:pt>
          <cx:pt idx="26058">0</cx:pt>
          <cx:pt idx="26059">0</cx:pt>
          <cx:pt idx="26060">1</cx:pt>
          <cx:pt idx="26061">1</cx:pt>
          <cx:pt idx="26062">0</cx:pt>
          <cx:pt idx="26063">0</cx:pt>
          <cx:pt idx="26064">0</cx:pt>
          <cx:pt idx="26065">0</cx:pt>
          <cx:pt idx="26066">0</cx:pt>
          <cx:pt idx="26067">0</cx:pt>
          <cx:pt idx="26068">1</cx:pt>
          <cx:pt idx="26069">0</cx:pt>
          <cx:pt idx="26070">1</cx:pt>
          <cx:pt idx="26071">0</cx:pt>
          <cx:pt idx="26072">1</cx:pt>
          <cx:pt idx="26073">0</cx:pt>
          <cx:pt idx="26074">0</cx:pt>
          <cx:pt idx="26075">1</cx:pt>
          <cx:pt idx="26076">1</cx:pt>
          <cx:pt idx="26077">1</cx:pt>
          <cx:pt idx="26078">0</cx:pt>
          <cx:pt idx="26079">0</cx:pt>
          <cx:pt idx="26080">1</cx:pt>
          <cx:pt idx="26081">0</cx:pt>
          <cx:pt idx="26082">0</cx:pt>
          <cx:pt idx="26083">0</cx:pt>
          <cx:pt idx="26084">1</cx:pt>
          <cx:pt idx="26085">1</cx:pt>
          <cx:pt idx="26086">1</cx:pt>
          <cx:pt idx="26087">0</cx:pt>
          <cx:pt idx="26088">0</cx:pt>
          <cx:pt idx="26089">1</cx:pt>
          <cx:pt idx="26090">1</cx:pt>
          <cx:pt idx="26091">0</cx:pt>
          <cx:pt idx="26092">0</cx:pt>
          <cx:pt idx="26093">1</cx:pt>
          <cx:pt idx="26094">1</cx:pt>
          <cx:pt idx="26095">0</cx:pt>
          <cx:pt idx="26096">1</cx:pt>
          <cx:pt idx="26097">1</cx:pt>
          <cx:pt idx="26098">0</cx:pt>
          <cx:pt idx="26099">0</cx:pt>
          <cx:pt idx="26100">0</cx:pt>
          <cx:pt idx="26101">1</cx:pt>
          <cx:pt idx="26102">0</cx:pt>
          <cx:pt idx="26103">1</cx:pt>
          <cx:pt idx="26104">0</cx:pt>
          <cx:pt idx="26105">0</cx:pt>
          <cx:pt idx="26106">0</cx:pt>
          <cx:pt idx="26107">0</cx:pt>
          <cx:pt idx="26108">0</cx:pt>
          <cx:pt idx="26109">1</cx:pt>
          <cx:pt idx="26110">0</cx:pt>
          <cx:pt idx="26111">0</cx:pt>
          <cx:pt idx="26112">1</cx:pt>
          <cx:pt idx="26113">1</cx:pt>
          <cx:pt idx="26114">0</cx:pt>
          <cx:pt idx="26115">0</cx:pt>
          <cx:pt idx="26116">1</cx:pt>
          <cx:pt idx="26117">0</cx:pt>
          <cx:pt idx="26118">0</cx:pt>
          <cx:pt idx="26119">1</cx:pt>
          <cx:pt idx="26120">1</cx:pt>
          <cx:pt idx="26121">1</cx:pt>
          <cx:pt idx="26122">1</cx:pt>
          <cx:pt idx="26123">0</cx:pt>
          <cx:pt idx="26124">1</cx:pt>
          <cx:pt idx="26125">0</cx:pt>
          <cx:pt idx="26126">0</cx:pt>
          <cx:pt idx="26127">0</cx:pt>
          <cx:pt idx="26128">0</cx:pt>
          <cx:pt idx="26129">0</cx:pt>
          <cx:pt idx="26130">1</cx:pt>
          <cx:pt idx="26131">1</cx:pt>
          <cx:pt idx="26132">0</cx:pt>
          <cx:pt idx="26133">1</cx:pt>
          <cx:pt idx="26134">1</cx:pt>
          <cx:pt idx="26135">1</cx:pt>
          <cx:pt idx="26136">0</cx:pt>
          <cx:pt idx="26137">0</cx:pt>
          <cx:pt idx="26138">0</cx:pt>
          <cx:pt idx="26139">0</cx:pt>
          <cx:pt idx="26140">1</cx:pt>
          <cx:pt idx="26141">0</cx:pt>
          <cx:pt idx="26142">1</cx:pt>
          <cx:pt idx="26143">0</cx:pt>
          <cx:pt idx="26144">0</cx:pt>
          <cx:pt idx="26145">1</cx:pt>
          <cx:pt idx="26146">0</cx:pt>
          <cx:pt idx="26147">0</cx:pt>
          <cx:pt idx="26148">0</cx:pt>
          <cx:pt idx="26149">0</cx:pt>
          <cx:pt idx="26150">0</cx:pt>
          <cx:pt idx="26151">0</cx:pt>
          <cx:pt idx="26152">0</cx:pt>
          <cx:pt idx="26153">1</cx:pt>
          <cx:pt idx="26154">1</cx:pt>
          <cx:pt idx="26155">0</cx:pt>
          <cx:pt idx="26156">1</cx:pt>
          <cx:pt idx="26157">1</cx:pt>
          <cx:pt idx="26158">1</cx:pt>
          <cx:pt idx="26159">1</cx:pt>
          <cx:pt idx="26160">1</cx:pt>
          <cx:pt idx="26161">0</cx:pt>
          <cx:pt idx="26162">1</cx:pt>
          <cx:pt idx="26163">1</cx:pt>
          <cx:pt idx="26164">1</cx:pt>
          <cx:pt idx="26165">0</cx:pt>
          <cx:pt idx="26166">1</cx:pt>
          <cx:pt idx="26167">1</cx:pt>
          <cx:pt idx="26168">0</cx:pt>
          <cx:pt idx="26169">1</cx:pt>
          <cx:pt idx="26170">0</cx:pt>
          <cx:pt idx="26171">0</cx:pt>
          <cx:pt idx="26172">1</cx:pt>
          <cx:pt idx="26173">0</cx:pt>
          <cx:pt idx="26174">0</cx:pt>
          <cx:pt idx="26175">0</cx:pt>
          <cx:pt idx="26176">1</cx:pt>
          <cx:pt idx="26177">1</cx:pt>
          <cx:pt idx="26178">1</cx:pt>
          <cx:pt idx="26179">0</cx:pt>
          <cx:pt idx="26180">1</cx:pt>
          <cx:pt idx="26181">0</cx:pt>
          <cx:pt idx="26182">1</cx:pt>
          <cx:pt idx="26183">1</cx:pt>
          <cx:pt idx="26184">0</cx:pt>
          <cx:pt idx="26185">0</cx:pt>
          <cx:pt idx="26186">0</cx:pt>
          <cx:pt idx="26187">1</cx:pt>
          <cx:pt idx="26188">0</cx:pt>
          <cx:pt idx="26189">1</cx:pt>
          <cx:pt idx="26190">0</cx:pt>
          <cx:pt idx="26191">1</cx:pt>
          <cx:pt idx="26192">0</cx:pt>
          <cx:pt idx="26193">1</cx:pt>
          <cx:pt idx="26194">1</cx:pt>
          <cx:pt idx="26195">0</cx:pt>
          <cx:pt idx="26196">0</cx:pt>
          <cx:pt idx="26197">0</cx:pt>
          <cx:pt idx="26198">1</cx:pt>
          <cx:pt idx="26199">0</cx:pt>
          <cx:pt idx="26200">0</cx:pt>
          <cx:pt idx="26201">0</cx:pt>
          <cx:pt idx="26202">1</cx:pt>
          <cx:pt idx="26203">0</cx:pt>
          <cx:pt idx="26204">0</cx:pt>
          <cx:pt idx="26205">1</cx:pt>
          <cx:pt idx="26206">1</cx:pt>
          <cx:pt idx="26207">0</cx:pt>
          <cx:pt idx="26208">0</cx:pt>
          <cx:pt idx="26209">0</cx:pt>
          <cx:pt idx="26210">0</cx:pt>
          <cx:pt idx="26211">0</cx:pt>
          <cx:pt idx="26212">0</cx:pt>
          <cx:pt idx="26213">1</cx:pt>
          <cx:pt idx="26214">0</cx:pt>
          <cx:pt idx="26215">0</cx:pt>
          <cx:pt idx="26216">0</cx:pt>
          <cx:pt idx="26217">0</cx:pt>
          <cx:pt idx="26218">0</cx:pt>
          <cx:pt idx="26219">0</cx:pt>
          <cx:pt idx="26220">0</cx:pt>
          <cx:pt idx="26221">1</cx:pt>
          <cx:pt idx="26222">0</cx:pt>
          <cx:pt idx="26223">1</cx:pt>
          <cx:pt idx="26224">1</cx:pt>
          <cx:pt idx="26225">1</cx:pt>
          <cx:pt idx="26226">0</cx:pt>
          <cx:pt idx="26227">0</cx:pt>
          <cx:pt idx="26228">0</cx:pt>
          <cx:pt idx="26229">1</cx:pt>
          <cx:pt idx="26230">1</cx:pt>
          <cx:pt idx="26231">0</cx:pt>
          <cx:pt idx="26232">0</cx:pt>
          <cx:pt idx="26233">0</cx:pt>
          <cx:pt idx="26234">0</cx:pt>
          <cx:pt idx="26235">1</cx:pt>
          <cx:pt idx="26236">0</cx:pt>
          <cx:pt idx="26237">1</cx:pt>
          <cx:pt idx="26238">0</cx:pt>
          <cx:pt idx="26239">1</cx:pt>
          <cx:pt idx="26240">1</cx:pt>
          <cx:pt idx="26241">1</cx:pt>
          <cx:pt idx="26242">1</cx:pt>
          <cx:pt idx="26243">0</cx:pt>
          <cx:pt idx="26244">1</cx:pt>
          <cx:pt idx="26245">1</cx:pt>
          <cx:pt idx="26246">1</cx:pt>
          <cx:pt idx="26247">0</cx:pt>
          <cx:pt idx="26248">0</cx:pt>
          <cx:pt idx="26249">0</cx:pt>
          <cx:pt idx="26250">1</cx:pt>
          <cx:pt idx="26251">0</cx:pt>
          <cx:pt idx="26252">0</cx:pt>
          <cx:pt idx="26253">0</cx:pt>
          <cx:pt idx="26254">0</cx:pt>
          <cx:pt idx="26255">0</cx:pt>
          <cx:pt idx="26256">1</cx:pt>
          <cx:pt idx="26257">0</cx:pt>
          <cx:pt idx="26258">1</cx:pt>
          <cx:pt idx="26259">0</cx:pt>
          <cx:pt idx="26260">1</cx:pt>
          <cx:pt idx="26261">1</cx:pt>
          <cx:pt idx="26262">1</cx:pt>
          <cx:pt idx="26263">0</cx:pt>
          <cx:pt idx="26264">1</cx:pt>
          <cx:pt idx="26265">0</cx:pt>
          <cx:pt idx="26266">1</cx:pt>
          <cx:pt idx="26267">0</cx:pt>
          <cx:pt idx="26268">1</cx:pt>
          <cx:pt idx="26269">1</cx:pt>
          <cx:pt idx="26270">0</cx:pt>
          <cx:pt idx="26271">1</cx:pt>
          <cx:pt idx="26272">1</cx:pt>
          <cx:pt idx="26273">1</cx:pt>
          <cx:pt idx="26274">0</cx:pt>
          <cx:pt idx="26275">0</cx:pt>
          <cx:pt idx="26276">0</cx:pt>
          <cx:pt idx="26277">1</cx:pt>
          <cx:pt idx="26278">1</cx:pt>
          <cx:pt idx="26279">1</cx:pt>
          <cx:pt idx="26280">1</cx:pt>
          <cx:pt idx="26281">0</cx:pt>
          <cx:pt idx="26282">1</cx:pt>
          <cx:pt idx="26283">0</cx:pt>
          <cx:pt idx="26284">0</cx:pt>
          <cx:pt idx="26285">0</cx:pt>
          <cx:pt idx="26286">0</cx:pt>
          <cx:pt idx="26287">0</cx:pt>
          <cx:pt idx="26288">0</cx:pt>
          <cx:pt idx="26289">1</cx:pt>
          <cx:pt idx="26290">1</cx:pt>
          <cx:pt idx="26291">0</cx:pt>
          <cx:pt idx="26292">1</cx:pt>
          <cx:pt idx="26293">0</cx:pt>
          <cx:pt idx="26294">1</cx:pt>
          <cx:pt idx="26295">0</cx:pt>
          <cx:pt idx="26296">1</cx:pt>
          <cx:pt idx="26297">0</cx:pt>
          <cx:pt idx="26298">0</cx:pt>
          <cx:pt idx="26299">0</cx:pt>
          <cx:pt idx="26300">1</cx:pt>
          <cx:pt idx="26301">0</cx:pt>
          <cx:pt idx="26302">1</cx:pt>
          <cx:pt idx="26303">0</cx:pt>
          <cx:pt idx="26304">0</cx:pt>
          <cx:pt idx="26305">1</cx:pt>
          <cx:pt idx="26306">0</cx:pt>
          <cx:pt idx="26307">1</cx:pt>
          <cx:pt idx="26308">1</cx:pt>
          <cx:pt idx="26309">0</cx:pt>
          <cx:pt idx="26310">0</cx:pt>
          <cx:pt idx="26311">0</cx:pt>
          <cx:pt idx="26312">0</cx:pt>
          <cx:pt idx="26313">0</cx:pt>
          <cx:pt idx="26314">0</cx:pt>
          <cx:pt idx="26315">1</cx:pt>
          <cx:pt idx="26316">1</cx:pt>
          <cx:pt idx="26317">1</cx:pt>
          <cx:pt idx="26318">0</cx:pt>
          <cx:pt idx="26319">0</cx:pt>
          <cx:pt idx="26320">0</cx:pt>
          <cx:pt idx="26321">1</cx:pt>
          <cx:pt idx="26322">1</cx:pt>
          <cx:pt idx="26323">0</cx:pt>
          <cx:pt idx="26324">0</cx:pt>
          <cx:pt idx="26325">0</cx:pt>
          <cx:pt idx="26326">1</cx:pt>
          <cx:pt idx="26327">1</cx:pt>
          <cx:pt idx="26328">1</cx:pt>
          <cx:pt idx="26329">0</cx:pt>
          <cx:pt idx="26330">1</cx:pt>
          <cx:pt idx="26331">0</cx:pt>
          <cx:pt idx="26332">1</cx:pt>
          <cx:pt idx="26333">1</cx:pt>
          <cx:pt idx="26334">1</cx:pt>
          <cx:pt idx="26335">1</cx:pt>
          <cx:pt idx="26336">0</cx:pt>
          <cx:pt idx="26337">0</cx:pt>
          <cx:pt idx="26338">0</cx:pt>
          <cx:pt idx="26339">0</cx:pt>
          <cx:pt idx="26340">0</cx:pt>
          <cx:pt idx="26341">1</cx:pt>
          <cx:pt idx="26342">0</cx:pt>
          <cx:pt idx="26343">0</cx:pt>
          <cx:pt idx="26344">1</cx:pt>
          <cx:pt idx="26345">0</cx:pt>
          <cx:pt idx="26346">0</cx:pt>
          <cx:pt idx="26347">1</cx:pt>
          <cx:pt idx="26348">0</cx:pt>
          <cx:pt idx="26349">0</cx:pt>
          <cx:pt idx="26350">0</cx:pt>
          <cx:pt idx="26351">1</cx:pt>
          <cx:pt idx="26352">0</cx:pt>
          <cx:pt idx="26353">0</cx:pt>
          <cx:pt idx="26354">0</cx:pt>
          <cx:pt idx="26355">1</cx:pt>
          <cx:pt idx="26356">0</cx:pt>
          <cx:pt idx="26357">1</cx:pt>
          <cx:pt idx="26358">0</cx:pt>
          <cx:pt idx="26359">0</cx:pt>
          <cx:pt idx="26360">1</cx:pt>
          <cx:pt idx="26361">0</cx:pt>
          <cx:pt idx="26362">0</cx:pt>
          <cx:pt idx="26363">1</cx:pt>
          <cx:pt idx="26364">1</cx:pt>
          <cx:pt idx="26365">1</cx:pt>
          <cx:pt idx="26366">1</cx:pt>
          <cx:pt idx="26367">1</cx:pt>
          <cx:pt idx="26368">0</cx:pt>
          <cx:pt idx="26369">0</cx:pt>
          <cx:pt idx="26370">0</cx:pt>
          <cx:pt idx="26371">0</cx:pt>
          <cx:pt idx="26372">0</cx:pt>
          <cx:pt idx="26373">1</cx:pt>
          <cx:pt idx="26374">0</cx:pt>
          <cx:pt idx="26375">0</cx:pt>
          <cx:pt idx="26376">0</cx:pt>
          <cx:pt idx="26377">0</cx:pt>
          <cx:pt idx="26378">1</cx:pt>
          <cx:pt idx="26379">0</cx:pt>
          <cx:pt idx="26380">0</cx:pt>
          <cx:pt idx="26381">1</cx:pt>
          <cx:pt idx="26382">0</cx:pt>
          <cx:pt idx="26383">0</cx:pt>
          <cx:pt idx="26384">1</cx:pt>
          <cx:pt idx="26385">0</cx:pt>
          <cx:pt idx="26386">0</cx:pt>
          <cx:pt idx="26387">0</cx:pt>
          <cx:pt idx="26388">0</cx:pt>
          <cx:pt idx="26389">0</cx:pt>
          <cx:pt idx="26390">1</cx:pt>
          <cx:pt idx="26391">1</cx:pt>
          <cx:pt idx="26392">1</cx:pt>
          <cx:pt idx="26393">1</cx:pt>
          <cx:pt idx="26394">0</cx:pt>
          <cx:pt idx="26395">1</cx:pt>
          <cx:pt idx="26396">0</cx:pt>
          <cx:pt idx="26397">0</cx:pt>
          <cx:pt idx="26398">0</cx:pt>
          <cx:pt idx="26399">1</cx:pt>
          <cx:pt idx="26400">0</cx:pt>
          <cx:pt idx="26401">0</cx:pt>
          <cx:pt idx="26402">1</cx:pt>
          <cx:pt idx="26403">0</cx:pt>
          <cx:pt idx="26404">0</cx:pt>
          <cx:pt idx="26405">0</cx:pt>
          <cx:pt idx="26406">0</cx:pt>
          <cx:pt idx="26407">0</cx:pt>
          <cx:pt idx="26408">1</cx:pt>
          <cx:pt idx="26409">1</cx:pt>
          <cx:pt idx="26410">0</cx:pt>
          <cx:pt idx="26411">1</cx:pt>
          <cx:pt idx="26412">0</cx:pt>
          <cx:pt idx="26413">1</cx:pt>
          <cx:pt idx="26414">0</cx:pt>
          <cx:pt idx="26415">0</cx:pt>
          <cx:pt idx="26416">1</cx:pt>
          <cx:pt idx="26417">0</cx:pt>
          <cx:pt idx="26418">0</cx:pt>
          <cx:pt idx="26419">0</cx:pt>
          <cx:pt idx="26420">0</cx:pt>
          <cx:pt idx="26421">0</cx:pt>
          <cx:pt idx="26422">1</cx:pt>
          <cx:pt idx="26423">1</cx:pt>
          <cx:pt idx="26424">1</cx:pt>
          <cx:pt idx="26425">1</cx:pt>
          <cx:pt idx="26426">0</cx:pt>
          <cx:pt idx="26427">1</cx:pt>
          <cx:pt idx="26428">0</cx:pt>
          <cx:pt idx="26429">0</cx:pt>
          <cx:pt idx="26430">1</cx:pt>
          <cx:pt idx="26431">0</cx:pt>
          <cx:pt idx="26432">1</cx:pt>
          <cx:pt idx="26433">1</cx:pt>
          <cx:pt idx="26434">1</cx:pt>
          <cx:pt idx="26435">0</cx:pt>
          <cx:pt idx="26436">0</cx:pt>
          <cx:pt idx="26437">0</cx:pt>
          <cx:pt idx="26438">1</cx:pt>
          <cx:pt idx="26439">0</cx:pt>
          <cx:pt idx="26440">1</cx:pt>
          <cx:pt idx="26441">0</cx:pt>
          <cx:pt idx="26442">0</cx:pt>
          <cx:pt idx="26443">0</cx:pt>
          <cx:pt idx="26444">0</cx:pt>
          <cx:pt idx="26445">1</cx:pt>
          <cx:pt idx="26446">1</cx:pt>
          <cx:pt idx="26447">0</cx:pt>
          <cx:pt idx="26448">0</cx:pt>
          <cx:pt idx="26449">0</cx:pt>
          <cx:pt idx="26450">1</cx:pt>
          <cx:pt idx="26451">1</cx:pt>
          <cx:pt idx="26452">0</cx:pt>
          <cx:pt idx="26453">1</cx:pt>
          <cx:pt idx="26454">0</cx:pt>
          <cx:pt idx="26455">0</cx:pt>
          <cx:pt idx="26456">1</cx:pt>
          <cx:pt idx="26457">0</cx:pt>
          <cx:pt idx="26458">1</cx:pt>
          <cx:pt idx="26459">0</cx:pt>
          <cx:pt idx="26460">0</cx:pt>
          <cx:pt idx="26461">0</cx:pt>
          <cx:pt idx="26462">0</cx:pt>
          <cx:pt idx="26463">0</cx:pt>
          <cx:pt idx="26464">1</cx:pt>
          <cx:pt idx="26465">1</cx:pt>
          <cx:pt idx="26466">1</cx:pt>
          <cx:pt idx="26467">0</cx:pt>
          <cx:pt idx="26468">1</cx:pt>
          <cx:pt idx="26469">0</cx:pt>
          <cx:pt idx="26470">1</cx:pt>
          <cx:pt idx="26471">1</cx:pt>
          <cx:pt idx="26472">1</cx:pt>
          <cx:pt idx="26473">1</cx:pt>
          <cx:pt idx="26474">0</cx:pt>
          <cx:pt idx="26475">1</cx:pt>
          <cx:pt idx="26476">0</cx:pt>
          <cx:pt idx="26477">0</cx:pt>
          <cx:pt idx="26478">1</cx:pt>
          <cx:pt idx="26479">1</cx:pt>
          <cx:pt idx="26480">1</cx:pt>
          <cx:pt idx="26481">0</cx:pt>
          <cx:pt idx="26482">0</cx:pt>
          <cx:pt idx="26483">0</cx:pt>
          <cx:pt idx="26484">0</cx:pt>
          <cx:pt idx="26485">1</cx:pt>
          <cx:pt idx="26486">0</cx:pt>
          <cx:pt idx="26487">0</cx:pt>
          <cx:pt idx="26488">0</cx:pt>
          <cx:pt idx="26489">1</cx:pt>
          <cx:pt idx="26490">0</cx:pt>
          <cx:pt idx="26491">0</cx:pt>
          <cx:pt idx="26492">0</cx:pt>
          <cx:pt idx="26493">0</cx:pt>
          <cx:pt idx="26494">1</cx:pt>
          <cx:pt idx="26495">1</cx:pt>
          <cx:pt idx="26496">0</cx:pt>
          <cx:pt idx="26497">1</cx:pt>
          <cx:pt idx="26498">1</cx:pt>
          <cx:pt idx="26499">1</cx:pt>
          <cx:pt idx="26500">1</cx:pt>
          <cx:pt idx="26501">1</cx:pt>
          <cx:pt idx="26502">1</cx:pt>
          <cx:pt idx="26503">1</cx:pt>
          <cx:pt idx="26504">0</cx:pt>
          <cx:pt idx="26505">1</cx:pt>
          <cx:pt idx="26506">0</cx:pt>
          <cx:pt idx="26507">0</cx:pt>
          <cx:pt idx="26508">1</cx:pt>
          <cx:pt idx="26509">0</cx:pt>
          <cx:pt idx="26510">0</cx:pt>
          <cx:pt idx="26511">0</cx:pt>
          <cx:pt idx="26512">1</cx:pt>
          <cx:pt idx="26513">1</cx:pt>
          <cx:pt idx="26514">0</cx:pt>
          <cx:pt idx="26515">0</cx:pt>
          <cx:pt idx="26516">0</cx:pt>
          <cx:pt idx="26517">0</cx:pt>
          <cx:pt idx="26518">0</cx:pt>
          <cx:pt idx="26519">0</cx:pt>
          <cx:pt idx="26520">0</cx:pt>
          <cx:pt idx="26521">1</cx:pt>
          <cx:pt idx="26522">1</cx:pt>
          <cx:pt idx="26523">0</cx:pt>
          <cx:pt idx="26524">0</cx:pt>
          <cx:pt idx="26525">0</cx:pt>
          <cx:pt idx="26526">1</cx:pt>
          <cx:pt idx="26527">1</cx:pt>
          <cx:pt idx="26528">0</cx:pt>
          <cx:pt idx="26529">1</cx:pt>
          <cx:pt idx="26530">0</cx:pt>
          <cx:pt idx="26531">1</cx:pt>
          <cx:pt idx="26532">1</cx:pt>
          <cx:pt idx="26533">0</cx:pt>
          <cx:pt idx="26534">0</cx:pt>
          <cx:pt idx="26535">0</cx:pt>
          <cx:pt idx="26536">0</cx:pt>
          <cx:pt idx="26537">1</cx:pt>
          <cx:pt idx="26538">0</cx:pt>
          <cx:pt idx="26539">1</cx:pt>
          <cx:pt idx="26540">1</cx:pt>
          <cx:pt idx="26541">1</cx:pt>
          <cx:pt idx="26542">0</cx:pt>
          <cx:pt idx="26543">0</cx:pt>
          <cx:pt idx="26544">0</cx:pt>
          <cx:pt idx="26545">0</cx:pt>
          <cx:pt idx="26546">0</cx:pt>
          <cx:pt idx="26547">0</cx:pt>
          <cx:pt idx="26548">0</cx:pt>
          <cx:pt idx="26549">1</cx:pt>
          <cx:pt idx="26550">1</cx:pt>
          <cx:pt idx="26551">1</cx:pt>
          <cx:pt idx="26552">0</cx:pt>
          <cx:pt idx="26553">0</cx:pt>
          <cx:pt idx="26554">0</cx:pt>
          <cx:pt idx="26555">0</cx:pt>
          <cx:pt idx="26556">0</cx:pt>
          <cx:pt idx="26557">1</cx:pt>
          <cx:pt idx="26558">1</cx:pt>
          <cx:pt idx="26559">0</cx:pt>
          <cx:pt idx="26560">0</cx:pt>
          <cx:pt idx="26561">1</cx:pt>
          <cx:pt idx="26562">0</cx:pt>
          <cx:pt idx="26563">1</cx:pt>
          <cx:pt idx="26564">0</cx:pt>
          <cx:pt idx="26565">1</cx:pt>
          <cx:pt idx="26566">1</cx:pt>
          <cx:pt idx="26567">0</cx:pt>
          <cx:pt idx="26568">1</cx:pt>
          <cx:pt idx="26569">0</cx:pt>
          <cx:pt idx="26570">0</cx:pt>
          <cx:pt idx="26571">0</cx:pt>
          <cx:pt idx="26572">0</cx:pt>
          <cx:pt idx="26573">0</cx:pt>
          <cx:pt idx="26574">1</cx:pt>
          <cx:pt idx="26575">1</cx:pt>
          <cx:pt idx="26576">1</cx:pt>
          <cx:pt idx="26577">0</cx:pt>
          <cx:pt idx="26578">1</cx:pt>
          <cx:pt idx="26579">0</cx:pt>
          <cx:pt idx="26580">0</cx:pt>
          <cx:pt idx="26581">0</cx:pt>
          <cx:pt idx="26582">0</cx:pt>
          <cx:pt idx="26583">1</cx:pt>
          <cx:pt idx="26584">1</cx:pt>
          <cx:pt idx="26585">0</cx:pt>
          <cx:pt idx="26586">1</cx:pt>
          <cx:pt idx="26587">0</cx:pt>
          <cx:pt idx="26588">1</cx:pt>
          <cx:pt idx="26589">0</cx:pt>
          <cx:pt idx="26590">0</cx:pt>
          <cx:pt idx="26591">1</cx:pt>
          <cx:pt idx="26592">0</cx:pt>
          <cx:pt idx="26593">0</cx:pt>
          <cx:pt idx="26594">1</cx:pt>
          <cx:pt idx="26595">1</cx:pt>
          <cx:pt idx="26596">0</cx:pt>
          <cx:pt idx="26597">1</cx:pt>
          <cx:pt idx="26598">1</cx:pt>
          <cx:pt idx="26599">0</cx:pt>
          <cx:pt idx="26600">1</cx:pt>
          <cx:pt idx="26601">0</cx:pt>
          <cx:pt idx="26602">1</cx:pt>
          <cx:pt idx="26603">0</cx:pt>
          <cx:pt idx="26604">0</cx:pt>
          <cx:pt idx="26605">1</cx:pt>
          <cx:pt idx="26606">1</cx:pt>
          <cx:pt idx="26607">0</cx:pt>
          <cx:pt idx="26608">0</cx:pt>
          <cx:pt idx="26609">0</cx:pt>
          <cx:pt idx="26610">0</cx:pt>
          <cx:pt idx="26611">1</cx:pt>
          <cx:pt idx="26612">1</cx:pt>
          <cx:pt idx="26613">1</cx:pt>
          <cx:pt idx="26614">0</cx:pt>
          <cx:pt idx="26615">1</cx:pt>
          <cx:pt idx="26616">1</cx:pt>
          <cx:pt idx="26617">0</cx:pt>
          <cx:pt idx="26618">0</cx:pt>
          <cx:pt idx="26619">0</cx:pt>
          <cx:pt idx="26620">1</cx:pt>
          <cx:pt idx="26621">0</cx:pt>
          <cx:pt idx="26622">0</cx:pt>
          <cx:pt idx="26623">0</cx:pt>
          <cx:pt idx="26624">0</cx:pt>
          <cx:pt idx="26625">0</cx:pt>
          <cx:pt idx="26626">0</cx:pt>
          <cx:pt idx="26627">0</cx:pt>
          <cx:pt idx="26628">0</cx:pt>
          <cx:pt idx="26629">0</cx:pt>
          <cx:pt idx="26630">1</cx:pt>
          <cx:pt idx="26631">1</cx:pt>
          <cx:pt idx="26632">0</cx:pt>
          <cx:pt idx="26633">1</cx:pt>
          <cx:pt idx="26634">1</cx:pt>
          <cx:pt idx="26635">1</cx:pt>
          <cx:pt idx="26636">0</cx:pt>
          <cx:pt idx="26637">1</cx:pt>
          <cx:pt idx="26638">0</cx:pt>
          <cx:pt idx="26639">0</cx:pt>
          <cx:pt idx="26640">1</cx:pt>
          <cx:pt idx="26641">1</cx:pt>
          <cx:pt idx="26642">0</cx:pt>
          <cx:pt idx="26643">1</cx:pt>
          <cx:pt idx="26644">1</cx:pt>
          <cx:pt idx="26645">0</cx:pt>
          <cx:pt idx="26646">1</cx:pt>
          <cx:pt idx="26647">0</cx:pt>
          <cx:pt idx="26648">0</cx:pt>
          <cx:pt idx="26649">0</cx:pt>
          <cx:pt idx="26650">1</cx:pt>
          <cx:pt idx="26651">0</cx:pt>
          <cx:pt idx="26652">1</cx:pt>
          <cx:pt idx="26653">0</cx:pt>
          <cx:pt idx="26654">0</cx:pt>
          <cx:pt idx="26655">1</cx:pt>
          <cx:pt idx="26656">1</cx:pt>
          <cx:pt idx="26657">0</cx:pt>
          <cx:pt idx="26658">0</cx:pt>
          <cx:pt idx="26659">0</cx:pt>
          <cx:pt idx="26660">1</cx:pt>
          <cx:pt idx="26661">1</cx:pt>
          <cx:pt idx="26662">1</cx:pt>
          <cx:pt idx="26663">0</cx:pt>
          <cx:pt idx="26664">1</cx:pt>
          <cx:pt idx="26665">0</cx:pt>
          <cx:pt idx="26666">1</cx:pt>
          <cx:pt idx="26667">1</cx:pt>
          <cx:pt idx="26668">0</cx:pt>
          <cx:pt idx="26669">0</cx:pt>
          <cx:pt idx="26670">1</cx:pt>
          <cx:pt idx="26671">1</cx:pt>
          <cx:pt idx="26672">0</cx:pt>
          <cx:pt idx="26673">1</cx:pt>
          <cx:pt idx="26674">0</cx:pt>
          <cx:pt idx="26675">0</cx:pt>
          <cx:pt idx="26676">1</cx:pt>
          <cx:pt idx="26677">1</cx:pt>
          <cx:pt idx="26678">1</cx:pt>
          <cx:pt idx="26679">0</cx:pt>
          <cx:pt idx="26680">1</cx:pt>
          <cx:pt idx="26681">1</cx:pt>
          <cx:pt idx="26682">0</cx:pt>
          <cx:pt idx="26683">0</cx:pt>
          <cx:pt idx="26684">1</cx:pt>
          <cx:pt idx="26685">1</cx:pt>
          <cx:pt idx="26686">1</cx:pt>
          <cx:pt idx="26687">1</cx:pt>
          <cx:pt idx="26688">1</cx:pt>
          <cx:pt idx="26689">1</cx:pt>
          <cx:pt idx="26690">1</cx:pt>
          <cx:pt idx="26691">1</cx:pt>
          <cx:pt idx="26692">1</cx:pt>
          <cx:pt idx="26693">1</cx:pt>
          <cx:pt idx="26694">1</cx:pt>
          <cx:pt idx="26695">1</cx:pt>
          <cx:pt idx="26696">0</cx:pt>
          <cx:pt idx="26697">1</cx:pt>
          <cx:pt idx="26698">0</cx:pt>
          <cx:pt idx="26699">0</cx:pt>
          <cx:pt idx="26700">1</cx:pt>
          <cx:pt idx="26701">0</cx:pt>
          <cx:pt idx="26702">1</cx:pt>
          <cx:pt idx="26703">1</cx:pt>
          <cx:pt idx="26704">1</cx:pt>
          <cx:pt idx="26705">0</cx:pt>
          <cx:pt idx="26706">0</cx:pt>
          <cx:pt idx="26707">1</cx:pt>
          <cx:pt idx="26708">1</cx:pt>
          <cx:pt idx="26709">0</cx:pt>
          <cx:pt idx="26710">1</cx:pt>
          <cx:pt idx="26711">1</cx:pt>
          <cx:pt idx="26712">0</cx:pt>
          <cx:pt idx="26713">1</cx:pt>
          <cx:pt idx="26714">1</cx:pt>
          <cx:pt idx="26715">1</cx:pt>
          <cx:pt idx="26716">1</cx:pt>
          <cx:pt idx="26717">1</cx:pt>
          <cx:pt idx="26718">0</cx:pt>
          <cx:pt idx="26719">1</cx:pt>
          <cx:pt idx="26720">0</cx:pt>
          <cx:pt idx="26721">0</cx:pt>
          <cx:pt idx="26722">0</cx:pt>
          <cx:pt idx="26723">0</cx:pt>
          <cx:pt idx="26724">1</cx:pt>
          <cx:pt idx="26725">1</cx:pt>
          <cx:pt idx="26726">0</cx:pt>
          <cx:pt idx="26727">0</cx:pt>
          <cx:pt idx="26728">0</cx:pt>
          <cx:pt idx="26729">0</cx:pt>
          <cx:pt idx="26730">0</cx:pt>
          <cx:pt idx="26731">0</cx:pt>
          <cx:pt idx="26732">1</cx:pt>
          <cx:pt idx="26733">1</cx:pt>
          <cx:pt idx="26734">0</cx:pt>
          <cx:pt idx="26735">0</cx:pt>
          <cx:pt idx="26736">1</cx:pt>
          <cx:pt idx="26737">1</cx:pt>
          <cx:pt idx="26738">0</cx:pt>
          <cx:pt idx="26739">0</cx:pt>
          <cx:pt idx="26740">1</cx:pt>
          <cx:pt idx="26741">1</cx:pt>
          <cx:pt idx="26742">0</cx:pt>
          <cx:pt idx="26743">0</cx:pt>
          <cx:pt idx="26744">0</cx:pt>
          <cx:pt idx="26745">0</cx:pt>
          <cx:pt idx="26746">0</cx:pt>
          <cx:pt idx="26747">1</cx:pt>
          <cx:pt idx="26748">1</cx:pt>
          <cx:pt idx="26749">1</cx:pt>
          <cx:pt idx="26750">1</cx:pt>
          <cx:pt idx="26751">0</cx:pt>
          <cx:pt idx="26752">1</cx:pt>
          <cx:pt idx="26753">1</cx:pt>
          <cx:pt idx="26754">0</cx:pt>
          <cx:pt idx="26755">1</cx:pt>
          <cx:pt idx="26756">1</cx:pt>
          <cx:pt idx="26757">1</cx:pt>
          <cx:pt idx="26758">0</cx:pt>
          <cx:pt idx="26759">0</cx:pt>
          <cx:pt idx="26760">1</cx:pt>
          <cx:pt idx="26761">1</cx:pt>
          <cx:pt idx="26762">0</cx:pt>
          <cx:pt idx="26763">0</cx:pt>
          <cx:pt idx="26764">1</cx:pt>
          <cx:pt idx="26765">1</cx:pt>
          <cx:pt idx="26766">0</cx:pt>
          <cx:pt idx="26767">1</cx:pt>
          <cx:pt idx="26768">0</cx:pt>
          <cx:pt idx="26769">1</cx:pt>
          <cx:pt idx="26770">1</cx:pt>
          <cx:pt idx="26771">0</cx:pt>
          <cx:pt idx="26772">0</cx:pt>
          <cx:pt idx="26773">0</cx:pt>
          <cx:pt idx="26774">0</cx:pt>
          <cx:pt idx="26775">0</cx:pt>
          <cx:pt idx="26776">1</cx:pt>
          <cx:pt idx="26777">0</cx:pt>
          <cx:pt idx="26778">0</cx:pt>
          <cx:pt idx="26779">0</cx:pt>
          <cx:pt idx="26780">1</cx:pt>
          <cx:pt idx="26781">1</cx:pt>
          <cx:pt idx="26782">1</cx:pt>
          <cx:pt idx="26783">1</cx:pt>
          <cx:pt idx="26784">0</cx:pt>
          <cx:pt idx="26785">1</cx:pt>
          <cx:pt idx="26786">0</cx:pt>
          <cx:pt idx="26787">1</cx:pt>
          <cx:pt idx="26788">1</cx:pt>
          <cx:pt idx="26789">1</cx:pt>
          <cx:pt idx="26790">0</cx:pt>
          <cx:pt idx="26791">0</cx:pt>
          <cx:pt idx="26792">0</cx:pt>
          <cx:pt idx="26793">0</cx:pt>
          <cx:pt idx="26794">1</cx:pt>
          <cx:pt idx="26795">0</cx:pt>
          <cx:pt idx="26796">1</cx:pt>
          <cx:pt idx="26797">0</cx:pt>
          <cx:pt idx="26798">0</cx:pt>
          <cx:pt idx="26799">0</cx:pt>
          <cx:pt idx="26800">0</cx:pt>
          <cx:pt idx="26801">1</cx:pt>
          <cx:pt idx="26802">0</cx:pt>
          <cx:pt idx="26803">0</cx:pt>
          <cx:pt idx="26804">0</cx:pt>
          <cx:pt idx="26805">0</cx:pt>
          <cx:pt idx="26806">0</cx:pt>
          <cx:pt idx="26807">0</cx:pt>
          <cx:pt idx="26808">0</cx:pt>
          <cx:pt idx="26809">1</cx:pt>
          <cx:pt idx="26810">0</cx:pt>
          <cx:pt idx="26811">0</cx:pt>
          <cx:pt idx="26812">1</cx:pt>
          <cx:pt idx="26813">1</cx:pt>
          <cx:pt idx="26814">1</cx:pt>
          <cx:pt idx="26815">0</cx:pt>
          <cx:pt idx="26816">0</cx:pt>
          <cx:pt idx="26817">1</cx:pt>
          <cx:pt idx="26818">0</cx:pt>
          <cx:pt idx="26819">1</cx:pt>
          <cx:pt idx="26820">1</cx:pt>
          <cx:pt idx="26821">1</cx:pt>
          <cx:pt idx="26822">1</cx:pt>
          <cx:pt idx="26823">0</cx:pt>
          <cx:pt idx="26824">1</cx:pt>
          <cx:pt idx="26825">1</cx:pt>
          <cx:pt idx="26826">0</cx:pt>
          <cx:pt idx="26827">1</cx:pt>
          <cx:pt idx="26828">1</cx:pt>
          <cx:pt idx="26829">1</cx:pt>
          <cx:pt idx="26830">0</cx:pt>
          <cx:pt idx="26831">0</cx:pt>
          <cx:pt idx="26832">1</cx:pt>
          <cx:pt idx="26833">1</cx:pt>
          <cx:pt idx="26834">1</cx:pt>
          <cx:pt idx="26835">1</cx:pt>
          <cx:pt idx="26836">1</cx:pt>
          <cx:pt idx="26837">0</cx:pt>
          <cx:pt idx="26838">0</cx:pt>
          <cx:pt idx="26839">0</cx:pt>
          <cx:pt idx="26840">1</cx:pt>
          <cx:pt idx="26841">1</cx:pt>
          <cx:pt idx="26842">1</cx:pt>
          <cx:pt idx="26843">0</cx:pt>
          <cx:pt idx="26844">0</cx:pt>
          <cx:pt idx="26845">0</cx:pt>
          <cx:pt idx="26846">0</cx:pt>
          <cx:pt idx="26847">0</cx:pt>
          <cx:pt idx="26848">0</cx:pt>
          <cx:pt idx="26849">1</cx:pt>
          <cx:pt idx="26850">1</cx:pt>
          <cx:pt idx="26851">0</cx:pt>
          <cx:pt idx="26852">1</cx:pt>
          <cx:pt idx="26853">0</cx:pt>
          <cx:pt idx="26854">0</cx:pt>
          <cx:pt idx="26855">0</cx:pt>
          <cx:pt idx="26856">0</cx:pt>
          <cx:pt idx="26857">1</cx:pt>
          <cx:pt idx="26858">1</cx:pt>
          <cx:pt idx="26859">0</cx:pt>
          <cx:pt idx="26860">0</cx:pt>
          <cx:pt idx="26861">1</cx:pt>
          <cx:pt idx="26862">1</cx:pt>
          <cx:pt idx="26863">0</cx:pt>
          <cx:pt idx="26864">0</cx:pt>
          <cx:pt idx="26865">0</cx:pt>
          <cx:pt idx="26866">1</cx:pt>
          <cx:pt idx="26867">0</cx:pt>
          <cx:pt idx="26868">1</cx:pt>
          <cx:pt idx="26869">0</cx:pt>
          <cx:pt idx="26870">0</cx:pt>
          <cx:pt idx="26871">1</cx:pt>
          <cx:pt idx="26872">1</cx:pt>
          <cx:pt idx="26873">1</cx:pt>
          <cx:pt idx="26874">0</cx:pt>
          <cx:pt idx="26875">0</cx:pt>
          <cx:pt idx="26876">0</cx:pt>
          <cx:pt idx="26877">0</cx:pt>
          <cx:pt idx="26878">0</cx:pt>
          <cx:pt idx="26879">0</cx:pt>
          <cx:pt idx="26880">1</cx:pt>
          <cx:pt idx="26881">1</cx:pt>
          <cx:pt idx="26882">0</cx:pt>
          <cx:pt idx="26883">1</cx:pt>
          <cx:pt idx="26884">0</cx:pt>
          <cx:pt idx="26885">0</cx:pt>
          <cx:pt idx="26886">1</cx:pt>
          <cx:pt idx="26887">0</cx:pt>
          <cx:pt idx="26888">1</cx:pt>
          <cx:pt idx="26889">1</cx:pt>
          <cx:pt idx="26890">0</cx:pt>
          <cx:pt idx="26891">0</cx:pt>
          <cx:pt idx="26892">1</cx:pt>
          <cx:pt idx="26893">1</cx:pt>
          <cx:pt idx="26894">1</cx:pt>
          <cx:pt idx="26895">0</cx:pt>
          <cx:pt idx="26896">1</cx:pt>
          <cx:pt idx="26897">1</cx:pt>
          <cx:pt idx="26898">0</cx:pt>
          <cx:pt idx="26899">1</cx:pt>
          <cx:pt idx="26900">0</cx:pt>
          <cx:pt idx="26901">1</cx:pt>
          <cx:pt idx="26902">0</cx:pt>
          <cx:pt idx="26903">0</cx:pt>
          <cx:pt idx="26904">0</cx:pt>
          <cx:pt idx="26905">0</cx:pt>
          <cx:pt idx="26906">0</cx:pt>
          <cx:pt idx="26907">0</cx:pt>
          <cx:pt idx="26908">1</cx:pt>
          <cx:pt idx="26909">0</cx:pt>
          <cx:pt idx="26910">0</cx:pt>
          <cx:pt idx="26911">0</cx:pt>
          <cx:pt idx="26912">0</cx:pt>
          <cx:pt idx="26913">0</cx:pt>
          <cx:pt idx="26914">0</cx:pt>
          <cx:pt idx="26915">0</cx:pt>
          <cx:pt idx="26916">0</cx:pt>
          <cx:pt idx="26917">1</cx:pt>
          <cx:pt idx="26918">0</cx:pt>
          <cx:pt idx="26919">0</cx:pt>
          <cx:pt idx="26920">1</cx:pt>
          <cx:pt idx="26921">0</cx:pt>
          <cx:pt idx="26922">0</cx:pt>
          <cx:pt idx="26923">0</cx:pt>
          <cx:pt idx="26924">1</cx:pt>
          <cx:pt idx="26925">0</cx:pt>
          <cx:pt idx="26926">0</cx:pt>
          <cx:pt idx="26927">1</cx:pt>
          <cx:pt idx="26928">1</cx:pt>
          <cx:pt idx="26929">1</cx:pt>
          <cx:pt idx="26930">0</cx:pt>
          <cx:pt idx="26931">1</cx:pt>
          <cx:pt idx="26932">0</cx:pt>
          <cx:pt idx="26933">0</cx:pt>
          <cx:pt idx="26934">0</cx:pt>
          <cx:pt idx="26935">1</cx:pt>
          <cx:pt idx="26936">0</cx:pt>
          <cx:pt idx="26937">1</cx:pt>
          <cx:pt idx="26938">0</cx:pt>
          <cx:pt idx="26939">1</cx:pt>
          <cx:pt idx="26940">0</cx:pt>
          <cx:pt idx="26941">1</cx:pt>
          <cx:pt idx="26942">1</cx:pt>
          <cx:pt idx="26943">0</cx:pt>
          <cx:pt idx="26944">1</cx:pt>
          <cx:pt idx="26945">1</cx:pt>
          <cx:pt idx="26946">0</cx:pt>
          <cx:pt idx="26947">0</cx:pt>
          <cx:pt idx="26948">0</cx:pt>
          <cx:pt idx="26949">0</cx:pt>
          <cx:pt idx="26950">1</cx:pt>
          <cx:pt idx="26951">1</cx:pt>
          <cx:pt idx="26952">0</cx:pt>
          <cx:pt idx="26953">0</cx:pt>
          <cx:pt idx="26954">0</cx:pt>
          <cx:pt idx="26955">0</cx:pt>
          <cx:pt idx="26956">0</cx:pt>
          <cx:pt idx="26957">0</cx:pt>
          <cx:pt idx="26958">1</cx:pt>
          <cx:pt idx="26959">1</cx:pt>
          <cx:pt idx="26960">1</cx:pt>
          <cx:pt idx="26961">0</cx:pt>
          <cx:pt idx="26962">0</cx:pt>
          <cx:pt idx="26963">1</cx:pt>
          <cx:pt idx="26964">0</cx:pt>
          <cx:pt idx="26965">0</cx:pt>
          <cx:pt idx="26966">0</cx:pt>
          <cx:pt idx="26967">1</cx:pt>
          <cx:pt idx="26968">1</cx:pt>
          <cx:pt idx="26969">0</cx:pt>
          <cx:pt idx="26970">1</cx:pt>
          <cx:pt idx="26971">1</cx:pt>
          <cx:pt idx="26972">0</cx:pt>
          <cx:pt idx="26973">0</cx:pt>
          <cx:pt idx="26974">0</cx:pt>
          <cx:pt idx="26975">0</cx:pt>
          <cx:pt idx="26976">1</cx:pt>
          <cx:pt idx="26977">0</cx:pt>
          <cx:pt idx="26978">0</cx:pt>
          <cx:pt idx="26979">1</cx:pt>
          <cx:pt idx="26980">1</cx:pt>
          <cx:pt idx="26981">0</cx:pt>
          <cx:pt idx="26982">1</cx:pt>
          <cx:pt idx="26983">0</cx:pt>
          <cx:pt idx="26984">1</cx:pt>
          <cx:pt idx="26985">1</cx:pt>
          <cx:pt idx="26986">0</cx:pt>
          <cx:pt idx="26987">1</cx:pt>
          <cx:pt idx="26988">0</cx:pt>
          <cx:pt idx="26989">1</cx:pt>
          <cx:pt idx="26990">1</cx:pt>
          <cx:pt idx="26991">0</cx:pt>
          <cx:pt idx="26992">1</cx:pt>
          <cx:pt idx="26993">0</cx:pt>
          <cx:pt idx="26994">0</cx:pt>
          <cx:pt idx="26995">1</cx:pt>
          <cx:pt idx="26996">0</cx:pt>
          <cx:pt idx="26997">0</cx:pt>
          <cx:pt idx="26998">0</cx:pt>
          <cx:pt idx="26999">0</cx:pt>
          <cx:pt idx="27000">1</cx:pt>
          <cx:pt idx="27001">1</cx:pt>
          <cx:pt idx="27002">0</cx:pt>
          <cx:pt idx="27003">1</cx:pt>
          <cx:pt idx="27004">1</cx:pt>
          <cx:pt idx="27005">0</cx:pt>
          <cx:pt idx="27006">0</cx:pt>
          <cx:pt idx="27007">0</cx:pt>
          <cx:pt idx="27008">0</cx:pt>
          <cx:pt idx="27009">1</cx:pt>
          <cx:pt idx="27010">0</cx:pt>
          <cx:pt idx="27011">1</cx:pt>
          <cx:pt idx="27012">1</cx:pt>
          <cx:pt idx="27013">1</cx:pt>
          <cx:pt idx="27014">1</cx:pt>
          <cx:pt idx="27015">0</cx:pt>
          <cx:pt idx="27016">1</cx:pt>
          <cx:pt idx="27017">0</cx:pt>
          <cx:pt idx="27018">1</cx:pt>
          <cx:pt idx="27019">0</cx:pt>
          <cx:pt idx="27020">0</cx:pt>
          <cx:pt idx="27021">0</cx:pt>
          <cx:pt idx="27022">1</cx:pt>
          <cx:pt idx="27023">0</cx:pt>
          <cx:pt idx="27024">0</cx:pt>
          <cx:pt idx="27025">0</cx:pt>
          <cx:pt idx="27026">0</cx:pt>
          <cx:pt idx="27027">0</cx:pt>
          <cx:pt idx="27028">1</cx:pt>
          <cx:pt idx="27029">0</cx:pt>
          <cx:pt idx="27030">0</cx:pt>
          <cx:pt idx="27031">1</cx:pt>
          <cx:pt idx="27032">1</cx:pt>
          <cx:pt idx="27033">0</cx:pt>
          <cx:pt idx="27034">1</cx:pt>
          <cx:pt idx="27035">1</cx:pt>
          <cx:pt idx="27036">1</cx:pt>
          <cx:pt idx="27037">1</cx:pt>
          <cx:pt idx="27038">1</cx:pt>
          <cx:pt idx="27039">0</cx:pt>
          <cx:pt idx="27040">1</cx:pt>
          <cx:pt idx="27041">1</cx:pt>
          <cx:pt idx="27042">0</cx:pt>
          <cx:pt idx="27043">0</cx:pt>
          <cx:pt idx="27044">1</cx:pt>
          <cx:pt idx="27045">0</cx:pt>
          <cx:pt idx="27046">0</cx:pt>
          <cx:pt idx="27047">0</cx:pt>
          <cx:pt idx="27048">0</cx:pt>
          <cx:pt idx="27049">0</cx:pt>
          <cx:pt idx="27050">1</cx:pt>
          <cx:pt idx="27051">1</cx:pt>
          <cx:pt idx="27052">0</cx:pt>
          <cx:pt idx="27053">0</cx:pt>
          <cx:pt idx="27054">0</cx:pt>
          <cx:pt idx="27055">0</cx:pt>
          <cx:pt idx="27056">0</cx:pt>
          <cx:pt idx="27057">1</cx:pt>
          <cx:pt idx="27058">1</cx:pt>
          <cx:pt idx="27059">1</cx:pt>
          <cx:pt idx="27060">0</cx:pt>
          <cx:pt idx="27061">0</cx:pt>
          <cx:pt idx="27062">1</cx:pt>
          <cx:pt idx="27063">0</cx:pt>
          <cx:pt idx="27064">1</cx:pt>
          <cx:pt idx="27065">1</cx:pt>
          <cx:pt idx="27066">0</cx:pt>
          <cx:pt idx="27067">1</cx:pt>
          <cx:pt idx="27068">0</cx:pt>
          <cx:pt idx="27069">1</cx:pt>
          <cx:pt idx="27070">0</cx:pt>
          <cx:pt idx="27071">1</cx:pt>
          <cx:pt idx="27072">1</cx:pt>
          <cx:pt idx="27073">0</cx:pt>
          <cx:pt idx="27074">0</cx:pt>
          <cx:pt idx="27075">0</cx:pt>
          <cx:pt idx="27076">0</cx:pt>
          <cx:pt idx="27077">1</cx:pt>
          <cx:pt idx="27078">1</cx:pt>
          <cx:pt idx="27079">0</cx:pt>
          <cx:pt idx="27080">1</cx:pt>
          <cx:pt idx="27081">0</cx:pt>
          <cx:pt idx="27082">1</cx:pt>
          <cx:pt idx="27083">1</cx:pt>
          <cx:pt idx="27084">0</cx:pt>
          <cx:pt idx="27085">1</cx:pt>
          <cx:pt idx="27086">0</cx:pt>
          <cx:pt idx="27087">0</cx:pt>
          <cx:pt idx="27088">0</cx:pt>
          <cx:pt idx="27089">0</cx:pt>
          <cx:pt idx="27090">0</cx:pt>
          <cx:pt idx="27091">0</cx:pt>
          <cx:pt idx="27092">1</cx:pt>
          <cx:pt idx="27093">1</cx:pt>
          <cx:pt idx="27094">1</cx:pt>
          <cx:pt idx="27095">1</cx:pt>
          <cx:pt idx="27096">1</cx:pt>
          <cx:pt idx="27097">0</cx:pt>
          <cx:pt idx="27098">1</cx:pt>
          <cx:pt idx="27099">1</cx:pt>
          <cx:pt idx="27100">0</cx:pt>
          <cx:pt idx="27101">1</cx:pt>
          <cx:pt idx="27102">1</cx:pt>
          <cx:pt idx="27103">1</cx:pt>
          <cx:pt idx="27104">1</cx:pt>
          <cx:pt idx="27105">0</cx:pt>
          <cx:pt idx="27106">1</cx:pt>
          <cx:pt idx="27107">0</cx:pt>
          <cx:pt idx="27108">0</cx:pt>
          <cx:pt idx="27109">0</cx:pt>
          <cx:pt idx="27110">0</cx:pt>
          <cx:pt idx="27111">0</cx:pt>
          <cx:pt idx="27112">1</cx:pt>
          <cx:pt idx="27113">0</cx:pt>
          <cx:pt idx="27114">1</cx:pt>
          <cx:pt idx="27115">1</cx:pt>
          <cx:pt idx="27116">0</cx:pt>
          <cx:pt idx="27117">0</cx:pt>
          <cx:pt idx="27118">0</cx:pt>
          <cx:pt idx="27119">0</cx:pt>
          <cx:pt idx="27120">1</cx:pt>
          <cx:pt idx="27121">1</cx:pt>
          <cx:pt idx="27122">0</cx:pt>
          <cx:pt idx="27123">1</cx:pt>
          <cx:pt idx="27124">0</cx:pt>
          <cx:pt idx="27125">0</cx:pt>
          <cx:pt idx="27126">1</cx:pt>
          <cx:pt idx="27127">0</cx:pt>
          <cx:pt idx="27128">1</cx:pt>
          <cx:pt idx="27129">0</cx:pt>
          <cx:pt idx="27130">1</cx:pt>
          <cx:pt idx="27131">1</cx:pt>
          <cx:pt idx="27132">0</cx:pt>
          <cx:pt idx="27133">1</cx:pt>
          <cx:pt idx="27134">1</cx:pt>
          <cx:pt idx="27135">0</cx:pt>
          <cx:pt idx="27136">0</cx:pt>
          <cx:pt idx="27137">1</cx:pt>
          <cx:pt idx="27138">1</cx:pt>
          <cx:pt idx="27139">1</cx:pt>
          <cx:pt idx="27140">1</cx:pt>
          <cx:pt idx="27141">1</cx:pt>
          <cx:pt idx="27142">0</cx:pt>
          <cx:pt idx="27143">0</cx:pt>
          <cx:pt idx="27144">0</cx:pt>
          <cx:pt idx="27145">1</cx:pt>
          <cx:pt idx="27146">0</cx:pt>
          <cx:pt idx="27147">0</cx:pt>
          <cx:pt idx="27148">0</cx:pt>
          <cx:pt idx="27149">0</cx:pt>
          <cx:pt idx="27150">0</cx:pt>
          <cx:pt idx="27151">0</cx:pt>
          <cx:pt idx="27152">0</cx:pt>
          <cx:pt idx="27153">0</cx:pt>
          <cx:pt idx="27154">0</cx:pt>
          <cx:pt idx="27155">1</cx:pt>
          <cx:pt idx="27156">0</cx:pt>
          <cx:pt idx="27157">0</cx:pt>
          <cx:pt idx="27158">1</cx:pt>
          <cx:pt idx="27159">1</cx:pt>
          <cx:pt idx="27160">0</cx:pt>
          <cx:pt idx="27161">0</cx:pt>
          <cx:pt idx="27162">0</cx:pt>
          <cx:pt idx="27163">0</cx:pt>
          <cx:pt idx="27164">0</cx:pt>
          <cx:pt idx="27165">0</cx:pt>
          <cx:pt idx="27166">0</cx:pt>
          <cx:pt idx="27167">0</cx:pt>
          <cx:pt idx="27168">0</cx:pt>
          <cx:pt idx="27169">0</cx:pt>
          <cx:pt idx="27170">1</cx:pt>
          <cx:pt idx="27171">0</cx:pt>
          <cx:pt idx="27172">0</cx:pt>
          <cx:pt idx="27173">1</cx:pt>
          <cx:pt idx="27174">0</cx:pt>
          <cx:pt idx="27175">1</cx:pt>
          <cx:pt idx="27176">1</cx:pt>
          <cx:pt idx="27177">1</cx:pt>
          <cx:pt idx="27178">1</cx:pt>
          <cx:pt idx="27179">0</cx:pt>
          <cx:pt idx="27180">1</cx:pt>
          <cx:pt idx="27181">1</cx:pt>
          <cx:pt idx="27182">0</cx:pt>
          <cx:pt idx="27183">1</cx:pt>
          <cx:pt idx="27184">1</cx:pt>
          <cx:pt idx="27185">1</cx:pt>
          <cx:pt idx="27186">0</cx:pt>
          <cx:pt idx="27187">1</cx:pt>
          <cx:pt idx="27188">0</cx:pt>
          <cx:pt idx="27189">0</cx:pt>
          <cx:pt idx="27190">1</cx:pt>
          <cx:pt idx="27191">1</cx:pt>
          <cx:pt idx="27192">0</cx:pt>
          <cx:pt idx="27193">0</cx:pt>
          <cx:pt idx="27194">1</cx:pt>
          <cx:pt idx="27195">1</cx:pt>
          <cx:pt idx="27196">1</cx:pt>
          <cx:pt idx="27197">1</cx:pt>
          <cx:pt idx="27198">1</cx:pt>
          <cx:pt idx="27199">0</cx:pt>
          <cx:pt idx="27200">1</cx:pt>
          <cx:pt idx="27201">0</cx:pt>
          <cx:pt idx="27202">1</cx:pt>
          <cx:pt idx="27203">0</cx:pt>
          <cx:pt idx="27204">0</cx:pt>
          <cx:pt idx="27205">1</cx:pt>
          <cx:pt idx="27206">0</cx:pt>
          <cx:pt idx="27207">0</cx:pt>
          <cx:pt idx="27208">0</cx:pt>
          <cx:pt idx="27209">0</cx:pt>
          <cx:pt idx="27210">0</cx:pt>
          <cx:pt idx="27211">1</cx:pt>
          <cx:pt idx="27212">0</cx:pt>
          <cx:pt idx="27213">1</cx:pt>
          <cx:pt idx="27214">1</cx:pt>
          <cx:pt idx="27215">1</cx:pt>
          <cx:pt idx="27216">1</cx:pt>
          <cx:pt idx="27217">1</cx:pt>
          <cx:pt idx="27218">0</cx:pt>
          <cx:pt idx="27219">0</cx:pt>
          <cx:pt idx="27220">1</cx:pt>
          <cx:pt idx="27221">0</cx:pt>
          <cx:pt idx="27222">1</cx:pt>
          <cx:pt idx="27223">1</cx:pt>
          <cx:pt idx="27224">0</cx:pt>
          <cx:pt idx="27225">0</cx:pt>
          <cx:pt idx="27226">1</cx:pt>
          <cx:pt idx="27227">0</cx:pt>
          <cx:pt idx="27228">0</cx:pt>
          <cx:pt idx="27229">0</cx:pt>
          <cx:pt idx="27230">0</cx:pt>
          <cx:pt idx="27231">0</cx:pt>
          <cx:pt idx="27232">0</cx:pt>
          <cx:pt idx="27233">0</cx:pt>
          <cx:pt idx="27234">1</cx:pt>
          <cx:pt idx="27235">0</cx:pt>
          <cx:pt idx="27236">0</cx:pt>
          <cx:pt idx="27237">1</cx:pt>
          <cx:pt idx="27238">0</cx:pt>
          <cx:pt idx="27239">1</cx:pt>
          <cx:pt idx="27240">0</cx:pt>
          <cx:pt idx="27241">1</cx:pt>
          <cx:pt idx="27242">0</cx:pt>
          <cx:pt idx="27243">0</cx:pt>
          <cx:pt idx="27244">0</cx:pt>
          <cx:pt idx="27245">0</cx:pt>
          <cx:pt idx="27246">1</cx:pt>
          <cx:pt idx="27247">0</cx:pt>
          <cx:pt idx="27248">0</cx:pt>
          <cx:pt idx="27249">1</cx:pt>
          <cx:pt idx="27250">0</cx:pt>
          <cx:pt idx="27251">1</cx:pt>
          <cx:pt idx="27252">0</cx:pt>
          <cx:pt idx="27253">1</cx:pt>
          <cx:pt idx="27254">0</cx:pt>
          <cx:pt idx="27255">1</cx:pt>
          <cx:pt idx="27256">0</cx:pt>
          <cx:pt idx="27257">1</cx:pt>
          <cx:pt idx="27258">0</cx:pt>
          <cx:pt idx="27259">0</cx:pt>
          <cx:pt idx="27260">1</cx:pt>
          <cx:pt idx="27261">1</cx:pt>
          <cx:pt idx="27262">0</cx:pt>
          <cx:pt idx="27263">0</cx:pt>
          <cx:pt idx="27264">1</cx:pt>
          <cx:pt idx="27265">0</cx:pt>
          <cx:pt idx="27266">1</cx:pt>
          <cx:pt idx="27267">1</cx:pt>
          <cx:pt idx="27268">0</cx:pt>
          <cx:pt idx="27269">0</cx:pt>
          <cx:pt idx="27270">1</cx:pt>
          <cx:pt idx="27271">0</cx:pt>
          <cx:pt idx="27272">0</cx:pt>
          <cx:pt idx="27273">1</cx:pt>
          <cx:pt idx="27274">1</cx:pt>
          <cx:pt idx="27275">1</cx:pt>
          <cx:pt idx="27276">1</cx:pt>
          <cx:pt idx="27277">1</cx:pt>
          <cx:pt idx="27278">0</cx:pt>
          <cx:pt idx="27279">0</cx:pt>
          <cx:pt idx="27280">0</cx:pt>
          <cx:pt idx="27281">1</cx:pt>
          <cx:pt idx="27282">1</cx:pt>
          <cx:pt idx="27283">0</cx:pt>
          <cx:pt idx="27284">0</cx:pt>
          <cx:pt idx="27285">1</cx:pt>
          <cx:pt idx="27286">0</cx:pt>
          <cx:pt idx="27287">1</cx:pt>
          <cx:pt idx="27288">1</cx:pt>
          <cx:pt idx="27289">1</cx:pt>
          <cx:pt idx="27290">0</cx:pt>
          <cx:pt idx="27291">1</cx:pt>
          <cx:pt idx="27292">0</cx:pt>
          <cx:pt idx="27293">0</cx:pt>
          <cx:pt idx="27294">0</cx:pt>
          <cx:pt idx="27295">0</cx:pt>
          <cx:pt idx="27296">0</cx:pt>
          <cx:pt idx="27297">0</cx:pt>
          <cx:pt idx="27298">1</cx:pt>
          <cx:pt idx="27299">1</cx:pt>
          <cx:pt idx="27300">1</cx:pt>
          <cx:pt idx="27301">0</cx:pt>
          <cx:pt idx="27302">1</cx:pt>
          <cx:pt idx="27303">1</cx:pt>
          <cx:pt idx="27304">1</cx:pt>
          <cx:pt idx="27305">1</cx:pt>
          <cx:pt idx="27306">1</cx:pt>
          <cx:pt idx="27307">0</cx:pt>
          <cx:pt idx="27308">1</cx:pt>
          <cx:pt idx="27309">0</cx:pt>
          <cx:pt idx="27310">1</cx:pt>
          <cx:pt idx="27311">0</cx:pt>
          <cx:pt idx="27312">0</cx:pt>
          <cx:pt idx="27313">0</cx:pt>
          <cx:pt idx="27314">0</cx:pt>
          <cx:pt idx="27315">0</cx:pt>
          <cx:pt idx="27316">0</cx:pt>
          <cx:pt idx="27317">0</cx:pt>
          <cx:pt idx="27318">0</cx:pt>
          <cx:pt idx="27319">0</cx:pt>
          <cx:pt idx="27320">1</cx:pt>
          <cx:pt idx="27321">0</cx:pt>
          <cx:pt idx="27322">0</cx:pt>
          <cx:pt idx="27323">0</cx:pt>
          <cx:pt idx="27324">0</cx:pt>
          <cx:pt idx="27325">0</cx:pt>
          <cx:pt idx="27326">0</cx:pt>
          <cx:pt idx="27327">0</cx:pt>
          <cx:pt idx="27328">0</cx:pt>
          <cx:pt idx="27329">0</cx:pt>
          <cx:pt idx="27330">0</cx:pt>
          <cx:pt idx="27331">1</cx:pt>
          <cx:pt idx="27332">1</cx:pt>
          <cx:pt idx="27333">1</cx:pt>
          <cx:pt idx="27334">0</cx:pt>
          <cx:pt idx="27335">0</cx:pt>
          <cx:pt idx="27336">0</cx:pt>
          <cx:pt idx="27337">0</cx:pt>
          <cx:pt idx="27338">1</cx:pt>
          <cx:pt idx="27339">0</cx:pt>
          <cx:pt idx="27340">1</cx:pt>
          <cx:pt idx="27341">0</cx:pt>
          <cx:pt idx="27342">0</cx:pt>
          <cx:pt idx="27343">1</cx:pt>
          <cx:pt idx="27344">1</cx:pt>
          <cx:pt idx="27345">1</cx:pt>
          <cx:pt idx="27346">0</cx:pt>
          <cx:pt idx="27347">1</cx:pt>
          <cx:pt idx="27348">1</cx:pt>
          <cx:pt idx="27349">1</cx:pt>
          <cx:pt idx="27350">1</cx:pt>
          <cx:pt idx="27351">1</cx:pt>
          <cx:pt idx="27352">0</cx:pt>
          <cx:pt idx="27353">0</cx:pt>
          <cx:pt idx="27354">1</cx:pt>
          <cx:pt idx="27355">0</cx:pt>
          <cx:pt idx="27356">0</cx:pt>
          <cx:pt idx="27357">1</cx:pt>
          <cx:pt idx="27358">1</cx:pt>
          <cx:pt idx="27359">0</cx:pt>
          <cx:pt idx="27360">0</cx:pt>
          <cx:pt idx="27361">0</cx:pt>
          <cx:pt idx="27362">1</cx:pt>
          <cx:pt idx="27363">1</cx:pt>
          <cx:pt idx="27364">1</cx:pt>
          <cx:pt idx="27365">1</cx:pt>
          <cx:pt idx="27366">1</cx:pt>
          <cx:pt idx="27367">1</cx:pt>
          <cx:pt idx="27368">1</cx:pt>
          <cx:pt idx="27369">1</cx:pt>
          <cx:pt idx="27370">0</cx:pt>
          <cx:pt idx="27371">1</cx:pt>
          <cx:pt idx="27372">0</cx:pt>
          <cx:pt idx="27373">1</cx:pt>
          <cx:pt idx="27374">0</cx:pt>
          <cx:pt idx="27375">1</cx:pt>
          <cx:pt idx="27376">1</cx:pt>
          <cx:pt idx="27377">1</cx:pt>
          <cx:pt idx="27378">0</cx:pt>
          <cx:pt idx="27379">0</cx:pt>
          <cx:pt idx="27380">1</cx:pt>
          <cx:pt idx="27381">0</cx:pt>
          <cx:pt idx="27382">1</cx:pt>
          <cx:pt idx="27383">0</cx:pt>
          <cx:pt idx="27384">0</cx:pt>
          <cx:pt idx="27385">0</cx:pt>
          <cx:pt idx="27386">0</cx:pt>
          <cx:pt idx="27387">0</cx:pt>
          <cx:pt idx="27388">0</cx:pt>
          <cx:pt idx="27389">1</cx:pt>
          <cx:pt idx="27390">0</cx:pt>
          <cx:pt idx="27391">1</cx:pt>
          <cx:pt idx="27392">0</cx:pt>
          <cx:pt idx="27393">1</cx:pt>
          <cx:pt idx="27394">0</cx:pt>
          <cx:pt idx="27395">0</cx:pt>
          <cx:pt idx="27396">0</cx:pt>
          <cx:pt idx="27397">0</cx:pt>
          <cx:pt idx="27398">1</cx:pt>
          <cx:pt idx="27399">0</cx:pt>
          <cx:pt idx="27400">1</cx:pt>
          <cx:pt idx="27401">1</cx:pt>
          <cx:pt idx="27402">0</cx:pt>
          <cx:pt idx="27403">0</cx:pt>
          <cx:pt idx="27404">1</cx:pt>
          <cx:pt idx="27405">1</cx:pt>
          <cx:pt idx="27406">0</cx:pt>
          <cx:pt idx="27407">0</cx:pt>
          <cx:pt idx="27408">0</cx:pt>
          <cx:pt idx="27409">0</cx:pt>
          <cx:pt idx="27410">0</cx:pt>
          <cx:pt idx="27411">1</cx:pt>
          <cx:pt idx="27412">0</cx:pt>
          <cx:pt idx="27413">1</cx:pt>
          <cx:pt idx="27414">1</cx:pt>
          <cx:pt idx="27415">0</cx:pt>
          <cx:pt idx="27416">1</cx:pt>
          <cx:pt idx="27417">1</cx:pt>
          <cx:pt idx="27418">1</cx:pt>
          <cx:pt idx="27419">0</cx:pt>
          <cx:pt idx="27420">0</cx:pt>
          <cx:pt idx="27421">0</cx:pt>
          <cx:pt idx="27422">1</cx:pt>
          <cx:pt idx="27423">1</cx:pt>
          <cx:pt idx="27424">0</cx:pt>
          <cx:pt idx="27425">1</cx:pt>
          <cx:pt idx="27426">0</cx:pt>
          <cx:pt idx="27427">0</cx:pt>
          <cx:pt idx="27428">0</cx:pt>
          <cx:pt idx="27429">0</cx:pt>
          <cx:pt idx="27430">0</cx:pt>
          <cx:pt idx="27431">0</cx:pt>
          <cx:pt idx="27432">1</cx:pt>
          <cx:pt idx="27433">1</cx:pt>
          <cx:pt idx="27434">1</cx:pt>
          <cx:pt idx="27435">1</cx:pt>
          <cx:pt idx="27436">1</cx:pt>
          <cx:pt idx="27437">1</cx:pt>
          <cx:pt idx="27438">1</cx:pt>
          <cx:pt idx="27439">1</cx:pt>
          <cx:pt idx="27440">1</cx:pt>
          <cx:pt idx="27441">0</cx:pt>
          <cx:pt idx="27442">1</cx:pt>
          <cx:pt idx="27443">1</cx:pt>
          <cx:pt idx="27444">0</cx:pt>
          <cx:pt idx="27445">0</cx:pt>
          <cx:pt idx="27446">1</cx:pt>
          <cx:pt idx="27447">0</cx:pt>
          <cx:pt idx="27448">1</cx:pt>
          <cx:pt idx="27449">1</cx:pt>
          <cx:pt idx="27450">1</cx:pt>
          <cx:pt idx="27451">1</cx:pt>
          <cx:pt idx="27452">1</cx:pt>
          <cx:pt idx="27453">0</cx:pt>
          <cx:pt idx="27454">0</cx:pt>
          <cx:pt idx="27455">0</cx:pt>
          <cx:pt idx="27456">0</cx:pt>
          <cx:pt idx="27457">0</cx:pt>
          <cx:pt idx="27458">1</cx:pt>
          <cx:pt idx="27459">0</cx:pt>
          <cx:pt idx="27460">1</cx:pt>
          <cx:pt idx="27461">1</cx:pt>
          <cx:pt idx="27462">0</cx:pt>
          <cx:pt idx="27463">1</cx:pt>
          <cx:pt idx="27464">1</cx:pt>
          <cx:pt idx="27465">0</cx:pt>
          <cx:pt idx="27466">1</cx:pt>
          <cx:pt idx="27467">1</cx:pt>
          <cx:pt idx="27468">0</cx:pt>
          <cx:pt idx="27469">1</cx:pt>
          <cx:pt idx="27470">0</cx:pt>
          <cx:pt idx="27471">1</cx:pt>
          <cx:pt idx="27472">0</cx:pt>
          <cx:pt idx="27473">0</cx:pt>
          <cx:pt idx="27474">1</cx:pt>
          <cx:pt idx="27475">0</cx:pt>
          <cx:pt idx="27476">0</cx:pt>
          <cx:pt idx="27477">0</cx:pt>
          <cx:pt idx="27478">0</cx:pt>
          <cx:pt idx="27479">0</cx:pt>
          <cx:pt idx="27480">0</cx:pt>
          <cx:pt idx="27481">1</cx:pt>
          <cx:pt idx="27482">1</cx:pt>
          <cx:pt idx="27483">1</cx:pt>
          <cx:pt idx="27484">0</cx:pt>
          <cx:pt idx="27485">0</cx:pt>
          <cx:pt idx="27486">1</cx:pt>
          <cx:pt idx="27487">1</cx:pt>
          <cx:pt idx="27488">0</cx:pt>
          <cx:pt idx="27489">1</cx:pt>
          <cx:pt idx="27490">0</cx:pt>
          <cx:pt idx="27491">1</cx:pt>
          <cx:pt idx="27492">0</cx:pt>
          <cx:pt idx="27493">0</cx:pt>
          <cx:pt idx="27494">0</cx:pt>
          <cx:pt idx="27495">0</cx:pt>
          <cx:pt idx="27496">1</cx:pt>
          <cx:pt idx="27497">0</cx:pt>
          <cx:pt idx="27498">0</cx:pt>
          <cx:pt idx="27499">0</cx:pt>
          <cx:pt idx="27500">0</cx:pt>
          <cx:pt idx="27501">1</cx:pt>
          <cx:pt idx="27502">1</cx:pt>
          <cx:pt idx="27503">0</cx:pt>
          <cx:pt idx="27504">0</cx:pt>
          <cx:pt idx="27505">0</cx:pt>
          <cx:pt idx="27506">0</cx:pt>
          <cx:pt idx="27507">0</cx:pt>
          <cx:pt idx="27508">0</cx:pt>
          <cx:pt idx="27509">1</cx:pt>
          <cx:pt idx="27510">0</cx:pt>
          <cx:pt idx="27511">1</cx:pt>
          <cx:pt idx="27512">0</cx:pt>
          <cx:pt idx="27513">1</cx:pt>
          <cx:pt idx="27514">1</cx:pt>
          <cx:pt idx="27515">1</cx:pt>
          <cx:pt idx="27516">1</cx:pt>
          <cx:pt idx="27517">0</cx:pt>
          <cx:pt idx="27518">1</cx:pt>
          <cx:pt idx="27519">0</cx:pt>
          <cx:pt idx="27520">0</cx:pt>
          <cx:pt idx="27521">0</cx:pt>
          <cx:pt idx="27522">1</cx:pt>
          <cx:pt idx="27523">1</cx:pt>
          <cx:pt idx="27524">0</cx:pt>
          <cx:pt idx="27525">0</cx:pt>
          <cx:pt idx="27526">1</cx:pt>
          <cx:pt idx="27527">1</cx:pt>
          <cx:pt idx="27528">0</cx:pt>
          <cx:pt idx="27529">0</cx:pt>
          <cx:pt idx="27530">0</cx:pt>
          <cx:pt idx="27531">0</cx:pt>
          <cx:pt idx="27532">1</cx:pt>
          <cx:pt idx="27533">1</cx:pt>
          <cx:pt idx="27534">0</cx:pt>
          <cx:pt idx="27535">1</cx:pt>
          <cx:pt idx="27536">0</cx:pt>
          <cx:pt idx="27537">0</cx:pt>
          <cx:pt idx="27538">1</cx:pt>
          <cx:pt idx="27539">1</cx:pt>
          <cx:pt idx="27540">1</cx:pt>
          <cx:pt idx="27541">0</cx:pt>
          <cx:pt idx="27542">0</cx:pt>
          <cx:pt idx="27543">1</cx:pt>
          <cx:pt idx="27544">0</cx:pt>
          <cx:pt idx="27545">0</cx:pt>
          <cx:pt idx="27546">0</cx:pt>
          <cx:pt idx="27547">0</cx:pt>
          <cx:pt idx="27548">0</cx:pt>
          <cx:pt idx="27549">0</cx:pt>
          <cx:pt idx="27550">1</cx:pt>
          <cx:pt idx="27551">1</cx:pt>
          <cx:pt idx="27552">0</cx:pt>
          <cx:pt idx="27553">0</cx:pt>
          <cx:pt idx="27554">0</cx:pt>
          <cx:pt idx="27555">1</cx:pt>
          <cx:pt idx="27556">0</cx:pt>
          <cx:pt idx="27557">0</cx:pt>
          <cx:pt idx="27558">0</cx:pt>
          <cx:pt idx="27559">0</cx:pt>
          <cx:pt idx="27560">0</cx:pt>
          <cx:pt idx="27561">1</cx:pt>
          <cx:pt idx="27562">0</cx:pt>
          <cx:pt idx="27563">1</cx:pt>
          <cx:pt idx="27564">0</cx:pt>
          <cx:pt idx="27565">1</cx:pt>
          <cx:pt idx="27566">0</cx:pt>
          <cx:pt idx="27567">1</cx:pt>
          <cx:pt idx="27568">1</cx:pt>
          <cx:pt idx="27569">0</cx:pt>
          <cx:pt idx="27570">1</cx:pt>
          <cx:pt idx="27571">0</cx:pt>
          <cx:pt idx="27572">1</cx:pt>
          <cx:pt idx="27573">1</cx:pt>
          <cx:pt idx="27574">0</cx:pt>
          <cx:pt idx="27575">0</cx:pt>
          <cx:pt idx="27576">0</cx:pt>
          <cx:pt idx="27577">0</cx:pt>
          <cx:pt idx="27578">0</cx:pt>
          <cx:pt idx="27579">1</cx:pt>
          <cx:pt idx="27580">1</cx:pt>
          <cx:pt idx="27581">1</cx:pt>
          <cx:pt idx="27582">1</cx:pt>
          <cx:pt idx="27583">0</cx:pt>
          <cx:pt idx="27584">0</cx:pt>
          <cx:pt idx="27585">0</cx:pt>
          <cx:pt idx="27586">1</cx:pt>
          <cx:pt idx="27587">0</cx:pt>
          <cx:pt idx="27588">1</cx:pt>
          <cx:pt idx="27589">0</cx:pt>
          <cx:pt idx="27590">1</cx:pt>
          <cx:pt idx="27591">1</cx:pt>
          <cx:pt idx="27592">1</cx:pt>
          <cx:pt idx="27593">1</cx:pt>
          <cx:pt idx="27594">1</cx:pt>
          <cx:pt idx="27595">1</cx:pt>
          <cx:pt idx="27596">0</cx:pt>
          <cx:pt idx="27597">0</cx:pt>
          <cx:pt idx="27598">1</cx:pt>
          <cx:pt idx="27599">1</cx:pt>
          <cx:pt idx="27600">0</cx:pt>
          <cx:pt idx="27601">0</cx:pt>
          <cx:pt idx="27602">0</cx:pt>
          <cx:pt idx="27603">0</cx:pt>
          <cx:pt idx="27604">0</cx:pt>
          <cx:pt idx="27605">0</cx:pt>
          <cx:pt idx="27606">0</cx:pt>
          <cx:pt idx="27607">0</cx:pt>
          <cx:pt idx="27608">0</cx:pt>
          <cx:pt idx="27609">1</cx:pt>
          <cx:pt idx="27610">1</cx:pt>
          <cx:pt idx="27611">1</cx:pt>
          <cx:pt idx="27612">0</cx:pt>
          <cx:pt idx="27613">1</cx:pt>
          <cx:pt idx="27614">0</cx:pt>
          <cx:pt idx="27615">0</cx:pt>
          <cx:pt idx="27616">1</cx:pt>
          <cx:pt idx="27617">1</cx:pt>
          <cx:pt idx="27618">1</cx:pt>
          <cx:pt idx="27619">0</cx:pt>
          <cx:pt idx="27620">0</cx:pt>
          <cx:pt idx="27621">1</cx:pt>
          <cx:pt idx="27622">1</cx:pt>
          <cx:pt idx="27623">0</cx:pt>
          <cx:pt idx="27624">0</cx:pt>
          <cx:pt idx="27625">0</cx:pt>
          <cx:pt idx="27626">0</cx:pt>
          <cx:pt idx="27627">0</cx:pt>
          <cx:pt idx="27628">0</cx:pt>
          <cx:pt idx="27629">1</cx:pt>
          <cx:pt idx="27630">1</cx:pt>
          <cx:pt idx="27631">0</cx:pt>
          <cx:pt idx="27632">0</cx:pt>
          <cx:pt idx="27633">1</cx:pt>
          <cx:pt idx="27634">1</cx:pt>
          <cx:pt idx="27635">0</cx:pt>
          <cx:pt idx="27636">0</cx:pt>
          <cx:pt idx="27637">1</cx:pt>
          <cx:pt idx="27638">0</cx:pt>
          <cx:pt idx="27639">1</cx:pt>
          <cx:pt idx="27640">0</cx:pt>
          <cx:pt idx="27641">0</cx:pt>
          <cx:pt idx="27642">0</cx:pt>
          <cx:pt idx="27643">1</cx:pt>
          <cx:pt idx="27644">1</cx:pt>
          <cx:pt idx="27645">0</cx:pt>
          <cx:pt idx="27646">0</cx:pt>
          <cx:pt idx="27647">0</cx:pt>
          <cx:pt idx="27648">1</cx:pt>
          <cx:pt idx="27649">1</cx:pt>
          <cx:pt idx="27650">0</cx:pt>
          <cx:pt idx="27651">0</cx:pt>
          <cx:pt idx="27652">1</cx:pt>
          <cx:pt idx="27653">1</cx:pt>
          <cx:pt idx="27654">0</cx:pt>
          <cx:pt idx="27655">0</cx:pt>
          <cx:pt idx="27656">1</cx:pt>
          <cx:pt idx="27657">1</cx:pt>
          <cx:pt idx="27658">1</cx:pt>
          <cx:pt idx="27659">1</cx:pt>
          <cx:pt idx="27660">0</cx:pt>
          <cx:pt idx="27661">0</cx:pt>
          <cx:pt idx="27662">0</cx:pt>
          <cx:pt idx="27663">1</cx:pt>
          <cx:pt idx="27664">0</cx:pt>
          <cx:pt idx="27665">1</cx:pt>
          <cx:pt idx="27666">0</cx:pt>
          <cx:pt idx="27667">1</cx:pt>
          <cx:pt idx="27668">0</cx:pt>
          <cx:pt idx="27669">1</cx:pt>
          <cx:pt idx="27670">0</cx:pt>
          <cx:pt idx="27671">0</cx:pt>
          <cx:pt idx="27672">0</cx:pt>
          <cx:pt idx="27673">1</cx:pt>
          <cx:pt idx="27674">0</cx:pt>
          <cx:pt idx="27675">0</cx:pt>
          <cx:pt idx="27676">0</cx:pt>
          <cx:pt idx="27677">1</cx:pt>
          <cx:pt idx="27678">1</cx:pt>
          <cx:pt idx="27679">0</cx:pt>
          <cx:pt idx="27680">1</cx:pt>
          <cx:pt idx="27681">0</cx:pt>
          <cx:pt idx="27682">0</cx:pt>
          <cx:pt idx="27683">1</cx:pt>
          <cx:pt idx="27684">1</cx:pt>
          <cx:pt idx="27685">0</cx:pt>
          <cx:pt idx="27686">0</cx:pt>
          <cx:pt idx="27687">1</cx:pt>
          <cx:pt idx="27688">0</cx:pt>
          <cx:pt idx="27689">0</cx:pt>
          <cx:pt idx="27690">1</cx:pt>
          <cx:pt idx="27691">0</cx:pt>
          <cx:pt idx="27692">1</cx:pt>
          <cx:pt idx="27693">0</cx:pt>
          <cx:pt idx="27694">1</cx:pt>
          <cx:pt idx="27695">0</cx:pt>
          <cx:pt idx="27696">0</cx:pt>
          <cx:pt idx="27697">1</cx:pt>
          <cx:pt idx="27698">1</cx:pt>
          <cx:pt idx="27699">0</cx:pt>
          <cx:pt idx="27700">1</cx:pt>
          <cx:pt idx="27701">0</cx:pt>
          <cx:pt idx="27702">1</cx:pt>
          <cx:pt idx="27703">1</cx:pt>
          <cx:pt idx="27704">0</cx:pt>
          <cx:pt idx="27705">0</cx:pt>
          <cx:pt idx="27706">1</cx:pt>
          <cx:pt idx="27707">1</cx:pt>
          <cx:pt idx="27708">0</cx:pt>
          <cx:pt idx="27709">0</cx:pt>
          <cx:pt idx="27710">1</cx:pt>
          <cx:pt idx="27711">1</cx:pt>
          <cx:pt idx="27712">1</cx:pt>
          <cx:pt idx="27713">0</cx:pt>
          <cx:pt idx="27714">1</cx:pt>
          <cx:pt idx="27715">1</cx:pt>
          <cx:pt idx="27716">0</cx:pt>
          <cx:pt idx="27717">0</cx:pt>
          <cx:pt idx="27718">1</cx:pt>
          <cx:pt idx="27719">0</cx:pt>
          <cx:pt idx="27720">1</cx:pt>
          <cx:pt idx="27721">1</cx:pt>
          <cx:pt idx="27722">1</cx:pt>
          <cx:pt idx="27723">0</cx:pt>
          <cx:pt idx="27724">1</cx:pt>
          <cx:pt idx="27725">0</cx:pt>
          <cx:pt idx="27726">0</cx:pt>
          <cx:pt idx="27727">0</cx:pt>
          <cx:pt idx="27728">1</cx:pt>
          <cx:pt idx="27729">0</cx:pt>
          <cx:pt idx="27730">1</cx:pt>
          <cx:pt idx="27731">0</cx:pt>
          <cx:pt idx="27732">1</cx:pt>
          <cx:pt idx="27733">0</cx:pt>
          <cx:pt idx="27734">0</cx:pt>
          <cx:pt idx="27735">0</cx:pt>
          <cx:pt idx="27736">1</cx:pt>
          <cx:pt idx="27737">0</cx:pt>
          <cx:pt idx="27738">1</cx:pt>
          <cx:pt idx="27739">1</cx:pt>
          <cx:pt idx="27740">0</cx:pt>
          <cx:pt idx="27741">0</cx:pt>
          <cx:pt idx="27742">0</cx:pt>
          <cx:pt idx="27743">0</cx:pt>
          <cx:pt idx="27744">0</cx:pt>
          <cx:pt idx="27745">0</cx:pt>
          <cx:pt idx="27746">0</cx:pt>
          <cx:pt idx="27747">0</cx:pt>
          <cx:pt idx="27748">1</cx:pt>
          <cx:pt idx="27749">1</cx:pt>
          <cx:pt idx="27750">1</cx:pt>
          <cx:pt idx="27751">0</cx:pt>
          <cx:pt idx="27752">0</cx:pt>
          <cx:pt idx="27753">1</cx:pt>
          <cx:pt idx="27754">0</cx:pt>
          <cx:pt idx="27755">0</cx:pt>
          <cx:pt idx="27756">0</cx:pt>
          <cx:pt idx="27757">1</cx:pt>
          <cx:pt idx="27758">1</cx:pt>
          <cx:pt idx="27759">0</cx:pt>
          <cx:pt idx="27760">1</cx:pt>
          <cx:pt idx="27761">0</cx:pt>
          <cx:pt idx="27762">1</cx:pt>
          <cx:pt idx="27763">0</cx:pt>
          <cx:pt idx="27764">0</cx:pt>
          <cx:pt idx="27765">0</cx:pt>
          <cx:pt idx="27766">0</cx:pt>
          <cx:pt idx="27767">1</cx:pt>
          <cx:pt idx="27768">1</cx:pt>
          <cx:pt idx="27769">1</cx:pt>
          <cx:pt idx="27770">0</cx:pt>
          <cx:pt idx="27771">1</cx:pt>
          <cx:pt idx="27772">1</cx:pt>
          <cx:pt idx="27773">1</cx:pt>
          <cx:pt idx="27774">0</cx:pt>
          <cx:pt idx="27775">0</cx:pt>
          <cx:pt idx="27776">0</cx:pt>
          <cx:pt idx="27777">0</cx:pt>
          <cx:pt idx="27778">0</cx:pt>
          <cx:pt idx="27779">1</cx:pt>
          <cx:pt idx="27780">1</cx:pt>
          <cx:pt idx="27781">0</cx:pt>
          <cx:pt idx="27782">0</cx:pt>
          <cx:pt idx="27783">1</cx:pt>
          <cx:pt idx="27784">0</cx:pt>
          <cx:pt idx="27785">1</cx:pt>
          <cx:pt idx="27786">0</cx:pt>
          <cx:pt idx="27787">1</cx:pt>
          <cx:pt idx="27788">1</cx:pt>
          <cx:pt idx="27789">0</cx:pt>
          <cx:pt idx="27790">0</cx:pt>
          <cx:pt idx="27791">1</cx:pt>
          <cx:pt idx="27792">1</cx:pt>
          <cx:pt idx="27793">1</cx:pt>
          <cx:pt idx="27794">0</cx:pt>
          <cx:pt idx="27795">1</cx:pt>
          <cx:pt idx="27796">0</cx:pt>
          <cx:pt idx="27797">1</cx:pt>
          <cx:pt idx="27798">0</cx:pt>
          <cx:pt idx="27799">0</cx:pt>
          <cx:pt idx="27800">0</cx:pt>
          <cx:pt idx="27801">0</cx:pt>
          <cx:pt idx="27802">0</cx:pt>
          <cx:pt idx="27803">0</cx:pt>
          <cx:pt idx="27804">1</cx:pt>
          <cx:pt idx="27805">0</cx:pt>
          <cx:pt idx="27806">0</cx:pt>
          <cx:pt idx="27807">1</cx:pt>
          <cx:pt idx="27808">1</cx:pt>
          <cx:pt idx="27809">0</cx:pt>
          <cx:pt idx="27810">0</cx:pt>
          <cx:pt idx="27811">0</cx:pt>
          <cx:pt idx="27812">1</cx:pt>
          <cx:pt idx="27813">0</cx:pt>
          <cx:pt idx="27814">0</cx:pt>
          <cx:pt idx="27815">0</cx:pt>
          <cx:pt idx="27816">0</cx:pt>
          <cx:pt idx="27817">1</cx:pt>
          <cx:pt idx="27818">0</cx:pt>
          <cx:pt idx="27819">1</cx:pt>
          <cx:pt idx="27820">1</cx:pt>
          <cx:pt idx="27821">1</cx:pt>
          <cx:pt idx="27822">1</cx:pt>
          <cx:pt idx="27823">0</cx:pt>
          <cx:pt idx="27824">0</cx:pt>
          <cx:pt idx="27825">0</cx:pt>
          <cx:pt idx="27826">1</cx:pt>
          <cx:pt idx="27827">1</cx:pt>
          <cx:pt idx="27828">0</cx:pt>
          <cx:pt idx="27829">0</cx:pt>
          <cx:pt idx="27830">0</cx:pt>
          <cx:pt idx="27831">0</cx:pt>
          <cx:pt idx="27832">1</cx:pt>
          <cx:pt idx="27833">0</cx:pt>
          <cx:pt idx="27834">0</cx:pt>
          <cx:pt idx="27835">0</cx:pt>
          <cx:pt idx="27836">0</cx:pt>
          <cx:pt idx="27837">0</cx:pt>
          <cx:pt idx="27838">0</cx:pt>
          <cx:pt idx="27839">1</cx:pt>
          <cx:pt idx="27840">0</cx:pt>
          <cx:pt idx="27841">0</cx:pt>
          <cx:pt idx="27842">0</cx:pt>
          <cx:pt idx="27843">0</cx:pt>
          <cx:pt idx="27844">0</cx:pt>
          <cx:pt idx="27845">1</cx:pt>
          <cx:pt idx="27846">1</cx:pt>
          <cx:pt idx="27847">0</cx:pt>
          <cx:pt idx="27848">0</cx:pt>
          <cx:pt idx="27849">1</cx:pt>
          <cx:pt idx="27850">1</cx:pt>
          <cx:pt idx="27851">0</cx:pt>
          <cx:pt idx="27852">1</cx:pt>
          <cx:pt idx="27853">0</cx:pt>
          <cx:pt idx="27854">0</cx:pt>
          <cx:pt idx="27855">0</cx:pt>
          <cx:pt idx="27856">1</cx:pt>
          <cx:pt idx="27857">1</cx:pt>
          <cx:pt idx="27858">0</cx:pt>
          <cx:pt idx="27859">1</cx:pt>
          <cx:pt idx="27860">0</cx:pt>
          <cx:pt idx="27861">1</cx:pt>
          <cx:pt idx="27862">1</cx:pt>
          <cx:pt idx="27863">0</cx:pt>
          <cx:pt idx="27864">1</cx:pt>
          <cx:pt idx="27865">0</cx:pt>
          <cx:pt idx="27866">0</cx:pt>
          <cx:pt idx="27867">0</cx:pt>
          <cx:pt idx="27868">0</cx:pt>
          <cx:pt idx="27869">0</cx:pt>
          <cx:pt idx="27870">0</cx:pt>
          <cx:pt idx="27871">0</cx:pt>
          <cx:pt idx="27872">0</cx:pt>
          <cx:pt idx="27873">0</cx:pt>
          <cx:pt idx="27874">0</cx:pt>
          <cx:pt idx="27875">1</cx:pt>
          <cx:pt idx="27876">1</cx:pt>
          <cx:pt idx="27877">0</cx:pt>
          <cx:pt idx="27878">0</cx:pt>
          <cx:pt idx="27879">1</cx:pt>
          <cx:pt idx="27880">0</cx:pt>
          <cx:pt idx="27881">0</cx:pt>
          <cx:pt idx="27882">0</cx:pt>
          <cx:pt idx="27883">0</cx:pt>
          <cx:pt idx="27884">1</cx:pt>
          <cx:pt idx="27885">0</cx:pt>
          <cx:pt idx="27886">1</cx:pt>
          <cx:pt idx="27887">0</cx:pt>
          <cx:pt idx="27888">0</cx:pt>
          <cx:pt idx="27889">1</cx:pt>
          <cx:pt idx="27890">0</cx:pt>
          <cx:pt idx="27891">1</cx:pt>
          <cx:pt idx="27892">0</cx:pt>
          <cx:pt idx="27893">1</cx:pt>
          <cx:pt idx="27894">1</cx:pt>
          <cx:pt idx="27895">0</cx:pt>
          <cx:pt idx="27896">0</cx:pt>
          <cx:pt idx="27897">1</cx:pt>
          <cx:pt idx="27898">1</cx:pt>
          <cx:pt idx="27899">1</cx:pt>
          <cx:pt idx="27900">0</cx:pt>
          <cx:pt idx="27901">0</cx:pt>
          <cx:pt idx="27902">1</cx:pt>
          <cx:pt idx="27903">0</cx:pt>
          <cx:pt idx="27904">1</cx:pt>
          <cx:pt idx="27905">0</cx:pt>
          <cx:pt idx="27906">1</cx:pt>
          <cx:pt idx="27907">1</cx:pt>
          <cx:pt idx="27908">1</cx:pt>
          <cx:pt idx="27909">0</cx:pt>
          <cx:pt idx="27910">1</cx:pt>
          <cx:pt idx="27911">1</cx:pt>
          <cx:pt idx="27912">0</cx:pt>
          <cx:pt idx="27913">0</cx:pt>
          <cx:pt idx="27914">1</cx:pt>
          <cx:pt idx="27915">1</cx:pt>
          <cx:pt idx="27916">0</cx:pt>
          <cx:pt idx="27917">0</cx:pt>
          <cx:pt idx="27918">0</cx:pt>
          <cx:pt idx="27919">1</cx:pt>
          <cx:pt idx="27920">0</cx:pt>
          <cx:pt idx="27921">1</cx:pt>
          <cx:pt idx="27922">1</cx:pt>
          <cx:pt idx="27923">1</cx:pt>
          <cx:pt idx="27924">1</cx:pt>
          <cx:pt idx="27925">1</cx:pt>
          <cx:pt idx="27926">0</cx:pt>
          <cx:pt idx="27927">0</cx:pt>
          <cx:pt idx="27928">0</cx:pt>
          <cx:pt idx="27929">1</cx:pt>
          <cx:pt idx="27930">0</cx:pt>
          <cx:pt idx="27931">0</cx:pt>
          <cx:pt idx="27932">0</cx:pt>
          <cx:pt idx="27933">0</cx:pt>
          <cx:pt idx="27934">0</cx:pt>
          <cx:pt idx="27935">1</cx:pt>
          <cx:pt idx="27936">0</cx:pt>
          <cx:pt idx="27937">1</cx:pt>
          <cx:pt idx="27938">0</cx:pt>
          <cx:pt idx="27939">1</cx:pt>
          <cx:pt idx="27940">0</cx:pt>
          <cx:pt idx="27941">0</cx:pt>
          <cx:pt idx="27942">1</cx:pt>
          <cx:pt idx="27943">1</cx:pt>
          <cx:pt idx="27944">0</cx:pt>
          <cx:pt idx="27945">0</cx:pt>
          <cx:pt idx="27946">0</cx:pt>
          <cx:pt idx="27947">1</cx:pt>
          <cx:pt idx="27948">0</cx:pt>
          <cx:pt idx="27949">0</cx:pt>
          <cx:pt idx="27950">0</cx:pt>
          <cx:pt idx="27951">0</cx:pt>
          <cx:pt idx="27952">1</cx:pt>
          <cx:pt idx="27953">0</cx:pt>
          <cx:pt idx="27954">1</cx:pt>
          <cx:pt idx="27955">1</cx:pt>
          <cx:pt idx="27956">0</cx:pt>
          <cx:pt idx="27957">0</cx:pt>
          <cx:pt idx="27958">0</cx:pt>
          <cx:pt idx="27959">0</cx:pt>
          <cx:pt idx="27960">1</cx:pt>
          <cx:pt idx="27961">0</cx:pt>
          <cx:pt idx="27962">0</cx:pt>
          <cx:pt idx="27963">0</cx:pt>
          <cx:pt idx="27964">1</cx:pt>
          <cx:pt idx="27965">1</cx:pt>
          <cx:pt idx="27966">0</cx:pt>
          <cx:pt idx="27967">0</cx:pt>
          <cx:pt idx="27968">1</cx:pt>
          <cx:pt idx="27969">0</cx:pt>
          <cx:pt idx="27970">0</cx:pt>
          <cx:pt idx="27971">0</cx:pt>
          <cx:pt idx="27972">0</cx:pt>
          <cx:pt idx="27973">1</cx:pt>
          <cx:pt idx="27974">0</cx:pt>
          <cx:pt idx="27975">0</cx:pt>
          <cx:pt idx="27976">1</cx:pt>
          <cx:pt idx="27977">0</cx:pt>
          <cx:pt idx="27978">0</cx:pt>
          <cx:pt idx="27979">0</cx:pt>
          <cx:pt idx="27980">1</cx:pt>
          <cx:pt idx="27981">0</cx:pt>
          <cx:pt idx="27982">1</cx:pt>
          <cx:pt idx="27983">1</cx:pt>
          <cx:pt idx="27984">1</cx:pt>
          <cx:pt idx="27985">1</cx:pt>
          <cx:pt idx="27986">1</cx:pt>
          <cx:pt idx="27987">1</cx:pt>
          <cx:pt idx="27988">0</cx:pt>
          <cx:pt idx="27989">0</cx:pt>
          <cx:pt idx="27990">1</cx:pt>
          <cx:pt idx="27991">1</cx:pt>
          <cx:pt idx="27992">1</cx:pt>
          <cx:pt idx="27993">0</cx:pt>
          <cx:pt idx="27994">1</cx:pt>
          <cx:pt idx="27995">0</cx:pt>
          <cx:pt idx="27996">0</cx:pt>
          <cx:pt idx="27997">1</cx:pt>
          <cx:pt idx="27998">0</cx:pt>
          <cx:pt idx="27999">0</cx:pt>
          <cx:pt idx="28000">0</cx:pt>
          <cx:pt idx="28001">0</cx:pt>
          <cx:pt idx="28002">0</cx:pt>
          <cx:pt idx="28003">1</cx:pt>
          <cx:pt idx="28004">0</cx:pt>
          <cx:pt idx="28005">1</cx:pt>
          <cx:pt idx="28006">0</cx:pt>
          <cx:pt idx="28007">0</cx:pt>
          <cx:pt idx="28008">1</cx:pt>
          <cx:pt idx="28009">0</cx:pt>
          <cx:pt idx="28010">1</cx:pt>
          <cx:pt idx="28011">1</cx:pt>
          <cx:pt idx="28012">0</cx:pt>
          <cx:pt idx="28013">1</cx:pt>
          <cx:pt idx="28014">0</cx:pt>
          <cx:pt idx="28015">1</cx:pt>
          <cx:pt idx="28016">1</cx:pt>
          <cx:pt idx="28017">1</cx:pt>
          <cx:pt idx="28018">0</cx:pt>
          <cx:pt idx="28019">1</cx:pt>
          <cx:pt idx="28020">0</cx:pt>
          <cx:pt idx="28021">0</cx:pt>
          <cx:pt idx="28022">1</cx:pt>
          <cx:pt idx="28023">0</cx:pt>
          <cx:pt idx="28024">0</cx:pt>
          <cx:pt idx="28025">0</cx:pt>
          <cx:pt idx="28026">0</cx:pt>
          <cx:pt idx="28027">0</cx:pt>
          <cx:pt idx="28028">0</cx:pt>
          <cx:pt idx="28029">0</cx:pt>
          <cx:pt idx="28030">1</cx:pt>
          <cx:pt idx="28031">1</cx:pt>
          <cx:pt idx="28032">1</cx:pt>
          <cx:pt idx="28033">0</cx:pt>
          <cx:pt idx="28034">0</cx:pt>
          <cx:pt idx="28035">1</cx:pt>
          <cx:pt idx="28036">1</cx:pt>
          <cx:pt idx="28037">1</cx:pt>
          <cx:pt idx="28038">1</cx:pt>
          <cx:pt idx="28039">0</cx:pt>
          <cx:pt idx="28040">0</cx:pt>
          <cx:pt idx="28041">0</cx:pt>
          <cx:pt idx="28042">1</cx:pt>
          <cx:pt idx="28043">0</cx:pt>
          <cx:pt idx="28044">0</cx:pt>
          <cx:pt idx="28045">1</cx:pt>
          <cx:pt idx="28046">0</cx:pt>
          <cx:pt idx="28047">0</cx:pt>
          <cx:pt idx="28048">0</cx:pt>
          <cx:pt idx="28049">1</cx:pt>
          <cx:pt idx="28050">0</cx:pt>
          <cx:pt idx="28051">0</cx:pt>
          <cx:pt idx="28052">1</cx:pt>
          <cx:pt idx="28053">1</cx:pt>
          <cx:pt idx="28054">0</cx:pt>
          <cx:pt idx="28055">0</cx:pt>
          <cx:pt idx="28056">1</cx:pt>
          <cx:pt idx="28057">1</cx:pt>
          <cx:pt idx="28058">0</cx:pt>
          <cx:pt idx="28059">0</cx:pt>
          <cx:pt idx="28060">0</cx:pt>
          <cx:pt idx="28061">0</cx:pt>
          <cx:pt idx="28062">1</cx:pt>
          <cx:pt idx="28063">0</cx:pt>
          <cx:pt idx="28064">0</cx:pt>
          <cx:pt idx="28065">1</cx:pt>
          <cx:pt idx="28066">0</cx:pt>
          <cx:pt idx="28067">0</cx:pt>
          <cx:pt idx="28068">1</cx:pt>
          <cx:pt idx="28069">1</cx:pt>
          <cx:pt idx="28070">1</cx:pt>
          <cx:pt idx="28071">1</cx:pt>
          <cx:pt idx="28072">1</cx:pt>
          <cx:pt idx="28073">1</cx:pt>
          <cx:pt idx="28074">1</cx:pt>
          <cx:pt idx="28075">0</cx:pt>
          <cx:pt idx="28076">1</cx:pt>
          <cx:pt idx="28077">0</cx:pt>
          <cx:pt idx="28078">0</cx:pt>
          <cx:pt idx="28079">0</cx:pt>
          <cx:pt idx="28080">0</cx:pt>
          <cx:pt idx="28081">0</cx:pt>
          <cx:pt idx="28082">1</cx:pt>
          <cx:pt idx="28083">1</cx:pt>
          <cx:pt idx="28084">0</cx:pt>
          <cx:pt idx="28085">1</cx:pt>
          <cx:pt idx="28086">0</cx:pt>
          <cx:pt idx="28087">0</cx:pt>
          <cx:pt idx="28088">0</cx:pt>
          <cx:pt idx="28089">1</cx:pt>
          <cx:pt idx="28090">0</cx:pt>
          <cx:pt idx="28091">1</cx:pt>
          <cx:pt idx="28092">0</cx:pt>
          <cx:pt idx="28093">1</cx:pt>
          <cx:pt idx="28094">0</cx:pt>
          <cx:pt idx="28095">0</cx:pt>
          <cx:pt idx="28096">0</cx:pt>
          <cx:pt idx="28097">0</cx:pt>
          <cx:pt idx="28098">0</cx:pt>
          <cx:pt idx="28099">1</cx:pt>
          <cx:pt idx="28100">1</cx:pt>
          <cx:pt idx="28101">0</cx:pt>
          <cx:pt idx="28102">1</cx:pt>
          <cx:pt idx="28103">1</cx:pt>
          <cx:pt idx="28104">0</cx:pt>
          <cx:pt idx="28105">0</cx:pt>
          <cx:pt idx="28106">1</cx:pt>
          <cx:pt idx="28107">0</cx:pt>
          <cx:pt idx="28108">1</cx:pt>
          <cx:pt idx="28109">1</cx:pt>
          <cx:pt idx="28110">1</cx:pt>
          <cx:pt idx="28111">0</cx:pt>
          <cx:pt idx="28112">0</cx:pt>
          <cx:pt idx="28113">0</cx:pt>
          <cx:pt idx="28114">1</cx:pt>
          <cx:pt idx="28115">0</cx:pt>
          <cx:pt idx="28116">0</cx:pt>
          <cx:pt idx="28117">1</cx:pt>
          <cx:pt idx="28118">0</cx:pt>
          <cx:pt idx="28119">0</cx:pt>
          <cx:pt idx="28120">1</cx:pt>
          <cx:pt idx="28121">1</cx:pt>
          <cx:pt idx="28122">0</cx:pt>
          <cx:pt idx="28123">0</cx:pt>
          <cx:pt idx="28124">1</cx:pt>
          <cx:pt idx="28125">0</cx:pt>
          <cx:pt idx="28126">1</cx:pt>
          <cx:pt idx="28127">0</cx:pt>
          <cx:pt idx="28128">1</cx:pt>
          <cx:pt idx="28129">0</cx:pt>
          <cx:pt idx="28130">0</cx:pt>
          <cx:pt idx="28131">0</cx:pt>
          <cx:pt idx="28132">0</cx:pt>
          <cx:pt idx="28133">1</cx:pt>
          <cx:pt idx="28134">0</cx:pt>
          <cx:pt idx="28135">1</cx:pt>
          <cx:pt idx="28136">0</cx:pt>
          <cx:pt idx="28137">0</cx:pt>
          <cx:pt idx="28138">1</cx:pt>
          <cx:pt idx="28139">0</cx:pt>
          <cx:pt idx="28140">0</cx:pt>
          <cx:pt idx="28141">1</cx:pt>
          <cx:pt idx="28142">0</cx:pt>
          <cx:pt idx="28143">0</cx:pt>
          <cx:pt idx="28144">0</cx:pt>
          <cx:pt idx="28145">0</cx:pt>
          <cx:pt idx="28146">0</cx:pt>
          <cx:pt idx="28147">0</cx:pt>
          <cx:pt idx="28148">1</cx:pt>
          <cx:pt idx="28149">1</cx:pt>
          <cx:pt idx="28150">1</cx:pt>
          <cx:pt idx="28151">0</cx:pt>
          <cx:pt idx="28152">1</cx:pt>
          <cx:pt idx="28153">0</cx:pt>
          <cx:pt idx="28154">1</cx:pt>
          <cx:pt idx="28155">1</cx:pt>
          <cx:pt idx="28156">0</cx:pt>
          <cx:pt idx="28157">1</cx:pt>
          <cx:pt idx="28158">0</cx:pt>
          <cx:pt idx="28159">1</cx:pt>
          <cx:pt idx="28160">1</cx:pt>
          <cx:pt idx="28161">0</cx:pt>
          <cx:pt idx="28162">1</cx:pt>
          <cx:pt idx="28163">1</cx:pt>
          <cx:pt idx="28164">0</cx:pt>
          <cx:pt idx="28165">0</cx:pt>
          <cx:pt idx="28166">1</cx:pt>
          <cx:pt idx="28167">1</cx:pt>
          <cx:pt idx="28168">1</cx:pt>
          <cx:pt idx="28169">0</cx:pt>
          <cx:pt idx="28170">0</cx:pt>
          <cx:pt idx="28171">0</cx:pt>
          <cx:pt idx="28172">0</cx:pt>
          <cx:pt idx="28173">1</cx:pt>
          <cx:pt idx="28174">1</cx:pt>
          <cx:pt idx="28175">1</cx:pt>
          <cx:pt idx="28176">1</cx:pt>
          <cx:pt idx="28177">1</cx:pt>
          <cx:pt idx="28178">1</cx:pt>
          <cx:pt idx="28179">1</cx:pt>
          <cx:pt idx="28180">0</cx:pt>
          <cx:pt idx="28181">1</cx:pt>
          <cx:pt idx="28182">1</cx:pt>
          <cx:pt idx="28183">1</cx:pt>
          <cx:pt idx="28184">0</cx:pt>
          <cx:pt idx="28185">0</cx:pt>
          <cx:pt idx="28186">0</cx:pt>
          <cx:pt idx="28187">0</cx:pt>
          <cx:pt idx="28188">0</cx:pt>
          <cx:pt idx="28189">1</cx:pt>
          <cx:pt idx="28190">1</cx:pt>
          <cx:pt idx="28191">0</cx:pt>
          <cx:pt idx="28192">1</cx:pt>
          <cx:pt idx="28193">1</cx:pt>
          <cx:pt idx="28194">0</cx:pt>
          <cx:pt idx="28195">0</cx:pt>
          <cx:pt idx="28196">0</cx:pt>
          <cx:pt idx="28197">0</cx:pt>
          <cx:pt idx="28198">0</cx:pt>
          <cx:pt idx="28199">0</cx:pt>
          <cx:pt idx="28200">0</cx:pt>
          <cx:pt idx="28201">0</cx:pt>
          <cx:pt idx="28202">1</cx:pt>
          <cx:pt idx="28203">0</cx:pt>
          <cx:pt idx="28204">0</cx:pt>
          <cx:pt idx="28205">0</cx:pt>
          <cx:pt idx="28206">1</cx:pt>
          <cx:pt idx="28207">1</cx:pt>
          <cx:pt idx="28208">1</cx:pt>
          <cx:pt idx="28209">1</cx:pt>
          <cx:pt idx="28210">0</cx:pt>
          <cx:pt idx="28211">0</cx:pt>
          <cx:pt idx="28212">0</cx:pt>
          <cx:pt idx="28213">0</cx:pt>
          <cx:pt idx="28214">1</cx:pt>
          <cx:pt idx="28215">0</cx:pt>
          <cx:pt idx="28216">0</cx:pt>
          <cx:pt idx="28217">0</cx:pt>
          <cx:pt idx="28218">1</cx:pt>
          <cx:pt idx="28219">0</cx:pt>
          <cx:pt idx="28220">1</cx:pt>
          <cx:pt idx="28221">0</cx:pt>
          <cx:pt idx="28222">0</cx:pt>
          <cx:pt idx="28223">1</cx:pt>
          <cx:pt idx="28224">0</cx:pt>
          <cx:pt idx="28225">0</cx:pt>
          <cx:pt idx="28226">1</cx:pt>
          <cx:pt idx="28227">0</cx:pt>
          <cx:pt idx="28228">1</cx:pt>
          <cx:pt idx="28229">0</cx:pt>
          <cx:pt idx="28230">0</cx:pt>
          <cx:pt idx="28231">0</cx:pt>
          <cx:pt idx="28232">1</cx:pt>
          <cx:pt idx="28233">1</cx:pt>
          <cx:pt idx="28234">0</cx:pt>
          <cx:pt idx="28235">0</cx:pt>
          <cx:pt idx="28236">1</cx:pt>
          <cx:pt idx="28237">1</cx:pt>
          <cx:pt idx="28238">1</cx:pt>
          <cx:pt idx="28239">0</cx:pt>
          <cx:pt idx="28240">1</cx:pt>
          <cx:pt idx="28241">1</cx:pt>
          <cx:pt idx="28242">0</cx:pt>
          <cx:pt idx="28243">0</cx:pt>
          <cx:pt idx="28244">0</cx:pt>
          <cx:pt idx="28245">1</cx:pt>
          <cx:pt idx="28246">0</cx:pt>
          <cx:pt idx="28247">1</cx:pt>
          <cx:pt idx="28248">1</cx:pt>
          <cx:pt idx="28249">1</cx:pt>
          <cx:pt idx="28250">0</cx:pt>
          <cx:pt idx="28251">0</cx:pt>
          <cx:pt idx="28252">0</cx:pt>
          <cx:pt idx="28253">0</cx:pt>
          <cx:pt idx="28254">0</cx:pt>
          <cx:pt idx="28255">1</cx:pt>
          <cx:pt idx="28256">1</cx:pt>
          <cx:pt idx="28257">0</cx:pt>
          <cx:pt idx="28258">0</cx:pt>
          <cx:pt idx="28259">1</cx:pt>
          <cx:pt idx="28260">1</cx:pt>
          <cx:pt idx="28261">0</cx:pt>
          <cx:pt idx="28262">0</cx:pt>
          <cx:pt idx="28263">1</cx:pt>
          <cx:pt idx="28264">1</cx:pt>
          <cx:pt idx="28265">0</cx:pt>
          <cx:pt idx="28266">0</cx:pt>
          <cx:pt idx="28267">0</cx:pt>
          <cx:pt idx="28268">0</cx:pt>
          <cx:pt idx="28269">1</cx:pt>
          <cx:pt idx="28270">0</cx:pt>
          <cx:pt idx="28271">0</cx:pt>
          <cx:pt idx="28272">0</cx:pt>
          <cx:pt idx="28273">1</cx:pt>
          <cx:pt idx="28274">0</cx:pt>
          <cx:pt idx="28275">0</cx:pt>
          <cx:pt idx="28276">0</cx:pt>
          <cx:pt idx="28277">0</cx:pt>
          <cx:pt idx="28278">1</cx:pt>
          <cx:pt idx="28279">1</cx:pt>
          <cx:pt idx="28280">0</cx:pt>
          <cx:pt idx="28281">1</cx:pt>
          <cx:pt idx="28282">0</cx:pt>
          <cx:pt idx="28283">0</cx:pt>
          <cx:pt idx="28284">0</cx:pt>
          <cx:pt idx="28285">1</cx:pt>
          <cx:pt idx="28286">0</cx:pt>
          <cx:pt idx="28287">0</cx:pt>
          <cx:pt idx="28288">0</cx:pt>
          <cx:pt idx="28289">0</cx:pt>
          <cx:pt idx="28290">1</cx:pt>
          <cx:pt idx="28291">0</cx:pt>
          <cx:pt idx="28292">1</cx:pt>
          <cx:pt idx="28293">0</cx:pt>
          <cx:pt idx="28294">1</cx:pt>
          <cx:pt idx="28295">0</cx:pt>
          <cx:pt idx="28296">1</cx:pt>
          <cx:pt idx="28297">1</cx:pt>
          <cx:pt idx="28298">1</cx:pt>
          <cx:pt idx="28299">0</cx:pt>
          <cx:pt idx="28300">0</cx:pt>
          <cx:pt idx="28301">0</cx:pt>
          <cx:pt idx="28302">1</cx:pt>
          <cx:pt idx="28303">0</cx:pt>
          <cx:pt idx="28304">1</cx:pt>
          <cx:pt idx="28305">0</cx:pt>
          <cx:pt idx="28306">0</cx:pt>
          <cx:pt idx="28307">0</cx:pt>
          <cx:pt idx="28308">0</cx:pt>
          <cx:pt idx="28309">1</cx:pt>
          <cx:pt idx="28310">1</cx:pt>
          <cx:pt idx="28311">0</cx:pt>
          <cx:pt idx="28312">1</cx:pt>
          <cx:pt idx="28313">0</cx:pt>
          <cx:pt idx="28314">0</cx:pt>
          <cx:pt idx="28315">0</cx:pt>
          <cx:pt idx="28316">0</cx:pt>
          <cx:pt idx="28317">1</cx:pt>
          <cx:pt idx="28318">0</cx:pt>
          <cx:pt idx="28319">1</cx:pt>
          <cx:pt idx="28320">1</cx:pt>
          <cx:pt idx="28321">1</cx:pt>
          <cx:pt idx="28322">1</cx:pt>
          <cx:pt idx="28323">1</cx:pt>
          <cx:pt idx="28324">0</cx:pt>
          <cx:pt idx="28325">1</cx:pt>
          <cx:pt idx="28326">0</cx:pt>
          <cx:pt idx="28327">1</cx:pt>
          <cx:pt idx="28328">1</cx:pt>
          <cx:pt idx="28329">1</cx:pt>
          <cx:pt idx="28330">0</cx:pt>
          <cx:pt idx="28331">0</cx:pt>
          <cx:pt idx="28332">0</cx:pt>
          <cx:pt idx="28333">1</cx:pt>
          <cx:pt idx="28334">1</cx:pt>
          <cx:pt idx="28335">1</cx:pt>
          <cx:pt idx="28336">1</cx:pt>
          <cx:pt idx="28337">0</cx:pt>
          <cx:pt idx="28338">0</cx:pt>
          <cx:pt idx="28339">1</cx:pt>
          <cx:pt idx="28340">1</cx:pt>
          <cx:pt idx="28341">0</cx:pt>
          <cx:pt idx="28342">1</cx:pt>
          <cx:pt idx="28343">1</cx:pt>
          <cx:pt idx="28344">0</cx:pt>
          <cx:pt idx="28345">1</cx:pt>
          <cx:pt idx="28346">1</cx:pt>
          <cx:pt idx="28347">1</cx:pt>
          <cx:pt idx="28348">0</cx:pt>
          <cx:pt idx="28349">0</cx:pt>
          <cx:pt idx="28350">0</cx:pt>
          <cx:pt idx="28351">1</cx:pt>
          <cx:pt idx="28352">0</cx:pt>
          <cx:pt idx="28353">1</cx:pt>
          <cx:pt idx="28354">0</cx:pt>
          <cx:pt idx="28355">0</cx:pt>
          <cx:pt idx="28356">0</cx:pt>
          <cx:pt idx="28357">0</cx:pt>
          <cx:pt idx="28358">1</cx:pt>
          <cx:pt idx="28359">0</cx:pt>
          <cx:pt idx="28360">0</cx:pt>
          <cx:pt idx="28361">1</cx:pt>
          <cx:pt idx="28362">0</cx:pt>
          <cx:pt idx="28363">0</cx:pt>
          <cx:pt idx="28364">0</cx:pt>
          <cx:pt idx="28365">0</cx:pt>
          <cx:pt idx="28366">1</cx:pt>
          <cx:pt idx="28367">0</cx:pt>
          <cx:pt idx="28368">0</cx:pt>
          <cx:pt idx="28369">0</cx:pt>
          <cx:pt idx="28370">0</cx:pt>
          <cx:pt idx="28371">1</cx:pt>
          <cx:pt idx="28372">1</cx:pt>
          <cx:pt idx="28373">0</cx:pt>
          <cx:pt idx="28374">0</cx:pt>
          <cx:pt idx="28375">0</cx:pt>
          <cx:pt idx="28376">1</cx:pt>
          <cx:pt idx="28377">1</cx:pt>
          <cx:pt idx="28378">1</cx:pt>
          <cx:pt idx="28379">0</cx:pt>
          <cx:pt idx="28380">1</cx:pt>
          <cx:pt idx="28381">1</cx:pt>
          <cx:pt idx="28382">1</cx:pt>
          <cx:pt idx="28383">1</cx:pt>
          <cx:pt idx="28384">0</cx:pt>
          <cx:pt idx="28385">1</cx:pt>
          <cx:pt idx="28386">0</cx:pt>
          <cx:pt idx="28387">0</cx:pt>
          <cx:pt idx="28388">1</cx:pt>
          <cx:pt idx="28389">0</cx:pt>
          <cx:pt idx="28390">0</cx:pt>
          <cx:pt idx="28391">0</cx:pt>
          <cx:pt idx="28392">0</cx:pt>
          <cx:pt idx="28393">0</cx:pt>
          <cx:pt idx="28394">0</cx:pt>
          <cx:pt idx="28395">1</cx:pt>
          <cx:pt idx="28396">0</cx:pt>
          <cx:pt idx="28397">0</cx:pt>
          <cx:pt idx="28398">0</cx:pt>
          <cx:pt idx="28399">1</cx:pt>
          <cx:pt idx="28400">1</cx:pt>
          <cx:pt idx="28401">1</cx:pt>
          <cx:pt idx="28402">1</cx:pt>
          <cx:pt idx="28403">1</cx:pt>
          <cx:pt idx="28404">1</cx:pt>
          <cx:pt idx="28405">0</cx:pt>
          <cx:pt idx="28406">0</cx:pt>
          <cx:pt idx="28407">0</cx:pt>
          <cx:pt idx="28408">0</cx:pt>
          <cx:pt idx="28409">1</cx:pt>
          <cx:pt idx="28410">0</cx:pt>
          <cx:pt idx="28411">0</cx:pt>
          <cx:pt idx="28412">1</cx:pt>
          <cx:pt idx="28413">0</cx:pt>
          <cx:pt idx="28414">0</cx:pt>
          <cx:pt idx="28415">0</cx:pt>
          <cx:pt idx="28416">1</cx:pt>
          <cx:pt idx="28417">1</cx:pt>
          <cx:pt idx="28418">0</cx:pt>
          <cx:pt idx="28419">0</cx:pt>
          <cx:pt idx="28420">0</cx:pt>
          <cx:pt idx="28421">1</cx:pt>
          <cx:pt idx="28422">1</cx:pt>
          <cx:pt idx="28423">1</cx:pt>
          <cx:pt idx="28424">0</cx:pt>
          <cx:pt idx="28425">1</cx:pt>
          <cx:pt idx="28426">1</cx:pt>
          <cx:pt idx="28427">0</cx:pt>
          <cx:pt idx="28428">1</cx:pt>
          <cx:pt idx="28429">0</cx:pt>
          <cx:pt idx="28430">0</cx:pt>
          <cx:pt idx="28431">1</cx:pt>
          <cx:pt idx="28432">1</cx:pt>
          <cx:pt idx="28433">1</cx:pt>
          <cx:pt idx="28434">0</cx:pt>
          <cx:pt idx="28435">1</cx:pt>
          <cx:pt idx="28436">0</cx:pt>
          <cx:pt idx="28437">1</cx:pt>
          <cx:pt idx="28438">0</cx:pt>
          <cx:pt idx="28439">1</cx:pt>
          <cx:pt idx="28440">1</cx:pt>
          <cx:pt idx="28441">1</cx:pt>
          <cx:pt idx="28442">1</cx:pt>
          <cx:pt idx="28443">0</cx:pt>
          <cx:pt idx="28444">0</cx:pt>
          <cx:pt idx="28445">1</cx:pt>
          <cx:pt idx="28446">1</cx:pt>
          <cx:pt idx="28447">0</cx:pt>
          <cx:pt idx="28448">1</cx:pt>
          <cx:pt idx="28449">0</cx:pt>
          <cx:pt idx="28450">1</cx:pt>
          <cx:pt idx="28451">1</cx:pt>
          <cx:pt idx="28452">0</cx:pt>
          <cx:pt idx="28453">1</cx:pt>
          <cx:pt idx="28454">0</cx:pt>
          <cx:pt idx="28455">1</cx:pt>
          <cx:pt idx="28456">1</cx:pt>
          <cx:pt idx="28457">1</cx:pt>
          <cx:pt idx="28458">0</cx:pt>
          <cx:pt idx="28459">0</cx:pt>
          <cx:pt idx="28460">0</cx:pt>
          <cx:pt idx="28461">1</cx:pt>
          <cx:pt idx="28462">1</cx:pt>
          <cx:pt idx="28463">1</cx:pt>
          <cx:pt idx="28464">0</cx:pt>
          <cx:pt idx="28465">1</cx:pt>
          <cx:pt idx="28466">0</cx:pt>
          <cx:pt idx="28467">1</cx:pt>
          <cx:pt idx="28468">1</cx:pt>
          <cx:pt idx="28469">0</cx:pt>
          <cx:pt idx="28470">0</cx:pt>
          <cx:pt idx="28471">1</cx:pt>
          <cx:pt idx="28472">0</cx:pt>
          <cx:pt idx="28473">0</cx:pt>
          <cx:pt idx="28474">0</cx:pt>
          <cx:pt idx="28475">1</cx:pt>
          <cx:pt idx="28476">0</cx:pt>
          <cx:pt idx="28477">1</cx:pt>
          <cx:pt idx="28478">0</cx:pt>
          <cx:pt idx="28479">0</cx:pt>
          <cx:pt idx="28480">1</cx:pt>
          <cx:pt idx="28481">1</cx:pt>
          <cx:pt idx="28482">0</cx:pt>
          <cx:pt idx="28483">0</cx:pt>
          <cx:pt idx="28484">0</cx:pt>
          <cx:pt idx="28485">1</cx:pt>
          <cx:pt idx="28486">0</cx:pt>
          <cx:pt idx="28487">0</cx:pt>
          <cx:pt idx="28488">0</cx:pt>
          <cx:pt idx="28489">0</cx:pt>
          <cx:pt idx="28490">1</cx:pt>
          <cx:pt idx="28491">1</cx:pt>
          <cx:pt idx="28492">0</cx:pt>
          <cx:pt idx="28493">0</cx:pt>
          <cx:pt idx="28494">1</cx:pt>
          <cx:pt idx="28495">1</cx:pt>
          <cx:pt idx="28496">0</cx:pt>
          <cx:pt idx="28497">0</cx:pt>
          <cx:pt idx="28498">0</cx:pt>
          <cx:pt idx="28499">1</cx:pt>
          <cx:pt idx="28500">0</cx:pt>
          <cx:pt idx="28501">1</cx:pt>
          <cx:pt idx="28502">0</cx:pt>
          <cx:pt idx="28503">0</cx:pt>
          <cx:pt idx="28504">1</cx:pt>
          <cx:pt idx="28505">0</cx:pt>
          <cx:pt idx="28506">0</cx:pt>
          <cx:pt idx="28507">1</cx:pt>
          <cx:pt idx="28508">0</cx:pt>
          <cx:pt idx="28509">0</cx:pt>
          <cx:pt idx="28510">0</cx:pt>
          <cx:pt idx="28511">0</cx:pt>
          <cx:pt idx="28512">0</cx:pt>
          <cx:pt idx="28513">0</cx:pt>
          <cx:pt idx="28514">0</cx:pt>
          <cx:pt idx="28515">1</cx:pt>
          <cx:pt idx="28516">0</cx:pt>
          <cx:pt idx="28517">1</cx:pt>
          <cx:pt idx="28518">1</cx:pt>
          <cx:pt idx="28519">0</cx:pt>
          <cx:pt idx="28520">0</cx:pt>
          <cx:pt idx="28521">1</cx:pt>
          <cx:pt idx="28522">1</cx:pt>
          <cx:pt idx="28523">0</cx:pt>
          <cx:pt idx="28524">0</cx:pt>
          <cx:pt idx="28525">1</cx:pt>
          <cx:pt idx="28526">0</cx:pt>
          <cx:pt idx="28527">0</cx:pt>
          <cx:pt idx="28528">0</cx:pt>
          <cx:pt idx="28529">0</cx:pt>
          <cx:pt idx="28530">0</cx:pt>
          <cx:pt idx="28531">1</cx:pt>
          <cx:pt idx="28532">1</cx:pt>
          <cx:pt idx="28533">0</cx:pt>
          <cx:pt idx="28534">1</cx:pt>
          <cx:pt idx="28535">1</cx:pt>
          <cx:pt idx="28536">0</cx:pt>
          <cx:pt idx="28537">1</cx:pt>
          <cx:pt idx="28538">1</cx:pt>
          <cx:pt idx="28539">0</cx:pt>
          <cx:pt idx="28540">0</cx:pt>
          <cx:pt idx="28541">1</cx:pt>
          <cx:pt idx="28542">0</cx:pt>
          <cx:pt idx="28543">1</cx:pt>
          <cx:pt idx="28544">0</cx:pt>
          <cx:pt idx="28545">1</cx:pt>
          <cx:pt idx="28546">0</cx:pt>
          <cx:pt idx="28547">0</cx:pt>
          <cx:pt idx="28548">1</cx:pt>
          <cx:pt idx="28549">1</cx:pt>
          <cx:pt idx="28550">0</cx:pt>
          <cx:pt idx="28551">0</cx:pt>
          <cx:pt idx="28552">0</cx:pt>
          <cx:pt idx="28553">1</cx:pt>
          <cx:pt idx="28554">0</cx:pt>
          <cx:pt idx="28555">0</cx:pt>
          <cx:pt idx="28556">0</cx:pt>
          <cx:pt idx="28557">1</cx:pt>
          <cx:pt idx="28558">0</cx:pt>
          <cx:pt idx="28559">1</cx:pt>
          <cx:pt idx="28560">1</cx:pt>
          <cx:pt idx="28561">0</cx:pt>
          <cx:pt idx="28562">0</cx:pt>
          <cx:pt idx="28563">0</cx:pt>
          <cx:pt idx="28564">0</cx:pt>
          <cx:pt idx="28565">0</cx:pt>
          <cx:pt idx="28566">0</cx:pt>
          <cx:pt idx="28567">0</cx:pt>
          <cx:pt idx="28568">0</cx:pt>
          <cx:pt idx="28569">0</cx:pt>
          <cx:pt idx="28570">1</cx:pt>
          <cx:pt idx="28571">0</cx:pt>
          <cx:pt idx="28572">0</cx:pt>
          <cx:pt idx="28573">1</cx:pt>
          <cx:pt idx="28574">1</cx:pt>
          <cx:pt idx="28575">0</cx:pt>
          <cx:pt idx="28576">0</cx:pt>
          <cx:pt idx="28577">0</cx:pt>
          <cx:pt idx="28578">0</cx:pt>
          <cx:pt idx="28579">0</cx:pt>
          <cx:pt idx="28580">1</cx:pt>
          <cx:pt idx="28581">1</cx:pt>
          <cx:pt idx="28582">0</cx:pt>
          <cx:pt idx="28583">1</cx:pt>
          <cx:pt idx="28584">1</cx:pt>
          <cx:pt idx="28585">0</cx:pt>
          <cx:pt idx="28586">0</cx:pt>
          <cx:pt idx="28587">1</cx:pt>
          <cx:pt idx="28588">0</cx:pt>
          <cx:pt idx="28589">0</cx:pt>
          <cx:pt idx="28590">0</cx:pt>
          <cx:pt idx="28591">0</cx:pt>
          <cx:pt idx="28592">0</cx:pt>
          <cx:pt idx="28593">1</cx:pt>
          <cx:pt idx="28594">0</cx:pt>
          <cx:pt idx="28595">1</cx:pt>
          <cx:pt idx="28596">1</cx:pt>
          <cx:pt idx="28597">1</cx:pt>
          <cx:pt idx="28598">0</cx:pt>
          <cx:pt idx="28599">0</cx:pt>
          <cx:pt idx="28600">1</cx:pt>
          <cx:pt idx="28601">1</cx:pt>
          <cx:pt idx="28602">0</cx:pt>
          <cx:pt idx="28603">0</cx:pt>
          <cx:pt idx="28604">1</cx:pt>
          <cx:pt idx="28605">0</cx:pt>
          <cx:pt idx="28606">0</cx:pt>
          <cx:pt idx="28607">1</cx:pt>
          <cx:pt idx="28608">0</cx:pt>
          <cx:pt idx="28609">0</cx:pt>
          <cx:pt idx="28610">0</cx:pt>
          <cx:pt idx="28611">0</cx:pt>
          <cx:pt idx="28612">0</cx:pt>
          <cx:pt idx="28613">0</cx:pt>
          <cx:pt idx="28614">1</cx:pt>
          <cx:pt idx="28615">1</cx:pt>
          <cx:pt idx="28616">1</cx:pt>
          <cx:pt idx="28617">0</cx:pt>
          <cx:pt idx="28618">1</cx:pt>
          <cx:pt idx="28619">1</cx:pt>
          <cx:pt idx="28620">1</cx:pt>
          <cx:pt idx="28621">1</cx:pt>
          <cx:pt idx="28622">1</cx:pt>
          <cx:pt idx="28623">0</cx:pt>
          <cx:pt idx="28624">0</cx:pt>
          <cx:pt idx="28625">0</cx:pt>
          <cx:pt idx="28626">0</cx:pt>
          <cx:pt idx="28627">1</cx:pt>
          <cx:pt idx="28628">0</cx:pt>
          <cx:pt idx="28629">0</cx:pt>
          <cx:pt idx="28630">0</cx:pt>
          <cx:pt idx="28631">1</cx:pt>
          <cx:pt idx="28632">0</cx:pt>
          <cx:pt idx="28633">0</cx:pt>
          <cx:pt idx="28634">1</cx:pt>
          <cx:pt idx="28635">1</cx:pt>
          <cx:pt idx="28636">0</cx:pt>
          <cx:pt idx="28637">1</cx:pt>
          <cx:pt idx="28638">0</cx:pt>
          <cx:pt idx="28639">0</cx:pt>
          <cx:pt idx="28640">0</cx:pt>
          <cx:pt idx="28641">1</cx:pt>
          <cx:pt idx="28642">0</cx:pt>
          <cx:pt idx="28643">0</cx:pt>
          <cx:pt idx="28644">0</cx:pt>
          <cx:pt idx="28645">1</cx:pt>
          <cx:pt idx="28646">1</cx:pt>
          <cx:pt idx="28647">0</cx:pt>
          <cx:pt idx="28648">0</cx:pt>
          <cx:pt idx="28649">0</cx:pt>
          <cx:pt idx="28650">0</cx:pt>
          <cx:pt idx="28651">0</cx:pt>
          <cx:pt idx="28652">0</cx:pt>
          <cx:pt idx="28653">0</cx:pt>
          <cx:pt idx="28654">0</cx:pt>
          <cx:pt idx="28655">0</cx:pt>
          <cx:pt idx="28656">1</cx:pt>
          <cx:pt idx="28657">0</cx:pt>
          <cx:pt idx="28658">1</cx:pt>
          <cx:pt idx="28659">0</cx:pt>
          <cx:pt idx="28660">1</cx:pt>
          <cx:pt idx="28661">0</cx:pt>
          <cx:pt idx="28662">1</cx:pt>
          <cx:pt idx="28663">0</cx:pt>
          <cx:pt idx="28664">0</cx:pt>
          <cx:pt idx="28665">0</cx:pt>
          <cx:pt idx="28666">1</cx:pt>
          <cx:pt idx="28667">0</cx:pt>
          <cx:pt idx="28668">1</cx:pt>
          <cx:pt idx="28669">0</cx:pt>
          <cx:pt idx="28670">1</cx:pt>
          <cx:pt idx="28671">0</cx:pt>
          <cx:pt idx="28672">0</cx:pt>
          <cx:pt idx="28673">1</cx:pt>
          <cx:pt idx="28674">1</cx:pt>
          <cx:pt idx="28675">0</cx:pt>
          <cx:pt idx="28676">0</cx:pt>
          <cx:pt idx="28677">1</cx:pt>
          <cx:pt idx="28678">0</cx:pt>
          <cx:pt idx="28679">1</cx:pt>
          <cx:pt idx="28680">0</cx:pt>
          <cx:pt idx="28681">0</cx:pt>
          <cx:pt idx="28682">1</cx:pt>
          <cx:pt idx="28683">0</cx:pt>
          <cx:pt idx="28684">1</cx:pt>
          <cx:pt idx="28685">1</cx:pt>
          <cx:pt idx="28686">1</cx:pt>
          <cx:pt idx="28687">0</cx:pt>
          <cx:pt idx="28688">1</cx:pt>
          <cx:pt idx="28689">0</cx:pt>
          <cx:pt idx="28690">1</cx:pt>
          <cx:pt idx="28691">0</cx:pt>
          <cx:pt idx="28692">1</cx:pt>
          <cx:pt idx="28693">0</cx:pt>
          <cx:pt idx="28694">0</cx:pt>
          <cx:pt idx="28695">0</cx:pt>
          <cx:pt idx="28696">1</cx:pt>
          <cx:pt idx="28697">1</cx:pt>
          <cx:pt idx="28698">1</cx:pt>
          <cx:pt idx="28699">0</cx:pt>
          <cx:pt idx="28700">1</cx:pt>
          <cx:pt idx="28701">1</cx:pt>
          <cx:pt idx="28702">1</cx:pt>
          <cx:pt idx="28703">1</cx:pt>
          <cx:pt idx="28704">0</cx:pt>
          <cx:pt idx="28705">1</cx:pt>
          <cx:pt idx="28706">1</cx:pt>
          <cx:pt idx="28707">1</cx:pt>
          <cx:pt idx="28708">0</cx:pt>
          <cx:pt idx="28709">1</cx:pt>
          <cx:pt idx="28710">0</cx:pt>
          <cx:pt idx="28711">1</cx:pt>
          <cx:pt idx="28712">1</cx:pt>
          <cx:pt idx="28713">1</cx:pt>
          <cx:pt idx="28714">0</cx:pt>
          <cx:pt idx="28715">1</cx:pt>
          <cx:pt idx="28716">1</cx:pt>
          <cx:pt idx="28717">0</cx:pt>
          <cx:pt idx="28718">1</cx:pt>
          <cx:pt idx="28719">0</cx:pt>
          <cx:pt idx="28720">1</cx:pt>
          <cx:pt idx="28721">1</cx:pt>
          <cx:pt idx="28722">1</cx:pt>
          <cx:pt idx="28723">0</cx:pt>
          <cx:pt idx="28724">0</cx:pt>
          <cx:pt idx="28725">0</cx:pt>
          <cx:pt idx="28726">0</cx:pt>
          <cx:pt idx="28727">1</cx:pt>
          <cx:pt idx="28728">0</cx:pt>
          <cx:pt idx="28729">0</cx:pt>
          <cx:pt idx="28730">1</cx:pt>
          <cx:pt idx="28731">1</cx:pt>
          <cx:pt idx="28732">1</cx:pt>
          <cx:pt idx="28733">1</cx:pt>
          <cx:pt idx="28734">1</cx:pt>
          <cx:pt idx="28735">1</cx:pt>
          <cx:pt idx="28736">1</cx:pt>
          <cx:pt idx="28737">0</cx:pt>
          <cx:pt idx="28738">0</cx:pt>
          <cx:pt idx="28739">0</cx:pt>
          <cx:pt idx="28740">1</cx:pt>
          <cx:pt idx="28741">0</cx:pt>
          <cx:pt idx="28742">0</cx:pt>
          <cx:pt idx="28743">0</cx:pt>
          <cx:pt idx="28744">1</cx:pt>
          <cx:pt idx="28745">0</cx:pt>
          <cx:pt idx="28746">0</cx:pt>
          <cx:pt idx="28747">1</cx:pt>
          <cx:pt idx="28748">1</cx:pt>
          <cx:pt idx="28749">0</cx:pt>
          <cx:pt idx="28750">1</cx:pt>
          <cx:pt idx="28751">1</cx:pt>
          <cx:pt idx="28752">0</cx:pt>
          <cx:pt idx="28753">0</cx:pt>
          <cx:pt idx="28754">0</cx:pt>
          <cx:pt idx="28755">0</cx:pt>
          <cx:pt idx="28756">1</cx:pt>
          <cx:pt idx="28757">0</cx:pt>
          <cx:pt idx="28758">1</cx:pt>
          <cx:pt idx="28759">0</cx:pt>
          <cx:pt idx="28760">0</cx:pt>
          <cx:pt idx="28761">1</cx:pt>
          <cx:pt idx="28762">0</cx:pt>
          <cx:pt idx="28763">1</cx:pt>
          <cx:pt idx="28764">1</cx:pt>
          <cx:pt idx="28765">1</cx:pt>
          <cx:pt idx="28766">1</cx:pt>
          <cx:pt idx="28767">1</cx:pt>
          <cx:pt idx="28768">1</cx:pt>
          <cx:pt idx="28769">0</cx:pt>
          <cx:pt idx="28770">1</cx:pt>
          <cx:pt idx="28771">1</cx:pt>
          <cx:pt idx="28772">0</cx:pt>
          <cx:pt idx="28773">0</cx:pt>
          <cx:pt idx="28774">0</cx:pt>
          <cx:pt idx="28775">0</cx:pt>
          <cx:pt idx="28776">0</cx:pt>
          <cx:pt idx="28777">0</cx:pt>
          <cx:pt idx="28778">0</cx:pt>
          <cx:pt idx="28779">0</cx:pt>
          <cx:pt idx="28780">1</cx:pt>
          <cx:pt idx="28781">0</cx:pt>
          <cx:pt idx="28782">0</cx:pt>
          <cx:pt idx="28783">0</cx:pt>
          <cx:pt idx="28784">0</cx:pt>
          <cx:pt idx="28785">0</cx:pt>
          <cx:pt idx="28786">1</cx:pt>
          <cx:pt idx="28787">1</cx:pt>
          <cx:pt idx="28788">0</cx:pt>
          <cx:pt idx="28789">0</cx:pt>
          <cx:pt idx="28790">0</cx:pt>
          <cx:pt idx="28791">0</cx:pt>
          <cx:pt idx="28792">1</cx:pt>
          <cx:pt idx="28793">0</cx:pt>
          <cx:pt idx="28794">0</cx:pt>
          <cx:pt idx="28795">0</cx:pt>
          <cx:pt idx="28796">0</cx:pt>
          <cx:pt idx="28797">1</cx:pt>
          <cx:pt idx="28798">1</cx:pt>
          <cx:pt idx="28799">0</cx:pt>
          <cx:pt idx="28800">1</cx:pt>
          <cx:pt idx="28801">0</cx:pt>
          <cx:pt idx="28802">1</cx:pt>
          <cx:pt idx="28803">1</cx:pt>
          <cx:pt idx="28804">1</cx:pt>
          <cx:pt idx="28805">1</cx:pt>
          <cx:pt idx="28806">0</cx:pt>
          <cx:pt idx="28807">1</cx:pt>
          <cx:pt idx="28808">0</cx:pt>
          <cx:pt idx="28809">1</cx:pt>
          <cx:pt idx="28810">1</cx:pt>
          <cx:pt idx="28811">1</cx:pt>
          <cx:pt idx="28812">0</cx:pt>
          <cx:pt idx="28813">1</cx:pt>
          <cx:pt idx="28814">1</cx:pt>
          <cx:pt idx="28815">1</cx:pt>
          <cx:pt idx="28816">1</cx:pt>
          <cx:pt idx="28817">0</cx:pt>
          <cx:pt idx="28818">0</cx:pt>
          <cx:pt idx="28819">1</cx:pt>
          <cx:pt idx="28820">1</cx:pt>
          <cx:pt idx="28821">0</cx:pt>
          <cx:pt idx="28822">1</cx:pt>
          <cx:pt idx="28823">1</cx:pt>
          <cx:pt idx="28824">0</cx:pt>
          <cx:pt idx="28825">0</cx:pt>
          <cx:pt idx="28826">0</cx:pt>
          <cx:pt idx="28827">0</cx:pt>
          <cx:pt idx="28828">0</cx:pt>
          <cx:pt idx="28829">1</cx:pt>
          <cx:pt idx="28830">1</cx:pt>
          <cx:pt idx="28831">0</cx:pt>
          <cx:pt idx="28832">0</cx:pt>
          <cx:pt idx="28833">0</cx:pt>
          <cx:pt idx="28834">0</cx:pt>
          <cx:pt idx="28835">0</cx:pt>
          <cx:pt idx="28836">0</cx:pt>
          <cx:pt idx="28837">0</cx:pt>
          <cx:pt idx="28838">0</cx:pt>
          <cx:pt idx="28839">1</cx:pt>
          <cx:pt idx="28840">0</cx:pt>
          <cx:pt idx="28841">1</cx:pt>
          <cx:pt idx="28842">1</cx:pt>
          <cx:pt idx="28843">1</cx:pt>
          <cx:pt idx="28844">0</cx:pt>
          <cx:pt idx="28845">0</cx:pt>
          <cx:pt idx="28846">0</cx:pt>
          <cx:pt idx="28847">1</cx:pt>
          <cx:pt idx="28848">0</cx:pt>
          <cx:pt idx="28849">1</cx:pt>
          <cx:pt idx="28850">0</cx:pt>
          <cx:pt idx="28851">1</cx:pt>
          <cx:pt idx="28852">0</cx:pt>
          <cx:pt idx="28853">0</cx:pt>
          <cx:pt idx="28854">1</cx:pt>
          <cx:pt idx="28855">1</cx:pt>
          <cx:pt idx="28856">1</cx:pt>
          <cx:pt idx="28857">1</cx:pt>
          <cx:pt idx="28858">1</cx:pt>
          <cx:pt idx="28859">1</cx:pt>
          <cx:pt idx="28860">1</cx:pt>
          <cx:pt idx="28861">0</cx:pt>
          <cx:pt idx="28862">0</cx:pt>
          <cx:pt idx="28863">1</cx:pt>
          <cx:pt idx="28864">0</cx:pt>
          <cx:pt idx="28865">0</cx:pt>
          <cx:pt idx="28866">0</cx:pt>
          <cx:pt idx="28867">1</cx:pt>
          <cx:pt idx="28868">0</cx:pt>
          <cx:pt idx="28869">1</cx:pt>
          <cx:pt idx="28870">0</cx:pt>
          <cx:pt idx="28871">0</cx:pt>
          <cx:pt idx="28872">0</cx:pt>
          <cx:pt idx="28873">1</cx:pt>
          <cx:pt idx="28874">0</cx:pt>
          <cx:pt idx="28875">0</cx:pt>
          <cx:pt idx="28876">1</cx:pt>
          <cx:pt idx="28877">1</cx:pt>
          <cx:pt idx="28878">0</cx:pt>
          <cx:pt idx="28879">0</cx:pt>
          <cx:pt idx="28880">1</cx:pt>
          <cx:pt idx="28881">1</cx:pt>
          <cx:pt idx="28882">1</cx:pt>
          <cx:pt idx="28883">0</cx:pt>
          <cx:pt idx="28884">1</cx:pt>
          <cx:pt idx="28885">1</cx:pt>
          <cx:pt idx="28886">0</cx:pt>
          <cx:pt idx="28887">1</cx:pt>
          <cx:pt idx="28888">1</cx:pt>
          <cx:pt idx="28889">0</cx:pt>
          <cx:pt idx="28890">0</cx:pt>
          <cx:pt idx="28891">0</cx:pt>
          <cx:pt idx="28892">1</cx:pt>
          <cx:pt idx="28893">0</cx:pt>
          <cx:pt idx="28894">1</cx:pt>
          <cx:pt idx="28895">1</cx:pt>
          <cx:pt idx="28896">0</cx:pt>
          <cx:pt idx="28897">1</cx:pt>
          <cx:pt idx="28898">1</cx:pt>
          <cx:pt idx="28899">1</cx:pt>
          <cx:pt idx="28900">0</cx:pt>
          <cx:pt idx="28901">0</cx:pt>
          <cx:pt idx="28902">0</cx:pt>
          <cx:pt idx="28903">0</cx:pt>
          <cx:pt idx="28904">0</cx:pt>
          <cx:pt idx="28905">1</cx:pt>
          <cx:pt idx="28906">1</cx:pt>
          <cx:pt idx="28907">0</cx:pt>
          <cx:pt idx="28908">1</cx:pt>
          <cx:pt idx="28909">0</cx:pt>
          <cx:pt idx="28910">0</cx:pt>
          <cx:pt idx="28911">1</cx:pt>
          <cx:pt idx="28912">0</cx:pt>
          <cx:pt idx="28913">0</cx:pt>
          <cx:pt idx="28914">1</cx:pt>
          <cx:pt idx="28915">1</cx:pt>
          <cx:pt idx="28916">1</cx:pt>
          <cx:pt idx="28917">0</cx:pt>
          <cx:pt idx="28918">1</cx:pt>
          <cx:pt idx="28919">0</cx:pt>
          <cx:pt idx="28920">0</cx:pt>
          <cx:pt idx="28921">1</cx:pt>
          <cx:pt idx="28922">1</cx:pt>
          <cx:pt idx="28923">0</cx:pt>
          <cx:pt idx="28924">1</cx:pt>
          <cx:pt idx="28925">1</cx:pt>
          <cx:pt idx="28926">1</cx:pt>
          <cx:pt idx="28927">1</cx:pt>
          <cx:pt idx="28928">1</cx:pt>
          <cx:pt idx="28929">1</cx:pt>
          <cx:pt idx="28930">0</cx:pt>
          <cx:pt idx="28931">0</cx:pt>
          <cx:pt idx="28932">1</cx:pt>
          <cx:pt idx="28933">0</cx:pt>
          <cx:pt idx="28934">1</cx:pt>
          <cx:pt idx="28935">1</cx:pt>
          <cx:pt idx="28936">0</cx:pt>
          <cx:pt idx="28937">0</cx:pt>
          <cx:pt idx="28938">1</cx:pt>
          <cx:pt idx="28939">0</cx:pt>
          <cx:pt idx="28940">0</cx:pt>
          <cx:pt idx="28941">0</cx:pt>
          <cx:pt idx="28942">0</cx:pt>
          <cx:pt idx="28943">0</cx:pt>
          <cx:pt idx="28944">0</cx:pt>
          <cx:pt idx="28945">1</cx:pt>
          <cx:pt idx="28946">0</cx:pt>
          <cx:pt idx="28947">1</cx:pt>
          <cx:pt idx="28948">0</cx:pt>
          <cx:pt idx="28949">0</cx:pt>
          <cx:pt idx="28950">0</cx:pt>
          <cx:pt idx="28951">1</cx:pt>
          <cx:pt idx="28952">0</cx:pt>
          <cx:pt idx="28953">1</cx:pt>
          <cx:pt idx="28954">0</cx:pt>
          <cx:pt idx="28955">0</cx:pt>
          <cx:pt idx="28956">0</cx:pt>
          <cx:pt idx="28957">0</cx:pt>
          <cx:pt idx="28958">1</cx:pt>
          <cx:pt idx="28959">0</cx:pt>
          <cx:pt idx="28960">1</cx:pt>
          <cx:pt idx="28961">0</cx:pt>
          <cx:pt idx="28962">0</cx:pt>
          <cx:pt idx="28963">0</cx:pt>
          <cx:pt idx="28964">1</cx:pt>
          <cx:pt idx="28965">0</cx:pt>
          <cx:pt idx="28966">0</cx:pt>
          <cx:pt idx="28967">1</cx:pt>
          <cx:pt idx="28968">0</cx:pt>
          <cx:pt idx="28969">0</cx:pt>
          <cx:pt idx="28970">1</cx:pt>
          <cx:pt idx="28971">0</cx:pt>
          <cx:pt idx="28972">1</cx:pt>
          <cx:pt idx="28973">0</cx:pt>
          <cx:pt idx="28974">0</cx:pt>
          <cx:pt idx="28975">0</cx:pt>
          <cx:pt idx="28976">1</cx:pt>
          <cx:pt idx="28977">0</cx:pt>
          <cx:pt idx="28978">0</cx:pt>
          <cx:pt idx="28979">1</cx:pt>
          <cx:pt idx="28980">0</cx:pt>
          <cx:pt idx="28981">0</cx:pt>
          <cx:pt idx="28982">0</cx:pt>
          <cx:pt idx="28983">1</cx:pt>
          <cx:pt idx="28984">0</cx:pt>
          <cx:pt idx="28985">0</cx:pt>
          <cx:pt idx="28986">1</cx:pt>
          <cx:pt idx="28987">0</cx:pt>
          <cx:pt idx="28988">1</cx:pt>
          <cx:pt idx="28989">1</cx:pt>
          <cx:pt idx="28990">0</cx:pt>
          <cx:pt idx="28991">1</cx:pt>
          <cx:pt idx="28992">0</cx:pt>
          <cx:pt idx="28993">0</cx:pt>
          <cx:pt idx="28994">1</cx:pt>
          <cx:pt idx="28995">0</cx:pt>
          <cx:pt idx="28996">0</cx:pt>
          <cx:pt idx="28997">1</cx:pt>
          <cx:pt idx="28998">1</cx:pt>
          <cx:pt idx="28999">0</cx:pt>
          <cx:pt idx="29000">1</cx:pt>
          <cx:pt idx="29001">0</cx:pt>
          <cx:pt idx="29002">1</cx:pt>
          <cx:pt idx="29003">0</cx:pt>
          <cx:pt idx="29004">1</cx:pt>
          <cx:pt idx="29005">0</cx:pt>
          <cx:pt idx="29006">0</cx:pt>
          <cx:pt idx="29007">1</cx:pt>
          <cx:pt idx="29008">0</cx:pt>
          <cx:pt idx="29009">1</cx:pt>
          <cx:pt idx="29010">0</cx:pt>
          <cx:pt idx="29011">0</cx:pt>
          <cx:pt idx="29012">0</cx:pt>
          <cx:pt idx="29013">0</cx:pt>
          <cx:pt idx="29014">0</cx:pt>
          <cx:pt idx="29015">1</cx:pt>
          <cx:pt idx="29016">0</cx:pt>
          <cx:pt idx="29017">0</cx:pt>
          <cx:pt idx="29018">1</cx:pt>
          <cx:pt idx="29019">1</cx:pt>
          <cx:pt idx="29020">1</cx:pt>
          <cx:pt idx="29021">0</cx:pt>
          <cx:pt idx="29022">1</cx:pt>
          <cx:pt idx="29023">1</cx:pt>
          <cx:pt idx="29024">1</cx:pt>
          <cx:pt idx="29025">0</cx:pt>
          <cx:pt idx="29026">1</cx:pt>
          <cx:pt idx="29027">1</cx:pt>
          <cx:pt idx="29028">0</cx:pt>
          <cx:pt idx="29029">0</cx:pt>
          <cx:pt idx="29030">0</cx:pt>
          <cx:pt idx="29031">0</cx:pt>
          <cx:pt idx="29032">0</cx:pt>
          <cx:pt idx="29033">0</cx:pt>
          <cx:pt idx="29034">0</cx:pt>
          <cx:pt idx="29035">0</cx:pt>
          <cx:pt idx="29036">0</cx:pt>
          <cx:pt idx="29037">0</cx:pt>
          <cx:pt idx="29038">1</cx:pt>
          <cx:pt idx="29039">1</cx:pt>
          <cx:pt idx="29040">0</cx:pt>
          <cx:pt idx="29041">1</cx:pt>
          <cx:pt idx="29042">0</cx:pt>
          <cx:pt idx="29043">1</cx:pt>
          <cx:pt idx="29044">0</cx:pt>
          <cx:pt idx="29045">1</cx:pt>
          <cx:pt idx="29046">1</cx:pt>
          <cx:pt idx="29047">0</cx:pt>
          <cx:pt idx="29048">0</cx:pt>
          <cx:pt idx="29049">0</cx:pt>
          <cx:pt idx="29050">0</cx:pt>
          <cx:pt idx="29051">0</cx:pt>
          <cx:pt idx="29052">0</cx:pt>
          <cx:pt idx="29053">1</cx:pt>
          <cx:pt idx="29054">1</cx:pt>
          <cx:pt idx="29055">1</cx:pt>
          <cx:pt idx="29056">1</cx:pt>
          <cx:pt idx="29057">0</cx:pt>
          <cx:pt idx="29058">0</cx:pt>
          <cx:pt idx="29059">0</cx:pt>
          <cx:pt idx="29060">0</cx:pt>
          <cx:pt idx="29061">1</cx:pt>
          <cx:pt idx="29062">1</cx:pt>
          <cx:pt idx="29063">1</cx:pt>
          <cx:pt idx="29064">0</cx:pt>
          <cx:pt idx="29065">1</cx:pt>
          <cx:pt idx="29066">1</cx:pt>
          <cx:pt idx="29067">0</cx:pt>
          <cx:pt idx="29068">0</cx:pt>
          <cx:pt idx="29069">1</cx:pt>
          <cx:pt idx="29070">1</cx:pt>
          <cx:pt idx="29071">1</cx:pt>
          <cx:pt idx="29072">1</cx:pt>
          <cx:pt idx="29073">0</cx:pt>
          <cx:pt idx="29074">0</cx:pt>
          <cx:pt idx="29075">1</cx:pt>
          <cx:pt idx="29076">0</cx:pt>
          <cx:pt idx="29077">1</cx:pt>
          <cx:pt idx="29078">0</cx:pt>
          <cx:pt idx="29079">1</cx:pt>
          <cx:pt idx="29080">1</cx:pt>
          <cx:pt idx="29081">0</cx:pt>
          <cx:pt idx="29082">0</cx:pt>
          <cx:pt idx="29083">1</cx:pt>
          <cx:pt idx="29084">0</cx:pt>
          <cx:pt idx="29085">0</cx:pt>
          <cx:pt idx="29086">1</cx:pt>
          <cx:pt idx="29087">1</cx:pt>
          <cx:pt idx="29088">1</cx:pt>
          <cx:pt idx="29089">0</cx:pt>
          <cx:pt idx="29090">0</cx:pt>
          <cx:pt idx="29091">0</cx:pt>
          <cx:pt idx="29092">1</cx:pt>
          <cx:pt idx="29093">0</cx:pt>
          <cx:pt idx="29094">0</cx:pt>
          <cx:pt idx="29095">1</cx:pt>
          <cx:pt idx="29096">0</cx:pt>
          <cx:pt idx="29097">0</cx:pt>
          <cx:pt idx="29098">0</cx:pt>
          <cx:pt idx="29099">1</cx:pt>
          <cx:pt idx="29100">0</cx:pt>
          <cx:pt idx="29101">0</cx:pt>
          <cx:pt idx="29102">0</cx:pt>
          <cx:pt idx="29103">0</cx:pt>
          <cx:pt idx="29104">0</cx:pt>
          <cx:pt idx="29105">1</cx:pt>
          <cx:pt idx="29106">0</cx:pt>
          <cx:pt idx="29107">0</cx:pt>
          <cx:pt idx="29108">0</cx:pt>
          <cx:pt idx="29109">0</cx:pt>
          <cx:pt idx="29110">0</cx:pt>
          <cx:pt idx="29111">1</cx:pt>
          <cx:pt idx="29112">1</cx:pt>
          <cx:pt idx="29113">1</cx:pt>
          <cx:pt idx="29114">0</cx:pt>
          <cx:pt idx="29115">0</cx:pt>
          <cx:pt idx="29116">1</cx:pt>
          <cx:pt idx="29117">0</cx:pt>
          <cx:pt idx="29118">1</cx:pt>
          <cx:pt idx="29119">0</cx:pt>
          <cx:pt idx="29120">1</cx:pt>
          <cx:pt idx="29121">1</cx:pt>
          <cx:pt idx="29122">1</cx:pt>
          <cx:pt idx="29123">1</cx:pt>
          <cx:pt idx="29124">0</cx:pt>
          <cx:pt idx="29125">1</cx:pt>
          <cx:pt idx="29126">0</cx:pt>
          <cx:pt idx="29127">1</cx:pt>
          <cx:pt idx="29128">1</cx:pt>
          <cx:pt idx="29129">0</cx:pt>
          <cx:pt idx="29130">1</cx:pt>
          <cx:pt idx="29131">1</cx:pt>
          <cx:pt idx="29132">0</cx:pt>
          <cx:pt idx="29133">0</cx:pt>
          <cx:pt idx="29134">1</cx:pt>
          <cx:pt idx="29135">0</cx:pt>
          <cx:pt idx="29136">0</cx:pt>
          <cx:pt idx="29137">0</cx:pt>
          <cx:pt idx="29138">0</cx:pt>
          <cx:pt idx="29139">0</cx:pt>
          <cx:pt idx="29140">1</cx:pt>
          <cx:pt idx="29141">0</cx:pt>
          <cx:pt idx="29142">0</cx:pt>
          <cx:pt idx="29143">0</cx:pt>
          <cx:pt idx="29144">0</cx:pt>
          <cx:pt idx="29145">1</cx:pt>
          <cx:pt idx="29146">0</cx:pt>
          <cx:pt idx="29147">1</cx:pt>
          <cx:pt idx="29148">1</cx:pt>
          <cx:pt idx="29149">1</cx:pt>
          <cx:pt idx="29150">0</cx:pt>
          <cx:pt idx="29151">1</cx:pt>
          <cx:pt idx="29152">0</cx:pt>
          <cx:pt idx="29153">1</cx:pt>
          <cx:pt idx="29154">0</cx:pt>
          <cx:pt idx="29155">1</cx:pt>
          <cx:pt idx="29156">0</cx:pt>
          <cx:pt idx="29157">1</cx:pt>
          <cx:pt idx="29158">0</cx:pt>
          <cx:pt idx="29159">0</cx:pt>
          <cx:pt idx="29160">1</cx:pt>
          <cx:pt idx="29161">0</cx:pt>
          <cx:pt idx="29162">0</cx:pt>
          <cx:pt idx="29163">0</cx:pt>
          <cx:pt idx="29164">0</cx:pt>
          <cx:pt idx="29165">0</cx:pt>
          <cx:pt idx="29166">1</cx:pt>
          <cx:pt idx="29167">1</cx:pt>
          <cx:pt idx="29168">0</cx:pt>
          <cx:pt idx="29169">0</cx:pt>
          <cx:pt idx="29170">0</cx:pt>
          <cx:pt idx="29171">1</cx:pt>
          <cx:pt idx="29172">1</cx:pt>
          <cx:pt idx="29173">0</cx:pt>
          <cx:pt idx="29174">1</cx:pt>
          <cx:pt idx="29175">1</cx:pt>
          <cx:pt idx="29176">0</cx:pt>
          <cx:pt idx="29177">0</cx:pt>
          <cx:pt idx="29178">1</cx:pt>
          <cx:pt idx="29179">1</cx:pt>
          <cx:pt idx="29180">1</cx:pt>
          <cx:pt idx="29181">0</cx:pt>
          <cx:pt idx="29182">1</cx:pt>
          <cx:pt idx="29183">0</cx:pt>
          <cx:pt idx="29184">0</cx:pt>
          <cx:pt idx="29185">0</cx:pt>
          <cx:pt idx="29186">1</cx:pt>
          <cx:pt idx="29187">0</cx:pt>
          <cx:pt idx="29188">0</cx:pt>
          <cx:pt idx="29189">0</cx:pt>
          <cx:pt idx="29190">0</cx:pt>
          <cx:pt idx="29191">0</cx:pt>
          <cx:pt idx="29192">0</cx:pt>
          <cx:pt idx="29193">1</cx:pt>
          <cx:pt idx="29194">0</cx:pt>
          <cx:pt idx="29195">1</cx:pt>
          <cx:pt idx="29196">1</cx:pt>
          <cx:pt idx="29197">0</cx:pt>
          <cx:pt idx="29198">0</cx:pt>
          <cx:pt idx="29199">0</cx:pt>
          <cx:pt idx="29200">1</cx:pt>
          <cx:pt idx="29201">0</cx:pt>
          <cx:pt idx="29202">0</cx:pt>
          <cx:pt idx="29203">0</cx:pt>
          <cx:pt idx="29204">1</cx:pt>
          <cx:pt idx="29205">1</cx:pt>
          <cx:pt idx="29206">0</cx:pt>
          <cx:pt idx="29207">1</cx:pt>
          <cx:pt idx="29208">1</cx:pt>
          <cx:pt idx="29209">0</cx:pt>
          <cx:pt idx="29210">0</cx:pt>
          <cx:pt idx="29211">0</cx:pt>
          <cx:pt idx="29212">0</cx:pt>
          <cx:pt idx="29213">1</cx:pt>
          <cx:pt idx="29214">0</cx:pt>
          <cx:pt idx="29215">1</cx:pt>
          <cx:pt idx="29216">0</cx:pt>
          <cx:pt idx="29217">0</cx:pt>
          <cx:pt idx="29218">1</cx:pt>
          <cx:pt idx="29219">0</cx:pt>
          <cx:pt idx="29220">1</cx:pt>
          <cx:pt idx="29221">1</cx:pt>
          <cx:pt idx="29222">1</cx:pt>
          <cx:pt idx="29223">1</cx:pt>
          <cx:pt idx="29224">1</cx:pt>
          <cx:pt idx="29225">0</cx:pt>
          <cx:pt idx="29226">0</cx:pt>
          <cx:pt idx="29227">0</cx:pt>
          <cx:pt idx="29228">0</cx:pt>
          <cx:pt idx="29229">1</cx:pt>
          <cx:pt idx="29230">0</cx:pt>
          <cx:pt idx="29231">0</cx:pt>
          <cx:pt idx="29232">0</cx:pt>
          <cx:pt idx="29233">0</cx:pt>
          <cx:pt idx="29234">0</cx:pt>
          <cx:pt idx="29235">1</cx:pt>
          <cx:pt idx="29236">1</cx:pt>
          <cx:pt idx="29237">1</cx:pt>
          <cx:pt idx="29238">1</cx:pt>
          <cx:pt idx="29239">0</cx:pt>
          <cx:pt idx="29240">0</cx:pt>
          <cx:pt idx="29241">0</cx:pt>
          <cx:pt idx="29242">0</cx:pt>
          <cx:pt idx="29243">1</cx:pt>
          <cx:pt idx="29244">1</cx:pt>
          <cx:pt idx="29245">1</cx:pt>
          <cx:pt idx="29246">1</cx:pt>
          <cx:pt idx="29247">1</cx:pt>
          <cx:pt idx="29248">0</cx:pt>
          <cx:pt idx="29249">1</cx:pt>
          <cx:pt idx="29250">0</cx:pt>
          <cx:pt idx="29251">1</cx:pt>
          <cx:pt idx="29252">0</cx:pt>
          <cx:pt idx="29253">0</cx:pt>
          <cx:pt idx="29254">0</cx:pt>
          <cx:pt idx="29255">0</cx:pt>
          <cx:pt idx="29256">1</cx:pt>
          <cx:pt idx="29257">0</cx:pt>
          <cx:pt idx="29258">0</cx:pt>
          <cx:pt idx="29259">1</cx:pt>
          <cx:pt idx="29260">0</cx:pt>
          <cx:pt idx="29261">1</cx:pt>
          <cx:pt idx="29262">0</cx:pt>
          <cx:pt idx="29263">0</cx:pt>
          <cx:pt idx="29264">1</cx:pt>
          <cx:pt idx="29265">0</cx:pt>
          <cx:pt idx="29266">0</cx:pt>
          <cx:pt idx="29267">1</cx:pt>
          <cx:pt idx="29268">1</cx:pt>
          <cx:pt idx="29269">0</cx:pt>
          <cx:pt idx="29270">1</cx:pt>
          <cx:pt idx="29271">1</cx:pt>
          <cx:pt idx="29272">1</cx:pt>
          <cx:pt idx="29273">1</cx:pt>
          <cx:pt idx="29274">0</cx:pt>
          <cx:pt idx="29275">0</cx:pt>
          <cx:pt idx="29276">1</cx:pt>
          <cx:pt idx="29277">0</cx:pt>
          <cx:pt idx="29278">0</cx:pt>
          <cx:pt idx="29279">1</cx:pt>
          <cx:pt idx="29280">1</cx:pt>
          <cx:pt idx="29281">0</cx:pt>
          <cx:pt idx="29282">0</cx:pt>
          <cx:pt idx="29283">1</cx:pt>
          <cx:pt idx="29284">0</cx:pt>
          <cx:pt idx="29285">0</cx:pt>
          <cx:pt idx="29286">1</cx:pt>
          <cx:pt idx="29287">1</cx:pt>
          <cx:pt idx="29288">1</cx:pt>
          <cx:pt idx="29289">0</cx:pt>
          <cx:pt idx="29290">0</cx:pt>
          <cx:pt idx="29291">0</cx:pt>
          <cx:pt idx="29292">1</cx:pt>
          <cx:pt idx="29293">1</cx:pt>
          <cx:pt idx="29294">0</cx:pt>
          <cx:pt idx="29295">0</cx:pt>
          <cx:pt idx="29296">0</cx:pt>
          <cx:pt idx="29297">1</cx:pt>
          <cx:pt idx="29298">1</cx:pt>
          <cx:pt idx="29299">0</cx:pt>
          <cx:pt idx="29300">0</cx:pt>
          <cx:pt idx="29301">1</cx:pt>
          <cx:pt idx="29302">1</cx:pt>
          <cx:pt idx="29303">0</cx:pt>
          <cx:pt idx="29304">0</cx:pt>
          <cx:pt idx="29305">1</cx:pt>
          <cx:pt idx="29306">1</cx:pt>
          <cx:pt idx="29307">0</cx:pt>
          <cx:pt idx="29308">0</cx:pt>
          <cx:pt idx="29309">0</cx:pt>
          <cx:pt idx="29310">1</cx:pt>
          <cx:pt idx="29311">0</cx:pt>
          <cx:pt idx="29312">0</cx:pt>
          <cx:pt idx="29313">0</cx:pt>
          <cx:pt idx="29314">0</cx:pt>
          <cx:pt idx="29315">0</cx:pt>
          <cx:pt idx="29316">1</cx:pt>
          <cx:pt idx="29317">1</cx:pt>
          <cx:pt idx="29318">1</cx:pt>
          <cx:pt idx="29319">0</cx:pt>
          <cx:pt idx="29320">0</cx:pt>
          <cx:pt idx="29321">0</cx:pt>
          <cx:pt idx="29322">0</cx:pt>
          <cx:pt idx="29323">0</cx:pt>
          <cx:pt idx="29324">0</cx:pt>
          <cx:pt idx="29325">0</cx:pt>
          <cx:pt idx="29326">0</cx:pt>
          <cx:pt idx="29327">0</cx:pt>
          <cx:pt idx="29328">0</cx:pt>
          <cx:pt idx="29329">1</cx:pt>
          <cx:pt idx="29330">0</cx:pt>
          <cx:pt idx="29331">1</cx:pt>
          <cx:pt idx="29332">0</cx:pt>
          <cx:pt idx="29333">0</cx:pt>
          <cx:pt idx="29334">1</cx:pt>
          <cx:pt idx="29335">1</cx:pt>
          <cx:pt idx="29336">0</cx:pt>
          <cx:pt idx="29337">1</cx:pt>
          <cx:pt idx="29338">0</cx:pt>
          <cx:pt idx="29339">0</cx:pt>
          <cx:pt idx="29340">0</cx:pt>
          <cx:pt idx="29341">1</cx:pt>
          <cx:pt idx="29342">0</cx:pt>
          <cx:pt idx="29343">1</cx:pt>
          <cx:pt idx="29344">1</cx:pt>
          <cx:pt idx="29345">0</cx:pt>
          <cx:pt idx="29346">0</cx:pt>
          <cx:pt idx="29347">1</cx:pt>
          <cx:pt idx="29348">0</cx:pt>
          <cx:pt idx="29349">1</cx:pt>
          <cx:pt idx="29350">1</cx:pt>
          <cx:pt idx="29351">0</cx:pt>
          <cx:pt idx="29352">0</cx:pt>
          <cx:pt idx="29353">1</cx:pt>
          <cx:pt idx="29354">0</cx:pt>
          <cx:pt idx="29355">0</cx:pt>
          <cx:pt idx="29356">0</cx:pt>
          <cx:pt idx="29357">1</cx:pt>
          <cx:pt idx="29358">0</cx:pt>
          <cx:pt idx="29359">1</cx:pt>
          <cx:pt idx="29360">1</cx:pt>
          <cx:pt idx="29361">0</cx:pt>
          <cx:pt idx="29362">1</cx:pt>
          <cx:pt idx="29363">0</cx:pt>
          <cx:pt idx="29364">1</cx:pt>
          <cx:pt idx="29365">1</cx:pt>
          <cx:pt idx="29366">0</cx:pt>
          <cx:pt idx="29367">0</cx:pt>
          <cx:pt idx="29368">0</cx:pt>
          <cx:pt idx="29369">0</cx:pt>
          <cx:pt idx="29370">0</cx:pt>
          <cx:pt idx="29371">1</cx:pt>
          <cx:pt idx="29372">0</cx:pt>
          <cx:pt idx="29373">1</cx:pt>
          <cx:pt idx="29374">0</cx:pt>
          <cx:pt idx="29375">0</cx:pt>
          <cx:pt idx="29376">1</cx:pt>
          <cx:pt idx="29377">0</cx:pt>
          <cx:pt idx="29378">0</cx:pt>
          <cx:pt idx="29379">0</cx:pt>
          <cx:pt idx="29380">0</cx:pt>
          <cx:pt idx="29381">1</cx:pt>
          <cx:pt idx="29382">1</cx:pt>
          <cx:pt idx="29383">1</cx:pt>
          <cx:pt idx="29384">1</cx:pt>
          <cx:pt idx="29385">0</cx:pt>
          <cx:pt idx="29386">1</cx:pt>
          <cx:pt idx="29387">0</cx:pt>
          <cx:pt idx="29388">0</cx:pt>
          <cx:pt idx="29389">0</cx:pt>
          <cx:pt idx="29390">1</cx:pt>
          <cx:pt idx="29391">0</cx:pt>
          <cx:pt idx="29392">0</cx:pt>
          <cx:pt idx="29393">1</cx:pt>
          <cx:pt idx="29394">0</cx:pt>
          <cx:pt idx="29395">1</cx:pt>
          <cx:pt idx="29396">0</cx:pt>
          <cx:pt idx="29397">1</cx:pt>
          <cx:pt idx="29398">0</cx:pt>
          <cx:pt idx="29399">0</cx:pt>
          <cx:pt idx="29400">1</cx:pt>
          <cx:pt idx="29401">0</cx:pt>
          <cx:pt idx="29402">0</cx:pt>
          <cx:pt idx="29403">0</cx:pt>
          <cx:pt idx="29404">1</cx:pt>
          <cx:pt idx="29405">1</cx:pt>
          <cx:pt idx="29406">0</cx:pt>
          <cx:pt idx="29407">0</cx:pt>
          <cx:pt idx="29408">0</cx:pt>
          <cx:pt idx="29409">1</cx:pt>
          <cx:pt idx="29410">0</cx:pt>
          <cx:pt idx="29411">0</cx:pt>
          <cx:pt idx="29412">0</cx:pt>
          <cx:pt idx="29413">0</cx:pt>
          <cx:pt idx="29414">0</cx:pt>
          <cx:pt idx="29415">0</cx:pt>
          <cx:pt idx="29416">1</cx:pt>
          <cx:pt idx="29417">0</cx:pt>
          <cx:pt idx="29418">1</cx:pt>
          <cx:pt idx="29419">0</cx:pt>
          <cx:pt idx="29420">0</cx:pt>
          <cx:pt idx="29421">0</cx:pt>
          <cx:pt idx="29422">1</cx:pt>
          <cx:pt idx="29423">1</cx:pt>
          <cx:pt idx="29424">1</cx:pt>
          <cx:pt idx="29425">1</cx:pt>
          <cx:pt idx="29426">1</cx:pt>
          <cx:pt idx="29427">0</cx:pt>
          <cx:pt idx="29428">0</cx:pt>
          <cx:pt idx="29429">1</cx:pt>
          <cx:pt idx="29430">1</cx:pt>
          <cx:pt idx="29431">0</cx:pt>
          <cx:pt idx="29432">0</cx:pt>
          <cx:pt idx="29433">1</cx:pt>
          <cx:pt idx="29434">0</cx:pt>
          <cx:pt idx="29435">1</cx:pt>
          <cx:pt idx="29436">1</cx:pt>
          <cx:pt idx="29437">0</cx:pt>
          <cx:pt idx="29438">0</cx:pt>
          <cx:pt idx="29439">1</cx:pt>
          <cx:pt idx="29440">0</cx:pt>
          <cx:pt idx="29441">0</cx:pt>
          <cx:pt idx="29442">0</cx:pt>
          <cx:pt idx="29443">0</cx:pt>
          <cx:pt idx="29444">0</cx:pt>
          <cx:pt idx="29445">0</cx:pt>
          <cx:pt idx="29446">0</cx:pt>
          <cx:pt idx="29447">0</cx:pt>
          <cx:pt idx="29448">0</cx:pt>
          <cx:pt idx="29449">1</cx:pt>
          <cx:pt idx="29450">1</cx:pt>
          <cx:pt idx="29451">0</cx:pt>
          <cx:pt idx="29452">1</cx:pt>
          <cx:pt idx="29453">0</cx:pt>
          <cx:pt idx="29454">0</cx:pt>
          <cx:pt idx="29455">0</cx:pt>
          <cx:pt idx="29456">0</cx:pt>
          <cx:pt idx="29457">0</cx:pt>
          <cx:pt idx="29458">0</cx:pt>
          <cx:pt idx="29459">1</cx:pt>
          <cx:pt idx="29460">1</cx:pt>
          <cx:pt idx="29461">1</cx:pt>
          <cx:pt idx="29462">0</cx:pt>
          <cx:pt idx="29463">0</cx:pt>
          <cx:pt idx="29464">0</cx:pt>
          <cx:pt idx="29465">0</cx:pt>
          <cx:pt idx="29466">0</cx:pt>
          <cx:pt idx="29467">0</cx:pt>
          <cx:pt idx="29468">0</cx:pt>
          <cx:pt idx="29469">0</cx:pt>
          <cx:pt idx="29470">1</cx:pt>
          <cx:pt idx="29471">0</cx:pt>
          <cx:pt idx="29472">1</cx:pt>
          <cx:pt idx="29473">0</cx:pt>
          <cx:pt idx="29474">1</cx:pt>
          <cx:pt idx="29475">0</cx:pt>
          <cx:pt idx="29476">0</cx:pt>
          <cx:pt idx="29477">0</cx:pt>
          <cx:pt idx="29478">0</cx:pt>
          <cx:pt idx="29479">1</cx:pt>
          <cx:pt idx="29480">0</cx:pt>
          <cx:pt idx="29481">0</cx:pt>
          <cx:pt idx="29482">1</cx:pt>
          <cx:pt idx="29483">0</cx:pt>
          <cx:pt idx="29484">0</cx:pt>
          <cx:pt idx="29485">1</cx:pt>
          <cx:pt idx="29486">0</cx:pt>
          <cx:pt idx="29487">0</cx:pt>
          <cx:pt idx="29488">1</cx:pt>
          <cx:pt idx="29489">0</cx:pt>
          <cx:pt idx="29490">0</cx:pt>
          <cx:pt idx="29491">0</cx:pt>
          <cx:pt idx="29492">1</cx:pt>
          <cx:pt idx="29493">0</cx:pt>
          <cx:pt idx="29494">0</cx:pt>
          <cx:pt idx="29495">1</cx:pt>
          <cx:pt idx="29496">0</cx:pt>
          <cx:pt idx="29497">1</cx:pt>
          <cx:pt idx="29498">0</cx:pt>
          <cx:pt idx="29499">1</cx:pt>
          <cx:pt idx="29500">1</cx:pt>
          <cx:pt idx="29501">0</cx:pt>
          <cx:pt idx="29502">1</cx:pt>
          <cx:pt idx="29503">0</cx:pt>
          <cx:pt idx="29504">0</cx:pt>
          <cx:pt idx="29505">0</cx:pt>
          <cx:pt idx="29506">0</cx:pt>
          <cx:pt idx="29507">0</cx:pt>
          <cx:pt idx="29508">1</cx:pt>
          <cx:pt idx="29509">0</cx:pt>
          <cx:pt idx="29510">1</cx:pt>
          <cx:pt idx="29511">1</cx:pt>
          <cx:pt idx="29512">0</cx:pt>
          <cx:pt idx="29513">1</cx:pt>
          <cx:pt idx="29514">0</cx:pt>
          <cx:pt idx="29515">0</cx:pt>
          <cx:pt idx="29516">1</cx:pt>
          <cx:pt idx="29517">1</cx:pt>
          <cx:pt idx="29518">1</cx:pt>
          <cx:pt idx="29519">1</cx:pt>
          <cx:pt idx="29520">0</cx:pt>
          <cx:pt idx="29521">1</cx:pt>
          <cx:pt idx="29522">1</cx:pt>
          <cx:pt idx="29523">0</cx:pt>
          <cx:pt idx="29524">0</cx:pt>
          <cx:pt idx="29525">0</cx:pt>
          <cx:pt idx="29526">0</cx:pt>
          <cx:pt idx="29527">0</cx:pt>
          <cx:pt idx="29528">1</cx:pt>
          <cx:pt idx="29529">0</cx:pt>
          <cx:pt idx="29530">0</cx:pt>
          <cx:pt idx="29531">1</cx:pt>
          <cx:pt idx="29532">1</cx:pt>
          <cx:pt idx="29533">1</cx:pt>
          <cx:pt idx="29534">0</cx:pt>
          <cx:pt idx="29535">1</cx:pt>
          <cx:pt idx="29536">1</cx:pt>
          <cx:pt idx="29537">1</cx:pt>
          <cx:pt idx="29538">0</cx:pt>
          <cx:pt idx="29539">0</cx:pt>
          <cx:pt idx="29540">0</cx:pt>
          <cx:pt idx="29541">0</cx:pt>
          <cx:pt idx="29542">0</cx:pt>
          <cx:pt idx="29543">0</cx:pt>
          <cx:pt idx="29544">1</cx:pt>
          <cx:pt idx="29545">0</cx:pt>
          <cx:pt idx="29546">1</cx:pt>
          <cx:pt idx="29547">1</cx:pt>
          <cx:pt idx="29548">1</cx:pt>
          <cx:pt idx="29549">0</cx:pt>
          <cx:pt idx="29550">1</cx:pt>
          <cx:pt idx="29551">1</cx:pt>
          <cx:pt idx="29552">0</cx:pt>
          <cx:pt idx="29553">0</cx:pt>
          <cx:pt idx="29554">1</cx:pt>
          <cx:pt idx="29555">1</cx:pt>
          <cx:pt idx="29556">0</cx:pt>
          <cx:pt idx="29557">1</cx:pt>
          <cx:pt idx="29558">1</cx:pt>
          <cx:pt idx="29559">1</cx:pt>
          <cx:pt idx="29560">0</cx:pt>
          <cx:pt idx="29561">0</cx:pt>
          <cx:pt idx="29562">1</cx:pt>
          <cx:pt idx="29563">0</cx:pt>
          <cx:pt idx="29564">1</cx:pt>
          <cx:pt idx="29565">0</cx:pt>
          <cx:pt idx="29566">0</cx:pt>
          <cx:pt idx="29567">0</cx:pt>
          <cx:pt idx="29568">0</cx:pt>
          <cx:pt idx="29569">0</cx:pt>
          <cx:pt idx="29570">0</cx:pt>
          <cx:pt idx="29571">1</cx:pt>
          <cx:pt idx="29572">1</cx:pt>
          <cx:pt idx="29573">1</cx:pt>
          <cx:pt idx="29574">1</cx:pt>
          <cx:pt idx="29575">1</cx:pt>
          <cx:pt idx="29576">1</cx:pt>
          <cx:pt idx="29577">0</cx:pt>
          <cx:pt idx="29578">1</cx:pt>
          <cx:pt idx="29579">0</cx:pt>
          <cx:pt idx="29580">0</cx:pt>
          <cx:pt idx="29581">0</cx:pt>
          <cx:pt idx="29582">0</cx:pt>
          <cx:pt idx="29583">0</cx:pt>
          <cx:pt idx="29584">1</cx:pt>
          <cx:pt idx="29585">0</cx:pt>
          <cx:pt idx="29586">0</cx:pt>
          <cx:pt idx="29587">0</cx:pt>
          <cx:pt idx="29588">0</cx:pt>
          <cx:pt idx="29589">0</cx:pt>
          <cx:pt idx="29590">1</cx:pt>
          <cx:pt idx="29591">0</cx:pt>
          <cx:pt idx="29592">1</cx:pt>
          <cx:pt idx="29593">1</cx:pt>
          <cx:pt idx="29594">0</cx:pt>
          <cx:pt idx="29595">0</cx:pt>
          <cx:pt idx="29596">0</cx:pt>
          <cx:pt idx="29597">1</cx:pt>
          <cx:pt idx="29598">0</cx:pt>
          <cx:pt idx="29599">0</cx:pt>
          <cx:pt idx="29600">1</cx:pt>
          <cx:pt idx="29601">0</cx:pt>
          <cx:pt idx="29602">1</cx:pt>
          <cx:pt idx="29603">1</cx:pt>
          <cx:pt idx="29604">0</cx:pt>
          <cx:pt idx="29605">1</cx:pt>
          <cx:pt idx="29606">0</cx:pt>
          <cx:pt idx="29607">0</cx:pt>
          <cx:pt idx="29608">0</cx:pt>
          <cx:pt idx="29609">0</cx:pt>
          <cx:pt idx="29610">0</cx:pt>
          <cx:pt idx="29611">0</cx:pt>
          <cx:pt idx="29612">0</cx:pt>
          <cx:pt idx="29613">0</cx:pt>
          <cx:pt idx="29614">1</cx:pt>
          <cx:pt idx="29615">1</cx:pt>
          <cx:pt idx="29616">0</cx:pt>
          <cx:pt idx="29617">0</cx:pt>
          <cx:pt idx="29618">0</cx:pt>
          <cx:pt idx="29619">0</cx:pt>
          <cx:pt idx="29620">0</cx:pt>
          <cx:pt idx="29621">0</cx:pt>
          <cx:pt idx="29622">0</cx:pt>
          <cx:pt idx="29623">0</cx:pt>
          <cx:pt idx="29624">1</cx:pt>
          <cx:pt idx="29625">0</cx:pt>
          <cx:pt idx="29626">1</cx:pt>
          <cx:pt idx="29627">1</cx:pt>
          <cx:pt idx="29628">0</cx:pt>
          <cx:pt idx="29629">0</cx:pt>
          <cx:pt idx="29630">1</cx:pt>
          <cx:pt idx="29631">0</cx:pt>
          <cx:pt idx="29632">0</cx:pt>
          <cx:pt idx="29633">1</cx:pt>
          <cx:pt idx="29634">0</cx:pt>
          <cx:pt idx="29635">1</cx:pt>
          <cx:pt idx="29636">1</cx:pt>
          <cx:pt idx="29637">1</cx:pt>
          <cx:pt idx="29638">1</cx:pt>
          <cx:pt idx="29639">0</cx:pt>
          <cx:pt idx="29640">0</cx:pt>
          <cx:pt idx="29641">0</cx:pt>
          <cx:pt idx="29642">0</cx:pt>
          <cx:pt idx="29643">0</cx:pt>
          <cx:pt idx="29644">1</cx:pt>
          <cx:pt idx="29645">1</cx:pt>
          <cx:pt idx="29646">1</cx:pt>
          <cx:pt idx="29647">1</cx:pt>
          <cx:pt idx="29648">0</cx:pt>
          <cx:pt idx="29649">0</cx:pt>
          <cx:pt idx="29650">1</cx:pt>
          <cx:pt idx="29651">1</cx:pt>
          <cx:pt idx="29652">0</cx:pt>
          <cx:pt idx="29653">1</cx:pt>
          <cx:pt idx="29654">0</cx:pt>
          <cx:pt idx="29655">0</cx:pt>
          <cx:pt idx="29656">0</cx:pt>
          <cx:pt idx="29657">1</cx:pt>
          <cx:pt idx="29658">0</cx:pt>
          <cx:pt idx="29659">0</cx:pt>
          <cx:pt idx="29660">1</cx:pt>
          <cx:pt idx="29661">1</cx:pt>
          <cx:pt idx="29662">0</cx:pt>
          <cx:pt idx="29663">0</cx:pt>
          <cx:pt idx="29664">1</cx:pt>
          <cx:pt idx="29665">0</cx:pt>
          <cx:pt idx="29666">0</cx:pt>
          <cx:pt idx="29667">0</cx:pt>
          <cx:pt idx="29668">1</cx:pt>
          <cx:pt idx="29669">0</cx:pt>
          <cx:pt idx="29670">1</cx:pt>
          <cx:pt idx="29671">0</cx:pt>
          <cx:pt idx="29672">1</cx:pt>
          <cx:pt idx="29673">1</cx:pt>
          <cx:pt idx="29674">0</cx:pt>
          <cx:pt idx="29675">1</cx:pt>
          <cx:pt idx="29676">0</cx:pt>
          <cx:pt idx="29677">0</cx:pt>
          <cx:pt idx="29678">0</cx:pt>
          <cx:pt idx="29679">1</cx:pt>
          <cx:pt idx="29680">0</cx:pt>
          <cx:pt idx="29681">0</cx:pt>
          <cx:pt idx="29682">1</cx:pt>
          <cx:pt idx="29683">1</cx:pt>
          <cx:pt idx="29684">0</cx:pt>
          <cx:pt idx="29685">1</cx:pt>
          <cx:pt idx="29686">0</cx:pt>
          <cx:pt idx="29687">0</cx:pt>
          <cx:pt idx="29688">1</cx:pt>
          <cx:pt idx="29689">0</cx:pt>
          <cx:pt idx="29690">1</cx:pt>
          <cx:pt idx="29691">0</cx:pt>
          <cx:pt idx="29692">1</cx:pt>
          <cx:pt idx="29693">0</cx:pt>
          <cx:pt idx="29694">0</cx:pt>
          <cx:pt idx="29695">1</cx:pt>
          <cx:pt idx="29696">1</cx:pt>
          <cx:pt idx="29697">1</cx:pt>
          <cx:pt idx="29698">0</cx:pt>
          <cx:pt idx="29699">0</cx:pt>
          <cx:pt idx="29700">1</cx:pt>
          <cx:pt idx="29701">0</cx:pt>
          <cx:pt idx="29702">1</cx:pt>
          <cx:pt idx="29703">1</cx:pt>
          <cx:pt idx="29704">0</cx:pt>
          <cx:pt idx="29705">0</cx:pt>
          <cx:pt idx="29706">0</cx:pt>
          <cx:pt idx="29707">0</cx:pt>
          <cx:pt idx="29708">1</cx:pt>
          <cx:pt idx="29709">1</cx:pt>
          <cx:pt idx="29710">0</cx:pt>
          <cx:pt idx="29711">1</cx:pt>
          <cx:pt idx="29712">1</cx:pt>
          <cx:pt idx="29713">0</cx:pt>
          <cx:pt idx="29714">0</cx:pt>
          <cx:pt idx="29715">0</cx:pt>
          <cx:pt idx="29716">1</cx:pt>
          <cx:pt idx="29717">1</cx:pt>
          <cx:pt idx="29718">1</cx:pt>
          <cx:pt idx="29719">1</cx:pt>
          <cx:pt idx="29720">1</cx:pt>
          <cx:pt idx="29721">0</cx:pt>
          <cx:pt idx="29722">0</cx:pt>
          <cx:pt idx="29723">0</cx:pt>
          <cx:pt idx="29724">0</cx:pt>
          <cx:pt idx="29725">1</cx:pt>
          <cx:pt idx="29726">0</cx:pt>
          <cx:pt idx="29727">1</cx:pt>
          <cx:pt idx="29728">0</cx:pt>
          <cx:pt idx="29729">0</cx:pt>
          <cx:pt idx="29730">0</cx:pt>
          <cx:pt idx="29731">1</cx:pt>
          <cx:pt idx="29732">0</cx:pt>
          <cx:pt idx="29733">0</cx:pt>
          <cx:pt idx="29734">0</cx:pt>
          <cx:pt idx="29735">0</cx:pt>
          <cx:pt idx="29736">1</cx:pt>
          <cx:pt idx="29737">1</cx:pt>
          <cx:pt idx="29738">1</cx:pt>
          <cx:pt idx="29739">0</cx:pt>
          <cx:pt idx="29740">0</cx:pt>
          <cx:pt idx="29741">0</cx:pt>
          <cx:pt idx="29742">0</cx:pt>
          <cx:pt idx="29743">0</cx:pt>
          <cx:pt idx="29744">1</cx:pt>
          <cx:pt idx="29745">0</cx:pt>
          <cx:pt idx="29746">0</cx:pt>
          <cx:pt idx="29747">1</cx:pt>
          <cx:pt idx="29748">0</cx:pt>
          <cx:pt idx="29749">0</cx:pt>
          <cx:pt idx="29750">0</cx:pt>
          <cx:pt idx="29751">0</cx:pt>
          <cx:pt idx="29752">0</cx:pt>
          <cx:pt idx="29753">1</cx:pt>
          <cx:pt idx="29754">1</cx:pt>
          <cx:pt idx="29755">1</cx:pt>
          <cx:pt idx="29756">1</cx:pt>
          <cx:pt idx="29757">1</cx:pt>
          <cx:pt idx="29758">0</cx:pt>
          <cx:pt idx="29759">1</cx:pt>
          <cx:pt idx="29760">1</cx:pt>
          <cx:pt idx="29761">0</cx:pt>
          <cx:pt idx="29762">0</cx:pt>
          <cx:pt idx="29763">0</cx:pt>
          <cx:pt idx="29764">0</cx:pt>
          <cx:pt idx="29765">1</cx:pt>
          <cx:pt idx="29766">0</cx:pt>
          <cx:pt idx="29767">1</cx:pt>
          <cx:pt idx="29768">1</cx:pt>
          <cx:pt idx="29769">1</cx:pt>
          <cx:pt idx="29770">1</cx:pt>
          <cx:pt idx="29771">0</cx:pt>
          <cx:pt idx="29772">0</cx:pt>
          <cx:pt idx="29773">0</cx:pt>
          <cx:pt idx="29774">0</cx:pt>
          <cx:pt idx="29775">0</cx:pt>
          <cx:pt idx="29776">1</cx:pt>
          <cx:pt idx="29777">1</cx:pt>
          <cx:pt idx="29778">0</cx:pt>
          <cx:pt idx="29779">1</cx:pt>
          <cx:pt idx="29780">0</cx:pt>
          <cx:pt idx="29781">0</cx:pt>
          <cx:pt idx="29782">0</cx:pt>
          <cx:pt idx="29783">1</cx:pt>
          <cx:pt idx="29784">0</cx:pt>
          <cx:pt idx="29785">0</cx:pt>
          <cx:pt idx="29786">1</cx:pt>
          <cx:pt idx="29787">1</cx:pt>
          <cx:pt idx="29788">0</cx:pt>
          <cx:pt idx="29789">0</cx:pt>
          <cx:pt idx="29790">1</cx:pt>
          <cx:pt idx="29791">1</cx:pt>
          <cx:pt idx="29792">0</cx:pt>
          <cx:pt idx="29793">0</cx:pt>
          <cx:pt idx="29794">0</cx:pt>
          <cx:pt idx="29795">0</cx:pt>
          <cx:pt idx="29796">0</cx:pt>
          <cx:pt idx="29797">1</cx:pt>
          <cx:pt idx="29798">1</cx:pt>
          <cx:pt idx="29799">1</cx:pt>
          <cx:pt idx="29800">1</cx:pt>
          <cx:pt idx="29801">0</cx:pt>
          <cx:pt idx="29802">0</cx:pt>
          <cx:pt idx="29803">0</cx:pt>
          <cx:pt idx="29804">1</cx:pt>
          <cx:pt idx="29805">1</cx:pt>
          <cx:pt idx="29806">1</cx:pt>
          <cx:pt idx="29807">0</cx:pt>
          <cx:pt idx="29808">0</cx:pt>
          <cx:pt idx="29809">1</cx:pt>
          <cx:pt idx="29810">0</cx:pt>
          <cx:pt idx="29811">1</cx:pt>
          <cx:pt idx="29812">1</cx:pt>
          <cx:pt idx="29813">1</cx:pt>
          <cx:pt idx="29814">1</cx:pt>
          <cx:pt idx="29815">1</cx:pt>
          <cx:pt idx="29816">0</cx:pt>
          <cx:pt idx="29817">0</cx:pt>
          <cx:pt idx="29818">0</cx:pt>
          <cx:pt idx="29819">0</cx:pt>
          <cx:pt idx="29820">1</cx:pt>
          <cx:pt idx="29821">1</cx:pt>
          <cx:pt idx="29822">0</cx:pt>
          <cx:pt idx="29823">1</cx:pt>
          <cx:pt idx="29824">0</cx:pt>
          <cx:pt idx="29825">0</cx:pt>
          <cx:pt idx="29826">0</cx:pt>
          <cx:pt idx="29827">1</cx:pt>
          <cx:pt idx="29828">0</cx:pt>
          <cx:pt idx="29829">0</cx:pt>
          <cx:pt idx="29830">0</cx:pt>
          <cx:pt idx="29831">1</cx:pt>
          <cx:pt idx="29832">0</cx:pt>
          <cx:pt idx="29833">0</cx:pt>
          <cx:pt idx="29834">0</cx:pt>
          <cx:pt idx="29835">1</cx:pt>
          <cx:pt idx="29836">0</cx:pt>
          <cx:pt idx="29837">0</cx:pt>
          <cx:pt idx="29838">0</cx:pt>
          <cx:pt idx="29839">0</cx:pt>
          <cx:pt idx="29840">0</cx:pt>
          <cx:pt idx="29841">0</cx:pt>
          <cx:pt idx="29842">1</cx:pt>
          <cx:pt idx="29843">0</cx:pt>
          <cx:pt idx="29844">0</cx:pt>
          <cx:pt idx="29845">1</cx:pt>
          <cx:pt idx="29846">0</cx:pt>
          <cx:pt idx="29847">0</cx:pt>
          <cx:pt idx="29848">0</cx:pt>
          <cx:pt idx="29849">0</cx:pt>
          <cx:pt idx="29850">0</cx:pt>
          <cx:pt idx="29851">1</cx:pt>
          <cx:pt idx="29852">1</cx:pt>
          <cx:pt idx="29853">0</cx:pt>
          <cx:pt idx="29854">1</cx:pt>
          <cx:pt idx="29855">0</cx:pt>
          <cx:pt idx="29856">1</cx:pt>
          <cx:pt idx="29857">1</cx:pt>
          <cx:pt idx="29858">1</cx:pt>
          <cx:pt idx="29859">0</cx:pt>
          <cx:pt idx="29860">0</cx:pt>
          <cx:pt idx="29861">1</cx:pt>
          <cx:pt idx="29862">1</cx:pt>
          <cx:pt idx="29863">1</cx:pt>
          <cx:pt idx="29864">1</cx:pt>
          <cx:pt idx="29865">0</cx:pt>
          <cx:pt idx="29866">0</cx:pt>
          <cx:pt idx="29867">1</cx:pt>
          <cx:pt idx="29868">0</cx:pt>
          <cx:pt idx="29869">0</cx:pt>
          <cx:pt idx="29870">0</cx:pt>
          <cx:pt idx="29871">0</cx:pt>
          <cx:pt idx="29872">1</cx:pt>
          <cx:pt idx="29873">0</cx:pt>
          <cx:pt idx="29874">1</cx:pt>
          <cx:pt idx="29875">1</cx:pt>
          <cx:pt idx="29876">0</cx:pt>
          <cx:pt idx="29877">0</cx:pt>
          <cx:pt idx="29878">0</cx:pt>
          <cx:pt idx="29879">0</cx:pt>
          <cx:pt idx="29880">0</cx:pt>
          <cx:pt idx="29881">0</cx:pt>
          <cx:pt idx="29882">1</cx:pt>
          <cx:pt idx="29883">0</cx:pt>
          <cx:pt idx="29884">1</cx:pt>
          <cx:pt idx="29885">0</cx:pt>
          <cx:pt idx="29886">1</cx:pt>
          <cx:pt idx="29887">0</cx:pt>
          <cx:pt idx="29888">0</cx:pt>
          <cx:pt idx="29889">1</cx:pt>
          <cx:pt idx="29890">0</cx:pt>
          <cx:pt idx="29891">0</cx:pt>
          <cx:pt idx="29892">0</cx:pt>
          <cx:pt idx="29893">1</cx:pt>
          <cx:pt idx="29894">1</cx:pt>
          <cx:pt idx="29895">1</cx:pt>
          <cx:pt idx="29896">1</cx:pt>
          <cx:pt idx="29897">1</cx:pt>
          <cx:pt idx="29898">0</cx:pt>
          <cx:pt idx="29899">0</cx:pt>
          <cx:pt idx="29900">0</cx:pt>
          <cx:pt idx="29901">0</cx:pt>
          <cx:pt idx="29902">1</cx:pt>
          <cx:pt idx="29903">0</cx:pt>
          <cx:pt idx="29904">0</cx:pt>
          <cx:pt idx="29905">1</cx:pt>
          <cx:pt idx="29906">0</cx:pt>
          <cx:pt idx="29907">0</cx:pt>
          <cx:pt idx="29908">1</cx:pt>
          <cx:pt idx="29909">0</cx:pt>
          <cx:pt idx="29910">1</cx:pt>
          <cx:pt idx="29911">1</cx:pt>
          <cx:pt idx="29912">0</cx:pt>
          <cx:pt idx="29913">0</cx:pt>
          <cx:pt idx="29914">0</cx:pt>
          <cx:pt idx="29915">1</cx:pt>
          <cx:pt idx="29916">1</cx:pt>
          <cx:pt idx="29917">0</cx:pt>
          <cx:pt idx="29918">0</cx:pt>
          <cx:pt idx="29919">0</cx:pt>
          <cx:pt idx="29920">0</cx:pt>
          <cx:pt idx="29921">0</cx:pt>
          <cx:pt idx="29922">0</cx:pt>
          <cx:pt idx="29923">0</cx:pt>
          <cx:pt idx="29924">0</cx:pt>
          <cx:pt idx="29925">1</cx:pt>
          <cx:pt idx="29926">0</cx:pt>
          <cx:pt idx="29927">0</cx:pt>
          <cx:pt idx="29928">0</cx:pt>
          <cx:pt idx="29929">1</cx:pt>
          <cx:pt idx="29930">1</cx:pt>
          <cx:pt idx="29931">0</cx:pt>
          <cx:pt idx="29932">0</cx:pt>
          <cx:pt idx="29933">1</cx:pt>
          <cx:pt idx="29934">0</cx:pt>
          <cx:pt idx="29935">1</cx:pt>
          <cx:pt idx="29936">1</cx:pt>
          <cx:pt idx="29937">0</cx:pt>
          <cx:pt idx="29938">0</cx:pt>
          <cx:pt idx="29939">0</cx:pt>
          <cx:pt idx="29940">1</cx:pt>
          <cx:pt idx="29941">0</cx:pt>
          <cx:pt idx="29942">0</cx:pt>
          <cx:pt idx="29943">1</cx:pt>
          <cx:pt idx="29944">1</cx:pt>
          <cx:pt idx="29945">1</cx:pt>
          <cx:pt idx="29946">0</cx:pt>
          <cx:pt idx="29947">1</cx:pt>
          <cx:pt idx="29948">1</cx:pt>
          <cx:pt idx="29949">1</cx:pt>
          <cx:pt idx="29950">1</cx:pt>
          <cx:pt idx="29951">0</cx:pt>
          <cx:pt idx="29952">0</cx:pt>
          <cx:pt idx="29953">1</cx:pt>
          <cx:pt idx="29954">1</cx:pt>
          <cx:pt idx="29955">0</cx:pt>
          <cx:pt idx="29956">1</cx:pt>
          <cx:pt idx="29957">0</cx:pt>
          <cx:pt idx="29958">1</cx:pt>
          <cx:pt idx="29959">0</cx:pt>
          <cx:pt idx="29960">0</cx:pt>
          <cx:pt idx="29961">0</cx:pt>
          <cx:pt idx="29962">0</cx:pt>
          <cx:pt idx="29963">1</cx:pt>
          <cx:pt idx="29964">1</cx:pt>
          <cx:pt idx="29965">1</cx:pt>
          <cx:pt idx="29966">0</cx:pt>
          <cx:pt idx="29967">1</cx:pt>
          <cx:pt idx="29968">1</cx:pt>
          <cx:pt idx="29969">0</cx:pt>
          <cx:pt idx="29970">0</cx:pt>
          <cx:pt idx="29971">1</cx:pt>
          <cx:pt idx="29972">0</cx:pt>
          <cx:pt idx="29973">1</cx:pt>
          <cx:pt idx="29974">0</cx:pt>
          <cx:pt idx="29975">0</cx:pt>
          <cx:pt idx="29976">0</cx:pt>
          <cx:pt idx="29977">1</cx:pt>
          <cx:pt idx="29978">0</cx:pt>
          <cx:pt idx="29979">1</cx:pt>
          <cx:pt idx="29980">0</cx:pt>
          <cx:pt idx="29981">0</cx:pt>
          <cx:pt idx="29982">0</cx:pt>
          <cx:pt idx="29983">1</cx:pt>
          <cx:pt idx="29984">0</cx:pt>
          <cx:pt idx="29985">1</cx:pt>
          <cx:pt idx="29986">0</cx:pt>
          <cx:pt idx="29987">0</cx:pt>
          <cx:pt idx="29988">1</cx:pt>
          <cx:pt idx="29989">1</cx:pt>
          <cx:pt idx="29990">0</cx:pt>
          <cx:pt idx="29991">0</cx:pt>
          <cx:pt idx="29992">0</cx:pt>
          <cx:pt idx="29993">1</cx:pt>
          <cx:pt idx="29994">1</cx:pt>
          <cx:pt idx="29995">0</cx:pt>
          <cx:pt idx="29996">0</cx:pt>
          <cx:pt idx="29997">0</cx:pt>
          <cx:pt idx="29998">0</cx:pt>
          <cx:pt idx="29999">1</cx:pt>
          <cx:pt idx="30000">1</cx:pt>
          <cx:pt idx="30001">0</cx:pt>
          <cx:pt idx="30002">1</cx:pt>
          <cx:pt idx="30003">1</cx:pt>
          <cx:pt idx="30004">1</cx:pt>
          <cx:pt idx="30005">1</cx:pt>
          <cx:pt idx="30006">0</cx:pt>
          <cx:pt idx="30007">0</cx:pt>
          <cx:pt idx="30008">0</cx:pt>
          <cx:pt idx="30009">1</cx:pt>
          <cx:pt idx="30010">0</cx:pt>
          <cx:pt idx="30011">0</cx:pt>
          <cx:pt idx="30012">0</cx:pt>
          <cx:pt idx="30013">1</cx:pt>
          <cx:pt idx="30014">0</cx:pt>
          <cx:pt idx="30015">0</cx:pt>
          <cx:pt idx="30016">0</cx:pt>
          <cx:pt idx="30017">1</cx:pt>
          <cx:pt idx="30018">1</cx:pt>
          <cx:pt idx="30019">1</cx:pt>
          <cx:pt idx="30020">0</cx:pt>
          <cx:pt idx="30021">1</cx:pt>
          <cx:pt idx="30022">0</cx:pt>
          <cx:pt idx="30023">0</cx:pt>
          <cx:pt idx="30024">1</cx:pt>
          <cx:pt idx="30025">0</cx:pt>
          <cx:pt idx="30026">0</cx:pt>
          <cx:pt idx="30027">1</cx:pt>
          <cx:pt idx="30028">0</cx:pt>
          <cx:pt idx="30029">1</cx:pt>
          <cx:pt idx="30030">1</cx:pt>
          <cx:pt idx="30031">0</cx:pt>
          <cx:pt idx="30032">0</cx:pt>
          <cx:pt idx="30033">1</cx:pt>
          <cx:pt idx="30034">0</cx:pt>
          <cx:pt idx="30035">1</cx:pt>
          <cx:pt idx="30036">0</cx:pt>
          <cx:pt idx="30037">0</cx:pt>
          <cx:pt idx="30038">0</cx:pt>
          <cx:pt idx="30039">1</cx:pt>
          <cx:pt idx="30040">1</cx:pt>
          <cx:pt idx="30041">1</cx:pt>
          <cx:pt idx="30042">0</cx:pt>
          <cx:pt idx="30043">1</cx:pt>
          <cx:pt idx="30044">0</cx:pt>
          <cx:pt idx="30045">0</cx:pt>
          <cx:pt idx="30046">0</cx:pt>
          <cx:pt idx="30047">1</cx:pt>
          <cx:pt idx="30048">1</cx:pt>
          <cx:pt idx="30049">1</cx:pt>
          <cx:pt idx="30050">0</cx:pt>
          <cx:pt idx="30051">1</cx:pt>
          <cx:pt idx="30052">0</cx:pt>
          <cx:pt idx="30053">1</cx:pt>
          <cx:pt idx="30054">0</cx:pt>
          <cx:pt idx="30055">0</cx:pt>
          <cx:pt idx="30056">1</cx:pt>
          <cx:pt idx="30057">0</cx:pt>
          <cx:pt idx="30058">0</cx:pt>
          <cx:pt idx="30059">1</cx:pt>
          <cx:pt idx="30060">0</cx:pt>
          <cx:pt idx="30061">0</cx:pt>
          <cx:pt idx="30062">0</cx:pt>
          <cx:pt idx="30063">1</cx:pt>
          <cx:pt idx="30064">1</cx:pt>
          <cx:pt idx="30065">1</cx:pt>
          <cx:pt idx="30066">0</cx:pt>
          <cx:pt idx="30067">0</cx:pt>
          <cx:pt idx="30068">0</cx:pt>
          <cx:pt idx="30069">0</cx:pt>
          <cx:pt idx="30070">1</cx:pt>
          <cx:pt idx="30071">0</cx:pt>
          <cx:pt idx="30072">0</cx:pt>
          <cx:pt idx="30073">1</cx:pt>
          <cx:pt idx="30074">1</cx:pt>
          <cx:pt idx="30075">0</cx:pt>
          <cx:pt idx="30076">1</cx:pt>
          <cx:pt idx="30077">1</cx:pt>
          <cx:pt idx="30078">1</cx:pt>
          <cx:pt idx="30079">0</cx:pt>
          <cx:pt idx="30080">0</cx:pt>
          <cx:pt idx="30081">1</cx:pt>
          <cx:pt idx="30082">0</cx:pt>
          <cx:pt idx="30083">0</cx:pt>
          <cx:pt idx="30084">0</cx:pt>
          <cx:pt idx="30085">1</cx:pt>
          <cx:pt idx="30086">0</cx:pt>
          <cx:pt idx="30087">0</cx:pt>
          <cx:pt idx="30088">1</cx:pt>
          <cx:pt idx="30089">0</cx:pt>
          <cx:pt idx="30090">0</cx:pt>
          <cx:pt idx="30091">0</cx:pt>
          <cx:pt idx="30092">1</cx:pt>
          <cx:pt idx="30093">0</cx:pt>
          <cx:pt idx="30094">1</cx:pt>
          <cx:pt idx="30095">1</cx:pt>
          <cx:pt idx="30096">1</cx:pt>
          <cx:pt idx="30097">0</cx:pt>
          <cx:pt idx="30098">1</cx:pt>
          <cx:pt idx="30099">0</cx:pt>
          <cx:pt idx="30100">0</cx:pt>
          <cx:pt idx="30101">1</cx:pt>
          <cx:pt idx="30102">0</cx:pt>
          <cx:pt idx="30103">0</cx:pt>
          <cx:pt idx="30104">1</cx:pt>
          <cx:pt idx="30105">1</cx:pt>
          <cx:pt idx="30106">1</cx:pt>
          <cx:pt idx="30107">0</cx:pt>
          <cx:pt idx="30108">1</cx:pt>
          <cx:pt idx="30109">0</cx:pt>
          <cx:pt idx="30110">0</cx:pt>
          <cx:pt idx="30111">1</cx:pt>
          <cx:pt idx="30112">1</cx:pt>
          <cx:pt idx="30113">1</cx:pt>
          <cx:pt idx="30114">1</cx:pt>
          <cx:pt idx="30115">0</cx:pt>
          <cx:pt idx="30116">1</cx:pt>
          <cx:pt idx="30117">1</cx:pt>
          <cx:pt idx="30118">0</cx:pt>
          <cx:pt idx="30119">0</cx:pt>
          <cx:pt idx="30120">0</cx:pt>
          <cx:pt idx="30121">1</cx:pt>
          <cx:pt idx="30122">0</cx:pt>
          <cx:pt idx="30123">0</cx:pt>
          <cx:pt idx="30124">0</cx:pt>
          <cx:pt idx="30125">0</cx:pt>
          <cx:pt idx="30126">0</cx:pt>
          <cx:pt idx="30127">1</cx:pt>
          <cx:pt idx="30128">0</cx:pt>
          <cx:pt idx="30129">1</cx:pt>
          <cx:pt idx="30130">0</cx:pt>
          <cx:pt idx="30131">0</cx:pt>
          <cx:pt idx="30132">1</cx:pt>
          <cx:pt idx="30133">0</cx:pt>
          <cx:pt idx="30134">0</cx:pt>
          <cx:pt idx="30135">0</cx:pt>
          <cx:pt idx="30136">1</cx:pt>
          <cx:pt idx="30137">0</cx:pt>
          <cx:pt idx="30138">1</cx:pt>
          <cx:pt idx="30139">1</cx:pt>
          <cx:pt idx="30140">1</cx:pt>
          <cx:pt idx="30141">1</cx:pt>
          <cx:pt idx="30142">1</cx:pt>
          <cx:pt idx="30143">0</cx:pt>
          <cx:pt idx="30144">0</cx:pt>
          <cx:pt idx="30145">1</cx:pt>
          <cx:pt idx="30146">0</cx:pt>
          <cx:pt idx="30147">1</cx:pt>
          <cx:pt idx="30148">0</cx:pt>
          <cx:pt idx="30149">0</cx:pt>
          <cx:pt idx="30150">0</cx:pt>
          <cx:pt idx="30151">1</cx:pt>
          <cx:pt idx="30152">0</cx:pt>
          <cx:pt idx="30153">0</cx:pt>
          <cx:pt idx="30154">0</cx:pt>
          <cx:pt idx="30155">0</cx:pt>
          <cx:pt idx="30156">1</cx:pt>
          <cx:pt idx="30157">0</cx:pt>
          <cx:pt idx="30158">0</cx:pt>
          <cx:pt idx="30159">1</cx:pt>
          <cx:pt idx="30160">0</cx:pt>
          <cx:pt idx="30161">0</cx:pt>
          <cx:pt idx="30162">0</cx:pt>
          <cx:pt idx="30163">0</cx:pt>
          <cx:pt idx="30164">1</cx:pt>
          <cx:pt idx="30165">0</cx:pt>
          <cx:pt idx="30166">1</cx:pt>
          <cx:pt idx="30167">0</cx:pt>
          <cx:pt idx="30168">0</cx:pt>
          <cx:pt idx="30169">0</cx:pt>
          <cx:pt idx="30170">1</cx:pt>
          <cx:pt idx="30171">0</cx:pt>
          <cx:pt idx="30172">0</cx:pt>
          <cx:pt idx="30173">0</cx:pt>
          <cx:pt idx="30174">1</cx:pt>
          <cx:pt idx="30175">0</cx:pt>
          <cx:pt idx="30176">1</cx:pt>
          <cx:pt idx="30177">0</cx:pt>
          <cx:pt idx="30178">1</cx:pt>
          <cx:pt idx="30179">0</cx:pt>
          <cx:pt idx="30180">0</cx:pt>
          <cx:pt idx="30181">1</cx:pt>
          <cx:pt idx="30182">0</cx:pt>
          <cx:pt idx="30183">1</cx:pt>
          <cx:pt idx="30184">0</cx:pt>
          <cx:pt idx="30185">0</cx:pt>
          <cx:pt idx="30186">1</cx:pt>
          <cx:pt idx="30187">1</cx:pt>
          <cx:pt idx="30188">0</cx:pt>
          <cx:pt idx="30189">0</cx:pt>
          <cx:pt idx="30190">1</cx:pt>
          <cx:pt idx="30191">0</cx:pt>
          <cx:pt idx="30192">0</cx:pt>
          <cx:pt idx="30193">0</cx:pt>
          <cx:pt idx="30194">1</cx:pt>
          <cx:pt idx="30195">1</cx:pt>
          <cx:pt idx="30196">1</cx:pt>
          <cx:pt idx="30197">1</cx:pt>
          <cx:pt idx="30198">1</cx:pt>
          <cx:pt idx="30199">1</cx:pt>
          <cx:pt idx="30200">1</cx:pt>
          <cx:pt idx="30201">0</cx:pt>
          <cx:pt idx="30202">0</cx:pt>
          <cx:pt idx="30203">0</cx:pt>
          <cx:pt idx="30204">1</cx:pt>
          <cx:pt idx="30205">0</cx:pt>
          <cx:pt idx="30206">0</cx:pt>
          <cx:pt idx="30207">0</cx:pt>
          <cx:pt idx="30208">0</cx:pt>
          <cx:pt idx="30209">0</cx:pt>
          <cx:pt idx="30210">1</cx:pt>
          <cx:pt idx="30211">0</cx:pt>
          <cx:pt idx="30212">0</cx:pt>
          <cx:pt idx="30213">1</cx:pt>
          <cx:pt idx="30214">0</cx:pt>
          <cx:pt idx="30215">1</cx:pt>
          <cx:pt idx="30216">1</cx:pt>
          <cx:pt idx="30217">0</cx:pt>
          <cx:pt idx="30218">0</cx:pt>
          <cx:pt idx="30219">0</cx:pt>
          <cx:pt idx="30220">1</cx:pt>
          <cx:pt idx="30221">1</cx:pt>
          <cx:pt idx="30222">1</cx:pt>
          <cx:pt idx="30223">1</cx:pt>
          <cx:pt idx="30224">1</cx:pt>
          <cx:pt idx="30225">1</cx:pt>
          <cx:pt idx="30226">0</cx:pt>
          <cx:pt idx="30227">0</cx:pt>
          <cx:pt idx="30228">0</cx:pt>
          <cx:pt idx="30229">0</cx:pt>
          <cx:pt idx="30230">1</cx:pt>
          <cx:pt idx="30231">1</cx:pt>
          <cx:pt idx="30232">1</cx:pt>
          <cx:pt idx="30233">0</cx:pt>
          <cx:pt idx="30234">0</cx:pt>
          <cx:pt idx="30235">1</cx:pt>
          <cx:pt idx="30236">0</cx:pt>
          <cx:pt idx="30237">0</cx:pt>
          <cx:pt idx="30238">1</cx:pt>
          <cx:pt idx="30239">1</cx:pt>
          <cx:pt idx="30240">0</cx:pt>
          <cx:pt idx="30241">0</cx:pt>
          <cx:pt idx="30242">0</cx:pt>
          <cx:pt idx="30243">1</cx:pt>
          <cx:pt idx="30244">1</cx:pt>
          <cx:pt idx="30245">0</cx:pt>
          <cx:pt idx="30246">1</cx:pt>
          <cx:pt idx="30247">0</cx:pt>
          <cx:pt idx="30248">1</cx:pt>
          <cx:pt idx="30249">1</cx:pt>
          <cx:pt idx="30250">0</cx:pt>
          <cx:pt idx="30251">0</cx:pt>
          <cx:pt idx="30252">0</cx:pt>
          <cx:pt idx="30253">1</cx:pt>
          <cx:pt idx="30254">0</cx:pt>
          <cx:pt idx="30255">1</cx:pt>
          <cx:pt idx="30256">0</cx:pt>
          <cx:pt idx="30257">0</cx:pt>
          <cx:pt idx="30258">1</cx:pt>
          <cx:pt idx="30259">1</cx:pt>
          <cx:pt idx="30260">1</cx:pt>
          <cx:pt idx="30261">0</cx:pt>
          <cx:pt idx="30262">1</cx:pt>
          <cx:pt idx="30263">1</cx:pt>
          <cx:pt idx="30264">0</cx:pt>
          <cx:pt idx="30265">1</cx:pt>
          <cx:pt idx="30266">0</cx:pt>
          <cx:pt idx="30267">0</cx:pt>
          <cx:pt idx="30268">0</cx:pt>
          <cx:pt idx="30269">1</cx:pt>
          <cx:pt idx="30270">0</cx:pt>
          <cx:pt idx="30271">0</cx:pt>
          <cx:pt idx="30272">1</cx:pt>
          <cx:pt idx="30273">1</cx:pt>
          <cx:pt idx="30274">0</cx:pt>
          <cx:pt idx="30275">0</cx:pt>
          <cx:pt idx="30276">0</cx:pt>
          <cx:pt idx="30277">0</cx:pt>
          <cx:pt idx="30278">0</cx:pt>
          <cx:pt idx="30279">0</cx:pt>
          <cx:pt idx="30280">1</cx:pt>
          <cx:pt idx="30281">0</cx:pt>
          <cx:pt idx="30282">0</cx:pt>
          <cx:pt idx="30283">0</cx:pt>
          <cx:pt idx="30284">1</cx:pt>
          <cx:pt idx="30285">1</cx:pt>
          <cx:pt idx="30286">1</cx:pt>
          <cx:pt idx="30287">1</cx:pt>
          <cx:pt idx="30288">0</cx:pt>
          <cx:pt idx="30289">0</cx:pt>
          <cx:pt idx="30290">0</cx:pt>
          <cx:pt idx="30291">0</cx:pt>
          <cx:pt idx="30292">1</cx:pt>
          <cx:pt idx="30293">1</cx:pt>
          <cx:pt idx="30294">1</cx:pt>
          <cx:pt idx="30295">1</cx:pt>
          <cx:pt idx="30296">0</cx:pt>
          <cx:pt idx="30297">0</cx:pt>
          <cx:pt idx="30298">0</cx:pt>
          <cx:pt idx="30299">1</cx:pt>
          <cx:pt idx="30300">1</cx:pt>
          <cx:pt idx="30301">1</cx:pt>
          <cx:pt idx="30302">0</cx:pt>
          <cx:pt idx="30303">1</cx:pt>
          <cx:pt idx="30304">1</cx:pt>
          <cx:pt idx="30305">0</cx:pt>
          <cx:pt idx="30306">0</cx:pt>
          <cx:pt idx="30307">1</cx:pt>
          <cx:pt idx="30308">0</cx:pt>
          <cx:pt idx="30309">1</cx:pt>
          <cx:pt idx="30310">1</cx:pt>
          <cx:pt idx="30311">1</cx:pt>
          <cx:pt idx="30312">0</cx:pt>
          <cx:pt idx="30313">1</cx:pt>
          <cx:pt idx="30314">0</cx:pt>
          <cx:pt idx="30315">1</cx:pt>
          <cx:pt idx="30316">0</cx:pt>
          <cx:pt idx="30317">0</cx:pt>
          <cx:pt idx="30318">0</cx:pt>
          <cx:pt idx="30319">1</cx:pt>
          <cx:pt idx="30320">1</cx:pt>
          <cx:pt idx="30321">1</cx:pt>
          <cx:pt idx="30322">1</cx:pt>
          <cx:pt idx="30323">0</cx:pt>
          <cx:pt idx="30324">1</cx:pt>
          <cx:pt idx="30325">0</cx:pt>
          <cx:pt idx="30326">0</cx:pt>
          <cx:pt idx="30327">1</cx:pt>
          <cx:pt idx="30328">0</cx:pt>
          <cx:pt idx="30329">1</cx:pt>
          <cx:pt idx="30330">1</cx:pt>
          <cx:pt idx="30331">1</cx:pt>
          <cx:pt idx="30332">1</cx:pt>
          <cx:pt idx="30333">1</cx:pt>
          <cx:pt idx="30334">1</cx:pt>
          <cx:pt idx="30335">1</cx:pt>
          <cx:pt idx="30336">0</cx:pt>
          <cx:pt idx="30337">1</cx:pt>
          <cx:pt idx="30338">1</cx:pt>
          <cx:pt idx="30339">0</cx:pt>
          <cx:pt idx="30340">0</cx:pt>
          <cx:pt idx="30341">0</cx:pt>
          <cx:pt idx="30342">1</cx:pt>
          <cx:pt idx="30343">0</cx:pt>
          <cx:pt idx="30344">1</cx:pt>
          <cx:pt idx="30345">1</cx:pt>
          <cx:pt idx="30346">1</cx:pt>
          <cx:pt idx="30347">0</cx:pt>
          <cx:pt idx="30348">0</cx:pt>
          <cx:pt idx="30349">0</cx:pt>
          <cx:pt idx="30350">0</cx:pt>
          <cx:pt idx="30351">0</cx:pt>
          <cx:pt idx="30352">0</cx:pt>
          <cx:pt idx="30353">0</cx:pt>
          <cx:pt idx="30354">0</cx:pt>
          <cx:pt idx="30355">1</cx:pt>
          <cx:pt idx="30356">1</cx:pt>
          <cx:pt idx="30357">0</cx:pt>
          <cx:pt idx="30358">0</cx:pt>
          <cx:pt idx="30359">0</cx:pt>
          <cx:pt idx="30360">1</cx:pt>
          <cx:pt idx="30361">0</cx:pt>
          <cx:pt idx="30362">0</cx:pt>
          <cx:pt idx="30363">0</cx:pt>
          <cx:pt idx="30364">0</cx:pt>
          <cx:pt idx="30365">1</cx:pt>
          <cx:pt idx="30366">0</cx:pt>
          <cx:pt idx="30367">1</cx:pt>
          <cx:pt idx="30368">0</cx:pt>
          <cx:pt idx="30369">0</cx:pt>
          <cx:pt idx="30370">0</cx:pt>
          <cx:pt idx="30371">1</cx:pt>
          <cx:pt idx="30372">0</cx:pt>
          <cx:pt idx="30373">0</cx:pt>
          <cx:pt idx="30374">0</cx:pt>
          <cx:pt idx="30375">0</cx:pt>
          <cx:pt idx="30376">1</cx:pt>
          <cx:pt idx="30377">0</cx:pt>
          <cx:pt idx="30378">0</cx:pt>
          <cx:pt idx="30379">0</cx:pt>
          <cx:pt idx="30380">0</cx:pt>
          <cx:pt idx="30381">1</cx:pt>
          <cx:pt idx="30382">1</cx:pt>
          <cx:pt idx="30383">1</cx:pt>
          <cx:pt idx="30384">0</cx:pt>
          <cx:pt idx="30385">1</cx:pt>
          <cx:pt idx="30386">0</cx:pt>
          <cx:pt idx="30387">0</cx:pt>
          <cx:pt idx="30388">0</cx:pt>
          <cx:pt idx="30389">1</cx:pt>
          <cx:pt idx="30390">0</cx:pt>
          <cx:pt idx="30391">1</cx:pt>
          <cx:pt idx="30392">0</cx:pt>
          <cx:pt idx="30393">1</cx:pt>
          <cx:pt idx="30394">1</cx:pt>
          <cx:pt idx="30395">0</cx:pt>
          <cx:pt idx="30396">1</cx:pt>
          <cx:pt idx="30397">1</cx:pt>
          <cx:pt idx="30398">1</cx:pt>
          <cx:pt idx="30399">1</cx:pt>
          <cx:pt idx="30400">1</cx:pt>
          <cx:pt idx="30401">0</cx:pt>
          <cx:pt idx="30402">0</cx:pt>
          <cx:pt idx="30403">0</cx:pt>
          <cx:pt idx="30404">1</cx:pt>
          <cx:pt idx="30405">1</cx:pt>
          <cx:pt idx="30406">1</cx:pt>
          <cx:pt idx="30407">0</cx:pt>
          <cx:pt idx="30408">1</cx:pt>
          <cx:pt idx="30409">0</cx:pt>
          <cx:pt idx="30410">0</cx:pt>
          <cx:pt idx="30411">1</cx:pt>
          <cx:pt idx="30412">0</cx:pt>
          <cx:pt idx="30413">1</cx:pt>
          <cx:pt idx="30414">0</cx:pt>
          <cx:pt idx="30415">0</cx:pt>
          <cx:pt idx="30416">0</cx:pt>
          <cx:pt idx="30417">0</cx:pt>
          <cx:pt idx="30418">0</cx:pt>
          <cx:pt idx="30419">0</cx:pt>
          <cx:pt idx="30420">0</cx:pt>
          <cx:pt idx="30421">0</cx:pt>
          <cx:pt idx="30422">0</cx:pt>
          <cx:pt idx="30423">1</cx:pt>
          <cx:pt idx="30424">0</cx:pt>
          <cx:pt idx="30425">0</cx:pt>
          <cx:pt idx="30426">0</cx:pt>
          <cx:pt idx="30427">1</cx:pt>
          <cx:pt idx="30428">1</cx:pt>
          <cx:pt idx="30429">1</cx:pt>
          <cx:pt idx="30430">0</cx:pt>
          <cx:pt idx="30431">0</cx:pt>
          <cx:pt idx="30432">1</cx:pt>
          <cx:pt idx="30433">1</cx:pt>
          <cx:pt idx="30434">0</cx:pt>
          <cx:pt idx="30435">1</cx:pt>
          <cx:pt idx="30436">1</cx:pt>
          <cx:pt idx="30437">1</cx:pt>
          <cx:pt idx="30438">1</cx:pt>
          <cx:pt idx="30439">1</cx:pt>
          <cx:pt idx="30440">1</cx:pt>
          <cx:pt idx="30441">1</cx:pt>
          <cx:pt idx="30442">0</cx:pt>
          <cx:pt idx="30443">0</cx:pt>
          <cx:pt idx="30444">1</cx:pt>
          <cx:pt idx="30445">1</cx:pt>
          <cx:pt idx="30446">1</cx:pt>
          <cx:pt idx="30447">0</cx:pt>
          <cx:pt idx="30448">0</cx:pt>
          <cx:pt idx="30449">1</cx:pt>
          <cx:pt idx="30450">0</cx:pt>
          <cx:pt idx="30451">0</cx:pt>
          <cx:pt idx="30452">1</cx:pt>
          <cx:pt idx="30453">1</cx:pt>
          <cx:pt idx="30454">1</cx:pt>
          <cx:pt idx="30455">1</cx:pt>
          <cx:pt idx="30456">0</cx:pt>
          <cx:pt idx="30457">0</cx:pt>
          <cx:pt idx="30458">1</cx:pt>
          <cx:pt idx="30459">0</cx:pt>
          <cx:pt idx="30460">0</cx:pt>
          <cx:pt idx="30461">1</cx:pt>
          <cx:pt idx="30462">0</cx:pt>
          <cx:pt idx="30463">0</cx:pt>
          <cx:pt idx="30464">0</cx:pt>
          <cx:pt idx="30465">0</cx:pt>
          <cx:pt idx="30466">0</cx:pt>
          <cx:pt idx="30467">1</cx:pt>
          <cx:pt idx="30468">1</cx:pt>
          <cx:pt idx="30469">0</cx:pt>
          <cx:pt idx="30470">0</cx:pt>
          <cx:pt idx="30471">0</cx:pt>
          <cx:pt idx="30472">0</cx:pt>
          <cx:pt idx="30473">0</cx:pt>
          <cx:pt idx="30474">1</cx:pt>
          <cx:pt idx="30475">0</cx:pt>
          <cx:pt idx="30476">1</cx:pt>
          <cx:pt idx="30477">1</cx:pt>
          <cx:pt idx="30478">1</cx:pt>
          <cx:pt idx="30479">1</cx:pt>
          <cx:pt idx="30480">0</cx:pt>
          <cx:pt idx="30481">0</cx:pt>
          <cx:pt idx="30482">0</cx:pt>
          <cx:pt idx="30483">1</cx:pt>
          <cx:pt idx="30484">1</cx:pt>
          <cx:pt idx="30485">0</cx:pt>
          <cx:pt idx="30486">0</cx:pt>
          <cx:pt idx="30487">0</cx:pt>
          <cx:pt idx="30488">0</cx:pt>
          <cx:pt idx="30489">1</cx:pt>
          <cx:pt idx="30490">0</cx:pt>
          <cx:pt idx="30491">1</cx:pt>
          <cx:pt idx="30492">0</cx:pt>
          <cx:pt idx="30493">1</cx:pt>
          <cx:pt idx="30494">0</cx:pt>
          <cx:pt idx="30495">1</cx:pt>
          <cx:pt idx="30496">1</cx:pt>
          <cx:pt idx="30497">1</cx:pt>
          <cx:pt idx="30498">0</cx:pt>
          <cx:pt idx="30499">0</cx:pt>
          <cx:pt idx="30500">0</cx:pt>
          <cx:pt idx="30501">0</cx:pt>
          <cx:pt idx="30502">0</cx:pt>
          <cx:pt idx="30503">0</cx:pt>
          <cx:pt idx="30504">1</cx:pt>
          <cx:pt idx="30505">1</cx:pt>
          <cx:pt idx="30506">1</cx:pt>
          <cx:pt idx="30507">0</cx:pt>
          <cx:pt idx="30508">0</cx:pt>
          <cx:pt idx="30509">0</cx:pt>
          <cx:pt idx="30510">1</cx:pt>
          <cx:pt idx="30511">1</cx:pt>
          <cx:pt idx="30512">1</cx:pt>
          <cx:pt idx="30513">0</cx:pt>
          <cx:pt idx="30514">1</cx:pt>
          <cx:pt idx="30515">1</cx:pt>
          <cx:pt idx="30516">0</cx:pt>
          <cx:pt idx="30517">0</cx:pt>
          <cx:pt idx="30518">0</cx:pt>
          <cx:pt idx="30519">0</cx:pt>
          <cx:pt idx="30520">1</cx:pt>
          <cx:pt idx="30521">1</cx:pt>
          <cx:pt idx="30522">1</cx:pt>
          <cx:pt idx="30523">1</cx:pt>
          <cx:pt idx="30524">1</cx:pt>
          <cx:pt idx="30525">0</cx:pt>
          <cx:pt idx="30526">0</cx:pt>
          <cx:pt idx="30527">1</cx:pt>
          <cx:pt idx="30528">1</cx:pt>
          <cx:pt idx="30529">0</cx:pt>
          <cx:pt idx="30530">0</cx:pt>
          <cx:pt idx="30531">0</cx:pt>
          <cx:pt idx="30532">0</cx:pt>
          <cx:pt idx="30533">0</cx:pt>
          <cx:pt idx="30534">0</cx:pt>
          <cx:pt idx="30535">0</cx:pt>
          <cx:pt idx="30536">1</cx:pt>
          <cx:pt idx="30537">1</cx:pt>
          <cx:pt idx="30538">0</cx:pt>
          <cx:pt idx="30539">0</cx:pt>
          <cx:pt idx="30540">1</cx:pt>
          <cx:pt idx="30541">0</cx:pt>
          <cx:pt idx="30542">0</cx:pt>
          <cx:pt idx="30543">0</cx:pt>
          <cx:pt idx="30544">1</cx:pt>
          <cx:pt idx="30545">1</cx:pt>
          <cx:pt idx="30546">1</cx:pt>
          <cx:pt idx="30547">1</cx:pt>
          <cx:pt idx="30548">1</cx:pt>
          <cx:pt idx="30549">1</cx:pt>
          <cx:pt idx="30550">0</cx:pt>
          <cx:pt idx="30551">1</cx:pt>
          <cx:pt idx="30552">1</cx:pt>
          <cx:pt idx="30553">1</cx:pt>
          <cx:pt idx="30554">0</cx:pt>
          <cx:pt idx="30555">0</cx:pt>
          <cx:pt idx="30556">1</cx:pt>
          <cx:pt idx="30557">0</cx:pt>
          <cx:pt idx="30558">0</cx:pt>
          <cx:pt idx="30559">0</cx:pt>
          <cx:pt idx="30560">0</cx:pt>
          <cx:pt idx="30561">1</cx:pt>
          <cx:pt idx="30562">1</cx:pt>
          <cx:pt idx="30563">0</cx:pt>
          <cx:pt idx="30564">1</cx:pt>
          <cx:pt idx="30565">0</cx:pt>
          <cx:pt idx="30566">0</cx:pt>
          <cx:pt idx="30567">1</cx:pt>
          <cx:pt idx="30568">1</cx:pt>
          <cx:pt idx="30569">0</cx:pt>
          <cx:pt idx="30570">1</cx:pt>
          <cx:pt idx="30571">1</cx:pt>
          <cx:pt idx="30572">0</cx:pt>
          <cx:pt idx="30573">1</cx:pt>
          <cx:pt idx="30574">0</cx:pt>
          <cx:pt idx="30575">1</cx:pt>
          <cx:pt idx="30576">1</cx:pt>
          <cx:pt idx="30577">1</cx:pt>
          <cx:pt idx="30578">0</cx:pt>
          <cx:pt idx="30579">1</cx:pt>
          <cx:pt idx="30580">0</cx:pt>
          <cx:pt idx="30581">0</cx:pt>
          <cx:pt idx="30582">0</cx:pt>
          <cx:pt idx="30583">1</cx:pt>
          <cx:pt idx="30584">0</cx:pt>
          <cx:pt idx="30585">1</cx:pt>
          <cx:pt idx="30586">1</cx:pt>
          <cx:pt idx="30587">1</cx:pt>
          <cx:pt idx="30588">0</cx:pt>
          <cx:pt idx="30589">0</cx:pt>
          <cx:pt idx="30590">0</cx:pt>
          <cx:pt idx="30591">1</cx:pt>
          <cx:pt idx="30592">1</cx:pt>
          <cx:pt idx="30593">0</cx:pt>
          <cx:pt idx="30594">1</cx:pt>
          <cx:pt idx="30595">0</cx:pt>
          <cx:pt idx="30596">0</cx:pt>
          <cx:pt idx="30597">0</cx:pt>
          <cx:pt idx="30598">1</cx:pt>
          <cx:pt idx="30599">0</cx:pt>
          <cx:pt idx="30600">1</cx:pt>
          <cx:pt idx="30601">0</cx:pt>
          <cx:pt idx="30602">0</cx:pt>
          <cx:pt idx="30603">1</cx:pt>
          <cx:pt idx="30604">0</cx:pt>
          <cx:pt idx="30605">0</cx:pt>
          <cx:pt idx="30606">0</cx:pt>
          <cx:pt idx="30607">1</cx:pt>
          <cx:pt idx="30608">1</cx:pt>
          <cx:pt idx="30609">1</cx:pt>
          <cx:pt idx="30610">0</cx:pt>
          <cx:pt idx="30611">0</cx:pt>
          <cx:pt idx="30612">0</cx:pt>
          <cx:pt idx="30613">0</cx:pt>
          <cx:pt idx="30614">0</cx:pt>
          <cx:pt idx="30615">0</cx:pt>
          <cx:pt idx="30616">0</cx:pt>
          <cx:pt idx="30617">0</cx:pt>
          <cx:pt idx="30618">0</cx:pt>
          <cx:pt idx="30619">0</cx:pt>
          <cx:pt idx="30620">0</cx:pt>
          <cx:pt idx="30621">1</cx:pt>
          <cx:pt idx="30622">0</cx:pt>
          <cx:pt idx="30623">0</cx:pt>
          <cx:pt idx="30624">1</cx:pt>
          <cx:pt idx="30625">0</cx:pt>
          <cx:pt idx="30626">0</cx:pt>
          <cx:pt idx="30627">1</cx:pt>
          <cx:pt idx="30628">1</cx:pt>
          <cx:pt idx="30629">0</cx:pt>
          <cx:pt idx="30630">0</cx:pt>
          <cx:pt idx="30631">0</cx:pt>
          <cx:pt idx="30632">0</cx:pt>
          <cx:pt idx="30633">1</cx:pt>
          <cx:pt idx="30634">0</cx:pt>
          <cx:pt idx="30635">1</cx:pt>
          <cx:pt idx="30636">0</cx:pt>
          <cx:pt idx="30637">1</cx:pt>
          <cx:pt idx="30638">0</cx:pt>
          <cx:pt idx="30639">1</cx:pt>
          <cx:pt idx="30640">0</cx:pt>
          <cx:pt idx="30641">0</cx:pt>
          <cx:pt idx="30642">0</cx:pt>
          <cx:pt idx="30643">0</cx:pt>
          <cx:pt idx="30644">0</cx:pt>
          <cx:pt idx="30645">0</cx:pt>
          <cx:pt idx="30646">0</cx:pt>
          <cx:pt idx="30647">1</cx:pt>
          <cx:pt idx="30648">0</cx:pt>
          <cx:pt idx="30649">1</cx:pt>
          <cx:pt idx="30650">1</cx:pt>
          <cx:pt idx="30651">0</cx:pt>
          <cx:pt idx="30652">1</cx:pt>
          <cx:pt idx="30653">1</cx:pt>
          <cx:pt idx="30654">1</cx:pt>
          <cx:pt idx="30655">1</cx:pt>
          <cx:pt idx="30656">1</cx:pt>
          <cx:pt idx="30657">0</cx:pt>
          <cx:pt idx="30658">0</cx:pt>
          <cx:pt idx="30659">0</cx:pt>
          <cx:pt idx="30660">1</cx:pt>
          <cx:pt idx="30661">0</cx:pt>
          <cx:pt idx="30662">0</cx:pt>
          <cx:pt idx="30663">0</cx:pt>
          <cx:pt idx="30664">1</cx:pt>
          <cx:pt idx="30665">1</cx:pt>
          <cx:pt idx="30666">0</cx:pt>
          <cx:pt idx="30667">1</cx:pt>
          <cx:pt idx="30668">0</cx:pt>
          <cx:pt idx="30669">0</cx:pt>
          <cx:pt idx="30670">0</cx:pt>
          <cx:pt idx="30671">1</cx:pt>
          <cx:pt idx="30672">0</cx:pt>
          <cx:pt idx="30673">1</cx:pt>
          <cx:pt idx="30674">0</cx:pt>
          <cx:pt idx="30675">1</cx:pt>
          <cx:pt idx="30676">0</cx:pt>
          <cx:pt idx="30677">0</cx:pt>
          <cx:pt idx="30678">0</cx:pt>
          <cx:pt idx="30679">0</cx:pt>
          <cx:pt idx="30680">0</cx:pt>
          <cx:pt idx="30681">0</cx:pt>
          <cx:pt idx="30682">0</cx:pt>
          <cx:pt idx="30683">1</cx:pt>
          <cx:pt idx="30684">0</cx:pt>
          <cx:pt idx="30685">0</cx:pt>
          <cx:pt idx="30686">1</cx:pt>
          <cx:pt idx="30687">1</cx:pt>
          <cx:pt idx="30688">1</cx:pt>
          <cx:pt idx="30689">1</cx:pt>
          <cx:pt idx="30690">0</cx:pt>
          <cx:pt idx="30691">1</cx:pt>
          <cx:pt idx="30692">0</cx:pt>
          <cx:pt idx="30693">0</cx:pt>
          <cx:pt idx="30694">0</cx:pt>
          <cx:pt idx="30695">1</cx:pt>
          <cx:pt idx="30696">0</cx:pt>
          <cx:pt idx="30697">1</cx:pt>
          <cx:pt idx="30698">0</cx:pt>
          <cx:pt idx="30699">1</cx:pt>
          <cx:pt idx="30700">1</cx:pt>
          <cx:pt idx="30701">1</cx:pt>
          <cx:pt idx="30702">0</cx:pt>
          <cx:pt idx="30703">0</cx:pt>
          <cx:pt idx="30704">0</cx:pt>
          <cx:pt idx="30705">0</cx:pt>
          <cx:pt idx="30706">1</cx:pt>
          <cx:pt idx="30707">1</cx:pt>
          <cx:pt idx="30708">1</cx:pt>
          <cx:pt idx="30709">1</cx:pt>
          <cx:pt idx="30710">0</cx:pt>
          <cx:pt idx="30711">0</cx:pt>
          <cx:pt idx="30712">0</cx:pt>
          <cx:pt idx="30713">0</cx:pt>
          <cx:pt idx="30714">0</cx:pt>
          <cx:pt idx="30715">0</cx:pt>
          <cx:pt idx="30716">0</cx:pt>
          <cx:pt idx="30717">0</cx:pt>
          <cx:pt idx="30718">1</cx:pt>
          <cx:pt idx="30719">1</cx:pt>
          <cx:pt idx="30720">1</cx:pt>
          <cx:pt idx="30721">1</cx:pt>
          <cx:pt idx="30722">0</cx:pt>
          <cx:pt idx="30723">0</cx:pt>
          <cx:pt idx="30724">0</cx:pt>
          <cx:pt idx="30725">0</cx:pt>
          <cx:pt idx="30726">0</cx:pt>
          <cx:pt idx="30727">0</cx:pt>
          <cx:pt idx="30728">0</cx:pt>
          <cx:pt idx="30729">1</cx:pt>
          <cx:pt idx="30730">0</cx:pt>
          <cx:pt idx="30731">0</cx:pt>
          <cx:pt idx="30732">1</cx:pt>
          <cx:pt idx="30733">0</cx:pt>
          <cx:pt idx="30734">0</cx:pt>
          <cx:pt idx="30735">0</cx:pt>
          <cx:pt idx="30736">0</cx:pt>
          <cx:pt idx="30737">1</cx:pt>
          <cx:pt idx="30738">1</cx:pt>
          <cx:pt idx="30739">0</cx:pt>
          <cx:pt idx="30740">1</cx:pt>
          <cx:pt idx="30741">0</cx:pt>
          <cx:pt idx="30742">0</cx:pt>
          <cx:pt idx="30743">1</cx:pt>
          <cx:pt idx="30744">1</cx:pt>
          <cx:pt idx="30745">1</cx:pt>
          <cx:pt idx="30746">1</cx:pt>
          <cx:pt idx="30747">1</cx:pt>
          <cx:pt idx="30748">0</cx:pt>
          <cx:pt idx="30749">0</cx:pt>
          <cx:pt idx="30750">0</cx:pt>
          <cx:pt idx="30751">0</cx:pt>
          <cx:pt idx="30752">1</cx:pt>
          <cx:pt idx="30753">1</cx:pt>
          <cx:pt idx="30754">0</cx:pt>
          <cx:pt idx="30755">1</cx:pt>
          <cx:pt idx="30756">0</cx:pt>
          <cx:pt idx="30757">0</cx:pt>
          <cx:pt idx="30758">0</cx:pt>
          <cx:pt idx="30759">0</cx:pt>
          <cx:pt idx="30760">0</cx:pt>
          <cx:pt idx="30761">0</cx:pt>
          <cx:pt idx="30762">1</cx:pt>
          <cx:pt idx="30763">0</cx:pt>
          <cx:pt idx="30764">1</cx:pt>
          <cx:pt idx="30765">0</cx:pt>
          <cx:pt idx="30766">0</cx:pt>
          <cx:pt idx="30767">0</cx:pt>
          <cx:pt idx="30768">1</cx:pt>
          <cx:pt idx="30769">1</cx:pt>
          <cx:pt idx="30770">0</cx:pt>
          <cx:pt idx="30771">1</cx:pt>
          <cx:pt idx="30772">1</cx:pt>
          <cx:pt idx="30773">0</cx:pt>
          <cx:pt idx="30774">1</cx:pt>
          <cx:pt idx="30775">1</cx:pt>
          <cx:pt idx="30776">1</cx:pt>
          <cx:pt idx="30777">1</cx:pt>
          <cx:pt idx="30778">0</cx:pt>
          <cx:pt idx="30779">1</cx:pt>
          <cx:pt idx="30780">1</cx:pt>
          <cx:pt idx="30781">1</cx:pt>
          <cx:pt idx="30782">0</cx:pt>
          <cx:pt idx="30783">0</cx:pt>
          <cx:pt idx="30784">0</cx:pt>
          <cx:pt idx="30785">1</cx:pt>
          <cx:pt idx="30786">0</cx:pt>
          <cx:pt idx="30787">0</cx:pt>
          <cx:pt idx="30788">1</cx:pt>
          <cx:pt idx="30789">1</cx:pt>
          <cx:pt idx="30790">0</cx:pt>
          <cx:pt idx="30791">0</cx:pt>
          <cx:pt idx="30792">1</cx:pt>
          <cx:pt idx="30793">0</cx:pt>
          <cx:pt idx="30794">1</cx:pt>
          <cx:pt idx="30795">1</cx:pt>
          <cx:pt idx="30796">0</cx:pt>
          <cx:pt idx="30797">0</cx:pt>
          <cx:pt idx="30798">0</cx:pt>
          <cx:pt idx="30799">1</cx:pt>
          <cx:pt idx="30800">1</cx:pt>
          <cx:pt idx="30801">1</cx:pt>
          <cx:pt idx="30802">0</cx:pt>
          <cx:pt idx="30803">0</cx:pt>
          <cx:pt idx="30804">1</cx:pt>
          <cx:pt idx="30805">0</cx:pt>
          <cx:pt idx="30806">0</cx:pt>
          <cx:pt idx="30807">0</cx:pt>
          <cx:pt idx="30808">0</cx:pt>
          <cx:pt idx="30809">0</cx:pt>
          <cx:pt idx="30810">0</cx:pt>
          <cx:pt idx="30811">0</cx:pt>
          <cx:pt idx="30812">0</cx:pt>
          <cx:pt idx="30813">0</cx:pt>
          <cx:pt idx="30814">0</cx:pt>
          <cx:pt idx="30815">1</cx:pt>
          <cx:pt idx="30816">0</cx:pt>
          <cx:pt idx="30817">0</cx:pt>
          <cx:pt idx="30818">1</cx:pt>
          <cx:pt idx="30819">1</cx:pt>
          <cx:pt idx="30820">0</cx:pt>
          <cx:pt idx="30821">1</cx:pt>
          <cx:pt idx="30822">1</cx:pt>
          <cx:pt idx="30823">1</cx:pt>
          <cx:pt idx="30824">0</cx:pt>
          <cx:pt idx="30825">0</cx:pt>
          <cx:pt idx="30826">1</cx:pt>
          <cx:pt idx="30827">0</cx:pt>
          <cx:pt idx="30828">0</cx:pt>
          <cx:pt idx="30829">1</cx:pt>
          <cx:pt idx="30830">1</cx:pt>
          <cx:pt idx="30831">0</cx:pt>
          <cx:pt idx="30832">0</cx:pt>
          <cx:pt idx="30833">0</cx:pt>
          <cx:pt idx="30834">0</cx:pt>
          <cx:pt idx="30835">1</cx:pt>
          <cx:pt idx="30836">1</cx:pt>
          <cx:pt idx="30837">1</cx:pt>
          <cx:pt idx="30838">0</cx:pt>
          <cx:pt idx="30839">0</cx:pt>
          <cx:pt idx="30840">1</cx:pt>
          <cx:pt idx="30841">1</cx:pt>
          <cx:pt idx="30842">1</cx:pt>
          <cx:pt idx="30843">0</cx:pt>
          <cx:pt idx="30844">0</cx:pt>
          <cx:pt idx="30845">1</cx:pt>
          <cx:pt idx="30846">1</cx:pt>
          <cx:pt idx="30847">0</cx:pt>
          <cx:pt idx="30848">1</cx:pt>
          <cx:pt idx="30849">0</cx:pt>
          <cx:pt idx="30850">0</cx:pt>
          <cx:pt idx="30851">1</cx:pt>
          <cx:pt idx="30852">0</cx:pt>
          <cx:pt idx="30853">0</cx:pt>
          <cx:pt idx="30854">1</cx:pt>
          <cx:pt idx="30855">0</cx:pt>
          <cx:pt idx="30856">1</cx:pt>
          <cx:pt idx="30857">0</cx:pt>
          <cx:pt idx="30858">1</cx:pt>
          <cx:pt idx="30859">0</cx:pt>
          <cx:pt idx="30860">0</cx:pt>
          <cx:pt idx="30861">0</cx:pt>
          <cx:pt idx="30862">0</cx:pt>
          <cx:pt idx="30863">0</cx:pt>
          <cx:pt idx="30864">0</cx:pt>
          <cx:pt idx="30865">1</cx:pt>
          <cx:pt idx="30866">0</cx:pt>
          <cx:pt idx="30867">0</cx:pt>
          <cx:pt idx="30868">0</cx:pt>
          <cx:pt idx="30869">0</cx:pt>
          <cx:pt idx="30870">1</cx:pt>
          <cx:pt idx="30871">1</cx:pt>
          <cx:pt idx="30872">0</cx:pt>
          <cx:pt idx="30873">0</cx:pt>
          <cx:pt idx="30874">0</cx:pt>
          <cx:pt idx="30875">0</cx:pt>
          <cx:pt idx="30876">0</cx:pt>
          <cx:pt idx="30877">1</cx:pt>
          <cx:pt idx="30878">1</cx:pt>
          <cx:pt idx="30879">0</cx:pt>
          <cx:pt idx="30880">1</cx:pt>
          <cx:pt idx="30881">1</cx:pt>
          <cx:pt idx="30882">1</cx:pt>
          <cx:pt idx="30883">0</cx:pt>
          <cx:pt idx="30884">0</cx:pt>
          <cx:pt idx="30885">0</cx:pt>
          <cx:pt idx="30886">0</cx:pt>
          <cx:pt idx="30887">1</cx:pt>
          <cx:pt idx="30888">0</cx:pt>
          <cx:pt idx="30889">0</cx:pt>
          <cx:pt idx="30890">1</cx:pt>
          <cx:pt idx="30891">0</cx:pt>
          <cx:pt idx="30892">1</cx:pt>
          <cx:pt idx="30893">0</cx:pt>
          <cx:pt idx="30894">0</cx:pt>
          <cx:pt idx="30895">1</cx:pt>
          <cx:pt idx="30896">1</cx:pt>
          <cx:pt idx="30897">1</cx:pt>
          <cx:pt idx="30898">0</cx:pt>
          <cx:pt idx="30899">1</cx:pt>
          <cx:pt idx="30900">0</cx:pt>
          <cx:pt idx="30901">1</cx:pt>
          <cx:pt idx="30902">0</cx:pt>
          <cx:pt idx="30903">1</cx:pt>
          <cx:pt idx="30904">0</cx:pt>
          <cx:pt idx="30905">1</cx:pt>
          <cx:pt idx="30906">1</cx:pt>
          <cx:pt idx="30907">1</cx:pt>
          <cx:pt idx="30908">1</cx:pt>
          <cx:pt idx="30909">0</cx:pt>
          <cx:pt idx="30910">1</cx:pt>
          <cx:pt idx="30911">0</cx:pt>
          <cx:pt idx="30912">0</cx:pt>
          <cx:pt idx="30913">0</cx:pt>
          <cx:pt idx="30914">1</cx:pt>
          <cx:pt idx="30915">0</cx:pt>
          <cx:pt idx="30916">1</cx:pt>
          <cx:pt idx="30917">1</cx:pt>
          <cx:pt idx="30918">1</cx:pt>
          <cx:pt idx="30919">0</cx:pt>
          <cx:pt idx="30920">0</cx:pt>
          <cx:pt idx="30921">0</cx:pt>
          <cx:pt idx="30922">0</cx:pt>
          <cx:pt idx="30923">0</cx:pt>
          <cx:pt idx="30924">1</cx:pt>
          <cx:pt idx="30925">1</cx:pt>
          <cx:pt idx="30926">1</cx:pt>
          <cx:pt idx="30927">0</cx:pt>
          <cx:pt idx="30928">0</cx:pt>
          <cx:pt idx="30929">0</cx:pt>
          <cx:pt idx="30930">0</cx:pt>
          <cx:pt idx="30931">0</cx:pt>
          <cx:pt idx="30932">1</cx:pt>
          <cx:pt idx="30933">1</cx:pt>
          <cx:pt idx="30934">1</cx:pt>
          <cx:pt idx="30935">0</cx:pt>
          <cx:pt idx="30936">0</cx:pt>
          <cx:pt idx="30937">0</cx:pt>
          <cx:pt idx="30938">1</cx:pt>
          <cx:pt idx="30939">1</cx:pt>
          <cx:pt idx="30940">1</cx:pt>
          <cx:pt idx="30941">0</cx:pt>
          <cx:pt idx="30942">0</cx:pt>
          <cx:pt idx="30943">0</cx:pt>
          <cx:pt idx="30944">0</cx:pt>
          <cx:pt idx="30945">1</cx:pt>
          <cx:pt idx="30946">0</cx:pt>
          <cx:pt idx="30947">0</cx:pt>
          <cx:pt idx="30948">0</cx:pt>
          <cx:pt idx="30949">0</cx:pt>
          <cx:pt idx="30950">1</cx:pt>
          <cx:pt idx="30951">1</cx:pt>
          <cx:pt idx="30952">0</cx:pt>
          <cx:pt idx="30953">0</cx:pt>
          <cx:pt idx="30954">1</cx:pt>
          <cx:pt idx="30955">1</cx:pt>
          <cx:pt idx="30956">0</cx:pt>
          <cx:pt idx="30957">1</cx:pt>
          <cx:pt idx="30958">0</cx:pt>
          <cx:pt idx="30959">0</cx:pt>
          <cx:pt idx="30960">0</cx:pt>
          <cx:pt idx="30961">0</cx:pt>
          <cx:pt idx="30962">0</cx:pt>
          <cx:pt idx="30963">1</cx:pt>
          <cx:pt idx="30964">1</cx:pt>
          <cx:pt idx="30965">0</cx:pt>
          <cx:pt idx="30966">1</cx:pt>
          <cx:pt idx="30967">1</cx:pt>
          <cx:pt idx="30968">0</cx:pt>
          <cx:pt idx="30969">0</cx:pt>
          <cx:pt idx="30970">0</cx:pt>
          <cx:pt idx="30971">0</cx:pt>
          <cx:pt idx="30972">0</cx:pt>
          <cx:pt idx="30973">1</cx:pt>
          <cx:pt idx="30974">1</cx:pt>
          <cx:pt idx="30975">0</cx:pt>
          <cx:pt idx="30976">0</cx:pt>
          <cx:pt idx="30977">0</cx:pt>
          <cx:pt idx="30978">0</cx:pt>
          <cx:pt idx="30979">1</cx:pt>
          <cx:pt idx="30980">1</cx:pt>
          <cx:pt idx="30981">0</cx:pt>
          <cx:pt idx="30982">0</cx:pt>
          <cx:pt idx="30983">0</cx:pt>
          <cx:pt idx="30984">1</cx:pt>
          <cx:pt idx="30985">0</cx:pt>
          <cx:pt idx="30986">0</cx:pt>
          <cx:pt idx="30987">1</cx:pt>
          <cx:pt idx="30988">1</cx:pt>
          <cx:pt idx="30989">0</cx:pt>
          <cx:pt idx="30990">1</cx:pt>
          <cx:pt idx="30991">0</cx:pt>
          <cx:pt idx="30992">0</cx:pt>
          <cx:pt idx="30993">1</cx:pt>
          <cx:pt idx="30994">1</cx:pt>
          <cx:pt idx="30995">0</cx:pt>
          <cx:pt idx="30996">0</cx:pt>
          <cx:pt idx="30997">1</cx:pt>
          <cx:pt idx="30998">0</cx:pt>
          <cx:pt idx="30999">0</cx:pt>
          <cx:pt idx="31000">0</cx:pt>
          <cx:pt idx="31001">0</cx:pt>
          <cx:pt idx="31002">0</cx:pt>
          <cx:pt idx="31003">1</cx:pt>
          <cx:pt idx="31004">0</cx:pt>
          <cx:pt idx="31005">0</cx:pt>
          <cx:pt idx="31006">0</cx:pt>
          <cx:pt idx="31007">0</cx:pt>
          <cx:pt idx="31008">0</cx:pt>
          <cx:pt idx="31009">0</cx:pt>
          <cx:pt idx="31010">0</cx:pt>
          <cx:pt idx="31011">0</cx:pt>
          <cx:pt idx="31012">0</cx:pt>
          <cx:pt idx="31013">0</cx:pt>
          <cx:pt idx="31014">1</cx:pt>
          <cx:pt idx="31015">0</cx:pt>
          <cx:pt idx="31016">0</cx:pt>
          <cx:pt idx="31017">1</cx:pt>
          <cx:pt idx="31018">1</cx:pt>
          <cx:pt idx="31019">0</cx:pt>
          <cx:pt idx="31020">1</cx:pt>
          <cx:pt idx="31021">1</cx:pt>
          <cx:pt idx="31022">1</cx:pt>
          <cx:pt idx="31023">0</cx:pt>
          <cx:pt idx="31024">1</cx:pt>
          <cx:pt idx="31025">1</cx:pt>
          <cx:pt idx="31026">0</cx:pt>
          <cx:pt idx="31027">1</cx:pt>
          <cx:pt idx="31028">0</cx:pt>
          <cx:pt idx="31029">0</cx:pt>
          <cx:pt idx="31030">0</cx:pt>
          <cx:pt idx="31031">1</cx:pt>
          <cx:pt idx="31032">1</cx:pt>
          <cx:pt idx="31033">0</cx:pt>
          <cx:pt idx="31034">1</cx:pt>
          <cx:pt idx="31035">0</cx:pt>
          <cx:pt idx="31036">0</cx:pt>
          <cx:pt idx="31037">0</cx:pt>
          <cx:pt idx="31038">1</cx:pt>
          <cx:pt idx="31039">1</cx:pt>
          <cx:pt idx="31040">0</cx:pt>
          <cx:pt idx="31041">1</cx:pt>
          <cx:pt idx="31042">1</cx:pt>
          <cx:pt idx="31043">1</cx:pt>
          <cx:pt idx="31044">0</cx:pt>
          <cx:pt idx="31045">0</cx:pt>
          <cx:pt idx="31046">0</cx:pt>
          <cx:pt idx="31047">0</cx:pt>
          <cx:pt idx="31048">0</cx:pt>
          <cx:pt idx="31049">1</cx:pt>
          <cx:pt idx="31050">0</cx:pt>
          <cx:pt idx="31051">0</cx:pt>
          <cx:pt idx="31052">0</cx:pt>
          <cx:pt idx="31053">0</cx:pt>
          <cx:pt idx="31054">0</cx:pt>
          <cx:pt idx="31055">0</cx:pt>
          <cx:pt idx="31056">1</cx:pt>
          <cx:pt idx="31057">1</cx:pt>
          <cx:pt idx="31058">1</cx:pt>
          <cx:pt idx="31059">1</cx:pt>
          <cx:pt idx="31060">0</cx:pt>
          <cx:pt idx="31061">0</cx:pt>
          <cx:pt idx="31062">1</cx:pt>
          <cx:pt idx="31063">1</cx:pt>
          <cx:pt idx="31064">0</cx:pt>
          <cx:pt idx="31065">1</cx:pt>
          <cx:pt idx="31066">1</cx:pt>
          <cx:pt idx="31067">1</cx:pt>
          <cx:pt idx="31068">0</cx:pt>
          <cx:pt idx="31069">1</cx:pt>
          <cx:pt idx="31070">0</cx:pt>
          <cx:pt idx="31071">1</cx:pt>
          <cx:pt idx="31072">0</cx:pt>
          <cx:pt idx="31073">0</cx:pt>
          <cx:pt idx="31074">1</cx:pt>
          <cx:pt idx="31075">1</cx:pt>
          <cx:pt idx="31076">0</cx:pt>
          <cx:pt idx="31077">0</cx:pt>
          <cx:pt idx="31078">1</cx:pt>
          <cx:pt idx="31079">0</cx:pt>
          <cx:pt idx="31080">0</cx:pt>
          <cx:pt idx="31081">1</cx:pt>
          <cx:pt idx="31082">0</cx:pt>
          <cx:pt idx="31083">1</cx:pt>
          <cx:pt idx="31084">0</cx:pt>
          <cx:pt idx="31085">1</cx:pt>
          <cx:pt idx="31086">1</cx:pt>
          <cx:pt idx="31087">1</cx:pt>
          <cx:pt idx="31088">0</cx:pt>
          <cx:pt idx="31089">0</cx:pt>
          <cx:pt idx="31090">1</cx:pt>
          <cx:pt idx="31091">0</cx:pt>
          <cx:pt idx="31092">0</cx:pt>
          <cx:pt idx="31093">0</cx:pt>
          <cx:pt idx="31094">1</cx:pt>
          <cx:pt idx="31095">0</cx:pt>
          <cx:pt idx="31096">0</cx:pt>
          <cx:pt idx="31097">0</cx:pt>
          <cx:pt idx="31098">0</cx:pt>
          <cx:pt idx="31099">1</cx:pt>
          <cx:pt idx="31100">0</cx:pt>
          <cx:pt idx="31101">0</cx:pt>
          <cx:pt idx="31102">1</cx:pt>
          <cx:pt idx="31103">1</cx:pt>
          <cx:pt idx="31104">0</cx:pt>
          <cx:pt idx="31105">0</cx:pt>
          <cx:pt idx="31106">1</cx:pt>
          <cx:pt idx="31107">0</cx:pt>
          <cx:pt idx="31108">1</cx:pt>
          <cx:pt idx="31109">1</cx:pt>
          <cx:pt idx="31110">1</cx:pt>
          <cx:pt idx="31111">1</cx:pt>
          <cx:pt idx="31112">0</cx:pt>
          <cx:pt idx="31113">0</cx:pt>
          <cx:pt idx="31114">0</cx:pt>
          <cx:pt idx="31115">0</cx:pt>
          <cx:pt idx="31116">1</cx:pt>
          <cx:pt idx="31117">1</cx:pt>
          <cx:pt idx="31118">1</cx:pt>
          <cx:pt idx="31119">0</cx:pt>
          <cx:pt idx="31120">0</cx:pt>
          <cx:pt idx="31121">1</cx:pt>
          <cx:pt idx="31122">1</cx:pt>
          <cx:pt idx="31123">1</cx:pt>
          <cx:pt idx="31124">1</cx:pt>
          <cx:pt idx="31125">1</cx:pt>
          <cx:pt idx="31126">1</cx:pt>
          <cx:pt idx="31127">1</cx:pt>
          <cx:pt idx="31128">1</cx:pt>
          <cx:pt idx="31129">0</cx:pt>
          <cx:pt idx="31130">1</cx:pt>
          <cx:pt idx="31131">0</cx:pt>
          <cx:pt idx="31132">1</cx:pt>
          <cx:pt idx="31133">0</cx:pt>
          <cx:pt idx="31134">0</cx:pt>
          <cx:pt idx="31135">0</cx:pt>
          <cx:pt idx="31136">1</cx:pt>
          <cx:pt idx="31137">0</cx:pt>
          <cx:pt idx="31138">1</cx:pt>
          <cx:pt idx="31139">1</cx:pt>
          <cx:pt idx="31140">0</cx:pt>
          <cx:pt idx="31141">1</cx:pt>
          <cx:pt idx="31142">0</cx:pt>
          <cx:pt idx="31143">1</cx:pt>
          <cx:pt idx="31144">0</cx:pt>
          <cx:pt idx="31145">0</cx:pt>
          <cx:pt idx="31146">1</cx:pt>
          <cx:pt idx="31147">0</cx:pt>
          <cx:pt idx="31148">0</cx:pt>
          <cx:pt idx="31149">1</cx:pt>
          <cx:pt idx="31150">0</cx:pt>
          <cx:pt idx="31151">0</cx:pt>
          <cx:pt idx="31152">0</cx:pt>
          <cx:pt idx="31153">0</cx:pt>
          <cx:pt idx="31154">0</cx:pt>
          <cx:pt idx="31155">0</cx:pt>
          <cx:pt idx="31156">1</cx:pt>
          <cx:pt idx="31157">0</cx:pt>
          <cx:pt idx="31158">1</cx:pt>
          <cx:pt idx="31159">1</cx:pt>
          <cx:pt idx="31160">1</cx:pt>
          <cx:pt idx="31161">1</cx:pt>
          <cx:pt idx="31162">0</cx:pt>
          <cx:pt idx="31163">1</cx:pt>
          <cx:pt idx="31164">0</cx:pt>
          <cx:pt idx="31165">0</cx:pt>
          <cx:pt idx="31166">1</cx:pt>
          <cx:pt idx="31167">0</cx:pt>
          <cx:pt idx="31168">0</cx:pt>
          <cx:pt idx="31169">1</cx:pt>
          <cx:pt idx="31170">0</cx:pt>
          <cx:pt idx="31171">1</cx:pt>
          <cx:pt idx="31172">0</cx:pt>
          <cx:pt idx="31173">1</cx:pt>
          <cx:pt idx="31174">0</cx:pt>
          <cx:pt idx="31175">0</cx:pt>
          <cx:pt idx="31176">0</cx:pt>
          <cx:pt idx="31177">1</cx:pt>
          <cx:pt idx="31178">1</cx:pt>
          <cx:pt idx="31179">1</cx:pt>
          <cx:pt idx="31180">1</cx:pt>
          <cx:pt idx="31181">1</cx:pt>
          <cx:pt idx="31182">1</cx:pt>
          <cx:pt idx="31183">1</cx:pt>
          <cx:pt idx="31184">0</cx:pt>
          <cx:pt idx="31185">0</cx:pt>
          <cx:pt idx="31186">0</cx:pt>
          <cx:pt idx="31187">0</cx:pt>
          <cx:pt idx="31188">1</cx:pt>
          <cx:pt idx="31189">1</cx:pt>
          <cx:pt idx="31190">1</cx:pt>
          <cx:pt idx="31191">1</cx:pt>
          <cx:pt idx="31192">0</cx:pt>
          <cx:pt idx="31193">1</cx:pt>
          <cx:pt idx="31194">0</cx:pt>
          <cx:pt idx="31195">0</cx:pt>
          <cx:pt idx="31196">0</cx:pt>
          <cx:pt idx="31197">0</cx:pt>
          <cx:pt idx="31198">0</cx:pt>
          <cx:pt idx="31199">0</cx:pt>
          <cx:pt idx="31200">1</cx:pt>
          <cx:pt idx="31201">0</cx:pt>
          <cx:pt idx="31202">1</cx:pt>
          <cx:pt idx="31203">0</cx:pt>
          <cx:pt idx="31204">1</cx:pt>
          <cx:pt idx="31205">0</cx:pt>
          <cx:pt idx="31206">0</cx:pt>
          <cx:pt idx="31207">1</cx:pt>
          <cx:pt idx="31208">0</cx:pt>
          <cx:pt idx="31209">0</cx:pt>
          <cx:pt idx="31210">1</cx:pt>
          <cx:pt idx="31211">0</cx:pt>
          <cx:pt idx="31212">1</cx:pt>
          <cx:pt idx="31213">0</cx:pt>
          <cx:pt idx="31214">0</cx:pt>
          <cx:pt idx="31215">1</cx:pt>
          <cx:pt idx="31216">0</cx:pt>
          <cx:pt idx="31217">1</cx:pt>
          <cx:pt idx="31218">0</cx:pt>
          <cx:pt idx="31219">1</cx:pt>
          <cx:pt idx="31220">0</cx:pt>
          <cx:pt idx="31221">0</cx:pt>
          <cx:pt idx="31222">0</cx:pt>
          <cx:pt idx="31223">0</cx:pt>
          <cx:pt idx="31224">0</cx:pt>
          <cx:pt idx="31225">1</cx:pt>
          <cx:pt idx="31226">0</cx:pt>
          <cx:pt idx="31227">1</cx:pt>
          <cx:pt idx="31228">1</cx:pt>
          <cx:pt idx="31229">1</cx:pt>
          <cx:pt idx="31230">0</cx:pt>
          <cx:pt idx="31231">0</cx:pt>
          <cx:pt idx="31232">0</cx:pt>
          <cx:pt idx="31233">0</cx:pt>
          <cx:pt idx="31234">0</cx:pt>
          <cx:pt idx="31235">1</cx:pt>
          <cx:pt idx="31236">0</cx:pt>
          <cx:pt idx="31237">0</cx:pt>
          <cx:pt idx="31238">0</cx:pt>
          <cx:pt idx="31239">1</cx:pt>
          <cx:pt idx="31240">0</cx:pt>
          <cx:pt idx="31241">1</cx:pt>
          <cx:pt idx="31242">0</cx:pt>
          <cx:pt idx="31243">1</cx:pt>
          <cx:pt idx="31244">0</cx:pt>
          <cx:pt idx="31245">1</cx:pt>
          <cx:pt idx="31246">1</cx:pt>
          <cx:pt idx="31247">1</cx:pt>
          <cx:pt idx="31248">0</cx:pt>
          <cx:pt idx="31249">1</cx:pt>
          <cx:pt idx="31250">1</cx:pt>
          <cx:pt idx="31251">0</cx:pt>
          <cx:pt idx="31252">0</cx:pt>
          <cx:pt idx="31253">1</cx:pt>
          <cx:pt idx="31254">0</cx:pt>
          <cx:pt idx="31255">1</cx:pt>
          <cx:pt idx="31256">1</cx:pt>
          <cx:pt idx="31257">1</cx:pt>
          <cx:pt idx="31258">0</cx:pt>
          <cx:pt idx="31259">0</cx:pt>
          <cx:pt idx="31260">1</cx:pt>
          <cx:pt idx="31261">1</cx:pt>
          <cx:pt idx="31262">0</cx:pt>
          <cx:pt idx="31263">1</cx:pt>
          <cx:pt idx="31264">0</cx:pt>
          <cx:pt idx="31265">1</cx:pt>
          <cx:pt idx="31266">1</cx:pt>
          <cx:pt idx="31267">0</cx:pt>
          <cx:pt idx="31268">0</cx:pt>
          <cx:pt idx="31269">0</cx:pt>
          <cx:pt idx="31270">1</cx:pt>
          <cx:pt idx="31271">1</cx:pt>
          <cx:pt idx="31272">0</cx:pt>
          <cx:pt idx="31273">1</cx:pt>
          <cx:pt idx="31274">0</cx:pt>
          <cx:pt idx="31275">0</cx:pt>
          <cx:pt idx="31276">0</cx:pt>
          <cx:pt idx="31277">1</cx:pt>
          <cx:pt idx="31278">0</cx:pt>
          <cx:pt idx="31279">1</cx:pt>
          <cx:pt idx="31280">0</cx:pt>
          <cx:pt idx="31281">1</cx:pt>
          <cx:pt idx="31282">0</cx:pt>
          <cx:pt idx="31283">1</cx:pt>
          <cx:pt idx="31284">1</cx:pt>
          <cx:pt idx="31285">0</cx:pt>
          <cx:pt idx="31286">0</cx:pt>
          <cx:pt idx="31287">1</cx:pt>
          <cx:pt idx="31288">1</cx:pt>
          <cx:pt idx="31289">0</cx:pt>
          <cx:pt idx="31290">1</cx:pt>
          <cx:pt idx="31291">1</cx:pt>
          <cx:pt idx="31292">1</cx:pt>
          <cx:pt idx="31293">1</cx:pt>
          <cx:pt idx="31294">0</cx:pt>
          <cx:pt idx="31295">0</cx:pt>
          <cx:pt idx="31296">0</cx:pt>
          <cx:pt idx="31297">1</cx:pt>
          <cx:pt idx="31298">0</cx:pt>
          <cx:pt idx="31299">0</cx:pt>
          <cx:pt idx="31300">1</cx:pt>
          <cx:pt idx="31301">0</cx:pt>
          <cx:pt idx="31302">0</cx:pt>
          <cx:pt idx="31303">1</cx:pt>
          <cx:pt idx="31304">0</cx:pt>
          <cx:pt idx="31305">1</cx:pt>
          <cx:pt idx="31306">0</cx:pt>
          <cx:pt idx="31307">1</cx:pt>
          <cx:pt idx="31308">0</cx:pt>
          <cx:pt idx="31309">1</cx:pt>
          <cx:pt idx="31310">1</cx:pt>
          <cx:pt idx="31311">0</cx:pt>
          <cx:pt idx="31312">1</cx:pt>
          <cx:pt idx="31313">1</cx:pt>
          <cx:pt idx="31314">0</cx:pt>
          <cx:pt idx="31315">1</cx:pt>
          <cx:pt idx="31316">1</cx:pt>
          <cx:pt idx="31317">1</cx:pt>
          <cx:pt idx="31318">1</cx:pt>
          <cx:pt idx="31319">1</cx:pt>
          <cx:pt idx="31320">1</cx:pt>
          <cx:pt idx="31321">0</cx:pt>
          <cx:pt idx="31322">0</cx:pt>
          <cx:pt idx="31323">0</cx:pt>
          <cx:pt idx="31324">1</cx:pt>
          <cx:pt idx="31325">1</cx:pt>
          <cx:pt idx="31326">0</cx:pt>
          <cx:pt idx="31327">0</cx:pt>
          <cx:pt idx="31328">1</cx:pt>
          <cx:pt idx="31329">0</cx:pt>
          <cx:pt idx="31330">0</cx:pt>
          <cx:pt idx="31331">1</cx:pt>
          <cx:pt idx="31332">1</cx:pt>
          <cx:pt idx="31333">1</cx:pt>
          <cx:pt idx="31334">0</cx:pt>
          <cx:pt idx="31335">0</cx:pt>
          <cx:pt idx="31336">0</cx:pt>
          <cx:pt idx="31337">0</cx:pt>
          <cx:pt idx="31338">1</cx:pt>
          <cx:pt idx="31339">0</cx:pt>
          <cx:pt idx="31340">0</cx:pt>
          <cx:pt idx="31341">1</cx:pt>
          <cx:pt idx="31342">1</cx:pt>
          <cx:pt idx="31343">0</cx:pt>
          <cx:pt idx="31344">0</cx:pt>
          <cx:pt idx="31345">0</cx:pt>
          <cx:pt idx="31346">0</cx:pt>
          <cx:pt idx="31347">0</cx:pt>
          <cx:pt idx="31348">0</cx:pt>
          <cx:pt idx="31349">1</cx:pt>
          <cx:pt idx="31350">0</cx:pt>
          <cx:pt idx="31351">1</cx:pt>
          <cx:pt idx="31352">0</cx:pt>
          <cx:pt idx="31353">0</cx:pt>
          <cx:pt idx="31354">0</cx:pt>
          <cx:pt idx="31355">1</cx:pt>
          <cx:pt idx="31356">1</cx:pt>
          <cx:pt idx="31357">0</cx:pt>
          <cx:pt idx="31358">0</cx:pt>
          <cx:pt idx="31359">0</cx:pt>
          <cx:pt idx="31360">1</cx:pt>
          <cx:pt idx="31361">0</cx:pt>
          <cx:pt idx="31362">1</cx:pt>
          <cx:pt idx="31363">1</cx:pt>
          <cx:pt idx="31364">0</cx:pt>
          <cx:pt idx="31365">1</cx:pt>
          <cx:pt idx="31366">0</cx:pt>
          <cx:pt idx="31367">0</cx:pt>
          <cx:pt idx="31368">1</cx:pt>
          <cx:pt idx="31369">1</cx:pt>
          <cx:pt idx="31370">0</cx:pt>
          <cx:pt idx="31371">0</cx:pt>
          <cx:pt idx="31372">1</cx:pt>
          <cx:pt idx="31373">0</cx:pt>
          <cx:pt idx="31374">1</cx:pt>
          <cx:pt idx="31375">0</cx:pt>
          <cx:pt idx="31376">0</cx:pt>
          <cx:pt idx="31377">0</cx:pt>
          <cx:pt idx="31378">0</cx:pt>
          <cx:pt idx="31379">0</cx:pt>
          <cx:pt idx="31380">1</cx:pt>
          <cx:pt idx="31381">1</cx:pt>
          <cx:pt idx="31382">0</cx:pt>
          <cx:pt idx="31383">1</cx:pt>
          <cx:pt idx="31384">1</cx:pt>
          <cx:pt idx="31385">0</cx:pt>
          <cx:pt idx="31386">1</cx:pt>
          <cx:pt idx="31387">1</cx:pt>
          <cx:pt idx="31388">1</cx:pt>
          <cx:pt idx="31389">1</cx:pt>
          <cx:pt idx="31390">1</cx:pt>
          <cx:pt idx="31391">0</cx:pt>
          <cx:pt idx="31392">1</cx:pt>
          <cx:pt idx="31393">1</cx:pt>
          <cx:pt idx="31394">1</cx:pt>
          <cx:pt idx="31395">0</cx:pt>
          <cx:pt idx="31396">1</cx:pt>
          <cx:pt idx="31397">0</cx:pt>
          <cx:pt idx="31398">1</cx:pt>
          <cx:pt idx="31399">1</cx:pt>
          <cx:pt idx="31400">0</cx:pt>
          <cx:pt idx="31401">1</cx:pt>
          <cx:pt idx="31402">0</cx:pt>
          <cx:pt idx="31403">1</cx:pt>
          <cx:pt idx="31404">0</cx:pt>
          <cx:pt idx="31405">0</cx:pt>
          <cx:pt idx="31406">0</cx:pt>
          <cx:pt idx="31407">1</cx:pt>
          <cx:pt idx="31408">0</cx:pt>
          <cx:pt idx="31409">1</cx:pt>
          <cx:pt idx="31410">1</cx:pt>
          <cx:pt idx="31411">0</cx:pt>
          <cx:pt idx="31412">0</cx:pt>
          <cx:pt idx="31413">0</cx:pt>
          <cx:pt idx="31414">1</cx:pt>
          <cx:pt idx="31415">1</cx:pt>
          <cx:pt idx="31416">0</cx:pt>
          <cx:pt idx="31417">0</cx:pt>
          <cx:pt idx="31418">0</cx:pt>
          <cx:pt idx="31419">1</cx:pt>
          <cx:pt idx="31420">0</cx:pt>
          <cx:pt idx="31421">0</cx:pt>
          <cx:pt idx="31422">1</cx:pt>
          <cx:pt idx="31423">1</cx:pt>
          <cx:pt idx="31424">0</cx:pt>
          <cx:pt idx="31425">0</cx:pt>
          <cx:pt idx="31426">0</cx:pt>
          <cx:pt idx="31427">1</cx:pt>
          <cx:pt idx="31428">0</cx:pt>
          <cx:pt idx="31429">0</cx:pt>
          <cx:pt idx="31430">1</cx:pt>
          <cx:pt idx="31431">0</cx:pt>
          <cx:pt idx="31432">1</cx:pt>
          <cx:pt idx="31433">0</cx:pt>
          <cx:pt idx="31434">1</cx:pt>
          <cx:pt idx="31435">0</cx:pt>
          <cx:pt idx="31436">0</cx:pt>
          <cx:pt idx="31437">0</cx:pt>
          <cx:pt idx="31438">0</cx:pt>
          <cx:pt idx="31439">1</cx:pt>
          <cx:pt idx="31440">0</cx:pt>
          <cx:pt idx="31441">1</cx:pt>
          <cx:pt idx="31442">1</cx:pt>
          <cx:pt idx="31443">0</cx:pt>
          <cx:pt idx="31444">1</cx:pt>
          <cx:pt idx="31445">1</cx:pt>
          <cx:pt idx="31446">1</cx:pt>
          <cx:pt idx="31447">0</cx:pt>
          <cx:pt idx="31448">0</cx:pt>
          <cx:pt idx="31449">0</cx:pt>
          <cx:pt idx="31450">1</cx:pt>
          <cx:pt idx="31451">1</cx:pt>
          <cx:pt idx="31452">1</cx:pt>
          <cx:pt idx="31453">0</cx:pt>
          <cx:pt idx="31454">0</cx:pt>
          <cx:pt idx="31455">1</cx:pt>
          <cx:pt idx="31456">0</cx:pt>
          <cx:pt idx="31457">1</cx:pt>
          <cx:pt idx="31458">0</cx:pt>
          <cx:pt idx="31459">0</cx:pt>
          <cx:pt idx="31460">0</cx:pt>
          <cx:pt idx="31461">0</cx:pt>
          <cx:pt idx="31462">1</cx:pt>
          <cx:pt idx="31463">1</cx:pt>
          <cx:pt idx="31464">1</cx:pt>
          <cx:pt idx="31465">1</cx:pt>
          <cx:pt idx="31466">1</cx:pt>
          <cx:pt idx="31467">0</cx:pt>
          <cx:pt idx="31468">0</cx:pt>
          <cx:pt idx="31469">1</cx:pt>
          <cx:pt idx="31470">1</cx:pt>
          <cx:pt idx="31471">1</cx:pt>
          <cx:pt idx="31472">0</cx:pt>
          <cx:pt idx="31473">0</cx:pt>
          <cx:pt idx="31474">1</cx:pt>
          <cx:pt idx="31475">1</cx:pt>
          <cx:pt idx="31476">1</cx:pt>
          <cx:pt idx="31477">0</cx:pt>
          <cx:pt idx="31478">0</cx:pt>
          <cx:pt idx="31479">0</cx:pt>
          <cx:pt idx="31480">0</cx:pt>
          <cx:pt idx="31481">1</cx:pt>
          <cx:pt idx="31482">1</cx:pt>
          <cx:pt idx="31483">0</cx:pt>
          <cx:pt idx="31484">1</cx:pt>
          <cx:pt idx="31485">0</cx:pt>
          <cx:pt idx="31486">1</cx:pt>
          <cx:pt idx="31487">0</cx:pt>
          <cx:pt idx="31488">0</cx:pt>
          <cx:pt idx="31489">0</cx:pt>
          <cx:pt idx="31490">0</cx:pt>
          <cx:pt idx="31491">0</cx:pt>
          <cx:pt idx="31492">0</cx:pt>
          <cx:pt idx="31493">1</cx:pt>
          <cx:pt idx="31494">1</cx:pt>
          <cx:pt idx="31495">0</cx:pt>
          <cx:pt idx="31496">0</cx:pt>
          <cx:pt idx="31497">1</cx:pt>
          <cx:pt idx="31498">0</cx:pt>
          <cx:pt idx="31499">0</cx:pt>
          <cx:pt idx="31500">0</cx:pt>
          <cx:pt idx="31501">1</cx:pt>
          <cx:pt idx="31502">1</cx:pt>
          <cx:pt idx="31503">0</cx:pt>
          <cx:pt idx="31504">0</cx:pt>
          <cx:pt idx="31505">0</cx:pt>
          <cx:pt idx="31506">0</cx:pt>
          <cx:pt idx="31507">1</cx:pt>
          <cx:pt idx="31508">1</cx:pt>
          <cx:pt idx="31509">0</cx:pt>
          <cx:pt idx="31510">1</cx:pt>
          <cx:pt idx="31511">0</cx:pt>
          <cx:pt idx="31512">0</cx:pt>
          <cx:pt idx="31513">1</cx:pt>
          <cx:pt idx="31514">0</cx:pt>
          <cx:pt idx="31515">1</cx:pt>
          <cx:pt idx="31516">0</cx:pt>
          <cx:pt idx="31517">0</cx:pt>
          <cx:pt idx="31518">1</cx:pt>
          <cx:pt idx="31519">1</cx:pt>
          <cx:pt idx="31520">0</cx:pt>
          <cx:pt idx="31521">1</cx:pt>
          <cx:pt idx="31522">0</cx:pt>
          <cx:pt idx="31523">1</cx:pt>
          <cx:pt idx="31524">0</cx:pt>
          <cx:pt idx="31525">1</cx:pt>
          <cx:pt idx="31526">0</cx:pt>
          <cx:pt idx="31527">1</cx:pt>
          <cx:pt idx="31528">0</cx:pt>
          <cx:pt idx="31529">1</cx:pt>
          <cx:pt idx="31530">0</cx:pt>
          <cx:pt idx="31531">0</cx:pt>
          <cx:pt idx="31532">0</cx:pt>
          <cx:pt idx="31533">0</cx:pt>
          <cx:pt idx="31534">0</cx:pt>
          <cx:pt idx="31535">0</cx:pt>
          <cx:pt idx="31536">1</cx:pt>
          <cx:pt idx="31537">1</cx:pt>
          <cx:pt idx="31538">0</cx:pt>
          <cx:pt idx="31539">0</cx:pt>
          <cx:pt idx="31540">1</cx:pt>
          <cx:pt idx="31541">1</cx:pt>
          <cx:pt idx="31542">0</cx:pt>
          <cx:pt idx="31543">0</cx:pt>
          <cx:pt idx="31544">0</cx:pt>
          <cx:pt idx="31545">1</cx:pt>
          <cx:pt idx="31546">0</cx:pt>
          <cx:pt idx="31547">0</cx:pt>
          <cx:pt idx="31548">0</cx:pt>
          <cx:pt idx="31549">1</cx:pt>
          <cx:pt idx="31550">1</cx:pt>
          <cx:pt idx="31551">0</cx:pt>
          <cx:pt idx="31552">1</cx:pt>
          <cx:pt idx="31553">0</cx:pt>
          <cx:pt idx="31554">0</cx:pt>
          <cx:pt idx="31555">1</cx:pt>
          <cx:pt idx="31556">0</cx:pt>
          <cx:pt idx="31557">0</cx:pt>
          <cx:pt idx="31558">0</cx:pt>
          <cx:pt idx="31559">0</cx:pt>
          <cx:pt idx="31560">0</cx:pt>
          <cx:pt idx="31561">1</cx:pt>
          <cx:pt idx="31562">1</cx:pt>
          <cx:pt idx="31563">0</cx:pt>
          <cx:pt idx="31564">1</cx:pt>
          <cx:pt idx="31565">0</cx:pt>
          <cx:pt idx="31566">0</cx:pt>
          <cx:pt idx="31567">1</cx:pt>
          <cx:pt idx="31568">0</cx:pt>
          <cx:pt idx="31569">0</cx:pt>
          <cx:pt idx="31570">1</cx:pt>
          <cx:pt idx="31571">0</cx:pt>
          <cx:pt idx="31572">1</cx:pt>
          <cx:pt idx="31573">0</cx:pt>
          <cx:pt idx="31574">0</cx:pt>
          <cx:pt idx="31575">1</cx:pt>
          <cx:pt idx="31576">0</cx:pt>
          <cx:pt idx="31577">1</cx:pt>
          <cx:pt idx="31578">0</cx:pt>
          <cx:pt idx="31579">1</cx:pt>
          <cx:pt idx="31580">0</cx:pt>
          <cx:pt idx="31581">0</cx:pt>
          <cx:pt idx="31582">1</cx:pt>
          <cx:pt idx="31583">1</cx:pt>
          <cx:pt idx="31584">0</cx:pt>
          <cx:pt idx="31585">0</cx:pt>
          <cx:pt idx="31586">0</cx:pt>
          <cx:pt idx="31587">1</cx:pt>
          <cx:pt idx="31588">0</cx:pt>
          <cx:pt idx="31589">1</cx:pt>
          <cx:pt idx="31590">1</cx:pt>
          <cx:pt idx="31591">1</cx:pt>
          <cx:pt idx="31592">0</cx:pt>
          <cx:pt idx="31593">1</cx:pt>
          <cx:pt idx="31594">1</cx:pt>
          <cx:pt idx="31595">1</cx:pt>
          <cx:pt idx="31596">1</cx:pt>
          <cx:pt idx="31597">1</cx:pt>
          <cx:pt idx="31598">1</cx:pt>
          <cx:pt idx="31599">0</cx:pt>
          <cx:pt idx="31600">1</cx:pt>
          <cx:pt idx="31601">1</cx:pt>
          <cx:pt idx="31602">1</cx:pt>
          <cx:pt idx="31603">0</cx:pt>
          <cx:pt idx="31604">0</cx:pt>
          <cx:pt idx="31605">0</cx:pt>
          <cx:pt idx="31606">0</cx:pt>
          <cx:pt idx="31607">0</cx:pt>
          <cx:pt idx="31608">0</cx:pt>
          <cx:pt idx="31609">0</cx:pt>
          <cx:pt idx="31610">0</cx:pt>
          <cx:pt idx="31611">1</cx:pt>
          <cx:pt idx="31612">1</cx:pt>
          <cx:pt idx="31613">0</cx:pt>
          <cx:pt idx="31614">1</cx:pt>
          <cx:pt idx="31615">0</cx:pt>
          <cx:pt idx="31616">0</cx:pt>
          <cx:pt idx="31617">1</cx:pt>
          <cx:pt idx="31618">0</cx:pt>
          <cx:pt idx="31619">0</cx:pt>
          <cx:pt idx="31620">1</cx:pt>
          <cx:pt idx="31621">1</cx:pt>
          <cx:pt idx="31622">1</cx:pt>
          <cx:pt idx="31623">1</cx:pt>
          <cx:pt idx="31624">0</cx:pt>
          <cx:pt idx="31625">1</cx:pt>
          <cx:pt idx="31626">0</cx:pt>
          <cx:pt idx="31627">1</cx:pt>
          <cx:pt idx="31628">0</cx:pt>
          <cx:pt idx="31629">0</cx:pt>
          <cx:pt idx="31630">1</cx:pt>
          <cx:pt idx="31631">1</cx:pt>
          <cx:pt idx="31632">0</cx:pt>
          <cx:pt idx="31633">0</cx:pt>
          <cx:pt idx="31634">0</cx:pt>
          <cx:pt idx="31635">0</cx:pt>
          <cx:pt idx="31636">0</cx:pt>
          <cx:pt idx="31637">1</cx:pt>
          <cx:pt idx="31638">0</cx:pt>
          <cx:pt idx="31639">1</cx:pt>
          <cx:pt idx="31640">0</cx:pt>
          <cx:pt idx="31641">0</cx:pt>
          <cx:pt idx="31642">0</cx:pt>
          <cx:pt idx="31643">0</cx:pt>
          <cx:pt idx="31644">1</cx:pt>
          <cx:pt idx="31645">0</cx:pt>
          <cx:pt idx="31646">0</cx:pt>
          <cx:pt idx="31647">1</cx:pt>
          <cx:pt idx="31648">1</cx:pt>
          <cx:pt idx="31649">0</cx:pt>
          <cx:pt idx="31650">1</cx:pt>
          <cx:pt idx="31651">0</cx:pt>
          <cx:pt idx="31652">0</cx:pt>
          <cx:pt idx="31653">1</cx:pt>
          <cx:pt idx="31654">0</cx:pt>
          <cx:pt idx="31655">1</cx:pt>
          <cx:pt idx="31656">0</cx:pt>
          <cx:pt idx="31657">0</cx:pt>
          <cx:pt idx="31658">0</cx:pt>
          <cx:pt idx="31659">1</cx:pt>
          <cx:pt idx="31660">0</cx:pt>
          <cx:pt idx="31661">1</cx:pt>
          <cx:pt idx="31662">1</cx:pt>
          <cx:pt idx="31663">0</cx:pt>
          <cx:pt idx="31664">0</cx:pt>
          <cx:pt idx="31665">1</cx:pt>
          <cx:pt idx="31666">1</cx:pt>
          <cx:pt idx="31667">1</cx:pt>
          <cx:pt idx="31668">1</cx:pt>
          <cx:pt idx="31669">1</cx:pt>
          <cx:pt idx="31670">0</cx:pt>
          <cx:pt idx="31671">0</cx:pt>
          <cx:pt idx="31672">1</cx:pt>
          <cx:pt idx="31673">0</cx:pt>
          <cx:pt idx="31674">0</cx:pt>
          <cx:pt idx="31675">0</cx:pt>
          <cx:pt idx="31676">0</cx:pt>
          <cx:pt idx="31677">0</cx:pt>
          <cx:pt idx="31678">0</cx:pt>
          <cx:pt idx="31679">1</cx:pt>
          <cx:pt idx="31680">0</cx:pt>
          <cx:pt idx="31681">1</cx:pt>
          <cx:pt idx="31682">0</cx:pt>
          <cx:pt idx="31683">1</cx:pt>
          <cx:pt idx="31684">0</cx:pt>
          <cx:pt idx="31685">0</cx:pt>
          <cx:pt idx="31686">0</cx:pt>
          <cx:pt idx="31687">1</cx:pt>
          <cx:pt idx="31688">1</cx:pt>
          <cx:pt idx="31689">0</cx:pt>
          <cx:pt idx="31690">1</cx:pt>
          <cx:pt idx="31691">0</cx:pt>
          <cx:pt idx="31692">1</cx:pt>
          <cx:pt idx="31693">0</cx:pt>
          <cx:pt idx="31694">0</cx:pt>
          <cx:pt idx="31695">0</cx:pt>
          <cx:pt idx="31696">0</cx:pt>
          <cx:pt idx="31697">1</cx:pt>
          <cx:pt idx="31698">0</cx:pt>
          <cx:pt idx="31699">1</cx:pt>
          <cx:pt idx="31700">1</cx:pt>
          <cx:pt idx="31701">0</cx:pt>
          <cx:pt idx="31702">0</cx:pt>
          <cx:pt idx="31703">0</cx:pt>
          <cx:pt idx="31704">0</cx:pt>
          <cx:pt idx="31705">1</cx:pt>
          <cx:pt idx="31706">0</cx:pt>
          <cx:pt idx="31707">0</cx:pt>
          <cx:pt idx="31708">1</cx:pt>
          <cx:pt idx="31709">0</cx:pt>
          <cx:pt idx="31710">0</cx:pt>
          <cx:pt idx="31711">1</cx:pt>
          <cx:pt idx="31712">0</cx:pt>
          <cx:pt idx="31713">1</cx:pt>
          <cx:pt idx="31714">0</cx:pt>
          <cx:pt idx="31715">0</cx:pt>
          <cx:pt idx="31716">1</cx:pt>
          <cx:pt idx="31717">0</cx:pt>
          <cx:pt idx="31718">1</cx:pt>
          <cx:pt idx="31719">0</cx:pt>
          <cx:pt idx="31720">0</cx:pt>
          <cx:pt idx="31721">0</cx:pt>
          <cx:pt idx="31722">1</cx:pt>
          <cx:pt idx="31723">0</cx:pt>
          <cx:pt idx="31724">0</cx:pt>
          <cx:pt idx="31725">0</cx:pt>
          <cx:pt idx="31726">0</cx:pt>
          <cx:pt idx="31727">0</cx:pt>
          <cx:pt idx="31728">0</cx:pt>
          <cx:pt idx="31729">0</cx:pt>
          <cx:pt idx="31730">0</cx:pt>
          <cx:pt idx="31731">1</cx:pt>
          <cx:pt idx="31732">0</cx:pt>
          <cx:pt idx="31733">0</cx:pt>
          <cx:pt idx="31734">0</cx:pt>
          <cx:pt idx="31735">0</cx:pt>
          <cx:pt idx="31736">1</cx:pt>
          <cx:pt idx="31737">0</cx:pt>
          <cx:pt idx="31738">0</cx:pt>
          <cx:pt idx="31739">1</cx:pt>
          <cx:pt idx="31740">0</cx:pt>
          <cx:pt idx="31741">0</cx:pt>
          <cx:pt idx="31742">1</cx:pt>
          <cx:pt idx="31743">0</cx:pt>
          <cx:pt idx="31744">0</cx:pt>
          <cx:pt idx="31745">1</cx:pt>
          <cx:pt idx="31746">0</cx:pt>
          <cx:pt idx="31747">0</cx:pt>
          <cx:pt idx="31748">0</cx:pt>
          <cx:pt idx="31749">0</cx:pt>
          <cx:pt idx="31750">0</cx:pt>
          <cx:pt idx="31751">1</cx:pt>
          <cx:pt idx="31752">1</cx:pt>
          <cx:pt idx="31753">0</cx:pt>
          <cx:pt idx="31754">0</cx:pt>
          <cx:pt idx="31755">0</cx:pt>
          <cx:pt idx="31756">1</cx:pt>
          <cx:pt idx="31757">1</cx:pt>
          <cx:pt idx="31758">1</cx:pt>
          <cx:pt idx="31759">0</cx:pt>
          <cx:pt idx="31760">0</cx:pt>
          <cx:pt idx="31761">1</cx:pt>
          <cx:pt idx="31762">0</cx:pt>
          <cx:pt idx="31763">1</cx:pt>
          <cx:pt idx="31764">1</cx:pt>
          <cx:pt idx="31765">1</cx:pt>
          <cx:pt idx="31766">0</cx:pt>
          <cx:pt idx="31767">1</cx:pt>
          <cx:pt idx="31768">1</cx:pt>
          <cx:pt idx="31769">0</cx:pt>
          <cx:pt idx="31770">0</cx:pt>
          <cx:pt idx="31771">1</cx:pt>
          <cx:pt idx="31772">1</cx:pt>
          <cx:pt idx="31773">0</cx:pt>
          <cx:pt idx="31774">0</cx:pt>
          <cx:pt idx="31775">1</cx:pt>
          <cx:pt idx="31776">0</cx:pt>
          <cx:pt idx="31777">1</cx:pt>
          <cx:pt idx="31778">0</cx:pt>
          <cx:pt idx="31779">1</cx:pt>
          <cx:pt idx="31780">1</cx:pt>
          <cx:pt idx="31781">1</cx:pt>
          <cx:pt idx="31782">0</cx:pt>
          <cx:pt idx="31783">0</cx:pt>
          <cx:pt idx="31784">1</cx:pt>
          <cx:pt idx="31785">1</cx:pt>
          <cx:pt idx="31786">0</cx:pt>
          <cx:pt idx="31787">0</cx:pt>
          <cx:pt idx="31788">0</cx:pt>
          <cx:pt idx="31789">0</cx:pt>
          <cx:pt idx="31790">0</cx:pt>
          <cx:pt idx="31791">1</cx:pt>
          <cx:pt idx="31792">1</cx:pt>
          <cx:pt idx="31793">1</cx:pt>
          <cx:pt idx="31794">1</cx:pt>
          <cx:pt idx="31795">0</cx:pt>
          <cx:pt idx="31796">0</cx:pt>
          <cx:pt idx="31797">1</cx:pt>
          <cx:pt idx="31798">1</cx:pt>
          <cx:pt idx="31799">0</cx:pt>
          <cx:pt idx="31800">0</cx:pt>
          <cx:pt idx="31801">0</cx:pt>
          <cx:pt idx="31802">0</cx:pt>
          <cx:pt idx="31803">1</cx:pt>
          <cx:pt idx="31804">1</cx:pt>
          <cx:pt idx="31805">1</cx:pt>
          <cx:pt idx="31806">0</cx:pt>
          <cx:pt idx="31807">0</cx:pt>
          <cx:pt idx="31808">1</cx:pt>
          <cx:pt idx="31809">1</cx:pt>
          <cx:pt idx="31810">0</cx:pt>
          <cx:pt idx="31811">1</cx:pt>
          <cx:pt idx="31812">1</cx:pt>
          <cx:pt idx="31813">1</cx:pt>
          <cx:pt idx="31814">0</cx:pt>
          <cx:pt idx="31815">1</cx:pt>
          <cx:pt idx="31816">0</cx:pt>
          <cx:pt idx="31817">0</cx:pt>
          <cx:pt idx="31818">1</cx:pt>
          <cx:pt idx="31819">1</cx:pt>
          <cx:pt idx="31820">0</cx:pt>
          <cx:pt idx="31821">1</cx:pt>
          <cx:pt idx="31822">1</cx:pt>
          <cx:pt idx="31823">1</cx:pt>
          <cx:pt idx="31824">0</cx:pt>
          <cx:pt idx="31825">0</cx:pt>
          <cx:pt idx="31826">0</cx:pt>
          <cx:pt idx="31827">1</cx:pt>
          <cx:pt idx="31828">0</cx:pt>
          <cx:pt idx="31829">1</cx:pt>
          <cx:pt idx="31830">1</cx:pt>
          <cx:pt idx="31831">0</cx:pt>
          <cx:pt idx="31832">0</cx:pt>
          <cx:pt idx="31833">1</cx:pt>
          <cx:pt idx="31834">1</cx:pt>
          <cx:pt idx="31835">0</cx:pt>
          <cx:pt idx="31836">0</cx:pt>
          <cx:pt idx="31837">0</cx:pt>
          <cx:pt idx="31838">0</cx:pt>
          <cx:pt idx="31839">1</cx:pt>
          <cx:pt idx="31840">1</cx:pt>
          <cx:pt idx="31841">0</cx:pt>
          <cx:pt idx="31842">0</cx:pt>
          <cx:pt idx="31843">1</cx:pt>
          <cx:pt idx="31844">0</cx:pt>
          <cx:pt idx="31845">0</cx:pt>
          <cx:pt idx="31846">0</cx:pt>
          <cx:pt idx="31847">1</cx:pt>
          <cx:pt idx="31848">1</cx:pt>
          <cx:pt idx="31849">0</cx:pt>
          <cx:pt idx="31850">0</cx:pt>
          <cx:pt idx="31851">1</cx:pt>
          <cx:pt idx="31852">0</cx:pt>
          <cx:pt idx="31853">1</cx:pt>
          <cx:pt idx="31854">1</cx:pt>
          <cx:pt idx="31855">1</cx:pt>
          <cx:pt idx="31856">1</cx:pt>
          <cx:pt idx="31857">1</cx:pt>
          <cx:pt idx="31858">1</cx:pt>
          <cx:pt idx="31859">0</cx:pt>
          <cx:pt idx="31860">1</cx:pt>
          <cx:pt idx="31861">1</cx:pt>
          <cx:pt idx="31862">1</cx:pt>
          <cx:pt idx="31863">0</cx:pt>
          <cx:pt idx="31864">0</cx:pt>
          <cx:pt idx="31865">0</cx:pt>
          <cx:pt idx="31866">0</cx:pt>
          <cx:pt idx="31867">0</cx:pt>
          <cx:pt idx="31868">0</cx:pt>
          <cx:pt idx="31869">0</cx:pt>
          <cx:pt idx="31870">0</cx:pt>
          <cx:pt idx="31871">0</cx:pt>
          <cx:pt idx="31872">1</cx:pt>
          <cx:pt idx="31873">0</cx:pt>
          <cx:pt idx="31874">1</cx:pt>
          <cx:pt idx="31875">1</cx:pt>
          <cx:pt idx="31876">0</cx:pt>
          <cx:pt idx="31877">0</cx:pt>
          <cx:pt idx="31878">0</cx:pt>
          <cx:pt idx="31879">0</cx:pt>
          <cx:pt idx="31880">0</cx:pt>
          <cx:pt idx="31881">1</cx:pt>
          <cx:pt idx="31882">1</cx:pt>
          <cx:pt idx="31883">1</cx:pt>
          <cx:pt idx="31884">0</cx:pt>
          <cx:pt idx="31885">1</cx:pt>
          <cx:pt idx="31886">0</cx:pt>
          <cx:pt idx="31887">1</cx:pt>
          <cx:pt idx="31888">0</cx:pt>
          <cx:pt idx="31889">1</cx:pt>
          <cx:pt idx="31890">0</cx:pt>
          <cx:pt idx="31891">1</cx:pt>
          <cx:pt idx="31892">0</cx:pt>
          <cx:pt idx="31893">0</cx:pt>
          <cx:pt idx="31894">1</cx:pt>
          <cx:pt idx="31895">0</cx:pt>
          <cx:pt idx="31896">1</cx:pt>
          <cx:pt idx="31897">1</cx:pt>
          <cx:pt idx="31898">1</cx:pt>
          <cx:pt idx="31899">0</cx:pt>
          <cx:pt idx="31900">0</cx:pt>
          <cx:pt idx="31901">0</cx:pt>
          <cx:pt idx="31902">0</cx:pt>
          <cx:pt idx="31903">0</cx:pt>
          <cx:pt idx="31904">1</cx:pt>
          <cx:pt idx="31905">1</cx:pt>
          <cx:pt idx="31906">0</cx:pt>
          <cx:pt idx="31907">1</cx:pt>
          <cx:pt idx="31908">0</cx:pt>
          <cx:pt idx="31909">1</cx:pt>
          <cx:pt idx="31910">1</cx:pt>
          <cx:pt idx="31911">0</cx:pt>
          <cx:pt idx="31912">0</cx:pt>
          <cx:pt idx="31913">0</cx:pt>
          <cx:pt idx="31914">1</cx:pt>
          <cx:pt idx="31915">0</cx:pt>
          <cx:pt idx="31916">0</cx:pt>
          <cx:pt idx="31917">0</cx:pt>
          <cx:pt idx="31918">0</cx:pt>
          <cx:pt idx="31919">0</cx:pt>
          <cx:pt idx="31920">1</cx:pt>
          <cx:pt idx="31921">1</cx:pt>
          <cx:pt idx="31922">1</cx:pt>
          <cx:pt idx="31923">0</cx:pt>
          <cx:pt idx="31924">0</cx:pt>
          <cx:pt idx="31925">0</cx:pt>
          <cx:pt idx="31926">1</cx:pt>
          <cx:pt idx="31927">0</cx:pt>
          <cx:pt idx="31928">0</cx:pt>
          <cx:pt idx="31929">1</cx:pt>
          <cx:pt idx="31930">1</cx:pt>
          <cx:pt idx="31931">0</cx:pt>
          <cx:pt idx="31932">1</cx:pt>
          <cx:pt idx="31933">0</cx:pt>
          <cx:pt idx="31934">0</cx:pt>
          <cx:pt idx="31935">0</cx:pt>
          <cx:pt idx="31936">1</cx:pt>
          <cx:pt idx="31937">1</cx:pt>
          <cx:pt idx="31938">0</cx:pt>
          <cx:pt idx="31939">1</cx:pt>
          <cx:pt idx="31940">1</cx:pt>
          <cx:pt idx="31941">0</cx:pt>
          <cx:pt idx="31942">0</cx:pt>
          <cx:pt idx="31943">1</cx:pt>
          <cx:pt idx="31944">0</cx:pt>
          <cx:pt idx="31945">0</cx:pt>
          <cx:pt idx="31946">1</cx:pt>
          <cx:pt idx="31947">0</cx:pt>
          <cx:pt idx="31948">0</cx:pt>
          <cx:pt idx="31949">0</cx:pt>
          <cx:pt idx="31950">0</cx:pt>
          <cx:pt idx="31951">0</cx:pt>
          <cx:pt idx="31952">0</cx:pt>
          <cx:pt idx="31953">1</cx:pt>
          <cx:pt idx="31954">0</cx:pt>
          <cx:pt idx="31955">1</cx:pt>
          <cx:pt idx="31956">1</cx:pt>
          <cx:pt idx="31957">1</cx:pt>
          <cx:pt idx="31958">0</cx:pt>
          <cx:pt idx="31959">1</cx:pt>
          <cx:pt idx="31960">0</cx:pt>
          <cx:pt idx="31961">1</cx:pt>
          <cx:pt idx="31962">0</cx:pt>
          <cx:pt idx="31963">1</cx:pt>
          <cx:pt idx="31964">1</cx:pt>
          <cx:pt idx="31965">0</cx:pt>
          <cx:pt idx="31966">1</cx:pt>
          <cx:pt idx="31967">0</cx:pt>
          <cx:pt idx="31968">0</cx:pt>
          <cx:pt idx="31969">1</cx:pt>
          <cx:pt idx="31970">0</cx:pt>
          <cx:pt idx="31971">0</cx:pt>
          <cx:pt idx="31972">0</cx:pt>
          <cx:pt idx="31973">0</cx:pt>
          <cx:pt idx="31974">1</cx:pt>
          <cx:pt idx="31975">0</cx:pt>
          <cx:pt idx="31976">1</cx:pt>
          <cx:pt idx="31977">0</cx:pt>
          <cx:pt idx="31978">0</cx:pt>
          <cx:pt idx="31979">0</cx:pt>
          <cx:pt idx="31980">0</cx:pt>
          <cx:pt idx="31981">0</cx:pt>
          <cx:pt idx="31982">0</cx:pt>
          <cx:pt idx="31983">1</cx:pt>
          <cx:pt idx="31984">1</cx:pt>
          <cx:pt idx="31985">0</cx:pt>
          <cx:pt idx="31986">0</cx:pt>
          <cx:pt idx="31987">0</cx:pt>
          <cx:pt idx="31988">1</cx:pt>
          <cx:pt idx="31989">1</cx:pt>
          <cx:pt idx="31990">1</cx:pt>
          <cx:pt idx="31991">1</cx:pt>
          <cx:pt idx="31992">0</cx:pt>
          <cx:pt idx="31993">0</cx:pt>
          <cx:pt idx="31994">0</cx:pt>
          <cx:pt idx="31995">0</cx:pt>
          <cx:pt idx="31996">0</cx:pt>
          <cx:pt idx="31997">0</cx:pt>
          <cx:pt idx="31998">0</cx:pt>
          <cx:pt idx="31999">1</cx:pt>
          <cx:pt idx="32000">1</cx:pt>
          <cx:pt idx="32001">0</cx:pt>
          <cx:pt idx="32002">0</cx:pt>
          <cx:pt idx="32003">0</cx:pt>
          <cx:pt idx="32004">1</cx:pt>
          <cx:pt idx="32005">1</cx:pt>
          <cx:pt idx="32006">0</cx:pt>
          <cx:pt idx="32007">0</cx:pt>
          <cx:pt idx="32008">0</cx:pt>
          <cx:pt idx="32009">1</cx:pt>
          <cx:pt idx="32010">0</cx:pt>
          <cx:pt idx="32011">0</cx:pt>
          <cx:pt idx="32012">0</cx:pt>
          <cx:pt idx="32013">1</cx:pt>
          <cx:pt idx="32014">1</cx:pt>
          <cx:pt idx="32015">1</cx:pt>
          <cx:pt idx="32016">0</cx:pt>
          <cx:pt idx="32017">0</cx:pt>
          <cx:pt idx="32018">1</cx:pt>
          <cx:pt idx="32019">0</cx:pt>
          <cx:pt idx="32020">1</cx:pt>
          <cx:pt idx="32021">1</cx:pt>
          <cx:pt idx="32022">0</cx:pt>
          <cx:pt idx="32023">0</cx:pt>
          <cx:pt idx="32024">1</cx:pt>
          <cx:pt idx="32025">0</cx:pt>
          <cx:pt idx="32026">1</cx:pt>
          <cx:pt idx="32027">1</cx:pt>
          <cx:pt idx="32028">1</cx:pt>
          <cx:pt idx="32029">1</cx:pt>
          <cx:pt idx="32030">0</cx:pt>
          <cx:pt idx="32031">1</cx:pt>
          <cx:pt idx="32032">0</cx:pt>
          <cx:pt idx="32033">0</cx:pt>
          <cx:pt idx="32034">1</cx:pt>
          <cx:pt idx="32035">0</cx:pt>
          <cx:pt idx="32036">0</cx:pt>
          <cx:pt idx="32037">1</cx:pt>
          <cx:pt idx="32038">0</cx:pt>
          <cx:pt idx="32039">1</cx:pt>
          <cx:pt idx="32040">0</cx:pt>
          <cx:pt idx="32041">1</cx:pt>
          <cx:pt idx="32042">1</cx:pt>
          <cx:pt idx="32043">0</cx:pt>
          <cx:pt idx="32044">0</cx:pt>
          <cx:pt idx="32045">1</cx:pt>
          <cx:pt idx="32046">1</cx:pt>
          <cx:pt idx="32047">1</cx:pt>
          <cx:pt idx="32048">1</cx:pt>
          <cx:pt idx="32049">0</cx:pt>
          <cx:pt idx="32050">0</cx:pt>
          <cx:pt idx="32051">0</cx:pt>
          <cx:pt idx="32052">0</cx:pt>
          <cx:pt idx="32053">0</cx:pt>
          <cx:pt idx="32054">1</cx:pt>
          <cx:pt idx="32055">1</cx:pt>
          <cx:pt idx="32056">1</cx:pt>
          <cx:pt idx="32057">0</cx:pt>
          <cx:pt idx="32058">1</cx:pt>
          <cx:pt idx="32059">0</cx:pt>
          <cx:pt idx="32060">0</cx:pt>
          <cx:pt idx="32061">0</cx:pt>
          <cx:pt idx="32062">0</cx:pt>
          <cx:pt idx="32063">0</cx:pt>
          <cx:pt idx="32064">0</cx:pt>
          <cx:pt idx="32065">0</cx:pt>
          <cx:pt idx="32066">0</cx:pt>
          <cx:pt idx="32067">0</cx:pt>
          <cx:pt idx="32068">0</cx:pt>
          <cx:pt idx="32069">1</cx:pt>
          <cx:pt idx="32070">1</cx:pt>
          <cx:pt idx="32071">0</cx:pt>
          <cx:pt idx="32072">1</cx:pt>
          <cx:pt idx="32073">0</cx:pt>
          <cx:pt idx="32074">0</cx:pt>
          <cx:pt idx="32075">0</cx:pt>
          <cx:pt idx="32076">1</cx:pt>
          <cx:pt idx="32077">1</cx:pt>
          <cx:pt idx="32078">1</cx:pt>
          <cx:pt idx="32079">1</cx:pt>
          <cx:pt idx="32080">1</cx:pt>
          <cx:pt idx="32081">1</cx:pt>
          <cx:pt idx="32082">1</cx:pt>
          <cx:pt idx="32083">0</cx:pt>
          <cx:pt idx="32084">0</cx:pt>
          <cx:pt idx="32085">0</cx:pt>
          <cx:pt idx="32086">0</cx:pt>
          <cx:pt idx="32087">0</cx:pt>
          <cx:pt idx="32088">1</cx:pt>
          <cx:pt idx="32089">1</cx:pt>
          <cx:pt idx="32090">0</cx:pt>
          <cx:pt idx="32091">0</cx:pt>
          <cx:pt idx="32092">1</cx:pt>
          <cx:pt idx="32093">1</cx:pt>
          <cx:pt idx="32094">0</cx:pt>
          <cx:pt idx="32095">0</cx:pt>
          <cx:pt idx="32096">0</cx:pt>
          <cx:pt idx="32097">1</cx:pt>
          <cx:pt idx="32098">1</cx:pt>
          <cx:pt idx="32099">0</cx:pt>
          <cx:pt idx="32100">1</cx:pt>
          <cx:pt idx="32101">0</cx:pt>
          <cx:pt idx="32102">0</cx:pt>
          <cx:pt idx="32103">0</cx:pt>
          <cx:pt idx="32104">1</cx:pt>
          <cx:pt idx="32105">1</cx:pt>
          <cx:pt idx="32106">1</cx:pt>
          <cx:pt idx="32107">0</cx:pt>
          <cx:pt idx="32108">0</cx:pt>
          <cx:pt idx="32109">1</cx:pt>
          <cx:pt idx="32110">0</cx:pt>
          <cx:pt idx="32111">0</cx:pt>
          <cx:pt idx="32112">1</cx:pt>
          <cx:pt idx="32113">0</cx:pt>
          <cx:pt idx="32114">1</cx:pt>
          <cx:pt idx="32115">0</cx:pt>
          <cx:pt idx="32116">0</cx:pt>
          <cx:pt idx="32117">0</cx:pt>
          <cx:pt idx="32118">0</cx:pt>
          <cx:pt idx="32119">1</cx:pt>
          <cx:pt idx="32120">1</cx:pt>
          <cx:pt idx="32121">0</cx:pt>
          <cx:pt idx="32122">0</cx:pt>
          <cx:pt idx="32123">1</cx:pt>
          <cx:pt idx="32124">1</cx:pt>
          <cx:pt idx="32125">0</cx:pt>
          <cx:pt idx="32126">1</cx:pt>
          <cx:pt idx="32127">0</cx:pt>
          <cx:pt idx="32128">1</cx:pt>
          <cx:pt idx="32129">1</cx:pt>
          <cx:pt idx="32130">0</cx:pt>
          <cx:pt idx="32131">0</cx:pt>
          <cx:pt idx="32132">0</cx:pt>
          <cx:pt idx="32133">1</cx:pt>
          <cx:pt idx="32134">1</cx:pt>
          <cx:pt idx="32135">0</cx:pt>
          <cx:pt idx="32136">1</cx:pt>
          <cx:pt idx="32137">0</cx:pt>
          <cx:pt idx="32138">1</cx:pt>
          <cx:pt idx="32139">0</cx:pt>
          <cx:pt idx="32140">0</cx:pt>
          <cx:pt idx="32141">0</cx:pt>
          <cx:pt idx="32142">1</cx:pt>
          <cx:pt idx="32143">0</cx:pt>
          <cx:pt idx="32144">1</cx:pt>
          <cx:pt idx="32145">0</cx:pt>
          <cx:pt idx="32146">1</cx:pt>
          <cx:pt idx="32147">1</cx:pt>
          <cx:pt idx="32148">1</cx:pt>
          <cx:pt idx="32149">1</cx:pt>
          <cx:pt idx="32150">0</cx:pt>
          <cx:pt idx="32151">0</cx:pt>
          <cx:pt idx="32152">0</cx:pt>
          <cx:pt idx="32153">0</cx:pt>
          <cx:pt idx="32154">1</cx:pt>
          <cx:pt idx="32155">0</cx:pt>
          <cx:pt idx="32156">0</cx:pt>
          <cx:pt idx="32157">1</cx:pt>
          <cx:pt idx="32158">0</cx:pt>
          <cx:pt idx="32159">0</cx:pt>
          <cx:pt idx="32160">0</cx:pt>
          <cx:pt idx="32161">0</cx:pt>
          <cx:pt idx="32162">0</cx:pt>
          <cx:pt idx="32163">0</cx:pt>
          <cx:pt idx="32164">0</cx:pt>
          <cx:pt idx="32165">0</cx:pt>
          <cx:pt idx="32166">0</cx:pt>
          <cx:pt idx="32167">1</cx:pt>
          <cx:pt idx="32168">1</cx:pt>
          <cx:pt idx="32169">0</cx:pt>
          <cx:pt idx="32170">0</cx:pt>
          <cx:pt idx="32171">1</cx:pt>
          <cx:pt idx="32172">0</cx:pt>
          <cx:pt idx="32173">0</cx:pt>
          <cx:pt idx="32174">0</cx:pt>
          <cx:pt idx="32175">0</cx:pt>
          <cx:pt idx="32176">0</cx:pt>
          <cx:pt idx="32177">0</cx:pt>
          <cx:pt idx="32178">0</cx:pt>
          <cx:pt idx="32179">0</cx:pt>
          <cx:pt idx="32180">1</cx:pt>
          <cx:pt idx="32181">0</cx:pt>
          <cx:pt idx="32182">0</cx:pt>
          <cx:pt idx="32183">0</cx:pt>
          <cx:pt idx="32184">1</cx:pt>
          <cx:pt idx="32185">1</cx:pt>
          <cx:pt idx="32186">1</cx:pt>
          <cx:pt idx="32187">1</cx:pt>
          <cx:pt idx="32188">0</cx:pt>
          <cx:pt idx="32189">0</cx:pt>
          <cx:pt idx="32190">0</cx:pt>
          <cx:pt idx="32191">0</cx:pt>
          <cx:pt idx="32192">0</cx:pt>
          <cx:pt idx="32193">0</cx:pt>
          <cx:pt idx="32194">0</cx:pt>
          <cx:pt idx="32195">0</cx:pt>
          <cx:pt idx="32196">0</cx:pt>
          <cx:pt idx="32197">1</cx:pt>
          <cx:pt idx="32198">0</cx:pt>
          <cx:pt idx="32199">1</cx:pt>
          <cx:pt idx="32200">1</cx:pt>
          <cx:pt idx="32201">0</cx:pt>
          <cx:pt idx="32202">1</cx:pt>
          <cx:pt idx="32203">0</cx:pt>
          <cx:pt idx="32204">1</cx:pt>
          <cx:pt idx="32205">0</cx:pt>
          <cx:pt idx="32206">0</cx:pt>
          <cx:pt idx="32207">0</cx:pt>
          <cx:pt idx="32208">1</cx:pt>
          <cx:pt idx="32209">0</cx:pt>
          <cx:pt idx="32210">1</cx:pt>
          <cx:pt idx="32211">0</cx:pt>
          <cx:pt idx="32212">0</cx:pt>
          <cx:pt idx="32213">1</cx:pt>
          <cx:pt idx="32214">1</cx:pt>
          <cx:pt idx="32215">0</cx:pt>
          <cx:pt idx="32216">0</cx:pt>
          <cx:pt idx="32217">1</cx:pt>
          <cx:pt idx="32218">0</cx:pt>
          <cx:pt idx="32219">1</cx:pt>
          <cx:pt idx="32220">0</cx:pt>
          <cx:pt idx="32221">0</cx:pt>
          <cx:pt idx="32222">0</cx:pt>
          <cx:pt idx="32223">0</cx:pt>
          <cx:pt idx="32224">1</cx:pt>
          <cx:pt idx="32225">1</cx:pt>
          <cx:pt idx="32226">0</cx:pt>
          <cx:pt idx="32227">0</cx:pt>
          <cx:pt idx="32228">0</cx:pt>
          <cx:pt idx="32229">1</cx:pt>
          <cx:pt idx="32230">0</cx:pt>
          <cx:pt idx="32231">1</cx:pt>
          <cx:pt idx="32232">0</cx:pt>
          <cx:pt idx="32233">1</cx:pt>
          <cx:pt idx="32234">0</cx:pt>
          <cx:pt idx="32235">0</cx:pt>
          <cx:pt idx="32236">1</cx:pt>
          <cx:pt idx="32237">0</cx:pt>
          <cx:pt idx="32238">1</cx:pt>
          <cx:pt idx="32239">0</cx:pt>
          <cx:pt idx="32240">1</cx:pt>
          <cx:pt idx="32241">1</cx:pt>
          <cx:pt idx="32242">0</cx:pt>
          <cx:pt idx="32243">0</cx:pt>
          <cx:pt idx="32244">0</cx:pt>
          <cx:pt idx="32245">1</cx:pt>
          <cx:pt idx="32246">0</cx:pt>
          <cx:pt idx="32247">1</cx:pt>
          <cx:pt idx="32248">0</cx:pt>
          <cx:pt idx="32249">1</cx:pt>
          <cx:pt idx="32250">1</cx:pt>
          <cx:pt idx="32251">0</cx:pt>
          <cx:pt idx="32252">1</cx:pt>
          <cx:pt idx="32253">0</cx:pt>
          <cx:pt idx="32254">0</cx:pt>
          <cx:pt idx="32255">0</cx:pt>
          <cx:pt idx="32256">0</cx:pt>
          <cx:pt idx="32257">0</cx:pt>
          <cx:pt idx="32258">1</cx:pt>
          <cx:pt idx="32259">1</cx:pt>
          <cx:pt idx="32260">1</cx:pt>
          <cx:pt idx="32261">0</cx:pt>
          <cx:pt idx="32262">0</cx:pt>
          <cx:pt idx="32263">1</cx:pt>
          <cx:pt idx="32264">0</cx:pt>
          <cx:pt idx="32265">0</cx:pt>
          <cx:pt idx="32266">0</cx:pt>
          <cx:pt idx="32267">0</cx:pt>
          <cx:pt idx="32268">0</cx:pt>
          <cx:pt idx="32269">1</cx:pt>
          <cx:pt idx="32270">1</cx:pt>
          <cx:pt idx="32271">1</cx:pt>
          <cx:pt idx="32272">0</cx:pt>
          <cx:pt idx="32273">0</cx:pt>
          <cx:pt idx="32274">0</cx:pt>
          <cx:pt idx="32275">1</cx:pt>
          <cx:pt idx="32276">1</cx:pt>
          <cx:pt idx="32277">0</cx:pt>
          <cx:pt idx="32278">1</cx:pt>
          <cx:pt idx="32279">0</cx:pt>
          <cx:pt idx="32280">1</cx:pt>
          <cx:pt idx="32281">1</cx:pt>
          <cx:pt idx="32282">0</cx:pt>
          <cx:pt idx="32283">1</cx:pt>
          <cx:pt idx="32284">0</cx:pt>
          <cx:pt idx="32285">0</cx:pt>
          <cx:pt idx="32286">0</cx:pt>
          <cx:pt idx="32287">0</cx:pt>
          <cx:pt idx="32288">0</cx:pt>
          <cx:pt idx="32289">1</cx:pt>
          <cx:pt idx="32290">1</cx:pt>
          <cx:pt idx="32291">1</cx:pt>
          <cx:pt idx="32292">0</cx:pt>
          <cx:pt idx="32293">1</cx:pt>
          <cx:pt idx="32294">0</cx:pt>
          <cx:pt idx="32295">0</cx:pt>
          <cx:pt idx="32296">0</cx:pt>
          <cx:pt idx="32297">0</cx:pt>
          <cx:pt idx="32298">0</cx:pt>
          <cx:pt idx="32299">1</cx:pt>
          <cx:pt idx="32300">0</cx:pt>
          <cx:pt idx="32301">0</cx:pt>
          <cx:pt idx="32302">0</cx:pt>
          <cx:pt idx="32303">0</cx:pt>
          <cx:pt idx="32304">0</cx:pt>
          <cx:pt idx="32305">1</cx:pt>
          <cx:pt idx="32306">0</cx:pt>
          <cx:pt idx="32307">0</cx:pt>
          <cx:pt idx="32308">0</cx:pt>
          <cx:pt idx="32309">1</cx:pt>
          <cx:pt idx="32310">0</cx:pt>
          <cx:pt idx="32311">0</cx:pt>
          <cx:pt idx="32312">1</cx:pt>
          <cx:pt idx="32313">1</cx:pt>
          <cx:pt idx="32314">0</cx:pt>
          <cx:pt idx="32315">1</cx:pt>
          <cx:pt idx="32316">0</cx:pt>
          <cx:pt idx="32317">1</cx:pt>
          <cx:pt idx="32318">1</cx:pt>
          <cx:pt idx="32319">1</cx:pt>
          <cx:pt idx="32320">0</cx:pt>
          <cx:pt idx="32321">1</cx:pt>
          <cx:pt idx="32322">0</cx:pt>
          <cx:pt idx="32323">1</cx:pt>
          <cx:pt idx="32324">1</cx:pt>
          <cx:pt idx="32325">0</cx:pt>
          <cx:pt idx="32326">0</cx:pt>
          <cx:pt idx="32327">1</cx:pt>
          <cx:pt idx="32328">0</cx:pt>
          <cx:pt idx="32329">1</cx:pt>
          <cx:pt idx="32330">1</cx:pt>
          <cx:pt idx="32331">0</cx:pt>
          <cx:pt idx="32332">1</cx:pt>
          <cx:pt idx="32333">1</cx:pt>
          <cx:pt idx="32334">1</cx:pt>
          <cx:pt idx="32335">0</cx:pt>
          <cx:pt idx="32336">1</cx:pt>
          <cx:pt idx="32337">0</cx:pt>
          <cx:pt idx="32338">1</cx:pt>
          <cx:pt idx="32339">1</cx:pt>
          <cx:pt idx="32340">0</cx:pt>
          <cx:pt idx="32341">0</cx:pt>
          <cx:pt idx="32342">0</cx:pt>
          <cx:pt idx="32343">1</cx:pt>
          <cx:pt idx="32344">0</cx:pt>
          <cx:pt idx="32345">0</cx:pt>
          <cx:pt idx="32346">0</cx:pt>
          <cx:pt idx="32347">1</cx:pt>
          <cx:pt idx="32348">0</cx:pt>
          <cx:pt idx="32349">1</cx:pt>
          <cx:pt idx="32350">0</cx:pt>
          <cx:pt idx="32351">1</cx:pt>
          <cx:pt idx="32352">1</cx:pt>
          <cx:pt idx="32353">0</cx:pt>
          <cx:pt idx="32354">0</cx:pt>
          <cx:pt idx="32355">0</cx:pt>
          <cx:pt idx="32356">0</cx:pt>
          <cx:pt idx="32357">1</cx:pt>
          <cx:pt idx="32358">0</cx:pt>
          <cx:pt idx="32359">0</cx:pt>
          <cx:pt idx="32360">0</cx:pt>
          <cx:pt idx="32361">1</cx:pt>
          <cx:pt idx="32362">0</cx:pt>
          <cx:pt idx="32363">1</cx:pt>
          <cx:pt idx="32364">0</cx:pt>
          <cx:pt idx="32365">0</cx:pt>
          <cx:pt idx="32366">0</cx:pt>
          <cx:pt idx="32367">1</cx:pt>
          <cx:pt idx="32368">0</cx:pt>
          <cx:pt idx="32369">0</cx:pt>
          <cx:pt idx="32370">0</cx:pt>
          <cx:pt idx="32371">0</cx:pt>
          <cx:pt idx="32372">0</cx:pt>
          <cx:pt idx="32373">1</cx:pt>
          <cx:pt idx="32374">1</cx:pt>
          <cx:pt idx="32375">0</cx:pt>
          <cx:pt idx="32376">1</cx:pt>
          <cx:pt idx="32377">1</cx:pt>
          <cx:pt idx="32378">1</cx:pt>
          <cx:pt idx="32379">0</cx:pt>
          <cx:pt idx="32380">1</cx:pt>
          <cx:pt idx="32381">0</cx:pt>
          <cx:pt idx="32382">0</cx:pt>
          <cx:pt idx="32383">0</cx:pt>
          <cx:pt idx="32384">0</cx:pt>
          <cx:pt idx="32385">1</cx:pt>
          <cx:pt idx="32386">0</cx:pt>
          <cx:pt idx="32387">0</cx:pt>
          <cx:pt idx="32388">0</cx:pt>
          <cx:pt idx="32389">1</cx:pt>
          <cx:pt idx="32390">1</cx:pt>
          <cx:pt idx="32391">1</cx:pt>
          <cx:pt idx="32392">0</cx:pt>
          <cx:pt idx="32393">1</cx:pt>
          <cx:pt idx="32394">0</cx:pt>
          <cx:pt idx="32395">1</cx:pt>
          <cx:pt idx="32396">0</cx:pt>
          <cx:pt idx="32397">1</cx:pt>
          <cx:pt idx="32398">1</cx:pt>
          <cx:pt idx="32399">1</cx:pt>
          <cx:pt idx="32400">0</cx:pt>
          <cx:pt idx="32401">0</cx:pt>
          <cx:pt idx="32402">1</cx:pt>
          <cx:pt idx="32403">1</cx:pt>
          <cx:pt idx="32404">1</cx:pt>
          <cx:pt idx="32405">0</cx:pt>
          <cx:pt idx="32406">0</cx:pt>
          <cx:pt idx="32407">0</cx:pt>
          <cx:pt idx="32408">0</cx:pt>
          <cx:pt idx="32409">1</cx:pt>
          <cx:pt idx="32410">1</cx:pt>
          <cx:pt idx="32411">0</cx:pt>
          <cx:pt idx="32412">0</cx:pt>
          <cx:pt idx="32413">0</cx:pt>
          <cx:pt idx="32414">0</cx:pt>
          <cx:pt idx="32415">0</cx:pt>
          <cx:pt idx="32416">0</cx:pt>
          <cx:pt idx="32417">0</cx:pt>
          <cx:pt idx="32418">1</cx:pt>
          <cx:pt idx="32419">0</cx:pt>
          <cx:pt idx="32420">1</cx:pt>
          <cx:pt idx="32421">0</cx:pt>
          <cx:pt idx="32422">1</cx:pt>
          <cx:pt idx="32423">1</cx:pt>
          <cx:pt idx="32424">0</cx:pt>
          <cx:pt idx="32425">1</cx:pt>
          <cx:pt idx="32426">0</cx:pt>
          <cx:pt idx="32427">1</cx:pt>
          <cx:pt idx="32428">0</cx:pt>
          <cx:pt idx="32429">0</cx:pt>
          <cx:pt idx="32430">0</cx:pt>
          <cx:pt idx="32431">0</cx:pt>
          <cx:pt idx="32432">1</cx:pt>
          <cx:pt idx="32433">0</cx:pt>
          <cx:pt idx="32434">0</cx:pt>
          <cx:pt idx="32435">1</cx:pt>
          <cx:pt idx="32436">1</cx:pt>
          <cx:pt idx="32437">1</cx:pt>
          <cx:pt idx="32438">1</cx:pt>
          <cx:pt idx="32439">0</cx:pt>
          <cx:pt idx="32440">0</cx:pt>
          <cx:pt idx="32441">1</cx:pt>
          <cx:pt idx="32442">0</cx:pt>
          <cx:pt idx="32443">0</cx:pt>
          <cx:pt idx="32444">0</cx:pt>
          <cx:pt idx="32445">1</cx:pt>
          <cx:pt idx="32446">1</cx:pt>
          <cx:pt idx="32447">0</cx:pt>
          <cx:pt idx="32448">1</cx:pt>
          <cx:pt idx="32449">1</cx:pt>
          <cx:pt idx="32450">1</cx:pt>
          <cx:pt idx="32451">1</cx:pt>
          <cx:pt idx="32452">0</cx:pt>
          <cx:pt idx="32453">1</cx:pt>
          <cx:pt idx="32454">0</cx:pt>
          <cx:pt idx="32455">0</cx:pt>
          <cx:pt idx="32456">1</cx:pt>
          <cx:pt idx="32457">0</cx:pt>
          <cx:pt idx="32458">0</cx:pt>
          <cx:pt idx="32459">0</cx:pt>
          <cx:pt idx="32460">1</cx:pt>
          <cx:pt idx="32461">1</cx:pt>
          <cx:pt idx="32462">1</cx:pt>
          <cx:pt idx="32463">1</cx:pt>
          <cx:pt idx="32464">1</cx:pt>
          <cx:pt idx="32465">1</cx:pt>
          <cx:pt idx="32466">1</cx:pt>
          <cx:pt idx="32467">1</cx:pt>
          <cx:pt idx="32468">0</cx:pt>
          <cx:pt idx="32469">0</cx:pt>
          <cx:pt idx="32470">0</cx:pt>
          <cx:pt idx="32471">1</cx:pt>
          <cx:pt idx="32472">0</cx:pt>
          <cx:pt idx="32473">0</cx:pt>
          <cx:pt idx="32474">0</cx:pt>
          <cx:pt idx="32475">0</cx:pt>
          <cx:pt idx="32476">0</cx:pt>
          <cx:pt idx="32477">0</cx:pt>
          <cx:pt idx="32478">0</cx:pt>
          <cx:pt idx="32479">1</cx:pt>
          <cx:pt idx="32480">0</cx:pt>
          <cx:pt idx="32481">0</cx:pt>
          <cx:pt idx="32482">0</cx:pt>
          <cx:pt idx="32483">0</cx:pt>
          <cx:pt idx="32484">0</cx:pt>
          <cx:pt idx="32485">0</cx:pt>
          <cx:pt idx="32486">0</cx:pt>
          <cx:pt idx="32487">1</cx:pt>
          <cx:pt idx="32488">0</cx:pt>
          <cx:pt idx="32489">0</cx:pt>
          <cx:pt idx="32490">1</cx:pt>
          <cx:pt idx="32491">0</cx:pt>
          <cx:pt idx="32492">0</cx:pt>
          <cx:pt idx="32493">0</cx:pt>
          <cx:pt idx="32494">0</cx:pt>
          <cx:pt idx="32495">1</cx:pt>
          <cx:pt idx="32496">1</cx:pt>
          <cx:pt idx="32497">1</cx:pt>
          <cx:pt idx="32498">1</cx:pt>
          <cx:pt idx="32499">0</cx:pt>
          <cx:pt idx="32500">0</cx:pt>
          <cx:pt idx="32501">0</cx:pt>
          <cx:pt idx="32502">1</cx:pt>
          <cx:pt idx="32503">0</cx:pt>
          <cx:pt idx="32504">0</cx:pt>
          <cx:pt idx="32505">0</cx:pt>
          <cx:pt idx="32506">1</cx:pt>
          <cx:pt idx="32507">0</cx:pt>
          <cx:pt idx="32508">0</cx:pt>
          <cx:pt idx="32509">0</cx:pt>
          <cx:pt idx="32510">0</cx:pt>
          <cx:pt idx="32511">1</cx:pt>
          <cx:pt idx="32512">0</cx:pt>
          <cx:pt idx="32513">1</cx:pt>
          <cx:pt idx="32514">1</cx:pt>
          <cx:pt idx="32515">1</cx:pt>
          <cx:pt idx="32516">0</cx:pt>
          <cx:pt idx="32517">1</cx:pt>
          <cx:pt idx="32518">0</cx:pt>
          <cx:pt idx="32519">1</cx:pt>
          <cx:pt idx="32520">1</cx:pt>
          <cx:pt idx="32521">0</cx:pt>
          <cx:pt idx="32522">0</cx:pt>
          <cx:pt idx="32523">0</cx:pt>
          <cx:pt idx="32524">1</cx:pt>
          <cx:pt idx="32525">0</cx:pt>
          <cx:pt idx="32526">0</cx:pt>
          <cx:pt idx="32527">0</cx:pt>
          <cx:pt idx="32528">1</cx:pt>
          <cx:pt idx="32529">1</cx:pt>
          <cx:pt idx="32530">1</cx:pt>
          <cx:pt idx="32531">0</cx:pt>
          <cx:pt idx="32532">0</cx:pt>
          <cx:pt idx="32533">0</cx:pt>
          <cx:pt idx="32534">0</cx:pt>
          <cx:pt idx="32535">0</cx:pt>
          <cx:pt idx="32536">1</cx:pt>
          <cx:pt idx="32537">1</cx:pt>
          <cx:pt idx="32538">0</cx:pt>
          <cx:pt idx="32539">0</cx:pt>
          <cx:pt idx="32540">0</cx:pt>
          <cx:pt idx="32541">1</cx:pt>
          <cx:pt idx="32542">0</cx:pt>
          <cx:pt idx="32543">1</cx:pt>
          <cx:pt idx="32544">0</cx:pt>
          <cx:pt idx="32545">1</cx:pt>
          <cx:pt idx="32546">1</cx:pt>
          <cx:pt idx="32547">1</cx:pt>
          <cx:pt idx="32548">1</cx:pt>
          <cx:pt idx="32549">0</cx:pt>
          <cx:pt idx="32550">1</cx:pt>
          <cx:pt idx="32551">1</cx:pt>
          <cx:pt idx="32552">1</cx:pt>
          <cx:pt idx="32553">0</cx:pt>
          <cx:pt idx="32554">0</cx:pt>
          <cx:pt idx="32555">1</cx:pt>
          <cx:pt idx="32556">1</cx:pt>
          <cx:pt idx="32557">0</cx:pt>
          <cx:pt idx="32558">1</cx:pt>
          <cx:pt idx="32559">0</cx:pt>
          <cx:pt idx="32560">1</cx:pt>
          <cx:pt idx="32561">0</cx:pt>
          <cx:pt idx="32562">0</cx:pt>
          <cx:pt idx="32563">1</cx:pt>
          <cx:pt idx="32564">0</cx:pt>
          <cx:pt idx="32565">1</cx:pt>
          <cx:pt idx="32566">0</cx:pt>
          <cx:pt idx="32567">0</cx:pt>
          <cx:pt idx="32568">0</cx:pt>
          <cx:pt idx="32569">0</cx:pt>
          <cx:pt idx="32570">0</cx:pt>
          <cx:pt idx="32571">1</cx:pt>
          <cx:pt idx="32572">0</cx:pt>
          <cx:pt idx="32573">1</cx:pt>
          <cx:pt idx="32574">0</cx:pt>
          <cx:pt idx="32575">1</cx:pt>
          <cx:pt idx="32576">0</cx:pt>
          <cx:pt idx="32577">0</cx:pt>
          <cx:pt idx="32578">0</cx:pt>
          <cx:pt idx="32579">0</cx:pt>
          <cx:pt idx="32580">0</cx:pt>
          <cx:pt idx="32581">1</cx:pt>
          <cx:pt idx="32582">0</cx:pt>
          <cx:pt idx="32583">1</cx:pt>
          <cx:pt idx="32584">0</cx:pt>
          <cx:pt idx="32585">0</cx:pt>
          <cx:pt idx="32586">0</cx:pt>
          <cx:pt idx="32587">1</cx:pt>
          <cx:pt idx="32588">0</cx:pt>
          <cx:pt idx="32589">0</cx:pt>
          <cx:pt idx="32590">0</cx:pt>
          <cx:pt idx="32591">1</cx:pt>
          <cx:pt idx="32592">0</cx:pt>
          <cx:pt idx="32593">0</cx:pt>
          <cx:pt idx="32594">0</cx:pt>
          <cx:pt idx="32595">1</cx:pt>
          <cx:pt idx="32596">0</cx:pt>
          <cx:pt idx="32597">0</cx:pt>
          <cx:pt idx="32598">0</cx:pt>
          <cx:pt idx="32599">1</cx:pt>
          <cx:pt idx="32600">1</cx:pt>
          <cx:pt idx="32601">1</cx:pt>
          <cx:pt idx="32602">0</cx:pt>
          <cx:pt idx="32603">0</cx:pt>
          <cx:pt idx="32604">1</cx:pt>
          <cx:pt idx="32605">0</cx:pt>
          <cx:pt idx="32606">0</cx:pt>
          <cx:pt idx="32607">0</cx:pt>
          <cx:pt idx="32608">0</cx:pt>
          <cx:pt idx="32609">1</cx:pt>
          <cx:pt idx="32610">0</cx:pt>
          <cx:pt idx="32611">1</cx:pt>
          <cx:pt idx="32612">1</cx:pt>
          <cx:pt idx="32613">0</cx:pt>
          <cx:pt idx="32614">0</cx:pt>
          <cx:pt idx="32615">1</cx:pt>
          <cx:pt idx="32616">1</cx:pt>
          <cx:pt idx="32617">0</cx:pt>
          <cx:pt idx="32618">0</cx:pt>
          <cx:pt idx="32619">0</cx:pt>
          <cx:pt idx="32620">1</cx:pt>
          <cx:pt idx="32621">0</cx:pt>
          <cx:pt idx="32622">1</cx:pt>
          <cx:pt idx="32623">0</cx:pt>
          <cx:pt idx="32624">0</cx:pt>
          <cx:pt idx="32625">1</cx:pt>
          <cx:pt idx="32626">1</cx:pt>
          <cx:pt idx="32627">0</cx:pt>
          <cx:pt idx="32628">1</cx:pt>
          <cx:pt idx="32629">1</cx:pt>
          <cx:pt idx="32630">0</cx:pt>
          <cx:pt idx="32631">0</cx:pt>
          <cx:pt idx="32632">0</cx:pt>
          <cx:pt idx="32633">0</cx:pt>
          <cx:pt idx="32634">1</cx:pt>
          <cx:pt idx="32635">0</cx:pt>
          <cx:pt idx="32636">0</cx:pt>
          <cx:pt idx="32637">0</cx:pt>
          <cx:pt idx="32638">0</cx:pt>
          <cx:pt idx="32639">0</cx:pt>
          <cx:pt idx="32640">1</cx:pt>
          <cx:pt idx="32641">1</cx:pt>
          <cx:pt idx="32642">0</cx:pt>
          <cx:pt idx="32643">1</cx:pt>
          <cx:pt idx="32644">1</cx:pt>
          <cx:pt idx="32645">1</cx:pt>
          <cx:pt idx="32646">1</cx:pt>
          <cx:pt idx="32647">0</cx:pt>
          <cx:pt idx="32648">1</cx:pt>
          <cx:pt idx="32649">1</cx:pt>
          <cx:pt idx="32650">0</cx:pt>
          <cx:pt idx="32651">1</cx:pt>
          <cx:pt idx="32652">1</cx:pt>
          <cx:pt idx="32653">1</cx:pt>
          <cx:pt idx="32654">0</cx:pt>
          <cx:pt idx="32655">0</cx:pt>
          <cx:pt idx="32656">0</cx:pt>
          <cx:pt idx="32657">0</cx:pt>
          <cx:pt idx="32658">0</cx:pt>
          <cx:pt idx="32659">1</cx:pt>
          <cx:pt idx="32660">1</cx:pt>
          <cx:pt idx="32661">0</cx:pt>
          <cx:pt idx="32662">1</cx:pt>
          <cx:pt idx="32663">1</cx:pt>
          <cx:pt idx="32664">0</cx:pt>
          <cx:pt idx="32665">0</cx:pt>
          <cx:pt idx="32666">0</cx:pt>
          <cx:pt idx="32667">0</cx:pt>
          <cx:pt idx="32668">0</cx:pt>
          <cx:pt idx="32669">1</cx:pt>
          <cx:pt idx="32670">0</cx:pt>
          <cx:pt idx="32671">0</cx:pt>
          <cx:pt idx="32672">1</cx:pt>
          <cx:pt idx="32673">0</cx:pt>
          <cx:pt idx="32674">0</cx:pt>
          <cx:pt idx="32675">0</cx:pt>
          <cx:pt idx="32676">0</cx:pt>
          <cx:pt idx="32677">1</cx:pt>
          <cx:pt idx="32678">0</cx:pt>
          <cx:pt idx="32679">0</cx:pt>
          <cx:pt idx="32680">1</cx:pt>
          <cx:pt idx="32681">1</cx:pt>
          <cx:pt idx="32682">0</cx:pt>
          <cx:pt idx="32683">0</cx:pt>
          <cx:pt idx="32684">1</cx:pt>
          <cx:pt idx="32685">0</cx:pt>
          <cx:pt idx="32686">1</cx:pt>
          <cx:pt idx="32687">1</cx:pt>
          <cx:pt idx="32688">1</cx:pt>
          <cx:pt idx="32689">0</cx:pt>
          <cx:pt idx="32690">0</cx:pt>
          <cx:pt idx="32691">0</cx:pt>
          <cx:pt idx="32692">1</cx:pt>
          <cx:pt idx="32693">0</cx:pt>
          <cx:pt idx="32694">0</cx:pt>
          <cx:pt idx="32695">1</cx:pt>
          <cx:pt idx="32696">1</cx:pt>
          <cx:pt idx="32697">1</cx:pt>
          <cx:pt idx="32698">0</cx:pt>
          <cx:pt idx="32699">0</cx:pt>
          <cx:pt idx="32700">1</cx:pt>
          <cx:pt idx="32701">1</cx:pt>
          <cx:pt idx="32702">1</cx:pt>
          <cx:pt idx="32703">0</cx:pt>
          <cx:pt idx="32704">1</cx:pt>
          <cx:pt idx="32705">1</cx:pt>
          <cx:pt idx="32706">1</cx:pt>
          <cx:pt idx="32707">0</cx:pt>
          <cx:pt idx="32708">0</cx:pt>
          <cx:pt idx="32709">0</cx:pt>
          <cx:pt idx="32710">0</cx:pt>
          <cx:pt idx="32711">0</cx:pt>
          <cx:pt idx="32712">0</cx:pt>
          <cx:pt idx="32713">0</cx:pt>
          <cx:pt idx="32714">0</cx:pt>
          <cx:pt idx="32715">1</cx:pt>
          <cx:pt idx="32716">0</cx:pt>
          <cx:pt idx="32717">1</cx:pt>
          <cx:pt idx="32718">0</cx:pt>
          <cx:pt idx="32719">0</cx:pt>
          <cx:pt idx="32720">0</cx:pt>
          <cx:pt idx="32721">0</cx:pt>
          <cx:pt idx="32722">1</cx:pt>
          <cx:pt idx="32723">1</cx:pt>
          <cx:pt idx="32724">1</cx:pt>
          <cx:pt idx="32725">1</cx:pt>
          <cx:pt idx="32726">0</cx:pt>
          <cx:pt idx="32727">1</cx:pt>
          <cx:pt idx="32728">0</cx:pt>
          <cx:pt idx="32729">1</cx:pt>
          <cx:pt idx="32730">0</cx:pt>
          <cx:pt idx="32731">0</cx:pt>
          <cx:pt idx="32732">0</cx:pt>
          <cx:pt idx="32733">0</cx:pt>
          <cx:pt idx="32734">0</cx:pt>
          <cx:pt idx="32735">0</cx:pt>
          <cx:pt idx="32736">1</cx:pt>
          <cx:pt idx="32737">1</cx:pt>
          <cx:pt idx="32738">1</cx:pt>
          <cx:pt idx="32739">1</cx:pt>
          <cx:pt idx="32740">1</cx:pt>
          <cx:pt idx="32741">0</cx:pt>
          <cx:pt idx="32742">0</cx:pt>
          <cx:pt idx="32743">0</cx:pt>
          <cx:pt idx="32744">0</cx:pt>
          <cx:pt idx="32745">0</cx:pt>
          <cx:pt idx="32746">1</cx:pt>
          <cx:pt idx="32747">0</cx:pt>
          <cx:pt idx="32748">0</cx:pt>
          <cx:pt idx="32749">0</cx:pt>
          <cx:pt idx="32750">0</cx:pt>
          <cx:pt idx="32751">0</cx:pt>
          <cx:pt idx="32752">1</cx:pt>
          <cx:pt idx="32753">0</cx:pt>
          <cx:pt idx="32754">0</cx:pt>
          <cx:pt idx="32755">0</cx:pt>
          <cx:pt idx="32756">1</cx:pt>
          <cx:pt idx="32757">1</cx:pt>
          <cx:pt idx="32758">1</cx:pt>
          <cx:pt idx="32759">0</cx:pt>
          <cx:pt idx="32760">0</cx:pt>
          <cx:pt idx="32761">0</cx:pt>
          <cx:pt idx="32762">0</cx:pt>
          <cx:pt idx="32763">0</cx:pt>
          <cx:pt idx="32764">0</cx:pt>
          <cx:pt idx="32765">1</cx:pt>
          <cx:pt idx="32766">0</cx:pt>
          <cx:pt idx="32767">0</cx:pt>
          <cx:pt idx="32768">1</cx:pt>
          <cx:pt idx="32769">1</cx:pt>
          <cx:pt idx="32770">1</cx:pt>
          <cx:pt idx="32771">0</cx:pt>
          <cx:pt idx="32772">0</cx:pt>
          <cx:pt idx="32773">0</cx:pt>
          <cx:pt idx="32774">1</cx:pt>
          <cx:pt idx="32775">1</cx:pt>
          <cx:pt idx="32776">0</cx:pt>
          <cx:pt idx="32777">0</cx:pt>
          <cx:pt idx="32778">1</cx:pt>
          <cx:pt idx="32779">0</cx:pt>
          <cx:pt idx="32780">1</cx:pt>
          <cx:pt idx="32781">1</cx:pt>
          <cx:pt idx="32782">0</cx:pt>
          <cx:pt idx="32783">0</cx:pt>
          <cx:pt idx="32784">0</cx:pt>
          <cx:pt idx="32785">0</cx:pt>
          <cx:pt idx="32786">0</cx:pt>
          <cx:pt idx="32787">1</cx:pt>
          <cx:pt idx="32788">0</cx:pt>
          <cx:pt idx="32789">0</cx:pt>
          <cx:pt idx="32790">1</cx:pt>
          <cx:pt idx="32791">1</cx:pt>
          <cx:pt idx="32792">0</cx:pt>
          <cx:pt idx="32793">1</cx:pt>
          <cx:pt idx="32794">1</cx:pt>
          <cx:pt idx="32795">0</cx:pt>
          <cx:pt idx="32796">0</cx:pt>
          <cx:pt idx="32797">0</cx:pt>
          <cx:pt idx="32798">1</cx:pt>
          <cx:pt idx="32799">1</cx:pt>
          <cx:pt idx="32800">1</cx:pt>
          <cx:pt idx="32801">0</cx:pt>
          <cx:pt idx="32802">1</cx:pt>
          <cx:pt idx="32803">1</cx:pt>
          <cx:pt idx="32804">1</cx:pt>
          <cx:pt idx="32805">0</cx:pt>
          <cx:pt idx="32806">1</cx:pt>
          <cx:pt idx="32807">1</cx:pt>
          <cx:pt idx="32808">1</cx:pt>
          <cx:pt idx="32809">1</cx:pt>
          <cx:pt idx="32810">1</cx:pt>
          <cx:pt idx="32811">0</cx:pt>
          <cx:pt idx="32812">1</cx:pt>
          <cx:pt idx="32813">0</cx:pt>
          <cx:pt idx="32814">1</cx:pt>
          <cx:pt idx="32815">0</cx:pt>
          <cx:pt idx="32816">0</cx:pt>
          <cx:pt idx="32817">1</cx:pt>
          <cx:pt idx="32818">0</cx:pt>
          <cx:pt idx="32819">0</cx:pt>
          <cx:pt idx="32820">1</cx:pt>
          <cx:pt idx="32821">0</cx:pt>
          <cx:pt idx="32822">0</cx:pt>
          <cx:pt idx="32823">1</cx:pt>
          <cx:pt idx="32824">0</cx:pt>
          <cx:pt idx="32825">1</cx:pt>
          <cx:pt idx="32826">1</cx:pt>
          <cx:pt idx="32827">1</cx:pt>
          <cx:pt idx="32828">1</cx:pt>
          <cx:pt idx="32829">0</cx:pt>
          <cx:pt idx="32830">0</cx:pt>
          <cx:pt idx="32831">1</cx:pt>
          <cx:pt idx="32832">0</cx:pt>
          <cx:pt idx="32833">0</cx:pt>
          <cx:pt idx="32834">0</cx:pt>
          <cx:pt idx="32835">1</cx:pt>
          <cx:pt idx="32836">1</cx:pt>
          <cx:pt idx="32837">0</cx:pt>
          <cx:pt idx="32838">1</cx:pt>
          <cx:pt idx="32839">0</cx:pt>
          <cx:pt idx="32840">0</cx:pt>
          <cx:pt idx="32841">1</cx:pt>
          <cx:pt idx="32842">0</cx:pt>
          <cx:pt idx="32843">1</cx:pt>
          <cx:pt idx="32844">0</cx:pt>
          <cx:pt idx="32845">1</cx:pt>
          <cx:pt idx="32846">0</cx:pt>
          <cx:pt idx="32847">0</cx:pt>
          <cx:pt idx="32848">0</cx:pt>
          <cx:pt idx="32849">0</cx:pt>
          <cx:pt idx="32850">0</cx:pt>
          <cx:pt idx="32851">0</cx:pt>
          <cx:pt idx="32852">0</cx:pt>
          <cx:pt idx="32853">0</cx:pt>
          <cx:pt idx="32854">0</cx:pt>
          <cx:pt idx="32855">0</cx:pt>
          <cx:pt idx="32856">1</cx:pt>
          <cx:pt idx="32857">0</cx:pt>
          <cx:pt idx="32858">0</cx:pt>
          <cx:pt idx="32859">0</cx:pt>
          <cx:pt idx="32860">0</cx:pt>
          <cx:pt idx="32861">1</cx:pt>
          <cx:pt idx="32862">0</cx:pt>
          <cx:pt idx="32863">1</cx:pt>
          <cx:pt idx="32864">0</cx:pt>
          <cx:pt idx="32865">0</cx:pt>
          <cx:pt idx="32866">1</cx:pt>
          <cx:pt idx="32867">1</cx:pt>
          <cx:pt idx="32868">0</cx:pt>
          <cx:pt idx="32869">0</cx:pt>
          <cx:pt idx="32870">1</cx:pt>
          <cx:pt idx="32871">1</cx:pt>
          <cx:pt idx="32872">0</cx:pt>
          <cx:pt idx="32873">0</cx:pt>
          <cx:pt idx="32874">1</cx:pt>
          <cx:pt idx="32875">0</cx:pt>
          <cx:pt idx="32876">1</cx:pt>
          <cx:pt idx="32877">0</cx:pt>
          <cx:pt idx="32878">0</cx:pt>
          <cx:pt idx="32879">1</cx:pt>
          <cx:pt idx="32880">0</cx:pt>
          <cx:pt idx="32881">0</cx:pt>
          <cx:pt idx="32882">0</cx:pt>
          <cx:pt idx="32883">1</cx:pt>
          <cx:pt idx="32884">0</cx:pt>
          <cx:pt idx="32885">1</cx:pt>
          <cx:pt idx="32886">0</cx:pt>
          <cx:pt idx="32887">1</cx:pt>
          <cx:pt idx="32888">0</cx:pt>
          <cx:pt idx="32889">1</cx:pt>
          <cx:pt idx="32890">0</cx:pt>
          <cx:pt idx="32891">1</cx:pt>
          <cx:pt idx="32892">0</cx:pt>
          <cx:pt idx="32893">0</cx:pt>
          <cx:pt idx="32894">1</cx:pt>
          <cx:pt idx="32895">1</cx:pt>
          <cx:pt idx="32896">0</cx:pt>
          <cx:pt idx="32897">1</cx:pt>
          <cx:pt idx="32898">0</cx:pt>
          <cx:pt idx="32899">1</cx:pt>
          <cx:pt idx="32900">1</cx:pt>
          <cx:pt idx="32901">0</cx:pt>
          <cx:pt idx="32902">0</cx:pt>
          <cx:pt idx="32903">0</cx:pt>
          <cx:pt idx="32904">0</cx:pt>
          <cx:pt idx="32905">0</cx:pt>
          <cx:pt idx="32906">1</cx:pt>
          <cx:pt idx="32907">1</cx:pt>
          <cx:pt idx="32908">0</cx:pt>
          <cx:pt idx="32909">0</cx:pt>
          <cx:pt idx="32910">0</cx:pt>
          <cx:pt idx="32911">1</cx:pt>
          <cx:pt idx="32912">0</cx:pt>
          <cx:pt idx="32913">1</cx:pt>
          <cx:pt idx="32914">0</cx:pt>
          <cx:pt idx="32915">0</cx:pt>
          <cx:pt idx="32916">1</cx:pt>
          <cx:pt idx="32917">0</cx:pt>
          <cx:pt idx="32918">1</cx:pt>
          <cx:pt idx="32919">1</cx:pt>
          <cx:pt idx="32920">0</cx:pt>
          <cx:pt idx="32921">1</cx:pt>
          <cx:pt idx="32922">0</cx:pt>
          <cx:pt idx="32923">0</cx:pt>
          <cx:pt idx="32924">0</cx:pt>
          <cx:pt idx="32925">0</cx:pt>
          <cx:pt idx="32926">0</cx:pt>
          <cx:pt idx="32927">1</cx:pt>
          <cx:pt idx="32928">0</cx:pt>
          <cx:pt idx="32929">1</cx:pt>
          <cx:pt idx="32930">1</cx:pt>
          <cx:pt idx="32931">0</cx:pt>
          <cx:pt idx="32932">0</cx:pt>
          <cx:pt idx="32933">0</cx:pt>
          <cx:pt idx="32934">1</cx:pt>
          <cx:pt idx="32935">0</cx:pt>
          <cx:pt idx="32936">1</cx:pt>
          <cx:pt idx="32937">0</cx:pt>
          <cx:pt idx="32938">0</cx:pt>
          <cx:pt idx="32939">1</cx:pt>
          <cx:pt idx="32940">0</cx:pt>
          <cx:pt idx="32941">0</cx:pt>
          <cx:pt idx="32942">0</cx:pt>
          <cx:pt idx="32943">0</cx:pt>
          <cx:pt idx="32944">0</cx:pt>
          <cx:pt idx="32945">1</cx:pt>
          <cx:pt idx="32946">1</cx:pt>
          <cx:pt idx="32947">0</cx:pt>
          <cx:pt idx="32948">1</cx:pt>
          <cx:pt idx="32949">0</cx:pt>
          <cx:pt idx="32950">0</cx:pt>
          <cx:pt idx="32951">1</cx:pt>
          <cx:pt idx="32952">0</cx:pt>
          <cx:pt idx="32953">1</cx:pt>
          <cx:pt idx="32954">0</cx:pt>
          <cx:pt idx="32955">1</cx:pt>
          <cx:pt idx="32956">0</cx:pt>
          <cx:pt idx="32957">0</cx:pt>
          <cx:pt idx="32958">0</cx:pt>
          <cx:pt idx="32959">1</cx:pt>
          <cx:pt idx="32960">0</cx:pt>
          <cx:pt idx="32961">0</cx:pt>
          <cx:pt idx="32962">0</cx:pt>
          <cx:pt idx="32963">0</cx:pt>
          <cx:pt idx="32964">0</cx:pt>
          <cx:pt idx="32965">1</cx:pt>
          <cx:pt idx="32966">0</cx:pt>
          <cx:pt idx="32967">0</cx:pt>
          <cx:pt idx="32968">1</cx:pt>
          <cx:pt idx="32969">0</cx:pt>
          <cx:pt idx="32970">1</cx:pt>
          <cx:pt idx="32971">0</cx:pt>
          <cx:pt idx="32972">0</cx:pt>
          <cx:pt idx="32973">0</cx:pt>
          <cx:pt idx="32974">0</cx:pt>
          <cx:pt idx="32975">1</cx:pt>
          <cx:pt idx="32976">1</cx:pt>
          <cx:pt idx="32977">1</cx:pt>
          <cx:pt idx="32978">1</cx:pt>
          <cx:pt idx="32979">0</cx:pt>
          <cx:pt idx="32980">0</cx:pt>
          <cx:pt idx="32981">0</cx:pt>
          <cx:pt idx="32982">0</cx:pt>
          <cx:pt idx="32983">1</cx:pt>
          <cx:pt idx="32984">0</cx:pt>
          <cx:pt idx="32985">0</cx:pt>
          <cx:pt idx="32986">1</cx:pt>
          <cx:pt idx="32987">0</cx:pt>
          <cx:pt idx="32988">1</cx:pt>
          <cx:pt idx="32989">0</cx:pt>
          <cx:pt idx="32990">0</cx:pt>
          <cx:pt idx="32991">1</cx:pt>
          <cx:pt idx="32992">1</cx:pt>
          <cx:pt idx="32993">1</cx:pt>
          <cx:pt idx="32994">0</cx:pt>
          <cx:pt idx="32995">0</cx:pt>
          <cx:pt idx="32996">1</cx:pt>
          <cx:pt idx="32997">1</cx:pt>
          <cx:pt idx="32998">0</cx:pt>
          <cx:pt idx="32999">1</cx:pt>
          <cx:pt idx="33000">0</cx:pt>
          <cx:pt idx="33001">0</cx:pt>
          <cx:pt idx="33002">1</cx:pt>
          <cx:pt idx="33003">1</cx:pt>
          <cx:pt idx="33004">0</cx:pt>
          <cx:pt idx="33005">0</cx:pt>
          <cx:pt idx="33006">0</cx:pt>
          <cx:pt idx="33007">0</cx:pt>
          <cx:pt idx="33008">1</cx:pt>
          <cx:pt idx="33009">1</cx:pt>
          <cx:pt idx="33010">1</cx:pt>
          <cx:pt idx="33011">1</cx:pt>
          <cx:pt idx="33012">0</cx:pt>
          <cx:pt idx="33013">0</cx:pt>
          <cx:pt idx="33014">1</cx:pt>
          <cx:pt idx="33015">1</cx:pt>
          <cx:pt idx="33016">1</cx:pt>
          <cx:pt idx="33017">1</cx:pt>
          <cx:pt idx="33018">0</cx:pt>
          <cx:pt idx="33019">0</cx:pt>
          <cx:pt idx="33020">1</cx:pt>
          <cx:pt idx="33021">0</cx:pt>
          <cx:pt idx="33022">0</cx:pt>
          <cx:pt idx="33023">0</cx:pt>
          <cx:pt idx="33024">1</cx:pt>
          <cx:pt idx="33025">1</cx:pt>
          <cx:pt idx="33026">1</cx:pt>
          <cx:pt idx="33027">0</cx:pt>
          <cx:pt idx="33028">0</cx:pt>
          <cx:pt idx="33029">1</cx:pt>
          <cx:pt idx="33030">0</cx:pt>
          <cx:pt idx="33031">0</cx:pt>
          <cx:pt idx="33032">0</cx:pt>
          <cx:pt idx="33033">1</cx:pt>
          <cx:pt idx="33034">1</cx:pt>
          <cx:pt idx="33035">1</cx:pt>
          <cx:pt idx="33036">1</cx:pt>
          <cx:pt idx="33037">0</cx:pt>
          <cx:pt idx="33038">0</cx:pt>
          <cx:pt idx="33039">1</cx:pt>
          <cx:pt idx="33040">1</cx:pt>
          <cx:pt idx="33041">1</cx:pt>
          <cx:pt idx="33042">1</cx:pt>
          <cx:pt idx="33043">0</cx:pt>
          <cx:pt idx="33044">0</cx:pt>
          <cx:pt idx="33045">1</cx:pt>
          <cx:pt idx="33046">1</cx:pt>
          <cx:pt idx="33047">1</cx:pt>
          <cx:pt idx="33048">0</cx:pt>
          <cx:pt idx="33049">1</cx:pt>
          <cx:pt idx="33050">0</cx:pt>
          <cx:pt idx="33051">0</cx:pt>
          <cx:pt idx="33052">1</cx:pt>
          <cx:pt idx="33053">1</cx:pt>
          <cx:pt idx="33054">0</cx:pt>
          <cx:pt idx="33055">1</cx:pt>
          <cx:pt idx="33056">0</cx:pt>
          <cx:pt idx="33057">1</cx:pt>
          <cx:pt idx="33058">0</cx:pt>
          <cx:pt idx="33059">0</cx:pt>
          <cx:pt idx="33060">1</cx:pt>
          <cx:pt idx="33061">0</cx:pt>
          <cx:pt idx="33062">1</cx:pt>
          <cx:pt idx="33063">0</cx:pt>
          <cx:pt idx="33064">1</cx:pt>
          <cx:pt idx="33065">0</cx:pt>
          <cx:pt idx="33066">0</cx:pt>
          <cx:pt idx="33067">1</cx:pt>
          <cx:pt idx="33068">1</cx:pt>
          <cx:pt idx="33069">1</cx:pt>
          <cx:pt idx="33070">1</cx:pt>
          <cx:pt idx="33071">1</cx:pt>
          <cx:pt idx="33072">0</cx:pt>
          <cx:pt idx="33073">1</cx:pt>
          <cx:pt idx="33074">0</cx:pt>
          <cx:pt idx="33075">0</cx:pt>
          <cx:pt idx="33076">1</cx:pt>
          <cx:pt idx="33077">1</cx:pt>
          <cx:pt idx="33078">0</cx:pt>
          <cx:pt idx="33079">0</cx:pt>
          <cx:pt idx="33080">1</cx:pt>
          <cx:pt idx="33081">1</cx:pt>
          <cx:pt idx="33082">1</cx:pt>
          <cx:pt idx="33083">0</cx:pt>
          <cx:pt idx="33084">0</cx:pt>
          <cx:pt idx="33085">0</cx:pt>
          <cx:pt idx="33086">1</cx:pt>
          <cx:pt idx="33087">1</cx:pt>
          <cx:pt idx="33088">0</cx:pt>
          <cx:pt idx="33089">0</cx:pt>
          <cx:pt idx="33090">0</cx:pt>
          <cx:pt idx="33091">1</cx:pt>
          <cx:pt idx="33092">0</cx:pt>
          <cx:pt idx="33093">1</cx:pt>
          <cx:pt idx="33094">0</cx:pt>
          <cx:pt idx="33095">1</cx:pt>
          <cx:pt idx="33096">1</cx:pt>
          <cx:pt idx="33097">0</cx:pt>
          <cx:pt idx="33098">1</cx:pt>
          <cx:pt idx="33099">0</cx:pt>
          <cx:pt idx="33100">1</cx:pt>
          <cx:pt idx="33101">0</cx:pt>
          <cx:pt idx="33102">1</cx:pt>
          <cx:pt idx="33103">1</cx:pt>
          <cx:pt idx="33104">0</cx:pt>
          <cx:pt idx="33105">0</cx:pt>
          <cx:pt idx="33106">1</cx:pt>
          <cx:pt idx="33107">1</cx:pt>
          <cx:pt idx="33108">0</cx:pt>
          <cx:pt idx="33109">0</cx:pt>
          <cx:pt idx="33110">0</cx:pt>
          <cx:pt idx="33111">0</cx:pt>
          <cx:pt idx="33112">0</cx:pt>
          <cx:pt idx="33113">1</cx:pt>
          <cx:pt idx="33114">0</cx:pt>
          <cx:pt idx="33115">1</cx:pt>
          <cx:pt idx="33116">0</cx:pt>
          <cx:pt idx="33117">1</cx:pt>
          <cx:pt idx="33118">0</cx:pt>
          <cx:pt idx="33119">0</cx:pt>
          <cx:pt idx="33120">0</cx:pt>
          <cx:pt idx="33121">1</cx:pt>
          <cx:pt idx="33122">1</cx:pt>
          <cx:pt idx="33123">1</cx:pt>
          <cx:pt idx="33124">1</cx:pt>
          <cx:pt idx="33125">1</cx:pt>
          <cx:pt idx="33126">1</cx:pt>
          <cx:pt idx="33127">0</cx:pt>
          <cx:pt idx="33128">0</cx:pt>
          <cx:pt idx="33129">0</cx:pt>
          <cx:pt idx="33130">1</cx:pt>
          <cx:pt idx="33131">1</cx:pt>
          <cx:pt idx="33132">1</cx:pt>
          <cx:pt idx="33133">1</cx:pt>
          <cx:pt idx="33134">1</cx:pt>
          <cx:pt idx="33135">1</cx:pt>
          <cx:pt idx="33136">0</cx:pt>
          <cx:pt idx="33137">1</cx:pt>
          <cx:pt idx="33138">0</cx:pt>
          <cx:pt idx="33139">0</cx:pt>
          <cx:pt idx="33140">0</cx:pt>
          <cx:pt idx="33141">0</cx:pt>
          <cx:pt idx="33142">1</cx:pt>
          <cx:pt idx="33143">1</cx:pt>
          <cx:pt idx="33144">1</cx:pt>
          <cx:pt idx="33145">0</cx:pt>
          <cx:pt idx="33146">1</cx:pt>
          <cx:pt idx="33147">0</cx:pt>
          <cx:pt idx="33148">1</cx:pt>
          <cx:pt idx="33149">0</cx:pt>
          <cx:pt idx="33150">0</cx:pt>
          <cx:pt idx="33151">1</cx:pt>
          <cx:pt idx="33152">0</cx:pt>
          <cx:pt idx="33153">0</cx:pt>
          <cx:pt idx="33154">1</cx:pt>
          <cx:pt idx="33155">1</cx:pt>
          <cx:pt idx="33156">1</cx:pt>
          <cx:pt idx="33157">1</cx:pt>
          <cx:pt idx="33158">0</cx:pt>
          <cx:pt idx="33159">1</cx:pt>
          <cx:pt idx="33160">0</cx:pt>
          <cx:pt idx="33161">1</cx:pt>
          <cx:pt idx="33162">0</cx:pt>
          <cx:pt idx="33163">0</cx:pt>
          <cx:pt idx="33164">1</cx:pt>
          <cx:pt idx="33165">1</cx:pt>
          <cx:pt idx="33166">1</cx:pt>
          <cx:pt idx="33167">0</cx:pt>
          <cx:pt idx="33168">0</cx:pt>
          <cx:pt idx="33169">0</cx:pt>
          <cx:pt idx="33170">1</cx:pt>
          <cx:pt idx="33171">0</cx:pt>
          <cx:pt idx="33172">0</cx:pt>
          <cx:pt idx="33173">0</cx:pt>
          <cx:pt idx="33174">0</cx:pt>
          <cx:pt idx="33175">1</cx:pt>
          <cx:pt idx="33176">1</cx:pt>
          <cx:pt idx="33177">1</cx:pt>
          <cx:pt idx="33178">0</cx:pt>
          <cx:pt idx="33179">1</cx:pt>
          <cx:pt idx="33180">0</cx:pt>
          <cx:pt idx="33181">0</cx:pt>
          <cx:pt idx="33182">1</cx:pt>
          <cx:pt idx="33183">1</cx:pt>
          <cx:pt idx="33184">0</cx:pt>
          <cx:pt idx="33185">1</cx:pt>
          <cx:pt idx="33186">0</cx:pt>
          <cx:pt idx="33187">0</cx:pt>
          <cx:pt idx="33188">1</cx:pt>
          <cx:pt idx="33189">0</cx:pt>
          <cx:pt idx="33190">1</cx:pt>
          <cx:pt idx="33191">0</cx:pt>
          <cx:pt idx="33192">1</cx:pt>
          <cx:pt idx="33193">1</cx:pt>
          <cx:pt idx="33194">1</cx:pt>
          <cx:pt idx="33195">1</cx:pt>
          <cx:pt idx="33196">1</cx:pt>
          <cx:pt idx="33197">1</cx:pt>
          <cx:pt idx="33198">1</cx:pt>
          <cx:pt idx="33199">0</cx:pt>
          <cx:pt idx="33200">0</cx:pt>
          <cx:pt idx="33201">1</cx:pt>
          <cx:pt idx="33202">0</cx:pt>
          <cx:pt idx="33203">0</cx:pt>
          <cx:pt idx="33204">0</cx:pt>
          <cx:pt idx="33205">0</cx:pt>
          <cx:pt idx="33206">0</cx:pt>
          <cx:pt idx="33207">1</cx:pt>
          <cx:pt idx="33208">1</cx:pt>
          <cx:pt idx="33209">0</cx:pt>
          <cx:pt idx="33210">1</cx:pt>
          <cx:pt idx="33211">0</cx:pt>
          <cx:pt idx="33212">0</cx:pt>
          <cx:pt idx="33213">0</cx:pt>
          <cx:pt idx="33214">1</cx:pt>
          <cx:pt idx="33215">0</cx:pt>
          <cx:pt idx="33216">1</cx:pt>
          <cx:pt idx="33217">0</cx:pt>
          <cx:pt idx="33218">0</cx:pt>
          <cx:pt idx="33219">0</cx:pt>
          <cx:pt idx="33220">0</cx:pt>
          <cx:pt idx="33221">0</cx:pt>
          <cx:pt idx="33222">1</cx:pt>
          <cx:pt idx="33223">1</cx:pt>
          <cx:pt idx="33224">0</cx:pt>
          <cx:pt idx="33225">0</cx:pt>
          <cx:pt idx="33226">1</cx:pt>
          <cx:pt idx="33227">0</cx:pt>
          <cx:pt idx="33228">1</cx:pt>
          <cx:pt idx="33229">0</cx:pt>
          <cx:pt idx="33230">1</cx:pt>
          <cx:pt idx="33231">1</cx:pt>
          <cx:pt idx="33232">1</cx:pt>
          <cx:pt idx="33233">0</cx:pt>
          <cx:pt idx="33234">0</cx:pt>
          <cx:pt idx="33235">0</cx:pt>
          <cx:pt idx="33236">0</cx:pt>
          <cx:pt idx="33237">0</cx:pt>
          <cx:pt idx="33238">0</cx:pt>
          <cx:pt idx="33239">0</cx:pt>
          <cx:pt idx="33240">1</cx:pt>
          <cx:pt idx="33241">0</cx:pt>
          <cx:pt idx="33242">1</cx:pt>
          <cx:pt idx="33243">0</cx:pt>
          <cx:pt idx="33244">1</cx:pt>
          <cx:pt idx="33245">0</cx:pt>
          <cx:pt idx="33246">1</cx:pt>
          <cx:pt idx="33247">1</cx:pt>
          <cx:pt idx="33248">1</cx:pt>
          <cx:pt idx="33249">0</cx:pt>
          <cx:pt idx="33250">1</cx:pt>
          <cx:pt idx="33251">1</cx:pt>
          <cx:pt idx="33252">0</cx:pt>
          <cx:pt idx="33253">0</cx:pt>
          <cx:pt idx="33254">0</cx:pt>
          <cx:pt idx="33255">1</cx:pt>
          <cx:pt idx="33256">0</cx:pt>
          <cx:pt idx="33257">1</cx:pt>
          <cx:pt idx="33258">1</cx:pt>
          <cx:pt idx="33259">1</cx:pt>
          <cx:pt idx="33260">1</cx:pt>
          <cx:pt idx="33261">0</cx:pt>
          <cx:pt idx="33262">0</cx:pt>
          <cx:pt idx="33263">1</cx:pt>
          <cx:pt idx="33264">0</cx:pt>
          <cx:pt idx="33265">1</cx:pt>
          <cx:pt idx="33266">1</cx:pt>
          <cx:pt idx="33267">1</cx:pt>
          <cx:pt idx="33268">0</cx:pt>
          <cx:pt idx="33269">0</cx:pt>
          <cx:pt idx="33270">1</cx:pt>
          <cx:pt idx="33271">0</cx:pt>
          <cx:pt idx="33272">1</cx:pt>
          <cx:pt idx="33273">1</cx:pt>
          <cx:pt idx="33274">0</cx:pt>
          <cx:pt idx="33275">1</cx:pt>
          <cx:pt idx="33276">1</cx:pt>
          <cx:pt idx="33277">1</cx:pt>
          <cx:pt idx="33278">0</cx:pt>
          <cx:pt idx="33279">0</cx:pt>
          <cx:pt idx="33280">0</cx:pt>
          <cx:pt idx="33281">0</cx:pt>
          <cx:pt idx="33282">0</cx:pt>
          <cx:pt idx="33283">0</cx:pt>
          <cx:pt idx="33284">0</cx:pt>
          <cx:pt idx="33285">0</cx:pt>
          <cx:pt idx="33286">0</cx:pt>
          <cx:pt idx="33287">0</cx:pt>
          <cx:pt idx="33288">0</cx:pt>
          <cx:pt idx="33289">1</cx:pt>
          <cx:pt idx="33290">0</cx:pt>
          <cx:pt idx="33291">1</cx:pt>
          <cx:pt idx="33292">0</cx:pt>
          <cx:pt idx="33293">0</cx:pt>
          <cx:pt idx="33294">1</cx:pt>
          <cx:pt idx="33295">0</cx:pt>
          <cx:pt idx="33296">1</cx:pt>
          <cx:pt idx="33297">0</cx:pt>
          <cx:pt idx="33298">0</cx:pt>
          <cx:pt idx="33299">0</cx:pt>
          <cx:pt idx="33300">1</cx:pt>
          <cx:pt idx="33301">0</cx:pt>
          <cx:pt idx="33302">0</cx:pt>
          <cx:pt idx="33303">0</cx:pt>
          <cx:pt idx="33304">0</cx:pt>
          <cx:pt idx="33305">1</cx:pt>
          <cx:pt idx="33306">0</cx:pt>
          <cx:pt idx="33307">1</cx:pt>
          <cx:pt idx="33308">0</cx:pt>
          <cx:pt idx="33309">1</cx:pt>
          <cx:pt idx="33310">0</cx:pt>
          <cx:pt idx="33311">1</cx:pt>
          <cx:pt idx="33312">1</cx:pt>
          <cx:pt idx="33313">1</cx:pt>
          <cx:pt idx="33314">0</cx:pt>
          <cx:pt idx="33315">1</cx:pt>
          <cx:pt idx="33316">1</cx:pt>
          <cx:pt idx="33317">1</cx:pt>
          <cx:pt idx="33318">0</cx:pt>
          <cx:pt idx="33319">0</cx:pt>
          <cx:pt idx="33320">1</cx:pt>
          <cx:pt idx="33321">1</cx:pt>
          <cx:pt idx="33322">0</cx:pt>
          <cx:pt idx="33323">0</cx:pt>
          <cx:pt idx="33324">1</cx:pt>
          <cx:pt idx="33325">0</cx:pt>
          <cx:pt idx="33326">1</cx:pt>
          <cx:pt idx="33327">0</cx:pt>
          <cx:pt idx="33328">0</cx:pt>
          <cx:pt idx="33329">0</cx:pt>
          <cx:pt idx="33330">1</cx:pt>
          <cx:pt idx="33331">0</cx:pt>
          <cx:pt idx="33332">0</cx:pt>
          <cx:pt idx="33333">0</cx:pt>
          <cx:pt idx="33334">0</cx:pt>
          <cx:pt idx="33335">1</cx:pt>
          <cx:pt idx="33336">0</cx:pt>
          <cx:pt idx="33337">1</cx:pt>
          <cx:pt idx="33338">1</cx:pt>
          <cx:pt idx="33339">1</cx:pt>
          <cx:pt idx="33340">0</cx:pt>
          <cx:pt idx="33341">1</cx:pt>
          <cx:pt idx="33342">0</cx:pt>
          <cx:pt idx="33343">1</cx:pt>
          <cx:pt idx="33344">1</cx:pt>
          <cx:pt idx="33345">0</cx:pt>
          <cx:pt idx="33346">0</cx:pt>
          <cx:pt idx="33347">0</cx:pt>
          <cx:pt idx="33348">0</cx:pt>
          <cx:pt idx="33349">0</cx:pt>
          <cx:pt idx="33350">1</cx:pt>
          <cx:pt idx="33351">0</cx:pt>
          <cx:pt idx="33352">1</cx:pt>
          <cx:pt idx="33353">0</cx:pt>
          <cx:pt idx="33354">0</cx:pt>
          <cx:pt idx="33355">1</cx:pt>
          <cx:pt idx="33356">0</cx:pt>
          <cx:pt idx="33357">1</cx:pt>
          <cx:pt idx="33358">1</cx:pt>
          <cx:pt idx="33359">1</cx:pt>
          <cx:pt idx="33360">0</cx:pt>
          <cx:pt idx="33361">0</cx:pt>
          <cx:pt idx="33362">0</cx:pt>
          <cx:pt idx="33363">0</cx:pt>
          <cx:pt idx="33364">1</cx:pt>
          <cx:pt idx="33365">0</cx:pt>
          <cx:pt idx="33366">1</cx:pt>
          <cx:pt idx="33367">1</cx:pt>
          <cx:pt idx="33368">1</cx:pt>
          <cx:pt idx="33369">0</cx:pt>
          <cx:pt idx="33370">1</cx:pt>
          <cx:pt idx="33371">0</cx:pt>
          <cx:pt idx="33372">0</cx:pt>
          <cx:pt idx="33373">1</cx:pt>
          <cx:pt idx="33374">0</cx:pt>
          <cx:pt idx="33375">0</cx:pt>
          <cx:pt idx="33376">1</cx:pt>
          <cx:pt idx="33377">0</cx:pt>
          <cx:pt idx="33378">0</cx:pt>
          <cx:pt idx="33379">0</cx:pt>
          <cx:pt idx="33380">1</cx:pt>
          <cx:pt idx="33381">1</cx:pt>
          <cx:pt idx="33382">0</cx:pt>
          <cx:pt idx="33383">1</cx:pt>
          <cx:pt idx="33384">1</cx:pt>
          <cx:pt idx="33385">1</cx:pt>
          <cx:pt idx="33386">1</cx:pt>
          <cx:pt idx="33387">0</cx:pt>
          <cx:pt idx="33388">0</cx:pt>
          <cx:pt idx="33389">0</cx:pt>
          <cx:pt idx="33390">1</cx:pt>
          <cx:pt idx="33391">1</cx:pt>
          <cx:pt idx="33392">1</cx:pt>
          <cx:pt idx="33393">1</cx:pt>
          <cx:pt idx="33394">1</cx:pt>
          <cx:pt idx="33395">1</cx:pt>
          <cx:pt idx="33396">0</cx:pt>
          <cx:pt idx="33397">0</cx:pt>
          <cx:pt idx="33398">1</cx:pt>
          <cx:pt idx="33399">1</cx:pt>
          <cx:pt idx="33400">0</cx:pt>
          <cx:pt idx="33401">1</cx:pt>
          <cx:pt idx="33402">1</cx:pt>
          <cx:pt idx="33403">1</cx:pt>
          <cx:pt idx="33404">1</cx:pt>
          <cx:pt idx="33405">0</cx:pt>
          <cx:pt idx="33406">1</cx:pt>
          <cx:pt idx="33407">0</cx:pt>
          <cx:pt idx="33408">0</cx:pt>
          <cx:pt idx="33409">0</cx:pt>
          <cx:pt idx="33410">0</cx:pt>
          <cx:pt idx="33411">0</cx:pt>
          <cx:pt idx="33412">1</cx:pt>
          <cx:pt idx="33413">1</cx:pt>
          <cx:pt idx="33414">0</cx:pt>
          <cx:pt idx="33415">0</cx:pt>
          <cx:pt idx="33416">0</cx:pt>
          <cx:pt idx="33417">0</cx:pt>
          <cx:pt idx="33418">1</cx:pt>
          <cx:pt idx="33419">1</cx:pt>
          <cx:pt idx="33420">1</cx:pt>
          <cx:pt idx="33421">1</cx:pt>
          <cx:pt idx="33422">1</cx:pt>
          <cx:pt idx="33423">1</cx:pt>
          <cx:pt idx="33424">0</cx:pt>
          <cx:pt idx="33425">1</cx:pt>
          <cx:pt idx="33426">1</cx:pt>
          <cx:pt idx="33427">1</cx:pt>
          <cx:pt idx="33428">0</cx:pt>
          <cx:pt idx="33429">1</cx:pt>
          <cx:pt idx="33430">1</cx:pt>
          <cx:pt idx="33431">0</cx:pt>
          <cx:pt idx="33432">0</cx:pt>
          <cx:pt idx="33433">1</cx:pt>
          <cx:pt idx="33434">0</cx:pt>
          <cx:pt idx="33435">1</cx:pt>
          <cx:pt idx="33436">0</cx:pt>
          <cx:pt idx="33437">0</cx:pt>
          <cx:pt idx="33438">1</cx:pt>
          <cx:pt idx="33439">0</cx:pt>
          <cx:pt idx="33440">1</cx:pt>
          <cx:pt idx="33441">0</cx:pt>
          <cx:pt idx="33442">1</cx:pt>
          <cx:pt idx="33443">1</cx:pt>
          <cx:pt idx="33444">1</cx:pt>
          <cx:pt idx="33445">0</cx:pt>
          <cx:pt idx="33446">1</cx:pt>
          <cx:pt idx="33447">0</cx:pt>
          <cx:pt idx="33448">1</cx:pt>
          <cx:pt idx="33449">0</cx:pt>
          <cx:pt idx="33450">0</cx:pt>
          <cx:pt idx="33451">0</cx:pt>
          <cx:pt idx="33452">0</cx:pt>
          <cx:pt idx="33453">1</cx:pt>
          <cx:pt idx="33454">1</cx:pt>
          <cx:pt idx="33455">0</cx:pt>
          <cx:pt idx="33456">0</cx:pt>
          <cx:pt idx="33457">1</cx:pt>
          <cx:pt idx="33458">0</cx:pt>
          <cx:pt idx="33459">1</cx:pt>
          <cx:pt idx="33460">0</cx:pt>
          <cx:pt idx="33461">0</cx:pt>
          <cx:pt idx="33462">0</cx:pt>
          <cx:pt idx="33463">1</cx:pt>
          <cx:pt idx="33464">1</cx:pt>
          <cx:pt idx="33465">0</cx:pt>
          <cx:pt idx="33466">1</cx:pt>
          <cx:pt idx="33467">0</cx:pt>
          <cx:pt idx="33468">0</cx:pt>
          <cx:pt idx="33469">1</cx:pt>
          <cx:pt idx="33470">0</cx:pt>
          <cx:pt idx="33471">0</cx:pt>
          <cx:pt idx="33472">0</cx:pt>
          <cx:pt idx="33473">0</cx:pt>
          <cx:pt idx="33474">0</cx:pt>
          <cx:pt idx="33475">0</cx:pt>
          <cx:pt idx="33476">0</cx:pt>
          <cx:pt idx="33477">0</cx:pt>
          <cx:pt idx="33478">1</cx:pt>
          <cx:pt idx="33479">0</cx:pt>
          <cx:pt idx="33480">0</cx:pt>
          <cx:pt idx="33481">1</cx:pt>
          <cx:pt idx="33482">0</cx:pt>
          <cx:pt idx="33483">0</cx:pt>
          <cx:pt idx="33484">1</cx:pt>
          <cx:pt idx="33485">1</cx:pt>
          <cx:pt idx="33486">0</cx:pt>
          <cx:pt idx="33487">0</cx:pt>
          <cx:pt idx="33488">1</cx:pt>
          <cx:pt idx="33489">0</cx:pt>
          <cx:pt idx="33490">1</cx:pt>
          <cx:pt idx="33491">0</cx:pt>
          <cx:pt idx="33492">0</cx:pt>
          <cx:pt idx="33493">0</cx:pt>
          <cx:pt idx="33494">0</cx:pt>
          <cx:pt idx="33495">0</cx:pt>
          <cx:pt idx="33496">0</cx:pt>
          <cx:pt idx="33497">0</cx:pt>
          <cx:pt idx="33498">1</cx:pt>
          <cx:pt idx="33499">0</cx:pt>
          <cx:pt idx="33500">0</cx:pt>
          <cx:pt idx="33501">1</cx:pt>
          <cx:pt idx="33502">0</cx:pt>
          <cx:pt idx="33503">0</cx:pt>
          <cx:pt idx="33504">1</cx:pt>
          <cx:pt idx="33505">1</cx:pt>
          <cx:pt idx="33506">0</cx:pt>
          <cx:pt idx="33507">0</cx:pt>
          <cx:pt idx="33508">0</cx:pt>
          <cx:pt idx="33509">1</cx:pt>
          <cx:pt idx="33510">0</cx:pt>
          <cx:pt idx="33511">1</cx:pt>
          <cx:pt idx="33512">0</cx:pt>
          <cx:pt idx="33513">1</cx:pt>
          <cx:pt idx="33514">0</cx:pt>
          <cx:pt idx="33515">1</cx:pt>
          <cx:pt idx="33516">0</cx:pt>
          <cx:pt idx="33517">0</cx:pt>
          <cx:pt idx="33518">0</cx:pt>
          <cx:pt idx="33519">1</cx:pt>
          <cx:pt idx="33520">0</cx:pt>
          <cx:pt idx="33521">0</cx:pt>
          <cx:pt idx="33522">1</cx:pt>
          <cx:pt idx="33523">0</cx:pt>
          <cx:pt idx="33524">1</cx:pt>
          <cx:pt idx="33525">0</cx:pt>
          <cx:pt idx="33526">1</cx:pt>
          <cx:pt idx="33527">1</cx:pt>
          <cx:pt idx="33528">0</cx:pt>
          <cx:pt idx="33529">1</cx:pt>
          <cx:pt idx="33530">1</cx:pt>
          <cx:pt idx="33531">1</cx:pt>
          <cx:pt idx="33532">1</cx:pt>
          <cx:pt idx="33533">0</cx:pt>
          <cx:pt idx="33534">0</cx:pt>
          <cx:pt idx="33535">0</cx:pt>
          <cx:pt idx="33536">1</cx:pt>
          <cx:pt idx="33537">0</cx:pt>
          <cx:pt idx="33538">1</cx:pt>
          <cx:pt idx="33539">1</cx:pt>
          <cx:pt idx="33540">0</cx:pt>
          <cx:pt idx="33541">1</cx:pt>
          <cx:pt idx="33542">1</cx:pt>
          <cx:pt idx="33543">1</cx:pt>
          <cx:pt idx="33544">0</cx:pt>
          <cx:pt idx="33545">1</cx:pt>
          <cx:pt idx="33546">0</cx:pt>
          <cx:pt idx="33547">1</cx:pt>
          <cx:pt idx="33548">0</cx:pt>
          <cx:pt idx="33549">0</cx:pt>
          <cx:pt idx="33550">1</cx:pt>
          <cx:pt idx="33551">0</cx:pt>
          <cx:pt idx="33552">0</cx:pt>
          <cx:pt idx="33553">1</cx:pt>
          <cx:pt idx="33554">1</cx:pt>
          <cx:pt idx="33555">0</cx:pt>
          <cx:pt idx="33556">0</cx:pt>
          <cx:pt idx="33557">0</cx:pt>
          <cx:pt idx="33558">1</cx:pt>
          <cx:pt idx="33559">0</cx:pt>
          <cx:pt idx="33560">0</cx:pt>
          <cx:pt idx="33561">1</cx:pt>
          <cx:pt idx="33562">1</cx:pt>
          <cx:pt idx="33563">1</cx:pt>
          <cx:pt idx="33564">1</cx:pt>
          <cx:pt idx="33565">1</cx:pt>
          <cx:pt idx="33566">0</cx:pt>
          <cx:pt idx="33567">0</cx:pt>
          <cx:pt idx="33568">0</cx:pt>
          <cx:pt idx="33569">0</cx:pt>
          <cx:pt idx="33570">0</cx:pt>
          <cx:pt idx="33571">0</cx:pt>
          <cx:pt idx="33572">0</cx:pt>
          <cx:pt idx="33573">0</cx:pt>
          <cx:pt idx="33574">1</cx:pt>
          <cx:pt idx="33575">0</cx:pt>
          <cx:pt idx="33576">0</cx:pt>
          <cx:pt idx="33577">0</cx:pt>
          <cx:pt idx="33578">0</cx:pt>
          <cx:pt idx="33579">0</cx:pt>
          <cx:pt idx="33580">0</cx:pt>
          <cx:pt idx="33581">0</cx:pt>
          <cx:pt idx="33582">1</cx:pt>
          <cx:pt idx="33583">0</cx:pt>
          <cx:pt idx="33584">0</cx:pt>
          <cx:pt idx="33585">1</cx:pt>
          <cx:pt idx="33586">1</cx:pt>
          <cx:pt idx="33587">0</cx:pt>
          <cx:pt idx="33588">1</cx:pt>
          <cx:pt idx="33589">1</cx:pt>
          <cx:pt idx="33590">0</cx:pt>
          <cx:pt idx="33591">1</cx:pt>
          <cx:pt idx="33592">0</cx:pt>
          <cx:pt idx="33593">1</cx:pt>
          <cx:pt idx="33594">0</cx:pt>
          <cx:pt idx="33595">0</cx:pt>
          <cx:pt idx="33596">0</cx:pt>
          <cx:pt idx="33597">0</cx:pt>
          <cx:pt idx="33598">0</cx:pt>
          <cx:pt idx="33599">1</cx:pt>
          <cx:pt idx="33600">1</cx:pt>
          <cx:pt idx="33601">0</cx:pt>
          <cx:pt idx="33602">1</cx:pt>
          <cx:pt idx="33603">0</cx:pt>
          <cx:pt idx="33604">0</cx:pt>
          <cx:pt idx="33605">0</cx:pt>
          <cx:pt idx="33606">1</cx:pt>
          <cx:pt idx="33607">0</cx:pt>
          <cx:pt idx="33608">0</cx:pt>
          <cx:pt idx="33609">1</cx:pt>
          <cx:pt idx="33610">0</cx:pt>
          <cx:pt idx="33611">0</cx:pt>
          <cx:pt idx="33612">0</cx:pt>
          <cx:pt idx="33613">1</cx:pt>
          <cx:pt idx="33614">1</cx:pt>
          <cx:pt idx="33615">1</cx:pt>
          <cx:pt idx="33616">0</cx:pt>
          <cx:pt idx="33617">0</cx:pt>
          <cx:pt idx="33618">1</cx:pt>
          <cx:pt idx="33619">1</cx:pt>
          <cx:pt idx="33620">1</cx:pt>
          <cx:pt idx="33621">1</cx:pt>
          <cx:pt idx="33622">1</cx:pt>
          <cx:pt idx="33623">1</cx:pt>
          <cx:pt idx="33624">0</cx:pt>
          <cx:pt idx="33625">0</cx:pt>
          <cx:pt idx="33626">0</cx:pt>
          <cx:pt idx="33627">0</cx:pt>
          <cx:pt idx="33628">1</cx:pt>
          <cx:pt idx="33629">1</cx:pt>
          <cx:pt idx="33630">1</cx:pt>
          <cx:pt idx="33631">1</cx:pt>
          <cx:pt idx="33632">1</cx:pt>
          <cx:pt idx="33633">0</cx:pt>
          <cx:pt idx="33634">0</cx:pt>
          <cx:pt idx="33635">1</cx:pt>
          <cx:pt idx="33636">0</cx:pt>
          <cx:pt idx="33637">0</cx:pt>
          <cx:pt idx="33638">1</cx:pt>
          <cx:pt idx="33639">0</cx:pt>
          <cx:pt idx="33640">1</cx:pt>
          <cx:pt idx="33641">0</cx:pt>
          <cx:pt idx="33642">0</cx:pt>
          <cx:pt idx="33643">0</cx:pt>
          <cx:pt idx="33644">1</cx:pt>
          <cx:pt idx="33645">0</cx:pt>
          <cx:pt idx="33646">0</cx:pt>
          <cx:pt idx="33647">0</cx:pt>
          <cx:pt idx="33648">0</cx:pt>
          <cx:pt idx="33649">0</cx:pt>
          <cx:pt idx="33650">1</cx:pt>
          <cx:pt idx="33651">0</cx:pt>
          <cx:pt idx="33652">0</cx:pt>
          <cx:pt idx="33653">1</cx:pt>
          <cx:pt idx="33654">1</cx:pt>
          <cx:pt idx="33655">0</cx:pt>
          <cx:pt idx="33656">1</cx:pt>
          <cx:pt idx="33657">1</cx:pt>
          <cx:pt idx="33658">1</cx:pt>
          <cx:pt idx="33659">0</cx:pt>
          <cx:pt idx="33660">0</cx:pt>
          <cx:pt idx="33661">0</cx:pt>
          <cx:pt idx="33662">1</cx:pt>
          <cx:pt idx="33663">0</cx:pt>
          <cx:pt idx="33664">0</cx:pt>
          <cx:pt idx="33665">0</cx:pt>
          <cx:pt idx="33666">1</cx:pt>
          <cx:pt idx="33667">0</cx:pt>
          <cx:pt idx="33668">1</cx:pt>
          <cx:pt idx="33669">1</cx:pt>
          <cx:pt idx="33670">1</cx:pt>
          <cx:pt idx="33671">0</cx:pt>
          <cx:pt idx="33672">0</cx:pt>
          <cx:pt idx="33673">1</cx:pt>
          <cx:pt idx="33674">0</cx:pt>
          <cx:pt idx="33675">0</cx:pt>
          <cx:pt idx="33676">0</cx:pt>
          <cx:pt idx="33677">1</cx:pt>
          <cx:pt idx="33678">1</cx:pt>
          <cx:pt idx="33679">0</cx:pt>
          <cx:pt idx="33680">1</cx:pt>
          <cx:pt idx="33681">1</cx:pt>
          <cx:pt idx="33682">0</cx:pt>
          <cx:pt idx="33683">1</cx:pt>
          <cx:pt idx="33684">0</cx:pt>
          <cx:pt idx="33685">1</cx:pt>
          <cx:pt idx="33686">1</cx:pt>
          <cx:pt idx="33687">1</cx:pt>
          <cx:pt idx="33688">1</cx:pt>
          <cx:pt idx="33689">0</cx:pt>
          <cx:pt idx="33690">1</cx:pt>
          <cx:pt idx="33691">0</cx:pt>
          <cx:pt idx="33692">0</cx:pt>
          <cx:pt idx="33693">1</cx:pt>
          <cx:pt idx="33694">0</cx:pt>
          <cx:pt idx="33695">1</cx:pt>
          <cx:pt idx="33696">1</cx:pt>
          <cx:pt idx="33697">1</cx:pt>
          <cx:pt idx="33698">1</cx:pt>
          <cx:pt idx="33699">0</cx:pt>
          <cx:pt idx="33700">0</cx:pt>
          <cx:pt idx="33701">0</cx:pt>
          <cx:pt idx="33702">1</cx:pt>
          <cx:pt idx="33703">0</cx:pt>
          <cx:pt idx="33704">1</cx:pt>
          <cx:pt idx="33705">0</cx:pt>
          <cx:pt idx="33706">0</cx:pt>
          <cx:pt idx="33707">0</cx:pt>
          <cx:pt idx="33708">0</cx:pt>
          <cx:pt idx="33709">1</cx:pt>
          <cx:pt idx="33710">1</cx:pt>
          <cx:pt idx="33711">1</cx:pt>
          <cx:pt idx="33712">1</cx:pt>
          <cx:pt idx="33713">0</cx:pt>
          <cx:pt idx="33714">1</cx:pt>
          <cx:pt idx="33715">0</cx:pt>
          <cx:pt idx="33716">0</cx:pt>
          <cx:pt idx="33717">0</cx:pt>
          <cx:pt idx="33718">0</cx:pt>
          <cx:pt idx="33719">1</cx:pt>
          <cx:pt idx="33720">0</cx:pt>
          <cx:pt idx="33721">0</cx:pt>
          <cx:pt idx="33722">0</cx:pt>
          <cx:pt idx="33723">0</cx:pt>
          <cx:pt idx="33724">0</cx:pt>
          <cx:pt idx="33725">0</cx:pt>
          <cx:pt idx="33726">0</cx:pt>
          <cx:pt idx="33727">0</cx:pt>
          <cx:pt idx="33728">0</cx:pt>
          <cx:pt idx="33729">0</cx:pt>
          <cx:pt idx="33730">1</cx:pt>
          <cx:pt idx="33731">0</cx:pt>
          <cx:pt idx="33732">0</cx:pt>
          <cx:pt idx="33733">0</cx:pt>
          <cx:pt idx="33734">1</cx:pt>
          <cx:pt idx="33735">0</cx:pt>
          <cx:pt idx="33736">0</cx:pt>
          <cx:pt idx="33737">0</cx:pt>
          <cx:pt idx="33738">1</cx:pt>
          <cx:pt idx="33739">0</cx:pt>
          <cx:pt idx="33740">0</cx:pt>
          <cx:pt idx="33741">0</cx:pt>
          <cx:pt idx="33742">1</cx:pt>
          <cx:pt idx="33743">1</cx:pt>
          <cx:pt idx="33744">0</cx:pt>
          <cx:pt idx="33745">1</cx:pt>
          <cx:pt idx="33746">0</cx:pt>
          <cx:pt idx="33747">1</cx:pt>
          <cx:pt idx="33748">0</cx:pt>
          <cx:pt idx="33749">0</cx:pt>
          <cx:pt idx="33750">0</cx:pt>
          <cx:pt idx="33751">0</cx:pt>
          <cx:pt idx="33752">0</cx:pt>
          <cx:pt idx="33753">1</cx:pt>
          <cx:pt idx="33754">1</cx:pt>
          <cx:pt idx="33755">1</cx:pt>
          <cx:pt idx="33756">0</cx:pt>
          <cx:pt idx="33757">0</cx:pt>
          <cx:pt idx="33758">0</cx:pt>
          <cx:pt idx="33759">0</cx:pt>
          <cx:pt idx="33760">0</cx:pt>
          <cx:pt idx="33761">1</cx:pt>
          <cx:pt idx="33762">1</cx:pt>
          <cx:pt idx="33763">1</cx:pt>
          <cx:pt idx="33764">1</cx:pt>
          <cx:pt idx="33765">0</cx:pt>
          <cx:pt idx="33766">1</cx:pt>
          <cx:pt idx="33767">0</cx:pt>
          <cx:pt idx="33768">1</cx:pt>
          <cx:pt idx="33769">0</cx:pt>
          <cx:pt idx="33770">1</cx:pt>
          <cx:pt idx="33771">0</cx:pt>
          <cx:pt idx="33772">0</cx:pt>
          <cx:pt idx="33773">1</cx:pt>
          <cx:pt idx="33774">0</cx:pt>
          <cx:pt idx="33775">1</cx:pt>
          <cx:pt idx="33776">0</cx:pt>
          <cx:pt idx="33777">0</cx:pt>
          <cx:pt idx="33778">0</cx:pt>
          <cx:pt idx="33779">0</cx:pt>
          <cx:pt idx="33780">1</cx:pt>
          <cx:pt idx="33781">1</cx:pt>
          <cx:pt idx="33782">1</cx:pt>
          <cx:pt idx="33783">1</cx:pt>
          <cx:pt idx="33784">1</cx:pt>
          <cx:pt idx="33785">1</cx:pt>
          <cx:pt idx="33786">1</cx:pt>
          <cx:pt idx="33787">0</cx:pt>
          <cx:pt idx="33788">1</cx:pt>
          <cx:pt idx="33789">0</cx:pt>
          <cx:pt idx="33790">1</cx:pt>
          <cx:pt idx="33791">0</cx:pt>
          <cx:pt idx="33792">0</cx:pt>
          <cx:pt idx="33793">0</cx:pt>
          <cx:pt idx="33794">1</cx:pt>
          <cx:pt idx="33795">1</cx:pt>
          <cx:pt idx="33796">1</cx:pt>
          <cx:pt idx="33797">0</cx:pt>
          <cx:pt idx="33798">1</cx:pt>
          <cx:pt idx="33799">0</cx:pt>
          <cx:pt idx="33800">1</cx:pt>
          <cx:pt idx="33801">1</cx:pt>
          <cx:pt idx="33802">0</cx:pt>
          <cx:pt idx="33803">1</cx:pt>
          <cx:pt idx="33804">1</cx:pt>
          <cx:pt idx="33805">1</cx:pt>
          <cx:pt idx="33806">0</cx:pt>
          <cx:pt idx="33807">1</cx:pt>
          <cx:pt idx="33808">1</cx:pt>
          <cx:pt idx="33809">1</cx:pt>
          <cx:pt idx="33810">1</cx:pt>
          <cx:pt idx="33811">1</cx:pt>
          <cx:pt idx="33812">0</cx:pt>
          <cx:pt idx="33813">1</cx:pt>
          <cx:pt idx="33814">1</cx:pt>
          <cx:pt idx="33815">0</cx:pt>
          <cx:pt idx="33816">0</cx:pt>
          <cx:pt idx="33817">1</cx:pt>
          <cx:pt idx="33818">1</cx:pt>
          <cx:pt idx="33819">0</cx:pt>
          <cx:pt idx="33820">1</cx:pt>
          <cx:pt idx="33821">1</cx:pt>
          <cx:pt idx="33822">0</cx:pt>
          <cx:pt idx="33823">1</cx:pt>
          <cx:pt idx="33824">0</cx:pt>
          <cx:pt idx="33825">1</cx:pt>
          <cx:pt idx="33826">1</cx:pt>
          <cx:pt idx="33827">1</cx:pt>
          <cx:pt idx="33828">1</cx:pt>
          <cx:pt idx="33829">0</cx:pt>
          <cx:pt idx="33830">1</cx:pt>
          <cx:pt idx="33831">1</cx:pt>
          <cx:pt idx="33832">1</cx:pt>
          <cx:pt idx="33833">1</cx:pt>
          <cx:pt idx="33834">1</cx:pt>
          <cx:pt idx="33835">1</cx:pt>
          <cx:pt idx="33836">0</cx:pt>
          <cx:pt idx="33837">0</cx:pt>
          <cx:pt idx="33838">1</cx:pt>
          <cx:pt idx="33839">0</cx:pt>
          <cx:pt idx="33840">1</cx:pt>
          <cx:pt idx="33841">0</cx:pt>
          <cx:pt idx="33842">1</cx:pt>
          <cx:pt idx="33843">0</cx:pt>
          <cx:pt idx="33844">0</cx:pt>
          <cx:pt idx="33845">1</cx:pt>
          <cx:pt idx="33846">0</cx:pt>
          <cx:pt idx="33847">1</cx:pt>
          <cx:pt idx="33848">0</cx:pt>
          <cx:pt idx="33849">0</cx:pt>
          <cx:pt idx="33850">1</cx:pt>
          <cx:pt idx="33851">1</cx:pt>
          <cx:pt idx="33852">0</cx:pt>
          <cx:pt idx="33853">0</cx:pt>
          <cx:pt idx="33854">1</cx:pt>
          <cx:pt idx="33855">1</cx:pt>
          <cx:pt idx="33856">1</cx:pt>
          <cx:pt idx="33857">0</cx:pt>
          <cx:pt idx="33858">0</cx:pt>
          <cx:pt idx="33859">1</cx:pt>
          <cx:pt idx="33860">1</cx:pt>
          <cx:pt idx="33861">0</cx:pt>
          <cx:pt idx="33862">0</cx:pt>
          <cx:pt idx="33863">0</cx:pt>
          <cx:pt idx="33864">0</cx:pt>
          <cx:pt idx="33865">0</cx:pt>
          <cx:pt idx="33866">1</cx:pt>
          <cx:pt idx="33867">1</cx:pt>
          <cx:pt idx="33868">1</cx:pt>
          <cx:pt idx="33869">1</cx:pt>
          <cx:pt idx="33870">0</cx:pt>
          <cx:pt idx="33871">0</cx:pt>
          <cx:pt idx="33872">1</cx:pt>
          <cx:pt idx="33873">0</cx:pt>
          <cx:pt idx="33874">0</cx:pt>
          <cx:pt idx="33875">0</cx:pt>
          <cx:pt idx="33876">1</cx:pt>
          <cx:pt idx="33877">1</cx:pt>
          <cx:pt idx="33878">0</cx:pt>
          <cx:pt idx="33879">0</cx:pt>
          <cx:pt idx="33880">0</cx:pt>
          <cx:pt idx="33881">1</cx:pt>
          <cx:pt idx="33882">0</cx:pt>
          <cx:pt idx="33883">0</cx:pt>
          <cx:pt idx="33884">0</cx:pt>
          <cx:pt idx="33885">1</cx:pt>
          <cx:pt idx="33886">1</cx:pt>
          <cx:pt idx="33887">0</cx:pt>
          <cx:pt idx="33888">0</cx:pt>
          <cx:pt idx="33889">0</cx:pt>
          <cx:pt idx="33890">0</cx:pt>
          <cx:pt idx="33891">1</cx:pt>
          <cx:pt idx="33892">1</cx:pt>
          <cx:pt idx="33893">0</cx:pt>
          <cx:pt idx="33894">1</cx:pt>
          <cx:pt idx="33895">1</cx:pt>
          <cx:pt idx="33896">1</cx:pt>
          <cx:pt idx="33897">1</cx:pt>
          <cx:pt idx="33898">0</cx:pt>
          <cx:pt idx="33899">1</cx:pt>
          <cx:pt idx="33900">0</cx:pt>
          <cx:pt idx="33901">1</cx:pt>
          <cx:pt idx="33902">0</cx:pt>
          <cx:pt idx="33903">0</cx:pt>
          <cx:pt idx="33904">1</cx:pt>
          <cx:pt idx="33905">1</cx:pt>
          <cx:pt idx="33906">1</cx:pt>
          <cx:pt idx="33907">0</cx:pt>
          <cx:pt idx="33908">1</cx:pt>
          <cx:pt idx="33909">0</cx:pt>
          <cx:pt idx="33910">0</cx:pt>
          <cx:pt idx="33911">0</cx:pt>
          <cx:pt idx="33912">0</cx:pt>
          <cx:pt idx="33913">0</cx:pt>
          <cx:pt idx="33914">1</cx:pt>
          <cx:pt idx="33915">1</cx:pt>
          <cx:pt idx="33916">1</cx:pt>
          <cx:pt idx="33917">0</cx:pt>
          <cx:pt idx="33918">0</cx:pt>
          <cx:pt idx="33919">0</cx:pt>
          <cx:pt idx="33920">1</cx:pt>
          <cx:pt idx="33921">0</cx:pt>
          <cx:pt idx="33922">0</cx:pt>
          <cx:pt idx="33923">0</cx:pt>
          <cx:pt idx="33924">0</cx:pt>
          <cx:pt idx="33925">1</cx:pt>
          <cx:pt idx="33926">0</cx:pt>
          <cx:pt idx="33927">1</cx:pt>
          <cx:pt idx="33928">1</cx:pt>
          <cx:pt idx="33929">0</cx:pt>
          <cx:pt idx="33930">0</cx:pt>
          <cx:pt idx="33931">1</cx:pt>
          <cx:pt idx="33932">0</cx:pt>
          <cx:pt idx="33933">0</cx:pt>
          <cx:pt idx="33934">1</cx:pt>
          <cx:pt idx="33935">0</cx:pt>
          <cx:pt idx="33936">0</cx:pt>
          <cx:pt idx="33937">0</cx:pt>
          <cx:pt idx="33938">0</cx:pt>
          <cx:pt idx="33939">1</cx:pt>
          <cx:pt idx="33940">0</cx:pt>
          <cx:pt idx="33941">1</cx:pt>
          <cx:pt idx="33942">1</cx:pt>
          <cx:pt idx="33943">0</cx:pt>
          <cx:pt idx="33944">1</cx:pt>
          <cx:pt idx="33945">0</cx:pt>
          <cx:pt idx="33946">1</cx:pt>
          <cx:pt idx="33947">0</cx:pt>
          <cx:pt idx="33948">1</cx:pt>
          <cx:pt idx="33949">0</cx:pt>
          <cx:pt idx="33950">1</cx:pt>
          <cx:pt idx="33951">0</cx:pt>
          <cx:pt idx="33952">0</cx:pt>
          <cx:pt idx="33953">0</cx:pt>
          <cx:pt idx="33954">1</cx:pt>
          <cx:pt idx="33955">0</cx:pt>
          <cx:pt idx="33956">0</cx:pt>
          <cx:pt idx="33957">0</cx:pt>
          <cx:pt idx="33958">1</cx:pt>
          <cx:pt idx="33959">0</cx:pt>
          <cx:pt idx="33960">0</cx:pt>
          <cx:pt idx="33961">1</cx:pt>
          <cx:pt idx="33962">0</cx:pt>
          <cx:pt idx="33963">1</cx:pt>
          <cx:pt idx="33964">0</cx:pt>
          <cx:pt idx="33965">1</cx:pt>
          <cx:pt idx="33966">0</cx:pt>
          <cx:pt idx="33967">1</cx:pt>
          <cx:pt idx="33968">0</cx:pt>
          <cx:pt idx="33969">0</cx:pt>
          <cx:pt idx="33970">0</cx:pt>
          <cx:pt idx="33971">0</cx:pt>
          <cx:pt idx="33972">0</cx:pt>
          <cx:pt idx="33973">0</cx:pt>
          <cx:pt idx="33974">0</cx:pt>
          <cx:pt idx="33975">0</cx:pt>
          <cx:pt idx="33976">1</cx:pt>
          <cx:pt idx="33977">0</cx:pt>
          <cx:pt idx="33978">1</cx:pt>
          <cx:pt idx="33979">0</cx:pt>
          <cx:pt idx="33980">1</cx:pt>
          <cx:pt idx="33981">1</cx:pt>
          <cx:pt idx="33982">1</cx:pt>
          <cx:pt idx="33983">0</cx:pt>
          <cx:pt idx="33984">1</cx:pt>
          <cx:pt idx="33985">0</cx:pt>
          <cx:pt idx="33986">0</cx:pt>
          <cx:pt idx="33987">1</cx:pt>
          <cx:pt idx="33988">1</cx:pt>
          <cx:pt idx="33989">0</cx:pt>
          <cx:pt idx="33990">0</cx:pt>
          <cx:pt idx="33991">1</cx:pt>
          <cx:pt idx="33992">0</cx:pt>
          <cx:pt idx="33993">1</cx:pt>
          <cx:pt idx="33994">0</cx:pt>
          <cx:pt idx="33995">0</cx:pt>
          <cx:pt idx="33996">0</cx:pt>
          <cx:pt idx="33997">1</cx:pt>
          <cx:pt idx="33998">1</cx:pt>
          <cx:pt idx="33999">1</cx:pt>
          <cx:pt idx="34000">1</cx:pt>
          <cx:pt idx="34001">0</cx:pt>
          <cx:pt idx="34002">1</cx:pt>
          <cx:pt idx="34003">1</cx:pt>
          <cx:pt idx="34004">1</cx:pt>
          <cx:pt idx="34005">0</cx:pt>
          <cx:pt idx="34006">1</cx:pt>
          <cx:pt idx="34007">0</cx:pt>
          <cx:pt idx="34008">1</cx:pt>
          <cx:pt idx="34009">1</cx:pt>
          <cx:pt idx="34010">0</cx:pt>
          <cx:pt idx="34011">0</cx:pt>
          <cx:pt idx="34012">0</cx:pt>
          <cx:pt idx="34013">1</cx:pt>
          <cx:pt idx="34014">1</cx:pt>
          <cx:pt idx="34015">1</cx:pt>
          <cx:pt idx="34016">1</cx:pt>
          <cx:pt idx="34017">0</cx:pt>
          <cx:pt idx="34018">0</cx:pt>
          <cx:pt idx="34019">0</cx:pt>
          <cx:pt idx="34020">0</cx:pt>
          <cx:pt idx="34021">0</cx:pt>
          <cx:pt idx="34022">1</cx:pt>
          <cx:pt idx="34023">1</cx:pt>
          <cx:pt idx="34024">0</cx:pt>
          <cx:pt idx="34025">0</cx:pt>
          <cx:pt idx="34026">1</cx:pt>
          <cx:pt idx="34027">1</cx:pt>
          <cx:pt idx="34028">1</cx:pt>
          <cx:pt idx="34029">0</cx:pt>
          <cx:pt idx="34030">0</cx:pt>
          <cx:pt idx="34031">0</cx:pt>
          <cx:pt idx="34032">1</cx:pt>
          <cx:pt idx="34033">1</cx:pt>
          <cx:pt idx="34034">0</cx:pt>
          <cx:pt idx="34035">1</cx:pt>
          <cx:pt idx="34036">1</cx:pt>
          <cx:pt idx="34037">1</cx:pt>
          <cx:pt idx="34038">0</cx:pt>
          <cx:pt idx="34039">1</cx:pt>
          <cx:pt idx="34040">0</cx:pt>
          <cx:pt idx="34041">1</cx:pt>
          <cx:pt idx="34042">0</cx:pt>
          <cx:pt idx="34043">0</cx:pt>
          <cx:pt idx="34044">1</cx:pt>
          <cx:pt idx="34045">0</cx:pt>
          <cx:pt idx="34046">0</cx:pt>
          <cx:pt idx="34047">0</cx:pt>
          <cx:pt idx="34048">1</cx:pt>
          <cx:pt idx="34049">1</cx:pt>
          <cx:pt idx="34050">0</cx:pt>
          <cx:pt idx="34051">0</cx:pt>
          <cx:pt idx="34052">0</cx:pt>
          <cx:pt idx="34053">0</cx:pt>
          <cx:pt idx="34054">1</cx:pt>
          <cx:pt idx="34055">0</cx:pt>
          <cx:pt idx="34056">0</cx:pt>
          <cx:pt idx="34057">1</cx:pt>
          <cx:pt idx="34058">1</cx:pt>
          <cx:pt idx="34059">0</cx:pt>
          <cx:pt idx="34060">1</cx:pt>
          <cx:pt idx="34061">0</cx:pt>
          <cx:pt idx="34062">0</cx:pt>
          <cx:pt idx="34063">0</cx:pt>
          <cx:pt idx="34064">0</cx:pt>
          <cx:pt idx="34065">1</cx:pt>
          <cx:pt idx="34066">1</cx:pt>
          <cx:pt idx="34067">0</cx:pt>
          <cx:pt idx="34068">0</cx:pt>
          <cx:pt idx="34069">0</cx:pt>
          <cx:pt idx="34070">0</cx:pt>
          <cx:pt idx="34071">1</cx:pt>
          <cx:pt idx="34072">1</cx:pt>
          <cx:pt idx="34073">0</cx:pt>
          <cx:pt idx="34074">1</cx:pt>
          <cx:pt idx="34075">0</cx:pt>
          <cx:pt idx="34076">1</cx:pt>
          <cx:pt idx="34077">1</cx:pt>
          <cx:pt idx="34078">0</cx:pt>
          <cx:pt idx="34079">0</cx:pt>
          <cx:pt idx="34080">1</cx:pt>
          <cx:pt idx="34081">1</cx:pt>
          <cx:pt idx="34082">0</cx:pt>
          <cx:pt idx="34083">0</cx:pt>
          <cx:pt idx="34084">0</cx:pt>
          <cx:pt idx="34085">0</cx:pt>
          <cx:pt idx="34086">1</cx:pt>
          <cx:pt idx="34087">0</cx:pt>
          <cx:pt idx="34088">0</cx:pt>
          <cx:pt idx="34089">0</cx:pt>
          <cx:pt idx="34090">1</cx:pt>
          <cx:pt idx="34091">0</cx:pt>
          <cx:pt idx="34092">1</cx:pt>
          <cx:pt idx="34093">0</cx:pt>
          <cx:pt idx="34094">0</cx:pt>
          <cx:pt idx="34095">0</cx:pt>
          <cx:pt idx="34096">0</cx:pt>
          <cx:pt idx="34097">0</cx:pt>
          <cx:pt idx="34098">1</cx:pt>
          <cx:pt idx="34099">1</cx:pt>
          <cx:pt idx="34100">1</cx:pt>
          <cx:pt idx="34101">1</cx:pt>
          <cx:pt idx="34102">1</cx:pt>
          <cx:pt idx="34103">1</cx:pt>
          <cx:pt idx="34104">0</cx:pt>
          <cx:pt idx="34105">1</cx:pt>
          <cx:pt idx="34106">1</cx:pt>
          <cx:pt idx="34107">1</cx:pt>
          <cx:pt idx="34108">1</cx:pt>
          <cx:pt idx="34109">0</cx:pt>
          <cx:pt idx="34110">0</cx:pt>
          <cx:pt idx="34111">0</cx:pt>
          <cx:pt idx="34112">0</cx:pt>
          <cx:pt idx="34113">1</cx:pt>
          <cx:pt idx="34114">1</cx:pt>
          <cx:pt idx="34115">0</cx:pt>
          <cx:pt idx="34116">1</cx:pt>
          <cx:pt idx="34117">0</cx:pt>
          <cx:pt idx="34118">0</cx:pt>
          <cx:pt idx="34119">1</cx:pt>
          <cx:pt idx="34120">0</cx:pt>
          <cx:pt idx="34121">1</cx:pt>
          <cx:pt idx="34122">0</cx:pt>
          <cx:pt idx="34123">0</cx:pt>
          <cx:pt idx="34124">0</cx:pt>
          <cx:pt idx="34125">0</cx:pt>
          <cx:pt idx="34126">0</cx:pt>
          <cx:pt idx="34127">0</cx:pt>
          <cx:pt idx="34128">0</cx:pt>
          <cx:pt idx="34129">1</cx:pt>
          <cx:pt idx="34130">1</cx:pt>
          <cx:pt idx="34131">1</cx:pt>
          <cx:pt idx="34132">1</cx:pt>
          <cx:pt idx="34133">0</cx:pt>
          <cx:pt idx="34134">1</cx:pt>
          <cx:pt idx="34135">1</cx:pt>
          <cx:pt idx="34136">0</cx:pt>
          <cx:pt idx="34137">1</cx:pt>
          <cx:pt idx="34138">1</cx:pt>
          <cx:pt idx="34139">0</cx:pt>
          <cx:pt idx="34140">0</cx:pt>
          <cx:pt idx="34141">1</cx:pt>
          <cx:pt idx="34142">0</cx:pt>
          <cx:pt idx="34143">1</cx:pt>
          <cx:pt idx="34144">1</cx:pt>
          <cx:pt idx="34145">1</cx:pt>
          <cx:pt idx="34146">1</cx:pt>
          <cx:pt idx="34147">0</cx:pt>
          <cx:pt idx="34148">0</cx:pt>
          <cx:pt idx="34149">0</cx:pt>
          <cx:pt idx="34150">1</cx:pt>
          <cx:pt idx="34151">1</cx:pt>
          <cx:pt idx="34152">1</cx:pt>
          <cx:pt idx="34153">1</cx:pt>
          <cx:pt idx="34154">0</cx:pt>
          <cx:pt idx="34155">0</cx:pt>
          <cx:pt idx="34156">1</cx:pt>
          <cx:pt idx="34157">1</cx:pt>
          <cx:pt idx="34158">0</cx:pt>
          <cx:pt idx="34159">0</cx:pt>
          <cx:pt idx="34160">1</cx:pt>
          <cx:pt idx="34161">0</cx:pt>
          <cx:pt idx="34162">1</cx:pt>
          <cx:pt idx="34163">0</cx:pt>
          <cx:pt idx="34164">0</cx:pt>
          <cx:pt idx="34165">0</cx:pt>
          <cx:pt idx="34166">1</cx:pt>
          <cx:pt idx="34167">1</cx:pt>
          <cx:pt idx="34168">0</cx:pt>
          <cx:pt idx="34169">1</cx:pt>
          <cx:pt idx="34170">0</cx:pt>
          <cx:pt idx="34171">0</cx:pt>
          <cx:pt idx="34172">1</cx:pt>
          <cx:pt idx="34173">0</cx:pt>
          <cx:pt idx="34174">1</cx:pt>
          <cx:pt idx="34175">0</cx:pt>
          <cx:pt idx="34176">1</cx:pt>
          <cx:pt idx="34177">0</cx:pt>
          <cx:pt idx="34178">1</cx:pt>
          <cx:pt idx="34179">1</cx:pt>
          <cx:pt idx="34180">1</cx:pt>
          <cx:pt idx="34181">1</cx:pt>
          <cx:pt idx="34182">1</cx:pt>
          <cx:pt idx="34183">1</cx:pt>
          <cx:pt idx="34184">0</cx:pt>
          <cx:pt idx="34185">1</cx:pt>
          <cx:pt idx="34186">0</cx:pt>
          <cx:pt idx="34187">1</cx:pt>
          <cx:pt idx="34188">1</cx:pt>
          <cx:pt idx="34189">0</cx:pt>
          <cx:pt idx="34190">1</cx:pt>
          <cx:pt idx="34191">1</cx:pt>
          <cx:pt idx="34192">0</cx:pt>
          <cx:pt idx="34193">1</cx:pt>
          <cx:pt idx="34194">1</cx:pt>
          <cx:pt idx="34195">0</cx:pt>
          <cx:pt idx="34196">0</cx:pt>
          <cx:pt idx="34197">1</cx:pt>
          <cx:pt idx="34198">0</cx:pt>
          <cx:pt idx="34199">1</cx:pt>
          <cx:pt idx="34200">1</cx:pt>
          <cx:pt idx="34201">0</cx:pt>
          <cx:pt idx="34202">1</cx:pt>
          <cx:pt idx="34203">0</cx:pt>
          <cx:pt idx="34204">1</cx:pt>
          <cx:pt idx="34205">1</cx:pt>
          <cx:pt idx="34206">1</cx:pt>
          <cx:pt idx="34207">0</cx:pt>
          <cx:pt idx="34208">0</cx:pt>
          <cx:pt idx="34209">1</cx:pt>
          <cx:pt idx="34210">0</cx:pt>
          <cx:pt idx="34211">1</cx:pt>
          <cx:pt idx="34212">1</cx:pt>
          <cx:pt idx="34213">0</cx:pt>
          <cx:pt idx="34214">1</cx:pt>
          <cx:pt idx="34215">0</cx:pt>
          <cx:pt idx="34216">0</cx:pt>
          <cx:pt idx="34217">0</cx:pt>
          <cx:pt idx="34218">1</cx:pt>
          <cx:pt idx="34219">1</cx:pt>
          <cx:pt idx="34220">0</cx:pt>
          <cx:pt idx="34221">0</cx:pt>
          <cx:pt idx="34222">0</cx:pt>
          <cx:pt idx="34223">1</cx:pt>
          <cx:pt idx="34224">1</cx:pt>
          <cx:pt idx="34225">0</cx:pt>
          <cx:pt idx="34226">1</cx:pt>
          <cx:pt idx="34227">0</cx:pt>
          <cx:pt idx="34228">1</cx:pt>
          <cx:pt idx="34229">0</cx:pt>
          <cx:pt idx="34230">0</cx:pt>
          <cx:pt idx="34231">0</cx:pt>
          <cx:pt idx="34232">1</cx:pt>
          <cx:pt idx="34233">0</cx:pt>
          <cx:pt idx="34234">0</cx:pt>
          <cx:pt idx="34235">0</cx:pt>
          <cx:pt idx="34236">0</cx:pt>
          <cx:pt idx="34237">1</cx:pt>
          <cx:pt idx="34238">0</cx:pt>
          <cx:pt idx="34239">0</cx:pt>
          <cx:pt idx="34240">0</cx:pt>
          <cx:pt idx="34241">1</cx:pt>
          <cx:pt idx="34242">0</cx:pt>
          <cx:pt idx="34243">0</cx:pt>
          <cx:pt idx="34244">0</cx:pt>
          <cx:pt idx="34245">1</cx:pt>
          <cx:pt idx="34246">1</cx:pt>
          <cx:pt idx="34247">0</cx:pt>
          <cx:pt idx="34248">0</cx:pt>
          <cx:pt idx="34249">0</cx:pt>
          <cx:pt idx="34250">0</cx:pt>
          <cx:pt idx="34251">1</cx:pt>
          <cx:pt idx="34252">0</cx:pt>
          <cx:pt idx="34253">0</cx:pt>
          <cx:pt idx="34254">1</cx:pt>
          <cx:pt idx="34255">0</cx:pt>
          <cx:pt idx="34256">0</cx:pt>
          <cx:pt idx="34257">0</cx:pt>
          <cx:pt idx="34258">0</cx:pt>
          <cx:pt idx="34259">0</cx:pt>
          <cx:pt idx="34260">0</cx:pt>
          <cx:pt idx="34261">1</cx:pt>
          <cx:pt idx="34262">0</cx:pt>
          <cx:pt idx="34263">0</cx:pt>
          <cx:pt idx="34264">0</cx:pt>
          <cx:pt idx="34265">1</cx:pt>
          <cx:pt idx="34266">0</cx:pt>
          <cx:pt idx="34267">1</cx:pt>
          <cx:pt idx="34268">1</cx:pt>
          <cx:pt idx="34269">0</cx:pt>
          <cx:pt idx="34270">1</cx:pt>
          <cx:pt idx="34271">1</cx:pt>
          <cx:pt idx="34272">1</cx:pt>
          <cx:pt idx="34273">1</cx:pt>
          <cx:pt idx="34274">0</cx:pt>
          <cx:pt idx="34275">1</cx:pt>
          <cx:pt idx="34276">1</cx:pt>
          <cx:pt idx="34277">1</cx:pt>
          <cx:pt idx="34278">0</cx:pt>
          <cx:pt idx="34279">0</cx:pt>
          <cx:pt idx="34280">1</cx:pt>
          <cx:pt idx="34281">1</cx:pt>
          <cx:pt idx="34282">0</cx:pt>
          <cx:pt idx="34283">0</cx:pt>
          <cx:pt idx="34284">1</cx:pt>
          <cx:pt idx="34285">1</cx:pt>
          <cx:pt idx="34286">0</cx:pt>
          <cx:pt idx="34287">1</cx:pt>
          <cx:pt idx="34288">1</cx:pt>
          <cx:pt idx="34289">0</cx:pt>
          <cx:pt idx="34290">1</cx:pt>
          <cx:pt idx="34291">1</cx:pt>
          <cx:pt idx="34292">0</cx:pt>
          <cx:pt idx="34293">1</cx:pt>
          <cx:pt idx="34294">1</cx:pt>
          <cx:pt idx="34295">0</cx:pt>
          <cx:pt idx="34296">0</cx:pt>
          <cx:pt idx="34297">0</cx:pt>
          <cx:pt idx="34298">0</cx:pt>
          <cx:pt idx="34299">1</cx:pt>
          <cx:pt idx="34300">1</cx:pt>
          <cx:pt idx="34301">0</cx:pt>
          <cx:pt idx="34302">1</cx:pt>
          <cx:pt idx="34303">0</cx:pt>
          <cx:pt idx="34304">0</cx:pt>
          <cx:pt idx="34305">1</cx:pt>
          <cx:pt idx="34306">0</cx:pt>
          <cx:pt idx="34307">1</cx:pt>
          <cx:pt idx="34308">0</cx:pt>
          <cx:pt idx="34309">0</cx:pt>
          <cx:pt idx="34310">0</cx:pt>
          <cx:pt idx="34311">0</cx:pt>
          <cx:pt idx="34312">0</cx:pt>
          <cx:pt idx="34313">0</cx:pt>
          <cx:pt idx="34314">0</cx:pt>
          <cx:pt idx="34315">1</cx:pt>
          <cx:pt idx="34316">0</cx:pt>
          <cx:pt idx="34317">0</cx:pt>
          <cx:pt idx="34318">0</cx:pt>
          <cx:pt idx="34319">0</cx:pt>
          <cx:pt idx="34320">0</cx:pt>
          <cx:pt idx="34321">0</cx:pt>
          <cx:pt idx="34322">0</cx:pt>
          <cx:pt idx="34323">1</cx:pt>
          <cx:pt idx="34324">0</cx:pt>
          <cx:pt idx="34325">1</cx:pt>
          <cx:pt idx="34326">1</cx:pt>
          <cx:pt idx="34327">0</cx:pt>
          <cx:pt idx="34328">0</cx:pt>
          <cx:pt idx="34329">0</cx:pt>
          <cx:pt idx="34330">1</cx:pt>
          <cx:pt idx="34331">0</cx:pt>
          <cx:pt idx="34332">0</cx:pt>
          <cx:pt idx="34333">1</cx:pt>
          <cx:pt idx="34334">0</cx:pt>
          <cx:pt idx="34335">0</cx:pt>
          <cx:pt idx="34336">0</cx:pt>
          <cx:pt idx="34337">1</cx:pt>
          <cx:pt idx="34338">0</cx:pt>
          <cx:pt idx="34339">1</cx:pt>
          <cx:pt idx="34340">1</cx:pt>
          <cx:pt idx="34341">1</cx:pt>
          <cx:pt idx="34342">1</cx:pt>
          <cx:pt idx="34343">0</cx:pt>
          <cx:pt idx="34344">0</cx:pt>
          <cx:pt idx="34345">1</cx:pt>
          <cx:pt idx="34346">0</cx:pt>
          <cx:pt idx="34347">0</cx:pt>
          <cx:pt idx="34348">0</cx:pt>
          <cx:pt idx="34349">0</cx:pt>
          <cx:pt idx="34350">0</cx:pt>
          <cx:pt idx="34351">0</cx:pt>
          <cx:pt idx="34352">1</cx:pt>
          <cx:pt idx="34353">0</cx:pt>
          <cx:pt idx="34354">0</cx:pt>
          <cx:pt idx="34355">0</cx:pt>
          <cx:pt idx="34356">0</cx:pt>
          <cx:pt idx="34357">0</cx:pt>
          <cx:pt idx="34358">0</cx:pt>
          <cx:pt idx="34359">0</cx:pt>
          <cx:pt idx="34360">0</cx:pt>
          <cx:pt idx="34361">0</cx:pt>
          <cx:pt idx="34362">0</cx:pt>
          <cx:pt idx="34363">1</cx:pt>
          <cx:pt idx="34364">1</cx:pt>
          <cx:pt idx="34365">0</cx:pt>
          <cx:pt idx="34366">1</cx:pt>
          <cx:pt idx="34367">0</cx:pt>
          <cx:pt idx="34368">0</cx:pt>
          <cx:pt idx="34369">0</cx:pt>
          <cx:pt idx="34370">0</cx:pt>
          <cx:pt idx="34371">0</cx:pt>
          <cx:pt idx="34372">0</cx:pt>
          <cx:pt idx="34373">1</cx:pt>
          <cx:pt idx="34374">1</cx:pt>
          <cx:pt idx="34375">1</cx:pt>
          <cx:pt idx="34376">0</cx:pt>
          <cx:pt idx="34377">1</cx:pt>
          <cx:pt idx="34378">0</cx:pt>
          <cx:pt idx="34379">1</cx:pt>
          <cx:pt idx="34380">0</cx:pt>
          <cx:pt idx="34381">0</cx:pt>
          <cx:pt idx="34382">1</cx:pt>
          <cx:pt idx="34383">0</cx:pt>
          <cx:pt idx="34384">0</cx:pt>
          <cx:pt idx="34385">0</cx:pt>
          <cx:pt idx="34386">0</cx:pt>
          <cx:pt idx="34387">1</cx:pt>
          <cx:pt idx="34388">1</cx:pt>
          <cx:pt idx="34389">1</cx:pt>
          <cx:pt idx="34390">0</cx:pt>
          <cx:pt idx="34391">1</cx:pt>
          <cx:pt idx="34392">1</cx:pt>
          <cx:pt idx="34393">1</cx:pt>
          <cx:pt idx="34394">0</cx:pt>
          <cx:pt idx="34395">0</cx:pt>
          <cx:pt idx="34396">1</cx:pt>
          <cx:pt idx="34397">1</cx:pt>
          <cx:pt idx="34398">1</cx:pt>
          <cx:pt idx="34399">0</cx:pt>
          <cx:pt idx="34400">0</cx:pt>
          <cx:pt idx="34401">0</cx:pt>
          <cx:pt idx="34402">1</cx:pt>
          <cx:pt idx="34403">1</cx:pt>
          <cx:pt idx="34404">0</cx:pt>
          <cx:pt idx="34405">1</cx:pt>
          <cx:pt idx="34406">1</cx:pt>
          <cx:pt idx="34407">0</cx:pt>
          <cx:pt idx="34408">0</cx:pt>
          <cx:pt idx="34409">1</cx:pt>
          <cx:pt idx="34410">1</cx:pt>
          <cx:pt idx="34411">1</cx:pt>
          <cx:pt idx="34412">0</cx:pt>
          <cx:pt idx="34413">0</cx:pt>
          <cx:pt idx="34414">1</cx:pt>
          <cx:pt idx="34415">0</cx:pt>
          <cx:pt idx="34416">0</cx:pt>
          <cx:pt idx="34417">1</cx:pt>
          <cx:pt idx="34418">0</cx:pt>
          <cx:pt idx="34419">0</cx:pt>
          <cx:pt idx="34420">1</cx:pt>
          <cx:pt idx="34421">1</cx:pt>
          <cx:pt idx="34422">0</cx:pt>
          <cx:pt idx="34423">1</cx:pt>
          <cx:pt idx="34424">1</cx:pt>
          <cx:pt idx="34425">1</cx:pt>
          <cx:pt idx="34426">0</cx:pt>
          <cx:pt idx="34427">1</cx:pt>
          <cx:pt idx="34428">0</cx:pt>
          <cx:pt idx="34429">0</cx:pt>
          <cx:pt idx="34430">1</cx:pt>
          <cx:pt idx="34431">1</cx:pt>
          <cx:pt idx="34432">1</cx:pt>
          <cx:pt idx="34433">0</cx:pt>
          <cx:pt idx="34434">1</cx:pt>
          <cx:pt idx="34435">0</cx:pt>
          <cx:pt idx="34436">0</cx:pt>
          <cx:pt idx="34437">0</cx:pt>
          <cx:pt idx="34438">1</cx:pt>
          <cx:pt idx="34439">0</cx:pt>
          <cx:pt idx="34440">0</cx:pt>
          <cx:pt idx="34441">0</cx:pt>
          <cx:pt idx="34442">0</cx:pt>
          <cx:pt idx="34443">0</cx:pt>
          <cx:pt idx="34444">1</cx:pt>
          <cx:pt idx="34445">1</cx:pt>
          <cx:pt idx="34446">0</cx:pt>
          <cx:pt idx="34447">1</cx:pt>
          <cx:pt idx="34448">1</cx:pt>
          <cx:pt idx="34449">1</cx:pt>
          <cx:pt idx="34450">0</cx:pt>
          <cx:pt idx="34451">1</cx:pt>
          <cx:pt idx="34452">0</cx:pt>
          <cx:pt idx="34453">0</cx:pt>
          <cx:pt idx="34454">1</cx:pt>
          <cx:pt idx="34455">0</cx:pt>
          <cx:pt idx="34456">0</cx:pt>
          <cx:pt idx="34457">0</cx:pt>
          <cx:pt idx="34458">1</cx:pt>
          <cx:pt idx="34459">1</cx:pt>
          <cx:pt idx="34460">0</cx:pt>
          <cx:pt idx="34461">1</cx:pt>
          <cx:pt idx="34462">0</cx:pt>
          <cx:pt idx="34463">1</cx:pt>
          <cx:pt idx="34464">0</cx:pt>
          <cx:pt idx="34465">1</cx:pt>
          <cx:pt idx="34466">0</cx:pt>
          <cx:pt idx="34467">0</cx:pt>
          <cx:pt idx="34468">1</cx:pt>
          <cx:pt idx="34469">0</cx:pt>
          <cx:pt idx="34470">0</cx:pt>
          <cx:pt idx="34471">1</cx:pt>
          <cx:pt idx="34472">0</cx:pt>
          <cx:pt idx="34473">0</cx:pt>
          <cx:pt idx="34474">1</cx:pt>
          <cx:pt idx="34475">1</cx:pt>
          <cx:pt idx="34476">0</cx:pt>
          <cx:pt idx="34477">0</cx:pt>
          <cx:pt idx="34478">1</cx:pt>
          <cx:pt idx="34479">0</cx:pt>
          <cx:pt idx="34480">0</cx:pt>
          <cx:pt idx="34481">1</cx:pt>
          <cx:pt idx="34482">0</cx:pt>
          <cx:pt idx="34483">0</cx:pt>
          <cx:pt idx="34484">0</cx:pt>
          <cx:pt idx="34485">1</cx:pt>
          <cx:pt idx="34486">1</cx:pt>
          <cx:pt idx="34487">0</cx:pt>
          <cx:pt idx="34488">0</cx:pt>
          <cx:pt idx="34489">0</cx:pt>
          <cx:pt idx="34490">0</cx:pt>
          <cx:pt idx="34491">1</cx:pt>
          <cx:pt idx="34492">1</cx:pt>
          <cx:pt idx="34493">1</cx:pt>
          <cx:pt idx="34494">0</cx:pt>
          <cx:pt idx="34495">1</cx:pt>
          <cx:pt idx="34496">1</cx:pt>
          <cx:pt idx="34497">1</cx:pt>
          <cx:pt idx="34498">1</cx:pt>
          <cx:pt idx="34499">1</cx:pt>
          <cx:pt idx="34500">0</cx:pt>
          <cx:pt idx="34501">0</cx:pt>
          <cx:pt idx="34502">0</cx:pt>
          <cx:pt idx="34503">1</cx:pt>
          <cx:pt idx="34504">0</cx:pt>
          <cx:pt idx="34505">0</cx:pt>
          <cx:pt idx="34506">0</cx:pt>
          <cx:pt idx="34507">1</cx:pt>
          <cx:pt idx="34508">0</cx:pt>
          <cx:pt idx="34509">0</cx:pt>
          <cx:pt idx="34510">1</cx:pt>
          <cx:pt idx="34511">0</cx:pt>
          <cx:pt idx="34512">1</cx:pt>
          <cx:pt idx="34513">0</cx:pt>
          <cx:pt idx="34514">0</cx:pt>
          <cx:pt idx="34515">0</cx:pt>
          <cx:pt idx="34516">0</cx:pt>
          <cx:pt idx="34517">0</cx:pt>
          <cx:pt idx="34518">0</cx:pt>
          <cx:pt idx="34519">0</cx:pt>
          <cx:pt idx="34520">1</cx:pt>
          <cx:pt idx="34521">1</cx:pt>
          <cx:pt idx="34522">1</cx:pt>
          <cx:pt idx="34523">0</cx:pt>
          <cx:pt idx="34524">0</cx:pt>
          <cx:pt idx="34525">0</cx:pt>
          <cx:pt idx="34526">1</cx:pt>
          <cx:pt idx="34527">0</cx:pt>
          <cx:pt idx="34528">0</cx:pt>
          <cx:pt idx="34529">1</cx:pt>
          <cx:pt idx="34530">0</cx:pt>
          <cx:pt idx="34531">0</cx:pt>
          <cx:pt idx="34532">0</cx:pt>
          <cx:pt idx="34533">1</cx:pt>
          <cx:pt idx="34534">1</cx:pt>
          <cx:pt idx="34535">1</cx:pt>
          <cx:pt idx="34536">1</cx:pt>
          <cx:pt idx="34537">1</cx:pt>
          <cx:pt idx="34538">0</cx:pt>
          <cx:pt idx="34539">0</cx:pt>
          <cx:pt idx="34540">0</cx:pt>
          <cx:pt idx="34541">1</cx:pt>
          <cx:pt idx="34542">1</cx:pt>
          <cx:pt idx="34543">1</cx:pt>
          <cx:pt idx="34544">0</cx:pt>
          <cx:pt idx="34545">0</cx:pt>
          <cx:pt idx="34546">0</cx:pt>
          <cx:pt idx="34547">0</cx:pt>
          <cx:pt idx="34548">1</cx:pt>
          <cx:pt idx="34549">0</cx:pt>
          <cx:pt idx="34550">0</cx:pt>
          <cx:pt idx="34551">0</cx:pt>
          <cx:pt idx="34552">1</cx:pt>
          <cx:pt idx="34553">0</cx:pt>
          <cx:pt idx="34554">0</cx:pt>
          <cx:pt idx="34555">1</cx:pt>
          <cx:pt idx="34556">0</cx:pt>
          <cx:pt idx="34557">0</cx:pt>
          <cx:pt idx="34558">0</cx:pt>
          <cx:pt idx="34559">1</cx:pt>
          <cx:pt idx="34560">0</cx:pt>
          <cx:pt idx="34561">1</cx:pt>
          <cx:pt idx="34562">0</cx:pt>
          <cx:pt idx="34563">0</cx:pt>
          <cx:pt idx="34564">0</cx:pt>
          <cx:pt idx="34565">0</cx:pt>
          <cx:pt idx="34566">0</cx:pt>
          <cx:pt idx="34567">1</cx:pt>
          <cx:pt idx="34568">0</cx:pt>
          <cx:pt idx="34569">0</cx:pt>
          <cx:pt idx="34570">0</cx:pt>
          <cx:pt idx="34571">0</cx:pt>
          <cx:pt idx="34572">1</cx:pt>
          <cx:pt idx="34573">1</cx:pt>
          <cx:pt idx="34574">0</cx:pt>
          <cx:pt idx="34575">1</cx:pt>
          <cx:pt idx="34576">1</cx:pt>
          <cx:pt idx="34577">0</cx:pt>
          <cx:pt idx="34578">1</cx:pt>
          <cx:pt idx="34579">0</cx:pt>
          <cx:pt idx="34580">1</cx:pt>
          <cx:pt idx="34581">0</cx:pt>
          <cx:pt idx="34582">0</cx:pt>
          <cx:pt idx="34583">1</cx:pt>
          <cx:pt idx="34584">0</cx:pt>
          <cx:pt idx="34585">1</cx:pt>
          <cx:pt idx="34586">1</cx:pt>
          <cx:pt idx="34587">0</cx:pt>
          <cx:pt idx="34588">0</cx:pt>
          <cx:pt idx="34589">0</cx:pt>
          <cx:pt idx="34590">1</cx:pt>
          <cx:pt idx="34591">0</cx:pt>
          <cx:pt idx="34592">0</cx:pt>
          <cx:pt idx="34593">1</cx:pt>
          <cx:pt idx="34594">1</cx:pt>
          <cx:pt idx="34595">0</cx:pt>
          <cx:pt idx="34596">1</cx:pt>
          <cx:pt idx="34597">0</cx:pt>
          <cx:pt idx="34598">1</cx:pt>
          <cx:pt idx="34599">0</cx:pt>
          <cx:pt idx="34600">0</cx:pt>
          <cx:pt idx="34601">1</cx:pt>
          <cx:pt idx="34602">1</cx:pt>
          <cx:pt idx="34603">0</cx:pt>
          <cx:pt idx="34604">1</cx:pt>
          <cx:pt idx="34605">1</cx:pt>
          <cx:pt idx="34606">1</cx:pt>
          <cx:pt idx="34607">0</cx:pt>
          <cx:pt idx="34608">1</cx:pt>
          <cx:pt idx="34609">1</cx:pt>
          <cx:pt idx="34610">0</cx:pt>
          <cx:pt idx="34611">0</cx:pt>
          <cx:pt idx="34612">0</cx:pt>
          <cx:pt idx="34613">0</cx:pt>
          <cx:pt idx="34614">0</cx:pt>
          <cx:pt idx="34615">0</cx:pt>
          <cx:pt idx="34616">1</cx:pt>
          <cx:pt idx="34617">0</cx:pt>
          <cx:pt idx="34618">0</cx:pt>
          <cx:pt idx="34619">1</cx:pt>
          <cx:pt idx="34620">0</cx:pt>
          <cx:pt idx="34621">0</cx:pt>
          <cx:pt idx="34622">1</cx:pt>
          <cx:pt idx="34623">0</cx:pt>
          <cx:pt idx="34624">0</cx:pt>
          <cx:pt idx="34625">0</cx:pt>
          <cx:pt idx="34626">1</cx:pt>
          <cx:pt idx="34627">1</cx:pt>
          <cx:pt idx="34628">0</cx:pt>
          <cx:pt idx="34629">1</cx:pt>
          <cx:pt idx="34630">0</cx:pt>
          <cx:pt idx="34631">1</cx:pt>
          <cx:pt idx="34632">0</cx:pt>
          <cx:pt idx="34633">0</cx:pt>
          <cx:pt idx="34634">0</cx:pt>
          <cx:pt idx="34635">0</cx:pt>
          <cx:pt idx="34636">1</cx:pt>
          <cx:pt idx="34637">1</cx:pt>
          <cx:pt idx="34638">0</cx:pt>
          <cx:pt idx="34639">0</cx:pt>
          <cx:pt idx="34640">1</cx:pt>
          <cx:pt idx="34641">1</cx:pt>
          <cx:pt idx="34642">0</cx:pt>
          <cx:pt idx="34643">1</cx:pt>
          <cx:pt idx="34644">0</cx:pt>
          <cx:pt idx="34645">1</cx:pt>
          <cx:pt idx="34646">1</cx:pt>
          <cx:pt idx="34647">0</cx:pt>
          <cx:pt idx="34648">0</cx:pt>
          <cx:pt idx="34649">1</cx:pt>
          <cx:pt idx="34650">1</cx:pt>
          <cx:pt idx="34651">1</cx:pt>
          <cx:pt idx="34652">0</cx:pt>
          <cx:pt idx="34653">0</cx:pt>
          <cx:pt idx="34654">1</cx:pt>
          <cx:pt idx="34655">1</cx:pt>
          <cx:pt idx="34656">1</cx:pt>
          <cx:pt idx="34657">1</cx:pt>
          <cx:pt idx="34658">1</cx:pt>
          <cx:pt idx="34659">0</cx:pt>
          <cx:pt idx="34660">0</cx:pt>
          <cx:pt idx="34661">1</cx:pt>
          <cx:pt idx="34662">0</cx:pt>
          <cx:pt idx="34663">1</cx:pt>
          <cx:pt idx="34664">0</cx:pt>
          <cx:pt idx="34665">0</cx:pt>
          <cx:pt idx="34666">0</cx:pt>
          <cx:pt idx="34667">1</cx:pt>
          <cx:pt idx="34668">0</cx:pt>
          <cx:pt idx="34669">0</cx:pt>
          <cx:pt idx="34670">0</cx:pt>
          <cx:pt idx="34671">1</cx:pt>
          <cx:pt idx="34672">1</cx:pt>
          <cx:pt idx="34673">0</cx:pt>
          <cx:pt idx="34674">0</cx:pt>
          <cx:pt idx="34675">1</cx:pt>
          <cx:pt idx="34676">0</cx:pt>
          <cx:pt idx="34677">0</cx:pt>
          <cx:pt idx="34678">1</cx:pt>
          <cx:pt idx="34679">0</cx:pt>
          <cx:pt idx="34680">1</cx:pt>
          <cx:pt idx="34681">0</cx:pt>
          <cx:pt idx="34682">0</cx:pt>
          <cx:pt idx="34683">1</cx:pt>
          <cx:pt idx="34684">0</cx:pt>
          <cx:pt idx="34685">1</cx:pt>
          <cx:pt idx="34686">0</cx:pt>
          <cx:pt idx="34687">0</cx:pt>
          <cx:pt idx="34688">1</cx:pt>
          <cx:pt idx="34689">0</cx:pt>
          <cx:pt idx="34690">1</cx:pt>
          <cx:pt idx="34691">1</cx:pt>
          <cx:pt idx="34692">1</cx:pt>
          <cx:pt idx="34693">1</cx:pt>
          <cx:pt idx="34694">0</cx:pt>
          <cx:pt idx="34695">0</cx:pt>
          <cx:pt idx="34696">0</cx:pt>
          <cx:pt idx="34697">1</cx:pt>
          <cx:pt idx="34698">1</cx:pt>
          <cx:pt idx="34699">1</cx:pt>
          <cx:pt idx="34700">0</cx:pt>
          <cx:pt idx="34701">1</cx:pt>
          <cx:pt idx="34702">1</cx:pt>
          <cx:pt idx="34703">0</cx:pt>
          <cx:pt idx="34704">0</cx:pt>
          <cx:pt idx="34705">0</cx:pt>
          <cx:pt idx="34706">1</cx:pt>
          <cx:pt idx="34707">0</cx:pt>
          <cx:pt idx="34708">1</cx:pt>
          <cx:pt idx="34709">0</cx:pt>
          <cx:pt idx="34710">0</cx:pt>
          <cx:pt idx="34711">0</cx:pt>
          <cx:pt idx="34712">0</cx:pt>
          <cx:pt idx="34713">1</cx:pt>
          <cx:pt idx="34714">1</cx:pt>
          <cx:pt idx="34715">0</cx:pt>
          <cx:pt idx="34716">1</cx:pt>
          <cx:pt idx="34717">1</cx:pt>
          <cx:pt idx="34718">0</cx:pt>
          <cx:pt idx="34719">0</cx:pt>
          <cx:pt idx="34720">1</cx:pt>
          <cx:pt idx="34721">0</cx:pt>
          <cx:pt idx="34722">0</cx:pt>
          <cx:pt idx="34723">0</cx:pt>
          <cx:pt idx="34724">1</cx:pt>
          <cx:pt idx="34725">1</cx:pt>
          <cx:pt idx="34726">1</cx:pt>
          <cx:pt idx="34727">1</cx:pt>
          <cx:pt idx="34728">0</cx:pt>
          <cx:pt idx="34729">0</cx:pt>
          <cx:pt idx="34730">1</cx:pt>
          <cx:pt idx="34731">1</cx:pt>
          <cx:pt idx="34732">1</cx:pt>
          <cx:pt idx="34733">1</cx:pt>
          <cx:pt idx="34734">1</cx:pt>
          <cx:pt idx="34735">0</cx:pt>
          <cx:pt idx="34736">1</cx:pt>
          <cx:pt idx="34737">0</cx:pt>
          <cx:pt idx="34738">1</cx:pt>
          <cx:pt idx="34739">0</cx:pt>
          <cx:pt idx="34740">1</cx:pt>
          <cx:pt idx="34741">1</cx:pt>
          <cx:pt idx="34742">0</cx:pt>
          <cx:pt idx="34743">1</cx:pt>
          <cx:pt idx="34744">1</cx:pt>
          <cx:pt idx="34745">1</cx:pt>
          <cx:pt idx="34746">0</cx:pt>
          <cx:pt idx="34747">0</cx:pt>
          <cx:pt idx="34748">0</cx:pt>
          <cx:pt idx="34749">0</cx:pt>
          <cx:pt idx="34750">1</cx:pt>
          <cx:pt idx="34751">0</cx:pt>
          <cx:pt idx="34752">0</cx:pt>
          <cx:pt idx="34753">1</cx:pt>
          <cx:pt idx="34754">1</cx:pt>
          <cx:pt idx="34755">0</cx:pt>
          <cx:pt idx="34756">0</cx:pt>
          <cx:pt idx="34757">0</cx:pt>
          <cx:pt idx="34758">1</cx:pt>
          <cx:pt idx="34759">1</cx:pt>
          <cx:pt idx="34760">1</cx:pt>
          <cx:pt idx="34761">0</cx:pt>
          <cx:pt idx="34762">0</cx:pt>
          <cx:pt idx="34763">1</cx:pt>
          <cx:pt idx="34764">1</cx:pt>
          <cx:pt idx="34765">1</cx:pt>
          <cx:pt idx="34766">1</cx:pt>
          <cx:pt idx="34767">1</cx:pt>
          <cx:pt idx="34768">0</cx:pt>
          <cx:pt idx="34769">0</cx:pt>
          <cx:pt idx="34770">1</cx:pt>
          <cx:pt idx="34771">0</cx:pt>
          <cx:pt idx="34772">0</cx:pt>
          <cx:pt idx="34773">0</cx:pt>
          <cx:pt idx="34774">1</cx:pt>
          <cx:pt idx="34775">1</cx:pt>
          <cx:pt idx="34776">1</cx:pt>
          <cx:pt idx="34777">0</cx:pt>
          <cx:pt idx="34778">1</cx:pt>
          <cx:pt idx="34779">0</cx:pt>
          <cx:pt idx="34780">1</cx:pt>
          <cx:pt idx="34781">0</cx:pt>
          <cx:pt idx="34782">0</cx:pt>
          <cx:pt idx="34783">0</cx:pt>
          <cx:pt idx="34784">1</cx:pt>
          <cx:pt idx="34785">1</cx:pt>
          <cx:pt idx="34786">0</cx:pt>
          <cx:pt idx="34787">1</cx:pt>
          <cx:pt idx="34788">1</cx:pt>
          <cx:pt idx="34789">1</cx:pt>
          <cx:pt idx="34790">1</cx:pt>
          <cx:pt idx="34791">0</cx:pt>
          <cx:pt idx="34792">0</cx:pt>
          <cx:pt idx="34793">0</cx:pt>
          <cx:pt idx="34794">0</cx:pt>
          <cx:pt idx="34795">0</cx:pt>
          <cx:pt idx="34796">0</cx:pt>
          <cx:pt idx="34797">0</cx:pt>
          <cx:pt idx="34798">0</cx:pt>
          <cx:pt idx="34799">1</cx:pt>
          <cx:pt idx="34800">1</cx:pt>
          <cx:pt idx="34801">0</cx:pt>
          <cx:pt idx="34802">0</cx:pt>
          <cx:pt idx="34803">0</cx:pt>
          <cx:pt idx="34804">0</cx:pt>
          <cx:pt idx="34805">1</cx:pt>
          <cx:pt idx="34806">0</cx:pt>
          <cx:pt idx="34807">1</cx:pt>
          <cx:pt idx="34808">0</cx:pt>
          <cx:pt idx="34809">0</cx:pt>
          <cx:pt idx="34810">1</cx:pt>
          <cx:pt idx="34811">1</cx:pt>
          <cx:pt idx="34812">1</cx:pt>
          <cx:pt idx="34813">1</cx:pt>
          <cx:pt idx="34814">1</cx:pt>
          <cx:pt idx="34815">0</cx:pt>
          <cx:pt idx="34816">1</cx:pt>
          <cx:pt idx="34817">1</cx:pt>
          <cx:pt idx="34818">1</cx:pt>
          <cx:pt idx="34819">1</cx:pt>
          <cx:pt idx="34820">1</cx:pt>
          <cx:pt idx="34821">1</cx:pt>
          <cx:pt idx="34822">0</cx:pt>
          <cx:pt idx="34823">0</cx:pt>
          <cx:pt idx="34824">0</cx:pt>
          <cx:pt idx="34825">0</cx:pt>
          <cx:pt idx="34826">1</cx:pt>
          <cx:pt idx="34827">0</cx:pt>
          <cx:pt idx="34828">1</cx:pt>
          <cx:pt idx="34829">1</cx:pt>
          <cx:pt idx="34830">1</cx:pt>
          <cx:pt idx="34831">1</cx:pt>
          <cx:pt idx="34832">0</cx:pt>
          <cx:pt idx="34833">1</cx:pt>
          <cx:pt idx="34834">1</cx:pt>
          <cx:pt idx="34835">0</cx:pt>
          <cx:pt idx="34836">1</cx:pt>
          <cx:pt idx="34837">0</cx:pt>
          <cx:pt idx="34838">1</cx:pt>
          <cx:pt idx="34839">0</cx:pt>
          <cx:pt idx="34840">0</cx:pt>
          <cx:pt idx="34841">1</cx:pt>
          <cx:pt idx="34842">1</cx:pt>
          <cx:pt idx="34843">1</cx:pt>
          <cx:pt idx="34844">0</cx:pt>
          <cx:pt idx="34845">1</cx:pt>
          <cx:pt idx="34846">0</cx:pt>
          <cx:pt idx="34847">0</cx:pt>
          <cx:pt idx="34848">1</cx:pt>
          <cx:pt idx="34849">1</cx:pt>
          <cx:pt idx="34850">1</cx:pt>
          <cx:pt idx="34851">1</cx:pt>
          <cx:pt idx="34852">0</cx:pt>
          <cx:pt idx="34853">0</cx:pt>
          <cx:pt idx="34854">1</cx:pt>
          <cx:pt idx="34855">0</cx:pt>
          <cx:pt idx="34856">1</cx:pt>
          <cx:pt idx="34857">0</cx:pt>
          <cx:pt idx="34858">1</cx:pt>
          <cx:pt idx="34859">0</cx:pt>
          <cx:pt idx="34860">0</cx:pt>
          <cx:pt idx="34861">1</cx:pt>
          <cx:pt idx="34862">1</cx:pt>
          <cx:pt idx="34863">1</cx:pt>
          <cx:pt idx="34864">0</cx:pt>
          <cx:pt idx="34865">0</cx:pt>
          <cx:pt idx="34866">0</cx:pt>
          <cx:pt idx="34867">0</cx:pt>
          <cx:pt idx="34868">0</cx:pt>
          <cx:pt idx="34869">1</cx:pt>
          <cx:pt idx="34870">1</cx:pt>
          <cx:pt idx="34871">0</cx:pt>
          <cx:pt idx="34872">0</cx:pt>
          <cx:pt idx="34873">0</cx:pt>
          <cx:pt idx="34874">1</cx:pt>
          <cx:pt idx="34875">1</cx:pt>
          <cx:pt idx="34876">0</cx:pt>
          <cx:pt idx="34877">0</cx:pt>
          <cx:pt idx="34878">0</cx:pt>
          <cx:pt idx="34879">1</cx:pt>
          <cx:pt idx="34880">0</cx:pt>
          <cx:pt idx="34881">1</cx:pt>
          <cx:pt idx="34882">1</cx:pt>
          <cx:pt idx="34883">0</cx:pt>
          <cx:pt idx="34884">0</cx:pt>
          <cx:pt idx="34885">0</cx:pt>
          <cx:pt idx="34886">1</cx:pt>
          <cx:pt idx="34887">0</cx:pt>
          <cx:pt idx="34888">1</cx:pt>
          <cx:pt idx="34889">1</cx:pt>
          <cx:pt idx="34890">0</cx:pt>
          <cx:pt idx="34891">1</cx:pt>
          <cx:pt idx="34892">0</cx:pt>
          <cx:pt idx="34893">0</cx:pt>
          <cx:pt idx="34894">0</cx:pt>
          <cx:pt idx="34895">0</cx:pt>
          <cx:pt idx="34896">0</cx:pt>
          <cx:pt idx="34897">0</cx:pt>
          <cx:pt idx="34898">1</cx:pt>
          <cx:pt idx="34899">1</cx:pt>
          <cx:pt idx="34900">1</cx:pt>
          <cx:pt idx="34901">1</cx:pt>
          <cx:pt idx="34902">1</cx:pt>
          <cx:pt idx="34903">1</cx:pt>
          <cx:pt idx="34904">0</cx:pt>
          <cx:pt idx="34905">0</cx:pt>
          <cx:pt idx="34906">0</cx:pt>
          <cx:pt idx="34907">1</cx:pt>
          <cx:pt idx="34908">1</cx:pt>
          <cx:pt idx="34909">1</cx:pt>
          <cx:pt idx="34910">0</cx:pt>
          <cx:pt idx="34911">0</cx:pt>
          <cx:pt idx="34912">0</cx:pt>
          <cx:pt idx="34913">1</cx:pt>
          <cx:pt idx="34914">0</cx:pt>
          <cx:pt idx="34915">1</cx:pt>
          <cx:pt idx="34916">1</cx:pt>
          <cx:pt idx="34917">1</cx:pt>
          <cx:pt idx="34918">0</cx:pt>
          <cx:pt idx="34919">0</cx:pt>
          <cx:pt idx="34920">1</cx:pt>
          <cx:pt idx="34921">0</cx:pt>
          <cx:pt idx="34922">0</cx:pt>
          <cx:pt idx="34923">1</cx:pt>
          <cx:pt idx="34924">0</cx:pt>
          <cx:pt idx="34925">0</cx:pt>
          <cx:pt idx="34926">0</cx:pt>
          <cx:pt idx="34927">1</cx:pt>
          <cx:pt idx="34928">1</cx:pt>
          <cx:pt idx="34929">0</cx:pt>
          <cx:pt idx="34930">1</cx:pt>
          <cx:pt idx="34931">0</cx:pt>
          <cx:pt idx="34932">0</cx:pt>
          <cx:pt idx="34933">1</cx:pt>
          <cx:pt idx="34934">0</cx:pt>
          <cx:pt idx="34935">1</cx:pt>
          <cx:pt idx="34936">0</cx:pt>
          <cx:pt idx="34937">1</cx:pt>
          <cx:pt idx="34938">0</cx:pt>
          <cx:pt idx="34939">0</cx:pt>
          <cx:pt idx="34940">0</cx:pt>
          <cx:pt idx="34941">0</cx:pt>
          <cx:pt idx="34942">1</cx:pt>
          <cx:pt idx="34943">0</cx:pt>
          <cx:pt idx="34944">1</cx:pt>
          <cx:pt idx="34945">1</cx:pt>
          <cx:pt idx="34946">0</cx:pt>
          <cx:pt idx="34947">0</cx:pt>
          <cx:pt idx="34948">1</cx:pt>
          <cx:pt idx="34949">1</cx:pt>
          <cx:pt idx="34950">0</cx:pt>
          <cx:pt idx="34951">0</cx:pt>
          <cx:pt idx="34952">0</cx:pt>
          <cx:pt idx="34953">0</cx:pt>
          <cx:pt idx="34954">0</cx:pt>
          <cx:pt idx="34955">0</cx:pt>
          <cx:pt idx="34956">0</cx:pt>
          <cx:pt idx="34957">1</cx:pt>
          <cx:pt idx="34958">1</cx:pt>
          <cx:pt idx="34959">0</cx:pt>
          <cx:pt idx="34960">0</cx:pt>
          <cx:pt idx="34961">0</cx:pt>
          <cx:pt idx="34962">0</cx:pt>
          <cx:pt idx="34963">1</cx:pt>
          <cx:pt idx="34964">1</cx:pt>
          <cx:pt idx="34965">0</cx:pt>
          <cx:pt idx="34966">0</cx:pt>
          <cx:pt idx="34967">0</cx:pt>
          <cx:pt idx="34968">1</cx:pt>
          <cx:pt idx="34969">1</cx:pt>
          <cx:pt idx="34970">0</cx:pt>
          <cx:pt idx="34971">1</cx:pt>
          <cx:pt idx="34972">0</cx:pt>
          <cx:pt idx="34973">0</cx:pt>
          <cx:pt idx="34974">1</cx:pt>
          <cx:pt idx="34975">1</cx:pt>
          <cx:pt idx="34976">0</cx:pt>
          <cx:pt idx="34977">0</cx:pt>
          <cx:pt idx="34978">0</cx:pt>
          <cx:pt idx="34979">1</cx:pt>
          <cx:pt idx="34980">0</cx:pt>
          <cx:pt idx="34981">0</cx:pt>
          <cx:pt idx="34982">0</cx:pt>
          <cx:pt idx="34983">1</cx:pt>
          <cx:pt idx="34984">1</cx:pt>
          <cx:pt idx="34985">1</cx:pt>
          <cx:pt idx="34986">0</cx:pt>
          <cx:pt idx="34987">0</cx:pt>
          <cx:pt idx="34988">0</cx:pt>
          <cx:pt idx="34989">1</cx:pt>
          <cx:pt idx="34990">0</cx:pt>
          <cx:pt idx="34991">0</cx:pt>
          <cx:pt idx="34992">1</cx:pt>
          <cx:pt idx="34993">1</cx:pt>
          <cx:pt idx="34994">0</cx:pt>
          <cx:pt idx="34995">0</cx:pt>
          <cx:pt idx="34996">0</cx:pt>
          <cx:pt idx="34997">0</cx:pt>
          <cx:pt idx="34998">1</cx:pt>
          <cx:pt idx="34999">0</cx:pt>
          <cx:pt idx="35000">1</cx:pt>
          <cx:pt idx="35001">0</cx:pt>
          <cx:pt idx="35002">1</cx:pt>
          <cx:pt idx="35003">1</cx:pt>
          <cx:pt idx="35004">1</cx:pt>
          <cx:pt idx="35005">0</cx:pt>
          <cx:pt idx="35006">1</cx:pt>
          <cx:pt idx="35007">1</cx:pt>
          <cx:pt idx="35008">1</cx:pt>
          <cx:pt idx="35009">0</cx:pt>
          <cx:pt idx="35010">0</cx:pt>
          <cx:pt idx="35011">1</cx:pt>
          <cx:pt idx="35012">0</cx:pt>
          <cx:pt idx="35013">1</cx:pt>
          <cx:pt idx="35014">0</cx:pt>
          <cx:pt idx="35015">1</cx:pt>
          <cx:pt idx="35016">0</cx:pt>
          <cx:pt idx="35017">1</cx:pt>
          <cx:pt idx="35018">0</cx:pt>
          <cx:pt idx="35019">1</cx:pt>
          <cx:pt idx="35020">0</cx:pt>
          <cx:pt idx="35021">0</cx:pt>
          <cx:pt idx="35022">0</cx:pt>
          <cx:pt idx="35023">1</cx:pt>
          <cx:pt idx="35024">1</cx:pt>
          <cx:pt idx="35025">0</cx:pt>
          <cx:pt idx="35026">0</cx:pt>
          <cx:pt idx="35027">1</cx:pt>
          <cx:pt idx="35028">0</cx:pt>
          <cx:pt idx="35029">1</cx:pt>
          <cx:pt idx="35030">0</cx:pt>
          <cx:pt idx="35031">0</cx:pt>
          <cx:pt idx="35032">1</cx:pt>
          <cx:pt idx="35033">1</cx:pt>
          <cx:pt idx="35034">0</cx:pt>
          <cx:pt idx="35035">1</cx:pt>
          <cx:pt idx="35036">0</cx:pt>
          <cx:pt idx="35037">0</cx:pt>
          <cx:pt idx="35038">1</cx:pt>
          <cx:pt idx="35039">1</cx:pt>
          <cx:pt idx="35040">0</cx:pt>
          <cx:pt idx="35041">0</cx:pt>
          <cx:pt idx="35042">0</cx:pt>
          <cx:pt idx="35043">1</cx:pt>
          <cx:pt idx="35044">0</cx:pt>
          <cx:pt idx="35045">1</cx:pt>
          <cx:pt idx="35046">1</cx:pt>
          <cx:pt idx="35047">0</cx:pt>
          <cx:pt idx="35048">1</cx:pt>
          <cx:pt idx="35049">1</cx:pt>
          <cx:pt idx="35050">1</cx:pt>
          <cx:pt idx="35051">0</cx:pt>
          <cx:pt idx="35052">1</cx:pt>
          <cx:pt idx="35053">0</cx:pt>
          <cx:pt idx="35054">0</cx:pt>
          <cx:pt idx="35055">0</cx:pt>
          <cx:pt idx="35056">0</cx:pt>
          <cx:pt idx="35057">0</cx:pt>
          <cx:pt idx="35058">0</cx:pt>
          <cx:pt idx="35059">0</cx:pt>
          <cx:pt idx="35060">1</cx:pt>
          <cx:pt idx="35061">0</cx:pt>
          <cx:pt idx="35062">1</cx:pt>
          <cx:pt idx="35063">0</cx:pt>
          <cx:pt idx="35064">1</cx:pt>
          <cx:pt idx="35065">0</cx:pt>
          <cx:pt idx="35066">0</cx:pt>
          <cx:pt idx="35067">0</cx:pt>
          <cx:pt idx="35068">1</cx:pt>
          <cx:pt idx="35069">1</cx:pt>
          <cx:pt idx="35070">1</cx:pt>
          <cx:pt idx="35071">1</cx:pt>
          <cx:pt idx="35072">0</cx:pt>
          <cx:pt idx="35073">1</cx:pt>
          <cx:pt idx="35074">0</cx:pt>
          <cx:pt idx="35075">0</cx:pt>
          <cx:pt idx="35076">0</cx:pt>
          <cx:pt idx="35077">1</cx:pt>
          <cx:pt idx="35078">0</cx:pt>
          <cx:pt idx="35079">1</cx:pt>
          <cx:pt idx="35080">1</cx:pt>
          <cx:pt idx="35081">0</cx:pt>
          <cx:pt idx="35082">1</cx:pt>
          <cx:pt idx="35083">1</cx:pt>
          <cx:pt idx="35084">0</cx:pt>
          <cx:pt idx="35085">0</cx:pt>
          <cx:pt idx="35086">1</cx:pt>
          <cx:pt idx="35087">0</cx:pt>
          <cx:pt idx="35088">1</cx:pt>
          <cx:pt idx="35089">0</cx:pt>
          <cx:pt idx="35090">1</cx:pt>
          <cx:pt idx="35091">0</cx:pt>
          <cx:pt idx="35092">0</cx:pt>
          <cx:pt idx="35093">1</cx:pt>
          <cx:pt idx="35094">1</cx:pt>
          <cx:pt idx="35095">1</cx:pt>
          <cx:pt idx="35096">0</cx:pt>
          <cx:pt idx="35097">0</cx:pt>
          <cx:pt idx="35098">1</cx:pt>
          <cx:pt idx="35099">0</cx:pt>
          <cx:pt idx="35100">0</cx:pt>
          <cx:pt idx="35101">1</cx:pt>
          <cx:pt idx="35102">0</cx:pt>
          <cx:pt idx="35103">1</cx:pt>
          <cx:pt idx="35104">1</cx:pt>
          <cx:pt idx="35105">1</cx:pt>
          <cx:pt idx="35106">0</cx:pt>
          <cx:pt idx="35107">1</cx:pt>
          <cx:pt idx="35108">1</cx:pt>
          <cx:pt idx="35109">1</cx:pt>
          <cx:pt idx="35110">1</cx:pt>
          <cx:pt idx="35111">1</cx:pt>
          <cx:pt idx="35112">1</cx:pt>
          <cx:pt idx="35113">1</cx:pt>
          <cx:pt idx="35114">1</cx:pt>
          <cx:pt idx="35115">0</cx:pt>
          <cx:pt idx="35116">0</cx:pt>
          <cx:pt idx="35117">0</cx:pt>
          <cx:pt idx="35118">1</cx:pt>
          <cx:pt idx="35119">0</cx:pt>
          <cx:pt idx="35120">1</cx:pt>
          <cx:pt idx="35121">1</cx:pt>
          <cx:pt idx="35122">0</cx:pt>
          <cx:pt idx="35123">0</cx:pt>
          <cx:pt idx="35124">0</cx:pt>
          <cx:pt idx="35125">1</cx:pt>
          <cx:pt idx="35126">0</cx:pt>
          <cx:pt idx="35127">0</cx:pt>
          <cx:pt idx="35128">0</cx:pt>
          <cx:pt idx="35129">0</cx:pt>
          <cx:pt idx="35130">1</cx:pt>
          <cx:pt idx="35131">0</cx:pt>
          <cx:pt idx="35132">0</cx:pt>
          <cx:pt idx="35133">1</cx:pt>
          <cx:pt idx="35134">1</cx:pt>
          <cx:pt idx="35135">0</cx:pt>
          <cx:pt idx="35136">0</cx:pt>
          <cx:pt idx="35137">1</cx:pt>
          <cx:pt idx="35138">0</cx:pt>
          <cx:pt idx="35139">0</cx:pt>
          <cx:pt idx="35140">0</cx:pt>
          <cx:pt idx="35141">1</cx:pt>
          <cx:pt idx="35142">0</cx:pt>
          <cx:pt idx="35143">1</cx:pt>
          <cx:pt idx="35144">1</cx:pt>
          <cx:pt idx="35145">0</cx:pt>
          <cx:pt idx="35146">0</cx:pt>
          <cx:pt idx="35147">0</cx:pt>
          <cx:pt idx="35148">0</cx:pt>
          <cx:pt idx="35149">0</cx:pt>
          <cx:pt idx="35150">1</cx:pt>
          <cx:pt idx="35151">0</cx:pt>
          <cx:pt idx="35152">0</cx:pt>
          <cx:pt idx="35153">1</cx:pt>
          <cx:pt idx="35154">1</cx:pt>
          <cx:pt idx="35155">1</cx:pt>
          <cx:pt idx="35156">0</cx:pt>
          <cx:pt idx="35157">0</cx:pt>
          <cx:pt idx="35158">0</cx:pt>
          <cx:pt idx="35159">0</cx:pt>
          <cx:pt idx="35160">0</cx:pt>
          <cx:pt idx="35161">0</cx:pt>
          <cx:pt idx="35162">1</cx:pt>
          <cx:pt idx="35163">0</cx:pt>
          <cx:pt idx="35164">0</cx:pt>
          <cx:pt idx="35165">0</cx:pt>
          <cx:pt idx="35166">0</cx:pt>
          <cx:pt idx="35167">0</cx:pt>
          <cx:pt idx="35168">0</cx:pt>
          <cx:pt idx="35169">1</cx:pt>
          <cx:pt idx="35170">0</cx:pt>
          <cx:pt idx="35171">1</cx:pt>
          <cx:pt idx="35172">1</cx:pt>
          <cx:pt idx="35173">0</cx:pt>
          <cx:pt idx="35174">1</cx:pt>
          <cx:pt idx="35175">0</cx:pt>
          <cx:pt idx="35176">0</cx:pt>
          <cx:pt idx="35177">0</cx:pt>
          <cx:pt idx="35178">1</cx:pt>
          <cx:pt idx="35179">0</cx:pt>
          <cx:pt idx="35180">0</cx:pt>
          <cx:pt idx="35181">0</cx:pt>
          <cx:pt idx="35182">1</cx:pt>
          <cx:pt idx="35183">1</cx:pt>
          <cx:pt idx="35184">0</cx:pt>
          <cx:pt idx="35185">1</cx:pt>
          <cx:pt idx="35186">1</cx:pt>
          <cx:pt idx="35187">1</cx:pt>
          <cx:pt idx="35188">0</cx:pt>
          <cx:pt idx="35189">0</cx:pt>
          <cx:pt idx="35190">0</cx:pt>
          <cx:pt idx="35191">0</cx:pt>
          <cx:pt idx="35192">0</cx:pt>
          <cx:pt idx="35193">0</cx:pt>
          <cx:pt idx="35194">1</cx:pt>
          <cx:pt idx="35195">0</cx:pt>
          <cx:pt idx="35196">0</cx:pt>
          <cx:pt idx="35197">1</cx:pt>
          <cx:pt idx="35198">0</cx:pt>
          <cx:pt idx="35199">1</cx:pt>
          <cx:pt idx="35200">0</cx:pt>
          <cx:pt idx="35201">0</cx:pt>
          <cx:pt idx="35202">0</cx:pt>
          <cx:pt idx="35203">1</cx:pt>
          <cx:pt idx="35204">0</cx:pt>
          <cx:pt idx="35205">0</cx:pt>
          <cx:pt idx="35206">1</cx:pt>
          <cx:pt idx="35207">0</cx:pt>
          <cx:pt idx="35208">1</cx:pt>
          <cx:pt idx="35209">0</cx:pt>
          <cx:pt idx="35210">1</cx:pt>
          <cx:pt idx="35211">0</cx:pt>
          <cx:pt idx="35212">1</cx:pt>
          <cx:pt idx="35213">1</cx:pt>
          <cx:pt idx="35214">1</cx:pt>
          <cx:pt idx="35215">0</cx:pt>
          <cx:pt idx="35216">0</cx:pt>
          <cx:pt idx="35217">1</cx:pt>
          <cx:pt idx="35218">1</cx:pt>
          <cx:pt idx="35219">0</cx:pt>
          <cx:pt idx="35220">0</cx:pt>
          <cx:pt idx="35221">0</cx:pt>
          <cx:pt idx="35222">1</cx:pt>
          <cx:pt idx="35223">1</cx:pt>
          <cx:pt idx="35224">0</cx:pt>
          <cx:pt idx="35225">1</cx:pt>
          <cx:pt idx="35226">1</cx:pt>
          <cx:pt idx="35227">0</cx:pt>
          <cx:pt idx="35228">0</cx:pt>
          <cx:pt idx="35229">1</cx:pt>
          <cx:pt idx="35230">1</cx:pt>
          <cx:pt idx="35231">0</cx:pt>
          <cx:pt idx="35232">1</cx:pt>
          <cx:pt idx="35233">0</cx:pt>
          <cx:pt idx="35234">1</cx:pt>
          <cx:pt idx="35235">1</cx:pt>
          <cx:pt idx="35236">0</cx:pt>
          <cx:pt idx="35237">1</cx:pt>
          <cx:pt idx="35238">0</cx:pt>
          <cx:pt idx="35239">0</cx:pt>
          <cx:pt idx="35240">0</cx:pt>
          <cx:pt idx="35241">0</cx:pt>
          <cx:pt idx="35242">0</cx:pt>
          <cx:pt idx="35243">1</cx:pt>
          <cx:pt idx="35244">0</cx:pt>
          <cx:pt idx="35245">0</cx:pt>
          <cx:pt idx="35246">1</cx:pt>
          <cx:pt idx="35247">1</cx:pt>
          <cx:pt idx="35248">1</cx:pt>
          <cx:pt idx="35249">1</cx:pt>
          <cx:pt idx="35250">1</cx:pt>
          <cx:pt idx="35251">1</cx:pt>
          <cx:pt idx="35252">0</cx:pt>
          <cx:pt idx="35253">0</cx:pt>
          <cx:pt idx="35254">1</cx:pt>
          <cx:pt idx="35255">0</cx:pt>
          <cx:pt idx="35256">0</cx:pt>
          <cx:pt idx="35257">1</cx:pt>
          <cx:pt idx="35258">1</cx:pt>
          <cx:pt idx="35259">1</cx:pt>
          <cx:pt idx="35260">0</cx:pt>
          <cx:pt idx="35261">0</cx:pt>
          <cx:pt idx="35262">0</cx:pt>
          <cx:pt idx="35263">1</cx:pt>
          <cx:pt idx="35264">1</cx:pt>
          <cx:pt idx="35265">0</cx:pt>
          <cx:pt idx="35266">0</cx:pt>
          <cx:pt idx="35267">1</cx:pt>
          <cx:pt idx="35268">1</cx:pt>
          <cx:pt idx="35269">0</cx:pt>
          <cx:pt idx="35270">0</cx:pt>
          <cx:pt idx="35271">0</cx:pt>
          <cx:pt idx="35272">1</cx:pt>
          <cx:pt idx="35273">1</cx:pt>
          <cx:pt idx="35274">1</cx:pt>
          <cx:pt idx="35275">1</cx:pt>
          <cx:pt idx="35276">0</cx:pt>
          <cx:pt idx="35277">1</cx:pt>
          <cx:pt idx="35278">1</cx:pt>
          <cx:pt idx="35279">0</cx:pt>
          <cx:pt idx="35280">1</cx:pt>
          <cx:pt idx="35281">1</cx:pt>
          <cx:pt idx="35282">1</cx:pt>
          <cx:pt idx="35283">1</cx:pt>
          <cx:pt idx="35284">1</cx:pt>
          <cx:pt idx="35285">0</cx:pt>
          <cx:pt idx="35286">0</cx:pt>
          <cx:pt idx="35287">0</cx:pt>
          <cx:pt idx="35288">0</cx:pt>
          <cx:pt idx="35289">0</cx:pt>
          <cx:pt idx="35290">0</cx:pt>
          <cx:pt idx="35291">0</cx:pt>
          <cx:pt idx="35292">0</cx:pt>
          <cx:pt idx="35293">1</cx:pt>
          <cx:pt idx="35294">0</cx:pt>
          <cx:pt idx="35295">0</cx:pt>
          <cx:pt idx="35296">1</cx:pt>
          <cx:pt idx="35297">0</cx:pt>
          <cx:pt idx="35298">1</cx:pt>
          <cx:pt idx="35299">1</cx:pt>
          <cx:pt idx="35300">1</cx:pt>
          <cx:pt idx="35301">1</cx:pt>
          <cx:pt idx="35302">1</cx:pt>
          <cx:pt idx="35303">0</cx:pt>
          <cx:pt idx="35304">0</cx:pt>
          <cx:pt idx="35305">0</cx:pt>
          <cx:pt idx="35306">0</cx:pt>
          <cx:pt idx="35307">1</cx:pt>
          <cx:pt idx="35308">0</cx:pt>
          <cx:pt idx="35309">0</cx:pt>
          <cx:pt idx="35310">1</cx:pt>
          <cx:pt idx="35311">0</cx:pt>
          <cx:pt idx="35312">1</cx:pt>
          <cx:pt idx="35313">1</cx:pt>
          <cx:pt idx="35314">1</cx:pt>
          <cx:pt idx="35315">0</cx:pt>
          <cx:pt idx="35316">0</cx:pt>
          <cx:pt idx="35317">0</cx:pt>
          <cx:pt idx="35318">1</cx:pt>
          <cx:pt idx="35319">0</cx:pt>
          <cx:pt idx="35320">1</cx:pt>
          <cx:pt idx="35321">0</cx:pt>
          <cx:pt idx="35322">0</cx:pt>
          <cx:pt idx="35323">0</cx:pt>
          <cx:pt idx="35324">0</cx:pt>
          <cx:pt idx="35325">0</cx:pt>
          <cx:pt idx="35326">0</cx:pt>
          <cx:pt idx="35327">0</cx:pt>
          <cx:pt idx="35328">1</cx:pt>
          <cx:pt idx="35329">1</cx:pt>
          <cx:pt idx="35330">0</cx:pt>
          <cx:pt idx="35331">0</cx:pt>
          <cx:pt idx="35332">0</cx:pt>
          <cx:pt idx="35333">1</cx:pt>
          <cx:pt idx="35334">1</cx:pt>
          <cx:pt idx="35335">0</cx:pt>
          <cx:pt idx="35336">0</cx:pt>
          <cx:pt idx="35337">0</cx:pt>
          <cx:pt idx="35338">1</cx:pt>
          <cx:pt idx="35339">0</cx:pt>
          <cx:pt idx="35340">0</cx:pt>
          <cx:pt idx="35341">0</cx:pt>
          <cx:pt idx="35342">0</cx:pt>
          <cx:pt idx="35343">0</cx:pt>
          <cx:pt idx="35344">0</cx:pt>
          <cx:pt idx="35345">1</cx:pt>
          <cx:pt idx="35346">1</cx:pt>
          <cx:pt idx="35347">0</cx:pt>
          <cx:pt idx="35348">0</cx:pt>
          <cx:pt idx="35349">0</cx:pt>
          <cx:pt idx="35350">1</cx:pt>
          <cx:pt idx="35351">0</cx:pt>
          <cx:pt idx="35352">0</cx:pt>
          <cx:pt idx="35353">1</cx:pt>
          <cx:pt idx="35354">0</cx:pt>
          <cx:pt idx="35355">1</cx:pt>
          <cx:pt idx="35356">1</cx:pt>
          <cx:pt idx="35357">0</cx:pt>
          <cx:pt idx="35358">0</cx:pt>
          <cx:pt idx="35359">0</cx:pt>
          <cx:pt idx="35360">1</cx:pt>
          <cx:pt idx="35361">0</cx:pt>
          <cx:pt idx="35362">1</cx:pt>
          <cx:pt idx="35363">0</cx:pt>
          <cx:pt idx="35364">0</cx:pt>
          <cx:pt idx="35365">0</cx:pt>
          <cx:pt idx="35366">0</cx:pt>
          <cx:pt idx="35367">0</cx:pt>
          <cx:pt idx="35368">1</cx:pt>
          <cx:pt idx="35369">1</cx:pt>
          <cx:pt idx="35370">0</cx:pt>
          <cx:pt idx="35371">1</cx:pt>
          <cx:pt idx="35372">1</cx:pt>
          <cx:pt idx="35373">1</cx:pt>
          <cx:pt idx="35374">1</cx:pt>
          <cx:pt idx="35375">1</cx:pt>
          <cx:pt idx="35376">1</cx:pt>
          <cx:pt idx="35377">0</cx:pt>
          <cx:pt idx="35378">0</cx:pt>
          <cx:pt idx="35379">1</cx:pt>
          <cx:pt idx="35380">0</cx:pt>
          <cx:pt idx="35381">0</cx:pt>
          <cx:pt idx="35382">1</cx:pt>
          <cx:pt idx="35383">0</cx:pt>
          <cx:pt idx="35384">0</cx:pt>
          <cx:pt idx="35385">0</cx:pt>
          <cx:pt idx="35386">0</cx:pt>
          <cx:pt idx="35387">0</cx:pt>
          <cx:pt idx="35388">0</cx:pt>
          <cx:pt idx="35389">1</cx:pt>
          <cx:pt idx="35390">1</cx:pt>
          <cx:pt idx="35391">1</cx:pt>
          <cx:pt idx="35392">1</cx:pt>
          <cx:pt idx="35393">1</cx:pt>
          <cx:pt idx="35394">1</cx:pt>
          <cx:pt idx="35395">0</cx:pt>
          <cx:pt idx="35396">0</cx:pt>
          <cx:pt idx="35397">0</cx:pt>
          <cx:pt idx="35398">0</cx:pt>
          <cx:pt idx="35399">1</cx:pt>
          <cx:pt idx="35400">1</cx:pt>
          <cx:pt idx="35401">1</cx:pt>
          <cx:pt idx="35402">1</cx:pt>
          <cx:pt idx="35403">0</cx:pt>
          <cx:pt idx="35404">1</cx:pt>
          <cx:pt idx="35405">0</cx:pt>
          <cx:pt idx="35406">0</cx:pt>
          <cx:pt idx="35407">0</cx:pt>
          <cx:pt idx="35408">0</cx:pt>
          <cx:pt idx="35409">0</cx:pt>
          <cx:pt idx="35410">0</cx:pt>
          <cx:pt idx="35411">1</cx:pt>
          <cx:pt idx="35412">0</cx:pt>
          <cx:pt idx="35413">1</cx:pt>
          <cx:pt idx="35414">1</cx:pt>
          <cx:pt idx="35415">1</cx:pt>
          <cx:pt idx="35416">1</cx:pt>
          <cx:pt idx="35417">0</cx:pt>
          <cx:pt idx="35418">0</cx:pt>
          <cx:pt idx="35419">1</cx:pt>
          <cx:pt idx="35420">0</cx:pt>
          <cx:pt idx="35421">1</cx:pt>
          <cx:pt idx="35422">0</cx:pt>
          <cx:pt idx="35423">1</cx:pt>
          <cx:pt idx="35424">1</cx:pt>
          <cx:pt idx="35425">1</cx:pt>
          <cx:pt idx="35426">0</cx:pt>
          <cx:pt idx="35427">1</cx:pt>
          <cx:pt idx="35428">0</cx:pt>
          <cx:pt idx="35429">0</cx:pt>
          <cx:pt idx="35430">1</cx:pt>
          <cx:pt idx="35431">0</cx:pt>
          <cx:pt idx="35432">0</cx:pt>
          <cx:pt idx="35433">1</cx:pt>
          <cx:pt idx="35434">0</cx:pt>
          <cx:pt idx="35435">0</cx:pt>
          <cx:pt idx="35436">1</cx:pt>
          <cx:pt idx="35437">1</cx:pt>
          <cx:pt idx="35438">0</cx:pt>
          <cx:pt idx="35439">0</cx:pt>
          <cx:pt idx="35440">1</cx:pt>
          <cx:pt idx="35441">0</cx:pt>
          <cx:pt idx="35442">0</cx:pt>
          <cx:pt idx="35443">1</cx:pt>
          <cx:pt idx="35444">0</cx:pt>
          <cx:pt idx="35445">1</cx:pt>
          <cx:pt idx="35446">1</cx:pt>
          <cx:pt idx="35447">0</cx:pt>
          <cx:pt idx="35448">0</cx:pt>
          <cx:pt idx="35449">1</cx:pt>
          <cx:pt idx="35450">1</cx:pt>
          <cx:pt idx="35451">0</cx:pt>
          <cx:pt idx="35452">0</cx:pt>
          <cx:pt idx="35453">0</cx:pt>
          <cx:pt idx="35454">1</cx:pt>
          <cx:pt idx="35455">0</cx:pt>
          <cx:pt idx="35456">1</cx:pt>
          <cx:pt idx="35457">0</cx:pt>
          <cx:pt idx="35458">0</cx:pt>
          <cx:pt idx="35459">0</cx:pt>
          <cx:pt idx="35460">0</cx:pt>
          <cx:pt idx="35461">0</cx:pt>
          <cx:pt idx="35462">0</cx:pt>
          <cx:pt idx="35463">0</cx:pt>
          <cx:pt idx="35464">0</cx:pt>
          <cx:pt idx="35465">0</cx:pt>
          <cx:pt idx="35466">1</cx:pt>
          <cx:pt idx="35467">0</cx:pt>
          <cx:pt idx="35468">0</cx:pt>
          <cx:pt idx="35469">0</cx:pt>
          <cx:pt idx="35470">0</cx:pt>
          <cx:pt idx="35471">0</cx:pt>
          <cx:pt idx="35472">0</cx:pt>
          <cx:pt idx="35473">0</cx:pt>
          <cx:pt idx="35474">0</cx:pt>
          <cx:pt idx="35475">1</cx:pt>
          <cx:pt idx="35476">0</cx:pt>
          <cx:pt idx="35477">0</cx:pt>
          <cx:pt idx="35478">0</cx:pt>
          <cx:pt idx="35479">0</cx:pt>
          <cx:pt idx="35480">0</cx:pt>
          <cx:pt idx="35481">0</cx:pt>
          <cx:pt idx="35482">0</cx:pt>
          <cx:pt idx="35483">1</cx:pt>
          <cx:pt idx="35484">1</cx:pt>
          <cx:pt idx="35485">1</cx:pt>
          <cx:pt idx="35486">1</cx:pt>
          <cx:pt idx="35487">0</cx:pt>
          <cx:pt idx="35488">1</cx:pt>
          <cx:pt idx="35489">0</cx:pt>
          <cx:pt idx="35490">0</cx:pt>
          <cx:pt idx="35491">1</cx:pt>
          <cx:pt idx="35492">0</cx:pt>
          <cx:pt idx="35493">1</cx:pt>
          <cx:pt idx="35494">1</cx:pt>
          <cx:pt idx="35495">1</cx:pt>
          <cx:pt idx="35496">0</cx:pt>
          <cx:pt idx="35497">1</cx:pt>
          <cx:pt idx="35498">1</cx:pt>
          <cx:pt idx="35499">0</cx:pt>
          <cx:pt idx="35500">0</cx:pt>
          <cx:pt idx="35501">1</cx:pt>
          <cx:pt idx="35502">1</cx:pt>
          <cx:pt idx="35503">0</cx:pt>
          <cx:pt idx="35504">0</cx:pt>
          <cx:pt idx="35505">0</cx:pt>
          <cx:pt idx="35506">1</cx:pt>
          <cx:pt idx="35507">1</cx:pt>
          <cx:pt idx="35508">0</cx:pt>
          <cx:pt idx="35509">0</cx:pt>
          <cx:pt idx="35510">0</cx:pt>
          <cx:pt idx="35511">1</cx:pt>
          <cx:pt idx="35512">1</cx:pt>
          <cx:pt idx="35513">0</cx:pt>
          <cx:pt idx="35514">0</cx:pt>
          <cx:pt idx="35515">1</cx:pt>
          <cx:pt idx="35516">0</cx:pt>
          <cx:pt idx="35517">1</cx:pt>
          <cx:pt idx="35518">0</cx:pt>
          <cx:pt idx="35519">0</cx:pt>
          <cx:pt idx="35520">1</cx:pt>
          <cx:pt idx="35521">0</cx:pt>
          <cx:pt idx="35522">0</cx:pt>
          <cx:pt idx="35523">0</cx:pt>
          <cx:pt idx="35524">0</cx:pt>
          <cx:pt idx="35525">0</cx:pt>
          <cx:pt idx="35526">0</cx:pt>
          <cx:pt idx="35527">1</cx:pt>
          <cx:pt idx="35528">1</cx:pt>
          <cx:pt idx="35529">1</cx:pt>
          <cx:pt idx="35530">0</cx:pt>
          <cx:pt idx="35531">0</cx:pt>
          <cx:pt idx="35532">0</cx:pt>
          <cx:pt idx="35533">0</cx:pt>
          <cx:pt idx="35534">0</cx:pt>
          <cx:pt idx="35535">0</cx:pt>
          <cx:pt idx="35536">0</cx:pt>
          <cx:pt idx="35537">0</cx:pt>
          <cx:pt idx="35538">0</cx:pt>
          <cx:pt idx="35539">1</cx:pt>
          <cx:pt idx="35540">0</cx:pt>
          <cx:pt idx="35541">1</cx:pt>
          <cx:pt idx="35542">0</cx:pt>
          <cx:pt idx="35543">0</cx:pt>
          <cx:pt idx="35544">1</cx:pt>
          <cx:pt idx="35545">1</cx:pt>
          <cx:pt idx="35546">0</cx:pt>
          <cx:pt idx="35547">1</cx:pt>
          <cx:pt idx="35548">1</cx:pt>
          <cx:pt idx="35549">1</cx:pt>
          <cx:pt idx="35550">1</cx:pt>
          <cx:pt idx="35551">1</cx:pt>
          <cx:pt idx="35552">1</cx:pt>
          <cx:pt idx="35553">1</cx:pt>
          <cx:pt idx="35554">0</cx:pt>
          <cx:pt idx="35555">0</cx:pt>
          <cx:pt idx="35556">0</cx:pt>
          <cx:pt idx="35557">0</cx:pt>
          <cx:pt idx="35558">1</cx:pt>
          <cx:pt idx="35559">0</cx:pt>
          <cx:pt idx="35560">1</cx:pt>
          <cx:pt idx="35561">1</cx:pt>
          <cx:pt idx="35562">1</cx:pt>
          <cx:pt idx="35563">0</cx:pt>
          <cx:pt idx="35564">1</cx:pt>
          <cx:pt idx="35565">1</cx:pt>
          <cx:pt idx="35566">1</cx:pt>
          <cx:pt idx="35567">1</cx:pt>
          <cx:pt idx="35568">0</cx:pt>
          <cx:pt idx="35569">0</cx:pt>
          <cx:pt idx="35570">0</cx:pt>
          <cx:pt idx="35571">1</cx:pt>
          <cx:pt idx="35572">0</cx:pt>
          <cx:pt idx="35573">0</cx:pt>
          <cx:pt idx="35574">0</cx:pt>
          <cx:pt idx="35575">1</cx:pt>
          <cx:pt idx="35576">0</cx:pt>
          <cx:pt idx="35577">0</cx:pt>
          <cx:pt idx="35578">0</cx:pt>
          <cx:pt idx="35579">1</cx:pt>
          <cx:pt idx="35580">1</cx:pt>
          <cx:pt idx="35581">0</cx:pt>
          <cx:pt idx="35582">0</cx:pt>
          <cx:pt idx="35583">1</cx:pt>
          <cx:pt idx="35584">0</cx:pt>
          <cx:pt idx="35585">0</cx:pt>
          <cx:pt idx="35586">0</cx:pt>
          <cx:pt idx="35587">0</cx:pt>
          <cx:pt idx="35588">0</cx:pt>
          <cx:pt idx="35589">1</cx:pt>
          <cx:pt idx="35590">0</cx:pt>
          <cx:pt idx="35591">0</cx:pt>
          <cx:pt idx="35592">0</cx:pt>
          <cx:pt idx="35593">0</cx:pt>
          <cx:pt idx="35594">1</cx:pt>
          <cx:pt idx="35595">0</cx:pt>
          <cx:pt idx="35596">1</cx:pt>
          <cx:pt idx="35597">0</cx:pt>
          <cx:pt idx="35598">0</cx:pt>
          <cx:pt idx="35599">0</cx:pt>
          <cx:pt idx="35600">1</cx:pt>
          <cx:pt idx="35601">0</cx:pt>
          <cx:pt idx="35602">0</cx:pt>
          <cx:pt idx="35603">1</cx:pt>
          <cx:pt idx="35604">0</cx:pt>
          <cx:pt idx="35605">0</cx:pt>
          <cx:pt idx="35606">1</cx:pt>
          <cx:pt idx="35607">1</cx:pt>
          <cx:pt idx="35608">1</cx:pt>
          <cx:pt idx="35609">1</cx:pt>
          <cx:pt idx="35610">0</cx:pt>
          <cx:pt idx="35611">0</cx:pt>
          <cx:pt idx="35612">0</cx:pt>
          <cx:pt idx="35613">1</cx:pt>
          <cx:pt idx="35614">1</cx:pt>
          <cx:pt idx="35615">0</cx:pt>
          <cx:pt idx="35616">1</cx:pt>
          <cx:pt idx="35617">0</cx:pt>
          <cx:pt idx="35618">1</cx:pt>
          <cx:pt idx="35619">0</cx:pt>
          <cx:pt idx="35620">1</cx:pt>
          <cx:pt idx="35621">1</cx:pt>
          <cx:pt idx="35622">0</cx:pt>
          <cx:pt idx="35623">1</cx:pt>
          <cx:pt idx="35624">1</cx:pt>
          <cx:pt idx="35625">0</cx:pt>
          <cx:pt idx="35626">1</cx:pt>
          <cx:pt idx="35627">0</cx:pt>
          <cx:pt idx="35628">1</cx:pt>
          <cx:pt idx="35629">0</cx:pt>
          <cx:pt idx="35630">0</cx:pt>
          <cx:pt idx="35631">1</cx:pt>
          <cx:pt idx="35632">0</cx:pt>
          <cx:pt idx="35633">1</cx:pt>
          <cx:pt idx="35634">1</cx:pt>
          <cx:pt idx="35635">0</cx:pt>
          <cx:pt idx="35636">0</cx:pt>
          <cx:pt idx="35637">1</cx:pt>
          <cx:pt idx="35638">0</cx:pt>
          <cx:pt idx="35639">1</cx:pt>
          <cx:pt idx="35640">0</cx:pt>
          <cx:pt idx="35641">0</cx:pt>
          <cx:pt idx="35642">0</cx:pt>
          <cx:pt idx="35643">1</cx:pt>
          <cx:pt idx="35644">1</cx:pt>
          <cx:pt idx="35645">0</cx:pt>
          <cx:pt idx="35646">0</cx:pt>
          <cx:pt idx="35647">0</cx:pt>
          <cx:pt idx="35648">0</cx:pt>
          <cx:pt idx="35649">0</cx:pt>
          <cx:pt idx="35650">1</cx:pt>
          <cx:pt idx="35651">1</cx:pt>
          <cx:pt idx="35652">1</cx:pt>
          <cx:pt idx="35653">0</cx:pt>
          <cx:pt idx="35654">1</cx:pt>
          <cx:pt idx="35655">0</cx:pt>
          <cx:pt idx="35656">1</cx:pt>
          <cx:pt idx="35657">0</cx:pt>
          <cx:pt idx="35658">1</cx:pt>
          <cx:pt idx="35659">0</cx:pt>
          <cx:pt idx="35660">0</cx:pt>
          <cx:pt idx="35661">0</cx:pt>
          <cx:pt idx="35662">1</cx:pt>
          <cx:pt idx="35663">0</cx:pt>
          <cx:pt idx="35664">0</cx:pt>
          <cx:pt idx="35665">1</cx:pt>
          <cx:pt idx="35666">1</cx:pt>
          <cx:pt idx="35667">1</cx:pt>
          <cx:pt idx="35668">1</cx:pt>
          <cx:pt idx="35669">0</cx:pt>
          <cx:pt idx="35670">1</cx:pt>
          <cx:pt idx="35671">1</cx:pt>
          <cx:pt idx="35672">1</cx:pt>
          <cx:pt idx="35673">0</cx:pt>
          <cx:pt idx="35674">0</cx:pt>
          <cx:pt idx="35675">1</cx:pt>
          <cx:pt idx="35676">0</cx:pt>
          <cx:pt idx="35677">0</cx:pt>
          <cx:pt idx="35678">0</cx:pt>
          <cx:pt idx="35679">0</cx:pt>
          <cx:pt idx="35680">1</cx:pt>
          <cx:pt idx="35681">1</cx:pt>
          <cx:pt idx="35682">0</cx:pt>
          <cx:pt idx="35683">1</cx:pt>
          <cx:pt idx="35684">0</cx:pt>
          <cx:pt idx="35685">1</cx:pt>
          <cx:pt idx="35686">1</cx:pt>
          <cx:pt idx="35687">0</cx:pt>
          <cx:pt idx="35688">1</cx:pt>
          <cx:pt idx="35689">0</cx:pt>
          <cx:pt idx="35690">0</cx:pt>
          <cx:pt idx="35691">1</cx:pt>
          <cx:pt idx="35692">1</cx:pt>
          <cx:pt idx="35693">0</cx:pt>
          <cx:pt idx="35694">0</cx:pt>
          <cx:pt idx="35695">1</cx:pt>
          <cx:pt idx="35696">0</cx:pt>
          <cx:pt idx="35697">0</cx:pt>
          <cx:pt idx="35698">1</cx:pt>
          <cx:pt idx="35699">1</cx:pt>
          <cx:pt idx="35700">0</cx:pt>
          <cx:pt idx="35701">0</cx:pt>
          <cx:pt idx="35702">1</cx:pt>
          <cx:pt idx="35703">1</cx:pt>
          <cx:pt idx="35704">0</cx:pt>
          <cx:pt idx="35705">0</cx:pt>
          <cx:pt idx="35706">0</cx:pt>
          <cx:pt idx="35707">0</cx:pt>
          <cx:pt idx="35708">0</cx:pt>
          <cx:pt idx="35709">0</cx:pt>
          <cx:pt idx="35710">0</cx:pt>
          <cx:pt idx="35711">1</cx:pt>
          <cx:pt idx="35712">1</cx:pt>
          <cx:pt idx="35713">0</cx:pt>
          <cx:pt idx="35714">1</cx:pt>
          <cx:pt idx="35715">0</cx:pt>
          <cx:pt idx="35716">0</cx:pt>
          <cx:pt idx="35717">1</cx:pt>
          <cx:pt idx="35718">0</cx:pt>
          <cx:pt idx="35719">0</cx:pt>
          <cx:pt idx="35720">1</cx:pt>
          <cx:pt idx="35721">0</cx:pt>
          <cx:pt idx="35722">0</cx:pt>
          <cx:pt idx="35723">1</cx:pt>
          <cx:pt idx="35724">1</cx:pt>
          <cx:pt idx="35725">1</cx:pt>
          <cx:pt idx="35726">0</cx:pt>
          <cx:pt idx="35727">0</cx:pt>
          <cx:pt idx="35728">1</cx:pt>
          <cx:pt idx="35729">1</cx:pt>
          <cx:pt idx="35730">1</cx:pt>
          <cx:pt idx="35731">1</cx:pt>
          <cx:pt idx="35732">0</cx:pt>
          <cx:pt idx="35733">0</cx:pt>
          <cx:pt idx="35734">1</cx:pt>
          <cx:pt idx="35735">1</cx:pt>
          <cx:pt idx="35736">1</cx:pt>
          <cx:pt idx="35737">0</cx:pt>
          <cx:pt idx="35738">0</cx:pt>
          <cx:pt idx="35739">1</cx:pt>
          <cx:pt idx="35740">1</cx:pt>
          <cx:pt idx="35741">0</cx:pt>
          <cx:pt idx="35742">1</cx:pt>
          <cx:pt idx="35743">1</cx:pt>
          <cx:pt idx="35744">0</cx:pt>
          <cx:pt idx="35745">1</cx:pt>
          <cx:pt idx="35746">1</cx:pt>
          <cx:pt idx="35747">0</cx:pt>
          <cx:pt idx="35748">0</cx:pt>
          <cx:pt idx="35749">0</cx:pt>
          <cx:pt idx="35750">1</cx:pt>
          <cx:pt idx="35751">1</cx:pt>
          <cx:pt idx="35752">0</cx:pt>
          <cx:pt idx="35753">0</cx:pt>
          <cx:pt idx="35754">0</cx:pt>
          <cx:pt idx="35755">0</cx:pt>
          <cx:pt idx="35756">0</cx:pt>
          <cx:pt idx="35757">0</cx:pt>
          <cx:pt idx="35758">1</cx:pt>
          <cx:pt idx="35759">0</cx:pt>
          <cx:pt idx="35760">0</cx:pt>
          <cx:pt idx="35761">0</cx:pt>
          <cx:pt idx="35762">0</cx:pt>
          <cx:pt idx="35763">0</cx:pt>
          <cx:pt idx="35764">1</cx:pt>
          <cx:pt idx="35765">0</cx:pt>
          <cx:pt idx="35766">1</cx:pt>
          <cx:pt idx="35767">0</cx:pt>
          <cx:pt idx="35768">1</cx:pt>
          <cx:pt idx="35769">0</cx:pt>
          <cx:pt idx="35770">0</cx:pt>
          <cx:pt idx="35771">1</cx:pt>
          <cx:pt idx="35772">0</cx:pt>
          <cx:pt idx="35773">0</cx:pt>
          <cx:pt idx="35774">0</cx:pt>
          <cx:pt idx="35775">0</cx:pt>
          <cx:pt idx="35776">1</cx:pt>
          <cx:pt idx="35777">1</cx:pt>
          <cx:pt idx="35778">0</cx:pt>
          <cx:pt idx="35779">0</cx:pt>
          <cx:pt idx="35780">1</cx:pt>
          <cx:pt idx="35781">1</cx:pt>
          <cx:pt idx="35782">1</cx:pt>
          <cx:pt idx="35783">1</cx:pt>
          <cx:pt idx="35784">0</cx:pt>
          <cx:pt idx="35785">1</cx:pt>
          <cx:pt idx="35786">1</cx:pt>
          <cx:pt idx="35787">0</cx:pt>
          <cx:pt idx="35788">0</cx:pt>
          <cx:pt idx="35789">0</cx:pt>
          <cx:pt idx="35790">0</cx:pt>
          <cx:pt idx="35791">1</cx:pt>
          <cx:pt idx="35792">1</cx:pt>
          <cx:pt idx="35793">1</cx:pt>
          <cx:pt idx="35794">1</cx:pt>
          <cx:pt idx="35795">0</cx:pt>
          <cx:pt idx="35796">0</cx:pt>
          <cx:pt idx="35797">1</cx:pt>
          <cx:pt idx="35798">0</cx:pt>
          <cx:pt idx="35799">0</cx:pt>
          <cx:pt idx="35800">1</cx:pt>
          <cx:pt idx="35801">0</cx:pt>
          <cx:pt idx="35802">1</cx:pt>
          <cx:pt idx="35803">0</cx:pt>
          <cx:pt idx="35804">0</cx:pt>
          <cx:pt idx="35805">0</cx:pt>
          <cx:pt idx="35806">0</cx:pt>
          <cx:pt idx="35807">0</cx:pt>
          <cx:pt idx="35808">0</cx:pt>
          <cx:pt idx="35809">1</cx:pt>
          <cx:pt idx="35810">1</cx:pt>
          <cx:pt idx="35811">1</cx:pt>
          <cx:pt idx="35812">0</cx:pt>
          <cx:pt idx="35813">0</cx:pt>
          <cx:pt idx="35814">1</cx:pt>
          <cx:pt idx="35815">1</cx:pt>
          <cx:pt idx="35816">0</cx:pt>
          <cx:pt idx="35817">0</cx:pt>
          <cx:pt idx="35818">0</cx:pt>
          <cx:pt idx="35819">0</cx:pt>
          <cx:pt idx="35820">1</cx:pt>
          <cx:pt idx="35821">0</cx:pt>
          <cx:pt idx="35822">1</cx:pt>
          <cx:pt idx="35823">0</cx:pt>
          <cx:pt idx="35824">1</cx:pt>
          <cx:pt idx="35825">0</cx:pt>
          <cx:pt idx="35826">1</cx:pt>
          <cx:pt idx="35827">1</cx:pt>
          <cx:pt idx="35828">0</cx:pt>
          <cx:pt idx="35829">0</cx:pt>
          <cx:pt idx="35830">1</cx:pt>
          <cx:pt idx="35831">1</cx:pt>
          <cx:pt idx="35832">1</cx:pt>
          <cx:pt idx="35833">1</cx:pt>
          <cx:pt idx="35834">1</cx:pt>
          <cx:pt idx="35835">1</cx:pt>
          <cx:pt idx="35836">1</cx:pt>
          <cx:pt idx="35837">0</cx:pt>
          <cx:pt idx="35838">0</cx:pt>
          <cx:pt idx="35839">1</cx:pt>
          <cx:pt idx="35840">1</cx:pt>
          <cx:pt idx="35841">0</cx:pt>
          <cx:pt idx="35842">0</cx:pt>
          <cx:pt idx="35843">1</cx:pt>
          <cx:pt idx="35844">1</cx:pt>
          <cx:pt idx="35845">0</cx:pt>
          <cx:pt idx="35846">0</cx:pt>
          <cx:pt idx="35847">0</cx:pt>
          <cx:pt idx="35848">0</cx:pt>
          <cx:pt idx="35849">0</cx:pt>
          <cx:pt idx="35850">0</cx:pt>
          <cx:pt idx="35851">1</cx:pt>
          <cx:pt idx="35852">0</cx:pt>
          <cx:pt idx="35853">0</cx:pt>
          <cx:pt idx="35854">0</cx:pt>
          <cx:pt idx="35855">0</cx:pt>
          <cx:pt idx="35856">1</cx:pt>
          <cx:pt idx="35857">1</cx:pt>
          <cx:pt idx="35858">0</cx:pt>
          <cx:pt idx="35859">1</cx:pt>
          <cx:pt idx="35860">1</cx:pt>
          <cx:pt idx="35861">1</cx:pt>
          <cx:pt idx="35862">0</cx:pt>
          <cx:pt idx="35863">1</cx:pt>
          <cx:pt idx="35864">0</cx:pt>
          <cx:pt idx="35865">1</cx:pt>
          <cx:pt idx="35866">0</cx:pt>
          <cx:pt idx="35867">1</cx:pt>
          <cx:pt idx="35868">1</cx:pt>
          <cx:pt idx="35869">0</cx:pt>
          <cx:pt idx="35870">1</cx:pt>
          <cx:pt idx="35871">0</cx:pt>
          <cx:pt idx="35872">0</cx:pt>
          <cx:pt idx="35873">1</cx:pt>
          <cx:pt idx="35874">1</cx:pt>
          <cx:pt idx="35875">1</cx:pt>
          <cx:pt idx="35876">0</cx:pt>
          <cx:pt idx="35877">0</cx:pt>
          <cx:pt idx="35878">0</cx:pt>
          <cx:pt idx="35879">1</cx:pt>
          <cx:pt idx="35880">0</cx:pt>
          <cx:pt idx="35881">1</cx:pt>
          <cx:pt idx="35882">1</cx:pt>
          <cx:pt idx="35883">1</cx:pt>
          <cx:pt idx="35884">0</cx:pt>
          <cx:pt idx="35885">1</cx:pt>
          <cx:pt idx="35886">1</cx:pt>
          <cx:pt idx="35887">0</cx:pt>
          <cx:pt idx="35888">0</cx:pt>
          <cx:pt idx="35889">0</cx:pt>
          <cx:pt idx="35890">1</cx:pt>
          <cx:pt idx="35891">1</cx:pt>
          <cx:pt idx="35892">1</cx:pt>
          <cx:pt idx="35893">1</cx:pt>
          <cx:pt idx="35894">0</cx:pt>
          <cx:pt idx="35895">0</cx:pt>
          <cx:pt idx="35896">0</cx:pt>
          <cx:pt idx="35897">0</cx:pt>
          <cx:pt idx="35898">1</cx:pt>
          <cx:pt idx="35899">0</cx:pt>
          <cx:pt idx="35900">0</cx:pt>
          <cx:pt idx="35901">0</cx:pt>
          <cx:pt idx="35902">0</cx:pt>
          <cx:pt idx="35903">0</cx:pt>
          <cx:pt idx="35904">1</cx:pt>
          <cx:pt idx="35905">1</cx:pt>
          <cx:pt idx="35906">0</cx:pt>
          <cx:pt idx="35907">0</cx:pt>
          <cx:pt idx="35908">0</cx:pt>
          <cx:pt idx="35909">1</cx:pt>
          <cx:pt idx="35910">1</cx:pt>
          <cx:pt idx="35911">0</cx:pt>
          <cx:pt idx="35912">0</cx:pt>
          <cx:pt idx="35913">1</cx:pt>
          <cx:pt idx="35914">1</cx:pt>
          <cx:pt idx="35915">1</cx:pt>
          <cx:pt idx="35916">0</cx:pt>
          <cx:pt idx="35917">0</cx:pt>
          <cx:pt idx="35918">0</cx:pt>
          <cx:pt idx="35919">0</cx:pt>
          <cx:pt idx="35920">1</cx:pt>
          <cx:pt idx="35921">0</cx:pt>
          <cx:pt idx="35922">1</cx:pt>
          <cx:pt idx="35923">0</cx:pt>
          <cx:pt idx="35924">1</cx:pt>
          <cx:pt idx="35925">1</cx:pt>
          <cx:pt idx="35926">0</cx:pt>
          <cx:pt idx="35927">0</cx:pt>
          <cx:pt idx="35928">1</cx:pt>
          <cx:pt idx="35929">0</cx:pt>
          <cx:pt idx="35930">1</cx:pt>
          <cx:pt idx="35931">1</cx:pt>
          <cx:pt idx="35932">1</cx:pt>
          <cx:pt idx="35933">0</cx:pt>
          <cx:pt idx="35934">0</cx:pt>
          <cx:pt idx="35935">1</cx:pt>
          <cx:pt idx="35936">1</cx:pt>
          <cx:pt idx="35937">1</cx:pt>
          <cx:pt idx="35938">0</cx:pt>
          <cx:pt idx="35939">0</cx:pt>
          <cx:pt idx="35940">0</cx:pt>
          <cx:pt idx="35941">0</cx:pt>
          <cx:pt idx="35942">0</cx:pt>
          <cx:pt idx="35943">1</cx:pt>
          <cx:pt idx="35944">1</cx:pt>
          <cx:pt idx="35945">1</cx:pt>
          <cx:pt idx="35946">0</cx:pt>
          <cx:pt idx="35947">1</cx:pt>
          <cx:pt idx="35948">1</cx:pt>
          <cx:pt idx="35949">0</cx:pt>
          <cx:pt idx="35950">0</cx:pt>
          <cx:pt idx="35951">1</cx:pt>
          <cx:pt idx="35952">0</cx:pt>
          <cx:pt idx="35953">0</cx:pt>
          <cx:pt idx="35954">0</cx:pt>
          <cx:pt idx="35955">1</cx:pt>
          <cx:pt idx="35956">0</cx:pt>
          <cx:pt idx="35957">0</cx:pt>
          <cx:pt idx="35958">0</cx:pt>
          <cx:pt idx="35959">1</cx:pt>
          <cx:pt idx="35960">0</cx:pt>
          <cx:pt idx="35961">1</cx:pt>
          <cx:pt idx="35962">0</cx:pt>
          <cx:pt idx="35963">0</cx:pt>
          <cx:pt idx="35964">0</cx:pt>
          <cx:pt idx="35965">0</cx:pt>
          <cx:pt idx="35966">1</cx:pt>
          <cx:pt idx="35967">0</cx:pt>
          <cx:pt idx="35968">1</cx:pt>
          <cx:pt idx="35969">1</cx:pt>
          <cx:pt idx="35970">1</cx:pt>
          <cx:pt idx="35971">0</cx:pt>
          <cx:pt idx="35972">1</cx:pt>
          <cx:pt idx="35973">1</cx:pt>
          <cx:pt idx="35974">1</cx:pt>
          <cx:pt idx="35975">0</cx:pt>
          <cx:pt idx="35976">0</cx:pt>
          <cx:pt idx="35977">1</cx:pt>
          <cx:pt idx="35978">1</cx:pt>
          <cx:pt idx="35979">0</cx:pt>
          <cx:pt idx="35980">0</cx:pt>
          <cx:pt idx="35981">0</cx:pt>
          <cx:pt idx="35982">0</cx:pt>
          <cx:pt idx="35983">1</cx:pt>
          <cx:pt idx="35984">1</cx:pt>
          <cx:pt idx="35985">1</cx:pt>
          <cx:pt idx="35986">1</cx:pt>
          <cx:pt idx="35987">0</cx:pt>
          <cx:pt idx="35988">0</cx:pt>
          <cx:pt idx="35989">0</cx:pt>
          <cx:pt idx="35990">0</cx:pt>
          <cx:pt idx="35991">1</cx:pt>
          <cx:pt idx="35992">0</cx:pt>
          <cx:pt idx="35993">1</cx:pt>
          <cx:pt idx="35994">0</cx:pt>
          <cx:pt idx="35995">0</cx:pt>
          <cx:pt idx="35996">1</cx:pt>
          <cx:pt idx="35997">0</cx:pt>
          <cx:pt idx="35998">0</cx:pt>
          <cx:pt idx="35999">0</cx:pt>
          <cx:pt idx="36000">0</cx:pt>
          <cx:pt idx="36001">1</cx:pt>
          <cx:pt idx="36002">1</cx:pt>
          <cx:pt idx="36003">0</cx:pt>
          <cx:pt idx="36004">1</cx:pt>
          <cx:pt idx="36005">0</cx:pt>
          <cx:pt idx="36006">1</cx:pt>
          <cx:pt idx="36007">0</cx:pt>
          <cx:pt idx="36008">1</cx:pt>
          <cx:pt idx="36009">1</cx:pt>
          <cx:pt idx="36010">1</cx:pt>
          <cx:pt idx="36011">1</cx:pt>
          <cx:pt idx="36012">0</cx:pt>
          <cx:pt idx="36013">1</cx:pt>
          <cx:pt idx="36014">0</cx:pt>
          <cx:pt idx="36015">0</cx:pt>
          <cx:pt idx="36016">0</cx:pt>
          <cx:pt idx="36017">1</cx:pt>
          <cx:pt idx="36018">1</cx:pt>
          <cx:pt idx="36019">0</cx:pt>
          <cx:pt idx="36020">1</cx:pt>
          <cx:pt idx="36021">0</cx:pt>
          <cx:pt idx="36022">1</cx:pt>
          <cx:pt idx="36023">0</cx:pt>
          <cx:pt idx="36024">1</cx:pt>
          <cx:pt idx="36025">0</cx:pt>
          <cx:pt idx="36026">1</cx:pt>
          <cx:pt idx="36027">1</cx:pt>
          <cx:pt idx="36028">1</cx:pt>
          <cx:pt idx="36029">1</cx:pt>
          <cx:pt idx="36030">1</cx:pt>
          <cx:pt idx="36031">0</cx:pt>
          <cx:pt idx="36032">0</cx:pt>
          <cx:pt idx="36033">1</cx:pt>
          <cx:pt idx="36034">0</cx:pt>
          <cx:pt idx="36035">0</cx:pt>
          <cx:pt idx="36036">0</cx:pt>
          <cx:pt idx="36037">0</cx:pt>
          <cx:pt idx="36038">0</cx:pt>
          <cx:pt idx="36039">1</cx:pt>
          <cx:pt idx="36040">1</cx:pt>
          <cx:pt idx="36041">0</cx:pt>
          <cx:pt idx="36042">0</cx:pt>
          <cx:pt idx="36043">0</cx:pt>
          <cx:pt idx="36044">1</cx:pt>
          <cx:pt idx="36045">0</cx:pt>
          <cx:pt idx="36046">0</cx:pt>
          <cx:pt idx="36047">1</cx:pt>
          <cx:pt idx="36048">0</cx:pt>
          <cx:pt idx="36049">1</cx:pt>
          <cx:pt idx="36050">1</cx:pt>
          <cx:pt idx="36051">1</cx:pt>
          <cx:pt idx="36052">1</cx:pt>
          <cx:pt idx="36053">0</cx:pt>
          <cx:pt idx="36054">1</cx:pt>
          <cx:pt idx="36055">1</cx:pt>
          <cx:pt idx="36056">0</cx:pt>
          <cx:pt idx="36057">0</cx:pt>
          <cx:pt idx="36058">0</cx:pt>
          <cx:pt idx="36059">1</cx:pt>
          <cx:pt idx="36060">0</cx:pt>
          <cx:pt idx="36061">0</cx:pt>
          <cx:pt idx="36062">0</cx:pt>
          <cx:pt idx="36063">0</cx:pt>
          <cx:pt idx="36064">1</cx:pt>
          <cx:pt idx="36065">1</cx:pt>
          <cx:pt idx="36066">1</cx:pt>
          <cx:pt idx="36067">1</cx:pt>
          <cx:pt idx="36068">1</cx:pt>
          <cx:pt idx="36069">0</cx:pt>
          <cx:pt idx="36070">1</cx:pt>
          <cx:pt idx="36071">0</cx:pt>
          <cx:pt idx="36072">0</cx:pt>
          <cx:pt idx="36073">1</cx:pt>
          <cx:pt idx="36074">1</cx:pt>
          <cx:pt idx="36075">0</cx:pt>
          <cx:pt idx="36076">1</cx:pt>
          <cx:pt idx="36077">0</cx:pt>
          <cx:pt idx="36078">0</cx:pt>
          <cx:pt idx="36079">1</cx:pt>
          <cx:pt idx="36080">0</cx:pt>
          <cx:pt idx="36081">0</cx:pt>
          <cx:pt idx="36082">0</cx:pt>
          <cx:pt idx="36083">1</cx:pt>
          <cx:pt idx="36084">0</cx:pt>
          <cx:pt idx="36085">1</cx:pt>
          <cx:pt idx="36086">0</cx:pt>
          <cx:pt idx="36087">0</cx:pt>
          <cx:pt idx="36088">1</cx:pt>
          <cx:pt idx="36089">0</cx:pt>
          <cx:pt idx="36090">0</cx:pt>
          <cx:pt idx="36091">0</cx:pt>
          <cx:pt idx="36092">0</cx:pt>
          <cx:pt idx="36093">0</cx:pt>
          <cx:pt idx="36094">0</cx:pt>
          <cx:pt idx="36095">0</cx:pt>
          <cx:pt idx="36096">0</cx:pt>
          <cx:pt idx="36097">0</cx:pt>
          <cx:pt idx="36098">0</cx:pt>
          <cx:pt idx="36099">1</cx:pt>
          <cx:pt idx="36100">0</cx:pt>
          <cx:pt idx="36101">1</cx:pt>
          <cx:pt idx="36102">1</cx:pt>
          <cx:pt idx="36103">1</cx:pt>
          <cx:pt idx="36104">0</cx:pt>
          <cx:pt idx="36105">1</cx:pt>
          <cx:pt idx="36106">0</cx:pt>
          <cx:pt idx="36107">0</cx:pt>
          <cx:pt idx="36108">0</cx:pt>
          <cx:pt idx="36109">1</cx:pt>
          <cx:pt idx="36110">0</cx:pt>
          <cx:pt idx="36111">1</cx:pt>
          <cx:pt idx="36112">0</cx:pt>
          <cx:pt idx="36113">1</cx:pt>
          <cx:pt idx="36114">1</cx:pt>
          <cx:pt idx="36115">0</cx:pt>
          <cx:pt idx="36116">1</cx:pt>
          <cx:pt idx="36117">0</cx:pt>
          <cx:pt idx="36118">0</cx:pt>
          <cx:pt idx="36119">0</cx:pt>
          <cx:pt idx="36120">1</cx:pt>
          <cx:pt idx="36121">0</cx:pt>
          <cx:pt idx="36122">0</cx:pt>
          <cx:pt idx="36123">0</cx:pt>
          <cx:pt idx="36124">0</cx:pt>
          <cx:pt idx="36125">0</cx:pt>
          <cx:pt idx="36126">1</cx:pt>
          <cx:pt idx="36127">0</cx:pt>
          <cx:pt idx="36128">0</cx:pt>
          <cx:pt idx="36129">1</cx:pt>
          <cx:pt idx="36130">1</cx:pt>
          <cx:pt idx="36131">0</cx:pt>
          <cx:pt idx="36132">0</cx:pt>
          <cx:pt idx="36133">0</cx:pt>
          <cx:pt idx="36134">0</cx:pt>
          <cx:pt idx="36135">1</cx:pt>
          <cx:pt idx="36136">1</cx:pt>
          <cx:pt idx="36137">0</cx:pt>
          <cx:pt idx="36138">1</cx:pt>
          <cx:pt idx="36139">1</cx:pt>
          <cx:pt idx="36140">0</cx:pt>
          <cx:pt idx="36141">0</cx:pt>
          <cx:pt idx="36142">0</cx:pt>
          <cx:pt idx="36143">1</cx:pt>
          <cx:pt idx="36144">0</cx:pt>
          <cx:pt idx="36145">0</cx:pt>
          <cx:pt idx="36146">0</cx:pt>
          <cx:pt idx="36147">0</cx:pt>
          <cx:pt idx="36148">1</cx:pt>
          <cx:pt idx="36149">0</cx:pt>
          <cx:pt idx="36150">0</cx:pt>
          <cx:pt idx="36151">0</cx:pt>
          <cx:pt idx="36152">1</cx:pt>
          <cx:pt idx="36153">0</cx:pt>
          <cx:pt idx="36154">0</cx:pt>
          <cx:pt idx="36155">1</cx:pt>
          <cx:pt idx="36156">1</cx:pt>
          <cx:pt idx="36157">0</cx:pt>
          <cx:pt idx="36158">1</cx:pt>
          <cx:pt idx="36159">1</cx:pt>
          <cx:pt idx="36160">0</cx:pt>
          <cx:pt idx="36161">0</cx:pt>
          <cx:pt idx="36162">1</cx:pt>
          <cx:pt idx="36163">0</cx:pt>
          <cx:pt idx="36164">0</cx:pt>
          <cx:pt idx="36165">0</cx:pt>
          <cx:pt idx="36166">1</cx:pt>
          <cx:pt idx="36167">0</cx:pt>
          <cx:pt idx="36168">0</cx:pt>
          <cx:pt idx="36169">0</cx:pt>
          <cx:pt idx="36170">0</cx:pt>
          <cx:pt idx="36171">1</cx:pt>
          <cx:pt idx="36172">0</cx:pt>
          <cx:pt idx="36173">0</cx:pt>
          <cx:pt idx="36174">0</cx:pt>
          <cx:pt idx="36175">0</cx:pt>
          <cx:pt idx="36176">0</cx:pt>
          <cx:pt idx="36177">0</cx:pt>
          <cx:pt idx="36178">0</cx:pt>
          <cx:pt idx="36179">0</cx:pt>
          <cx:pt idx="36180">0</cx:pt>
          <cx:pt idx="36181">0</cx:pt>
          <cx:pt idx="36182">0</cx:pt>
          <cx:pt idx="36183">0</cx:pt>
          <cx:pt idx="36184">0</cx:pt>
          <cx:pt idx="36185">1</cx:pt>
          <cx:pt idx="36186">0</cx:pt>
          <cx:pt idx="36187">0</cx:pt>
          <cx:pt idx="36188">0</cx:pt>
          <cx:pt idx="36189">1</cx:pt>
          <cx:pt idx="36190">0</cx:pt>
          <cx:pt idx="36191">0</cx:pt>
          <cx:pt idx="36192">1</cx:pt>
          <cx:pt idx="36193">0</cx:pt>
          <cx:pt idx="36194">0</cx:pt>
          <cx:pt idx="36195">0</cx:pt>
          <cx:pt idx="36196">0</cx:pt>
          <cx:pt idx="36197">0</cx:pt>
          <cx:pt idx="36198">0</cx:pt>
          <cx:pt idx="36199">0</cx:pt>
          <cx:pt idx="36200">1</cx:pt>
          <cx:pt idx="36201">0</cx:pt>
          <cx:pt idx="36202">1</cx:pt>
          <cx:pt idx="36203">1</cx:pt>
          <cx:pt idx="36204">0</cx:pt>
          <cx:pt idx="36205">1</cx:pt>
          <cx:pt idx="36206">0</cx:pt>
          <cx:pt idx="36207">0</cx:pt>
          <cx:pt idx="36208">0</cx:pt>
          <cx:pt idx="36209">0</cx:pt>
          <cx:pt idx="36210">0</cx:pt>
          <cx:pt idx="36211">1</cx:pt>
          <cx:pt idx="36212">0</cx:pt>
          <cx:pt idx="36213">1</cx:pt>
          <cx:pt idx="36214">1</cx:pt>
          <cx:pt idx="36215">0</cx:pt>
          <cx:pt idx="36216">0</cx:pt>
          <cx:pt idx="36217">0</cx:pt>
          <cx:pt idx="36218">1</cx:pt>
          <cx:pt idx="36219">0</cx:pt>
          <cx:pt idx="36220">0</cx:pt>
          <cx:pt idx="36221">0</cx:pt>
          <cx:pt idx="36222">1</cx:pt>
          <cx:pt idx="36223">1</cx:pt>
          <cx:pt idx="36224">0</cx:pt>
          <cx:pt idx="36225">0</cx:pt>
          <cx:pt idx="36226">1</cx:pt>
          <cx:pt idx="36227">0</cx:pt>
          <cx:pt idx="36228">0</cx:pt>
          <cx:pt idx="36229">1</cx:pt>
          <cx:pt idx="36230">0</cx:pt>
          <cx:pt idx="36231">0</cx:pt>
          <cx:pt idx="36232">1</cx:pt>
          <cx:pt idx="36233">0</cx:pt>
          <cx:pt idx="36234">0</cx:pt>
          <cx:pt idx="36235">1</cx:pt>
          <cx:pt idx="36236">1</cx:pt>
          <cx:pt idx="36237">1</cx:pt>
          <cx:pt idx="36238">1</cx:pt>
          <cx:pt idx="36239">1</cx:pt>
          <cx:pt idx="36240">1</cx:pt>
          <cx:pt idx="36241">0</cx:pt>
          <cx:pt idx="36242">1</cx:pt>
          <cx:pt idx="36243">0</cx:pt>
          <cx:pt idx="36244">1</cx:pt>
          <cx:pt idx="36245">1</cx:pt>
          <cx:pt idx="36246">1</cx:pt>
          <cx:pt idx="36247">1</cx:pt>
          <cx:pt idx="36248">1</cx:pt>
          <cx:pt idx="36249">1</cx:pt>
          <cx:pt idx="36250">1</cx:pt>
          <cx:pt idx="36251">0</cx:pt>
          <cx:pt idx="36252">0</cx:pt>
          <cx:pt idx="36253">0</cx:pt>
          <cx:pt idx="36254">0</cx:pt>
          <cx:pt idx="36255">0</cx:pt>
          <cx:pt idx="36256">1</cx:pt>
          <cx:pt idx="36257">1</cx:pt>
          <cx:pt idx="36258">0</cx:pt>
          <cx:pt idx="36259">1</cx:pt>
          <cx:pt idx="36260">0</cx:pt>
          <cx:pt idx="36261">0</cx:pt>
          <cx:pt idx="36262">0</cx:pt>
          <cx:pt idx="36263">0</cx:pt>
          <cx:pt idx="36264">1</cx:pt>
          <cx:pt idx="36265">1</cx:pt>
          <cx:pt idx="36266">1</cx:pt>
          <cx:pt idx="36267">1</cx:pt>
          <cx:pt idx="36268">0</cx:pt>
          <cx:pt idx="36269">0</cx:pt>
          <cx:pt idx="36270">1</cx:pt>
          <cx:pt idx="36271">0</cx:pt>
          <cx:pt idx="36272">0</cx:pt>
          <cx:pt idx="36273">0</cx:pt>
          <cx:pt idx="36274">1</cx:pt>
          <cx:pt idx="36275">0</cx:pt>
          <cx:pt idx="36276">1</cx:pt>
          <cx:pt idx="36277">1</cx:pt>
          <cx:pt idx="36278">0</cx:pt>
          <cx:pt idx="36279">1</cx:pt>
          <cx:pt idx="36280">0</cx:pt>
          <cx:pt idx="36281">0</cx:pt>
          <cx:pt idx="36282">0</cx:pt>
          <cx:pt idx="36283">1</cx:pt>
          <cx:pt idx="36284">0</cx:pt>
          <cx:pt idx="36285">1</cx:pt>
          <cx:pt idx="36286">0</cx:pt>
          <cx:pt idx="36287">0</cx:pt>
          <cx:pt idx="36288">0</cx:pt>
          <cx:pt idx="36289">1</cx:pt>
          <cx:pt idx="36290">0</cx:pt>
          <cx:pt idx="36291">1</cx:pt>
          <cx:pt idx="36292">0</cx:pt>
          <cx:pt idx="36293">1</cx:pt>
          <cx:pt idx="36294">0</cx:pt>
          <cx:pt idx="36295">1</cx:pt>
          <cx:pt idx="36296">0</cx:pt>
          <cx:pt idx="36297">1</cx:pt>
          <cx:pt idx="36298">0</cx:pt>
          <cx:pt idx="36299">1</cx:pt>
          <cx:pt idx="36300">1</cx:pt>
          <cx:pt idx="36301">0</cx:pt>
          <cx:pt idx="36302">1</cx:pt>
          <cx:pt idx="36303">0</cx:pt>
          <cx:pt idx="36304">1</cx:pt>
          <cx:pt idx="36305">1</cx:pt>
          <cx:pt idx="36306">0</cx:pt>
          <cx:pt idx="36307">0</cx:pt>
          <cx:pt idx="36308">1</cx:pt>
          <cx:pt idx="36309">1</cx:pt>
          <cx:pt idx="36310">0</cx:pt>
          <cx:pt idx="36311">0</cx:pt>
          <cx:pt idx="36312">0</cx:pt>
          <cx:pt idx="36313">0</cx:pt>
          <cx:pt idx="36314">1</cx:pt>
          <cx:pt idx="36315">0</cx:pt>
          <cx:pt idx="36316">1</cx:pt>
          <cx:pt idx="36317">0</cx:pt>
          <cx:pt idx="36318">1</cx:pt>
          <cx:pt idx="36319">0</cx:pt>
          <cx:pt idx="36320">0</cx:pt>
          <cx:pt idx="36321">0</cx:pt>
          <cx:pt idx="36322">0</cx:pt>
          <cx:pt idx="36323">0</cx:pt>
          <cx:pt idx="36324">0</cx:pt>
          <cx:pt idx="36325">1</cx:pt>
          <cx:pt idx="36326">1</cx:pt>
          <cx:pt idx="36327">1</cx:pt>
          <cx:pt idx="36328">1</cx:pt>
          <cx:pt idx="36329">1</cx:pt>
          <cx:pt idx="36330">1</cx:pt>
          <cx:pt idx="36331">0</cx:pt>
          <cx:pt idx="36332">0</cx:pt>
          <cx:pt idx="36333">1</cx:pt>
          <cx:pt idx="36334">0</cx:pt>
          <cx:pt idx="36335">0</cx:pt>
          <cx:pt idx="36336">1</cx:pt>
          <cx:pt idx="36337">0</cx:pt>
          <cx:pt idx="36338">0</cx:pt>
          <cx:pt idx="36339">0</cx:pt>
          <cx:pt idx="36340">1</cx:pt>
          <cx:pt idx="36341">0</cx:pt>
          <cx:pt idx="36342">0</cx:pt>
          <cx:pt idx="36343">1</cx:pt>
          <cx:pt idx="36344">0</cx:pt>
          <cx:pt idx="36345">0</cx:pt>
          <cx:pt idx="36346">1</cx:pt>
          <cx:pt idx="36347">0</cx:pt>
          <cx:pt idx="36348">0</cx:pt>
          <cx:pt idx="36349">0</cx:pt>
          <cx:pt idx="36350">0</cx:pt>
          <cx:pt idx="36351">0</cx:pt>
          <cx:pt idx="36352">0</cx:pt>
          <cx:pt idx="36353">0</cx:pt>
          <cx:pt idx="36354">1</cx:pt>
          <cx:pt idx="36355">1</cx:pt>
          <cx:pt idx="36356">1</cx:pt>
          <cx:pt idx="36357">0</cx:pt>
          <cx:pt idx="36358">0</cx:pt>
          <cx:pt idx="36359">0</cx:pt>
          <cx:pt idx="36360">1</cx:pt>
          <cx:pt idx="36361">0</cx:pt>
          <cx:pt idx="36362">1</cx:pt>
          <cx:pt idx="36363">1</cx:pt>
          <cx:pt idx="36364">1</cx:pt>
          <cx:pt idx="36365">1</cx:pt>
          <cx:pt idx="36366">0</cx:pt>
          <cx:pt idx="36367">1</cx:pt>
          <cx:pt idx="36368">1</cx:pt>
          <cx:pt idx="36369">0</cx:pt>
          <cx:pt idx="36370">0</cx:pt>
          <cx:pt idx="36371">0</cx:pt>
          <cx:pt idx="36372">1</cx:pt>
          <cx:pt idx="36373">0</cx:pt>
          <cx:pt idx="36374">0</cx:pt>
          <cx:pt idx="36375">0</cx:pt>
          <cx:pt idx="36376">0</cx:pt>
          <cx:pt idx="36377">0</cx:pt>
          <cx:pt idx="36378">0</cx:pt>
          <cx:pt idx="36379">0</cx:pt>
          <cx:pt idx="36380">0</cx:pt>
          <cx:pt idx="36381">0</cx:pt>
          <cx:pt idx="36382">1</cx:pt>
          <cx:pt idx="36383">0</cx:pt>
          <cx:pt idx="36384">1</cx:pt>
          <cx:pt idx="36385">0</cx:pt>
          <cx:pt idx="36386">1</cx:pt>
          <cx:pt idx="36387">0</cx:pt>
          <cx:pt idx="36388">1</cx:pt>
          <cx:pt idx="36389">0</cx:pt>
          <cx:pt idx="36390">0</cx:pt>
          <cx:pt idx="36391">0</cx:pt>
          <cx:pt idx="36392">1</cx:pt>
          <cx:pt idx="36393">0</cx:pt>
          <cx:pt idx="36394">0</cx:pt>
          <cx:pt idx="36395">0</cx:pt>
          <cx:pt idx="36396">0</cx:pt>
          <cx:pt idx="36397">1</cx:pt>
          <cx:pt idx="36398">0</cx:pt>
          <cx:pt idx="36399">1</cx:pt>
          <cx:pt idx="36400">0</cx:pt>
          <cx:pt idx="36401">1</cx:pt>
          <cx:pt idx="36402">0</cx:pt>
          <cx:pt idx="36403">0</cx:pt>
          <cx:pt idx="36404">1</cx:pt>
          <cx:pt idx="36405">1</cx:pt>
          <cx:pt idx="36406">1</cx:pt>
          <cx:pt idx="36407">0</cx:pt>
          <cx:pt idx="36408">1</cx:pt>
          <cx:pt idx="36409">1</cx:pt>
          <cx:pt idx="36410">1</cx:pt>
          <cx:pt idx="36411">1</cx:pt>
          <cx:pt idx="36412">0</cx:pt>
          <cx:pt idx="36413">0</cx:pt>
          <cx:pt idx="36414">0</cx:pt>
          <cx:pt idx="36415">0</cx:pt>
          <cx:pt idx="36416">0</cx:pt>
          <cx:pt idx="36417">0</cx:pt>
          <cx:pt idx="36418">1</cx:pt>
          <cx:pt idx="36419">1</cx:pt>
          <cx:pt idx="36420">0</cx:pt>
          <cx:pt idx="36421">0</cx:pt>
          <cx:pt idx="36422">0</cx:pt>
          <cx:pt idx="36423">0</cx:pt>
          <cx:pt idx="36424">1</cx:pt>
          <cx:pt idx="36425">1</cx:pt>
          <cx:pt idx="36426">0</cx:pt>
          <cx:pt idx="36427">1</cx:pt>
          <cx:pt idx="36428">0</cx:pt>
          <cx:pt idx="36429">1</cx:pt>
          <cx:pt idx="36430">0</cx:pt>
          <cx:pt idx="36431">0</cx:pt>
          <cx:pt idx="36432">0</cx:pt>
          <cx:pt idx="36433">0</cx:pt>
          <cx:pt idx="36434">1</cx:pt>
          <cx:pt idx="36435">0</cx:pt>
          <cx:pt idx="36436">0</cx:pt>
          <cx:pt idx="36437">0</cx:pt>
          <cx:pt idx="36438">0</cx:pt>
          <cx:pt idx="36439">0</cx:pt>
          <cx:pt idx="36440">0</cx:pt>
          <cx:pt idx="36441">0</cx:pt>
          <cx:pt idx="36442">0</cx:pt>
          <cx:pt idx="36443">1</cx:pt>
          <cx:pt idx="36444">0</cx:pt>
          <cx:pt idx="36445">0</cx:pt>
          <cx:pt idx="36446">1</cx:pt>
          <cx:pt idx="36447">0</cx:pt>
          <cx:pt idx="36448">0</cx:pt>
          <cx:pt idx="36449">0</cx:pt>
          <cx:pt idx="36450">0</cx:pt>
          <cx:pt idx="36451">1</cx:pt>
          <cx:pt idx="36452">0</cx:pt>
          <cx:pt idx="36453">1</cx:pt>
          <cx:pt idx="36454">1</cx:pt>
          <cx:pt idx="36455">0</cx:pt>
          <cx:pt idx="36456">0</cx:pt>
          <cx:pt idx="36457">1</cx:pt>
          <cx:pt idx="36458">0</cx:pt>
          <cx:pt idx="36459">1</cx:pt>
          <cx:pt idx="36460">1</cx:pt>
          <cx:pt idx="36461">1</cx:pt>
          <cx:pt idx="36462">1</cx:pt>
          <cx:pt idx="36463">1</cx:pt>
          <cx:pt idx="36464">1</cx:pt>
          <cx:pt idx="36465">0</cx:pt>
          <cx:pt idx="36466">0</cx:pt>
          <cx:pt idx="36467">1</cx:pt>
          <cx:pt idx="36468">0</cx:pt>
          <cx:pt idx="36469">0</cx:pt>
          <cx:pt idx="36470">0</cx:pt>
          <cx:pt idx="36471">1</cx:pt>
          <cx:pt idx="36472">0</cx:pt>
          <cx:pt idx="36473">0</cx:pt>
          <cx:pt idx="36474">1</cx:pt>
          <cx:pt idx="36475">1</cx:pt>
          <cx:pt idx="36476">1</cx:pt>
          <cx:pt idx="36477">0</cx:pt>
          <cx:pt idx="36478">0</cx:pt>
          <cx:pt idx="36479">0</cx:pt>
          <cx:pt idx="36480">0</cx:pt>
          <cx:pt idx="36481">0</cx:pt>
          <cx:pt idx="36482">0</cx:pt>
          <cx:pt idx="36483">0</cx:pt>
          <cx:pt idx="36484">0</cx:pt>
          <cx:pt idx="36485">0</cx:pt>
          <cx:pt idx="36486">0</cx:pt>
          <cx:pt idx="36487">0</cx:pt>
          <cx:pt idx="36488">0</cx:pt>
          <cx:pt idx="36489">0</cx:pt>
          <cx:pt idx="36490">1</cx:pt>
          <cx:pt idx="36491">1</cx:pt>
          <cx:pt idx="36492">1</cx:pt>
          <cx:pt idx="36493">1</cx:pt>
          <cx:pt idx="36494">0</cx:pt>
          <cx:pt idx="36495">1</cx:pt>
          <cx:pt idx="36496">0</cx:pt>
          <cx:pt idx="36497">0</cx:pt>
          <cx:pt idx="36498">0</cx:pt>
          <cx:pt idx="36499">1</cx:pt>
          <cx:pt idx="36500">0</cx:pt>
          <cx:pt idx="36501">1</cx:pt>
          <cx:pt idx="36502">1</cx:pt>
          <cx:pt idx="36503">0</cx:pt>
          <cx:pt idx="36504">0</cx:pt>
          <cx:pt idx="36505">0</cx:pt>
          <cx:pt idx="36506">1</cx:pt>
          <cx:pt idx="36507">0</cx:pt>
          <cx:pt idx="36508">0</cx:pt>
          <cx:pt idx="36509">1</cx:pt>
          <cx:pt idx="36510">0</cx:pt>
          <cx:pt idx="36511">0</cx:pt>
          <cx:pt idx="36512">1</cx:pt>
          <cx:pt idx="36513">1</cx:pt>
          <cx:pt idx="36514">1</cx:pt>
          <cx:pt idx="36515">1</cx:pt>
          <cx:pt idx="36516">1</cx:pt>
          <cx:pt idx="36517">1</cx:pt>
          <cx:pt idx="36518">0</cx:pt>
          <cx:pt idx="36519">1</cx:pt>
          <cx:pt idx="36520">1</cx:pt>
          <cx:pt idx="36521">0</cx:pt>
          <cx:pt idx="36522">0</cx:pt>
          <cx:pt idx="36523">1</cx:pt>
          <cx:pt idx="36524">0</cx:pt>
          <cx:pt idx="36525">0</cx:pt>
          <cx:pt idx="36526">0</cx:pt>
          <cx:pt idx="36527">1</cx:pt>
          <cx:pt idx="36528">0</cx:pt>
          <cx:pt idx="36529">1</cx:pt>
          <cx:pt idx="36530">0</cx:pt>
          <cx:pt idx="36531">0</cx:pt>
          <cx:pt idx="36532">0</cx:pt>
          <cx:pt idx="36533">0</cx:pt>
          <cx:pt idx="36534">1</cx:pt>
          <cx:pt idx="36535">0</cx:pt>
          <cx:pt idx="36536">1</cx:pt>
          <cx:pt idx="36537">0</cx:pt>
          <cx:pt idx="36538">0</cx:pt>
          <cx:pt idx="36539">0</cx:pt>
          <cx:pt idx="36540">0</cx:pt>
          <cx:pt idx="36541">0</cx:pt>
          <cx:pt idx="36542">0</cx:pt>
          <cx:pt idx="36543">0</cx:pt>
          <cx:pt idx="36544">0</cx:pt>
          <cx:pt idx="36545">0</cx:pt>
          <cx:pt idx="36546">0</cx:pt>
          <cx:pt idx="36547">1</cx:pt>
          <cx:pt idx="36548">0</cx:pt>
          <cx:pt idx="36549">1</cx:pt>
          <cx:pt idx="36550">0</cx:pt>
          <cx:pt idx="36551">1</cx:pt>
          <cx:pt idx="36552">1</cx:pt>
          <cx:pt idx="36553">1</cx:pt>
          <cx:pt idx="36554">1</cx:pt>
          <cx:pt idx="36555">0</cx:pt>
          <cx:pt idx="36556">0</cx:pt>
          <cx:pt idx="36557">1</cx:pt>
          <cx:pt idx="36558">0</cx:pt>
          <cx:pt idx="36559">1</cx:pt>
          <cx:pt idx="36560">1</cx:pt>
          <cx:pt idx="36561">0</cx:pt>
          <cx:pt idx="36562">0</cx:pt>
          <cx:pt idx="36563">1</cx:pt>
          <cx:pt idx="36564">0</cx:pt>
          <cx:pt idx="36565">1</cx:pt>
          <cx:pt idx="36566">0</cx:pt>
          <cx:pt idx="36567">1</cx:pt>
          <cx:pt idx="36568">0</cx:pt>
          <cx:pt idx="36569">1</cx:pt>
          <cx:pt idx="36570">0</cx:pt>
          <cx:pt idx="36571">1</cx:pt>
          <cx:pt idx="36572">1</cx:pt>
          <cx:pt idx="36573">0</cx:pt>
          <cx:pt idx="36574">1</cx:pt>
          <cx:pt idx="36575">1</cx:pt>
          <cx:pt idx="36576">1</cx:pt>
          <cx:pt idx="36577">0</cx:pt>
          <cx:pt idx="36578">1</cx:pt>
          <cx:pt idx="36579">1</cx:pt>
          <cx:pt idx="36580">0</cx:pt>
          <cx:pt idx="36581">0</cx:pt>
          <cx:pt idx="36582">1</cx:pt>
          <cx:pt idx="36583">1</cx:pt>
          <cx:pt idx="36584">1</cx:pt>
          <cx:pt idx="36585">0</cx:pt>
          <cx:pt idx="36586">1</cx:pt>
          <cx:pt idx="36587">0</cx:pt>
          <cx:pt idx="36588">0</cx:pt>
          <cx:pt idx="36589">1</cx:pt>
          <cx:pt idx="36590">1</cx:pt>
          <cx:pt idx="36591">0</cx:pt>
          <cx:pt idx="36592">0</cx:pt>
          <cx:pt idx="36593">0</cx:pt>
          <cx:pt idx="36594">0</cx:pt>
          <cx:pt idx="36595">1</cx:pt>
          <cx:pt idx="36596">1</cx:pt>
          <cx:pt idx="36597">0</cx:pt>
          <cx:pt idx="36598">0</cx:pt>
          <cx:pt idx="36599">0</cx:pt>
          <cx:pt idx="36600">0</cx:pt>
          <cx:pt idx="36601">0</cx:pt>
          <cx:pt idx="36602">0</cx:pt>
          <cx:pt idx="36603">0</cx:pt>
          <cx:pt idx="36604">0</cx:pt>
          <cx:pt idx="36605">1</cx:pt>
          <cx:pt idx="36606">1</cx:pt>
          <cx:pt idx="36607">1</cx:pt>
          <cx:pt idx="36608">0</cx:pt>
          <cx:pt idx="36609">0</cx:pt>
          <cx:pt idx="36610">1</cx:pt>
          <cx:pt idx="36611">0</cx:pt>
          <cx:pt idx="36612">0</cx:pt>
          <cx:pt idx="36613">0</cx:pt>
          <cx:pt idx="36614">1</cx:pt>
          <cx:pt idx="36615">0</cx:pt>
          <cx:pt idx="36616">0</cx:pt>
          <cx:pt idx="36617">0</cx:pt>
          <cx:pt idx="36618">1</cx:pt>
          <cx:pt idx="36619">0</cx:pt>
          <cx:pt idx="36620">1</cx:pt>
          <cx:pt idx="36621">1</cx:pt>
          <cx:pt idx="36622">0</cx:pt>
          <cx:pt idx="36623">0</cx:pt>
          <cx:pt idx="36624">0</cx:pt>
          <cx:pt idx="36625">1</cx:pt>
          <cx:pt idx="36626">0</cx:pt>
          <cx:pt idx="36627">0</cx:pt>
          <cx:pt idx="36628">0</cx:pt>
          <cx:pt idx="36629">1</cx:pt>
          <cx:pt idx="36630">0</cx:pt>
          <cx:pt idx="36631">1</cx:pt>
          <cx:pt idx="36632">1</cx:pt>
          <cx:pt idx="36633">1</cx:pt>
          <cx:pt idx="36634">1</cx:pt>
          <cx:pt idx="36635">1</cx:pt>
          <cx:pt idx="36636">0</cx:pt>
          <cx:pt idx="36637">1</cx:pt>
          <cx:pt idx="36638">0</cx:pt>
          <cx:pt idx="36639">0</cx:pt>
          <cx:pt idx="36640">0</cx:pt>
          <cx:pt idx="36641">1</cx:pt>
          <cx:pt idx="36642">1</cx:pt>
          <cx:pt idx="36643">0</cx:pt>
          <cx:pt idx="36644">0</cx:pt>
          <cx:pt idx="36645">1</cx:pt>
          <cx:pt idx="36646">0</cx:pt>
          <cx:pt idx="36647">0</cx:pt>
          <cx:pt idx="36648">1</cx:pt>
          <cx:pt idx="36649">1</cx:pt>
          <cx:pt idx="36650">0</cx:pt>
          <cx:pt idx="36651">0</cx:pt>
          <cx:pt idx="36652">1</cx:pt>
          <cx:pt idx="36653">1</cx:pt>
          <cx:pt idx="36654">0</cx:pt>
          <cx:pt idx="36655">0</cx:pt>
          <cx:pt idx="36656">0</cx:pt>
          <cx:pt idx="36657">0</cx:pt>
          <cx:pt idx="36658">0</cx:pt>
          <cx:pt idx="36659">0</cx:pt>
          <cx:pt idx="36660">0</cx:pt>
          <cx:pt idx="36661">1</cx:pt>
          <cx:pt idx="36662">0</cx:pt>
          <cx:pt idx="36663">0</cx:pt>
          <cx:pt idx="36664">1</cx:pt>
          <cx:pt idx="36665">0</cx:pt>
          <cx:pt idx="36666">1</cx:pt>
          <cx:pt idx="36667">0</cx:pt>
          <cx:pt idx="36668">0</cx:pt>
          <cx:pt idx="36669">1</cx:pt>
          <cx:pt idx="36670">1</cx:pt>
          <cx:pt idx="36671">0</cx:pt>
          <cx:pt idx="36672">0</cx:pt>
          <cx:pt idx="36673">0</cx:pt>
          <cx:pt idx="36674">1</cx:pt>
          <cx:pt idx="36675">1</cx:pt>
          <cx:pt idx="36676">0</cx:pt>
          <cx:pt idx="36677">0</cx:pt>
          <cx:pt idx="36678">1</cx:pt>
          <cx:pt idx="36679">1</cx:pt>
          <cx:pt idx="36680">1</cx:pt>
          <cx:pt idx="36681">1</cx:pt>
          <cx:pt idx="36682">0</cx:pt>
          <cx:pt idx="36683">1</cx:pt>
          <cx:pt idx="36684">1</cx:pt>
          <cx:pt idx="36685">0</cx:pt>
          <cx:pt idx="36686">1</cx:pt>
          <cx:pt idx="36687">0</cx:pt>
          <cx:pt idx="36688">0</cx:pt>
          <cx:pt idx="36689">0</cx:pt>
          <cx:pt idx="36690">0</cx:pt>
          <cx:pt idx="36691">1</cx:pt>
          <cx:pt idx="36692">1</cx:pt>
          <cx:pt idx="36693">1</cx:pt>
          <cx:pt idx="36694">0</cx:pt>
          <cx:pt idx="36695">1</cx:pt>
          <cx:pt idx="36696">1</cx:pt>
          <cx:pt idx="36697">0</cx:pt>
          <cx:pt idx="36698">1</cx:pt>
          <cx:pt idx="36699">0</cx:pt>
          <cx:pt idx="36700">0</cx:pt>
          <cx:pt idx="36701">0</cx:pt>
          <cx:pt idx="36702">0</cx:pt>
          <cx:pt idx="36703">0</cx:pt>
          <cx:pt idx="36704">1</cx:pt>
          <cx:pt idx="36705">1</cx:pt>
          <cx:pt idx="36706">0</cx:pt>
          <cx:pt idx="36707">1</cx:pt>
          <cx:pt idx="36708">0</cx:pt>
          <cx:pt idx="36709">1</cx:pt>
          <cx:pt idx="36710">0</cx:pt>
          <cx:pt idx="36711">0</cx:pt>
          <cx:pt idx="36712">0</cx:pt>
          <cx:pt idx="36713">0</cx:pt>
          <cx:pt idx="36714">1</cx:pt>
          <cx:pt idx="36715">1</cx:pt>
          <cx:pt idx="36716">0</cx:pt>
          <cx:pt idx="36717">1</cx:pt>
          <cx:pt idx="36718">0</cx:pt>
          <cx:pt idx="36719">0</cx:pt>
          <cx:pt idx="36720">1</cx:pt>
          <cx:pt idx="36721">0</cx:pt>
          <cx:pt idx="36722">1</cx:pt>
          <cx:pt idx="36723">1</cx:pt>
          <cx:pt idx="36724">0</cx:pt>
          <cx:pt idx="36725">0</cx:pt>
          <cx:pt idx="36726">1</cx:pt>
          <cx:pt idx="36727">1</cx:pt>
          <cx:pt idx="36728">1</cx:pt>
          <cx:pt idx="36729">1</cx:pt>
          <cx:pt idx="36730">0</cx:pt>
          <cx:pt idx="36731">1</cx:pt>
          <cx:pt idx="36732">0</cx:pt>
          <cx:pt idx="36733">0</cx:pt>
          <cx:pt idx="36734">0</cx:pt>
          <cx:pt idx="36735">1</cx:pt>
          <cx:pt idx="36736">1</cx:pt>
          <cx:pt idx="36737">0</cx:pt>
          <cx:pt idx="36738">1</cx:pt>
          <cx:pt idx="36739">0</cx:pt>
          <cx:pt idx="36740">1</cx:pt>
          <cx:pt idx="36741">0</cx:pt>
          <cx:pt idx="36742">0</cx:pt>
          <cx:pt idx="36743">1</cx:pt>
          <cx:pt idx="36744">1</cx:pt>
          <cx:pt idx="36745">1</cx:pt>
          <cx:pt idx="36746">0</cx:pt>
          <cx:pt idx="36747">1</cx:pt>
          <cx:pt idx="36748">1</cx:pt>
          <cx:pt idx="36749">0</cx:pt>
          <cx:pt idx="36750">1</cx:pt>
          <cx:pt idx="36751">1</cx:pt>
          <cx:pt idx="36752">1</cx:pt>
          <cx:pt idx="36753">1</cx:pt>
          <cx:pt idx="36754">1</cx:pt>
          <cx:pt idx="36755">1</cx:pt>
          <cx:pt idx="36756">0</cx:pt>
          <cx:pt idx="36757">0</cx:pt>
          <cx:pt idx="36758">0</cx:pt>
          <cx:pt idx="36759">1</cx:pt>
          <cx:pt idx="36760">0</cx:pt>
          <cx:pt idx="36761">1</cx:pt>
          <cx:pt idx="36762">0</cx:pt>
          <cx:pt idx="36763">1</cx:pt>
          <cx:pt idx="36764">0</cx:pt>
          <cx:pt idx="36765">1</cx:pt>
          <cx:pt idx="36766">0</cx:pt>
          <cx:pt idx="36767">0</cx:pt>
          <cx:pt idx="36768">1</cx:pt>
          <cx:pt idx="36769">0</cx:pt>
          <cx:pt idx="36770">1</cx:pt>
          <cx:pt idx="36771">1</cx:pt>
          <cx:pt idx="36772">0</cx:pt>
          <cx:pt idx="36773">0</cx:pt>
          <cx:pt idx="36774">1</cx:pt>
          <cx:pt idx="36775">1</cx:pt>
          <cx:pt idx="36776">1</cx:pt>
          <cx:pt idx="36777">0</cx:pt>
          <cx:pt idx="36778">0</cx:pt>
          <cx:pt idx="36779">1</cx:pt>
          <cx:pt idx="36780">1</cx:pt>
          <cx:pt idx="36781">0</cx:pt>
          <cx:pt idx="36782">1</cx:pt>
          <cx:pt idx="36783">0</cx:pt>
          <cx:pt idx="36784">1</cx:pt>
          <cx:pt idx="36785">0</cx:pt>
          <cx:pt idx="36786">0</cx:pt>
          <cx:pt idx="36787">0</cx:pt>
          <cx:pt idx="36788">0</cx:pt>
          <cx:pt idx="36789">0</cx:pt>
          <cx:pt idx="36790">1</cx:pt>
          <cx:pt idx="36791">1</cx:pt>
          <cx:pt idx="36792">1</cx:pt>
          <cx:pt idx="36793">1</cx:pt>
          <cx:pt idx="36794">0</cx:pt>
          <cx:pt idx="36795">1</cx:pt>
          <cx:pt idx="36796">0</cx:pt>
          <cx:pt idx="36797">1</cx:pt>
          <cx:pt idx="36798">0</cx:pt>
          <cx:pt idx="36799">0</cx:pt>
          <cx:pt idx="36800">0</cx:pt>
          <cx:pt idx="36801">1</cx:pt>
          <cx:pt idx="36802">1</cx:pt>
          <cx:pt idx="36803">0</cx:pt>
          <cx:pt idx="36804">1</cx:pt>
          <cx:pt idx="36805">0</cx:pt>
          <cx:pt idx="36806">1</cx:pt>
          <cx:pt idx="36807">0</cx:pt>
          <cx:pt idx="36808">0</cx:pt>
          <cx:pt idx="36809">1</cx:pt>
          <cx:pt idx="36810">0</cx:pt>
          <cx:pt idx="36811">0</cx:pt>
          <cx:pt idx="36812">0</cx:pt>
          <cx:pt idx="36813">1</cx:pt>
          <cx:pt idx="36814">0</cx:pt>
          <cx:pt idx="36815">1</cx:pt>
          <cx:pt idx="36816">0</cx:pt>
          <cx:pt idx="36817">1</cx:pt>
          <cx:pt idx="36818">1</cx:pt>
          <cx:pt idx="36819">1</cx:pt>
          <cx:pt idx="36820">1</cx:pt>
          <cx:pt idx="36821">0</cx:pt>
          <cx:pt idx="36822">1</cx:pt>
          <cx:pt idx="36823">1</cx:pt>
          <cx:pt idx="36824">0</cx:pt>
          <cx:pt idx="36825">0</cx:pt>
          <cx:pt idx="36826">1</cx:pt>
          <cx:pt idx="36827">0</cx:pt>
          <cx:pt idx="36828">0</cx:pt>
          <cx:pt idx="36829">0</cx:pt>
          <cx:pt idx="36830">1</cx:pt>
          <cx:pt idx="36831">1</cx:pt>
          <cx:pt idx="36832">0</cx:pt>
          <cx:pt idx="36833">0</cx:pt>
          <cx:pt idx="36834">1</cx:pt>
          <cx:pt idx="36835">0</cx:pt>
          <cx:pt idx="36836">0</cx:pt>
          <cx:pt idx="36837">0</cx:pt>
          <cx:pt idx="36838">0</cx:pt>
          <cx:pt idx="36839">1</cx:pt>
          <cx:pt idx="36840">0</cx:pt>
          <cx:pt idx="36841">0</cx:pt>
          <cx:pt idx="36842">1</cx:pt>
          <cx:pt idx="36843">1</cx:pt>
          <cx:pt idx="36844">1</cx:pt>
          <cx:pt idx="36845">0</cx:pt>
          <cx:pt idx="36846">0</cx:pt>
          <cx:pt idx="36847">1</cx:pt>
          <cx:pt idx="36848">0</cx:pt>
          <cx:pt idx="36849">1</cx:pt>
          <cx:pt idx="36850">0</cx:pt>
          <cx:pt idx="36851">0</cx:pt>
          <cx:pt idx="36852">0</cx:pt>
          <cx:pt idx="36853">0</cx:pt>
          <cx:pt idx="36854">0</cx:pt>
          <cx:pt idx="36855">0</cx:pt>
          <cx:pt idx="36856">0</cx:pt>
          <cx:pt idx="36857">1</cx:pt>
          <cx:pt idx="36858">0</cx:pt>
          <cx:pt idx="36859">0</cx:pt>
          <cx:pt idx="36860">1</cx:pt>
          <cx:pt idx="36861">0</cx:pt>
          <cx:pt idx="36862">0</cx:pt>
          <cx:pt idx="36863">0</cx:pt>
          <cx:pt idx="36864">1</cx:pt>
          <cx:pt idx="36865">0</cx:pt>
          <cx:pt idx="36866">1</cx:pt>
          <cx:pt idx="36867">0</cx:pt>
          <cx:pt idx="36868">0</cx:pt>
          <cx:pt idx="36869">1</cx:pt>
          <cx:pt idx="36870">0</cx:pt>
          <cx:pt idx="36871">0</cx:pt>
          <cx:pt idx="36872">0</cx:pt>
          <cx:pt idx="36873">0</cx:pt>
          <cx:pt idx="36874">0</cx:pt>
          <cx:pt idx="36875">0</cx:pt>
          <cx:pt idx="36876">1</cx:pt>
          <cx:pt idx="36877">1</cx:pt>
          <cx:pt idx="36878">0</cx:pt>
          <cx:pt idx="36879">0</cx:pt>
          <cx:pt idx="36880">0</cx:pt>
          <cx:pt idx="36881">0</cx:pt>
          <cx:pt idx="36882">0</cx:pt>
          <cx:pt idx="36883">0</cx:pt>
          <cx:pt idx="36884">1</cx:pt>
          <cx:pt idx="36885">0</cx:pt>
          <cx:pt idx="36886">1</cx:pt>
          <cx:pt idx="36887">1</cx:pt>
          <cx:pt idx="36888">0</cx:pt>
          <cx:pt idx="36889">1</cx:pt>
          <cx:pt idx="36890">1</cx:pt>
          <cx:pt idx="36891">1</cx:pt>
          <cx:pt idx="36892">1</cx:pt>
          <cx:pt idx="36893">1</cx:pt>
          <cx:pt idx="36894">1</cx:pt>
          <cx:pt idx="36895">1</cx:pt>
          <cx:pt idx="36896">1</cx:pt>
          <cx:pt idx="36897">0</cx:pt>
          <cx:pt idx="36898">1</cx:pt>
          <cx:pt idx="36899">0</cx:pt>
          <cx:pt idx="36900">0</cx:pt>
          <cx:pt idx="36901">0</cx:pt>
          <cx:pt idx="36902">0</cx:pt>
          <cx:pt idx="36903">1</cx:pt>
          <cx:pt idx="36904">1</cx:pt>
          <cx:pt idx="36905">0</cx:pt>
          <cx:pt idx="36906">0</cx:pt>
          <cx:pt idx="36907">0</cx:pt>
          <cx:pt idx="36908">0</cx:pt>
          <cx:pt idx="36909">0</cx:pt>
          <cx:pt idx="36910">0</cx:pt>
          <cx:pt idx="36911">1</cx:pt>
          <cx:pt idx="36912">1</cx:pt>
          <cx:pt idx="36913">0</cx:pt>
          <cx:pt idx="36914">0</cx:pt>
          <cx:pt idx="36915">1</cx:pt>
          <cx:pt idx="36916">1</cx:pt>
          <cx:pt idx="36917">1</cx:pt>
          <cx:pt idx="36918">1</cx:pt>
          <cx:pt idx="36919">1</cx:pt>
          <cx:pt idx="36920">1</cx:pt>
          <cx:pt idx="36921">0</cx:pt>
          <cx:pt idx="36922">1</cx:pt>
          <cx:pt idx="36923">0</cx:pt>
          <cx:pt idx="36924">0</cx:pt>
          <cx:pt idx="36925">1</cx:pt>
          <cx:pt idx="36926">1</cx:pt>
          <cx:pt idx="36927">1</cx:pt>
          <cx:pt idx="36928">0</cx:pt>
          <cx:pt idx="36929">1</cx:pt>
          <cx:pt idx="36930">1</cx:pt>
          <cx:pt idx="36931">0</cx:pt>
          <cx:pt idx="36932">0</cx:pt>
          <cx:pt idx="36933">0</cx:pt>
          <cx:pt idx="36934">0</cx:pt>
          <cx:pt idx="36935">1</cx:pt>
          <cx:pt idx="36936">0</cx:pt>
          <cx:pt idx="36937">0</cx:pt>
          <cx:pt idx="36938">0</cx:pt>
          <cx:pt idx="36939">1</cx:pt>
          <cx:pt idx="36940">1</cx:pt>
          <cx:pt idx="36941">1</cx:pt>
          <cx:pt idx="36942">1</cx:pt>
          <cx:pt idx="36943">1</cx:pt>
          <cx:pt idx="36944">1</cx:pt>
          <cx:pt idx="36945">0</cx:pt>
          <cx:pt idx="36946">1</cx:pt>
          <cx:pt idx="36947">0</cx:pt>
          <cx:pt idx="36948">1</cx:pt>
          <cx:pt idx="36949">1</cx:pt>
          <cx:pt idx="36950">0</cx:pt>
          <cx:pt idx="36951">0</cx:pt>
          <cx:pt idx="36952">0</cx:pt>
          <cx:pt idx="36953">0</cx:pt>
          <cx:pt idx="36954">0</cx:pt>
          <cx:pt idx="36955">1</cx:pt>
          <cx:pt idx="36956">0</cx:pt>
          <cx:pt idx="36957">0</cx:pt>
          <cx:pt idx="36958">1</cx:pt>
          <cx:pt idx="36959">0</cx:pt>
          <cx:pt idx="36960">1</cx:pt>
          <cx:pt idx="36961">1</cx:pt>
          <cx:pt idx="36962">0</cx:pt>
          <cx:pt idx="36963">0</cx:pt>
          <cx:pt idx="36964">1</cx:pt>
          <cx:pt idx="36965">1</cx:pt>
          <cx:pt idx="36966">0</cx:pt>
          <cx:pt idx="36967">1</cx:pt>
          <cx:pt idx="36968">0</cx:pt>
          <cx:pt idx="36969">0</cx:pt>
          <cx:pt idx="36970">0</cx:pt>
          <cx:pt idx="36971">1</cx:pt>
          <cx:pt idx="36972">0</cx:pt>
          <cx:pt idx="36973">0</cx:pt>
          <cx:pt idx="36974">0</cx:pt>
          <cx:pt idx="36975">1</cx:pt>
          <cx:pt idx="36976">1</cx:pt>
          <cx:pt idx="36977">1</cx:pt>
          <cx:pt idx="36978">0</cx:pt>
          <cx:pt idx="36979">0</cx:pt>
          <cx:pt idx="36980">1</cx:pt>
          <cx:pt idx="36981">1</cx:pt>
          <cx:pt idx="36982">0</cx:pt>
          <cx:pt idx="36983">1</cx:pt>
          <cx:pt idx="36984">0</cx:pt>
          <cx:pt idx="36985">0</cx:pt>
          <cx:pt idx="36986">0</cx:pt>
          <cx:pt idx="36987">1</cx:pt>
          <cx:pt idx="36988">0</cx:pt>
          <cx:pt idx="36989">0</cx:pt>
          <cx:pt idx="36990">0</cx:pt>
          <cx:pt idx="36991">0</cx:pt>
          <cx:pt idx="36992">0</cx:pt>
          <cx:pt idx="36993">1</cx:pt>
          <cx:pt idx="36994">1</cx:pt>
          <cx:pt idx="36995">0</cx:pt>
          <cx:pt idx="36996">0</cx:pt>
          <cx:pt idx="36997">0</cx:pt>
          <cx:pt idx="36998">0</cx:pt>
          <cx:pt idx="36999">1</cx:pt>
          <cx:pt idx="37000">0</cx:pt>
          <cx:pt idx="37001">0</cx:pt>
          <cx:pt idx="37002">0</cx:pt>
          <cx:pt idx="37003">0</cx:pt>
          <cx:pt idx="37004">0</cx:pt>
          <cx:pt idx="37005">0</cx:pt>
          <cx:pt idx="37006">0</cx:pt>
          <cx:pt idx="37007">1</cx:pt>
          <cx:pt idx="37008">0</cx:pt>
          <cx:pt idx="37009">1</cx:pt>
          <cx:pt idx="37010">1</cx:pt>
          <cx:pt idx="37011">0</cx:pt>
          <cx:pt idx="37012">0</cx:pt>
          <cx:pt idx="37013">0</cx:pt>
          <cx:pt idx="37014">0</cx:pt>
          <cx:pt idx="37015">0</cx:pt>
          <cx:pt idx="37016">0</cx:pt>
          <cx:pt idx="37017">0</cx:pt>
          <cx:pt idx="37018">1</cx:pt>
          <cx:pt idx="37019">0</cx:pt>
          <cx:pt idx="37020">1</cx:pt>
          <cx:pt idx="37021">1</cx:pt>
          <cx:pt idx="37022">1</cx:pt>
          <cx:pt idx="37023">1</cx:pt>
          <cx:pt idx="37024">0</cx:pt>
          <cx:pt idx="37025">1</cx:pt>
          <cx:pt idx="37026">0</cx:pt>
          <cx:pt idx="37027">0</cx:pt>
          <cx:pt idx="37028">1</cx:pt>
          <cx:pt idx="37029">0</cx:pt>
          <cx:pt idx="37030">1</cx:pt>
          <cx:pt idx="37031">1</cx:pt>
          <cx:pt idx="37032">0</cx:pt>
          <cx:pt idx="37033">0</cx:pt>
          <cx:pt idx="37034">0</cx:pt>
          <cx:pt idx="37035">1</cx:pt>
          <cx:pt idx="37036">0</cx:pt>
          <cx:pt idx="37037">0</cx:pt>
          <cx:pt idx="37038">0</cx:pt>
          <cx:pt idx="37039">1</cx:pt>
          <cx:pt idx="37040">0</cx:pt>
          <cx:pt idx="37041">1</cx:pt>
          <cx:pt idx="37042">0</cx:pt>
          <cx:pt idx="37043">0</cx:pt>
          <cx:pt idx="37044">0</cx:pt>
          <cx:pt idx="37045">0</cx:pt>
          <cx:pt idx="37046">1</cx:pt>
          <cx:pt idx="37047">0</cx:pt>
          <cx:pt idx="37048">0</cx:pt>
          <cx:pt idx="37049">1</cx:pt>
          <cx:pt idx="37050">0</cx:pt>
          <cx:pt idx="37051">1</cx:pt>
          <cx:pt idx="37052">0</cx:pt>
          <cx:pt idx="37053">0</cx:pt>
          <cx:pt idx="37054">1</cx:pt>
          <cx:pt idx="37055">1</cx:pt>
          <cx:pt idx="37056">0</cx:pt>
          <cx:pt idx="37057">0</cx:pt>
          <cx:pt idx="37058">1</cx:pt>
          <cx:pt idx="37059">1</cx:pt>
          <cx:pt idx="37060">1</cx:pt>
          <cx:pt idx="37061">0</cx:pt>
          <cx:pt idx="37062">0</cx:pt>
          <cx:pt idx="37063">1</cx:pt>
          <cx:pt idx="37064">1</cx:pt>
          <cx:pt idx="37065">0</cx:pt>
          <cx:pt idx="37066">0</cx:pt>
          <cx:pt idx="37067">1</cx:pt>
          <cx:pt idx="37068">0</cx:pt>
          <cx:pt idx="37069">0</cx:pt>
          <cx:pt idx="37070">1</cx:pt>
          <cx:pt idx="37071">1</cx:pt>
          <cx:pt idx="37072">0</cx:pt>
          <cx:pt idx="37073">0</cx:pt>
          <cx:pt idx="37074">1</cx:pt>
          <cx:pt idx="37075">1</cx:pt>
          <cx:pt idx="37076">1</cx:pt>
          <cx:pt idx="37077">0</cx:pt>
          <cx:pt idx="37078">0</cx:pt>
          <cx:pt idx="37079">1</cx:pt>
          <cx:pt idx="37080">0</cx:pt>
          <cx:pt idx="37081">1</cx:pt>
          <cx:pt idx="37082">0</cx:pt>
          <cx:pt idx="37083">0</cx:pt>
          <cx:pt idx="37084">0</cx:pt>
          <cx:pt idx="37085">0</cx:pt>
          <cx:pt idx="37086">1</cx:pt>
          <cx:pt idx="37087">1</cx:pt>
          <cx:pt idx="37088">1</cx:pt>
          <cx:pt idx="37089">1</cx:pt>
          <cx:pt idx="37090">0</cx:pt>
          <cx:pt idx="37091">1</cx:pt>
          <cx:pt idx="37092">0</cx:pt>
          <cx:pt idx="37093">1</cx:pt>
          <cx:pt idx="37094">1</cx:pt>
          <cx:pt idx="37095">0</cx:pt>
          <cx:pt idx="37096">1</cx:pt>
          <cx:pt idx="37097">1</cx:pt>
          <cx:pt idx="37098">0</cx:pt>
          <cx:pt idx="37099">1</cx:pt>
          <cx:pt idx="37100">1</cx:pt>
          <cx:pt idx="37101">1</cx:pt>
          <cx:pt idx="37102">0</cx:pt>
          <cx:pt idx="37103">0</cx:pt>
          <cx:pt idx="37104">0</cx:pt>
          <cx:pt idx="37105">0</cx:pt>
          <cx:pt idx="37106">0</cx:pt>
          <cx:pt idx="37107">0</cx:pt>
          <cx:pt idx="37108">0</cx:pt>
          <cx:pt idx="37109">1</cx:pt>
          <cx:pt idx="37110">0</cx:pt>
          <cx:pt idx="37111">0</cx:pt>
          <cx:pt idx="37112">1</cx:pt>
          <cx:pt idx="37113">1</cx:pt>
          <cx:pt idx="37114">1</cx:pt>
          <cx:pt idx="37115">0</cx:pt>
          <cx:pt idx="37116">0</cx:pt>
          <cx:pt idx="37117">1</cx:pt>
          <cx:pt idx="37118">0</cx:pt>
          <cx:pt idx="37119">0</cx:pt>
          <cx:pt idx="37120">0</cx:pt>
          <cx:pt idx="37121">0</cx:pt>
          <cx:pt idx="37122">0</cx:pt>
          <cx:pt idx="37123">0</cx:pt>
          <cx:pt idx="37124">0</cx:pt>
          <cx:pt idx="37125">0</cx:pt>
          <cx:pt idx="37126">0</cx:pt>
          <cx:pt idx="37127">0</cx:pt>
          <cx:pt idx="37128">0</cx:pt>
          <cx:pt idx="37129">1</cx:pt>
          <cx:pt idx="37130">0</cx:pt>
          <cx:pt idx="37131">1</cx:pt>
          <cx:pt idx="37132">1</cx:pt>
          <cx:pt idx="37133">0</cx:pt>
          <cx:pt idx="37134">0</cx:pt>
          <cx:pt idx="37135">0</cx:pt>
          <cx:pt idx="37136">0</cx:pt>
          <cx:pt idx="37137">0</cx:pt>
          <cx:pt idx="37138">0</cx:pt>
          <cx:pt idx="37139">0</cx:pt>
          <cx:pt idx="37140">0</cx:pt>
          <cx:pt idx="37141">1</cx:pt>
          <cx:pt idx="37142">0</cx:pt>
          <cx:pt idx="37143">1</cx:pt>
          <cx:pt idx="37144">1</cx:pt>
          <cx:pt idx="37145">0</cx:pt>
          <cx:pt idx="37146">0</cx:pt>
          <cx:pt idx="37147">1</cx:pt>
          <cx:pt idx="37148">1</cx:pt>
          <cx:pt idx="37149">0</cx:pt>
          <cx:pt idx="37150">1</cx:pt>
          <cx:pt idx="37151">0</cx:pt>
          <cx:pt idx="37152">0</cx:pt>
          <cx:pt idx="37153">1</cx:pt>
          <cx:pt idx="37154">1</cx:pt>
          <cx:pt idx="37155">0</cx:pt>
          <cx:pt idx="37156">1</cx:pt>
          <cx:pt idx="37157">1</cx:pt>
          <cx:pt idx="37158">0</cx:pt>
          <cx:pt idx="37159">0</cx:pt>
          <cx:pt idx="37160">1</cx:pt>
          <cx:pt idx="37161">0</cx:pt>
          <cx:pt idx="37162">0</cx:pt>
          <cx:pt idx="37163">0</cx:pt>
          <cx:pt idx="37164">1</cx:pt>
          <cx:pt idx="37165">0</cx:pt>
          <cx:pt idx="37166">1</cx:pt>
          <cx:pt idx="37167">1</cx:pt>
          <cx:pt idx="37168">1</cx:pt>
          <cx:pt idx="37169">1</cx:pt>
          <cx:pt idx="37170">0</cx:pt>
          <cx:pt idx="37171">0</cx:pt>
          <cx:pt idx="37172">1</cx:pt>
          <cx:pt idx="37173">0</cx:pt>
          <cx:pt idx="37174">0</cx:pt>
          <cx:pt idx="37175">1</cx:pt>
          <cx:pt idx="37176">0</cx:pt>
          <cx:pt idx="37177">0</cx:pt>
          <cx:pt idx="37178">0</cx:pt>
          <cx:pt idx="37179">1</cx:pt>
          <cx:pt idx="37180">0</cx:pt>
          <cx:pt idx="37181">1</cx:pt>
          <cx:pt idx="37182">1</cx:pt>
          <cx:pt idx="37183">0</cx:pt>
          <cx:pt idx="37184">0</cx:pt>
          <cx:pt idx="37185">0</cx:pt>
          <cx:pt idx="37186">1</cx:pt>
          <cx:pt idx="37187">0</cx:pt>
          <cx:pt idx="37188">0</cx:pt>
          <cx:pt idx="37189">1</cx:pt>
          <cx:pt idx="37190">0</cx:pt>
          <cx:pt idx="37191">0</cx:pt>
          <cx:pt idx="37192">1</cx:pt>
          <cx:pt idx="37193">0</cx:pt>
          <cx:pt idx="37194">1</cx:pt>
          <cx:pt idx="37195">1</cx:pt>
          <cx:pt idx="37196">0</cx:pt>
          <cx:pt idx="37197">1</cx:pt>
          <cx:pt idx="37198">1</cx:pt>
          <cx:pt idx="37199">0</cx:pt>
          <cx:pt idx="37200">1</cx:pt>
          <cx:pt idx="37201">0</cx:pt>
          <cx:pt idx="37202">0</cx:pt>
          <cx:pt idx="37203">0</cx:pt>
          <cx:pt idx="37204">1</cx:pt>
          <cx:pt idx="37205">1</cx:pt>
          <cx:pt idx="37206">1</cx:pt>
          <cx:pt idx="37207">1</cx:pt>
          <cx:pt idx="37208">0</cx:pt>
          <cx:pt idx="37209">0</cx:pt>
          <cx:pt idx="37210">1</cx:pt>
          <cx:pt idx="37211">0</cx:pt>
          <cx:pt idx="37212">1</cx:pt>
          <cx:pt idx="37213">1</cx:pt>
          <cx:pt idx="37214">0</cx:pt>
          <cx:pt idx="37215">1</cx:pt>
          <cx:pt idx="37216">0</cx:pt>
          <cx:pt idx="37217">0</cx:pt>
          <cx:pt idx="37218">1</cx:pt>
          <cx:pt idx="37219">1</cx:pt>
          <cx:pt idx="37220">1</cx:pt>
          <cx:pt idx="37221">1</cx:pt>
          <cx:pt idx="37222">0</cx:pt>
          <cx:pt idx="37223">0</cx:pt>
          <cx:pt idx="37224">1</cx:pt>
          <cx:pt idx="37225">1</cx:pt>
          <cx:pt idx="37226">1</cx:pt>
          <cx:pt idx="37227">0</cx:pt>
          <cx:pt idx="37228">1</cx:pt>
          <cx:pt idx="37229">0</cx:pt>
          <cx:pt idx="37230">1</cx:pt>
          <cx:pt idx="37231">0</cx:pt>
          <cx:pt idx="37232">0</cx:pt>
          <cx:pt idx="37233">0</cx:pt>
          <cx:pt idx="37234">0</cx:pt>
          <cx:pt idx="37235">1</cx:pt>
          <cx:pt idx="37236">1</cx:pt>
          <cx:pt idx="37237">1</cx:pt>
          <cx:pt idx="37238">0</cx:pt>
          <cx:pt idx="37239">0</cx:pt>
          <cx:pt idx="37240">1</cx:pt>
          <cx:pt idx="37241">1</cx:pt>
          <cx:pt idx="37242">0</cx:pt>
          <cx:pt idx="37243">0</cx:pt>
          <cx:pt idx="37244">1</cx:pt>
          <cx:pt idx="37245">1</cx:pt>
          <cx:pt idx="37246">0</cx:pt>
          <cx:pt idx="37247">0</cx:pt>
          <cx:pt idx="37248">1</cx:pt>
          <cx:pt idx="37249">1</cx:pt>
          <cx:pt idx="37250">0</cx:pt>
          <cx:pt idx="37251">1</cx:pt>
          <cx:pt idx="37252">0</cx:pt>
          <cx:pt idx="37253">0</cx:pt>
          <cx:pt idx="37254">1</cx:pt>
          <cx:pt idx="37255">1</cx:pt>
          <cx:pt idx="37256">1</cx:pt>
          <cx:pt idx="37257">1</cx:pt>
          <cx:pt idx="37258">0</cx:pt>
          <cx:pt idx="37259">0</cx:pt>
          <cx:pt idx="37260">0</cx:pt>
          <cx:pt idx="37261">1</cx:pt>
          <cx:pt idx="37262">0</cx:pt>
          <cx:pt idx="37263">1</cx:pt>
          <cx:pt idx="37264">1</cx:pt>
          <cx:pt idx="37265">1</cx:pt>
          <cx:pt idx="37266">1</cx:pt>
          <cx:pt idx="37267">0</cx:pt>
          <cx:pt idx="37268">1</cx:pt>
          <cx:pt idx="37269">0</cx:pt>
          <cx:pt idx="37270">1</cx:pt>
          <cx:pt idx="37271">1</cx:pt>
          <cx:pt idx="37272">1</cx:pt>
          <cx:pt idx="37273">1</cx:pt>
          <cx:pt idx="37274">1</cx:pt>
          <cx:pt idx="37275">0</cx:pt>
          <cx:pt idx="37276">1</cx:pt>
          <cx:pt idx="37277">1</cx:pt>
          <cx:pt idx="37278">1</cx:pt>
          <cx:pt idx="37279">1</cx:pt>
          <cx:pt idx="37280">1</cx:pt>
          <cx:pt idx="37281">1</cx:pt>
          <cx:pt idx="37282">0</cx:pt>
          <cx:pt idx="37283">0</cx:pt>
          <cx:pt idx="37284">0</cx:pt>
          <cx:pt idx="37285">0</cx:pt>
          <cx:pt idx="37286">0</cx:pt>
          <cx:pt idx="37287">0</cx:pt>
          <cx:pt idx="37288">1</cx:pt>
          <cx:pt idx="37289">0</cx:pt>
          <cx:pt idx="37290">0</cx:pt>
          <cx:pt idx="37291">0</cx:pt>
          <cx:pt idx="37292">0</cx:pt>
          <cx:pt idx="37293">0</cx:pt>
          <cx:pt idx="37294">0</cx:pt>
          <cx:pt idx="37295">0</cx:pt>
          <cx:pt idx="37296">0</cx:pt>
          <cx:pt idx="37297">0</cx:pt>
          <cx:pt idx="37298">1</cx:pt>
          <cx:pt idx="37299">1</cx:pt>
          <cx:pt idx="37300">0</cx:pt>
          <cx:pt idx="37301">1</cx:pt>
          <cx:pt idx="37302">0</cx:pt>
          <cx:pt idx="37303">0</cx:pt>
          <cx:pt idx="37304">1</cx:pt>
          <cx:pt idx="37305">0</cx:pt>
          <cx:pt idx="37306">0</cx:pt>
          <cx:pt idx="37307">0</cx:pt>
          <cx:pt idx="37308">1</cx:pt>
          <cx:pt idx="37309">0</cx:pt>
          <cx:pt idx="37310">0</cx:pt>
          <cx:pt idx="37311">0</cx:pt>
          <cx:pt idx="37312">1</cx:pt>
          <cx:pt idx="37313">1</cx:pt>
          <cx:pt idx="37314">1</cx:pt>
          <cx:pt idx="37315">1</cx:pt>
          <cx:pt idx="37316">0</cx:pt>
          <cx:pt idx="37317">0</cx:pt>
          <cx:pt idx="37318">1</cx:pt>
          <cx:pt idx="37319">0</cx:pt>
          <cx:pt idx="37320">1</cx:pt>
          <cx:pt idx="37321">0</cx:pt>
          <cx:pt idx="37322">0</cx:pt>
          <cx:pt idx="37323">1</cx:pt>
          <cx:pt idx="37324">1</cx:pt>
          <cx:pt idx="37325">0</cx:pt>
          <cx:pt idx="37326">1</cx:pt>
          <cx:pt idx="37327">0</cx:pt>
          <cx:pt idx="37328">1</cx:pt>
          <cx:pt idx="37329">0</cx:pt>
          <cx:pt idx="37330">0</cx:pt>
          <cx:pt idx="37331">1</cx:pt>
          <cx:pt idx="37332">0</cx:pt>
          <cx:pt idx="37333">0</cx:pt>
          <cx:pt idx="37334">1</cx:pt>
          <cx:pt idx="37335">1</cx:pt>
          <cx:pt idx="37336">1</cx:pt>
          <cx:pt idx="37337">1</cx:pt>
          <cx:pt idx="37338">1</cx:pt>
          <cx:pt idx="37339">1</cx:pt>
          <cx:pt idx="37340">1</cx:pt>
          <cx:pt idx="37341">0</cx:pt>
          <cx:pt idx="37342">1</cx:pt>
          <cx:pt idx="37343">0</cx:pt>
          <cx:pt idx="37344">1</cx:pt>
          <cx:pt idx="37345">1</cx:pt>
          <cx:pt idx="37346">1</cx:pt>
          <cx:pt idx="37347">0</cx:pt>
          <cx:pt idx="37348">1</cx:pt>
          <cx:pt idx="37349">0</cx:pt>
          <cx:pt idx="37350">1</cx:pt>
          <cx:pt idx="37351">1</cx:pt>
          <cx:pt idx="37352">0</cx:pt>
          <cx:pt idx="37353">1</cx:pt>
          <cx:pt idx="37354">0</cx:pt>
          <cx:pt idx="37355">0</cx:pt>
          <cx:pt idx="37356">0</cx:pt>
          <cx:pt idx="37357">1</cx:pt>
          <cx:pt idx="37358">1</cx:pt>
          <cx:pt idx="37359">1</cx:pt>
          <cx:pt idx="37360">1</cx:pt>
          <cx:pt idx="37361">0</cx:pt>
          <cx:pt idx="37362">0</cx:pt>
          <cx:pt idx="37363">1</cx:pt>
          <cx:pt idx="37364">0</cx:pt>
          <cx:pt idx="37365">1</cx:pt>
          <cx:pt idx="37366">0</cx:pt>
          <cx:pt idx="37367">1</cx:pt>
          <cx:pt idx="37368">0</cx:pt>
          <cx:pt idx="37369">0</cx:pt>
          <cx:pt idx="37370">0</cx:pt>
          <cx:pt idx="37371">1</cx:pt>
          <cx:pt idx="37372">1</cx:pt>
          <cx:pt idx="37373">1</cx:pt>
          <cx:pt idx="37374">0</cx:pt>
          <cx:pt idx="37375">1</cx:pt>
          <cx:pt idx="37376">1</cx:pt>
          <cx:pt idx="37377">0</cx:pt>
          <cx:pt idx="37378">1</cx:pt>
          <cx:pt idx="37379">1</cx:pt>
          <cx:pt idx="37380">1</cx:pt>
          <cx:pt idx="37381">0</cx:pt>
          <cx:pt idx="37382">0</cx:pt>
          <cx:pt idx="37383">0</cx:pt>
          <cx:pt idx="37384">0</cx:pt>
          <cx:pt idx="37385">0</cx:pt>
          <cx:pt idx="37386">0</cx:pt>
          <cx:pt idx="37387">0</cx:pt>
          <cx:pt idx="37388">1</cx:pt>
          <cx:pt idx="37389">0</cx:pt>
          <cx:pt idx="37390">1</cx:pt>
          <cx:pt idx="37391">1</cx:pt>
          <cx:pt idx="37392">0</cx:pt>
          <cx:pt idx="37393">0</cx:pt>
          <cx:pt idx="37394">0</cx:pt>
          <cx:pt idx="37395">0</cx:pt>
          <cx:pt idx="37396">1</cx:pt>
          <cx:pt idx="37397">1</cx:pt>
          <cx:pt idx="37398">1</cx:pt>
          <cx:pt idx="37399">0</cx:pt>
          <cx:pt idx="37400">1</cx:pt>
          <cx:pt idx="37401">0</cx:pt>
          <cx:pt idx="37402">0</cx:pt>
          <cx:pt idx="37403">0</cx:pt>
          <cx:pt idx="37404">1</cx:pt>
          <cx:pt idx="37405">0</cx:pt>
          <cx:pt idx="37406">0</cx:pt>
          <cx:pt idx="37407">1</cx:pt>
          <cx:pt idx="37408">0</cx:pt>
          <cx:pt idx="37409">1</cx:pt>
          <cx:pt idx="37410">0</cx:pt>
          <cx:pt idx="37411">1</cx:pt>
          <cx:pt idx="37412">0</cx:pt>
          <cx:pt idx="37413">0</cx:pt>
          <cx:pt idx="37414">0</cx:pt>
          <cx:pt idx="37415">0</cx:pt>
          <cx:pt idx="37416">0</cx:pt>
          <cx:pt idx="37417">0</cx:pt>
          <cx:pt idx="37418">0</cx:pt>
          <cx:pt idx="37419">0</cx:pt>
          <cx:pt idx="37420">0</cx:pt>
          <cx:pt idx="37421">1</cx:pt>
          <cx:pt idx="37422">1</cx:pt>
          <cx:pt idx="37423">0</cx:pt>
          <cx:pt idx="37424">0</cx:pt>
          <cx:pt idx="37425">1</cx:pt>
          <cx:pt idx="37426">0</cx:pt>
          <cx:pt idx="37427">0</cx:pt>
          <cx:pt idx="37428">1</cx:pt>
          <cx:pt idx="37429">0</cx:pt>
          <cx:pt idx="37430">1</cx:pt>
          <cx:pt idx="37431">1</cx:pt>
          <cx:pt idx="37432">1</cx:pt>
          <cx:pt idx="37433">1</cx:pt>
          <cx:pt idx="37434">1</cx:pt>
          <cx:pt idx="37435">1</cx:pt>
          <cx:pt idx="37436">0</cx:pt>
          <cx:pt idx="37437">0</cx:pt>
          <cx:pt idx="37438">1</cx:pt>
          <cx:pt idx="37439">1</cx:pt>
          <cx:pt idx="37440">1</cx:pt>
          <cx:pt idx="37441">1</cx:pt>
          <cx:pt idx="37442">1</cx:pt>
          <cx:pt idx="37443">1</cx:pt>
          <cx:pt idx="37444">1</cx:pt>
          <cx:pt idx="37445">0</cx:pt>
          <cx:pt idx="37446">0</cx:pt>
          <cx:pt idx="37447">1</cx:pt>
          <cx:pt idx="37448">1</cx:pt>
          <cx:pt idx="37449">0</cx:pt>
          <cx:pt idx="37450">0</cx:pt>
          <cx:pt idx="37451">1</cx:pt>
          <cx:pt idx="37452">1</cx:pt>
          <cx:pt idx="37453">0</cx:pt>
          <cx:pt idx="37454">1</cx:pt>
          <cx:pt idx="37455">1</cx:pt>
          <cx:pt idx="37456">1</cx:pt>
          <cx:pt idx="37457">0</cx:pt>
          <cx:pt idx="37458">0</cx:pt>
          <cx:pt idx="37459">1</cx:pt>
          <cx:pt idx="37460">1</cx:pt>
          <cx:pt idx="37461">1</cx:pt>
          <cx:pt idx="37462">1</cx:pt>
          <cx:pt idx="37463">1</cx:pt>
          <cx:pt idx="37464">1</cx:pt>
          <cx:pt idx="37465">0</cx:pt>
          <cx:pt idx="37466">0</cx:pt>
          <cx:pt idx="37467">1</cx:pt>
          <cx:pt idx="37468">1</cx:pt>
          <cx:pt idx="37469">1</cx:pt>
          <cx:pt idx="37470">1</cx:pt>
          <cx:pt idx="37471">0</cx:pt>
          <cx:pt idx="37472">0</cx:pt>
          <cx:pt idx="37473">0</cx:pt>
          <cx:pt idx="37474">1</cx:pt>
          <cx:pt idx="37475">0</cx:pt>
          <cx:pt idx="37476">0</cx:pt>
          <cx:pt idx="37477">1</cx:pt>
          <cx:pt idx="37478">1</cx:pt>
          <cx:pt idx="37479">0</cx:pt>
          <cx:pt idx="37480">0</cx:pt>
          <cx:pt idx="37481">0</cx:pt>
          <cx:pt idx="37482">1</cx:pt>
          <cx:pt idx="37483">0</cx:pt>
          <cx:pt idx="37484">0</cx:pt>
          <cx:pt idx="37485">0</cx:pt>
          <cx:pt idx="37486">1</cx:pt>
          <cx:pt idx="37487">0</cx:pt>
          <cx:pt idx="37488">1</cx:pt>
          <cx:pt idx="37489">0</cx:pt>
          <cx:pt idx="37490">1</cx:pt>
          <cx:pt idx="37491">0</cx:pt>
          <cx:pt idx="37492">1</cx:pt>
          <cx:pt idx="37493">0</cx:pt>
          <cx:pt idx="37494">1</cx:pt>
          <cx:pt idx="37495">1</cx:pt>
          <cx:pt idx="37496">1</cx:pt>
          <cx:pt idx="37497">1</cx:pt>
          <cx:pt idx="37498">0</cx:pt>
          <cx:pt idx="37499">0</cx:pt>
          <cx:pt idx="37500">0</cx:pt>
          <cx:pt idx="37501">1</cx:pt>
          <cx:pt idx="37502">1</cx:pt>
          <cx:pt idx="37503">1</cx:pt>
          <cx:pt idx="37504">1</cx:pt>
          <cx:pt idx="37505">0</cx:pt>
          <cx:pt idx="37506">1</cx:pt>
          <cx:pt idx="37507">0</cx:pt>
          <cx:pt idx="37508">1</cx:pt>
          <cx:pt idx="37509">0</cx:pt>
          <cx:pt idx="37510">0</cx:pt>
          <cx:pt idx="37511">1</cx:pt>
          <cx:pt idx="37512">1</cx:pt>
          <cx:pt idx="37513">1</cx:pt>
          <cx:pt idx="37514">1</cx:pt>
          <cx:pt idx="37515">1</cx:pt>
          <cx:pt idx="37516">1</cx:pt>
          <cx:pt idx="37517">1</cx:pt>
          <cx:pt idx="37518">1</cx:pt>
          <cx:pt idx="37519">0</cx:pt>
          <cx:pt idx="37520">0</cx:pt>
          <cx:pt idx="37521">0</cx:pt>
          <cx:pt idx="37522">1</cx:pt>
          <cx:pt idx="37523">0</cx:pt>
          <cx:pt idx="37524">0</cx:pt>
          <cx:pt idx="37525">0</cx:pt>
          <cx:pt idx="37526">1</cx:pt>
          <cx:pt idx="37527">0</cx:pt>
          <cx:pt idx="37528">0</cx:pt>
          <cx:pt idx="37529">0</cx:pt>
          <cx:pt idx="37530">0</cx:pt>
          <cx:pt idx="37531">1</cx:pt>
          <cx:pt idx="37532">1</cx:pt>
          <cx:pt idx="37533">1</cx:pt>
          <cx:pt idx="37534">0</cx:pt>
          <cx:pt idx="37535">1</cx:pt>
          <cx:pt idx="37536">0</cx:pt>
          <cx:pt idx="37537">0</cx:pt>
          <cx:pt idx="37538">1</cx:pt>
          <cx:pt idx="37539">0</cx:pt>
          <cx:pt idx="37540">0</cx:pt>
          <cx:pt idx="37541">1</cx:pt>
          <cx:pt idx="37542">1</cx:pt>
          <cx:pt idx="37543">0</cx:pt>
          <cx:pt idx="37544">0</cx:pt>
          <cx:pt idx="37545">1</cx:pt>
          <cx:pt idx="37546">0</cx:pt>
          <cx:pt idx="37547">0</cx:pt>
          <cx:pt idx="37548">0</cx:pt>
          <cx:pt idx="37549">0</cx:pt>
          <cx:pt idx="37550">1</cx:pt>
          <cx:pt idx="37551">0</cx:pt>
          <cx:pt idx="37552">0</cx:pt>
          <cx:pt idx="37553">0</cx:pt>
          <cx:pt idx="37554">0</cx:pt>
          <cx:pt idx="37555">0</cx:pt>
          <cx:pt idx="37556">1</cx:pt>
          <cx:pt idx="37557">0</cx:pt>
          <cx:pt idx="37558">0</cx:pt>
          <cx:pt idx="37559">0</cx:pt>
          <cx:pt idx="37560">1</cx:pt>
          <cx:pt idx="37561">0</cx:pt>
          <cx:pt idx="37562">1</cx:pt>
          <cx:pt idx="37563">0</cx:pt>
          <cx:pt idx="37564">0</cx:pt>
          <cx:pt idx="37565">0</cx:pt>
          <cx:pt idx="37566">0</cx:pt>
          <cx:pt idx="37567">0</cx:pt>
          <cx:pt idx="37568">0</cx:pt>
          <cx:pt idx="37569">0</cx:pt>
          <cx:pt idx="37570">1</cx:pt>
          <cx:pt idx="37571">0</cx:pt>
          <cx:pt idx="37572">1</cx:pt>
          <cx:pt idx="37573">0</cx:pt>
          <cx:pt idx="37574">1</cx:pt>
          <cx:pt idx="37575">1</cx:pt>
          <cx:pt idx="37576">0</cx:pt>
          <cx:pt idx="37577">0</cx:pt>
          <cx:pt idx="37578">0</cx:pt>
          <cx:pt idx="37579">0</cx:pt>
          <cx:pt idx="37580">0</cx:pt>
          <cx:pt idx="37581">0</cx:pt>
          <cx:pt idx="37582">0</cx:pt>
          <cx:pt idx="37583">1</cx:pt>
          <cx:pt idx="37584">0</cx:pt>
          <cx:pt idx="37585">0</cx:pt>
          <cx:pt idx="37586">1</cx:pt>
          <cx:pt idx="37587">0</cx:pt>
          <cx:pt idx="37588">0</cx:pt>
          <cx:pt idx="37589">0</cx:pt>
          <cx:pt idx="37590">1</cx:pt>
          <cx:pt idx="37591">0</cx:pt>
          <cx:pt idx="37592">1</cx:pt>
          <cx:pt idx="37593">0</cx:pt>
          <cx:pt idx="37594">0</cx:pt>
          <cx:pt idx="37595">0</cx:pt>
          <cx:pt idx="37596">0</cx:pt>
          <cx:pt idx="37597">0</cx:pt>
          <cx:pt idx="37598">0</cx:pt>
          <cx:pt idx="37599">0</cx:pt>
          <cx:pt idx="37600">0</cx:pt>
          <cx:pt idx="37601">0</cx:pt>
          <cx:pt idx="37602">1</cx:pt>
          <cx:pt idx="37603">0</cx:pt>
          <cx:pt idx="37604">0</cx:pt>
          <cx:pt idx="37605">1</cx:pt>
          <cx:pt idx="37606">1</cx:pt>
          <cx:pt idx="37607">0</cx:pt>
          <cx:pt idx="37608">0</cx:pt>
          <cx:pt idx="37609">1</cx:pt>
          <cx:pt idx="37610">1</cx:pt>
          <cx:pt idx="37611">0</cx:pt>
          <cx:pt idx="37612">1</cx:pt>
          <cx:pt idx="37613">0</cx:pt>
          <cx:pt idx="37614">0</cx:pt>
          <cx:pt idx="37615">0</cx:pt>
          <cx:pt idx="37616">1</cx:pt>
          <cx:pt idx="37617">0</cx:pt>
          <cx:pt idx="37618">0</cx:pt>
          <cx:pt idx="37619">1</cx:pt>
          <cx:pt idx="37620">0</cx:pt>
          <cx:pt idx="37621">1</cx:pt>
          <cx:pt idx="37622">0</cx:pt>
          <cx:pt idx="37623">0</cx:pt>
          <cx:pt idx="37624">0</cx:pt>
          <cx:pt idx="37625">0</cx:pt>
          <cx:pt idx="37626">1</cx:pt>
          <cx:pt idx="37627">1</cx:pt>
          <cx:pt idx="37628">0</cx:pt>
          <cx:pt idx="37629">0</cx:pt>
          <cx:pt idx="37630">1</cx:pt>
          <cx:pt idx="37631">1</cx:pt>
          <cx:pt idx="37632">0</cx:pt>
          <cx:pt idx="37633">0</cx:pt>
          <cx:pt idx="37634">0</cx:pt>
          <cx:pt idx="37635">1</cx:pt>
          <cx:pt idx="37636">0</cx:pt>
          <cx:pt idx="37637">1</cx:pt>
          <cx:pt idx="37638">0</cx:pt>
          <cx:pt idx="37639">0</cx:pt>
          <cx:pt idx="37640">1</cx:pt>
          <cx:pt idx="37641">1</cx:pt>
          <cx:pt idx="37642">1</cx:pt>
          <cx:pt idx="37643">0</cx:pt>
          <cx:pt idx="37644">1</cx:pt>
          <cx:pt idx="37645">1</cx:pt>
          <cx:pt idx="37646">1</cx:pt>
          <cx:pt idx="37647">1</cx:pt>
          <cx:pt idx="37648">0</cx:pt>
          <cx:pt idx="37649">0</cx:pt>
          <cx:pt idx="37650">0</cx:pt>
          <cx:pt idx="37651">0</cx:pt>
          <cx:pt idx="37652">1</cx:pt>
          <cx:pt idx="37653">1</cx:pt>
          <cx:pt idx="37654">1</cx:pt>
          <cx:pt idx="37655">1</cx:pt>
          <cx:pt idx="37656">1</cx:pt>
          <cx:pt idx="37657">0</cx:pt>
          <cx:pt idx="37658">0</cx:pt>
          <cx:pt idx="37659">1</cx:pt>
          <cx:pt idx="37660">1</cx:pt>
          <cx:pt idx="37661">1</cx:pt>
          <cx:pt idx="37662">0</cx:pt>
          <cx:pt idx="37663">0</cx:pt>
          <cx:pt idx="37664">0</cx:pt>
          <cx:pt idx="37665">1</cx:pt>
          <cx:pt idx="37666">0</cx:pt>
          <cx:pt idx="37667">0</cx:pt>
          <cx:pt idx="37668">0</cx:pt>
          <cx:pt idx="37669">1</cx:pt>
          <cx:pt idx="37670">1</cx:pt>
          <cx:pt idx="37671">1</cx:pt>
          <cx:pt idx="37672">0</cx:pt>
          <cx:pt idx="37673">1</cx:pt>
          <cx:pt idx="37674">1</cx:pt>
          <cx:pt idx="37675">0</cx:pt>
          <cx:pt idx="37676">1</cx:pt>
          <cx:pt idx="37677">0</cx:pt>
          <cx:pt idx="37678">0</cx:pt>
          <cx:pt idx="37679">1</cx:pt>
          <cx:pt idx="37680">0</cx:pt>
          <cx:pt idx="37681">0</cx:pt>
          <cx:pt idx="37682">0</cx:pt>
          <cx:pt idx="37683">1</cx:pt>
          <cx:pt idx="37684">0</cx:pt>
          <cx:pt idx="37685">0</cx:pt>
          <cx:pt idx="37686">0</cx:pt>
          <cx:pt idx="37687">0</cx:pt>
          <cx:pt idx="37688">0</cx:pt>
          <cx:pt idx="37689">1</cx:pt>
          <cx:pt idx="37690">0</cx:pt>
          <cx:pt idx="37691">1</cx:pt>
          <cx:pt idx="37692">1</cx:pt>
          <cx:pt idx="37693">0</cx:pt>
          <cx:pt idx="37694">0</cx:pt>
          <cx:pt idx="37695">1</cx:pt>
          <cx:pt idx="37696">1</cx:pt>
          <cx:pt idx="37697">0</cx:pt>
          <cx:pt idx="37698">1</cx:pt>
          <cx:pt idx="37699">1</cx:pt>
          <cx:pt idx="37700">0</cx:pt>
          <cx:pt idx="37701">1</cx:pt>
          <cx:pt idx="37702">0</cx:pt>
          <cx:pt idx="37703">0</cx:pt>
          <cx:pt idx="37704">0</cx:pt>
          <cx:pt idx="37705">0</cx:pt>
          <cx:pt idx="37706">0</cx:pt>
          <cx:pt idx="37707">1</cx:pt>
          <cx:pt idx="37708">0</cx:pt>
          <cx:pt idx="37709">0</cx:pt>
          <cx:pt idx="37710">1</cx:pt>
          <cx:pt idx="37711">1</cx:pt>
          <cx:pt idx="37712">0</cx:pt>
          <cx:pt idx="37713">0</cx:pt>
          <cx:pt idx="37714">0</cx:pt>
          <cx:pt idx="37715">1</cx:pt>
          <cx:pt idx="37716">1</cx:pt>
          <cx:pt idx="37717">1</cx:pt>
          <cx:pt idx="37718">0</cx:pt>
          <cx:pt idx="37719">0</cx:pt>
          <cx:pt idx="37720">1</cx:pt>
          <cx:pt idx="37721">1</cx:pt>
          <cx:pt idx="37722">1</cx:pt>
          <cx:pt idx="37723">1</cx:pt>
          <cx:pt idx="37724">0</cx:pt>
          <cx:pt idx="37725">0</cx:pt>
          <cx:pt idx="37726">1</cx:pt>
          <cx:pt idx="37727">0</cx:pt>
          <cx:pt idx="37728">1</cx:pt>
          <cx:pt idx="37729">0</cx:pt>
          <cx:pt idx="37730">0</cx:pt>
          <cx:pt idx="37731">0</cx:pt>
          <cx:pt idx="37732">1</cx:pt>
          <cx:pt idx="37733">0</cx:pt>
          <cx:pt idx="37734">0</cx:pt>
          <cx:pt idx="37735">1</cx:pt>
          <cx:pt idx="37736">0</cx:pt>
          <cx:pt idx="37737">1</cx:pt>
          <cx:pt idx="37738">0</cx:pt>
          <cx:pt idx="37739">1</cx:pt>
          <cx:pt idx="37740">1</cx:pt>
          <cx:pt idx="37741">1</cx:pt>
          <cx:pt idx="37742">0</cx:pt>
          <cx:pt idx="37743">0</cx:pt>
          <cx:pt idx="37744">1</cx:pt>
          <cx:pt idx="37745">1</cx:pt>
          <cx:pt idx="37746">0</cx:pt>
          <cx:pt idx="37747">0</cx:pt>
          <cx:pt idx="37748">0</cx:pt>
          <cx:pt idx="37749">1</cx:pt>
          <cx:pt idx="37750">1</cx:pt>
          <cx:pt idx="37751">1</cx:pt>
          <cx:pt idx="37752">1</cx:pt>
          <cx:pt idx="37753">0</cx:pt>
          <cx:pt idx="37754">0</cx:pt>
          <cx:pt idx="37755">0</cx:pt>
          <cx:pt idx="37756">0</cx:pt>
          <cx:pt idx="37757">0</cx:pt>
          <cx:pt idx="37758">1</cx:pt>
          <cx:pt idx="37759">0</cx:pt>
          <cx:pt idx="37760">0</cx:pt>
          <cx:pt idx="37761">1</cx:pt>
          <cx:pt idx="37762">1</cx:pt>
          <cx:pt idx="37763">0</cx:pt>
          <cx:pt idx="37764">0</cx:pt>
          <cx:pt idx="37765">1</cx:pt>
          <cx:pt idx="37766">1</cx:pt>
          <cx:pt idx="37767">0</cx:pt>
          <cx:pt idx="37768">1</cx:pt>
          <cx:pt idx="37769">0</cx:pt>
          <cx:pt idx="37770">0</cx:pt>
          <cx:pt idx="37771">0</cx:pt>
          <cx:pt idx="37772">0</cx:pt>
          <cx:pt idx="37773">0</cx:pt>
          <cx:pt idx="37774">1</cx:pt>
          <cx:pt idx="37775">1</cx:pt>
          <cx:pt idx="37776">0</cx:pt>
          <cx:pt idx="37777">0</cx:pt>
          <cx:pt idx="37778">1</cx:pt>
          <cx:pt idx="37779">0</cx:pt>
          <cx:pt idx="37780">1</cx:pt>
          <cx:pt idx="37781">1</cx:pt>
          <cx:pt idx="37782">0</cx:pt>
          <cx:pt idx="37783">1</cx:pt>
          <cx:pt idx="37784">0</cx:pt>
          <cx:pt idx="37785">1</cx:pt>
          <cx:pt idx="37786">1</cx:pt>
          <cx:pt idx="37787">1</cx:pt>
          <cx:pt idx="37788">0</cx:pt>
          <cx:pt idx="37789">0</cx:pt>
          <cx:pt idx="37790">0</cx:pt>
          <cx:pt idx="37791">1</cx:pt>
          <cx:pt idx="37792">0</cx:pt>
          <cx:pt idx="37793">1</cx:pt>
          <cx:pt idx="37794">1</cx:pt>
          <cx:pt idx="37795">0</cx:pt>
          <cx:pt idx="37796">1</cx:pt>
          <cx:pt idx="37797">0</cx:pt>
          <cx:pt idx="37798">0</cx:pt>
          <cx:pt idx="37799">1</cx:pt>
          <cx:pt idx="37800">0</cx:pt>
          <cx:pt idx="37801">1</cx:pt>
          <cx:pt idx="37802">1</cx:pt>
          <cx:pt idx="37803">0</cx:pt>
          <cx:pt idx="37804">0</cx:pt>
          <cx:pt idx="37805">1</cx:pt>
          <cx:pt idx="37806">0</cx:pt>
          <cx:pt idx="37807">1</cx:pt>
          <cx:pt idx="37808">1</cx:pt>
          <cx:pt idx="37809">1</cx:pt>
          <cx:pt idx="37810">1</cx:pt>
          <cx:pt idx="37811">1</cx:pt>
          <cx:pt idx="37812">0</cx:pt>
          <cx:pt idx="37813">0</cx:pt>
          <cx:pt idx="37814">0</cx:pt>
          <cx:pt idx="37815">0</cx:pt>
          <cx:pt idx="37816">0</cx:pt>
          <cx:pt idx="37817">0</cx:pt>
          <cx:pt idx="37818">1</cx:pt>
          <cx:pt idx="37819">1</cx:pt>
          <cx:pt idx="37820">1</cx:pt>
          <cx:pt idx="37821">0</cx:pt>
          <cx:pt idx="37822">0</cx:pt>
          <cx:pt idx="37823">1</cx:pt>
          <cx:pt idx="37824">1</cx:pt>
          <cx:pt idx="37825">0</cx:pt>
          <cx:pt idx="37826">0</cx:pt>
          <cx:pt idx="37827">0</cx:pt>
          <cx:pt idx="37828">1</cx:pt>
          <cx:pt idx="37829">0</cx:pt>
          <cx:pt idx="37830">0</cx:pt>
          <cx:pt idx="37831">0</cx:pt>
          <cx:pt idx="37832">0</cx:pt>
          <cx:pt idx="37833">0</cx:pt>
          <cx:pt idx="37834">1</cx:pt>
          <cx:pt idx="37835">0</cx:pt>
          <cx:pt idx="37836">1</cx:pt>
          <cx:pt idx="37837">0</cx:pt>
          <cx:pt idx="37838">0</cx:pt>
          <cx:pt idx="37839">1</cx:pt>
          <cx:pt idx="37840">0</cx:pt>
          <cx:pt idx="37841">0</cx:pt>
          <cx:pt idx="37842">1</cx:pt>
          <cx:pt idx="37843">0</cx:pt>
          <cx:pt idx="37844">0</cx:pt>
          <cx:pt idx="37845">0</cx:pt>
          <cx:pt idx="37846">0</cx:pt>
          <cx:pt idx="37847">0</cx:pt>
          <cx:pt idx="37848">0</cx:pt>
          <cx:pt idx="37849">1</cx:pt>
          <cx:pt idx="37850">1</cx:pt>
          <cx:pt idx="37851">1</cx:pt>
          <cx:pt idx="37852">0</cx:pt>
          <cx:pt idx="37853">1</cx:pt>
          <cx:pt idx="37854">0</cx:pt>
          <cx:pt idx="37855">0</cx:pt>
          <cx:pt idx="37856">0</cx:pt>
          <cx:pt idx="37857">0</cx:pt>
          <cx:pt idx="37858">1</cx:pt>
          <cx:pt idx="37859">0</cx:pt>
          <cx:pt idx="37860">0</cx:pt>
          <cx:pt idx="37861">1</cx:pt>
          <cx:pt idx="37862">1</cx:pt>
          <cx:pt idx="37863">1</cx:pt>
          <cx:pt idx="37864">0</cx:pt>
          <cx:pt idx="37865">0</cx:pt>
          <cx:pt idx="37866">0</cx:pt>
          <cx:pt idx="37867">0</cx:pt>
          <cx:pt idx="37868">0</cx:pt>
          <cx:pt idx="37869">0</cx:pt>
          <cx:pt idx="37870">1</cx:pt>
          <cx:pt idx="37871">0</cx:pt>
          <cx:pt idx="37872">0</cx:pt>
          <cx:pt idx="37873">0</cx:pt>
          <cx:pt idx="37874">0</cx:pt>
          <cx:pt idx="37875">1</cx:pt>
          <cx:pt idx="37876">1</cx:pt>
          <cx:pt idx="37877">0</cx:pt>
          <cx:pt idx="37878">0</cx:pt>
          <cx:pt idx="37879">1</cx:pt>
          <cx:pt idx="37880">1</cx:pt>
          <cx:pt idx="37881">1</cx:pt>
          <cx:pt idx="37882">0</cx:pt>
          <cx:pt idx="37883">1</cx:pt>
          <cx:pt idx="37884">0</cx:pt>
          <cx:pt idx="37885">0</cx:pt>
          <cx:pt idx="37886">1</cx:pt>
          <cx:pt idx="37887">0</cx:pt>
          <cx:pt idx="37888">0</cx:pt>
          <cx:pt idx="37889">0</cx:pt>
          <cx:pt idx="37890">0</cx:pt>
          <cx:pt idx="37891">0</cx:pt>
          <cx:pt idx="37892">1</cx:pt>
          <cx:pt idx="37893">0</cx:pt>
          <cx:pt idx="37894">0</cx:pt>
          <cx:pt idx="37895">0</cx:pt>
          <cx:pt idx="37896">0</cx:pt>
          <cx:pt idx="37897">1</cx:pt>
          <cx:pt idx="37898">0</cx:pt>
          <cx:pt idx="37899">1</cx:pt>
          <cx:pt idx="37900">0</cx:pt>
          <cx:pt idx="37901">1</cx:pt>
          <cx:pt idx="37902">1</cx:pt>
          <cx:pt idx="37903">0</cx:pt>
          <cx:pt idx="37904">0</cx:pt>
          <cx:pt idx="37905">1</cx:pt>
          <cx:pt idx="37906">1</cx:pt>
          <cx:pt idx="37907">0</cx:pt>
          <cx:pt idx="37908">0</cx:pt>
          <cx:pt idx="37909">0</cx:pt>
          <cx:pt idx="37910">0</cx:pt>
          <cx:pt idx="37911">0</cx:pt>
          <cx:pt idx="37912">1</cx:pt>
          <cx:pt idx="37913">0</cx:pt>
          <cx:pt idx="37914">1</cx:pt>
          <cx:pt idx="37915">1</cx:pt>
          <cx:pt idx="37916">1</cx:pt>
          <cx:pt idx="37917">1</cx:pt>
          <cx:pt idx="37918">0</cx:pt>
          <cx:pt idx="37919">0</cx:pt>
          <cx:pt idx="37920">1</cx:pt>
          <cx:pt idx="37921">1</cx:pt>
          <cx:pt idx="37922">0</cx:pt>
          <cx:pt idx="37923">1</cx:pt>
          <cx:pt idx="37924">1</cx:pt>
          <cx:pt idx="37925">0</cx:pt>
          <cx:pt idx="37926">1</cx:pt>
          <cx:pt idx="37927">0</cx:pt>
          <cx:pt idx="37928">0</cx:pt>
          <cx:pt idx="37929">0</cx:pt>
          <cx:pt idx="37930">1</cx:pt>
          <cx:pt idx="37931">0</cx:pt>
          <cx:pt idx="37932">1</cx:pt>
          <cx:pt idx="37933">0</cx:pt>
          <cx:pt idx="37934">0</cx:pt>
          <cx:pt idx="37935">0</cx:pt>
          <cx:pt idx="37936">1</cx:pt>
          <cx:pt idx="37937">0</cx:pt>
          <cx:pt idx="37938">0</cx:pt>
          <cx:pt idx="37939">0</cx:pt>
          <cx:pt idx="37940">1</cx:pt>
          <cx:pt idx="37941">0</cx:pt>
          <cx:pt idx="37942">1</cx:pt>
          <cx:pt idx="37943">1</cx:pt>
          <cx:pt idx="37944">0</cx:pt>
          <cx:pt idx="37945">1</cx:pt>
          <cx:pt idx="37946">0</cx:pt>
          <cx:pt idx="37947">1</cx:pt>
          <cx:pt idx="37948">0</cx:pt>
          <cx:pt idx="37949">0</cx:pt>
          <cx:pt idx="37950">0</cx:pt>
          <cx:pt idx="37951">0</cx:pt>
          <cx:pt idx="37952">1</cx:pt>
          <cx:pt idx="37953">0</cx:pt>
          <cx:pt idx="37954">0</cx:pt>
          <cx:pt idx="37955">1</cx:pt>
          <cx:pt idx="37956">0</cx:pt>
          <cx:pt idx="37957">0</cx:pt>
          <cx:pt idx="37958">0</cx:pt>
          <cx:pt idx="37959">1</cx:pt>
          <cx:pt idx="37960">1</cx:pt>
          <cx:pt idx="37961">1</cx:pt>
          <cx:pt idx="37962">1</cx:pt>
          <cx:pt idx="37963">0</cx:pt>
          <cx:pt idx="37964">0</cx:pt>
          <cx:pt idx="37965">1</cx:pt>
          <cx:pt idx="37966">1</cx:pt>
          <cx:pt idx="37967">1</cx:pt>
          <cx:pt idx="37968">0</cx:pt>
          <cx:pt idx="37969">0</cx:pt>
          <cx:pt idx="37970">0</cx:pt>
          <cx:pt idx="37971">1</cx:pt>
          <cx:pt idx="37972">0</cx:pt>
          <cx:pt idx="37973">0</cx:pt>
          <cx:pt idx="37974">0</cx:pt>
          <cx:pt idx="37975">0</cx:pt>
          <cx:pt idx="37976">1</cx:pt>
          <cx:pt idx="37977">0</cx:pt>
          <cx:pt idx="37978">0</cx:pt>
          <cx:pt idx="37979">0</cx:pt>
          <cx:pt idx="37980">1</cx:pt>
          <cx:pt idx="37981">1</cx:pt>
          <cx:pt idx="37982">1</cx:pt>
          <cx:pt idx="37983">0</cx:pt>
          <cx:pt idx="37984">1</cx:pt>
          <cx:pt idx="37985">1</cx:pt>
          <cx:pt idx="37986">1</cx:pt>
          <cx:pt idx="37987">0</cx:pt>
          <cx:pt idx="37988">0</cx:pt>
          <cx:pt idx="37989">0</cx:pt>
          <cx:pt idx="37990">0</cx:pt>
          <cx:pt idx="37991">0</cx:pt>
          <cx:pt idx="37992">1</cx:pt>
          <cx:pt idx="37993">0</cx:pt>
          <cx:pt idx="37994">0</cx:pt>
          <cx:pt idx="37995">0</cx:pt>
          <cx:pt idx="37996">0</cx:pt>
          <cx:pt idx="37997">0</cx:pt>
          <cx:pt idx="37998">0</cx:pt>
          <cx:pt idx="37999">0</cx:pt>
          <cx:pt idx="38000">1</cx:pt>
          <cx:pt idx="38001">0</cx:pt>
          <cx:pt idx="38002">1</cx:pt>
          <cx:pt idx="38003">1</cx:pt>
          <cx:pt idx="38004">1</cx:pt>
          <cx:pt idx="38005">1</cx:pt>
          <cx:pt idx="38006">1</cx:pt>
          <cx:pt idx="38007">0</cx:pt>
          <cx:pt idx="38008">0</cx:pt>
          <cx:pt idx="38009">1</cx:pt>
          <cx:pt idx="38010">1</cx:pt>
          <cx:pt idx="38011">0</cx:pt>
          <cx:pt idx="38012">1</cx:pt>
          <cx:pt idx="38013">1</cx:pt>
          <cx:pt idx="38014">1</cx:pt>
          <cx:pt idx="38015">1</cx:pt>
          <cx:pt idx="38016">1</cx:pt>
          <cx:pt idx="38017">0</cx:pt>
          <cx:pt idx="38018">1</cx:pt>
          <cx:pt idx="38019">0</cx:pt>
          <cx:pt idx="38020">0</cx:pt>
          <cx:pt idx="38021">1</cx:pt>
          <cx:pt idx="38022">0</cx:pt>
          <cx:pt idx="38023">1</cx:pt>
          <cx:pt idx="38024">0</cx:pt>
          <cx:pt idx="38025">1</cx:pt>
          <cx:pt idx="38026">1</cx:pt>
          <cx:pt idx="38027">0</cx:pt>
          <cx:pt idx="38028">1</cx:pt>
          <cx:pt idx="38029">0</cx:pt>
          <cx:pt idx="38030">0</cx:pt>
          <cx:pt idx="38031">1</cx:pt>
          <cx:pt idx="38032">1</cx:pt>
          <cx:pt idx="38033">0</cx:pt>
          <cx:pt idx="38034">0</cx:pt>
          <cx:pt idx="38035">0</cx:pt>
          <cx:pt idx="38036">0</cx:pt>
          <cx:pt idx="38037">1</cx:pt>
          <cx:pt idx="38038">0</cx:pt>
          <cx:pt idx="38039">0</cx:pt>
          <cx:pt idx="38040">0</cx:pt>
          <cx:pt idx="38041">0</cx:pt>
          <cx:pt idx="38042">0</cx:pt>
          <cx:pt idx="38043">1</cx:pt>
          <cx:pt idx="38044">1</cx:pt>
          <cx:pt idx="38045">0</cx:pt>
          <cx:pt idx="38046">1</cx:pt>
          <cx:pt idx="38047">0</cx:pt>
          <cx:pt idx="38048">0</cx:pt>
          <cx:pt idx="38049">0</cx:pt>
          <cx:pt idx="38050">0</cx:pt>
          <cx:pt idx="38051">1</cx:pt>
          <cx:pt idx="38052">1</cx:pt>
          <cx:pt idx="38053">0</cx:pt>
          <cx:pt idx="38054">1</cx:pt>
          <cx:pt idx="38055">1</cx:pt>
          <cx:pt idx="38056">0</cx:pt>
          <cx:pt idx="38057">0</cx:pt>
          <cx:pt idx="38058">0</cx:pt>
          <cx:pt idx="38059">0</cx:pt>
          <cx:pt idx="38060">1</cx:pt>
          <cx:pt idx="38061">1</cx:pt>
          <cx:pt idx="38062">0</cx:pt>
          <cx:pt idx="38063">0</cx:pt>
          <cx:pt idx="38064">0</cx:pt>
          <cx:pt idx="38065">0</cx:pt>
          <cx:pt idx="38066">1</cx:pt>
          <cx:pt idx="38067">0</cx:pt>
          <cx:pt idx="38068">1</cx:pt>
          <cx:pt idx="38069">0</cx:pt>
          <cx:pt idx="38070">0</cx:pt>
          <cx:pt idx="38071">0</cx:pt>
          <cx:pt idx="38072">1</cx:pt>
          <cx:pt idx="38073">0</cx:pt>
          <cx:pt idx="38074">0</cx:pt>
          <cx:pt idx="38075">0</cx:pt>
          <cx:pt idx="38076">0</cx:pt>
          <cx:pt idx="38077">0</cx:pt>
          <cx:pt idx="38078">0</cx:pt>
          <cx:pt idx="38079">0</cx:pt>
          <cx:pt idx="38080">0</cx:pt>
          <cx:pt idx="38081">1</cx:pt>
          <cx:pt idx="38082">1</cx:pt>
          <cx:pt idx="38083">1</cx:pt>
          <cx:pt idx="38084">0</cx:pt>
          <cx:pt idx="38085">0</cx:pt>
          <cx:pt idx="38086">1</cx:pt>
          <cx:pt idx="38087">1</cx:pt>
          <cx:pt idx="38088">0</cx:pt>
          <cx:pt idx="38089">0</cx:pt>
          <cx:pt idx="38090">0</cx:pt>
          <cx:pt idx="38091">1</cx:pt>
          <cx:pt idx="38092">0</cx:pt>
          <cx:pt idx="38093">0</cx:pt>
          <cx:pt idx="38094">1</cx:pt>
          <cx:pt idx="38095">0</cx:pt>
          <cx:pt idx="38096">0</cx:pt>
          <cx:pt idx="38097">1</cx:pt>
          <cx:pt idx="38098">1</cx:pt>
          <cx:pt idx="38099">0</cx:pt>
          <cx:pt idx="38100">0</cx:pt>
          <cx:pt idx="38101">0</cx:pt>
          <cx:pt idx="38102">1</cx:pt>
          <cx:pt idx="38103">0</cx:pt>
          <cx:pt idx="38104">1</cx:pt>
          <cx:pt idx="38105">0</cx:pt>
          <cx:pt idx="38106">1</cx:pt>
          <cx:pt idx="38107">1</cx:pt>
          <cx:pt idx="38108">0</cx:pt>
          <cx:pt idx="38109">0</cx:pt>
          <cx:pt idx="38110">0</cx:pt>
          <cx:pt idx="38111">0</cx:pt>
          <cx:pt idx="38112">1</cx:pt>
          <cx:pt idx="38113">0</cx:pt>
          <cx:pt idx="38114">1</cx:pt>
          <cx:pt idx="38115">1</cx:pt>
          <cx:pt idx="38116">0</cx:pt>
          <cx:pt idx="38117">1</cx:pt>
          <cx:pt idx="38118">1</cx:pt>
          <cx:pt idx="38119">1</cx:pt>
          <cx:pt idx="38120">1</cx:pt>
          <cx:pt idx="38121">0</cx:pt>
          <cx:pt idx="38122">1</cx:pt>
          <cx:pt idx="38123">0</cx:pt>
          <cx:pt idx="38124">1</cx:pt>
          <cx:pt idx="38125">0</cx:pt>
          <cx:pt idx="38126">0</cx:pt>
          <cx:pt idx="38127">1</cx:pt>
          <cx:pt idx="38128">1</cx:pt>
          <cx:pt idx="38129">0</cx:pt>
          <cx:pt idx="38130">0</cx:pt>
          <cx:pt idx="38131">0</cx:pt>
          <cx:pt idx="38132">0</cx:pt>
          <cx:pt idx="38133">1</cx:pt>
          <cx:pt idx="38134">0</cx:pt>
          <cx:pt idx="38135">1</cx:pt>
          <cx:pt idx="38136">0</cx:pt>
          <cx:pt idx="38137">1</cx:pt>
          <cx:pt idx="38138">1</cx:pt>
          <cx:pt idx="38139">1</cx:pt>
          <cx:pt idx="38140">0</cx:pt>
          <cx:pt idx="38141">1</cx:pt>
          <cx:pt idx="38142">1</cx:pt>
          <cx:pt idx="38143">0</cx:pt>
          <cx:pt idx="38144">1</cx:pt>
          <cx:pt idx="38145">1</cx:pt>
          <cx:pt idx="38146">1</cx:pt>
          <cx:pt idx="38147">0</cx:pt>
          <cx:pt idx="38148">0</cx:pt>
          <cx:pt idx="38149">1</cx:pt>
          <cx:pt idx="38150">1</cx:pt>
          <cx:pt idx="38151">0</cx:pt>
          <cx:pt idx="38152">1</cx:pt>
          <cx:pt idx="38153">0</cx:pt>
          <cx:pt idx="38154">1</cx:pt>
          <cx:pt idx="38155">1</cx:pt>
          <cx:pt idx="38156">0</cx:pt>
          <cx:pt idx="38157">0</cx:pt>
          <cx:pt idx="38158">0</cx:pt>
          <cx:pt idx="38159">1</cx:pt>
          <cx:pt idx="38160">0</cx:pt>
          <cx:pt idx="38161">1</cx:pt>
          <cx:pt idx="38162">1</cx:pt>
          <cx:pt idx="38163">0</cx:pt>
          <cx:pt idx="38164">1</cx:pt>
          <cx:pt idx="38165">0</cx:pt>
          <cx:pt idx="38166">1</cx:pt>
          <cx:pt idx="38167">0</cx:pt>
          <cx:pt idx="38168">1</cx:pt>
          <cx:pt idx="38169">1</cx:pt>
          <cx:pt idx="38170">0</cx:pt>
          <cx:pt idx="38171">1</cx:pt>
          <cx:pt idx="38172">0</cx:pt>
          <cx:pt idx="38173">0</cx:pt>
          <cx:pt idx="38174">0</cx:pt>
          <cx:pt idx="38175">0</cx:pt>
          <cx:pt idx="38176">0</cx:pt>
          <cx:pt idx="38177">1</cx:pt>
          <cx:pt idx="38178">0</cx:pt>
          <cx:pt idx="38179">0</cx:pt>
          <cx:pt idx="38180">0</cx:pt>
          <cx:pt idx="38181">1</cx:pt>
          <cx:pt idx="38182">0</cx:pt>
          <cx:pt idx="38183">1</cx:pt>
          <cx:pt idx="38184">0</cx:pt>
          <cx:pt idx="38185">1</cx:pt>
          <cx:pt idx="38186">0</cx:pt>
          <cx:pt idx="38187">0</cx:pt>
          <cx:pt idx="38188">0</cx:pt>
          <cx:pt idx="38189">0</cx:pt>
          <cx:pt idx="38190">0</cx:pt>
          <cx:pt idx="38191">0</cx:pt>
          <cx:pt idx="38192">0</cx:pt>
          <cx:pt idx="38193">1</cx:pt>
          <cx:pt idx="38194">1</cx:pt>
          <cx:pt idx="38195">0</cx:pt>
          <cx:pt idx="38196">1</cx:pt>
          <cx:pt idx="38197">1</cx:pt>
          <cx:pt idx="38198">0</cx:pt>
          <cx:pt idx="38199">0</cx:pt>
          <cx:pt idx="38200">1</cx:pt>
          <cx:pt idx="38201">0</cx:pt>
          <cx:pt idx="38202">1</cx:pt>
          <cx:pt idx="38203">1</cx:pt>
          <cx:pt idx="38204">0</cx:pt>
          <cx:pt idx="38205">0</cx:pt>
          <cx:pt idx="38206">0</cx:pt>
          <cx:pt idx="38207">0</cx:pt>
          <cx:pt idx="38208">0</cx:pt>
          <cx:pt idx="38209">1</cx:pt>
          <cx:pt idx="38210">1</cx:pt>
          <cx:pt idx="38211">0</cx:pt>
          <cx:pt idx="38212">0</cx:pt>
          <cx:pt idx="38213">1</cx:pt>
          <cx:pt idx="38214">1</cx:pt>
          <cx:pt idx="38215">1</cx:pt>
          <cx:pt idx="38216">0</cx:pt>
          <cx:pt idx="38217">1</cx:pt>
          <cx:pt idx="38218">1</cx:pt>
          <cx:pt idx="38219">0</cx:pt>
          <cx:pt idx="38220">1</cx:pt>
          <cx:pt idx="38221">1</cx:pt>
          <cx:pt idx="38222">0</cx:pt>
          <cx:pt idx="38223">0</cx:pt>
          <cx:pt idx="38224">0</cx:pt>
          <cx:pt idx="38225">0</cx:pt>
          <cx:pt idx="38226">0</cx:pt>
          <cx:pt idx="38227">0</cx:pt>
          <cx:pt idx="38228">0</cx:pt>
          <cx:pt idx="38229">0</cx:pt>
          <cx:pt idx="38230">0</cx:pt>
          <cx:pt idx="38231">0</cx:pt>
          <cx:pt idx="38232">1</cx:pt>
          <cx:pt idx="38233">0</cx:pt>
          <cx:pt idx="38234">0</cx:pt>
          <cx:pt idx="38235">1</cx:pt>
          <cx:pt idx="38236">1</cx:pt>
          <cx:pt idx="38237">0</cx:pt>
          <cx:pt idx="38238">0</cx:pt>
          <cx:pt idx="38239">0</cx:pt>
          <cx:pt idx="38240">0</cx:pt>
          <cx:pt idx="38241">1</cx:pt>
          <cx:pt idx="38242">1</cx:pt>
          <cx:pt idx="38243">0</cx:pt>
          <cx:pt idx="38244">0</cx:pt>
          <cx:pt idx="38245">0</cx:pt>
          <cx:pt idx="38246">0</cx:pt>
          <cx:pt idx="38247">0</cx:pt>
          <cx:pt idx="38248">0</cx:pt>
          <cx:pt idx="38249">0</cx:pt>
          <cx:pt idx="38250">0</cx:pt>
          <cx:pt idx="38251">1</cx:pt>
          <cx:pt idx="38252">0</cx:pt>
          <cx:pt idx="38253">0</cx:pt>
          <cx:pt idx="38254">0</cx:pt>
          <cx:pt idx="38255">1</cx:pt>
          <cx:pt idx="38256">1</cx:pt>
          <cx:pt idx="38257">1</cx:pt>
          <cx:pt idx="38258">0</cx:pt>
          <cx:pt idx="38259">0</cx:pt>
          <cx:pt idx="38260">1</cx:pt>
          <cx:pt idx="38261">1</cx:pt>
          <cx:pt idx="38262">0</cx:pt>
          <cx:pt idx="38263">1</cx:pt>
          <cx:pt idx="38264">1</cx:pt>
          <cx:pt idx="38265">1</cx:pt>
          <cx:pt idx="38266">1</cx:pt>
          <cx:pt idx="38267">0</cx:pt>
          <cx:pt idx="38268">1</cx:pt>
          <cx:pt idx="38269">1</cx:pt>
          <cx:pt idx="38270">1</cx:pt>
          <cx:pt idx="38271">0</cx:pt>
          <cx:pt idx="38272">0</cx:pt>
          <cx:pt idx="38273">0</cx:pt>
          <cx:pt idx="38274">1</cx:pt>
          <cx:pt idx="38275">1</cx:pt>
          <cx:pt idx="38276">0</cx:pt>
          <cx:pt idx="38277">1</cx:pt>
          <cx:pt idx="38278">0</cx:pt>
          <cx:pt idx="38279">0</cx:pt>
          <cx:pt idx="38280">1</cx:pt>
          <cx:pt idx="38281">1</cx:pt>
          <cx:pt idx="38282">0</cx:pt>
          <cx:pt idx="38283">1</cx:pt>
          <cx:pt idx="38284">1</cx:pt>
          <cx:pt idx="38285">1</cx:pt>
          <cx:pt idx="38286">0</cx:pt>
          <cx:pt idx="38287">0</cx:pt>
          <cx:pt idx="38288">0</cx:pt>
          <cx:pt idx="38289">0</cx:pt>
          <cx:pt idx="38290">1</cx:pt>
          <cx:pt idx="38291">0</cx:pt>
          <cx:pt idx="38292">0</cx:pt>
          <cx:pt idx="38293">1</cx:pt>
          <cx:pt idx="38294">1</cx:pt>
          <cx:pt idx="38295">1</cx:pt>
          <cx:pt idx="38296">1</cx:pt>
          <cx:pt idx="38297">0</cx:pt>
          <cx:pt idx="38298">0</cx:pt>
          <cx:pt idx="38299">0</cx:pt>
          <cx:pt idx="38300">0</cx:pt>
          <cx:pt idx="38301">0</cx:pt>
          <cx:pt idx="38302">0</cx:pt>
          <cx:pt idx="38303">1</cx:pt>
          <cx:pt idx="38304">0</cx:pt>
          <cx:pt idx="38305">0</cx:pt>
          <cx:pt idx="38306">0</cx:pt>
          <cx:pt idx="38307">1</cx:pt>
          <cx:pt idx="38308">0</cx:pt>
          <cx:pt idx="38309">0</cx:pt>
          <cx:pt idx="38310">0</cx:pt>
          <cx:pt idx="38311">0</cx:pt>
          <cx:pt idx="38312">1</cx:pt>
          <cx:pt idx="38313">0</cx:pt>
          <cx:pt idx="38314">0</cx:pt>
          <cx:pt idx="38315">1</cx:pt>
          <cx:pt idx="38316">1</cx:pt>
          <cx:pt idx="38317">0</cx:pt>
          <cx:pt idx="38318">0</cx:pt>
          <cx:pt idx="38319">0</cx:pt>
          <cx:pt idx="38320">0</cx:pt>
          <cx:pt idx="38321">0</cx:pt>
          <cx:pt idx="38322">0</cx:pt>
          <cx:pt idx="38323">0</cx:pt>
          <cx:pt idx="38324">0</cx:pt>
          <cx:pt idx="38325">0</cx:pt>
          <cx:pt idx="38326">0</cx:pt>
          <cx:pt idx="38327">0</cx:pt>
          <cx:pt idx="38328">1</cx:pt>
          <cx:pt idx="38329">1</cx:pt>
          <cx:pt idx="38330">0</cx:pt>
          <cx:pt idx="38331">0</cx:pt>
          <cx:pt idx="38332">1</cx:pt>
          <cx:pt idx="38333">1</cx:pt>
          <cx:pt idx="38334">0</cx:pt>
          <cx:pt idx="38335">0</cx:pt>
          <cx:pt idx="38336">0</cx:pt>
          <cx:pt idx="38337">1</cx:pt>
          <cx:pt idx="38338">1</cx:pt>
          <cx:pt idx="38339">0</cx:pt>
          <cx:pt idx="38340">1</cx:pt>
          <cx:pt idx="38341">1</cx:pt>
          <cx:pt idx="38342">0</cx:pt>
          <cx:pt idx="38343">0</cx:pt>
          <cx:pt idx="38344">0</cx:pt>
          <cx:pt idx="38345">0</cx:pt>
          <cx:pt idx="38346">1</cx:pt>
          <cx:pt idx="38347">0</cx:pt>
          <cx:pt idx="38348">1</cx:pt>
          <cx:pt idx="38349">1</cx:pt>
          <cx:pt idx="38350">0</cx:pt>
          <cx:pt idx="38351">0</cx:pt>
          <cx:pt idx="38352">1</cx:pt>
          <cx:pt idx="38353">0</cx:pt>
          <cx:pt idx="38354">1</cx:pt>
          <cx:pt idx="38355">1</cx:pt>
          <cx:pt idx="38356">0</cx:pt>
          <cx:pt idx="38357">0</cx:pt>
          <cx:pt idx="38358">0</cx:pt>
          <cx:pt idx="38359">0</cx:pt>
          <cx:pt idx="38360">0</cx:pt>
          <cx:pt idx="38361">0</cx:pt>
          <cx:pt idx="38362">1</cx:pt>
          <cx:pt idx="38363">1</cx:pt>
          <cx:pt idx="38364">1</cx:pt>
          <cx:pt idx="38365">0</cx:pt>
          <cx:pt idx="38366">1</cx:pt>
          <cx:pt idx="38367">1</cx:pt>
          <cx:pt idx="38368">0</cx:pt>
          <cx:pt idx="38369">1</cx:pt>
          <cx:pt idx="38370">0</cx:pt>
          <cx:pt idx="38371">0</cx:pt>
          <cx:pt idx="38372">1</cx:pt>
          <cx:pt idx="38373">0</cx:pt>
          <cx:pt idx="38374">1</cx:pt>
          <cx:pt idx="38375">0</cx:pt>
          <cx:pt idx="38376">1</cx:pt>
          <cx:pt idx="38377">0</cx:pt>
          <cx:pt idx="38378">0</cx:pt>
          <cx:pt idx="38379">1</cx:pt>
          <cx:pt idx="38380">1</cx:pt>
          <cx:pt idx="38381">0</cx:pt>
          <cx:pt idx="38382">1</cx:pt>
          <cx:pt idx="38383">1</cx:pt>
          <cx:pt idx="38384">1</cx:pt>
          <cx:pt idx="38385">1</cx:pt>
          <cx:pt idx="38386">0</cx:pt>
          <cx:pt idx="38387">1</cx:pt>
          <cx:pt idx="38388">1</cx:pt>
          <cx:pt idx="38389">1</cx:pt>
          <cx:pt idx="38390">0</cx:pt>
          <cx:pt idx="38391">0</cx:pt>
          <cx:pt idx="38392">0</cx:pt>
          <cx:pt idx="38393">1</cx:pt>
          <cx:pt idx="38394">0</cx:pt>
          <cx:pt idx="38395">0</cx:pt>
          <cx:pt idx="38396">1</cx:pt>
          <cx:pt idx="38397">1</cx:pt>
          <cx:pt idx="38398">1</cx:pt>
          <cx:pt idx="38399">0</cx:pt>
          <cx:pt idx="38400">0</cx:pt>
          <cx:pt idx="38401">0</cx:pt>
          <cx:pt idx="38402">0</cx:pt>
          <cx:pt idx="38403">0</cx:pt>
          <cx:pt idx="38404">0</cx:pt>
          <cx:pt idx="38405">0</cx:pt>
          <cx:pt idx="38406">1</cx:pt>
          <cx:pt idx="38407">1</cx:pt>
          <cx:pt idx="38408">1</cx:pt>
          <cx:pt idx="38409">1</cx:pt>
          <cx:pt idx="38410">0</cx:pt>
          <cx:pt idx="38411">0</cx:pt>
          <cx:pt idx="38412">0</cx:pt>
          <cx:pt idx="38413">0</cx:pt>
          <cx:pt idx="38414">0</cx:pt>
          <cx:pt idx="38415">1</cx:pt>
          <cx:pt idx="38416">0</cx:pt>
          <cx:pt idx="38417">1</cx:pt>
          <cx:pt idx="38418">0</cx:pt>
          <cx:pt idx="38419">1</cx:pt>
          <cx:pt idx="38420">1</cx:pt>
          <cx:pt idx="38421">0</cx:pt>
          <cx:pt idx="38422">1</cx:pt>
          <cx:pt idx="38423">0</cx:pt>
          <cx:pt idx="38424">1</cx:pt>
          <cx:pt idx="38425">0</cx:pt>
          <cx:pt idx="38426">0</cx:pt>
          <cx:pt idx="38427">1</cx:pt>
          <cx:pt idx="38428">0</cx:pt>
          <cx:pt idx="38429">1</cx:pt>
          <cx:pt idx="38430">0</cx:pt>
          <cx:pt idx="38431">1</cx:pt>
          <cx:pt idx="38432">1</cx:pt>
          <cx:pt idx="38433">0</cx:pt>
          <cx:pt idx="38434">1</cx:pt>
          <cx:pt idx="38435">0</cx:pt>
          <cx:pt idx="38436">0</cx:pt>
          <cx:pt idx="38437">1</cx:pt>
          <cx:pt idx="38438">1</cx:pt>
          <cx:pt idx="38439">0</cx:pt>
          <cx:pt idx="38440">0</cx:pt>
          <cx:pt idx="38441">1</cx:pt>
          <cx:pt idx="38442">1</cx:pt>
          <cx:pt idx="38443">0</cx:pt>
          <cx:pt idx="38444">0</cx:pt>
          <cx:pt idx="38445">0</cx:pt>
          <cx:pt idx="38446">0</cx:pt>
          <cx:pt idx="38447">1</cx:pt>
          <cx:pt idx="38448">0</cx:pt>
          <cx:pt idx="38449">0</cx:pt>
          <cx:pt idx="38450">0</cx:pt>
          <cx:pt idx="38451">0</cx:pt>
          <cx:pt idx="38452">1</cx:pt>
          <cx:pt idx="38453">0</cx:pt>
          <cx:pt idx="38454">1</cx:pt>
          <cx:pt idx="38455">0</cx:pt>
          <cx:pt idx="38456">1</cx:pt>
          <cx:pt idx="38457">0</cx:pt>
          <cx:pt idx="38458">0</cx:pt>
          <cx:pt idx="38459">0</cx:pt>
          <cx:pt idx="38460">0</cx:pt>
          <cx:pt idx="38461">1</cx:pt>
          <cx:pt idx="38462">0</cx:pt>
          <cx:pt idx="38463">1</cx:pt>
          <cx:pt idx="38464">0</cx:pt>
          <cx:pt idx="38465">0</cx:pt>
          <cx:pt idx="38466">1</cx:pt>
          <cx:pt idx="38467">0</cx:pt>
          <cx:pt idx="38468">1</cx:pt>
          <cx:pt idx="38469">1</cx:pt>
          <cx:pt idx="38470">1</cx:pt>
          <cx:pt idx="38471">0</cx:pt>
          <cx:pt idx="38472">0</cx:pt>
          <cx:pt idx="38473">1</cx:pt>
          <cx:pt idx="38474">1</cx:pt>
          <cx:pt idx="38475">0</cx:pt>
          <cx:pt idx="38476">1</cx:pt>
          <cx:pt idx="38477">1</cx:pt>
          <cx:pt idx="38478">1</cx:pt>
          <cx:pt idx="38479">0</cx:pt>
          <cx:pt idx="38480">1</cx:pt>
          <cx:pt idx="38481">0</cx:pt>
          <cx:pt idx="38482">1</cx:pt>
          <cx:pt idx="38483">1</cx:pt>
          <cx:pt idx="38484">1</cx:pt>
          <cx:pt idx="38485">1</cx:pt>
          <cx:pt idx="38486">0</cx:pt>
          <cx:pt idx="38487">0</cx:pt>
          <cx:pt idx="38488">0</cx:pt>
          <cx:pt idx="38489">0</cx:pt>
          <cx:pt idx="38490">1</cx:pt>
          <cx:pt idx="38491">1</cx:pt>
          <cx:pt idx="38492">0</cx:pt>
          <cx:pt idx="38493">0</cx:pt>
          <cx:pt idx="38494">0</cx:pt>
          <cx:pt idx="38495">0</cx:pt>
          <cx:pt idx="38496">0</cx:pt>
          <cx:pt idx="38497">1</cx:pt>
          <cx:pt idx="38498">0</cx:pt>
          <cx:pt idx="38499">1</cx:pt>
          <cx:pt idx="38500">0</cx:pt>
          <cx:pt idx="38501">0</cx:pt>
          <cx:pt idx="38502">0</cx:pt>
          <cx:pt idx="38503">0</cx:pt>
          <cx:pt idx="38504">0</cx:pt>
          <cx:pt idx="38505">1</cx:pt>
          <cx:pt idx="38506">1</cx:pt>
          <cx:pt idx="38507">0</cx:pt>
          <cx:pt idx="38508">1</cx:pt>
          <cx:pt idx="38509">1</cx:pt>
          <cx:pt idx="38510">1</cx:pt>
          <cx:pt idx="38511">1</cx:pt>
          <cx:pt idx="38512">0</cx:pt>
          <cx:pt idx="38513">1</cx:pt>
          <cx:pt idx="38514">0</cx:pt>
          <cx:pt idx="38515">0</cx:pt>
          <cx:pt idx="38516">0</cx:pt>
          <cx:pt idx="38517">0</cx:pt>
          <cx:pt idx="38518">0</cx:pt>
          <cx:pt idx="38519">0</cx:pt>
          <cx:pt idx="38520">0</cx:pt>
          <cx:pt idx="38521">0</cx:pt>
          <cx:pt idx="38522">0</cx:pt>
          <cx:pt idx="38523">0</cx:pt>
          <cx:pt idx="38524">1</cx:pt>
          <cx:pt idx="38525">1</cx:pt>
          <cx:pt idx="38526">1</cx:pt>
          <cx:pt idx="38527">0</cx:pt>
          <cx:pt idx="38528">1</cx:pt>
          <cx:pt idx="38529">0</cx:pt>
          <cx:pt idx="38530">0</cx:pt>
          <cx:pt idx="38531">1</cx:pt>
          <cx:pt idx="38532">0</cx:pt>
          <cx:pt idx="38533">0</cx:pt>
          <cx:pt idx="38534">0</cx:pt>
          <cx:pt idx="38535">1</cx:pt>
          <cx:pt idx="38536">1</cx:pt>
          <cx:pt idx="38537">1</cx:pt>
          <cx:pt idx="38538">0</cx:pt>
          <cx:pt idx="38539">0</cx:pt>
          <cx:pt idx="38540">0</cx:pt>
          <cx:pt idx="38541">0</cx:pt>
          <cx:pt idx="38542">1</cx:pt>
          <cx:pt idx="38543">0</cx:pt>
          <cx:pt idx="38544">0</cx:pt>
          <cx:pt idx="38545">0</cx:pt>
          <cx:pt idx="38546">1</cx:pt>
          <cx:pt idx="38547">0</cx:pt>
          <cx:pt idx="38548">0</cx:pt>
          <cx:pt idx="38549">0</cx:pt>
          <cx:pt idx="38550">0</cx:pt>
          <cx:pt idx="38551">0</cx:pt>
          <cx:pt idx="38552">0</cx:pt>
          <cx:pt idx="38553">0</cx:pt>
          <cx:pt idx="38554">0</cx:pt>
          <cx:pt idx="38555">1</cx:pt>
          <cx:pt idx="38556">1</cx:pt>
          <cx:pt idx="38557">0</cx:pt>
          <cx:pt idx="38558">1</cx:pt>
          <cx:pt idx="38559">0</cx:pt>
          <cx:pt idx="38560">0</cx:pt>
          <cx:pt idx="38561">0</cx:pt>
          <cx:pt idx="38562">1</cx:pt>
          <cx:pt idx="38563">0</cx:pt>
          <cx:pt idx="38564">0</cx:pt>
          <cx:pt idx="38565">1</cx:pt>
          <cx:pt idx="38566">1</cx:pt>
          <cx:pt idx="38567">0</cx:pt>
          <cx:pt idx="38568">1</cx:pt>
          <cx:pt idx="38569">0</cx:pt>
          <cx:pt idx="38570">1</cx:pt>
          <cx:pt idx="38571">1</cx:pt>
          <cx:pt idx="38572">1</cx:pt>
          <cx:pt idx="38573">1</cx:pt>
          <cx:pt idx="38574">0</cx:pt>
          <cx:pt idx="38575">0</cx:pt>
          <cx:pt idx="38576">1</cx:pt>
          <cx:pt idx="38577">1</cx:pt>
          <cx:pt idx="38578">0</cx:pt>
          <cx:pt idx="38579">1</cx:pt>
          <cx:pt idx="38580">0</cx:pt>
          <cx:pt idx="38581">0</cx:pt>
          <cx:pt idx="38582">1</cx:pt>
          <cx:pt idx="38583">0</cx:pt>
          <cx:pt idx="38584">1</cx:pt>
          <cx:pt idx="38585">1</cx:pt>
          <cx:pt idx="38586">1</cx:pt>
          <cx:pt idx="38587">1</cx:pt>
          <cx:pt idx="38588">0</cx:pt>
          <cx:pt idx="38589">0</cx:pt>
          <cx:pt idx="38590">1</cx:pt>
          <cx:pt idx="38591">1</cx:pt>
          <cx:pt idx="38592">1</cx:pt>
          <cx:pt idx="38593">0</cx:pt>
          <cx:pt idx="38594">0</cx:pt>
          <cx:pt idx="38595">0</cx:pt>
          <cx:pt idx="38596">0</cx:pt>
          <cx:pt idx="38597">1</cx:pt>
          <cx:pt idx="38598">0</cx:pt>
          <cx:pt idx="38599">0</cx:pt>
          <cx:pt idx="38600">0</cx:pt>
          <cx:pt idx="38601">1</cx:pt>
          <cx:pt idx="38602">1</cx:pt>
          <cx:pt idx="38603">1</cx:pt>
          <cx:pt idx="38604">0</cx:pt>
          <cx:pt idx="38605">1</cx:pt>
          <cx:pt idx="38606">0</cx:pt>
          <cx:pt idx="38607">1</cx:pt>
          <cx:pt idx="38608">0</cx:pt>
          <cx:pt idx="38609">1</cx:pt>
          <cx:pt idx="38610">1</cx:pt>
          <cx:pt idx="38611">1</cx:pt>
          <cx:pt idx="38612">1</cx:pt>
          <cx:pt idx="38613">1</cx:pt>
          <cx:pt idx="38614">0</cx:pt>
          <cx:pt idx="38615">0</cx:pt>
          <cx:pt idx="38616">1</cx:pt>
          <cx:pt idx="38617">0</cx:pt>
          <cx:pt idx="38618">0</cx:pt>
          <cx:pt idx="38619">0</cx:pt>
          <cx:pt idx="38620">0</cx:pt>
          <cx:pt idx="38621">0</cx:pt>
          <cx:pt idx="38622">0</cx:pt>
          <cx:pt idx="38623">1</cx:pt>
          <cx:pt idx="38624">1</cx:pt>
          <cx:pt idx="38625">0</cx:pt>
          <cx:pt idx="38626">1</cx:pt>
          <cx:pt idx="38627">0</cx:pt>
          <cx:pt idx="38628">0</cx:pt>
          <cx:pt idx="38629">0</cx:pt>
          <cx:pt idx="38630">1</cx:pt>
          <cx:pt idx="38631">0</cx:pt>
          <cx:pt idx="38632">0</cx:pt>
          <cx:pt idx="38633">1</cx:pt>
          <cx:pt idx="38634">0</cx:pt>
          <cx:pt idx="38635">0</cx:pt>
          <cx:pt idx="38636">0</cx:pt>
          <cx:pt idx="38637">1</cx:pt>
          <cx:pt idx="38638">0</cx:pt>
          <cx:pt idx="38639">0</cx:pt>
          <cx:pt idx="38640">1</cx:pt>
          <cx:pt idx="38641">0</cx:pt>
          <cx:pt idx="38642">1</cx:pt>
          <cx:pt idx="38643">1</cx:pt>
          <cx:pt idx="38644">1</cx:pt>
          <cx:pt idx="38645">0</cx:pt>
          <cx:pt idx="38646">0</cx:pt>
          <cx:pt idx="38647">0</cx:pt>
          <cx:pt idx="38648">0</cx:pt>
          <cx:pt idx="38649">0</cx:pt>
          <cx:pt idx="38650">0</cx:pt>
          <cx:pt idx="38651">0</cx:pt>
          <cx:pt idx="38652">0</cx:pt>
          <cx:pt idx="38653">0</cx:pt>
          <cx:pt idx="38654">1</cx:pt>
          <cx:pt idx="38655">1</cx:pt>
          <cx:pt idx="38656">0</cx:pt>
          <cx:pt idx="38657">0</cx:pt>
          <cx:pt idx="38658">0</cx:pt>
          <cx:pt idx="38659">0</cx:pt>
          <cx:pt idx="38660">1</cx:pt>
          <cx:pt idx="38661">0</cx:pt>
          <cx:pt idx="38662">0</cx:pt>
          <cx:pt idx="38663">0</cx:pt>
          <cx:pt idx="38664">0</cx:pt>
          <cx:pt idx="38665">0</cx:pt>
          <cx:pt idx="38666">0</cx:pt>
          <cx:pt idx="38667">1</cx:pt>
          <cx:pt idx="38668">0</cx:pt>
          <cx:pt idx="38669">1</cx:pt>
          <cx:pt idx="38670">1</cx:pt>
          <cx:pt idx="38671">0</cx:pt>
          <cx:pt idx="38672">1</cx:pt>
          <cx:pt idx="38673">1</cx:pt>
          <cx:pt idx="38674">1</cx:pt>
          <cx:pt idx="38675">1</cx:pt>
          <cx:pt idx="38676">0</cx:pt>
          <cx:pt idx="38677">1</cx:pt>
          <cx:pt idx="38678">0</cx:pt>
          <cx:pt idx="38679">0</cx:pt>
          <cx:pt idx="38680">0</cx:pt>
          <cx:pt idx="38681">1</cx:pt>
          <cx:pt idx="38682">0</cx:pt>
          <cx:pt idx="38683">1</cx:pt>
          <cx:pt idx="38684">0</cx:pt>
          <cx:pt idx="38685">0</cx:pt>
          <cx:pt idx="38686">0</cx:pt>
          <cx:pt idx="38687">1</cx:pt>
          <cx:pt idx="38688">0</cx:pt>
          <cx:pt idx="38689">1</cx:pt>
          <cx:pt idx="38690">0</cx:pt>
          <cx:pt idx="38691">0</cx:pt>
          <cx:pt idx="38692">1</cx:pt>
          <cx:pt idx="38693">1</cx:pt>
          <cx:pt idx="38694">0</cx:pt>
          <cx:pt idx="38695">0</cx:pt>
          <cx:pt idx="38696">1</cx:pt>
          <cx:pt idx="38697">1</cx:pt>
          <cx:pt idx="38698">1</cx:pt>
          <cx:pt idx="38699">0</cx:pt>
          <cx:pt idx="38700">0</cx:pt>
          <cx:pt idx="38701">1</cx:pt>
          <cx:pt idx="38702">1</cx:pt>
          <cx:pt idx="38703">0</cx:pt>
          <cx:pt idx="38704">0</cx:pt>
          <cx:pt idx="38705">1</cx:pt>
          <cx:pt idx="38706">1</cx:pt>
          <cx:pt idx="38707">1</cx:pt>
          <cx:pt idx="38708">0</cx:pt>
          <cx:pt idx="38709">1</cx:pt>
          <cx:pt idx="38710">1</cx:pt>
          <cx:pt idx="38711">0</cx:pt>
          <cx:pt idx="38712">0</cx:pt>
          <cx:pt idx="38713">1</cx:pt>
          <cx:pt idx="38714">0</cx:pt>
          <cx:pt idx="38715">1</cx:pt>
          <cx:pt idx="38716">0</cx:pt>
          <cx:pt idx="38717">0</cx:pt>
          <cx:pt idx="38718">0</cx:pt>
          <cx:pt idx="38719">0</cx:pt>
          <cx:pt idx="38720">0</cx:pt>
          <cx:pt idx="38721">0</cx:pt>
          <cx:pt idx="38722">0</cx:pt>
          <cx:pt idx="38723">1</cx:pt>
          <cx:pt idx="38724">1</cx:pt>
          <cx:pt idx="38725">0</cx:pt>
          <cx:pt idx="38726">1</cx:pt>
          <cx:pt idx="38727">1</cx:pt>
          <cx:pt idx="38728">1</cx:pt>
          <cx:pt idx="38729">0</cx:pt>
          <cx:pt idx="38730">0</cx:pt>
          <cx:pt idx="38731">0</cx:pt>
          <cx:pt idx="38732">1</cx:pt>
          <cx:pt idx="38733">1</cx:pt>
          <cx:pt idx="38734">0</cx:pt>
          <cx:pt idx="38735">0</cx:pt>
          <cx:pt idx="38736">0</cx:pt>
          <cx:pt idx="38737">0</cx:pt>
          <cx:pt idx="38738">0</cx:pt>
          <cx:pt idx="38739">0</cx:pt>
          <cx:pt idx="38740">1</cx:pt>
          <cx:pt idx="38741">1</cx:pt>
          <cx:pt idx="38742">0</cx:pt>
          <cx:pt idx="38743">0</cx:pt>
          <cx:pt idx="38744">0</cx:pt>
          <cx:pt idx="38745">1</cx:pt>
          <cx:pt idx="38746">1</cx:pt>
          <cx:pt idx="38747">0</cx:pt>
          <cx:pt idx="38748">0</cx:pt>
          <cx:pt idx="38749">1</cx:pt>
          <cx:pt idx="38750">1</cx:pt>
          <cx:pt idx="38751">1</cx:pt>
          <cx:pt idx="38752">0</cx:pt>
          <cx:pt idx="38753">0</cx:pt>
          <cx:pt idx="38754">0</cx:pt>
          <cx:pt idx="38755">0</cx:pt>
          <cx:pt idx="38756">0</cx:pt>
          <cx:pt idx="38757">1</cx:pt>
          <cx:pt idx="38758">0</cx:pt>
          <cx:pt idx="38759">1</cx:pt>
          <cx:pt idx="38760">0</cx:pt>
          <cx:pt idx="38761">0</cx:pt>
          <cx:pt idx="38762">1</cx:pt>
          <cx:pt idx="38763">1</cx:pt>
          <cx:pt idx="38764">1</cx:pt>
          <cx:pt idx="38765">1</cx:pt>
          <cx:pt idx="38766">0</cx:pt>
          <cx:pt idx="38767">0</cx:pt>
          <cx:pt idx="38768">0</cx:pt>
          <cx:pt idx="38769">1</cx:pt>
          <cx:pt idx="38770">0</cx:pt>
          <cx:pt idx="38771">0</cx:pt>
          <cx:pt idx="38772">0</cx:pt>
          <cx:pt idx="38773">0</cx:pt>
          <cx:pt idx="38774">1</cx:pt>
          <cx:pt idx="38775">0</cx:pt>
          <cx:pt idx="38776">0</cx:pt>
          <cx:pt idx="38777">0</cx:pt>
          <cx:pt idx="38778">1</cx:pt>
          <cx:pt idx="38779">1</cx:pt>
          <cx:pt idx="38780">0</cx:pt>
          <cx:pt idx="38781">0</cx:pt>
          <cx:pt idx="38782">1</cx:pt>
          <cx:pt idx="38783">1</cx:pt>
          <cx:pt idx="38784">1</cx:pt>
          <cx:pt idx="38785">0</cx:pt>
          <cx:pt idx="38786">1</cx:pt>
          <cx:pt idx="38787">1</cx:pt>
          <cx:pt idx="38788">1</cx:pt>
          <cx:pt idx="38789">1</cx:pt>
          <cx:pt idx="38790">1</cx:pt>
          <cx:pt idx="38791">0</cx:pt>
          <cx:pt idx="38792">1</cx:pt>
          <cx:pt idx="38793">0</cx:pt>
          <cx:pt idx="38794">0</cx:pt>
          <cx:pt idx="38795">0</cx:pt>
          <cx:pt idx="38796">0</cx:pt>
          <cx:pt idx="38797">0</cx:pt>
          <cx:pt idx="38798">0</cx:pt>
          <cx:pt idx="38799">1</cx:pt>
          <cx:pt idx="38800">0</cx:pt>
          <cx:pt idx="38801">0</cx:pt>
          <cx:pt idx="38802">0</cx:pt>
          <cx:pt idx="38803">0</cx:pt>
          <cx:pt idx="38804">1</cx:pt>
          <cx:pt idx="38805">0</cx:pt>
          <cx:pt idx="38806">0</cx:pt>
          <cx:pt idx="38807">1</cx:pt>
          <cx:pt idx="38808">0</cx:pt>
          <cx:pt idx="38809">1</cx:pt>
          <cx:pt idx="38810">1</cx:pt>
          <cx:pt idx="38811">0</cx:pt>
          <cx:pt idx="38812">0</cx:pt>
          <cx:pt idx="38813">1</cx:pt>
          <cx:pt idx="38814">0</cx:pt>
          <cx:pt idx="38815">0</cx:pt>
          <cx:pt idx="38816">0</cx:pt>
          <cx:pt idx="38817">0</cx:pt>
          <cx:pt idx="38818">0</cx:pt>
          <cx:pt idx="38819">0</cx:pt>
          <cx:pt idx="38820">1</cx:pt>
          <cx:pt idx="38821">1</cx:pt>
          <cx:pt idx="38822">1</cx:pt>
          <cx:pt idx="38823">0</cx:pt>
          <cx:pt idx="38824">1</cx:pt>
          <cx:pt idx="38825">1</cx:pt>
          <cx:pt idx="38826">0</cx:pt>
          <cx:pt idx="38827">0</cx:pt>
          <cx:pt idx="38828">1</cx:pt>
          <cx:pt idx="38829">0</cx:pt>
          <cx:pt idx="38830">0</cx:pt>
          <cx:pt idx="38831">1</cx:pt>
          <cx:pt idx="38832">0</cx:pt>
          <cx:pt idx="38833">1</cx:pt>
          <cx:pt idx="38834">0</cx:pt>
          <cx:pt idx="38835">1</cx:pt>
          <cx:pt idx="38836">0</cx:pt>
          <cx:pt idx="38837">0</cx:pt>
          <cx:pt idx="38838">1</cx:pt>
          <cx:pt idx="38839">1</cx:pt>
          <cx:pt idx="38840">0</cx:pt>
          <cx:pt idx="38841">0</cx:pt>
          <cx:pt idx="38842">1</cx:pt>
          <cx:pt idx="38843">1</cx:pt>
          <cx:pt idx="38844">0</cx:pt>
          <cx:pt idx="38845">1</cx:pt>
          <cx:pt idx="38846">1</cx:pt>
          <cx:pt idx="38847">1</cx:pt>
          <cx:pt idx="38848">0</cx:pt>
          <cx:pt idx="38849">0</cx:pt>
          <cx:pt idx="38850">0</cx:pt>
          <cx:pt idx="38851">1</cx:pt>
          <cx:pt idx="38852">0</cx:pt>
          <cx:pt idx="38853">0</cx:pt>
          <cx:pt idx="38854">0</cx:pt>
          <cx:pt idx="38855">0</cx:pt>
          <cx:pt idx="38856">0</cx:pt>
          <cx:pt idx="38857">1</cx:pt>
          <cx:pt idx="38858">0</cx:pt>
          <cx:pt idx="38859">0</cx:pt>
          <cx:pt idx="38860">0</cx:pt>
          <cx:pt idx="38861">0</cx:pt>
          <cx:pt idx="38862">0</cx:pt>
          <cx:pt idx="38863">1</cx:pt>
          <cx:pt idx="38864">0</cx:pt>
          <cx:pt idx="38865">0</cx:pt>
          <cx:pt idx="38866">0</cx:pt>
          <cx:pt idx="38867">1</cx:pt>
          <cx:pt idx="38868">0</cx:pt>
          <cx:pt idx="38869">1</cx:pt>
          <cx:pt idx="38870">0</cx:pt>
          <cx:pt idx="38871">0</cx:pt>
          <cx:pt idx="38872">0</cx:pt>
          <cx:pt idx="38873">0</cx:pt>
          <cx:pt idx="38874">1</cx:pt>
          <cx:pt idx="38875">1</cx:pt>
          <cx:pt idx="38876">1</cx:pt>
          <cx:pt idx="38877">1</cx:pt>
          <cx:pt idx="38878">1</cx:pt>
          <cx:pt idx="38879">1</cx:pt>
          <cx:pt idx="38880">0</cx:pt>
          <cx:pt idx="38881">1</cx:pt>
          <cx:pt idx="38882">0</cx:pt>
          <cx:pt idx="38883">0</cx:pt>
          <cx:pt idx="38884">1</cx:pt>
          <cx:pt idx="38885">0</cx:pt>
          <cx:pt idx="38886">0</cx:pt>
          <cx:pt idx="38887">1</cx:pt>
          <cx:pt idx="38888">0</cx:pt>
          <cx:pt idx="38889">0</cx:pt>
          <cx:pt idx="38890">1</cx:pt>
          <cx:pt idx="38891">0</cx:pt>
          <cx:pt idx="38892">0</cx:pt>
          <cx:pt idx="38893">1</cx:pt>
          <cx:pt idx="38894">1</cx:pt>
          <cx:pt idx="38895">0</cx:pt>
          <cx:pt idx="38896">0</cx:pt>
          <cx:pt idx="38897">1</cx:pt>
          <cx:pt idx="38898">1</cx:pt>
          <cx:pt idx="38899">1</cx:pt>
          <cx:pt idx="38900">0</cx:pt>
          <cx:pt idx="38901">1</cx:pt>
          <cx:pt idx="38902">0</cx:pt>
          <cx:pt idx="38903">1</cx:pt>
          <cx:pt idx="38904">0</cx:pt>
          <cx:pt idx="38905">1</cx:pt>
          <cx:pt idx="38906">1</cx:pt>
          <cx:pt idx="38907">0</cx:pt>
          <cx:pt idx="38908">1</cx:pt>
          <cx:pt idx="38909">0</cx:pt>
          <cx:pt idx="38910">1</cx:pt>
          <cx:pt idx="38911">1</cx:pt>
          <cx:pt idx="38912">1</cx:pt>
          <cx:pt idx="38913">0</cx:pt>
          <cx:pt idx="38914">0</cx:pt>
          <cx:pt idx="38915">0</cx:pt>
          <cx:pt idx="38916">0</cx:pt>
          <cx:pt idx="38917">0</cx:pt>
          <cx:pt idx="38918">0</cx:pt>
          <cx:pt idx="38919">0</cx:pt>
          <cx:pt idx="38920">1</cx:pt>
          <cx:pt idx="38921">0</cx:pt>
          <cx:pt idx="38922">1</cx:pt>
          <cx:pt idx="38923">0</cx:pt>
          <cx:pt idx="38924">1</cx:pt>
          <cx:pt idx="38925">0</cx:pt>
          <cx:pt idx="38926">0</cx:pt>
          <cx:pt idx="38927">1</cx:pt>
          <cx:pt idx="38928">0</cx:pt>
          <cx:pt idx="38929">0</cx:pt>
          <cx:pt idx="38930">0</cx:pt>
          <cx:pt idx="38931">0</cx:pt>
          <cx:pt idx="38932">0</cx:pt>
          <cx:pt idx="38933">0</cx:pt>
          <cx:pt idx="38934">1</cx:pt>
          <cx:pt idx="38935">1</cx:pt>
          <cx:pt idx="38936">0</cx:pt>
          <cx:pt idx="38937">1</cx:pt>
          <cx:pt idx="38938">0</cx:pt>
          <cx:pt idx="38939">0</cx:pt>
          <cx:pt idx="38940">1</cx:pt>
          <cx:pt idx="38941">0</cx:pt>
          <cx:pt idx="38942">1</cx:pt>
          <cx:pt idx="38943">0</cx:pt>
          <cx:pt idx="38944">0</cx:pt>
          <cx:pt idx="38945">1</cx:pt>
          <cx:pt idx="38946">0</cx:pt>
          <cx:pt idx="38947">0</cx:pt>
          <cx:pt idx="38948">1</cx:pt>
          <cx:pt idx="38949">1</cx:pt>
          <cx:pt idx="38950">0</cx:pt>
          <cx:pt idx="38951">0</cx:pt>
          <cx:pt idx="38952">0</cx:pt>
          <cx:pt idx="38953">0</cx:pt>
          <cx:pt idx="38954">1</cx:pt>
          <cx:pt idx="38955">0</cx:pt>
          <cx:pt idx="38956">0</cx:pt>
          <cx:pt idx="38957">0</cx:pt>
          <cx:pt idx="38958">0</cx:pt>
          <cx:pt idx="38959">0</cx:pt>
          <cx:pt idx="38960">0</cx:pt>
          <cx:pt idx="38961">0</cx:pt>
          <cx:pt idx="38962">0</cx:pt>
          <cx:pt idx="38963">1</cx:pt>
          <cx:pt idx="38964">0</cx:pt>
          <cx:pt idx="38965">0</cx:pt>
          <cx:pt idx="38966">1</cx:pt>
          <cx:pt idx="38967">0</cx:pt>
          <cx:pt idx="38968">0</cx:pt>
          <cx:pt idx="38969">0</cx:pt>
          <cx:pt idx="38970">0</cx:pt>
          <cx:pt idx="38971">0</cx:pt>
          <cx:pt idx="38972">1</cx:pt>
          <cx:pt idx="38973">0</cx:pt>
          <cx:pt idx="38974">0</cx:pt>
          <cx:pt idx="38975">0</cx:pt>
          <cx:pt idx="38976">1</cx:pt>
          <cx:pt idx="38977">0</cx:pt>
          <cx:pt idx="38978">1</cx:pt>
          <cx:pt idx="38979">1</cx:pt>
          <cx:pt idx="38980">0</cx:pt>
          <cx:pt idx="38981">0</cx:pt>
          <cx:pt idx="38982">0</cx:pt>
          <cx:pt idx="38983">0</cx:pt>
          <cx:pt idx="38984">0</cx:pt>
          <cx:pt idx="38985">1</cx:pt>
          <cx:pt idx="38986">1</cx:pt>
          <cx:pt idx="38987">0</cx:pt>
          <cx:pt idx="38988">1</cx:pt>
          <cx:pt idx="38989">1</cx:pt>
          <cx:pt idx="38990">0</cx:pt>
          <cx:pt idx="38991">0</cx:pt>
          <cx:pt idx="38992">0</cx:pt>
          <cx:pt idx="38993">1</cx:pt>
          <cx:pt idx="38994">0</cx:pt>
          <cx:pt idx="38995">0</cx:pt>
          <cx:pt idx="38996">1</cx:pt>
          <cx:pt idx="38997">1</cx:pt>
          <cx:pt idx="38998">0</cx:pt>
          <cx:pt idx="38999">0</cx:pt>
          <cx:pt idx="39000">0</cx:pt>
          <cx:pt idx="39001">0</cx:pt>
          <cx:pt idx="39002">0</cx:pt>
          <cx:pt idx="39003">0</cx:pt>
          <cx:pt idx="39004">0</cx:pt>
          <cx:pt idx="39005">1</cx:pt>
          <cx:pt idx="39006">1</cx:pt>
          <cx:pt idx="39007">1</cx:pt>
          <cx:pt idx="39008">0</cx:pt>
          <cx:pt idx="39009">0</cx:pt>
          <cx:pt idx="39010">1</cx:pt>
          <cx:pt idx="39011">0</cx:pt>
          <cx:pt idx="39012">0</cx:pt>
          <cx:pt idx="39013">0</cx:pt>
          <cx:pt idx="39014">0</cx:pt>
          <cx:pt idx="39015">0</cx:pt>
          <cx:pt idx="39016">0</cx:pt>
          <cx:pt idx="39017">1</cx:pt>
          <cx:pt idx="39018">0</cx:pt>
          <cx:pt idx="39019">1</cx:pt>
          <cx:pt idx="39020">1</cx:pt>
          <cx:pt idx="39021">0</cx:pt>
          <cx:pt idx="39022">0</cx:pt>
          <cx:pt idx="39023">1</cx:pt>
          <cx:pt idx="39024">0</cx:pt>
          <cx:pt idx="39025">1</cx:pt>
          <cx:pt idx="39026">1</cx:pt>
          <cx:pt idx="39027">1</cx:pt>
          <cx:pt idx="39028">0</cx:pt>
          <cx:pt idx="39029">1</cx:pt>
          <cx:pt idx="39030">0</cx:pt>
          <cx:pt idx="39031">1</cx:pt>
          <cx:pt idx="39032">0</cx:pt>
          <cx:pt idx="39033">1</cx:pt>
          <cx:pt idx="39034">0</cx:pt>
          <cx:pt idx="39035">1</cx:pt>
          <cx:pt idx="39036">1</cx:pt>
          <cx:pt idx="39037">0</cx:pt>
          <cx:pt idx="39038">0</cx:pt>
          <cx:pt idx="39039">0</cx:pt>
          <cx:pt idx="39040">0</cx:pt>
          <cx:pt idx="39041">0</cx:pt>
          <cx:pt idx="39042">0</cx:pt>
          <cx:pt idx="39043">1</cx:pt>
          <cx:pt idx="39044">0</cx:pt>
          <cx:pt idx="39045">1</cx:pt>
          <cx:pt idx="39046">0</cx:pt>
          <cx:pt idx="39047">1</cx:pt>
          <cx:pt idx="39048">1</cx:pt>
          <cx:pt idx="39049">0</cx:pt>
          <cx:pt idx="39050">1</cx:pt>
          <cx:pt idx="39051">1</cx:pt>
          <cx:pt idx="39052">1</cx:pt>
          <cx:pt idx="39053">1</cx:pt>
          <cx:pt idx="39054">0</cx:pt>
          <cx:pt idx="39055">0</cx:pt>
          <cx:pt idx="39056">1</cx:pt>
          <cx:pt idx="39057">0</cx:pt>
          <cx:pt idx="39058">0</cx:pt>
          <cx:pt idx="39059">0</cx:pt>
          <cx:pt idx="39060">1</cx:pt>
          <cx:pt idx="39061">0</cx:pt>
          <cx:pt idx="39062">0</cx:pt>
          <cx:pt idx="39063">1</cx:pt>
          <cx:pt idx="39064">0</cx:pt>
          <cx:pt idx="39065">0</cx:pt>
          <cx:pt idx="39066">1</cx:pt>
          <cx:pt idx="39067">1</cx:pt>
          <cx:pt idx="39068">0</cx:pt>
          <cx:pt idx="39069">1</cx:pt>
          <cx:pt idx="39070">0</cx:pt>
          <cx:pt idx="39071">1</cx:pt>
          <cx:pt idx="39072">0</cx:pt>
          <cx:pt idx="39073">1</cx:pt>
          <cx:pt idx="39074">0</cx:pt>
          <cx:pt idx="39075">0</cx:pt>
          <cx:pt idx="39076">0</cx:pt>
          <cx:pt idx="39077">0</cx:pt>
          <cx:pt idx="39078">1</cx:pt>
          <cx:pt idx="39079">0</cx:pt>
          <cx:pt idx="39080">0</cx:pt>
          <cx:pt idx="39081">1</cx:pt>
          <cx:pt idx="39082">0</cx:pt>
          <cx:pt idx="39083">0</cx:pt>
          <cx:pt idx="39084">1</cx:pt>
          <cx:pt idx="39085">1</cx:pt>
          <cx:pt idx="39086">1</cx:pt>
          <cx:pt idx="39087">1</cx:pt>
          <cx:pt idx="39088">0</cx:pt>
          <cx:pt idx="39089">0</cx:pt>
          <cx:pt idx="39090">0</cx:pt>
          <cx:pt idx="39091">0</cx:pt>
          <cx:pt idx="39092">0</cx:pt>
          <cx:pt idx="39093">1</cx:pt>
          <cx:pt idx="39094">1</cx:pt>
          <cx:pt idx="39095">0</cx:pt>
          <cx:pt idx="39096">0</cx:pt>
          <cx:pt idx="39097">0</cx:pt>
          <cx:pt idx="39098">0</cx:pt>
          <cx:pt idx="39099">0</cx:pt>
          <cx:pt idx="39100">1</cx:pt>
          <cx:pt idx="39101">1</cx:pt>
          <cx:pt idx="39102">1</cx:pt>
          <cx:pt idx="39103">1</cx:pt>
          <cx:pt idx="39104">0</cx:pt>
          <cx:pt idx="39105">0</cx:pt>
          <cx:pt idx="39106">1</cx:pt>
          <cx:pt idx="39107">1</cx:pt>
          <cx:pt idx="39108">0</cx:pt>
          <cx:pt idx="39109">1</cx:pt>
          <cx:pt idx="39110">0</cx:pt>
          <cx:pt idx="39111">0</cx:pt>
          <cx:pt idx="39112">1</cx:pt>
          <cx:pt idx="39113">0</cx:pt>
          <cx:pt idx="39114">1</cx:pt>
          <cx:pt idx="39115">0</cx:pt>
          <cx:pt idx="39116">1</cx:pt>
          <cx:pt idx="39117">1</cx:pt>
          <cx:pt idx="39118">1</cx:pt>
          <cx:pt idx="39119">0</cx:pt>
          <cx:pt idx="39120">1</cx:pt>
          <cx:pt idx="39121">0</cx:pt>
          <cx:pt idx="39122">1</cx:pt>
          <cx:pt idx="39123">0</cx:pt>
          <cx:pt idx="39124">0</cx:pt>
          <cx:pt idx="39125">1</cx:pt>
          <cx:pt idx="39126">0</cx:pt>
          <cx:pt idx="39127">1</cx:pt>
          <cx:pt idx="39128">0</cx:pt>
          <cx:pt idx="39129">0</cx:pt>
          <cx:pt idx="39130">1</cx:pt>
          <cx:pt idx="39131">0</cx:pt>
          <cx:pt idx="39132">0</cx:pt>
          <cx:pt idx="39133">0</cx:pt>
          <cx:pt idx="39134">1</cx:pt>
          <cx:pt idx="39135">0</cx:pt>
          <cx:pt idx="39136">0</cx:pt>
          <cx:pt idx="39137">0</cx:pt>
          <cx:pt idx="39138">0</cx:pt>
          <cx:pt idx="39139">1</cx:pt>
          <cx:pt idx="39140">1</cx:pt>
          <cx:pt idx="39141">0</cx:pt>
          <cx:pt idx="39142">0</cx:pt>
          <cx:pt idx="39143">1</cx:pt>
          <cx:pt idx="39144">0</cx:pt>
          <cx:pt idx="39145">1</cx:pt>
          <cx:pt idx="39146">1</cx:pt>
          <cx:pt idx="39147">1</cx:pt>
          <cx:pt idx="39148">1</cx:pt>
          <cx:pt idx="39149">1</cx:pt>
          <cx:pt idx="39150">1</cx:pt>
          <cx:pt idx="39151">1</cx:pt>
          <cx:pt idx="39152">0</cx:pt>
          <cx:pt idx="39153">1</cx:pt>
          <cx:pt idx="39154">1</cx:pt>
          <cx:pt idx="39155">1</cx:pt>
          <cx:pt idx="39156">0</cx:pt>
          <cx:pt idx="39157">1</cx:pt>
          <cx:pt idx="39158">0</cx:pt>
          <cx:pt idx="39159">0</cx:pt>
          <cx:pt idx="39160">0</cx:pt>
          <cx:pt idx="39161">0</cx:pt>
          <cx:pt idx="39162">1</cx:pt>
          <cx:pt idx="39163">0</cx:pt>
          <cx:pt idx="39164">0</cx:pt>
          <cx:pt idx="39165">1</cx:pt>
          <cx:pt idx="39166">0</cx:pt>
          <cx:pt idx="39167">1</cx:pt>
          <cx:pt idx="39168">1</cx:pt>
          <cx:pt idx="39169">0</cx:pt>
          <cx:pt idx="39170">1</cx:pt>
          <cx:pt idx="39171">0</cx:pt>
          <cx:pt idx="39172">0</cx:pt>
          <cx:pt idx="39173">1</cx:pt>
          <cx:pt idx="39174">1</cx:pt>
          <cx:pt idx="39175">0</cx:pt>
          <cx:pt idx="39176">0</cx:pt>
          <cx:pt idx="39177">1</cx:pt>
          <cx:pt idx="39178">0</cx:pt>
          <cx:pt idx="39179">1</cx:pt>
          <cx:pt idx="39180">1</cx:pt>
          <cx:pt idx="39181">1</cx:pt>
          <cx:pt idx="39182">1</cx:pt>
          <cx:pt idx="39183">0</cx:pt>
          <cx:pt idx="39184">0</cx:pt>
          <cx:pt idx="39185">0</cx:pt>
          <cx:pt idx="39186">1</cx:pt>
          <cx:pt idx="39187">1</cx:pt>
          <cx:pt idx="39188">1</cx:pt>
          <cx:pt idx="39189">0</cx:pt>
          <cx:pt idx="39190">0</cx:pt>
          <cx:pt idx="39191">0</cx:pt>
          <cx:pt idx="39192">1</cx:pt>
          <cx:pt idx="39193">1</cx:pt>
          <cx:pt idx="39194">0</cx:pt>
          <cx:pt idx="39195">0</cx:pt>
          <cx:pt idx="39196">0</cx:pt>
          <cx:pt idx="39197">1</cx:pt>
          <cx:pt idx="39198">0</cx:pt>
          <cx:pt idx="39199">0</cx:pt>
          <cx:pt idx="39200">0</cx:pt>
          <cx:pt idx="39201">0</cx:pt>
          <cx:pt idx="39202">0</cx:pt>
          <cx:pt idx="39203">1</cx:pt>
          <cx:pt idx="39204">1</cx:pt>
          <cx:pt idx="39205">1</cx:pt>
          <cx:pt idx="39206">1</cx:pt>
          <cx:pt idx="39207">1</cx:pt>
          <cx:pt idx="39208">0</cx:pt>
          <cx:pt idx="39209">0</cx:pt>
          <cx:pt idx="39210">0</cx:pt>
          <cx:pt idx="39211">0</cx:pt>
          <cx:pt idx="39212">0</cx:pt>
          <cx:pt idx="39213">1</cx:pt>
          <cx:pt idx="39214">1</cx:pt>
          <cx:pt idx="39215">0</cx:pt>
          <cx:pt idx="39216">1</cx:pt>
          <cx:pt idx="39217">1</cx:pt>
          <cx:pt idx="39218">1</cx:pt>
          <cx:pt idx="39219">1</cx:pt>
          <cx:pt idx="39220">0</cx:pt>
          <cx:pt idx="39221">1</cx:pt>
          <cx:pt idx="39222">1</cx:pt>
          <cx:pt idx="39223">0</cx:pt>
          <cx:pt idx="39224">1</cx:pt>
          <cx:pt idx="39225">1</cx:pt>
          <cx:pt idx="39226">0</cx:pt>
          <cx:pt idx="39227">1</cx:pt>
          <cx:pt idx="39228">1</cx:pt>
          <cx:pt idx="39229">0</cx:pt>
          <cx:pt idx="39230">0</cx:pt>
          <cx:pt idx="39231">0</cx:pt>
          <cx:pt idx="39232">1</cx:pt>
          <cx:pt idx="39233">1</cx:pt>
          <cx:pt idx="39234">0</cx:pt>
          <cx:pt idx="39235">1</cx:pt>
          <cx:pt idx="39236">1</cx:pt>
          <cx:pt idx="39237">0</cx:pt>
          <cx:pt idx="39238">0</cx:pt>
          <cx:pt idx="39239">0</cx:pt>
          <cx:pt idx="39240">1</cx:pt>
          <cx:pt idx="39241">1</cx:pt>
          <cx:pt idx="39242">0</cx:pt>
          <cx:pt idx="39243">1</cx:pt>
          <cx:pt idx="39244">1</cx:pt>
          <cx:pt idx="39245">0</cx:pt>
          <cx:pt idx="39246">0</cx:pt>
          <cx:pt idx="39247">1</cx:pt>
          <cx:pt idx="39248">0</cx:pt>
          <cx:pt idx="39249">1</cx:pt>
          <cx:pt idx="39250">0</cx:pt>
          <cx:pt idx="39251">0</cx:pt>
          <cx:pt idx="39252">1</cx:pt>
          <cx:pt idx="39253">0</cx:pt>
          <cx:pt idx="39254">0</cx:pt>
          <cx:pt idx="39255">0</cx:pt>
          <cx:pt idx="39256">0</cx:pt>
          <cx:pt idx="39257">0</cx:pt>
          <cx:pt idx="39258">0</cx:pt>
          <cx:pt idx="39259">1</cx:pt>
          <cx:pt idx="39260">0</cx:pt>
          <cx:pt idx="39261">1</cx:pt>
          <cx:pt idx="39262">1</cx:pt>
          <cx:pt idx="39263">0</cx:pt>
          <cx:pt idx="39264">1</cx:pt>
          <cx:pt idx="39265">0</cx:pt>
          <cx:pt idx="39266">0</cx:pt>
          <cx:pt idx="39267">0</cx:pt>
          <cx:pt idx="39268">1</cx:pt>
          <cx:pt idx="39269">1</cx:pt>
          <cx:pt idx="39270">1</cx:pt>
          <cx:pt idx="39271">0</cx:pt>
          <cx:pt idx="39272">0</cx:pt>
          <cx:pt idx="39273">0</cx:pt>
          <cx:pt idx="39274">0</cx:pt>
          <cx:pt idx="39275">1</cx:pt>
          <cx:pt idx="39276">0</cx:pt>
          <cx:pt idx="39277">1</cx:pt>
          <cx:pt idx="39278">0</cx:pt>
          <cx:pt idx="39279">1</cx:pt>
          <cx:pt idx="39280">1</cx:pt>
          <cx:pt idx="39281">1</cx:pt>
          <cx:pt idx="39282">1</cx:pt>
          <cx:pt idx="39283">0</cx:pt>
          <cx:pt idx="39284">0</cx:pt>
          <cx:pt idx="39285">1</cx:pt>
          <cx:pt idx="39286">1</cx:pt>
          <cx:pt idx="39287">0</cx:pt>
          <cx:pt idx="39288">0</cx:pt>
          <cx:pt idx="39289">1</cx:pt>
          <cx:pt idx="39290">0</cx:pt>
          <cx:pt idx="39291">0</cx:pt>
          <cx:pt idx="39292">1</cx:pt>
          <cx:pt idx="39293">1</cx:pt>
          <cx:pt idx="39294">1</cx:pt>
          <cx:pt idx="39295">1</cx:pt>
          <cx:pt idx="39296">1</cx:pt>
          <cx:pt idx="39297">1</cx:pt>
          <cx:pt idx="39298">1</cx:pt>
          <cx:pt idx="39299">0</cx:pt>
          <cx:pt idx="39300">0</cx:pt>
          <cx:pt idx="39301">1</cx:pt>
          <cx:pt idx="39302">1</cx:pt>
          <cx:pt idx="39303">1</cx:pt>
          <cx:pt idx="39304">0</cx:pt>
          <cx:pt idx="39305">0</cx:pt>
          <cx:pt idx="39306">0</cx:pt>
          <cx:pt idx="39307">0</cx:pt>
          <cx:pt idx="39308">0</cx:pt>
          <cx:pt idx="39309">0</cx:pt>
          <cx:pt idx="39310">0</cx:pt>
          <cx:pt idx="39311">1</cx:pt>
          <cx:pt idx="39312">1</cx:pt>
          <cx:pt idx="39313">0</cx:pt>
          <cx:pt idx="39314">0</cx:pt>
          <cx:pt idx="39315">1</cx:pt>
          <cx:pt idx="39316">1</cx:pt>
          <cx:pt idx="39317">1</cx:pt>
          <cx:pt idx="39318">0</cx:pt>
          <cx:pt idx="39319">0</cx:pt>
          <cx:pt idx="39320">0</cx:pt>
          <cx:pt idx="39321">1</cx:pt>
          <cx:pt idx="39322">0</cx:pt>
          <cx:pt idx="39323">1</cx:pt>
          <cx:pt idx="39324">1</cx:pt>
          <cx:pt idx="39325">1</cx:pt>
          <cx:pt idx="39326">0</cx:pt>
          <cx:pt idx="39327">1</cx:pt>
          <cx:pt idx="39328">0</cx:pt>
          <cx:pt idx="39329">0</cx:pt>
          <cx:pt idx="39330">0</cx:pt>
          <cx:pt idx="39331">0</cx:pt>
          <cx:pt idx="39332">1</cx:pt>
          <cx:pt idx="39333">1</cx:pt>
          <cx:pt idx="39334">1</cx:pt>
          <cx:pt idx="39335">0</cx:pt>
          <cx:pt idx="39336">0</cx:pt>
          <cx:pt idx="39337">1</cx:pt>
          <cx:pt idx="39338">0</cx:pt>
          <cx:pt idx="39339">1</cx:pt>
          <cx:pt idx="39340">0</cx:pt>
          <cx:pt idx="39341">0</cx:pt>
          <cx:pt idx="39342">1</cx:pt>
          <cx:pt idx="39343">1</cx:pt>
          <cx:pt idx="39344">1</cx:pt>
          <cx:pt idx="39345">1</cx:pt>
          <cx:pt idx="39346">1</cx:pt>
          <cx:pt idx="39347">0</cx:pt>
          <cx:pt idx="39348">0</cx:pt>
          <cx:pt idx="39349">1</cx:pt>
          <cx:pt idx="39350">1</cx:pt>
          <cx:pt idx="39351">1</cx:pt>
          <cx:pt idx="39352">1</cx:pt>
          <cx:pt idx="39353">0</cx:pt>
          <cx:pt idx="39354">1</cx:pt>
          <cx:pt idx="39355">0</cx:pt>
          <cx:pt idx="39356">0</cx:pt>
          <cx:pt idx="39357">0</cx:pt>
          <cx:pt idx="39358">0</cx:pt>
          <cx:pt idx="39359">1</cx:pt>
          <cx:pt idx="39360">0</cx:pt>
          <cx:pt idx="39361">1</cx:pt>
          <cx:pt idx="39362">0</cx:pt>
          <cx:pt idx="39363">1</cx:pt>
          <cx:pt idx="39364">1</cx:pt>
          <cx:pt idx="39365">1</cx:pt>
          <cx:pt idx="39366">0</cx:pt>
          <cx:pt idx="39367">0</cx:pt>
          <cx:pt idx="39368">1</cx:pt>
          <cx:pt idx="39369">0</cx:pt>
          <cx:pt idx="39370">0</cx:pt>
          <cx:pt idx="39371">0</cx:pt>
          <cx:pt idx="39372">0</cx:pt>
          <cx:pt idx="39373">1</cx:pt>
          <cx:pt idx="39374">0</cx:pt>
          <cx:pt idx="39375">1</cx:pt>
          <cx:pt idx="39376">0</cx:pt>
          <cx:pt idx="39377">0</cx:pt>
          <cx:pt idx="39378">0</cx:pt>
          <cx:pt idx="39379">0</cx:pt>
          <cx:pt idx="39380">0</cx:pt>
          <cx:pt idx="39381">1</cx:pt>
          <cx:pt idx="39382">0</cx:pt>
          <cx:pt idx="39383">1</cx:pt>
          <cx:pt idx="39384">0</cx:pt>
          <cx:pt idx="39385">1</cx:pt>
          <cx:pt idx="39386">1</cx:pt>
          <cx:pt idx="39387">1</cx:pt>
          <cx:pt idx="39388">1</cx:pt>
          <cx:pt idx="39389">0</cx:pt>
          <cx:pt idx="39390">0</cx:pt>
          <cx:pt idx="39391">1</cx:pt>
          <cx:pt idx="39392">1</cx:pt>
          <cx:pt idx="39393">1</cx:pt>
          <cx:pt idx="39394">1</cx:pt>
          <cx:pt idx="39395">1</cx:pt>
          <cx:pt idx="39396">1</cx:pt>
          <cx:pt idx="39397">1</cx:pt>
          <cx:pt idx="39398">0</cx:pt>
          <cx:pt idx="39399">0</cx:pt>
          <cx:pt idx="39400">0</cx:pt>
          <cx:pt idx="39401">0</cx:pt>
          <cx:pt idx="39402">0</cx:pt>
          <cx:pt idx="39403">0</cx:pt>
          <cx:pt idx="39404">1</cx:pt>
          <cx:pt idx="39405">1</cx:pt>
          <cx:pt idx="39406">0</cx:pt>
          <cx:pt idx="39407">0</cx:pt>
          <cx:pt idx="39408">0</cx:pt>
          <cx:pt idx="39409">0</cx:pt>
          <cx:pt idx="39410">1</cx:pt>
          <cx:pt idx="39411">1</cx:pt>
          <cx:pt idx="39412">1</cx:pt>
          <cx:pt idx="39413">0</cx:pt>
          <cx:pt idx="39414">0</cx:pt>
          <cx:pt idx="39415">0</cx:pt>
          <cx:pt idx="39416">0</cx:pt>
          <cx:pt idx="39417">1</cx:pt>
          <cx:pt idx="39418">1</cx:pt>
          <cx:pt idx="39419">0</cx:pt>
          <cx:pt idx="39420">1</cx:pt>
          <cx:pt idx="39421">1</cx:pt>
          <cx:pt idx="39422">1</cx:pt>
          <cx:pt idx="39423">1</cx:pt>
          <cx:pt idx="39424">0</cx:pt>
          <cx:pt idx="39425">1</cx:pt>
          <cx:pt idx="39426">1</cx:pt>
          <cx:pt idx="39427">1</cx:pt>
          <cx:pt idx="39428">0</cx:pt>
          <cx:pt idx="39429">1</cx:pt>
          <cx:pt idx="39430">1</cx:pt>
          <cx:pt idx="39431">0</cx:pt>
          <cx:pt idx="39432">0</cx:pt>
          <cx:pt idx="39433">0</cx:pt>
          <cx:pt idx="39434">0</cx:pt>
          <cx:pt idx="39435">0</cx:pt>
          <cx:pt idx="39436">1</cx:pt>
          <cx:pt idx="39437">1</cx:pt>
          <cx:pt idx="39438">1</cx:pt>
          <cx:pt idx="39439">0</cx:pt>
          <cx:pt idx="39440">0</cx:pt>
          <cx:pt idx="39441">1</cx:pt>
          <cx:pt idx="39442">1</cx:pt>
          <cx:pt idx="39443">0</cx:pt>
          <cx:pt idx="39444">1</cx:pt>
          <cx:pt idx="39445">1</cx:pt>
          <cx:pt idx="39446">0</cx:pt>
          <cx:pt idx="39447">0</cx:pt>
          <cx:pt idx="39448">0</cx:pt>
          <cx:pt idx="39449">1</cx:pt>
          <cx:pt idx="39450">0</cx:pt>
          <cx:pt idx="39451">1</cx:pt>
          <cx:pt idx="39452">0</cx:pt>
          <cx:pt idx="39453">1</cx:pt>
          <cx:pt idx="39454">0</cx:pt>
          <cx:pt idx="39455">0</cx:pt>
          <cx:pt idx="39456">0</cx:pt>
          <cx:pt idx="39457">0</cx:pt>
          <cx:pt idx="39458">1</cx:pt>
          <cx:pt idx="39459">0</cx:pt>
          <cx:pt idx="39460">0</cx:pt>
          <cx:pt idx="39461">0</cx:pt>
          <cx:pt idx="39462">1</cx:pt>
          <cx:pt idx="39463">0</cx:pt>
          <cx:pt idx="39464">0</cx:pt>
          <cx:pt idx="39465">1</cx:pt>
          <cx:pt idx="39466">1</cx:pt>
          <cx:pt idx="39467">0</cx:pt>
          <cx:pt idx="39468">1</cx:pt>
          <cx:pt idx="39469">1</cx:pt>
          <cx:pt idx="39470">0</cx:pt>
          <cx:pt idx="39471">0</cx:pt>
          <cx:pt idx="39472">0</cx:pt>
          <cx:pt idx="39473">0</cx:pt>
          <cx:pt idx="39474">0</cx:pt>
          <cx:pt idx="39475">0</cx:pt>
          <cx:pt idx="39476">0</cx:pt>
          <cx:pt idx="39477">0</cx:pt>
          <cx:pt idx="39478">0</cx:pt>
          <cx:pt idx="39479">1</cx:pt>
          <cx:pt idx="39480">1</cx:pt>
          <cx:pt idx="39481">1</cx:pt>
          <cx:pt idx="39482">1</cx:pt>
          <cx:pt idx="39483">1</cx:pt>
          <cx:pt idx="39484">0</cx:pt>
          <cx:pt idx="39485">0</cx:pt>
          <cx:pt idx="39486">0</cx:pt>
          <cx:pt idx="39487">1</cx:pt>
          <cx:pt idx="39488">0</cx:pt>
          <cx:pt idx="39489">1</cx:pt>
          <cx:pt idx="39490">1</cx:pt>
          <cx:pt idx="39491">1</cx:pt>
          <cx:pt idx="39492">1</cx:pt>
          <cx:pt idx="39493">0</cx:pt>
          <cx:pt idx="39494">0</cx:pt>
          <cx:pt idx="39495">1</cx:pt>
          <cx:pt idx="39496">1</cx:pt>
          <cx:pt idx="39497">1</cx:pt>
          <cx:pt idx="39498">1</cx:pt>
          <cx:pt idx="39499">0</cx:pt>
          <cx:pt idx="39500">1</cx:pt>
          <cx:pt idx="39501">1</cx:pt>
          <cx:pt idx="39502">0</cx:pt>
          <cx:pt idx="39503">0</cx:pt>
          <cx:pt idx="39504">1</cx:pt>
          <cx:pt idx="39505">0</cx:pt>
          <cx:pt idx="39506">0</cx:pt>
          <cx:pt idx="39507">0</cx:pt>
          <cx:pt idx="39508">1</cx:pt>
          <cx:pt idx="39509">0</cx:pt>
          <cx:pt idx="39510">0</cx:pt>
          <cx:pt idx="39511">1</cx:pt>
          <cx:pt idx="39512">0</cx:pt>
          <cx:pt idx="39513">1</cx:pt>
          <cx:pt idx="39514">1</cx:pt>
          <cx:pt idx="39515">1</cx:pt>
          <cx:pt idx="39516">0</cx:pt>
          <cx:pt idx="39517">0</cx:pt>
          <cx:pt idx="39518">1</cx:pt>
          <cx:pt idx="39519">1</cx:pt>
          <cx:pt idx="39520">0</cx:pt>
          <cx:pt idx="39521">0</cx:pt>
          <cx:pt idx="39522">1</cx:pt>
          <cx:pt idx="39523">1</cx:pt>
          <cx:pt idx="39524">1</cx:pt>
          <cx:pt idx="39525">1</cx:pt>
          <cx:pt idx="39526">1</cx:pt>
          <cx:pt idx="39527">0</cx:pt>
          <cx:pt idx="39528">1</cx:pt>
          <cx:pt idx="39529">1</cx:pt>
          <cx:pt idx="39530">0</cx:pt>
          <cx:pt idx="39531">1</cx:pt>
          <cx:pt idx="39532">0</cx:pt>
          <cx:pt idx="39533">0</cx:pt>
          <cx:pt idx="39534">1</cx:pt>
          <cx:pt idx="39535">1</cx:pt>
          <cx:pt idx="39536">0</cx:pt>
          <cx:pt idx="39537">0</cx:pt>
          <cx:pt idx="39538">1</cx:pt>
          <cx:pt idx="39539">0</cx:pt>
          <cx:pt idx="39540">0</cx:pt>
          <cx:pt idx="39541">0</cx:pt>
          <cx:pt idx="39542">1</cx:pt>
          <cx:pt idx="39543">1</cx:pt>
          <cx:pt idx="39544">0</cx:pt>
          <cx:pt idx="39545">1</cx:pt>
          <cx:pt idx="39546">1</cx:pt>
          <cx:pt idx="39547">1</cx:pt>
          <cx:pt idx="39548">0</cx:pt>
          <cx:pt idx="39549">0</cx:pt>
          <cx:pt idx="39550">0</cx:pt>
          <cx:pt idx="39551">1</cx:pt>
          <cx:pt idx="39552">0</cx:pt>
          <cx:pt idx="39553">0</cx:pt>
          <cx:pt idx="39554">0</cx:pt>
          <cx:pt idx="39555">0</cx:pt>
          <cx:pt idx="39556">0</cx:pt>
          <cx:pt idx="39557">0</cx:pt>
          <cx:pt idx="39558">0</cx:pt>
          <cx:pt idx="39559">0</cx:pt>
          <cx:pt idx="39560">0</cx:pt>
          <cx:pt idx="39561">1</cx:pt>
          <cx:pt idx="39562">0</cx:pt>
          <cx:pt idx="39563">1</cx:pt>
          <cx:pt idx="39564">0</cx:pt>
          <cx:pt idx="39565">0</cx:pt>
          <cx:pt idx="39566">0</cx:pt>
          <cx:pt idx="39567">0</cx:pt>
          <cx:pt idx="39568">0</cx:pt>
          <cx:pt idx="39569">0</cx:pt>
          <cx:pt idx="39570">0</cx:pt>
          <cx:pt idx="39571">1</cx:pt>
          <cx:pt idx="39572">1</cx:pt>
          <cx:pt idx="39573">1</cx:pt>
          <cx:pt idx="39574">1</cx:pt>
          <cx:pt idx="39575">0</cx:pt>
          <cx:pt idx="39576">0</cx:pt>
          <cx:pt idx="39577">0</cx:pt>
          <cx:pt idx="39578">1</cx:pt>
          <cx:pt idx="39579">1</cx:pt>
          <cx:pt idx="39580">1</cx:pt>
          <cx:pt idx="39581">1</cx:pt>
          <cx:pt idx="39582">0</cx:pt>
          <cx:pt idx="39583">0</cx:pt>
          <cx:pt idx="39584">0</cx:pt>
          <cx:pt idx="39585">0</cx:pt>
          <cx:pt idx="39586">1</cx:pt>
          <cx:pt idx="39587">1</cx:pt>
          <cx:pt idx="39588">1</cx:pt>
          <cx:pt idx="39589">0</cx:pt>
          <cx:pt idx="39590">1</cx:pt>
          <cx:pt idx="39591">1</cx:pt>
          <cx:pt idx="39592">0</cx:pt>
          <cx:pt idx="39593">1</cx:pt>
          <cx:pt idx="39594">1</cx:pt>
          <cx:pt idx="39595">0</cx:pt>
          <cx:pt idx="39596">0</cx:pt>
          <cx:pt idx="39597">1</cx:pt>
          <cx:pt idx="39598">1</cx:pt>
          <cx:pt idx="39599">1</cx:pt>
          <cx:pt idx="39600">0</cx:pt>
          <cx:pt idx="39601">1</cx:pt>
          <cx:pt idx="39602">0</cx:pt>
          <cx:pt idx="39603">0</cx:pt>
          <cx:pt idx="39604">0</cx:pt>
          <cx:pt idx="39605">1</cx:pt>
          <cx:pt idx="39606">0</cx:pt>
          <cx:pt idx="39607">1</cx:pt>
          <cx:pt idx="39608">1</cx:pt>
          <cx:pt idx="39609">0</cx:pt>
          <cx:pt idx="39610">1</cx:pt>
          <cx:pt idx="39611">1</cx:pt>
          <cx:pt idx="39612">1</cx:pt>
          <cx:pt idx="39613">0</cx:pt>
          <cx:pt idx="39614">0</cx:pt>
          <cx:pt idx="39615">0</cx:pt>
          <cx:pt idx="39616">0</cx:pt>
          <cx:pt idx="39617">0</cx:pt>
          <cx:pt idx="39618">1</cx:pt>
          <cx:pt idx="39619">1</cx:pt>
          <cx:pt idx="39620">0</cx:pt>
          <cx:pt idx="39621">1</cx:pt>
          <cx:pt idx="39622">1</cx:pt>
          <cx:pt idx="39623">1</cx:pt>
          <cx:pt idx="39624">1</cx:pt>
          <cx:pt idx="39625">0</cx:pt>
          <cx:pt idx="39626">0</cx:pt>
          <cx:pt idx="39627">0</cx:pt>
          <cx:pt idx="39628">1</cx:pt>
          <cx:pt idx="39629">1</cx:pt>
          <cx:pt idx="39630">0</cx:pt>
          <cx:pt idx="39631">1</cx:pt>
          <cx:pt idx="39632">1</cx:pt>
          <cx:pt idx="39633">0</cx:pt>
          <cx:pt idx="39634">0</cx:pt>
          <cx:pt idx="39635">0</cx:pt>
          <cx:pt idx="39636">0</cx:pt>
          <cx:pt idx="39637">1</cx:pt>
          <cx:pt idx="39638">0</cx:pt>
          <cx:pt idx="39639">0</cx:pt>
          <cx:pt idx="39640">1</cx:pt>
          <cx:pt idx="39641">1</cx:pt>
          <cx:pt idx="39642">1</cx:pt>
          <cx:pt idx="39643">0</cx:pt>
          <cx:pt idx="39644">0</cx:pt>
          <cx:pt idx="39645">1</cx:pt>
          <cx:pt idx="39646">0</cx:pt>
          <cx:pt idx="39647">0</cx:pt>
          <cx:pt idx="39648">1</cx:pt>
          <cx:pt idx="39649">0</cx:pt>
          <cx:pt idx="39650">1</cx:pt>
          <cx:pt idx="39651">0</cx:pt>
          <cx:pt idx="39652">0</cx:pt>
          <cx:pt idx="39653">0</cx:pt>
          <cx:pt idx="39654">1</cx:pt>
          <cx:pt idx="39655">1</cx:pt>
          <cx:pt idx="39656">0</cx:pt>
          <cx:pt idx="39657">1</cx:pt>
          <cx:pt idx="39658">0</cx:pt>
          <cx:pt idx="39659">0</cx:pt>
          <cx:pt idx="39660">0</cx:pt>
          <cx:pt idx="39661">0</cx:pt>
          <cx:pt idx="39662">0</cx:pt>
          <cx:pt idx="39663">1</cx:pt>
          <cx:pt idx="39664">0</cx:pt>
          <cx:pt idx="39665">0</cx:pt>
          <cx:pt idx="39666">0</cx:pt>
          <cx:pt idx="39667">0</cx:pt>
          <cx:pt idx="39668">0</cx:pt>
          <cx:pt idx="39669">0</cx:pt>
          <cx:pt idx="39670">0</cx:pt>
          <cx:pt idx="39671">1</cx:pt>
          <cx:pt idx="39672">1</cx:pt>
          <cx:pt idx="39673">0</cx:pt>
          <cx:pt idx="39674">0</cx:pt>
          <cx:pt idx="39675">0</cx:pt>
          <cx:pt idx="39676">0</cx:pt>
          <cx:pt idx="39677">0</cx:pt>
          <cx:pt idx="39678">0</cx:pt>
          <cx:pt idx="39679">0</cx:pt>
          <cx:pt idx="39680">1</cx:pt>
          <cx:pt idx="39681">1</cx:pt>
          <cx:pt idx="39682">1</cx:pt>
          <cx:pt idx="39683">0</cx:pt>
          <cx:pt idx="39684">1</cx:pt>
          <cx:pt idx="39685">0</cx:pt>
          <cx:pt idx="39686">0</cx:pt>
          <cx:pt idx="39687">0</cx:pt>
          <cx:pt idx="39688">0</cx:pt>
          <cx:pt idx="39689">1</cx:pt>
          <cx:pt idx="39690">1</cx:pt>
          <cx:pt idx="39691">0</cx:pt>
          <cx:pt idx="39692">1</cx:pt>
          <cx:pt idx="39693">0</cx:pt>
          <cx:pt idx="39694">1</cx:pt>
          <cx:pt idx="39695">0</cx:pt>
          <cx:pt idx="39696">1</cx:pt>
          <cx:pt idx="39697">1</cx:pt>
          <cx:pt idx="39698">0</cx:pt>
          <cx:pt idx="39699">1</cx:pt>
          <cx:pt idx="39700">0</cx:pt>
          <cx:pt idx="39701">0</cx:pt>
          <cx:pt idx="39702">1</cx:pt>
          <cx:pt idx="39703">1</cx:pt>
          <cx:pt idx="39704">0</cx:pt>
          <cx:pt idx="39705">0</cx:pt>
          <cx:pt idx="39706">1</cx:pt>
          <cx:pt idx="39707">0</cx:pt>
          <cx:pt idx="39708">0</cx:pt>
          <cx:pt idx="39709">0</cx:pt>
          <cx:pt idx="39710">0</cx:pt>
          <cx:pt idx="39711">0</cx:pt>
          <cx:pt idx="39712">0</cx:pt>
          <cx:pt idx="39713">0</cx:pt>
          <cx:pt idx="39714">0</cx:pt>
          <cx:pt idx="39715">1</cx:pt>
          <cx:pt idx="39716">0</cx:pt>
          <cx:pt idx="39717">0</cx:pt>
          <cx:pt idx="39718">1</cx:pt>
          <cx:pt idx="39719">0</cx:pt>
          <cx:pt idx="39720">1</cx:pt>
          <cx:pt idx="39721">1</cx:pt>
          <cx:pt idx="39722">0</cx:pt>
          <cx:pt idx="39723">1</cx:pt>
          <cx:pt idx="39724">0</cx:pt>
          <cx:pt idx="39725">0</cx:pt>
          <cx:pt idx="39726">0</cx:pt>
          <cx:pt idx="39727">0</cx:pt>
          <cx:pt idx="39728">1</cx:pt>
          <cx:pt idx="39729">0</cx:pt>
          <cx:pt idx="39730">1</cx:pt>
          <cx:pt idx="39731">0</cx:pt>
          <cx:pt idx="39732">0</cx:pt>
          <cx:pt idx="39733">0</cx:pt>
          <cx:pt idx="39734">0</cx:pt>
          <cx:pt idx="39735">0</cx:pt>
          <cx:pt idx="39736">1</cx:pt>
          <cx:pt idx="39737">0</cx:pt>
          <cx:pt idx="39738">1</cx:pt>
          <cx:pt idx="39739">1</cx:pt>
          <cx:pt idx="39740">0</cx:pt>
          <cx:pt idx="39741">0</cx:pt>
          <cx:pt idx="39742">0</cx:pt>
          <cx:pt idx="39743">0</cx:pt>
          <cx:pt idx="39744">1</cx:pt>
          <cx:pt idx="39745">1</cx:pt>
          <cx:pt idx="39746">0</cx:pt>
          <cx:pt idx="39747">0</cx:pt>
          <cx:pt idx="39748">0</cx:pt>
          <cx:pt idx="39749">1</cx:pt>
          <cx:pt idx="39750">1</cx:pt>
          <cx:pt idx="39751">0</cx:pt>
          <cx:pt idx="39752">0</cx:pt>
          <cx:pt idx="39753">0</cx:pt>
          <cx:pt idx="39754">1</cx:pt>
          <cx:pt idx="39755">1</cx:pt>
          <cx:pt idx="39756">1</cx:pt>
          <cx:pt idx="39757">0</cx:pt>
          <cx:pt idx="39758">0</cx:pt>
          <cx:pt idx="39759">0</cx:pt>
          <cx:pt idx="39760">0</cx:pt>
          <cx:pt idx="39761">0</cx:pt>
          <cx:pt idx="39762">0</cx:pt>
          <cx:pt idx="39763">1</cx:pt>
          <cx:pt idx="39764">1</cx:pt>
          <cx:pt idx="39765">0</cx:pt>
          <cx:pt idx="39766">1</cx:pt>
          <cx:pt idx="39767">0</cx:pt>
          <cx:pt idx="39768">0</cx:pt>
          <cx:pt idx="39769">1</cx:pt>
          <cx:pt idx="39770">0</cx:pt>
          <cx:pt idx="39771">0</cx:pt>
          <cx:pt idx="39772">1</cx:pt>
          <cx:pt idx="39773">0</cx:pt>
          <cx:pt idx="39774">1</cx:pt>
          <cx:pt idx="39775">1</cx:pt>
          <cx:pt idx="39776">0</cx:pt>
          <cx:pt idx="39777">0</cx:pt>
          <cx:pt idx="39778">1</cx:pt>
          <cx:pt idx="39779">0</cx:pt>
          <cx:pt idx="39780">0</cx:pt>
          <cx:pt idx="39781">1</cx:pt>
          <cx:pt idx="39782">0</cx:pt>
          <cx:pt idx="39783">1</cx:pt>
          <cx:pt idx="39784">1</cx:pt>
          <cx:pt idx="39785">0</cx:pt>
          <cx:pt idx="39786">1</cx:pt>
          <cx:pt idx="39787">0</cx:pt>
          <cx:pt idx="39788">1</cx:pt>
          <cx:pt idx="39789">0</cx:pt>
          <cx:pt idx="39790">0</cx:pt>
          <cx:pt idx="39791">0</cx:pt>
          <cx:pt idx="39792">0</cx:pt>
          <cx:pt idx="39793">0</cx:pt>
          <cx:pt idx="39794">0</cx:pt>
          <cx:pt idx="39795">0</cx:pt>
          <cx:pt idx="39796">0</cx:pt>
          <cx:pt idx="39797">1</cx:pt>
          <cx:pt idx="39798">0</cx:pt>
          <cx:pt idx="39799">1</cx:pt>
          <cx:pt idx="39800">1</cx:pt>
          <cx:pt idx="39801">0</cx:pt>
          <cx:pt idx="39802">1</cx:pt>
          <cx:pt idx="39803">1</cx:pt>
          <cx:pt idx="39804">0</cx:pt>
          <cx:pt idx="39805">0</cx:pt>
          <cx:pt idx="39806">0</cx:pt>
          <cx:pt idx="39807">0</cx:pt>
          <cx:pt idx="39808">0</cx:pt>
          <cx:pt idx="39809">1</cx:pt>
          <cx:pt idx="39810">0</cx:pt>
          <cx:pt idx="39811">1</cx:pt>
          <cx:pt idx="39812">0</cx:pt>
          <cx:pt idx="39813">1</cx:pt>
          <cx:pt idx="39814">1</cx:pt>
          <cx:pt idx="39815">0</cx:pt>
          <cx:pt idx="39816">0</cx:pt>
          <cx:pt idx="39817">0</cx:pt>
          <cx:pt idx="39818">0</cx:pt>
          <cx:pt idx="39819">0</cx:pt>
          <cx:pt idx="39820">1</cx:pt>
          <cx:pt idx="39821">1</cx:pt>
          <cx:pt idx="39822">0</cx:pt>
          <cx:pt idx="39823">1</cx:pt>
          <cx:pt idx="39824">0</cx:pt>
          <cx:pt idx="39825">1</cx:pt>
          <cx:pt idx="39826">0</cx:pt>
          <cx:pt idx="39827">0</cx:pt>
          <cx:pt idx="39828">1</cx:pt>
          <cx:pt idx="39829">1</cx:pt>
          <cx:pt idx="39830">0</cx:pt>
          <cx:pt idx="39831">1</cx:pt>
          <cx:pt idx="39832">1</cx:pt>
          <cx:pt idx="39833">0</cx:pt>
          <cx:pt idx="39834">0</cx:pt>
          <cx:pt idx="39835">0</cx:pt>
          <cx:pt idx="39836">0</cx:pt>
          <cx:pt idx="39837">0</cx:pt>
          <cx:pt idx="39838">1</cx:pt>
          <cx:pt idx="39839">1</cx:pt>
          <cx:pt idx="39840">0</cx:pt>
          <cx:pt idx="39841">0</cx:pt>
          <cx:pt idx="39842">0</cx:pt>
          <cx:pt idx="39843">1</cx:pt>
          <cx:pt idx="39844">1</cx:pt>
          <cx:pt idx="39845">1</cx:pt>
          <cx:pt idx="39846">0</cx:pt>
          <cx:pt idx="39847">1</cx:pt>
          <cx:pt idx="39848">0</cx:pt>
          <cx:pt idx="39849">0</cx:pt>
          <cx:pt idx="39850">0</cx:pt>
          <cx:pt idx="39851">0</cx:pt>
          <cx:pt idx="39852">0</cx:pt>
          <cx:pt idx="39853">0</cx:pt>
          <cx:pt idx="39854">1</cx:pt>
          <cx:pt idx="39855">0</cx:pt>
          <cx:pt idx="39856">1</cx:pt>
          <cx:pt idx="39857">0</cx:pt>
          <cx:pt idx="39858">0</cx:pt>
          <cx:pt idx="39859">1</cx:pt>
          <cx:pt idx="39860">0</cx:pt>
          <cx:pt idx="39861">1</cx:pt>
          <cx:pt idx="39862">0</cx:pt>
          <cx:pt idx="39863">1</cx:pt>
          <cx:pt idx="39864">1</cx:pt>
          <cx:pt idx="39865">1</cx:pt>
          <cx:pt idx="39866">1</cx:pt>
          <cx:pt idx="39867">1</cx:pt>
          <cx:pt idx="39868">1</cx:pt>
          <cx:pt idx="39869">1</cx:pt>
          <cx:pt idx="39870">0</cx:pt>
          <cx:pt idx="39871">0</cx:pt>
          <cx:pt idx="39872">1</cx:pt>
          <cx:pt idx="39873">0</cx:pt>
          <cx:pt idx="39874">1</cx:pt>
          <cx:pt idx="39875">0</cx:pt>
          <cx:pt idx="39876">0</cx:pt>
          <cx:pt idx="39877">0</cx:pt>
          <cx:pt idx="39878">1</cx:pt>
          <cx:pt idx="39879">0</cx:pt>
          <cx:pt idx="39880">0</cx:pt>
          <cx:pt idx="39881">1</cx:pt>
          <cx:pt idx="39882">1</cx:pt>
          <cx:pt idx="39883">0</cx:pt>
          <cx:pt idx="39884">0</cx:pt>
          <cx:pt idx="39885">1</cx:pt>
          <cx:pt idx="39886">0</cx:pt>
          <cx:pt idx="39887">1</cx:pt>
          <cx:pt idx="39888">1</cx:pt>
          <cx:pt idx="39889">0</cx:pt>
          <cx:pt idx="39890">0</cx:pt>
          <cx:pt idx="39891">0</cx:pt>
          <cx:pt idx="39892">0</cx:pt>
          <cx:pt idx="39893">1</cx:pt>
          <cx:pt idx="39894">0</cx:pt>
          <cx:pt idx="39895">0</cx:pt>
          <cx:pt idx="39896">0</cx:pt>
          <cx:pt idx="39897">1</cx:pt>
          <cx:pt idx="39898">0</cx:pt>
          <cx:pt idx="39899">1</cx:pt>
          <cx:pt idx="39900">1</cx:pt>
          <cx:pt idx="39901">0</cx:pt>
          <cx:pt idx="39902">1</cx:pt>
          <cx:pt idx="39903">0</cx:pt>
          <cx:pt idx="39904">1</cx:pt>
          <cx:pt idx="39905">0</cx:pt>
          <cx:pt idx="39906">0</cx:pt>
          <cx:pt idx="39907">0</cx:pt>
          <cx:pt idx="39908">0</cx:pt>
          <cx:pt idx="39909">1</cx:pt>
          <cx:pt idx="39910">0</cx:pt>
          <cx:pt idx="39911">1</cx:pt>
          <cx:pt idx="39912">1</cx:pt>
          <cx:pt idx="39913">0</cx:pt>
          <cx:pt idx="39914">0</cx:pt>
          <cx:pt idx="39915">0</cx:pt>
          <cx:pt idx="39916">0</cx:pt>
          <cx:pt idx="39917">1</cx:pt>
          <cx:pt idx="39918">1</cx:pt>
          <cx:pt idx="39919">1</cx:pt>
          <cx:pt idx="39920">1</cx:pt>
          <cx:pt idx="39921">0</cx:pt>
          <cx:pt idx="39922">1</cx:pt>
          <cx:pt idx="39923">0</cx:pt>
          <cx:pt idx="39924">0</cx:pt>
          <cx:pt idx="39925">0</cx:pt>
          <cx:pt idx="39926">1</cx:pt>
          <cx:pt idx="39927">1</cx:pt>
          <cx:pt idx="39928">0</cx:pt>
          <cx:pt idx="39929">0</cx:pt>
          <cx:pt idx="39930">0</cx:pt>
          <cx:pt idx="39931">1</cx:pt>
          <cx:pt idx="39932">0</cx:pt>
          <cx:pt idx="39933">0</cx:pt>
          <cx:pt idx="39934">0</cx:pt>
          <cx:pt idx="39935">1</cx:pt>
          <cx:pt idx="39936">1</cx:pt>
          <cx:pt idx="39937">1</cx:pt>
          <cx:pt idx="39938">0</cx:pt>
          <cx:pt idx="39939">1</cx:pt>
          <cx:pt idx="39940">0</cx:pt>
          <cx:pt idx="39941">0</cx:pt>
          <cx:pt idx="39942">0</cx:pt>
          <cx:pt idx="39943">1</cx:pt>
          <cx:pt idx="39944">0</cx:pt>
          <cx:pt idx="39945">0</cx:pt>
          <cx:pt idx="39946">0</cx:pt>
          <cx:pt idx="39947">1</cx:pt>
          <cx:pt idx="39948">0</cx:pt>
          <cx:pt idx="39949">0</cx:pt>
          <cx:pt idx="39950">1</cx:pt>
          <cx:pt idx="39951">0</cx:pt>
          <cx:pt idx="39952">1</cx:pt>
          <cx:pt idx="39953">1</cx:pt>
          <cx:pt idx="39954">0</cx:pt>
          <cx:pt idx="39955">0</cx:pt>
          <cx:pt idx="39956">0</cx:pt>
          <cx:pt idx="39957">0</cx:pt>
          <cx:pt idx="39958">1</cx:pt>
          <cx:pt idx="39959">0</cx:pt>
          <cx:pt idx="39960">0</cx:pt>
          <cx:pt idx="39961">0</cx:pt>
          <cx:pt idx="39962">0</cx:pt>
          <cx:pt idx="39963">1</cx:pt>
          <cx:pt idx="39964">0</cx:pt>
          <cx:pt idx="39965">0</cx:pt>
          <cx:pt idx="39966">1</cx:pt>
          <cx:pt idx="39967">1</cx:pt>
          <cx:pt idx="39968">0</cx:pt>
          <cx:pt idx="39969">0</cx:pt>
          <cx:pt idx="39970">1</cx:pt>
          <cx:pt idx="39971">1</cx:pt>
          <cx:pt idx="39972">0</cx:pt>
          <cx:pt idx="39973">0</cx:pt>
          <cx:pt idx="39974">0</cx:pt>
          <cx:pt idx="39975">0</cx:pt>
          <cx:pt idx="39976">1</cx:pt>
          <cx:pt idx="39977">0</cx:pt>
          <cx:pt idx="39978">0</cx:pt>
          <cx:pt idx="39979">0</cx:pt>
          <cx:pt idx="39980">0</cx:pt>
          <cx:pt idx="39981">1</cx:pt>
          <cx:pt idx="39982">1</cx:pt>
          <cx:pt idx="39983">1</cx:pt>
          <cx:pt idx="39984">0</cx:pt>
          <cx:pt idx="39985">0</cx:pt>
          <cx:pt idx="39986">1</cx:pt>
          <cx:pt idx="39987">0</cx:pt>
          <cx:pt idx="39988">1</cx:pt>
          <cx:pt idx="39989">0</cx:pt>
          <cx:pt idx="39990">0</cx:pt>
          <cx:pt idx="39991">0</cx:pt>
          <cx:pt idx="39992">1</cx:pt>
          <cx:pt idx="39993">1</cx:pt>
          <cx:pt idx="39994">1</cx:pt>
          <cx:pt idx="39995">1</cx:pt>
          <cx:pt idx="39996">0</cx:pt>
          <cx:pt idx="39997">0</cx:pt>
          <cx:pt idx="39998">1</cx:pt>
          <cx:pt idx="39999">0</cx:pt>
          <cx:pt idx="40000">1</cx:pt>
          <cx:pt idx="40001">0</cx:pt>
          <cx:pt idx="40002">0</cx:pt>
          <cx:pt idx="40003">1</cx:pt>
          <cx:pt idx="40004">1</cx:pt>
          <cx:pt idx="40005">0</cx:pt>
          <cx:pt idx="40006">1</cx:pt>
          <cx:pt idx="40007">0</cx:pt>
          <cx:pt idx="40008">0</cx:pt>
          <cx:pt idx="40009">0</cx:pt>
          <cx:pt idx="40010">0</cx:pt>
          <cx:pt idx="40011">1</cx:pt>
          <cx:pt idx="40012">0</cx:pt>
          <cx:pt idx="40013">1</cx:pt>
          <cx:pt idx="40014">1</cx:pt>
          <cx:pt idx="40015">0</cx:pt>
          <cx:pt idx="40016">0</cx:pt>
          <cx:pt idx="40017">0</cx:pt>
          <cx:pt idx="40018">0</cx:pt>
          <cx:pt idx="40019">1</cx:pt>
          <cx:pt idx="40020">1</cx:pt>
          <cx:pt idx="40021">1</cx:pt>
          <cx:pt idx="40022">0</cx:pt>
          <cx:pt idx="40023">1</cx:pt>
          <cx:pt idx="40024">0</cx:pt>
          <cx:pt idx="40025">0</cx:pt>
          <cx:pt idx="40026">0</cx:pt>
          <cx:pt idx="40027">0</cx:pt>
          <cx:pt idx="40028">0</cx:pt>
          <cx:pt idx="40029">0</cx:pt>
          <cx:pt idx="40030">1</cx:pt>
          <cx:pt idx="40031">1</cx:pt>
          <cx:pt idx="40032">1</cx:pt>
          <cx:pt idx="40033">1</cx:pt>
          <cx:pt idx="40034">1</cx:pt>
          <cx:pt idx="40035">0</cx:pt>
          <cx:pt idx="40036">1</cx:pt>
          <cx:pt idx="40037">1</cx:pt>
          <cx:pt idx="40038">0</cx:pt>
          <cx:pt idx="40039">0</cx:pt>
          <cx:pt idx="40040">0</cx:pt>
          <cx:pt idx="40041">1</cx:pt>
          <cx:pt idx="40042">1</cx:pt>
          <cx:pt idx="40043">0</cx:pt>
          <cx:pt idx="40044">1</cx:pt>
          <cx:pt idx="40045">1</cx:pt>
          <cx:pt idx="40046">0</cx:pt>
          <cx:pt idx="40047">0</cx:pt>
          <cx:pt idx="40048">0</cx:pt>
          <cx:pt idx="40049">0</cx:pt>
          <cx:pt idx="40050">1</cx:pt>
          <cx:pt idx="40051">1</cx:pt>
          <cx:pt idx="40052">0</cx:pt>
          <cx:pt idx="40053">1</cx:pt>
          <cx:pt idx="40054">1</cx:pt>
          <cx:pt idx="40055">0</cx:pt>
          <cx:pt idx="40056">0</cx:pt>
          <cx:pt idx="40057">1</cx:pt>
          <cx:pt idx="40058">0</cx:pt>
          <cx:pt idx="40059">0</cx:pt>
          <cx:pt idx="40060">0</cx:pt>
          <cx:pt idx="40061">0</cx:pt>
          <cx:pt idx="40062">1</cx:pt>
          <cx:pt idx="40063">0</cx:pt>
          <cx:pt idx="40064">0</cx:pt>
          <cx:pt idx="40065">0</cx:pt>
          <cx:pt idx="40066">1</cx:pt>
          <cx:pt idx="40067">1</cx:pt>
          <cx:pt idx="40068">1</cx:pt>
          <cx:pt idx="40069">1</cx:pt>
          <cx:pt idx="40070">1</cx:pt>
          <cx:pt idx="40071">1</cx:pt>
          <cx:pt idx="40072">0</cx:pt>
          <cx:pt idx="40073">1</cx:pt>
          <cx:pt idx="40074">1</cx:pt>
          <cx:pt idx="40075">0</cx:pt>
          <cx:pt idx="40076">1</cx:pt>
          <cx:pt idx="40077">1</cx:pt>
          <cx:pt idx="40078">0</cx:pt>
          <cx:pt idx="40079">0</cx:pt>
          <cx:pt idx="40080">0</cx:pt>
          <cx:pt idx="40081">0</cx:pt>
          <cx:pt idx="40082">0</cx:pt>
          <cx:pt idx="40083">0</cx:pt>
          <cx:pt idx="40084">1</cx:pt>
          <cx:pt idx="40085">0</cx:pt>
          <cx:pt idx="40086">1</cx:pt>
          <cx:pt idx="40087">0</cx:pt>
          <cx:pt idx="40088">0</cx:pt>
          <cx:pt idx="40089">0</cx:pt>
          <cx:pt idx="40090">0</cx:pt>
          <cx:pt idx="40091">0</cx:pt>
          <cx:pt idx="40092">0</cx:pt>
          <cx:pt idx="40093">1</cx:pt>
          <cx:pt idx="40094">0</cx:pt>
          <cx:pt idx="40095">1</cx:pt>
          <cx:pt idx="40096">0</cx:pt>
          <cx:pt idx="40097">0</cx:pt>
          <cx:pt idx="40098">0</cx:pt>
          <cx:pt idx="40099">0</cx:pt>
          <cx:pt idx="40100">0</cx:pt>
          <cx:pt idx="40101">1</cx:pt>
          <cx:pt idx="40102">0</cx:pt>
          <cx:pt idx="40103">0</cx:pt>
          <cx:pt idx="40104">0</cx:pt>
          <cx:pt idx="40105">0</cx:pt>
          <cx:pt idx="40106">0</cx:pt>
          <cx:pt idx="40107">1</cx:pt>
          <cx:pt idx="40108">0</cx:pt>
          <cx:pt idx="40109">0</cx:pt>
          <cx:pt idx="40110">1</cx:pt>
          <cx:pt idx="40111">0</cx:pt>
          <cx:pt idx="40112">0</cx:pt>
          <cx:pt idx="40113">1</cx:pt>
          <cx:pt idx="40114">0</cx:pt>
          <cx:pt idx="40115">1</cx:pt>
          <cx:pt idx="40116">0</cx:pt>
          <cx:pt idx="40117">0</cx:pt>
          <cx:pt idx="40118">1</cx:pt>
          <cx:pt idx="40119">0</cx:pt>
          <cx:pt idx="40120">0</cx:pt>
          <cx:pt idx="40121">1</cx:pt>
          <cx:pt idx="40122">0</cx:pt>
          <cx:pt idx="40123">1</cx:pt>
          <cx:pt idx="40124">0</cx:pt>
          <cx:pt idx="40125">0</cx:pt>
          <cx:pt idx="40126">0</cx:pt>
          <cx:pt idx="40127">1</cx:pt>
          <cx:pt idx="40128">0</cx:pt>
          <cx:pt idx="40129">0</cx:pt>
          <cx:pt idx="40130">0</cx:pt>
          <cx:pt idx="40131">0</cx:pt>
          <cx:pt idx="40132">0</cx:pt>
          <cx:pt idx="40133">0</cx:pt>
          <cx:pt idx="40134">0</cx:pt>
          <cx:pt idx="40135">0</cx:pt>
          <cx:pt idx="40136">0</cx:pt>
          <cx:pt idx="40137">0</cx:pt>
          <cx:pt idx="40138">1</cx:pt>
          <cx:pt idx="40139">0</cx:pt>
          <cx:pt idx="40140">1</cx:pt>
          <cx:pt idx="40141">1</cx:pt>
          <cx:pt idx="40142">1</cx:pt>
          <cx:pt idx="40143">0</cx:pt>
          <cx:pt idx="40144">1</cx:pt>
          <cx:pt idx="40145">1</cx:pt>
          <cx:pt idx="40146">0</cx:pt>
          <cx:pt idx="40147">1</cx:pt>
          <cx:pt idx="40148">0</cx:pt>
          <cx:pt idx="40149">1</cx:pt>
          <cx:pt idx="40150">1</cx:pt>
          <cx:pt idx="40151">1</cx:pt>
          <cx:pt idx="40152">1</cx:pt>
          <cx:pt idx="40153">0</cx:pt>
          <cx:pt idx="40154">1</cx:pt>
          <cx:pt idx="40155">0</cx:pt>
          <cx:pt idx="40156">1</cx:pt>
          <cx:pt idx="40157">1</cx:pt>
          <cx:pt idx="40158">1</cx:pt>
          <cx:pt idx="40159">0</cx:pt>
          <cx:pt idx="40160">1</cx:pt>
          <cx:pt idx="40161">1</cx:pt>
          <cx:pt idx="40162">1</cx:pt>
          <cx:pt idx="40163">0</cx:pt>
          <cx:pt idx="40164">0</cx:pt>
          <cx:pt idx="40165">0</cx:pt>
          <cx:pt idx="40166">1</cx:pt>
          <cx:pt idx="40167">0</cx:pt>
          <cx:pt idx="40168">0</cx:pt>
          <cx:pt idx="40169">0</cx:pt>
          <cx:pt idx="40170">0</cx:pt>
          <cx:pt idx="40171">0</cx:pt>
          <cx:pt idx="40172">1</cx:pt>
          <cx:pt idx="40173">0</cx:pt>
          <cx:pt idx="40174">1</cx:pt>
          <cx:pt idx="40175">0</cx:pt>
          <cx:pt idx="40176">0</cx:pt>
          <cx:pt idx="40177">0</cx:pt>
          <cx:pt idx="40178">0</cx:pt>
          <cx:pt idx="40179">0</cx:pt>
          <cx:pt idx="40180">0</cx:pt>
          <cx:pt idx="40181">1</cx:pt>
          <cx:pt idx="40182">0</cx:pt>
          <cx:pt idx="40183">0</cx:pt>
          <cx:pt idx="40184">1</cx:pt>
          <cx:pt idx="40185">0</cx:pt>
          <cx:pt idx="40186">0</cx:pt>
          <cx:pt idx="40187">1</cx:pt>
          <cx:pt idx="40188">0</cx:pt>
          <cx:pt idx="40189">0</cx:pt>
          <cx:pt idx="40190">0</cx:pt>
          <cx:pt idx="40191">0</cx:pt>
          <cx:pt idx="40192">0</cx:pt>
          <cx:pt idx="40193">0</cx:pt>
          <cx:pt idx="40194">1</cx:pt>
          <cx:pt idx="40195">0</cx:pt>
          <cx:pt idx="40196">1</cx:pt>
          <cx:pt idx="40197">0</cx:pt>
          <cx:pt idx="40198">1</cx:pt>
          <cx:pt idx="40199">0</cx:pt>
          <cx:pt idx="40200">1</cx:pt>
          <cx:pt idx="40201">1</cx:pt>
          <cx:pt idx="40202">1</cx:pt>
          <cx:pt idx="40203">0</cx:pt>
          <cx:pt idx="40204">1</cx:pt>
          <cx:pt idx="40205">0</cx:pt>
          <cx:pt idx="40206">0</cx:pt>
          <cx:pt idx="40207">1</cx:pt>
          <cx:pt idx="40208">1</cx:pt>
          <cx:pt idx="40209">0</cx:pt>
          <cx:pt idx="40210">1</cx:pt>
          <cx:pt idx="40211">1</cx:pt>
          <cx:pt idx="40212">0</cx:pt>
          <cx:pt idx="40213">0</cx:pt>
          <cx:pt idx="40214">1</cx:pt>
          <cx:pt idx="40215">1</cx:pt>
          <cx:pt idx="40216">1</cx:pt>
          <cx:pt idx="40217">0</cx:pt>
          <cx:pt idx="40218">0</cx:pt>
          <cx:pt idx="40219">0</cx:pt>
          <cx:pt idx="40220">1</cx:pt>
          <cx:pt idx="40221">1</cx:pt>
          <cx:pt idx="40222">0</cx:pt>
          <cx:pt idx="40223">1</cx:pt>
          <cx:pt idx="40224">0</cx:pt>
          <cx:pt idx="40225">0</cx:pt>
          <cx:pt idx="40226">1</cx:pt>
          <cx:pt idx="40227">1</cx:pt>
          <cx:pt idx="40228">1</cx:pt>
          <cx:pt idx="40229">0</cx:pt>
          <cx:pt idx="40230">1</cx:pt>
          <cx:pt idx="40231">1</cx:pt>
          <cx:pt idx="40232">0</cx:pt>
          <cx:pt idx="40233">1</cx:pt>
          <cx:pt idx="40234">0</cx:pt>
          <cx:pt idx="40235">0</cx:pt>
          <cx:pt idx="40236">0</cx:pt>
          <cx:pt idx="40237">0</cx:pt>
          <cx:pt idx="40238">1</cx:pt>
          <cx:pt idx="40239">1</cx:pt>
          <cx:pt idx="40240">0</cx:pt>
          <cx:pt idx="40241">0</cx:pt>
          <cx:pt idx="40242">0</cx:pt>
          <cx:pt idx="40243">1</cx:pt>
          <cx:pt idx="40244">0</cx:pt>
          <cx:pt idx="40245">0</cx:pt>
          <cx:pt idx="40246">1</cx:pt>
          <cx:pt idx="40247">1</cx:pt>
          <cx:pt idx="40248">1</cx:pt>
          <cx:pt idx="40249">0</cx:pt>
          <cx:pt idx="40250">1</cx:pt>
          <cx:pt idx="40251">1</cx:pt>
          <cx:pt idx="40252">1</cx:pt>
          <cx:pt idx="40253">1</cx:pt>
          <cx:pt idx="40254">1</cx:pt>
          <cx:pt idx="40255">0</cx:pt>
          <cx:pt idx="40256">0</cx:pt>
          <cx:pt idx="40257">1</cx:pt>
          <cx:pt idx="40258">0</cx:pt>
          <cx:pt idx="40259">1</cx:pt>
          <cx:pt idx="40260">1</cx:pt>
          <cx:pt idx="40261">0</cx:pt>
          <cx:pt idx="40262">0</cx:pt>
          <cx:pt idx="40263">0</cx:pt>
          <cx:pt idx="40264">1</cx:pt>
          <cx:pt idx="40265">1</cx:pt>
          <cx:pt idx="40266">1</cx:pt>
          <cx:pt idx="40267">1</cx:pt>
          <cx:pt idx="40268">1</cx:pt>
          <cx:pt idx="40269">0</cx:pt>
          <cx:pt idx="40270">1</cx:pt>
          <cx:pt idx="40271">1</cx:pt>
          <cx:pt idx="40272">1</cx:pt>
          <cx:pt idx="40273">1</cx:pt>
          <cx:pt idx="40274">0</cx:pt>
          <cx:pt idx="40275">1</cx:pt>
          <cx:pt idx="40276">1</cx:pt>
          <cx:pt idx="40277">1</cx:pt>
          <cx:pt idx="40278">0</cx:pt>
          <cx:pt idx="40279">0</cx:pt>
          <cx:pt idx="40280">0</cx:pt>
          <cx:pt idx="40281">0</cx:pt>
          <cx:pt idx="40282">0</cx:pt>
          <cx:pt idx="40283">1</cx:pt>
          <cx:pt idx="40284">1</cx:pt>
          <cx:pt idx="40285">1</cx:pt>
          <cx:pt idx="40286">1</cx:pt>
          <cx:pt idx="40287">1</cx:pt>
          <cx:pt idx="40288">0</cx:pt>
          <cx:pt idx="40289">0</cx:pt>
          <cx:pt idx="40290">1</cx:pt>
          <cx:pt idx="40291">1</cx:pt>
          <cx:pt idx="40292">0</cx:pt>
          <cx:pt idx="40293">0</cx:pt>
          <cx:pt idx="40294">1</cx:pt>
          <cx:pt idx="40295">0</cx:pt>
          <cx:pt idx="40296">0</cx:pt>
          <cx:pt idx="40297">0</cx:pt>
          <cx:pt idx="40298">1</cx:pt>
          <cx:pt idx="40299">1</cx:pt>
          <cx:pt idx="40300">0</cx:pt>
          <cx:pt idx="40301">1</cx:pt>
          <cx:pt idx="40302">1</cx:pt>
          <cx:pt idx="40303">0</cx:pt>
          <cx:pt idx="40304">0</cx:pt>
          <cx:pt idx="40305">1</cx:pt>
          <cx:pt idx="40306">1</cx:pt>
          <cx:pt idx="40307">0</cx:pt>
          <cx:pt idx="40308">0</cx:pt>
          <cx:pt idx="40309">0</cx:pt>
          <cx:pt idx="40310">0</cx:pt>
          <cx:pt idx="40311">1</cx:pt>
          <cx:pt idx="40312">0</cx:pt>
          <cx:pt idx="40313">0</cx:pt>
          <cx:pt idx="40314">1</cx:pt>
          <cx:pt idx="40315">0</cx:pt>
          <cx:pt idx="40316">1</cx:pt>
          <cx:pt idx="40317">0</cx:pt>
          <cx:pt idx="40318">0</cx:pt>
          <cx:pt idx="40319">1</cx:pt>
          <cx:pt idx="40320">1</cx:pt>
          <cx:pt idx="40321">0</cx:pt>
          <cx:pt idx="40322">1</cx:pt>
          <cx:pt idx="40323">0</cx:pt>
          <cx:pt idx="40324">0</cx:pt>
          <cx:pt idx="40325">0</cx:pt>
          <cx:pt idx="40326">0</cx:pt>
          <cx:pt idx="40327">1</cx:pt>
          <cx:pt idx="40328">1</cx:pt>
          <cx:pt idx="40329">0</cx:pt>
          <cx:pt idx="40330">1</cx:pt>
          <cx:pt idx="40331">0</cx:pt>
          <cx:pt idx="40332">1</cx:pt>
          <cx:pt idx="40333">0</cx:pt>
          <cx:pt idx="40334">0</cx:pt>
          <cx:pt idx="40335">0</cx:pt>
          <cx:pt idx="40336">0</cx:pt>
          <cx:pt idx="40337">1</cx:pt>
          <cx:pt idx="40338">1</cx:pt>
          <cx:pt idx="40339">1</cx:pt>
          <cx:pt idx="40340">1</cx:pt>
          <cx:pt idx="40341">1</cx:pt>
          <cx:pt idx="40342">1</cx:pt>
          <cx:pt idx="40343">1</cx:pt>
          <cx:pt idx="40344">1</cx:pt>
          <cx:pt idx="40345">0</cx:pt>
          <cx:pt idx="40346">0</cx:pt>
          <cx:pt idx="40347">0</cx:pt>
          <cx:pt idx="40348">0</cx:pt>
          <cx:pt idx="40349">0</cx:pt>
          <cx:pt idx="40350">1</cx:pt>
          <cx:pt idx="40351">0</cx:pt>
          <cx:pt idx="40352">0</cx:pt>
          <cx:pt idx="40353">1</cx:pt>
          <cx:pt idx="40354">0</cx:pt>
          <cx:pt idx="40355">0</cx:pt>
          <cx:pt idx="40356">1</cx:pt>
          <cx:pt idx="40357">0</cx:pt>
          <cx:pt idx="40358">1</cx:pt>
          <cx:pt idx="40359">1</cx:pt>
          <cx:pt idx="40360">0</cx:pt>
          <cx:pt idx="40361">0</cx:pt>
          <cx:pt idx="40362">1</cx:pt>
          <cx:pt idx="40363">1</cx:pt>
          <cx:pt idx="40364">0</cx:pt>
          <cx:pt idx="40365">1</cx:pt>
          <cx:pt idx="40366">1</cx:pt>
          <cx:pt idx="40367">1</cx:pt>
          <cx:pt idx="40368">1</cx:pt>
          <cx:pt idx="40369">0</cx:pt>
          <cx:pt idx="40370">1</cx:pt>
          <cx:pt idx="40371">0</cx:pt>
          <cx:pt idx="40372">1</cx:pt>
          <cx:pt idx="40373">1</cx:pt>
          <cx:pt idx="40374">0</cx:pt>
          <cx:pt idx="40375">0</cx:pt>
          <cx:pt idx="40376">1</cx:pt>
          <cx:pt idx="40377">0</cx:pt>
          <cx:pt idx="40378">1</cx:pt>
          <cx:pt idx="40379">0</cx:pt>
          <cx:pt idx="40380">0</cx:pt>
          <cx:pt idx="40381">0</cx:pt>
          <cx:pt idx="40382">1</cx:pt>
          <cx:pt idx="40383">0</cx:pt>
          <cx:pt idx="40384">1</cx:pt>
          <cx:pt idx="40385">0</cx:pt>
          <cx:pt idx="40386">0</cx:pt>
          <cx:pt idx="40387">0</cx:pt>
          <cx:pt idx="40388">1</cx:pt>
          <cx:pt idx="40389">0</cx:pt>
          <cx:pt idx="40390">1</cx:pt>
          <cx:pt idx="40391">1</cx:pt>
          <cx:pt idx="40392">0</cx:pt>
          <cx:pt idx="40393">1</cx:pt>
          <cx:pt idx="40394">0</cx:pt>
          <cx:pt idx="40395">1</cx:pt>
          <cx:pt idx="40396">1</cx:pt>
          <cx:pt idx="40397">1</cx:pt>
          <cx:pt idx="40398">0</cx:pt>
          <cx:pt idx="40399">1</cx:pt>
          <cx:pt idx="40400">0</cx:pt>
          <cx:pt idx="40401">1</cx:pt>
          <cx:pt idx="40402">0</cx:pt>
          <cx:pt idx="40403">1</cx:pt>
          <cx:pt idx="40404">1</cx:pt>
          <cx:pt idx="40405">0</cx:pt>
          <cx:pt idx="40406">0</cx:pt>
          <cx:pt idx="40407">0</cx:pt>
          <cx:pt idx="40408">0</cx:pt>
          <cx:pt idx="40409">0</cx:pt>
          <cx:pt idx="40410">1</cx:pt>
          <cx:pt idx="40411">1</cx:pt>
          <cx:pt idx="40412">0</cx:pt>
          <cx:pt idx="40413">1</cx:pt>
          <cx:pt idx="40414">0</cx:pt>
          <cx:pt idx="40415">1</cx:pt>
          <cx:pt idx="40416">0</cx:pt>
          <cx:pt idx="40417">0</cx:pt>
          <cx:pt idx="40418">1</cx:pt>
          <cx:pt idx="40419">0</cx:pt>
          <cx:pt idx="40420">0</cx:pt>
          <cx:pt idx="40421">0</cx:pt>
          <cx:pt idx="40422">0</cx:pt>
          <cx:pt idx="40423">0</cx:pt>
          <cx:pt idx="40424">0</cx:pt>
          <cx:pt idx="40425">1</cx:pt>
          <cx:pt idx="40426">0</cx:pt>
          <cx:pt idx="40427">1</cx:pt>
          <cx:pt idx="40428">1</cx:pt>
          <cx:pt idx="40429">0</cx:pt>
          <cx:pt idx="40430">0</cx:pt>
          <cx:pt idx="40431">1</cx:pt>
          <cx:pt idx="40432">0</cx:pt>
          <cx:pt idx="40433">0</cx:pt>
          <cx:pt idx="40434">0</cx:pt>
          <cx:pt idx="40435">1</cx:pt>
          <cx:pt idx="40436">1</cx:pt>
          <cx:pt idx="40437">1</cx:pt>
          <cx:pt idx="40438">0</cx:pt>
          <cx:pt idx="40439">0</cx:pt>
          <cx:pt idx="40440">1</cx:pt>
          <cx:pt idx="40441">0</cx:pt>
          <cx:pt idx="40442">0</cx:pt>
          <cx:pt idx="40443">0</cx:pt>
          <cx:pt idx="40444">0</cx:pt>
          <cx:pt idx="40445">0</cx:pt>
          <cx:pt idx="40446">1</cx:pt>
          <cx:pt idx="40447">0</cx:pt>
          <cx:pt idx="40448">0</cx:pt>
          <cx:pt idx="40449">1</cx:pt>
          <cx:pt idx="40450">0</cx:pt>
          <cx:pt idx="40451">0</cx:pt>
          <cx:pt idx="40452">1</cx:pt>
          <cx:pt idx="40453">1</cx:pt>
          <cx:pt idx="40454">1</cx:pt>
          <cx:pt idx="40455">0</cx:pt>
          <cx:pt idx="40456">0</cx:pt>
          <cx:pt idx="40457">0</cx:pt>
          <cx:pt idx="40458">1</cx:pt>
          <cx:pt idx="40459">0</cx:pt>
          <cx:pt idx="40460">0</cx:pt>
          <cx:pt idx="40461">0</cx:pt>
          <cx:pt idx="40462">0</cx:pt>
          <cx:pt idx="40463">1</cx:pt>
          <cx:pt idx="40464">0</cx:pt>
          <cx:pt idx="40465">0</cx:pt>
          <cx:pt idx="40466">0</cx:pt>
          <cx:pt idx="40467">0</cx:pt>
          <cx:pt idx="40468">0</cx:pt>
          <cx:pt idx="40469">0</cx:pt>
          <cx:pt idx="40470">0</cx:pt>
          <cx:pt idx="40471">0</cx:pt>
          <cx:pt idx="40472">1</cx:pt>
          <cx:pt idx="40473">0</cx:pt>
          <cx:pt idx="40474">0</cx:pt>
          <cx:pt idx="40475">1</cx:pt>
          <cx:pt idx="40476">0</cx:pt>
          <cx:pt idx="40477">1</cx:pt>
          <cx:pt idx="40478">0</cx:pt>
          <cx:pt idx="40479">1</cx:pt>
          <cx:pt idx="40480">1</cx:pt>
          <cx:pt idx="40481">1</cx:pt>
          <cx:pt idx="40482">0</cx:pt>
          <cx:pt idx="40483">1</cx:pt>
          <cx:pt idx="40484">1</cx:pt>
          <cx:pt idx="40485">0</cx:pt>
          <cx:pt idx="40486">0</cx:pt>
          <cx:pt idx="40487">1</cx:pt>
          <cx:pt idx="40488">0</cx:pt>
          <cx:pt idx="40489">1</cx:pt>
          <cx:pt idx="40490">1</cx:pt>
          <cx:pt idx="40491">1</cx:pt>
          <cx:pt idx="40492">0</cx:pt>
          <cx:pt idx="40493">0</cx:pt>
          <cx:pt idx="40494">0</cx:pt>
          <cx:pt idx="40495">1</cx:pt>
          <cx:pt idx="40496">1</cx:pt>
          <cx:pt idx="40497">1</cx:pt>
          <cx:pt idx="40498">1</cx:pt>
          <cx:pt idx="40499">0</cx:pt>
          <cx:pt idx="40500">0</cx:pt>
          <cx:pt idx="40501">0</cx:pt>
          <cx:pt idx="40502">0</cx:pt>
          <cx:pt idx="40503">0</cx:pt>
          <cx:pt idx="40504">0</cx:pt>
          <cx:pt idx="40505">0</cx:pt>
          <cx:pt idx="40506">0</cx:pt>
          <cx:pt idx="40507">1</cx:pt>
          <cx:pt idx="40508">0</cx:pt>
          <cx:pt idx="40509">0</cx:pt>
          <cx:pt idx="40510">0</cx:pt>
          <cx:pt idx="40511">0</cx:pt>
          <cx:pt idx="40512">0</cx:pt>
          <cx:pt idx="40513">0</cx:pt>
          <cx:pt idx="40514">1</cx:pt>
          <cx:pt idx="40515">0</cx:pt>
          <cx:pt idx="40516">0</cx:pt>
          <cx:pt idx="40517">0</cx:pt>
          <cx:pt idx="40518">1</cx:pt>
          <cx:pt idx="40519">1</cx:pt>
          <cx:pt idx="40520">1</cx:pt>
          <cx:pt idx="40521">1</cx:pt>
          <cx:pt idx="40522">0</cx:pt>
          <cx:pt idx="40523">1</cx:pt>
          <cx:pt idx="40524">1</cx:pt>
          <cx:pt idx="40525">0</cx:pt>
          <cx:pt idx="40526">0</cx:pt>
          <cx:pt idx="40527">0</cx:pt>
          <cx:pt idx="40528">1</cx:pt>
          <cx:pt idx="40529">0</cx:pt>
          <cx:pt idx="40530">0</cx:pt>
          <cx:pt idx="40531">1</cx:pt>
          <cx:pt idx="40532">0</cx:pt>
          <cx:pt idx="40533">0</cx:pt>
          <cx:pt idx="40534">0</cx:pt>
          <cx:pt idx="40535">0</cx:pt>
          <cx:pt idx="40536">1</cx:pt>
          <cx:pt idx="40537">1</cx:pt>
          <cx:pt idx="40538">0</cx:pt>
          <cx:pt idx="40539">0</cx:pt>
          <cx:pt idx="40540">0</cx:pt>
          <cx:pt idx="40541">0</cx:pt>
          <cx:pt idx="40542">0</cx:pt>
          <cx:pt idx="40543">0</cx:pt>
          <cx:pt idx="40544">0</cx:pt>
          <cx:pt idx="40545">1</cx:pt>
          <cx:pt idx="40546">0</cx:pt>
          <cx:pt idx="40547">1</cx:pt>
          <cx:pt idx="40548">0</cx:pt>
          <cx:pt idx="40549">0</cx:pt>
          <cx:pt idx="40550">0</cx:pt>
          <cx:pt idx="40551">1</cx:pt>
          <cx:pt idx="40552">1</cx:pt>
          <cx:pt idx="40553">0</cx:pt>
          <cx:pt idx="40554">1</cx:pt>
          <cx:pt idx="40555">0</cx:pt>
          <cx:pt idx="40556">0</cx:pt>
          <cx:pt idx="40557">0</cx:pt>
          <cx:pt idx="40558">0</cx:pt>
          <cx:pt idx="40559">1</cx:pt>
          <cx:pt idx="40560">0</cx:pt>
          <cx:pt idx="40561">0</cx:pt>
          <cx:pt idx="40562">1</cx:pt>
          <cx:pt idx="40563">1</cx:pt>
          <cx:pt idx="40564">0</cx:pt>
          <cx:pt idx="40565">0</cx:pt>
          <cx:pt idx="40566">1</cx:pt>
          <cx:pt idx="40567">0</cx:pt>
          <cx:pt idx="40568">1</cx:pt>
          <cx:pt idx="40569">0</cx:pt>
          <cx:pt idx="40570">0</cx:pt>
          <cx:pt idx="40571">0</cx:pt>
          <cx:pt idx="40572">0</cx:pt>
          <cx:pt idx="40573">1</cx:pt>
          <cx:pt idx="40574">1</cx:pt>
          <cx:pt idx="40575">0</cx:pt>
          <cx:pt idx="40576">1</cx:pt>
          <cx:pt idx="40577">1</cx:pt>
          <cx:pt idx="40578">0</cx:pt>
          <cx:pt idx="40579">1</cx:pt>
          <cx:pt idx="40580">0</cx:pt>
          <cx:pt idx="40581">0</cx:pt>
          <cx:pt idx="40582">0</cx:pt>
          <cx:pt idx="40583">1</cx:pt>
          <cx:pt idx="40584">1</cx:pt>
          <cx:pt idx="40585">0</cx:pt>
          <cx:pt idx="40586">1</cx:pt>
          <cx:pt idx="40587">0</cx:pt>
          <cx:pt idx="40588">0</cx:pt>
          <cx:pt idx="40589">1</cx:pt>
          <cx:pt idx="40590">1</cx:pt>
          <cx:pt idx="40591">0</cx:pt>
          <cx:pt idx="40592">0</cx:pt>
          <cx:pt idx="40593">1</cx:pt>
          <cx:pt idx="40594">1</cx:pt>
          <cx:pt idx="40595">0</cx:pt>
          <cx:pt idx="40596">0</cx:pt>
          <cx:pt idx="40597">1</cx:pt>
          <cx:pt idx="40598">1</cx:pt>
          <cx:pt idx="40599">0</cx:pt>
          <cx:pt idx="40600">1</cx:pt>
          <cx:pt idx="40601">0</cx:pt>
          <cx:pt idx="40602">1</cx:pt>
          <cx:pt idx="40603">1</cx:pt>
          <cx:pt idx="40604">1</cx:pt>
          <cx:pt idx="40605">1</cx:pt>
          <cx:pt idx="40606">1</cx:pt>
          <cx:pt idx="40607">0</cx:pt>
          <cx:pt idx="40608">1</cx:pt>
          <cx:pt idx="40609">0</cx:pt>
          <cx:pt idx="40610">0</cx:pt>
          <cx:pt idx="40611">1</cx:pt>
          <cx:pt idx="40612">0</cx:pt>
          <cx:pt idx="40613">1</cx:pt>
          <cx:pt idx="40614">0</cx:pt>
          <cx:pt idx="40615">1</cx:pt>
          <cx:pt idx="40616">0</cx:pt>
          <cx:pt idx="40617">0</cx:pt>
          <cx:pt idx="40618">1</cx:pt>
          <cx:pt idx="40619">0</cx:pt>
          <cx:pt idx="40620">0</cx:pt>
          <cx:pt idx="40621">1</cx:pt>
          <cx:pt idx="40622">0</cx:pt>
          <cx:pt idx="40623">0</cx:pt>
          <cx:pt idx="40624">1</cx:pt>
          <cx:pt idx="40625">1</cx:pt>
          <cx:pt idx="40626">1</cx:pt>
          <cx:pt idx="40627">0</cx:pt>
          <cx:pt idx="40628">1</cx:pt>
          <cx:pt idx="40629">1</cx:pt>
          <cx:pt idx="40630">1</cx:pt>
          <cx:pt idx="40631">0</cx:pt>
          <cx:pt idx="40632">1</cx:pt>
          <cx:pt idx="40633">0</cx:pt>
          <cx:pt idx="40634">1</cx:pt>
          <cx:pt idx="40635">0</cx:pt>
          <cx:pt idx="40636">1</cx:pt>
          <cx:pt idx="40637">1</cx:pt>
          <cx:pt idx="40638">0</cx:pt>
          <cx:pt idx="40639">0</cx:pt>
          <cx:pt idx="40640">0</cx:pt>
          <cx:pt idx="40641">0</cx:pt>
          <cx:pt idx="40642">0</cx:pt>
          <cx:pt idx="40643">1</cx:pt>
          <cx:pt idx="40644">1</cx:pt>
          <cx:pt idx="40645">0</cx:pt>
          <cx:pt idx="40646">0</cx:pt>
          <cx:pt idx="40647">0</cx:pt>
          <cx:pt idx="40648">0</cx:pt>
          <cx:pt idx="40649">0</cx:pt>
          <cx:pt idx="40650">1</cx:pt>
          <cx:pt idx="40651">0</cx:pt>
          <cx:pt idx="40652">1</cx:pt>
          <cx:pt idx="40653">1</cx:pt>
          <cx:pt idx="40654">1</cx:pt>
          <cx:pt idx="40655">0</cx:pt>
          <cx:pt idx="40656">1</cx:pt>
          <cx:pt idx="40657">0</cx:pt>
          <cx:pt idx="40658">1</cx:pt>
          <cx:pt idx="40659">1</cx:pt>
          <cx:pt idx="40660">0</cx:pt>
          <cx:pt idx="40661">0</cx:pt>
          <cx:pt idx="40662">0</cx:pt>
          <cx:pt idx="40663">1</cx:pt>
          <cx:pt idx="40664">1</cx:pt>
          <cx:pt idx="40665">0</cx:pt>
          <cx:pt idx="40666">1</cx:pt>
          <cx:pt idx="40667">1</cx:pt>
          <cx:pt idx="40668">1</cx:pt>
          <cx:pt idx="40669">1</cx:pt>
          <cx:pt idx="40670">0</cx:pt>
          <cx:pt idx="40671">0</cx:pt>
          <cx:pt idx="40672">1</cx:pt>
          <cx:pt idx="40673">1</cx:pt>
          <cx:pt idx="40674">1</cx:pt>
          <cx:pt idx="40675">0</cx:pt>
          <cx:pt idx="40676">0</cx:pt>
          <cx:pt idx="40677">0</cx:pt>
          <cx:pt idx="40678">1</cx:pt>
          <cx:pt idx="40679">1</cx:pt>
          <cx:pt idx="40680">0</cx:pt>
          <cx:pt idx="40681">1</cx:pt>
          <cx:pt idx="40682">0</cx:pt>
          <cx:pt idx="40683">1</cx:pt>
          <cx:pt idx="40684">1</cx:pt>
          <cx:pt idx="40685">0</cx:pt>
          <cx:pt idx="40686">0</cx:pt>
          <cx:pt idx="40687">0</cx:pt>
          <cx:pt idx="40688">0</cx:pt>
          <cx:pt idx="40689">0</cx:pt>
          <cx:pt idx="40690">0</cx:pt>
          <cx:pt idx="40691">1</cx:pt>
          <cx:pt idx="40692">0</cx:pt>
          <cx:pt idx="40693">1</cx:pt>
          <cx:pt idx="40694">1</cx:pt>
          <cx:pt idx="40695">0</cx:pt>
          <cx:pt idx="40696">1</cx:pt>
          <cx:pt idx="40697">1</cx:pt>
          <cx:pt idx="40698">0</cx:pt>
          <cx:pt idx="40699">1</cx:pt>
          <cx:pt idx="40700">0</cx:pt>
          <cx:pt idx="40701">1</cx:pt>
          <cx:pt idx="40702">0</cx:pt>
          <cx:pt idx="40703">0</cx:pt>
          <cx:pt idx="40704">0</cx:pt>
          <cx:pt idx="40705">0</cx:pt>
          <cx:pt idx="40706">1</cx:pt>
          <cx:pt idx="40707">0</cx:pt>
          <cx:pt idx="40708">1</cx:pt>
          <cx:pt idx="40709">1</cx:pt>
          <cx:pt idx="40710">1</cx:pt>
          <cx:pt idx="40711">0</cx:pt>
          <cx:pt idx="40712">0</cx:pt>
          <cx:pt idx="40713">0</cx:pt>
          <cx:pt idx="40714">1</cx:pt>
          <cx:pt idx="40715">0</cx:pt>
          <cx:pt idx="40716">0</cx:pt>
          <cx:pt idx="40717">1</cx:pt>
          <cx:pt idx="40718">0</cx:pt>
          <cx:pt idx="40719">1</cx:pt>
          <cx:pt idx="40720">0</cx:pt>
          <cx:pt idx="40721">1</cx:pt>
          <cx:pt idx="40722">1</cx:pt>
          <cx:pt idx="40723">1</cx:pt>
          <cx:pt idx="40724">0</cx:pt>
          <cx:pt idx="40725">0</cx:pt>
          <cx:pt idx="40726">0</cx:pt>
          <cx:pt idx="40727">1</cx:pt>
          <cx:pt idx="40728">1</cx:pt>
          <cx:pt idx="40729">0</cx:pt>
          <cx:pt idx="40730">1</cx:pt>
          <cx:pt idx="40731">0</cx:pt>
          <cx:pt idx="40732">0</cx:pt>
          <cx:pt idx="40733">0</cx:pt>
          <cx:pt idx="40734">1</cx:pt>
          <cx:pt idx="40735">1</cx:pt>
          <cx:pt idx="40736">1</cx:pt>
          <cx:pt idx="40737">0</cx:pt>
          <cx:pt idx="40738">0</cx:pt>
          <cx:pt idx="40739">1</cx:pt>
          <cx:pt idx="40740">0</cx:pt>
          <cx:pt idx="40741">1</cx:pt>
          <cx:pt idx="40742">0</cx:pt>
          <cx:pt idx="40743">1</cx:pt>
          <cx:pt idx="40744">1</cx:pt>
          <cx:pt idx="40745">1</cx:pt>
          <cx:pt idx="40746">0</cx:pt>
          <cx:pt idx="40747">1</cx:pt>
          <cx:pt idx="40748">1</cx:pt>
          <cx:pt idx="40749">1</cx:pt>
          <cx:pt idx="40750">0</cx:pt>
          <cx:pt idx="40751">1</cx:pt>
          <cx:pt idx="40752">0</cx:pt>
          <cx:pt idx="40753">0</cx:pt>
          <cx:pt idx="40754">0</cx:pt>
          <cx:pt idx="40755">1</cx:pt>
          <cx:pt idx="40756">1</cx:pt>
          <cx:pt idx="40757">1</cx:pt>
          <cx:pt idx="40758">0</cx:pt>
          <cx:pt idx="40759">0</cx:pt>
          <cx:pt idx="40760">0</cx:pt>
          <cx:pt idx="40761">1</cx:pt>
          <cx:pt idx="40762">1</cx:pt>
          <cx:pt idx="40763">0</cx:pt>
          <cx:pt idx="40764">0</cx:pt>
          <cx:pt idx="40765">0</cx:pt>
          <cx:pt idx="40766">1</cx:pt>
          <cx:pt idx="40767">0</cx:pt>
          <cx:pt idx="40768">1</cx:pt>
          <cx:pt idx="40769">0</cx:pt>
          <cx:pt idx="40770">0</cx:pt>
          <cx:pt idx="40771">1</cx:pt>
          <cx:pt idx="40772">1</cx:pt>
          <cx:pt idx="40773">0</cx:pt>
          <cx:pt idx="40774">0</cx:pt>
          <cx:pt idx="40775">1</cx:pt>
          <cx:pt idx="40776">1</cx:pt>
          <cx:pt idx="40777">1</cx:pt>
          <cx:pt idx="40778">1</cx:pt>
          <cx:pt idx="40779">0</cx:pt>
          <cx:pt idx="40780">0</cx:pt>
          <cx:pt idx="40781">0</cx:pt>
          <cx:pt idx="40782">1</cx:pt>
          <cx:pt idx="40783">1</cx:pt>
          <cx:pt idx="40784">1</cx:pt>
          <cx:pt idx="40785">1</cx:pt>
          <cx:pt idx="40786">0</cx:pt>
          <cx:pt idx="40787">0</cx:pt>
          <cx:pt idx="40788">0</cx:pt>
          <cx:pt idx="40789">0</cx:pt>
          <cx:pt idx="40790">1</cx:pt>
          <cx:pt idx="40791">1</cx:pt>
          <cx:pt idx="40792">1</cx:pt>
          <cx:pt idx="40793">0</cx:pt>
          <cx:pt idx="40794">1</cx:pt>
          <cx:pt idx="40795">1</cx:pt>
          <cx:pt idx="40796">1</cx:pt>
          <cx:pt idx="40797">1</cx:pt>
          <cx:pt idx="40798">0</cx:pt>
          <cx:pt idx="40799">1</cx:pt>
          <cx:pt idx="40800">0</cx:pt>
          <cx:pt idx="40801">1</cx:pt>
          <cx:pt idx="40802">0</cx:pt>
          <cx:pt idx="40803">1</cx:pt>
          <cx:pt idx="40804">1</cx:pt>
          <cx:pt idx="40805">0</cx:pt>
          <cx:pt idx="40806">1</cx:pt>
          <cx:pt idx="40807">0</cx:pt>
          <cx:pt idx="40808">1</cx:pt>
          <cx:pt idx="40809">1</cx:pt>
          <cx:pt idx="40810">1</cx:pt>
          <cx:pt idx="40811">0</cx:pt>
          <cx:pt idx="40812">0</cx:pt>
          <cx:pt idx="40813">0</cx:pt>
          <cx:pt idx="40814">0</cx:pt>
          <cx:pt idx="40815">0</cx:pt>
          <cx:pt idx="40816">1</cx:pt>
          <cx:pt idx="40817">1</cx:pt>
          <cx:pt idx="40818">0</cx:pt>
          <cx:pt idx="40819">1</cx:pt>
          <cx:pt idx="40820">0</cx:pt>
          <cx:pt idx="40821">0</cx:pt>
          <cx:pt idx="40822">1</cx:pt>
          <cx:pt idx="40823">0</cx:pt>
          <cx:pt idx="40824">1</cx:pt>
          <cx:pt idx="40825">0</cx:pt>
          <cx:pt idx="40826">0</cx:pt>
          <cx:pt idx="40827">1</cx:pt>
          <cx:pt idx="40828">0</cx:pt>
          <cx:pt idx="40829">1</cx:pt>
          <cx:pt idx="40830">0</cx:pt>
          <cx:pt idx="40831">1</cx:pt>
          <cx:pt idx="40832">1</cx:pt>
          <cx:pt idx="40833">1</cx:pt>
          <cx:pt idx="40834">0</cx:pt>
          <cx:pt idx="40835">0</cx:pt>
          <cx:pt idx="40836">0</cx:pt>
          <cx:pt idx="40837">0</cx:pt>
          <cx:pt idx="40838">1</cx:pt>
          <cx:pt idx="40839">0</cx:pt>
          <cx:pt idx="40840">0</cx:pt>
          <cx:pt idx="40841">0</cx:pt>
          <cx:pt idx="40842">0</cx:pt>
          <cx:pt idx="40843">0</cx:pt>
          <cx:pt idx="40844">1</cx:pt>
          <cx:pt idx="40845">0</cx:pt>
          <cx:pt idx="40846">1</cx:pt>
          <cx:pt idx="40847">1</cx:pt>
          <cx:pt idx="40848">1</cx:pt>
          <cx:pt idx="40849">1</cx:pt>
          <cx:pt idx="40850">0</cx:pt>
          <cx:pt idx="40851">1</cx:pt>
          <cx:pt idx="40852">1</cx:pt>
          <cx:pt idx="40853">1</cx:pt>
          <cx:pt idx="40854">1</cx:pt>
          <cx:pt idx="40855">1</cx:pt>
          <cx:pt idx="40856">0</cx:pt>
          <cx:pt idx="40857">0</cx:pt>
          <cx:pt idx="40858">1</cx:pt>
          <cx:pt idx="40859">0</cx:pt>
          <cx:pt idx="40860">1</cx:pt>
          <cx:pt idx="40861">1</cx:pt>
          <cx:pt idx="40862">0</cx:pt>
          <cx:pt idx="40863">0</cx:pt>
          <cx:pt idx="40864">1</cx:pt>
          <cx:pt idx="40865">0</cx:pt>
          <cx:pt idx="40866">0</cx:pt>
          <cx:pt idx="40867">1</cx:pt>
          <cx:pt idx="40868">1</cx:pt>
          <cx:pt idx="40869">0</cx:pt>
          <cx:pt idx="40870">1</cx:pt>
          <cx:pt idx="40871">0</cx:pt>
          <cx:pt idx="40872">0</cx:pt>
          <cx:pt idx="40873">0</cx:pt>
          <cx:pt idx="40874">1</cx:pt>
          <cx:pt idx="40875">0</cx:pt>
          <cx:pt idx="40876">0</cx:pt>
          <cx:pt idx="40877">1</cx:pt>
          <cx:pt idx="40878">0</cx:pt>
          <cx:pt idx="40879">1</cx:pt>
          <cx:pt idx="40880">1</cx:pt>
          <cx:pt idx="40881">0</cx:pt>
          <cx:pt idx="40882">1</cx:pt>
          <cx:pt idx="40883">0</cx:pt>
          <cx:pt idx="40884">1</cx:pt>
          <cx:pt idx="40885">0</cx:pt>
          <cx:pt idx="40886">1</cx:pt>
          <cx:pt idx="40887">1</cx:pt>
          <cx:pt idx="40888">1</cx:pt>
          <cx:pt idx="40889">0</cx:pt>
          <cx:pt idx="40890">0</cx:pt>
          <cx:pt idx="40891">1</cx:pt>
          <cx:pt idx="40892">1</cx:pt>
          <cx:pt idx="40893">0</cx:pt>
          <cx:pt idx="40894">0</cx:pt>
          <cx:pt idx="40895">1</cx:pt>
          <cx:pt idx="40896">0</cx:pt>
          <cx:pt idx="40897">1</cx:pt>
          <cx:pt idx="40898">0</cx:pt>
          <cx:pt idx="40899">0</cx:pt>
          <cx:pt idx="40900">0</cx:pt>
          <cx:pt idx="40901">0</cx:pt>
          <cx:pt idx="40902">1</cx:pt>
          <cx:pt idx="40903">0</cx:pt>
          <cx:pt idx="40904">1</cx:pt>
          <cx:pt idx="40905">1</cx:pt>
          <cx:pt idx="40906">1</cx:pt>
          <cx:pt idx="40907">0</cx:pt>
          <cx:pt idx="40908">0</cx:pt>
          <cx:pt idx="40909">0</cx:pt>
          <cx:pt idx="40910">0</cx:pt>
          <cx:pt idx="40911">0</cx:pt>
          <cx:pt idx="40912">0</cx:pt>
          <cx:pt idx="40913">1</cx:pt>
          <cx:pt idx="40914">0</cx:pt>
          <cx:pt idx="40915">1</cx:pt>
          <cx:pt idx="40916">0</cx:pt>
          <cx:pt idx="40917">0</cx:pt>
          <cx:pt idx="40918">1</cx:pt>
          <cx:pt idx="40919">1</cx:pt>
          <cx:pt idx="40920">1</cx:pt>
          <cx:pt idx="40921">0</cx:pt>
          <cx:pt idx="40922">0</cx:pt>
          <cx:pt idx="40923">0</cx:pt>
          <cx:pt idx="40924">1</cx:pt>
          <cx:pt idx="40925">0</cx:pt>
          <cx:pt idx="40926">0</cx:pt>
          <cx:pt idx="40927">0</cx:pt>
          <cx:pt idx="40928">0</cx:pt>
          <cx:pt idx="40929">1</cx:pt>
          <cx:pt idx="40930">0</cx:pt>
          <cx:pt idx="40931">1</cx:pt>
          <cx:pt idx="40932">1</cx:pt>
          <cx:pt idx="40933">1</cx:pt>
          <cx:pt idx="40934">0</cx:pt>
          <cx:pt idx="40935">1</cx:pt>
          <cx:pt idx="40936">0</cx:pt>
          <cx:pt idx="40937">1</cx:pt>
          <cx:pt idx="40938">0</cx:pt>
          <cx:pt idx="40939">0</cx:pt>
          <cx:pt idx="40940">0</cx:pt>
          <cx:pt idx="40941">0</cx:pt>
          <cx:pt idx="40942">0</cx:pt>
          <cx:pt idx="40943">1</cx:pt>
          <cx:pt idx="40944">0</cx:pt>
          <cx:pt idx="40945">1</cx:pt>
          <cx:pt idx="40946">1</cx:pt>
          <cx:pt idx="40947">0</cx:pt>
          <cx:pt idx="40948">0</cx:pt>
          <cx:pt idx="40949">0</cx:pt>
          <cx:pt idx="40950">0</cx:pt>
          <cx:pt idx="40951">1</cx:pt>
          <cx:pt idx="40952">0</cx:pt>
          <cx:pt idx="40953">0</cx:pt>
          <cx:pt idx="40954">0</cx:pt>
          <cx:pt idx="40955">0</cx:pt>
          <cx:pt idx="40956">1</cx:pt>
          <cx:pt idx="40957">0</cx:pt>
          <cx:pt idx="40958">0</cx:pt>
          <cx:pt idx="40959">1</cx:pt>
          <cx:pt idx="40960">0</cx:pt>
          <cx:pt idx="40961">0</cx:pt>
          <cx:pt idx="40962">1</cx:pt>
          <cx:pt idx="40963">0</cx:pt>
          <cx:pt idx="40964">1</cx:pt>
          <cx:pt idx="40965">0</cx:pt>
          <cx:pt idx="40966">0</cx:pt>
          <cx:pt idx="40967">0</cx:pt>
          <cx:pt idx="40968">1</cx:pt>
          <cx:pt idx="40969">0</cx:pt>
          <cx:pt idx="40970">0</cx:pt>
          <cx:pt idx="40971">0</cx:pt>
          <cx:pt idx="40972">0</cx:pt>
          <cx:pt idx="40973">0</cx:pt>
          <cx:pt idx="40974">1</cx:pt>
          <cx:pt idx="40975">0</cx:pt>
          <cx:pt idx="40976">0</cx:pt>
          <cx:pt idx="40977">0</cx:pt>
          <cx:pt idx="40978">0</cx:pt>
          <cx:pt idx="40979">0</cx:pt>
          <cx:pt idx="40980">1</cx:pt>
          <cx:pt idx="40981">1</cx:pt>
          <cx:pt idx="40982">0</cx:pt>
          <cx:pt idx="40983">0</cx:pt>
          <cx:pt idx="40984">0</cx:pt>
          <cx:pt idx="40985">1</cx:pt>
          <cx:pt idx="40986">0</cx:pt>
          <cx:pt idx="40987">1</cx:pt>
          <cx:pt idx="40988">0</cx:pt>
          <cx:pt idx="40989">1</cx:pt>
          <cx:pt idx="40990">1</cx:pt>
          <cx:pt idx="40991">0</cx:pt>
          <cx:pt idx="40992">0</cx:pt>
          <cx:pt idx="40993">1</cx:pt>
          <cx:pt idx="40994">0</cx:pt>
          <cx:pt idx="40995">0</cx:pt>
          <cx:pt idx="40996">0</cx:pt>
          <cx:pt idx="40997">1</cx:pt>
          <cx:pt idx="40998">0</cx:pt>
          <cx:pt idx="40999">0</cx:pt>
          <cx:pt idx="41000">0</cx:pt>
          <cx:pt idx="41001">0</cx:pt>
          <cx:pt idx="41002">0</cx:pt>
          <cx:pt idx="41003">0</cx:pt>
          <cx:pt idx="41004">0</cx:pt>
          <cx:pt idx="41005">0</cx:pt>
          <cx:pt idx="41006">1</cx:pt>
          <cx:pt idx="41007">1</cx:pt>
          <cx:pt idx="41008">0</cx:pt>
          <cx:pt idx="41009">1</cx:pt>
          <cx:pt idx="41010">1</cx:pt>
          <cx:pt idx="41011">0</cx:pt>
          <cx:pt idx="41012">1</cx:pt>
          <cx:pt idx="41013">0</cx:pt>
          <cx:pt idx="41014">1</cx:pt>
          <cx:pt idx="41015">0</cx:pt>
          <cx:pt idx="41016">0</cx:pt>
          <cx:pt idx="41017">1</cx:pt>
          <cx:pt idx="41018">1</cx:pt>
          <cx:pt idx="41019">0</cx:pt>
          <cx:pt idx="41020">0</cx:pt>
          <cx:pt idx="41021">1</cx:pt>
          <cx:pt idx="41022">1</cx:pt>
          <cx:pt idx="41023">1</cx:pt>
          <cx:pt idx="41024">1</cx:pt>
          <cx:pt idx="41025">1</cx:pt>
          <cx:pt idx="41026">0</cx:pt>
          <cx:pt idx="41027">0</cx:pt>
          <cx:pt idx="41028">1</cx:pt>
          <cx:pt idx="41029">0</cx:pt>
          <cx:pt idx="41030">0</cx:pt>
          <cx:pt idx="41031">0</cx:pt>
          <cx:pt idx="41032">0</cx:pt>
          <cx:pt idx="41033">1</cx:pt>
          <cx:pt idx="41034">1</cx:pt>
          <cx:pt idx="41035">0</cx:pt>
          <cx:pt idx="41036">0</cx:pt>
          <cx:pt idx="41037">1</cx:pt>
          <cx:pt idx="41038">1</cx:pt>
          <cx:pt idx="41039">0</cx:pt>
          <cx:pt idx="41040">0</cx:pt>
          <cx:pt idx="41041">1</cx:pt>
          <cx:pt idx="41042">1</cx:pt>
          <cx:pt idx="41043">1</cx:pt>
          <cx:pt idx="41044">0</cx:pt>
          <cx:pt idx="41045">0</cx:pt>
          <cx:pt idx="41046">1</cx:pt>
          <cx:pt idx="41047">1</cx:pt>
          <cx:pt idx="41048">1</cx:pt>
          <cx:pt idx="41049">1</cx:pt>
          <cx:pt idx="41050">1</cx:pt>
          <cx:pt idx="41051">0</cx:pt>
          <cx:pt idx="41052">1</cx:pt>
          <cx:pt idx="41053">0</cx:pt>
          <cx:pt idx="41054">1</cx:pt>
          <cx:pt idx="41055">0</cx:pt>
          <cx:pt idx="41056">1</cx:pt>
          <cx:pt idx="41057">1</cx:pt>
          <cx:pt idx="41058">0</cx:pt>
          <cx:pt idx="41059">0</cx:pt>
          <cx:pt idx="41060">1</cx:pt>
          <cx:pt idx="41061">0</cx:pt>
          <cx:pt idx="41062">0</cx:pt>
          <cx:pt idx="41063">0</cx:pt>
          <cx:pt idx="41064">0</cx:pt>
          <cx:pt idx="41065">1</cx:pt>
          <cx:pt idx="41066">0</cx:pt>
          <cx:pt idx="41067">0</cx:pt>
          <cx:pt idx="41068">0</cx:pt>
          <cx:pt idx="41069">0</cx:pt>
          <cx:pt idx="41070">0</cx:pt>
          <cx:pt idx="41071">0</cx:pt>
          <cx:pt idx="41072">0</cx:pt>
          <cx:pt idx="41073">1</cx:pt>
          <cx:pt idx="41074">0</cx:pt>
          <cx:pt idx="41075">0</cx:pt>
          <cx:pt idx="41076">0</cx:pt>
          <cx:pt idx="41077">1</cx:pt>
          <cx:pt idx="41078">0</cx:pt>
          <cx:pt idx="41079">0</cx:pt>
          <cx:pt idx="41080">1</cx:pt>
          <cx:pt idx="41081">0</cx:pt>
          <cx:pt idx="41082">1</cx:pt>
          <cx:pt idx="41083">1</cx:pt>
          <cx:pt idx="41084">0</cx:pt>
          <cx:pt idx="41085">1</cx:pt>
          <cx:pt idx="41086">1</cx:pt>
          <cx:pt idx="41087">1</cx:pt>
          <cx:pt idx="41088">1</cx:pt>
          <cx:pt idx="41089">0</cx:pt>
          <cx:pt idx="41090">0</cx:pt>
          <cx:pt idx="41091">0</cx:pt>
          <cx:pt idx="41092">0</cx:pt>
          <cx:pt idx="41093">1</cx:pt>
          <cx:pt idx="41094">1</cx:pt>
          <cx:pt idx="41095">0</cx:pt>
          <cx:pt idx="41096">1</cx:pt>
          <cx:pt idx="41097">0</cx:pt>
          <cx:pt idx="41098">0</cx:pt>
          <cx:pt idx="41099">0</cx:pt>
          <cx:pt idx="41100">0</cx:pt>
          <cx:pt idx="41101">1</cx:pt>
          <cx:pt idx="41102">1</cx:pt>
          <cx:pt idx="41103">0</cx:pt>
          <cx:pt idx="41104">0</cx:pt>
          <cx:pt idx="41105">0</cx:pt>
          <cx:pt idx="41106">0</cx:pt>
          <cx:pt idx="41107">0</cx:pt>
          <cx:pt idx="41108">1</cx:pt>
          <cx:pt idx="41109">1</cx:pt>
          <cx:pt idx="41110">0</cx:pt>
          <cx:pt idx="41111">0</cx:pt>
          <cx:pt idx="41112">0</cx:pt>
          <cx:pt idx="41113">0</cx:pt>
          <cx:pt idx="41114">0</cx:pt>
          <cx:pt idx="41115">1</cx:pt>
          <cx:pt idx="41116">1</cx:pt>
          <cx:pt idx="41117">1</cx:pt>
          <cx:pt idx="41118">0</cx:pt>
          <cx:pt idx="41119">0</cx:pt>
          <cx:pt idx="41120">1</cx:pt>
          <cx:pt idx="41121">0</cx:pt>
          <cx:pt idx="41122">0</cx:pt>
          <cx:pt idx="41123">0</cx:pt>
          <cx:pt idx="41124">1</cx:pt>
          <cx:pt idx="41125">0</cx:pt>
          <cx:pt idx="41126">1</cx:pt>
          <cx:pt idx="41127">1</cx:pt>
          <cx:pt idx="41128">1</cx:pt>
          <cx:pt idx="41129">1</cx:pt>
          <cx:pt idx="41130">1</cx:pt>
          <cx:pt idx="41131">0</cx:pt>
          <cx:pt idx="41132">0</cx:pt>
          <cx:pt idx="41133">0</cx:pt>
          <cx:pt idx="41134">0</cx:pt>
          <cx:pt idx="41135">0</cx:pt>
          <cx:pt idx="41136">0</cx:pt>
          <cx:pt idx="41137">1</cx:pt>
          <cx:pt idx="41138">0</cx:pt>
          <cx:pt idx="41139">1</cx:pt>
          <cx:pt idx="41140">1</cx:pt>
          <cx:pt idx="41141">1</cx:pt>
          <cx:pt idx="41142">1</cx:pt>
          <cx:pt idx="41143">1</cx:pt>
          <cx:pt idx="41144">0</cx:pt>
          <cx:pt idx="41145">0</cx:pt>
          <cx:pt idx="41146">1</cx:pt>
          <cx:pt idx="41147">0</cx:pt>
          <cx:pt idx="41148">0</cx:pt>
          <cx:pt idx="41149">1</cx:pt>
          <cx:pt idx="41150">0</cx:pt>
          <cx:pt idx="41151">0</cx:pt>
          <cx:pt idx="41152">0</cx:pt>
          <cx:pt idx="41153">0</cx:pt>
          <cx:pt idx="41154">1</cx:pt>
          <cx:pt idx="41155">1</cx:pt>
          <cx:pt idx="41156">0</cx:pt>
          <cx:pt idx="41157">0</cx:pt>
          <cx:pt idx="41158">1</cx:pt>
          <cx:pt idx="41159">1</cx:pt>
          <cx:pt idx="41160">1</cx:pt>
          <cx:pt idx="41161">0</cx:pt>
          <cx:pt idx="41162">0</cx:pt>
          <cx:pt idx="41163">0</cx:pt>
          <cx:pt idx="41164">0</cx:pt>
          <cx:pt idx="41165">1</cx:pt>
          <cx:pt idx="41166">1</cx:pt>
          <cx:pt idx="41167">1</cx:pt>
          <cx:pt idx="41168">0</cx:pt>
          <cx:pt idx="41169">1</cx:pt>
          <cx:pt idx="41170">1</cx:pt>
          <cx:pt idx="41171">1</cx:pt>
          <cx:pt idx="41172">1</cx:pt>
          <cx:pt idx="41173">1</cx:pt>
          <cx:pt idx="41174">1</cx:pt>
          <cx:pt idx="41175">1</cx:pt>
          <cx:pt idx="41176">1</cx:pt>
          <cx:pt idx="41177">0</cx:pt>
          <cx:pt idx="41178">1</cx:pt>
          <cx:pt idx="41179">0</cx:pt>
          <cx:pt idx="41180">1</cx:pt>
          <cx:pt idx="41181">1</cx:pt>
          <cx:pt idx="41182">1</cx:pt>
          <cx:pt idx="41183">0</cx:pt>
          <cx:pt idx="41184">0</cx:pt>
          <cx:pt idx="41185">1</cx:pt>
          <cx:pt idx="41186">1</cx:pt>
          <cx:pt idx="41187">0</cx:pt>
          <cx:pt idx="41188">0</cx:pt>
          <cx:pt idx="41189">0</cx:pt>
          <cx:pt idx="41190">1</cx:pt>
          <cx:pt idx="41191">1</cx:pt>
          <cx:pt idx="41192">1</cx:pt>
          <cx:pt idx="41193">1</cx:pt>
          <cx:pt idx="41194">1</cx:pt>
          <cx:pt idx="41195">0</cx:pt>
          <cx:pt idx="41196">0</cx:pt>
          <cx:pt idx="41197">0</cx:pt>
          <cx:pt idx="41198">1</cx:pt>
          <cx:pt idx="41199">1</cx:pt>
          <cx:pt idx="41200">0</cx:pt>
          <cx:pt idx="41201">0</cx:pt>
          <cx:pt idx="41202">0</cx:pt>
          <cx:pt idx="41203">0</cx:pt>
          <cx:pt idx="41204">1</cx:pt>
          <cx:pt idx="41205">1</cx:pt>
          <cx:pt idx="41206">0</cx:pt>
          <cx:pt idx="41207">0</cx:pt>
          <cx:pt idx="41208">0</cx:pt>
          <cx:pt idx="41209">0</cx:pt>
          <cx:pt idx="41210">1</cx:pt>
          <cx:pt idx="41211">0</cx:pt>
          <cx:pt idx="41212">1</cx:pt>
          <cx:pt idx="41213">0</cx:pt>
          <cx:pt idx="41214">0</cx:pt>
          <cx:pt idx="41215">1</cx:pt>
          <cx:pt idx="41216">0</cx:pt>
          <cx:pt idx="41217">0</cx:pt>
          <cx:pt idx="41218">1</cx:pt>
          <cx:pt idx="41219">0</cx:pt>
          <cx:pt idx="41220">1</cx:pt>
          <cx:pt idx="41221">0</cx:pt>
          <cx:pt idx="41222">0</cx:pt>
          <cx:pt idx="41223">0</cx:pt>
          <cx:pt idx="41224">0</cx:pt>
          <cx:pt idx="41225">0</cx:pt>
          <cx:pt idx="41226">0</cx:pt>
          <cx:pt idx="41227">1</cx:pt>
          <cx:pt idx="41228">1</cx:pt>
          <cx:pt idx="41229">1</cx:pt>
          <cx:pt idx="41230">1</cx:pt>
          <cx:pt idx="41231">1</cx:pt>
          <cx:pt idx="41232">0</cx:pt>
          <cx:pt idx="41233">0</cx:pt>
          <cx:pt idx="41234">0</cx:pt>
          <cx:pt idx="41235">0</cx:pt>
          <cx:pt idx="41236">1</cx:pt>
          <cx:pt idx="41237">1</cx:pt>
          <cx:pt idx="41238">1</cx:pt>
          <cx:pt idx="41239">1</cx:pt>
          <cx:pt idx="41240">0</cx:pt>
          <cx:pt idx="41241">0</cx:pt>
          <cx:pt idx="41242">1</cx:pt>
          <cx:pt idx="41243">0</cx:pt>
          <cx:pt idx="41244">1</cx:pt>
          <cx:pt idx="41245">1</cx:pt>
          <cx:pt idx="41246">0</cx:pt>
          <cx:pt idx="41247">1</cx:pt>
          <cx:pt idx="41248">0</cx:pt>
          <cx:pt idx="41249">1</cx:pt>
          <cx:pt idx="41250">1</cx:pt>
          <cx:pt idx="41251">0</cx:pt>
          <cx:pt idx="41252">1</cx:pt>
          <cx:pt idx="41253">0</cx:pt>
          <cx:pt idx="41254">0</cx:pt>
          <cx:pt idx="41255">1</cx:pt>
          <cx:pt idx="41256">0</cx:pt>
          <cx:pt idx="41257">0</cx:pt>
          <cx:pt idx="41258">1</cx:pt>
          <cx:pt idx="41259">0</cx:pt>
          <cx:pt idx="41260">0</cx:pt>
          <cx:pt idx="41261">0</cx:pt>
          <cx:pt idx="41262">1</cx:pt>
          <cx:pt idx="41263">1</cx:pt>
          <cx:pt idx="41264">0</cx:pt>
          <cx:pt idx="41265">1</cx:pt>
          <cx:pt idx="41266">0</cx:pt>
          <cx:pt idx="41267">1</cx:pt>
          <cx:pt idx="41268">0</cx:pt>
          <cx:pt idx="41269">0</cx:pt>
          <cx:pt idx="41270">0</cx:pt>
          <cx:pt idx="41271">1</cx:pt>
          <cx:pt idx="41272">0</cx:pt>
          <cx:pt idx="41273">0</cx:pt>
          <cx:pt idx="41274">0</cx:pt>
          <cx:pt idx="41275">1</cx:pt>
          <cx:pt idx="41276">0</cx:pt>
          <cx:pt idx="41277">1</cx:pt>
          <cx:pt idx="41278">1</cx:pt>
          <cx:pt idx="41279">1</cx:pt>
          <cx:pt idx="41280">1</cx:pt>
          <cx:pt idx="41281">1</cx:pt>
          <cx:pt idx="41282">0</cx:pt>
          <cx:pt idx="41283">0</cx:pt>
          <cx:pt idx="41284">0</cx:pt>
          <cx:pt idx="41285">1</cx:pt>
          <cx:pt idx="41286">0</cx:pt>
          <cx:pt idx="41287">0</cx:pt>
          <cx:pt idx="41288">1</cx:pt>
          <cx:pt idx="41289">0</cx:pt>
          <cx:pt idx="41290">0</cx:pt>
          <cx:pt idx="41291">1</cx:pt>
          <cx:pt idx="41292">1</cx:pt>
          <cx:pt idx="41293">1</cx:pt>
          <cx:pt idx="41294">0</cx:pt>
          <cx:pt idx="41295">0</cx:pt>
          <cx:pt idx="41296">0</cx:pt>
          <cx:pt idx="41297">0</cx:pt>
          <cx:pt idx="41298">1</cx:pt>
          <cx:pt idx="41299">0</cx:pt>
          <cx:pt idx="41300">1</cx:pt>
          <cx:pt idx="41301">0</cx:pt>
          <cx:pt idx="41302">0</cx:pt>
          <cx:pt idx="41303">0</cx:pt>
          <cx:pt idx="41304">0</cx:pt>
          <cx:pt idx="41305">1</cx:pt>
          <cx:pt idx="41306">0</cx:pt>
          <cx:pt idx="41307">0</cx:pt>
          <cx:pt idx="41308">1</cx:pt>
          <cx:pt idx="41309">1</cx:pt>
          <cx:pt idx="41310">1</cx:pt>
          <cx:pt idx="41311">1</cx:pt>
          <cx:pt idx="41312">0</cx:pt>
          <cx:pt idx="41313">1</cx:pt>
          <cx:pt idx="41314">1</cx:pt>
          <cx:pt idx="41315">0</cx:pt>
          <cx:pt idx="41316">0</cx:pt>
          <cx:pt idx="41317">0</cx:pt>
          <cx:pt idx="41318">0</cx:pt>
          <cx:pt idx="41319">1</cx:pt>
          <cx:pt idx="41320">0</cx:pt>
          <cx:pt idx="41321">1</cx:pt>
          <cx:pt idx="41322">1</cx:pt>
          <cx:pt idx="41323">0</cx:pt>
          <cx:pt idx="41324">1</cx:pt>
          <cx:pt idx="41325">0</cx:pt>
          <cx:pt idx="41326">0</cx:pt>
          <cx:pt idx="41327">1</cx:pt>
          <cx:pt idx="41328">0</cx:pt>
          <cx:pt idx="41329">1</cx:pt>
          <cx:pt idx="41330">0</cx:pt>
          <cx:pt idx="41331">0</cx:pt>
          <cx:pt idx="41332">0</cx:pt>
          <cx:pt idx="41333">1</cx:pt>
          <cx:pt idx="41334">1</cx:pt>
          <cx:pt idx="41335">0</cx:pt>
          <cx:pt idx="41336">0</cx:pt>
          <cx:pt idx="41337">1</cx:pt>
          <cx:pt idx="41338">1</cx:pt>
          <cx:pt idx="41339">1</cx:pt>
          <cx:pt idx="41340">0</cx:pt>
          <cx:pt idx="41341">0</cx:pt>
          <cx:pt idx="41342">0</cx:pt>
          <cx:pt idx="41343">1</cx:pt>
          <cx:pt idx="41344">1</cx:pt>
          <cx:pt idx="41345">0</cx:pt>
          <cx:pt idx="41346">1</cx:pt>
          <cx:pt idx="41347">1</cx:pt>
          <cx:pt idx="41348">1</cx:pt>
          <cx:pt idx="41349">1</cx:pt>
          <cx:pt idx="41350">1</cx:pt>
          <cx:pt idx="41351">1</cx:pt>
          <cx:pt idx="41352">1</cx:pt>
          <cx:pt idx="41353">1</cx:pt>
          <cx:pt idx="41354">0</cx:pt>
          <cx:pt idx="41355">0</cx:pt>
          <cx:pt idx="41356">0</cx:pt>
          <cx:pt idx="41357">0</cx:pt>
          <cx:pt idx="41358">0</cx:pt>
          <cx:pt idx="41359">0</cx:pt>
          <cx:pt idx="41360">1</cx:pt>
          <cx:pt idx="41361">0</cx:pt>
          <cx:pt idx="41362">0</cx:pt>
          <cx:pt idx="41363">0</cx:pt>
          <cx:pt idx="41364">0</cx:pt>
          <cx:pt idx="41365">1</cx:pt>
          <cx:pt idx="41366">0</cx:pt>
          <cx:pt idx="41367">0</cx:pt>
          <cx:pt idx="41368">1</cx:pt>
          <cx:pt idx="41369">1</cx:pt>
          <cx:pt idx="41370">0</cx:pt>
          <cx:pt idx="41371">0</cx:pt>
          <cx:pt idx="41372">1</cx:pt>
          <cx:pt idx="41373">0</cx:pt>
          <cx:pt idx="41374">1</cx:pt>
          <cx:pt idx="41375">0</cx:pt>
          <cx:pt idx="41376">1</cx:pt>
          <cx:pt idx="41377">0</cx:pt>
          <cx:pt idx="41378">0</cx:pt>
          <cx:pt idx="41379">1</cx:pt>
          <cx:pt idx="41380">1</cx:pt>
          <cx:pt idx="41381">1</cx:pt>
          <cx:pt idx="41382">0</cx:pt>
          <cx:pt idx="41383">1</cx:pt>
          <cx:pt idx="41384">0</cx:pt>
          <cx:pt idx="41385">0</cx:pt>
          <cx:pt idx="41386">0</cx:pt>
          <cx:pt idx="41387">0</cx:pt>
          <cx:pt idx="41388">1</cx:pt>
          <cx:pt idx="41389">0</cx:pt>
          <cx:pt idx="41390">0</cx:pt>
          <cx:pt idx="41391">1</cx:pt>
          <cx:pt idx="41392">1</cx:pt>
          <cx:pt idx="41393">0</cx:pt>
          <cx:pt idx="41394">0</cx:pt>
          <cx:pt idx="41395">1</cx:pt>
          <cx:pt idx="41396">0</cx:pt>
          <cx:pt idx="41397">0</cx:pt>
          <cx:pt idx="41398">1</cx:pt>
          <cx:pt idx="41399">0</cx:pt>
          <cx:pt idx="41400">0</cx:pt>
          <cx:pt idx="41401">1</cx:pt>
          <cx:pt idx="41402">1</cx:pt>
          <cx:pt idx="41403">0</cx:pt>
          <cx:pt idx="41404">1</cx:pt>
          <cx:pt idx="41405">1</cx:pt>
          <cx:pt idx="41406">0</cx:pt>
          <cx:pt idx="41407">0</cx:pt>
          <cx:pt idx="41408">1</cx:pt>
          <cx:pt idx="41409">1</cx:pt>
          <cx:pt idx="41410">0</cx:pt>
          <cx:pt idx="41411">1</cx:pt>
          <cx:pt idx="41412">0</cx:pt>
          <cx:pt idx="41413">0</cx:pt>
          <cx:pt idx="41414">0</cx:pt>
          <cx:pt idx="41415">0</cx:pt>
          <cx:pt idx="41416">0</cx:pt>
          <cx:pt idx="41417">0</cx:pt>
          <cx:pt idx="41418">0</cx:pt>
          <cx:pt idx="41419">1</cx:pt>
          <cx:pt idx="41420">0</cx:pt>
          <cx:pt idx="41421">0</cx:pt>
          <cx:pt idx="41422">0</cx:pt>
          <cx:pt idx="41423">0</cx:pt>
          <cx:pt idx="41424">0</cx:pt>
          <cx:pt idx="41425">0</cx:pt>
          <cx:pt idx="41426">0</cx:pt>
          <cx:pt idx="41427">1</cx:pt>
          <cx:pt idx="41428">0</cx:pt>
          <cx:pt idx="41429">0</cx:pt>
          <cx:pt idx="41430">1</cx:pt>
          <cx:pt idx="41431">0</cx:pt>
          <cx:pt idx="41432">1</cx:pt>
          <cx:pt idx="41433">1</cx:pt>
          <cx:pt idx="41434">1</cx:pt>
          <cx:pt idx="41435">0</cx:pt>
          <cx:pt idx="41436">1</cx:pt>
          <cx:pt idx="41437">1</cx:pt>
          <cx:pt idx="41438">0</cx:pt>
          <cx:pt idx="41439">1</cx:pt>
          <cx:pt idx="41440">1</cx:pt>
          <cx:pt idx="41441">0</cx:pt>
          <cx:pt idx="41442">0</cx:pt>
          <cx:pt idx="41443">0</cx:pt>
          <cx:pt idx="41444">1</cx:pt>
          <cx:pt idx="41445">0</cx:pt>
          <cx:pt idx="41446">1</cx:pt>
          <cx:pt idx="41447">0</cx:pt>
          <cx:pt idx="41448">0</cx:pt>
          <cx:pt idx="41449">0</cx:pt>
          <cx:pt idx="41450">0</cx:pt>
          <cx:pt idx="41451">1</cx:pt>
          <cx:pt idx="41452">0</cx:pt>
          <cx:pt idx="41453">0</cx:pt>
          <cx:pt idx="41454">1</cx:pt>
          <cx:pt idx="41455">1</cx:pt>
          <cx:pt idx="41456">0</cx:pt>
          <cx:pt idx="41457">0</cx:pt>
          <cx:pt idx="41458">0</cx:pt>
          <cx:pt idx="41459">1</cx:pt>
          <cx:pt idx="41460">0</cx:pt>
          <cx:pt idx="41461">1</cx:pt>
          <cx:pt idx="41462">0</cx:pt>
          <cx:pt idx="41463">0</cx:pt>
          <cx:pt idx="41464">1</cx:pt>
          <cx:pt idx="41465">1</cx:pt>
          <cx:pt idx="41466">1</cx:pt>
          <cx:pt idx="41467">1</cx:pt>
          <cx:pt idx="41468">1</cx:pt>
          <cx:pt idx="41469">0</cx:pt>
          <cx:pt idx="41470">1</cx:pt>
          <cx:pt idx="41471">1</cx:pt>
          <cx:pt idx="41472">0</cx:pt>
          <cx:pt idx="41473">1</cx:pt>
          <cx:pt idx="41474">0</cx:pt>
          <cx:pt idx="41475">0</cx:pt>
          <cx:pt idx="41476">1</cx:pt>
          <cx:pt idx="41477">1</cx:pt>
          <cx:pt idx="41478">0</cx:pt>
          <cx:pt idx="41479">1</cx:pt>
          <cx:pt idx="41480">1</cx:pt>
          <cx:pt idx="41481">1</cx:pt>
          <cx:pt idx="41482">1</cx:pt>
          <cx:pt idx="41483">0</cx:pt>
          <cx:pt idx="41484">0</cx:pt>
          <cx:pt idx="41485">0</cx:pt>
          <cx:pt idx="41486">1</cx:pt>
          <cx:pt idx="41487">0</cx:pt>
          <cx:pt idx="41488">0</cx:pt>
          <cx:pt idx="41489">0</cx:pt>
          <cx:pt idx="41490">0</cx:pt>
          <cx:pt idx="41491">1</cx:pt>
          <cx:pt idx="41492">0</cx:pt>
          <cx:pt idx="41493">1</cx:pt>
          <cx:pt idx="41494">0</cx:pt>
          <cx:pt idx="41495">1</cx:pt>
          <cx:pt idx="41496">1</cx:pt>
          <cx:pt idx="41497">1</cx:pt>
          <cx:pt idx="41498">1</cx:pt>
          <cx:pt idx="41499">1</cx:pt>
          <cx:pt idx="41500">0</cx:pt>
          <cx:pt idx="41501">0</cx:pt>
          <cx:pt idx="41502">0</cx:pt>
          <cx:pt idx="41503">0</cx:pt>
          <cx:pt idx="41504">1</cx:pt>
          <cx:pt idx="41505">1</cx:pt>
          <cx:pt idx="41506">1</cx:pt>
          <cx:pt idx="41507">0</cx:pt>
          <cx:pt idx="41508">0</cx:pt>
          <cx:pt idx="41509">1</cx:pt>
          <cx:pt idx="41510">1</cx:pt>
          <cx:pt idx="41511">0</cx:pt>
          <cx:pt idx="41512">0</cx:pt>
          <cx:pt idx="41513">1</cx:pt>
          <cx:pt idx="41514">0</cx:pt>
          <cx:pt idx="41515">1</cx:pt>
          <cx:pt idx="41516">0</cx:pt>
          <cx:pt idx="41517">1</cx:pt>
          <cx:pt idx="41518">1</cx:pt>
          <cx:pt idx="41519">0</cx:pt>
          <cx:pt idx="41520">0</cx:pt>
          <cx:pt idx="41521">0</cx:pt>
          <cx:pt idx="41522">0</cx:pt>
          <cx:pt idx="41523">0</cx:pt>
          <cx:pt idx="41524">0</cx:pt>
          <cx:pt idx="41525">0</cx:pt>
          <cx:pt idx="41526">0</cx:pt>
          <cx:pt idx="41527">0</cx:pt>
          <cx:pt idx="41528">0</cx:pt>
          <cx:pt idx="41529">1</cx:pt>
          <cx:pt idx="41530">0</cx:pt>
          <cx:pt idx="41531">0</cx:pt>
          <cx:pt idx="41532">1</cx:pt>
          <cx:pt idx="41533">1</cx:pt>
          <cx:pt idx="41534">1</cx:pt>
          <cx:pt idx="41535">0</cx:pt>
          <cx:pt idx="41536">0</cx:pt>
          <cx:pt idx="41537">1</cx:pt>
          <cx:pt idx="41538">0</cx:pt>
          <cx:pt idx="41539">1</cx:pt>
          <cx:pt idx="41540">0</cx:pt>
          <cx:pt idx="41541">0</cx:pt>
          <cx:pt idx="41542">1</cx:pt>
          <cx:pt idx="41543">0</cx:pt>
          <cx:pt idx="41544">0</cx:pt>
          <cx:pt idx="41545">0</cx:pt>
          <cx:pt idx="41546">1</cx:pt>
          <cx:pt idx="41547">0</cx:pt>
          <cx:pt idx="41548">0</cx:pt>
          <cx:pt idx="41549">1</cx:pt>
          <cx:pt idx="41550">1</cx:pt>
          <cx:pt idx="41551">1</cx:pt>
          <cx:pt idx="41552">0</cx:pt>
          <cx:pt idx="41553">0</cx:pt>
          <cx:pt idx="41554">0</cx:pt>
          <cx:pt idx="41555">0</cx:pt>
          <cx:pt idx="41556">1</cx:pt>
          <cx:pt idx="41557">1</cx:pt>
          <cx:pt idx="41558">0</cx:pt>
          <cx:pt idx="41559">1</cx:pt>
          <cx:pt idx="41560">0</cx:pt>
          <cx:pt idx="41561">0</cx:pt>
          <cx:pt idx="41562">0</cx:pt>
          <cx:pt idx="41563">1</cx:pt>
          <cx:pt idx="41564">0</cx:pt>
          <cx:pt idx="41565">1</cx:pt>
          <cx:pt idx="41566">0</cx:pt>
          <cx:pt idx="41567">0</cx:pt>
          <cx:pt idx="41568">0</cx:pt>
          <cx:pt idx="41569">0</cx:pt>
          <cx:pt idx="41570">1</cx:pt>
          <cx:pt idx="41571">0</cx:pt>
          <cx:pt idx="41572">1</cx:pt>
          <cx:pt idx="41573">1</cx:pt>
          <cx:pt idx="41574">0</cx:pt>
          <cx:pt idx="41575">0</cx:pt>
          <cx:pt idx="41576">1</cx:pt>
          <cx:pt idx="41577">1</cx:pt>
          <cx:pt idx="41578">0</cx:pt>
          <cx:pt idx="41579">0</cx:pt>
          <cx:pt idx="41580">1</cx:pt>
          <cx:pt idx="41581">0</cx:pt>
          <cx:pt idx="41582">1</cx:pt>
          <cx:pt idx="41583">1</cx:pt>
          <cx:pt idx="41584">0</cx:pt>
          <cx:pt idx="41585">1</cx:pt>
          <cx:pt idx="41586">1</cx:pt>
          <cx:pt idx="41587">1</cx:pt>
          <cx:pt idx="41588">1</cx:pt>
          <cx:pt idx="41589">0</cx:pt>
          <cx:pt idx="41590">0</cx:pt>
          <cx:pt idx="41591">0</cx:pt>
          <cx:pt idx="41592">1</cx:pt>
          <cx:pt idx="41593">0</cx:pt>
          <cx:pt idx="41594">0</cx:pt>
          <cx:pt idx="41595">1</cx:pt>
          <cx:pt idx="41596">1</cx:pt>
          <cx:pt idx="41597">1</cx:pt>
          <cx:pt idx="41598">1</cx:pt>
          <cx:pt idx="41599">1</cx:pt>
          <cx:pt idx="41600">0</cx:pt>
          <cx:pt idx="41601">0</cx:pt>
          <cx:pt idx="41602">0</cx:pt>
          <cx:pt idx="41603">1</cx:pt>
          <cx:pt idx="41604">1</cx:pt>
          <cx:pt idx="41605">0</cx:pt>
          <cx:pt idx="41606">1</cx:pt>
          <cx:pt idx="41607">1</cx:pt>
          <cx:pt idx="41608">1</cx:pt>
          <cx:pt idx="41609">0</cx:pt>
          <cx:pt idx="41610">1</cx:pt>
          <cx:pt idx="41611">0</cx:pt>
          <cx:pt idx="41612">0</cx:pt>
          <cx:pt idx="41613">0</cx:pt>
          <cx:pt idx="41614">0</cx:pt>
          <cx:pt idx="41615">0</cx:pt>
          <cx:pt idx="41616">1</cx:pt>
          <cx:pt idx="41617">0</cx:pt>
          <cx:pt idx="41618">1</cx:pt>
          <cx:pt idx="41619">0</cx:pt>
          <cx:pt idx="41620">1</cx:pt>
          <cx:pt idx="41621">1</cx:pt>
          <cx:pt idx="41622">1</cx:pt>
          <cx:pt idx="41623">0</cx:pt>
          <cx:pt idx="41624">1</cx:pt>
          <cx:pt idx="41625">0</cx:pt>
          <cx:pt idx="41626">1</cx:pt>
          <cx:pt idx="41627">0</cx:pt>
          <cx:pt idx="41628">0</cx:pt>
          <cx:pt idx="41629">1</cx:pt>
          <cx:pt idx="41630">1</cx:pt>
          <cx:pt idx="41631">0</cx:pt>
          <cx:pt idx="41632">1</cx:pt>
          <cx:pt idx="41633">0</cx:pt>
          <cx:pt idx="41634">0</cx:pt>
          <cx:pt idx="41635">1</cx:pt>
          <cx:pt idx="41636">1</cx:pt>
          <cx:pt idx="41637">1</cx:pt>
          <cx:pt idx="41638">1</cx:pt>
          <cx:pt idx="41639">1</cx:pt>
          <cx:pt idx="41640">1</cx:pt>
          <cx:pt idx="41641">0</cx:pt>
          <cx:pt idx="41642">1</cx:pt>
          <cx:pt idx="41643">0</cx:pt>
          <cx:pt idx="41644">0</cx:pt>
          <cx:pt idx="41645">0</cx:pt>
          <cx:pt idx="41646">0</cx:pt>
          <cx:pt idx="41647">1</cx:pt>
          <cx:pt idx="41648">1</cx:pt>
          <cx:pt idx="41649">1</cx:pt>
          <cx:pt idx="41650">1</cx:pt>
          <cx:pt idx="41651">0</cx:pt>
          <cx:pt idx="41652">1</cx:pt>
          <cx:pt idx="41653">0</cx:pt>
          <cx:pt idx="41654">1</cx:pt>
          <cx:pt idx="41655">0</cx:pt>
          <cx:pt idx="41656">1</cx:pt>
          <cx:pt idx="41657">0</cx:pt>
          <cx:pt idx="41658">1</cx:pt>
          <cx:pt idx="41659">0</cx:pt>
          <cx:pt idx="41660">0</cx:pt>
          <cx:pt idx="41661">1</cx:pt>
          <cx:pt idx="41662">1</cx:pt>
          <cx:pt idx="41663">0</cx:pt>
          <cx:pt idx="41664">1</cx:pt>
          <cx:pt idx="41665">1</cx:pt>
          <cx:pt idx="41666">0</cx:pt>
          <cx:pt idx="41667">0</cx:pt>
          <cx:pt idx="41668">0</cx:pt>
          <cx:pt idx="41669">1</cx:pt>
          <cx:pt idx="41670">1</cx:pt>
          <cx:pt idx="41671">0</cx:pt>
          <cx:pt idx="41672">1</cx:pt>
          <cx:pt idx="41673">1</cx:pt>
          <cx:pt idx="41674">1</cx:pt>
          <cx:pt idx="41675">1</cx:pt>
          <cx:pt idx="41676">0</cx:pt>
          <cx:pt idx="41677">0</cx:pt>
          <cx:pt idx="41678">0</cx:pt>
          <cx:pt idx="41679">0</cx:pt>
          <cx:pt idx="41680">0</cx:pt>
          <cx:pt idx="41681">0</cx:pt>
          <cx:pt idx="41682">0</cx:pt>
          <cx:pt idx="41683">0</cx:pt>
          <cx:pt idx="41684">0</cx:pt>
          <cx:pt idx="41685">0</cx:pt>
          <cx:pt idx="41686">0</cx:pt>
          <cx:pt idx="41687">1</cx:pt>
          <cx:pt idx="41688">0</cx:pt>
          <cx:pt idx="41689">1</cx:pt>
          <cx:pt idx="41690">1</cx:pt>
          <cx:pt idx="41691">1</cx:pt>
          <cx:pt idx="41692">0</cx:pt>
          <cx:pt idx="41693">0</cx:pt>
          <cx:pt idx="41694">0</cx:pt>
          <cx:pt idx="41695">1</cx:pt>
          <cx:pt idx="41696">1</cx:pt>
          <cx:pt idx="41697">0</cx:pt>
          <cx:pt idx="41698">0</cx:pt>
          <cx:pt idx="41699">0</cx:pt>
          <cx:pt idx="41700">0</cx:pt>
          <cx:pt idx="41701">0</cx:pt>
          <cx:pt idx="41702">1</cx:pt>
          <cx:pt idx="41703">1</cx:pt>
          <cx:pt idx="41704">1</cx:pt>
          <cx:pt idx="41705">0</cx:pt>
          <cx:pt idx="41706">0</cx:pt>
          <cx:pt idx="41707">1</cx:pt>
          <cx:pt idx="41708">0</cx:pt>
          <cx:pt idx="41709">1</cx:pt>
          <cx:pt idx="41710">0</cx:pt>
          <cx:pt idx="41711">1</cx:pt>
          <cx:pt idx="41712">0</cx:pt>
          <cx:pt idx="41713">0</cx:pt>
          <cx:pt idx="41714">0</cx:pt>
          <cx:pt idx="41715">1</cx:pt>
          <cx:pt idx="41716">0</cx:pt>
          <cx:pt idx="41717">1</cx:pt>
          <cx:pt idx="41718">0</cx:pt>
          <cx:pt idx="41719">0</cx:pt>
          <cx:pt idx="41720">0</cx:pt>
          <cx:pt idx="41721">0</cx:pt>
          <cx:pt idx="41722">1</cx:pt>
          <cx:pt idx="41723">0</cx:pt>
          <cx:pt idx="41724">1</cx:pt>
          <cx:pt idx="41725">1</cx:pt>
          <cx:pt idx="41726">0</cx:pt>
          <cx:pt idx="41727">0</cx:pt>
          <cx:pt idx="41728">1</cx:pt>
          <cx:pt idx="41729">1</cx:pt>
          <cx:pt idx="41730">1</cx:pt>
          <cx:pt idx="41731">0</cx:pt>
          <cx:pt idx="41732">0</cx:pt>
          <cx:pt idx="41733">1</cx:pt>
          <cx:pt idx="41734">0</cx:pt>
          <cx:pt idx="41735">0</cx:pt>
          <cx:pt idx="41736">0</cx:pt>
          <cx:pt idx="41737">1</cx:pt>
          <cx:pt idx="41738">1</cx:pt>
          <cx:pt idx="41739">1</cx:pt>
          <cx:pt idx="41740">1</cx:pt>
          <cx:pt idx="41741">1</cx:pt>
          <cx:pt idx="41742">1</cx:pt>
          <cx:pt idx="41743">0</cx:pt>
          <cx:pt idx="41744">0</cx:pt>
          <cx:pt idx="41745">1</cx:pt>
          <cx:pt idx="41746">0</cx:pt>
          <cx:pt idx="41747">0</cx:pt>
          <cx:pt idx="41748">1</cx:pt>
          <cx:pt idx="41749">0</cx:pt>
          <cx:pt idx="41750">0</cx:pt>
          <cx:pt idx="41751">1</cx:pt>
          <cx:pt idx="41752">1</cx:pt>
          <cx:pt idx="41753">1</cx:pt>
          <cx:pt idx="41754">1</cx:pt>
          <cx:pt idx="41755">0</cx:pt>
          <cx:pt idx="41756">0</cx:pt>
          <cx:pt idx="41757">0</cx:pt>
          <cx:pt idx="41758">0</cx:pt>
          <cx:pt idx="41759">0</cx:pt>
          <cx:pt idx="41760">0</cx:pt>
          <cx:pt idx="41761">1</cx:pt>
          <cx:pt idx="41762">0</cx:pt>
          <cx:pt idx="41763">1</cx:pt>
          <cx:pt idx="41764">1</cx:pt>
          <cx:pt idx="41765">1</cx:pt>
          <cx:pt idx="41766">0</cx:pt>
          <cx:pt idx="41767">1</cx:pt>
          <cx:pt idx="41768">0</cx:pt>
          <cx:pt idx="41769">0</cx:pt>
          <cx:pt idx="41770">1</cx:pt>
          <cx:pt idx="41771">1</cx:pt>
          <cx:pt idx="41772">1</cx:pt>
          <cx:pt idx="41773">0</cx:pt>
          <cx:pt idx="41774">1</cx:pt>
          <cx:pt idx="41775">1</cx:pt>
          <cx:pt idx="41776">0</cx:pt>
          <cx:pt idx="41777">1</cx:pt>
          <cx:pt idx="41778">0</cx:pt>
          <cx:pt idx="41779">0</cx:pt>
          <cx:pt idx="41780">1</cx:pt>
          <cx:pt idx="41781">0</cx:pt>
          <cx:pt idx="41782">0</cx:pt>
          <cx:pt idx="41783">0</cx:pt>
          <cx:pt idx="41784">0</cx:pt>
          <cx:pt idx="41785">0</cx:pt>
          <cx:pt idx="41786">1</cx:pt>
          <cx:pt idx="41787">1</cx:pt>
          <cx:pt idx="41788">1</cx:pt>
          <cx:pt idx="41789">0</cx:pt>
          <cx:pt idx="41790">1</cx:pt>
          <cx:pt idx="41791">1</cx:pt>
          <cx:pt idx="41792">1</cx:pt>
          <cx:pt idx="41793">1</cx:pt>
          <cx:pt idx="41794">1</cx:pt>
          <cx:pt idx="41795">0</cx:pt>
          <cx:pt idx="41796">0</cx:pt>
          <cx:pt idx="41797">1</cx:pt>
          <cx:pt idx="41798">1</cx:pt>
          <cx:pt idx="41799">1</cx:pt>
          <cx:pt idx="41800">1</cx:pt>
          <cx:pt idx="41801">0</cx:pt>
          <cx:pt idx="41802">1</cx:pt>
          <cx:pt idx="41803">0</cx:pt>
          <cx:pt idx="41804">0</cx:pt>
          <cx:pt idx="41805">1</cx:pt>
          <cx:pt idx="41806">1</cx:pt>
          <cx:pt idx="41807">1</cx:pt>
          <cx:pt idx="41808">0</cx:pt>
          <cx:pt idx="41809">1</cx:pt>
          <cx:pt idx="41810">1</cx:pt>
          <cx:pt idx="41811">1</cx:pt>
          <cx:pt idx="41812">1</cx:pt>
          <cx:pt idx="41813">0</cx:pt>
          <cx:pt idx="41814">1</cx:pt>
          <cx:pt idx="41815">0</cx:pt>
          <cx:pt idx="41816">0</cx:pt>
          <cx:pt idx="41817">0</cx:pt>
          <cx:pt idx="41818">0</cx:pt>
          <cx:pt idx="41819">0</cx:pt>
          <cx:pt idx="41820">0</cx:pt>
          <cx:pt idx="41821">0</cx:pt>
          <cx:pt idx="41822">1</cx:pt>
          <cx:pt idx="41823">0</cx:pt>
          <cx:pt idx="41824">1</cx:pt>
          <cx:pt idx="41825">0</cx:pt>
          <cx:pt idx="41826">1</cx:pt>
          <cx:pt idx="41827">0</cx:pt>
          <cx:pt idx="41828">1</cx:pt>
          <cx:pt idx="41829">0</cx:pt>
          <cx:pt idx="41830">1</cx:pt>
          <cx:pt idx="41831">0</cx:pt>
          <cx:pt idx="41832">1</cx:pt>
          <cx:pt idx="41833">0</cx:pt>
          <cx:pt idx="41834">1</cx:pt>
          <cx:pt idx="41835">1</cx:pt>
          <cx:pt idx="41836">1</cx:pt>
          <cx:pt idx="41837">0</cx:pt>
          <cx:pt idx="41838">1</cx:pt>
          <cx:pt idx="41839">0</cx:pt>
          <cx:pt idx="41840">1</cx:pt>
          <cx:pt idx="41841">0</cx:pt>
          <cx:pt idx="41842">0</cx:pt>
          <cx:pt idx="41843">0</cx:pt>
          <cx:pt idx="41844">0</cx:pt>
          <cx:pt idx="41845">1</cx:pt>
          <cx:pt idx="41846">1</cx:pt>
          <cx:pt idx="41847">0</cx:pt>
          <cx:pt idx="41848">0</cx:pt>
          <cx:pt idx="41849">0</cx:pt>
          <cx:pt idx="41850">1</cx:pt>
          <cx:pt idx="41851">0</cx:pt>
          <cx:pt idx="41852">1</cx:pt>
          <cx:pt idx="41853">0</cx:pt>
          <cx:pt idx="41854">0</cx:pt>
          <cx:pt idx="41855">0</cx:pt>
          <cx:pt idx="41856">1</cx:pt>
          <cx:pt idx="41857">0</cx:pt>
          <cx:pt idx="41858">0</cx:pt>
          <cx:pt idx="41859">0</cx:pt>
          <cx:pt idx="41860">1</cx:pt>
          <cx:pt idx="41861">1</cx:pt>
          <cx:pt idx="41862">0</cx:pt>
          <cx:pt idx="41863">1</cx:pt>
          <cx:pt idx="41864">0</cx:pt>
          <cx:pt idx="41865">1</cx:pt>
          <cx:pt idx="41866">0</cx:pt>
          <cx:pt idx="41867">1</cx:pt>
          <cx:pt idx="41868">0</cx:pt>
          <cx:pt idx="41869">0</cx:pt>
          <cx:pt idx="41870">0</cx:pt>
          <cx:pt idx="41871">0</cx:pt>
          <cx:pt idx="41872">1</cx:pt>
          <cx:pt idx="41873">1</cx:pt>
          <cx:pt idx="41874">0</cx:pt>
          <cx:pt idx="41875">1</cx:pt>
          <cx:pt idx="41876">1</cx:pt>
          <cx:pt idx="41877">1</cx:pt>
          <cx:pt idx="41878">0</cx:pt>
          <cx:pt idx="41879">0</cx:pt>
          <cx:pt idx="41880">0</cx:pt>
          <cx:pt idx="41881">0</cx:pt>
          <cx:pt idx="41882">0</cx:pt>
          <cx:pt idx="41883">0</cx:pt>
          <cx:pt idx="41884">1</cx:pt>
          <cx:pt idx="41885">0</cx:pt>
          <cx:pt idx="41886">0</cx:pt>
          <cx:pt idx="41887">1</cx:pt>
          <cx:pt idx="41888">0</cx:pt>
          <cx:pt idx="41889">0</cx:pt>
          <cx:pt idx="41890">0</cx:pt>
          <cx:pt idx="41891">0</cx:pt>
          <cx:pt idx="41892">0</cx:pt>
          <cx:pt idx="41893">0</cx:pt>
          <cx:pt idx="41894">1</cx:pt>
          <cx:pt idx="41895">0</cx:pt>
          <cx:pt idx="41896">0</cx:pt>
          <cx:pt idx="41897">1</cx:pt>
          <cx:pt idx="41898">1</cx:pt>
          <cx:pt idx="41899">0</cx:pt>
          <cx:pt idx="41900">1</cx:pt>
          <cx:pt idx="41901">1</cx:pt>
          <cx:pt idx="41902">0</cx:pt>
          <cx:pt idx="41903">0</cx:pt>
          <cx:pt idx="41904">0</cx:pt>
          <cx:pt idx="41905">0</cx:pt>
          <cx:pt idx="41906">1</cx:pt>
          <cx:pt idx="41907">0</cx:pt>
          <cx:pt idx="41908">0</cx:pt>
          <cx:pt idx="41909">0</cx:pt>
          <cx:pt idx="41910">0</cx:pt>
          <cx:pt idx="41911">0</cx:pt>
          <cx:pt idx="41912">1</cx:pt>
          <cx:pt idx="41913">0</cx:pt>
          <cx:pt idx="41914">0</cx:pt>
          <cx:pt idx="41915">0</cx:pt>
          <cx:pt idx="41916">1</cx:pt>
          <cx:pt idx="41917">1</cx:pt>
          <cx:pt idx="41918">0</cx:pt>
          <cx:pt idx="41919">0</cx:pt>
          <cx:pt idx="41920">0</cx:pt>
          <cx:pt idx="41921">1</cx:pt>
          <cx:pt idx="41922">0</cx:pt>
          <cx:pt idx="41923">1</cx:pt>
          <cx:pt idx="41924">0</cx:pt>
          <cx:pt idx="41925">1</cx:pt>
          <cx:pt idx="41926">1</cx:pt>
          <cx:pt idx="41927">0</cx:pt>
          <cx:pt idx="41928">0</cx:pt>
          <cx:pt idx="41929">1</cx:pt>
          <cx:pt idx="41930">1</cx:pt>
          <cx:pt idx="41931">0</cx:pt>
          <cx:pt idx="41932">0</cx:pt>
          <cx:pt idx="41933">1</cx:pt>
          <cx:pt idx="41934">0</cx:pt>
          <cx:pt idx="41935">0</cx:pt>
          <cx:pt idx="41936">1</cx:pt>
          <cx:pt idx="41937">1</cx:pt>
          <cx:pt idx="41938">0</cx:pt>
          <cx:pt idx="41939">0</cx:pt>
          <cx:pt idx="41940">0</cx:pt>
          <cx:pt idx="41941">0</cx:pt>
          <cx:pt idx="41942">0</cx:pt>
          <cx:pt idx="41943">1</cx:pt>
          <cx:pt idx="41944">0</cx:pt>
          <cx:pt idx="41945">1</cx:pt>
          <cx:pt idx="41946">0</cx:pt>
          <cx:pt idx="41947">0</cx:pt>
          <cx:pt idx="41948">0</cx:pt>
          <cx:pt idx="41949">1</cx:pt>
          <cx:pt idx="41950">1</cx:pt>
          <cx:pt idx="41951">1</cx:pt>
          <cx:pt idx="41952">1</cx:pt>
          <cx:pt idx="41953">0</cx:pt>
          <cx:pt idx="41954">0</cx:pt>
          <cx:pt idx="41955">1</cx:pt>
          <cx:pt idx="41956">0</cx:pt>
          <cx:pt idx="41957">1</cx:pt>
          <cx:pt idx="41958">1</cx:pt>
          <cx:pt idx="41959">1</cx:pt>
          <cx:pt idx="41960">0</cx:pt>
          <cx:pt idx="41961">1</cx:pt>
          <cx:pt idx="41962">0</cx:pt>
          <cx:pt idx="41963">0</cx:pt>
          <cx:pt idx="41964">0</cx:pt>
          <cx:pt idx="41965">1</cx:pt>
          <cx:pt idx="41966">0</cx:pt>
          <cx:pt idx="41967">0</cx:pt>
          <cx:pt idx="41968">1</cx:pt>
          <cx:pt idx="41969">0</cx:pt>
          <cx:pt idx="41970">0</cx:pt>
          <cx:pt idx="41971">0</cx:pt>
          <cx:pt idx="41972">0</cx:pt>
          <cx:pt idx="41973">1</cx:pt>
          <cx:pt idx="41974">1</cx:pt>
          <cx:pt idx="41975">1</cx:pt>
          <cx:pt idx="41976">1</cx:pt>
          <cx:pt idx="41977">0</cx:pt>
          <cx:pt idx="41978">0</cx:pt>
          <cx:pt idx="41979">1</cx:pt>
          <cx:pt idx="41980">1</cx:pt>
          <cx:pt idx="41981">1</cx:pt>
          <cx:pt idx="41982">0</cx:pt>
          <cx:pt idx="41983">1</cx:pt>
          <cx:pt idx="41984">1</cx:pt>
          <cx:pt idx="41985">0</cx:pt>
          <cx:pt idx="41986">0</cx:pt>
          <cx:pt idx="41987">1</cx:pt>
          <cx:pt idx="41988">0</cx:pt>
          <cx:pt idx="41989">1</cx:pt>
          <cx:pt idx="41990">0</cx:pt>
          <cx:pt idx="41991">0</cx:pt>
          <cx:pt idx="41992">1</cx:pt>
          <cx:pt idx="41993">0</cx:pt>
          <cx:pt idx="41994">0</cx:pt>
          <cx:pt idx="41995">1</cx:pt>
          <cx:pt idx="41996">0</cx:pt>
          <cx:pt idx="41997">0</cx:pt>
          <cx:pt idx="41998">0</cx:pt>
          <cx:pt idx="41999">1</cx:pt>
          <cx:pt idx="42000">0</cx:pt>
          <cx:pt idx="42001">0</cx:pt>
          <cx:pt idx="42002">0</cx:pt>
          <cx:pt idx="42003">0</cx:pt>
          <cx:pt idx="42004">0</cx:pt>
          <cx:pt idx="42005">1</cx:pt>
          <cx:pt idx="42006">1</cx:pt>
          <cx:pt idx="42007">1</cx:pt>
          <cx:pt idx="42008">1</cx:pt>
          <cx:pt idx="42009">0</cx:pt>
          <cx:pt idx="42010">1</cx:pt>
          <cx:pt idx="42011">0</cx:pt>
          <cx:pt idx="42012">0</cx:pt>
          <cx:pt idx="42013">1</cx:pt>
          <cx:pt idx="42014">0</cx:pt>
          <cx:pt idx="42015">0</cx:pt>
          <cx:pt idx="42016">0</cx:pt>
          <cx:pt idx="42017">0</cx:pt>
          <cx:pt idx="42018">1</cx:pt>
          <cx:pt idx="42019">0</cx:pt>
          <cx:pt idx="42020">0</cx:pt>
          <cx:pt idx="42021">1</cx:pt>
          <cx:pt idx="42022">0</cx:pt>
          <cx:pt idx="42023">0</cx:pt>
          <cx:pt idx="42024">0</cx:pt>
          <cx:pt idx="42025">1</cx:pt>
          <cx:pt idx="42026">1</cx:pt>
          <cx:pt idx="42027">1</cx:pt>
          <cx:pt idx="42028">0</cx:pt>
          <cx:pt idx="42029">1</cx:pt>
          <cx:pt idx="42030">0</cx:pt>
          <cx:pt idx="42031">1</cx:pt>
          <cx:pt idx="42032">1</cx:pt>
          <cx:pt idx="42033">0</cx:pt>
          <cx:pt idx="42034">0</cx:pt>
          <cx:pt idx="42035">0</cx:pt>
          <cx:pt idx="42036">0</cx:pt>
          <cx:pt idx="42037">1</cx:pt>
          <cx:pt idx="42038">1</cx:pt>
          <cx:pt idx="42039">1</cx:pt>
          <cx:pt idx="42040">0</cx:pt>
          <cx:pt idx="42041">1</cx:pt>
          <cx:pt idx="42042">0</cx:pt>
          <cx:pt idx="42043">1</cx:pt>
          <cx:pt idx="42044">0</cx:pt>
          <cx:pt idx="42045">0</cx:pt>
          <cx:pt idx="42046">1</cx:pt>
          <cx:pt idx="42047">0</cx:pt>
          <cx:pt idx="42048">1</cx:pt>
          <cx:pt idx="42049">1</cx:pt>
          <cx:pt idx="42050">1</cx:pt>
          <cx:pt idx="42051">1</cx:pt>
          <cx:pt idx="42052">0</cx:pt>
          <cx:pt idx="42053">1</cx:pt>
          <cx:pt idx="42054">0</cx:pt>
          <cx:pt idx="42055">1</cx:pt>
          <cx:pt idx="42056">0</cx:pt>
          <cx:pt idx="42057">1</cx:pt>
          <cx:pt idx="42058">1</cx:pt>
          <cx:pt idx="42059">0</cx:pt>
          <cx:pt idx="42060">0</cx:pt>
          <cx:pt idx="42061">0</cx:pt>
          <cx:pt idx="42062">0</cx:pt>
          <cx:pt idx="42063">0</cx:pt>
          <cx:pt idx="42064">1</cx:pt>
          <cx:pt idx="42065">0</cx:pt>
          <cx:pt idx="42066">1</cx:pt>
          <cx:pt idx="42067">0</cx:pt>
          <cx:pt idx="42068">0</cx:pt>
          <cx:pt idx="42069">0</cx:pt>
          <cx:pt idx="42070">1</cx:pt>
          <cx:pt idx="42071">0</cx:pt>
          <cx:pt idx="42072">1</cx:pt>
          <cx:pt idx="42073">1</cx:pt>
          <cx:pt idx="42074">1</cx:pt>
          <cx:pt idx="42075">0</cx:pt>
          <cx:pt idx="42076">0</cx:pt>
          <cx:pt idx="42077">0</cx:pt>
          <cx:pt idx="42078">0</cx:pt>
          <cx:pt idx="42079">0</cx:pt>
          <cx:pt idx="42080">1</cx:pt>
          <cx:pt idx="42081">0</cx:pt>
          <cx:pt idx="42082">0</cx:pt>
          <cx:pt idx="42083">0</cx:pt>
          <cx:pt idx="42084">0</cx:pt>
          <cx:pt idx="42085">0</cx:pt>
          <cx:pt idx="42086">1</cx:pt>
          <cx:pt idx="42087">0</cx:pt>
          <cx:pt idx="42088">0</cx:pt>
          <cx:pt idx="42089">1</cx:pt>
          <cx:pt idx="42090">0</cx:pt>
          <cx:pt idx="42091">0</cx:pt>
          <cx:pt idx="42092">0</cx:pt>
          <cx:pt idx="42093">0</cx:pt>
          <cx:pt idx="42094">0</cx:pt>
          <cx:pt idx="42095">1</cx:pt>
          <cx:pt idx="42096">1</cx:pt>
          <cx:pt idx="42097">1</cx:pt>
          <cx:pt idx="42098">0</cx:pt>
          <cx:pt idx="42099">1</cx:pt>
          <cx:pt idx="42100">1</cx:pt>
          <cx:pt idx="42101">1</cx:pt>
          <cx:pt idx="42102">1</cx:pt>
          <cx:pt idx="42103">0</cx:pt>
          <cx:pt idx="42104">0</cx:pt>
          <cx:pt idx="42105">0</cx:pt>
          <cx:pt idx="42106">1</cx:pt>
          <cx:pt idx="42107">1</cx:pt>
          <cx:pt idx="42108">1</cx:pt>
          <cx:pt idx="42109">1</cx:pt>
          <cx:pt idx="42110">1</cx:pt>
          <cx:pt idx="42111">1</cx:pt>
          <cx:pt idx="42112">0</cx:pt>
          <cx:pt idx="42113">1</cx:pt>
          <cx:pt idx="42114">1</cx:pt>
          <cx:pt idx="42115">0</cx:pt>
          <cx:pt idx="42116">0</cx:pt>
          <cx:pt idx="42117">1</cx:pt>
          <cx:pt idx="42118">1</cx:pt>
          <cx:pt idx="42119">0</cx:pt>
          <cx:pt idx="42120">1</cx:pt>
          <cx:pt idx="42121">0</cx:pt>
          <cx:pt idx="42122">0</cx:pt>
          <cx:pt idx="42123">0</cx:pt>
          <cx:pt idx="42124">0</cx:pt>
          <cx:pt idx="42125">0</cx:pt>
          <cx:pt idx="42126">0</cx:pt>
          <cx:pt idx="42127">0</cx:pt>
          <cx:pt idx="42128">0</cx:pt>
          <cx:pt idx="42129">1</cx:pt>
          <cx:pt idx="42130">0</cx:pt>
          <cx:pt idx="42131">0</cx:pt>
          <cx:pt idx="42132">1</cx:pt>
          <cx:pt idx="42133">0</cx:pt>
          <cx:pt idx="42134">1</cx:pt>
          <cx:pt idx="42135">0</cx:pt>
          <cx:pt idx="42136">0</cx:pt>
          <cx:pt idx="42137">1</cx:pt>
          <cx:pt idx="42138">0</cx:pt>
          <cx:pt idx="42139">1</cx:pt>
          <cx:pt idx="42140">1</cx:pt>
          <cx:pt idx="42141">1</cx:pt>
          <cx:pt idx="42142">0</cx:pt>
          <cx:pt idx="42143">0</cx:pt>
          <cx:pt idx="42144">0</cx:pt>
          <cx:pt idx="42145">0</cx:pt>
          <cx:pt idx="42146">0</cx:pt>
          <cx:pt idx="42147">1</cx:pt>
          <cx:pt idx="42148">1</cx:pt>
          <cx:pt idx="42149">1</cx:pt>
          <cx:pt idx="42150">1</cx:pt>
          <cx:pt idx="42151">1</cx:pt>
          <cx:pt idx="42152">0</cx:pt>
          <cx:pt idx="42153">0</cx:pt>
          <cx:pt idx="42154">1</cx:pt>
          <cx:pt idx="42155">1</cx:pt>
          <cx:pt idx="42156">0</cx:pt>
          <cx:pt idx="42157">1</cx:pt>
          <cx:pt idx="42158">0</cx:pt>
          <cx:pt idx="42159">1</cx:pt>
          <cx:pt idx="42160">1</cx:pt>
          <cx:pt idx="42161">1</cx:pt>
          <cx:pt idx="42162">1</cx:pt>
          <cx:pt idx="42163">1</cx:pt>
          <cx:pt idx="42164">0</cx:pt>
          <cx:pt idx="42165">1</cx:pt>
          <cx:pt idx="42166">0</cx:pt>
          <cx:pt idx="42167">0</cx:pt>
          <cx:pt idx="42168">0</cx:pt>
          <cx:pt idx="42169">0</cx:pt>
          <cx:pt idx="42170">0</cx:pt>
          <cx:pt idx="42171">0</cx:pt>
          <cx:pt idx="42172">0</cx:pt>
          <cx:pt idx="42173">1</cx:pt>
          <cx:pt idx="42174">0</cx:pt>
          <cx:pt idx="42175">1</cx:pt>
          <cx:pt idx="42176">1</cx:pt>
          <cx:pt idx="42177">0</cx:pt>
          <cx:pt idx="42178">0</cx:pt>
          <cx:pt idx="42179">1</cx:pt>
          <cx:pt idx="42180">0</cx:pt>
          <cx:pt idx="42181">0</cx:pt>
          <cx:pt idx="42182">0</cx:pt>
          <cx:pt idx="42183">1</cx:pt>
          <cx:pt idx="42184">0</cx:pt>
          <cx:pt idx="42185">0</cx:pt>
          <cx:pt idx="42186">0</cx:pt>
          <cx:pt idx="42187">0</cx:pt>
          <cx:pt idx="42188">1</cx:pt>
          <cx:pt idx="42189">0</cx:pt>
          <cx:pt idx="42190">0</cx:pt>
          <cx:pt idx="42191">0</cx:pt>
          <cx:pt idx="42192">1</cx:pt>
          <cx:pt idx="42193">1</cx:pt>
          <cx:pt idx="42194">1</cx:pt>
          <cx:pt idx="42195">0</cx:pt>
          <cx:pt idx="42196">1</cx:pt>
          <cx:pt idx="42197">0</cx:pt>
          <cx:pt idx="42198">0</cx:pt>
          <cx:pt idx="42199">1</cx:pt>
          <cx:pt idx="42200">0</cx:pt>
          <cx:pt idx="42201">0</cx:pt>
          <cx:pt idx="42202">1</cx:pt>
          <cx:pt idx="42203">1</cx:pt>
          <cx:pt idx="42204">0</cx:pt>
          <cx:pt idx="42205">1</cx:pt>
          <cx:pt idx="42206">0</cx:pt>
          <cx:pt idx="42207">0</cx:pt>
          <cx:pt idx="42208">0</cx:pt>
          <cx:pt idx="42209">0</cx:pt>
          <cx:pt idx="42210">0</cx:pt>
          <cx:pt idx="42211">1</cx:pt>
          <cx:pt idx="42212">1</cx:pt>
          <cx:pt idx="42213">0</cx:pt>
          <cx:pt idx="42214">0</cx:pt>
          <cx:pt idx="42215">0</cx:pt>
          <cx:pt idx="42216">1</cx:pt>
          <cx:pt idx="42217">0</cx:pt>
          <cx:pt idx="42218">1</cx:pt>
          <cx:pt idx="42219">0</cx:pt>
          <cx:pt idx="42220">0</cx:pt>
          <cx:pt idx="42221">1</cx:pt>
          <cx:pt idx="42222">1</cx:pt>
          <cx:pt idx="42223">1</cx:pt>
          <cx:pt idx="42224">0</cx:pt>
          <cx:pt idx="42225">1</cx:pt>
          <cx:pt idx="42226">0</cx:pt>
          <cx:pt idx="42227">0</cx:pt>
          <cx:pt idx="42228">1</cx:pt>
          <cx:pt idx="42229">0</cx:pt>
          <cx:pt idx="42230">0</cx:pt>
          <cx:pt idx="42231">0</cx:pt>
          <cx:pt idx="42232">0</cx:pt>
          <cx:pt idx="42233">0</cx:pt>
          <cx:pt idx="42234">1</cx:pt>
          <cx:pt idx="42235">0</cx:pt>
          <cx:pt idx="42236">1</cx:pt>
          <cx:pt idx="42237">1</cx:pt>
          <cx:pt idx="42238">0</cx:pt>
          <cx:pt idx="42239">0</cx:pt>
          <cx:pt idx="42240">1</cx:pt>
          <cx:pt idx="42241">0</cx:pt>
          <cx:pt idx="42242">1</cx:pt>
          <cx:pt idx="42243">0</cx:pt>
          <cx:pt idx="42244">1</cx:pt>
          <cx:pt idx="42245">1</cx:pt>
          <cx:pt idx="42246">1</cx:pt>
          <cx:pt idx="42247">1</cx:pt>
          <cx:pt idx="42248">0</cx:pt>
          <cx:pt idx="42249">1</cx:pt>
          <cx:pt idx="42250">0</cx:pt>
          <cx:pt idx="42251">1</cx:pt>
          <cx:pt idx="42252">0</cx:pt>
          <cx:pt idx="42253">0</cx:pt>
          <cx:pt idx="42254">1</cx:pt>
          <cx:pt idx="42255">0</cx:pt>
          <cx:pt idx="42256">1</cx:pt>
          <cx:pt idx="42257">0</cx:pt>
          <cx:pt idx="42258">1</cx:pt>
          <cx:pt idx="42259">1</cx:pt>
          <cx:pt idx="42260">0</cx:pt>
          <cx:pt idx="42261">1</cx:pt>
          <cx:pt idx="42262">0</cx:pt>
          <cx:pt idx="42263">0</cx:pt>
          <cx:pt idx="42264">0</cx:pt>
          <cx:pt idx="42265">1</cx:pt>
          <cx:pt idx="42266">0</cx:pt>
          <cx:pt idx="42267">0</cx:pt>
          <cx:pt idx="42268">1</cx:pt>
          <cx:pt idx="42269">1</cx:pt>
          <cx:pt idx="42270">0</cx:pt>
          <cx:pt idx="42271">0</cx:pt>
          <cx:pt idx="42272">1</cx:pt>
          <cx:pt idx="42273">1</cx:pt>
          <cx:pt idx="42274">0</cx:pt>
          <cx:pt idx="42275">1</cx:pt>
          <cx:pt idx="42276">1</cx:pt>
          <cx:pt idx="42277">0</cx:pt>
          <cx:pt idx="42278">0</cx:pt>
          <cx:pt idx="42279">0</cx:pt>
          <cx:pt idx="42280">1</cx:pt>
          <cx:pt idx="42281">0</cx:pt>
          <cx:pt idx="42282">1</cx:pt>
          <cx:pt idx="42283">1</cx:pt>
          <cx:pt idx="42284">1</cx:pt>
          <cx:pt idx="42285">0</cx:pt>
          <cx:pt idx="42286">1</cx:pt>
          <cx:pt idx="42287">1</cx:pt>
          <cx:pt idx="42288">1</cx:pt>
          <cx:pt idx="42289">1</cx:pt>
          <cx:pt idx="42290">0</cx:pt>
          <cx:pt idx="42291">0</cx:pt>
          <cx:pt idx="42292">0</cx:pt>
          <cx:pt idx="42293">0</cx:pt>
          <cx:pt idx="42294">0</cx:pt>
          <cx:pt idx="42295">0</cx:pt>
          <cx:pt idx="42296">1</cx:pt>
          <cx:pt idx="42297">0</cx:pt>
          <cx:pt idx="42298">0</cx:pt>
          <cx:pt idx="42299">1</cx:pt>
          <cx:pt idx="42300">0</cx:pt>
          <cx:pt idx="42301">0</cx:pt>
          <cx:pt idx="42302">0</cx:pt>
          <cx:pt idx="42303">0</cx:pt>
          <cx:pt idx="42304">0</cx:pt>
          <cx:pt idx="42305">0</cx:pt>
          <cx:pt idx="42306">1</cx:pt>
          <cx:pt idx="42307">0</cx:pt>
          <cx:pt idx="42308">0</cx:pt>
          <cx:pt idx="42309">1</cx:pt>
          <cx:pt idx="42310">0</cx:pt>
          <cx:pt idx="42311">0</cx:pt>
          <cx:pt idx="42312">0</cx:pt>
          <cx:pt idx="42313">1</cx:pt>
          <cx:pt idx="42314">0</cx:pt>
          <cx:pt idx="42315">1</cx:pt>
          <cx:pt idx="42316">1</cx:pt>
          <cx:pt idx="42317">0</cx:pt>
          <cx:pt idx="42318">1</cx:pt>
          <cx:pt idx="42319">1</cx:pt>
          <cx:pt idx="42320">1</cx:pt>
          <cx:pt idx="42321">0</cx:pt>
          <cx:pt idx="42322">1</cx:pt>
          <cx:pt idx="42323">1</cx:pt>
          <cx:pt idx="42324">0</cx:pt>
          <cx:pt idx="42325">1</cx:pt>
          <cx:pt idx="42326">1</cx:pt>
          <cx:pt idx="42327">0</cx:pt>
          <cx:pt idx="42328">0</cx:pt>
          <cx:pt idx="42329">1</cx:pt>
          <cx:pt idx="42330">0</cx:pt>
          <cx:pt idx="42331">1</cx:pt>
          <cx:pt idx="42332">1</cx:pt>
          <cx:pt idx="42333">1</cx:pt>
          <cx:pt idx="42334">1</cx:pt>
          <cx:pt idx="42335">1</cx:pt>
          <cx:pt idx="42336">1</cx:pt>
          <cx:pt idx="42337">1</cx:pt>
          <cx:pt idx="42338">1</cx:pt>
          <cx:pt idx="42339">0</cx:pt>
          <cx:pt idx="42340">1</cx:pt>
          <cx:pt idx="42341">0</cx:pt>
          <cx:pt idx="42342">1</cx:pt>
          <cx:pt idx="42343">0</cx:pt>
          <cx:pt idx="42344">1</cx:pt>
          <cx:pt idx="42345">1</cx:pt>
          <cx:pt idx="42346">1</cx:pt>
          <cx:pt idx="42347">1</cx:pt>
          <cx:pt idx="42348">0</cx:pt>
          <cx:pt idx="42349">0</cx:pt>
          <cx:pt idx="42350">0</cx:pt>
          <cx:pt idx="42351">0</cx:pt>
          <cx:pt idx="42352">1</cx:pt>
          <cx:pt idx="42353">0</cx:pt>
          <cx:pt idx="42354">0</cx:pt>
          <cx:pt idx="42355">1</cx:pt>
          <cx:pt idx="42356">0</cx:pt>
          <cx:pt idx="42357">1</cx:pt>
          <cx:pt idx="42358">1</cx:pt>
          <cx:pt idx="42359">1</cx:pt>
          <cx:pt idx="42360">0</cx:pt>
          <cx:pt idx="42361">1</cx:pt>
          <cx:pt idx="42362">1</cx:pt>
          <cx:pt idx="42363">1</cx:pt>
          <cx:pt idx="42364">1</cx:pt>
          <cx:pt idx="42365">0</cx:pt>
          <cx:pt idx="42366">0</cx:pt>
          <cx:pt idx="42367">0</cx:pt>
          <cx:pt idx="42368">1</cx:pt>
          <cx:pt idx="42369">0</cx:pt>
          <cx:pt idx="42370">0</cx:pt>
          <cx:pt idx="42371">0</cx:pt>
          <cx:pt idx="42372">1</cx:pt>
          <cx:pt idx="42373">0</cx:pt>
          <cx:pt idx="42374">0</cx:pt>
          <cx:pt idx="42375">0</cx:pt>
          <cx:pt idx="42376">1</cx:pt>
          <cx:pt idx="42377">0</cx:pt>
          <cx:pt idx="42378">1</cx:pt>
          <cx:pt idx="42379">1</cx:pt>
          <cx:pt idx="42380">1</cx:pt>
          <cx:pt idx="42381">0</cx:pt>
          <cx:pt idx="42382">0</cx:pt>
          <cx:pt idx="42383">0</cx:pt>
          <cx:pt idx="42384">0</cx:pt>
          <cx:pt idx="42385">1</cx:pt>
          <cx:pt idx="42386">1</cx:pt>
          <cx:pt idx="42387">1</cx:pt>
          <cx:pt idx="42388">0</cx:pt>
          <cx:pt idx="42389">0</cx:pt>
          <cx:pt idx="42390">0</cx:pt>
          <cx:pt idx="42391">1</cx:pt>
          <cx:pt idx="42392">0</cx:pt>
          <cx:pt idx="42393">0</cx:pt>
          <cx:pt idx="42394">1</cx:pt>
          <cx:pt idx="42395">1</cx:pt>
          <cx:pt idx="42396">0</cx:pt>
          <cx:pt idx="42397">0</cx:pt>
          <cx:pt idx="42398">0</cx:pt>
          <cx:pt idx="42399">0</cx:pt>
          <cx:pt idx="42400">1</cx:pt>
          <cx:pt idx="42401">0</cx:pt>
          <cx:pt idx="42402">1</cx:pt>
          <cx:pt idx="42403">0</cx:pt>
          <cx:pt idx="42404">1</cx:pt>
          <cx:pt idx="42405">0</cx:pt>
          <cx:pt idx="42406">0</cx:pt>
          <cx:pt idx="42407">1</cx:pt>
          <cx:pt idx="42408">0</cx:pt>
          <cx:pt idx="42409">0</cx:pt>
          <cx:pt idx="42410">0</cx:pt>
          <cx:pt idx="42411">1</cx:pt>
          <cx:pt idx="42412">1</cx:pt>
          <cx:pt idx="42413">0</cx:pt>
          <cx:pt idx="42414">0</cx:pt>
          <cx:pt idx="42415">1</cx:pt>
          <cx:pt idx="42416">1</cx:pt>
          <cx:pt idx="42417">0</cx:pt>
          <cx:pt idx="42418">0</cx:pt>
          <cx:pt idx="42419">0</cx:pt>
          <cx:pt idx="42420">1</cx:pt>
          <cx:pt idx="42421">1</cx:pt>
          <cx:pt idx="42422">0</cx:pt>
          <cx:pt idx="42423">1</cx:pt>
          <cx:pt idx="42424">0</cx:pt>
          <cx:pt idx="42425">0</cx:pt>
          <cx:pt idx="42426">0</cx:pt>
          <cx:pt idx="42427">1</cx:pt>
          <cx:pt idx="42428">0</cx:pt>
          <cx:pt idx="42429">0</cx:pt>
          <cx:pt idx="42430">1</cx:pt>
          <cx:pt idx="42431">1</cx:pt>
          <cx:pt idx="42432">1</cx:pt>
          <cx:pt idx="42433">1</cx:pt>
          <cx:pt idx="42434">0</cx:pt>
          <cx:pt idx="42435">0</cx:pt>
          <cx:pt idx="42436">0</cx:pt>
          <cx:pt idx="42437">1</cx:pt>
          <cx:pt idx="42438">1</cx:pt>
          <cx:pt idx="42439">0</cx:pt>
          <cx:pt idx="42440">0</cx:pt>
          <cx:pt idx="42441">0</cx:pt>
          <cx:pt idx="42442">0</cx:pt>
          <cx:pt idx="42443">1</cx:pt>
          <cx:pt idx="42444">1</cx:pt>
          <cx:pt idx="42445">0</cx:pt>
          <cx:pt idx="42446">1</cx:pt>
          <cx:pt idx="42447">0</cx:pt>
          <cx:pt idx="42448">1</cx:pt>
          <cx:pt idx="42449">1</cx:pt>
          <cx:pt idx="42450">1</cx:pt>
          <cx:pt idx="42451">1</cx:pt>
          <cx:pt idx="42452">1</cx:pt>
          <cx:pt idx="42453">0</cx:pt>
          <cx:pt idx="42454">0</cx:pt>
          <cx:pt idx="42455">0</cx:pt>
          <cx:pt idx="42456">0</cx:pt>
          <cx:pt idx="42457">0</cx:pt>
          <cx:pt idx="42458">0</cx:pt>
          <cx:pt idx="42459">0</cx:pt>
          <cx:pt idx="42460">0</cx:pt>
          <cx:pt idx="42461">1</cx:pt>
          <cx:pt idx="42462">0</cx:pt>
          <cx:pt idx="42463">1</cx:pt>
          <cx:pt idx="42464">1</cx:pt>
          <cx:pt idx="42465">0</cx:pt>
          <cx:pt idx="42466">0</cx:pt>
          <cx:pt idx="42467">0</cx:pt>
          <cx:pt idx="42468">0</cx:pt>
          <cx:pt idx="42469">1</cx:pt>
          <cx:pt idx="42470">0</cx:pt>
          <cx:pt idx="42471">0</cx:pt>
          <cx:pt idx="42472">1</cx:pt>
          <cx:pt idx="42473">0</cx:pt>
          <cx:pt idx="42474">1</cx:pt>
          <cx:pt idx="42475">0</cx:pt>
          <cx:pt idx="42476">1</cx:pt>
          <cx:pt idx="42477">0</cx:pt>
          <cx:pt idx="42478">0</cx:pt>
          <cx:pt idx="42479">0</cx:pt>
          <cx:pt idx="42480">0</cx:pt>
          <cx:pt idx="42481">1</cx:pt>
          <cx:pt idx="42482">0</cx:pt>
          <cx:pt idx="42483">1</cx:pt>
          <cx:pt idx="42484">1</cx:pt>
          <cx:pt idx="42485">1</cx:pt>
          <cx:pt idx="42486">0</cx:pt>
          <cx:pt idx="42487">0</cx:pt>
          <cx:pt idx="42488">0</cx:pt>
          <cx:pt idx="42489">0</cx:pt>
          <cx:pt idx="42490">0</cx:pt>
          <cx:pt idx="42491">0</cx:pt>
          <cx:pt idx="42492">0</cx:pt>
          <cx:pt idx="42493">1</cx:pt>
          <cx:pt idx="42494">0</cx:pt>
          <cx:pt idx="42495">1</cx:pt>
          <cx:pt idx="42496">1</cx:pt>
          <cx:pt idx="42497">0</cx:pt>
          <cx:pt idx="42498">0</cx:pt>
          <cx:pt idx="42499">1</cx:pt>
          <cx:pt idx="42500">0</cx:pt>
          <cx:pt idx="42501">0</cx:pt>
          <cx:pt idx="42502">1</cx:pt>
          <cx:pt idx="42503">1</cx:pt>
          <cx:pt idx="42504">0</cx:pt>
          <cx:pt idx="42505">1</cx:pt>
          <cx:pt idx="42506">0</cx:pt>
          <cx:pt idx="42507">0</cx:pt>
          <cx:pt idx="42508">1</cx:pt>
          <cx:pt idx="42509">1</cx:pt>
          <cx:pt idx="42510">1</cx:pt>
          <cx:pt idx="42511">0</cx:pt>
          <cx:pt idx="42512">0</cx:pt>
          <cx:pt idx="42513">1</cx:pt>
          <cx:pt idx="42514">0</cx:pt>
          <cx:pt idx="42515">1</cx:pt>
          <cx:pt idx="42516">0</cx:pt>
          <cx:pt idx="42517">1</cx:pt>
          <cx:pt idx="42518">0</cx:pt>
          <cx:pt idx="42519">0</cx:pt>
          <cx:pt idx="42520">0</cx:pt>
          <cx:pt idx="42521">0</cx:pt>
          <cx:pt idx="42522">1</cx:pt>
          <cx:pt idx="42523">0</cx:pt>
          <cx:pt idx="42524">1</cx:pt>
          <cx:pt idx="42525">0</cx:pt>
          <cx:pt idx="42526">0</cx:pt>
          <cx:pt idx="42527">0</cx:pt>
          <cx:pt idx="42528">0</cx:pt>
          <cx:pt idx="42529">1</cx:pt>
          <cx:pt idx="42530">1</cx:pt>
          <cx:pt idx="42531">0</cx:pt>
          <cx:pt idx="42532">1</cx:pt>
          <cx:pt idx="42533">1</cx:pt>
          <cx:pt idx="42534">1</cx:pt>
          <cx:pt idx="42535">0</cx:pt>
          <cx:pt idx="42536">1</cx:pt>
          <cx:pt idx="42537">0</cx:pt>
          <cx:pt idx="42538">1</cx:pt>
          <cx:pt idx="42539">1</cx:pt>
          <cx:pt idx="42540">1</cx:pt>
          <cx:pt idx="42541">1</cx:pt>
          <cx:pt idx="42542">0</cx:pt>
          <cx:pt idx="42543">1</cx:pt>
          <cx:pt idx="42544">1</cx:pt>
          <cx:pt idx="42545">1</cx:pt>
          <cx:pt idx="42546">0</cx:pt>
          <cx:pt idx="42547">1</cx:pt>
          <cx:pt idx="42548">0</cx:pt>
          <cx:pt idx="42549">0</cx:pt>
          <cx:pt idx="42550">0</cx:pt>
          <cx:pt idx="42551">1</cx:pt>
          <cx:pt idx="42552">0</cx:pt>
          <cx:pt idx="42553">1</cx:pt>
          <cx:pt idx="42554">0</cx:pt>
          <cx:pt idx="42555">1</cx:pt>
          <cx:pt idx="42556">0</cx:pt>
          <cx:pt idx="42557">1</cx:pt>
          <cx:pt idx="42558">0</cx:pt>
          <cx:pt idx="42559">0</cx:pt>
          <cx:pt idx="42560">1</cx:pt>
          <cx:pt idx="42561">1</cx:pt>
          <cx:pt idx="42562">1</cx:pt>
          <cx:pt idx="42563">0</cx:pt>
          <cx:pt idx="42564">1</cx:pt>
          <cx:pt idx="42565">1</cx:pt>
          <cx:pt idx="42566">0</cx:pt>
          <cx:pt idx="42567">0</cx:pt>
          <cx:pt idx="42568">0</cx:pt>
          <cx:pt idx="42569">0</cx:pt>
          <cx:pt idx="42570">0</cx:pt>
          <cx:pt idx="42571">0</cx:pt>
          <cx:pt idx="42572">0</cx:pt>
          <cx:pt idx="42573">0</cx:pt>
          <cx:pt idx="42574">0</cx:pt>
          <cx:pt idx="42575">0</cx:pt>
          <cx:pt idx="42576">0</cx:pt>
          <cx:pt idx="42577">1</cx:pt>
          <cx:pt idx="42578">0</cx:pt>
          <cx:pt idx="42579">0</cx:pt>
          <cx:pt idx="42580">0</cx:pt>
          <cx:pt idx="42581">1</cx:pt>
          <cx:pt idx="42582">1</cx:pt>
          <cx:pt idx="42583">0</cx:pt>
          <cx:pt idx="42584">1</cx:pt>
          <cx:pt idx="42585">0</cx:pt>
          <cx:pt idx="42586">0</cx:pt>
          <cx:pt idx="42587">1</cx:pt>
          <cx:pt idx="42588">0</cx:pt>
          <cx:pt idx="42589">0</cx:pt>
          <cx:pt idx="42590">0</cx:pt>
          <cx:pt idx="42591">0</cx:pt>
          <cx:pt idx="42592">0</cx:pt>
          <cx:pt idx="42593">0</cx:pt>
          <cx:pt idx="42594">0</cx:pt>
          <cx:pt idx="42595">0</cx:pt>
          <cx:pt idx="42596">0</cx:pt>
          <cx:pt idx="42597">0</cx:pt>
          <cx:pt idx="42598">0</cx:pt>
          <cx:pt idx="42599">0</cx:pt>
          <cx:pt idx="42600">1</cx:pt>
          <cx:pt idx="42601">1</cx:pt>
          <cx:pt idx="42602">0</cx:pt>
          <cx:pt idx="42603">0</cx:pt>
          <cx:pt idx="42604">0</cx:pt>
          <cx:pt idx="42605">1</cx:pt>
          <cx:pt idx="42606">1</cx:pt>
          <cx:pt idx="42607">1</cx:pt>
          <cx:pt idx="42608">1</cx:pt>
          <cx:pt idx="42609">0</cx:pt>
          <cx:pt idx="42610">1</cx:pt>
          <cx:pt idx="42611">1</cx:pt>
          <cx:pt idx="42612">0</cx:pt>
          <cx:pt idx="42613">1</cx:pt>
          <cx:pt idx="42614">0</cx:pt>
          <cx:pt idx="42615">1</cx:pt>
          <cx:pt idx="42616">0</cx:pt>
          <cx:pt idx="42617">0</cx:pt>
          <cx:pt idx="42618">1</cx:pt>
          <cx:pt idx="42619">0</cx:pt>
          <cx:pt idx="42620">0</cx:pt>
          <cx:pt idx="42621">1</cx:pt>
          <cx:pt idx="42622">0</cx:pt>
          <cx:pt idx="42623">0</cx:pt>
          <cx:pt idx="42624">0</cx:pt>
          <cx:pt idx="42625">1</cx:pt>
          <cx:pt idx="42626">0</cx:pt>
          <cx:pt idx="42627">0</cx:pt>
          <cx:pt idx="42628">0</cx:pt>
          <cx:pt idx="42629">1</cx:pt>
          <cx:pt idx="42630">1</cx:pt>
          <cx:pt idx="42631">0</cx:pt>
          <cx:pt idx="42632">0</cx:pt>
          <cx:pt idx="42633">0</cx:pt>
          <cx:pt idx="42634">0</cx:pt>
          <cx:pt idx="42635">0</cx:pt>
          <cx:pt idx="42636">0</cx:pt>
          <cx:pt idx="42637">0</cx:pt>
          <cx:pt idx="42638">1</cx:pt>
          <cx:pt idx="42639">1</cx:pt>
          <cx:pt idx="42640">1</cx:pt>
          <cx:pt idx="42641">0</cx:pt>
          <cx:pt idx="42642">1</cx:pt>
          <cx:pt idx="42643">0</cx:pt>
          <cx:pt idx="42644">0</cx:pt>
          <cx:pt idx="42645">1</cx:pt>
          <cx:pt idx="42646">0</cx:pt>
          <cx:pt idx="42647">0</cx:pt>
          <cx:pt idx="42648">0</cx:pt>
          <cx:pt idx="42649">0</cx:pt>
          <cx:pt idx="42650">0</cx:pt>
          <cx:pt idx="42651">0</cx:pt>
          <cx:pt idx="42652">0</cx:pt>
          <cx:pt idx="42653">1</cx:pt>
          <cx:pt idx="42654">1</cx:pt>
          <cx:pt idx="42655">0</cx:pt>
          <cx:pt idx="42656">0</cx:pt>
          <cx:pt idx="42657">1</cx:pt>
          <cx:pt idx="42658">0</cx:pt>
          <cx:pt idx="42659">0</cx:pt>
          <cx:pt idx="42660">0</cx:pt>
          <cx:pt idx="42661">0</cx:pt>
          <cx:pt idx="42662">0</cx:pt>
          <cx:pt idx="42663">0</cx:pt>
          <cx:pt idx="42664">1</cx:pt>
          <cx:pt idx="42665">1</cx:pt>
          <cx:pt idx="42666">0</cx:pt>
          <cx:pt idx="42667">1</cx:pt>
          <cx:pt idx="42668">1</cx:pt>
          <cx:pt idx="42669">0</cx:pt>
          <cx:pt idx="42670">1</cx:pt>
          <cx:pt idx="42671">0</cx:pt>
          <cx:pt idx="42672">1</cx:pt>
          <cx:pt idx="42673">0</cx:pt>
          <cx:pt idx="42674">0</cx:pt>
          <cx:pt idx="42675">1</cx:pt>
          <cx:pt idx="42676">0</cx:pt>
          <cx:pt idx="42677">1</cx:pt>
          <cx:pt idx="42678">1</cx:pt>
          <cx:pt idx="42679">0</cx:pt>
          <cx:pt idx="42680">1</cx:pt>
          <cx:pt idx="42681">1</cx:pt>
          <cx:pt idx="42682">1</cx:pt>
          <cx:pt idx="42683">1</cx:pt>
          <cx:pt idx="42684">1</cx:pt>
          <cx:pt idx="42685">1</cx:pt>
          <cx:pt idx="42686">1</cx:pt>
          <cx:pt idx="42687">0</cx:pt>
          <cx:pt idx="42688">1</cx:pt>
          <cx:pt idx="42689">0</cx:pt>
          <cx:pt idx="42690">1</cx:pt>
          <cx:pt idx="42691">1</cx:pt>
          <cx:pt idx="42692">1</cx:pt>
          <cx:pt idx="42693">1</cx:pt>
          <cx:pt idx="42694">0</cx:pt>
          <cx:pt idx="42695">0</cx:pt>
          <cx:pt idx="42696">0</cx:pt>
          <cx:pt idx="42697">0</cx:pt>
          <cx:pt idx="42698">1</cx:pt>
          <cx:pt idx="42699">0</cx:pt>
          <cx:pt idx="42700">1</cx:pt>
          <cx:pt idx="42701">0</cx:pt>
          <cx:pt idx="42702">0</cx:pt>
          <cx:pt idx="42703">1</cx:pt>
          <cx:pt idx="42704">0</cx:pt>
          <cx:pt idx="42705">1</cx:pt>
          <cx:pt idx="42706">1</cx:pt>
          <cx:pt idx="42707">1</cx:pt>
          <cx:pt idx="42708">0</cx:pt>
          <cx:pt idx="42709">0</cx:pt>
          <cx:pt idx="42710">0</cx:pt>
          <cx:pt idx="42711">1</cx:pt>
          <cx:pt idx="42712">0</cx:pt>
          <cx:pt idx="42713">0</cx:pt>
          <cx:pt idx="42714">1</cx:pt>
          <cx:pt idx="42715">0</cx:pt>
          <cx:pt idx="42716">0</cx:pt>
          <cx:pt idx="42717">0</cx:pt>
          <cx:pt idx="42718">1</cx:pt>
          <cx:pt idx="42719">0</cx:pt>
          <cx:pt idx="42720">1</cx:pt>
          <cx:pt idx="42721">0</cx:pt>
          <cx:pt idx="42722">0</cx:pt>
          <cx:pt idx="42723">1</cx:pt>
          <cx:pt idx="42724">1</cx:pt>
          <cx:pt idx="42725">0</cx:pt>
          <cx:pt idx="42726">1</cx:pt>
          <cx:pt idx="42727">0</cx:pt>
          <cx:pt idx="42728">0</cx:pt>
          <cx:pt idx="42729">1</cx:pt>
          <cx:pt idx="42730">0</cx:pt>
          <cx:pt idx="42731">0</cx:pt>
          <cx:pt idx="42732">0</cx:pt>
          <cx:pt idx="42733">0</cx:pt>
          <cx:pt idx="42734">0</cx:pt>
          <cx:pt idx="42735">0</cx:pt>
          <cx:pt idx="42736">1</cx:pt>
          <cx:pt idx="42737">1</cx:pt>
          <cx:pt idx="42738">0</cx:pt>
          <cx:pt idx="42739">1</cx:pt>
          <cx:pt idx="42740">1</cx:pt>
          <cx:pt idx="42741">1</cx:pt>
          <cx:pt idx="42742">0</cx:pt>
          <cx:pt idx="42743">0</cx:pt>
          <cx:pt idx="42744">0</cx:pt>
          <cx:pt idx="42745">0</cx:pt>
          <cx:pt idx="42746">1</cx:pt>
          <cx:pt idx="42747">0</cx:pt>
          <cx:pt idx="42748">1</cx:pt>
          <cx:pt idx="42749">0</cx:pt>
          <cx:pt idx="42750">0</cx:pt>
          <cx:pt idx="42751">0</cx:pt>
          <cx:pt idx="42752">0</cx:pt>
          <cx:pt idx="42753">0</cx:pt>
          <cx:pt idx="42754">1</cx:pt>
          <cx:pt idx="42755">1</cx:pt>
          <cx:pt idx="42756">0</cx:pt>
          <cx:pt idx="42757">0</cx:pt>
          <cx:pt idx="42758">1</cx:pt>
          <cx:pt idx="42759">1</cx:pt>
          <cx:pt idx="42760">1</cx:pt>
          <cx:pt idx="42761">1</cx:pt>
          <cx:pt idx="42762">1</cx:pt>
          <cx:pt idx="42763">0</cx:pt>
          <cx:pt idx="42764">0</cx:pt>
          <cx:pt idx="42765">1</cx:pt>
          <cx:pt idx="42766">1</cx:pt>
          <cx:pt idx="42767">0</cx:pt>
          <cx:pt idx="42768">0</cx:pt>
          <cx:pt idx="42769">1</cx:pt>
          <cx:pt idx="42770">0</cx:pt>
          <cx:pt idx="42771">0</cx:pt>
          <cx:pt idx="42772">0</cx:pt>
          <cx:pt idx="42773">0</cx:pt>
          <cx:pt idx="42774">0</cx:pt>
          <cx:pt idx="42775">1</cx:pt>
          <cx:pt idx="42776">0</cx:pt>
          <cx:pt idx="42777">1</cx:pt>
          <cx:pt idx="42778">1</cx:pt>
          <cx:pt idx="42779">0</cx:pt>
          <cx:pt idx="42780">0</cx:pt>
          <cx:pt idx="42781">0</cx:pt>
          <cx:pt idx="42782">0</cx:pt>
          <cx:pt idx="42783">0</cx:pt>
          <cx:pt idx="42784">0</cx:pt>
          <cx:pt idx="42785">0</cx:pt>
          <cx:pt idx="42786">1</cx:pt>
          <cx:pt idx="42787">1</cx:pt>
          <cx:pt idx="42788">1</cx:pt>
          <cx:pt idx="42789">1</cx:pt>
          <cx:pt idx="42790">1</cx:pt>
          <cx:pt idx="42791">1</cx:pt>
          <cx:pt idx="42792">0</cx:pt>
          <cx:pt idx="42793">0</cx:pt>
          <cx:pt idx="42794">1</cx:pt>
          <cx:pt idx="42795">0</cx:pt>
          <cx:pt idx="42796">0</cx:pt>
          <cx:pt idx="42797">0</cx:pt>
          <cx:pt idx="42798">0</cx:pt>
          <cx:pt idx="42799">0</cx:pt>
          <cx:pt idx="42800">0</cx:pt>
          <cx:pt idx="42801">1</cx:pt>
          <cx:pt idx="42802">0</cx:pt>
          <cx:pt idx="42803">0</cx:pt>
          <cx:pt idx="42804">0</cx:pt>
          <cx:pt idx="42805">1</cx:pt>
          <cx:pt idx="42806">1</cx:pt>
          <cx:pt idx="42807">1</cx:pt>
          <cx:pt idx="42808">1</cx:pt>
          <cx:pt idx="42809">0</cx:pt>
          <cx:pt idx="42810">1</cx:pt>
          <cx:pt idx="42811">1</cx:pt>
          <cx:pt idx="42812">0</cx:pt>
          <cx:pt idx="42813">1</cx:pt>
          <cx:pt idx="42814">1</cx:pt>
          <cx:pt idx="42815">1</cx:pt>
          <cx:pt idx="42816">0</cx:pt>
          <cx:pt idx="42817">0</cx:pt>
          <cx:pt idx="42818">0</cx:pt>
          <cx:pt idx="42819">1</cx:pt>
          <cx:pt idx="42820">0</cx:pt>
          <cx:pt idx="42821">1</cx:pt>
          <cx:pt idx="42822">1</cx:pt>
          <cx:pt idx="42823">0</cx:pt>
          <cx:pt idx="42824">1</cx:pt>
          <cx:pt idx="42825">1</cx:pt>
          <cx:pt idx="42826">0</cx:pt>
          <cx:pt idx="42827">1</cx:pt>
          <cx:pt idx="42828">1</cx:pt>
          <cx:pt idx="42829">1</cx:pt>
          <cx:pt idx="42830">0</cx:pt>
          <cx:pt idx="42831">0</cx:pt>
          <cx:pt idx="42832">0</cx:pt>
          <cx:pt idx="42833">0</cx:pt>
          <cx:pt idx="42834">0</cx:pt>
          <cx:pt idx="42835">0</cx:pt>
          <cx:pt idx="42836">0</cx:pt>
          <cx:pt idx="42837">1</cx:pt>
          <cx:pt idx="42838">1</cx:pt>
          <cx:pt idx="42839">0</cx:pt>
          <cx:pt idx="42840">1</cx:pt>
          <cx:pt idx="42841">0</cx:pt>
          <cx:pt idx="42842">1</cx:pt>
          <cx:pt idx="42843">0</cx:pt>
          <cx:pt idx="42844">0</cx:pt>
          <cx:pt idx="42845">0</cx:pt>
          <cx:pt idx="42846">0</cx:pt>
          <cx:pt idx="42847">1</cx:pt>
          <cx:pt idx="42848">1</cx:pt>
          <cx:pt idx="42849">1</cx:pt>
          <cx:pt idx="42850">0</cx:pt>
          <cx:pt idx="42851">1</cx:pt>
          <cx:pt idx="42852">1</cx:pt>
          <cx:pt idx="42853">1</cx:pt>
          <cx:pt idx="42854">1</cx:pt>
          <cx:pt idx="42855">1</cx:pt>
          <cx:pt idx="42856">1</cx:pt>
          <cx:pt idx="42857">0</cx:pt>
          <cx:pt idx="42858">0</cx:pt>
          <cx:pt idx="42859">1</cx:pt>
          <cx:pt idx="42860">1</cx:pt>
          <cx:pt idx="42861">0</cx:pt>
          <cx:pt idx="42862">1</cx:pt>
          <cx:pt idx="42863">0</cx:pt>
          <cx:pt idx="42864">1</cx:pt>
          <cx:pt idx="42865">0</cx:pt>
          <cx:pt idx="42866">1</cx:pt>
          <cx:pt idx="42867">1</cx:pt>
          <cx:pt idx="42868">0</cx:pt>
          <cx:pt idx="42869">0</cx:pt>
          <cx:pt idx="42870">0</cx:pt>
          <cx:pt idx="42871">1</cx:pt>
          <cx:pt idx="42872">1</cx:pt>
          <cx:pt idx="42873">1</cx:pt>
          <cx:pt idx="42874">1</cx:pt>
          <cx:pt idx="42875">1</cx:pt>
          <cx:pt idx="42876">1</cx:pt>
          <cx:pt idx="42877">0</cx:pt>
          <cx:pt idx="42878">0</cx:pt>
          <cx:pt idx="42879">0</cx:pt>
          <cx:pt idx="42880">0</cx:pt>
          <cx:pt idx="42881">0</cx:pt>
          <cx:pt idx="42882">1</cx:pt>
          <cx:pt idx="42883">0</cx:pt>
          <cx:pt idx="42884">0</cx:pt>
          <cx:pt idx="42885">0</cx:pt>
          <cx:pt idx="42886">0</cx:pt>
          <cx:pt idx="42887">0</cx:pt>
          <cx:pt idx="42888">0</cx:pt>
          <cx:pt idx="42889">1</cx:pt>
          <cx:pt idx="42890">0</cx:pt>
          <cx:pt idx="42891">1</cx:pt>
          <cx:pt idx="42892">1</cx:pt>
          <cx:pt idx="42893">0</cx:pt>
          <cx:pt idx="42894">0</cx:pt>
          <cx:pt idx="42895">1</cx:pt>
          <cx:pt idx="42896">0</cx:pt>
          <cx:pt idx="42897">0</cx:pt>
          <cx:pt idx="42898">1</cx:pt>
          <cx:pt idx="42899">0</cx:pt>
          <cx:pt idx="42900">1</cx:pt>
          <cx:pt idx="42901">1</cx:pt>
          <cx:pt idx="42902">0</cx:pt>
          <cx:pt idx="42903">0</cx:pt>
          <cx:pt idx="42904">0</cx:pt>
          <cx:pt idx="42905">0</cx:pt>
          <cx:pt idx="42906">0</cx:pt>
          <cx:pt idx="42907">0</cx:pt>
          <cx:pt idx="42908">0</cx:pt>
          <cx:pt idx="42909">0</cx:pt>
          <cx:pt idx="42910">1</cx:pt>
          <cx:pt idx="42911">0</cx:pt>
          <cx:pt idx="42912">0</cx:pt>
          <cx:pt idx="42913">1</cx:pt>
          <cx:pt idx="42914">1</cx:pt>
          <cx:pt idx="42915">0</cx:pt>
          <cx:pt idx="42916">1</cx:pt>
          <cx:pt idx="42917">1</cx:pt>
          <cx:pt idx="42918">0</cx:pt>
          <cx:pt idx="42919">0</cx:pt>
          <cx:pt idx="42920">0</cx:pt>
          <cx:pt idx="42921">0</cx:pt>
          <cx:pt idx="42922">1</cx:pt>
          <cx:pt idx="42923">1</cx:pt>
          <cx:pt idx="42924">1</cx:pt>
          <cx:pt idx="42925">0</cx:pt>
          <cx:pt idx="42926">0</cx:pt>
          <cx:pt idx="42927">0</cx:pt>
          <cx:pt idx="42928">0</cx:pt>
          <cx:pt idx="42929">0</cx:pt>
          <cx:pt idx="42930">0</cx:pt>
          <cx:pt idx="42931">0</cx:pt>
          <cx:pt idx="42932">1</cx:pt>
          <cx:pt idx="42933">1</cx:pt>
          <cx:pt idx="42934">0</cx:pt>
          <cx:pt idx="42935">0</cx:pt>
          <cx:pt idx="42936">0</cx:pt>
          <cx:pt idx="42937">0</cx:pt>
          <cx:pt idx="42938">0</cx:pt>
          <cx:pt idx="42939">1</cx:pt>
          <cx:pt idx="42940">1</cx:pt>
          <cx:pt idx="42941">0</cx:pt>
          <cx:pt idx="42942">1</cx:pt>
          <cx:pt idx="42943">0</cx:pt>
          <cx:pt idx="42944">0</cx:pt>
          <cx:pt idx="42945">0</cx:pt>
          <cx:pt idx="42946">0</cx:pt>
          <cx:pt idx="42947">0</cx:pt>
          <cx:pt idx="42948">0</cx:pt>
          <cx:pt idx="42949">0</cx:pt>
          <cx:pt idx="42950">1</cx:pt>
          <cx:pt idx="42951">1</cx:pt>
          <cx:pt idx="42952">1</cx:pt>
          <cx:pt idx="42953">0</cx:pt>
          <cx:pt idx="42954">1</cx:pt>
          <cx:pt idx="42955">1</cx:pt>
          <cx:pt idx="42956">0</cx:pt>
          <cx:pt idx="42957">0</cx:pt>
          <cx:pt idx="42958">0</cx:pt>
          <cx:pt idx="42959">1</cx:pt>
          <cx:pt idx="42960">0</cx:pt>
          <cx:pt idx="42961">0</cx:pt>
          <cx:pt idx="42962">1</cx:pt>
          <cx:pt idx="42963">0</cx:pt>
          <cx:pt idx="42964">0</cx:pt>
          <cx:pt idx="42965">0</cx:pt>
          <cx:pt idx="42966">1</cx:pt>
          <cx:pt idx="42967">0</cx:pt>
          <cx:pt idx="42968">0</cx:pt>
          <cx:pt idx="42969">1</cx:pt>
          <cx:pt idx="42970">1</cx:pt>
          <cx:pt idx="42971">1</cx:pt>
          <cx:pt idx="42972">1</cx:pt>
          <cx:pt idx="42973">0</cx:pt>
          <cx:pt idx="42974">0</cx:pt>
          <cx:pt idx="42975">1</cx:pt>
          <cx:pt idx="42976">0</cx:pt>
          <cx:pt idx="42977">1</cx:pt>
          <cx:pt idx="42978">0</cx:pt>
          <cx:pt idx="42979">0</cx:pt>
          <cx:pt idx="42980">1</cx:pt>
          <cx:pt idx="42981">1</cx:pt>
          <cx:pt idx="42982">0</cx:pt>
          <cx:pt idx="42983">0</cx:pt>
          <cx:pt idx="42984">0</cx:pt>
          <cx:pt idx="42985">0</cx:pt>
          <cx:pt idx="42986">0</cx:pt>
          <cx:pt idx="42987">0</cx:pt>
          <cx:pt idx="42988">1</cx:pt>
          <cx:pt idx="42989">1</cx:pt>
          <cx:pt idx="42990">0</cx:pt>
          <cx:pt idx="42991">0</cx:pt>
          <cx:pt idx="42992">0</cx:pt>
          <cx:pt idx="42993">1</cx:pt>
          <cx:pt idx="42994">0</cx:pt>
          <cx:pt idx="42995">1</cx:pt>
          <cx:pt idx="42996">1</cx:pt>
          <cx:pt idx="42997">1</cx:pt>
          <cx:pt idx="42998">1</cx:pt>
          <cx:pt idx="42999">1</cx:pt>
          <cx:pt idx="43000">1</cx:pt>
          <cx:pt idx="43001">1</cx:pt>
          <cx:pt idx="43002">0</cx:pt>
          <cx:pt idx="43003">0</cx:pt>
          <cx:pt idx="43004">1</cx:pt>
          <cx:pt idx="43005">1</cx:pt>
          <cx:pt idx="43006">0</cx:pt>
          <cx:pt idx="43007">1</cx:pt>
          <cx:pt idx="43008">1</cx:pt>
          <cx:pt idx="43009">1</cx:pt>
          <cx:pt idx="43010">0</cx:pt>
          <cx:pt idx="43011">0</cx:pt>
          <cx:pt idx="43012">0</cx:pt>
          <cx:pt idx="43013">0</cx:pt>
          <cx:pt idx="43014">0</cx:pt>
          <cx:pt idx="43015">1</cx:pt>
          <cx:pt idx="43016">0</cx:pt>
          <cx:pt idx="43017">0</cx:pt>
          <cx:pt idx="43018">0</cx:pt>
          <cx:pt idx="43019">1</cx:pt>
          <cx:pt idx="43020">0</cx:pt>
          <cx:pt idx="43021">1</cx:pt>
          <cx:pt idx="43022">0</cx:pt>
          <cx:pt idx="43023">1</cx:pt>
          <cx:pt idx="43024">1</cx:pt>
          <cx:pt idx="43025">0</cx:pt>
          <cx:pt idx="43026">0</cx:pt>
          <cx:pt idx="43027">0</cx:pt>
          <cx:pt idx="43028">1</cx:pt>
          <cx:pt idx="43029">1</cx:pt>
          <cx:pt idx="43030">1</cx:pt>
          <cx:pt idx="43031">0</cx:pt>
          <cx:pt idx="43032">0</cx:pt>
          <cx:pt idx="43033">0</cx:pt>
          <cx:pt idx="43034">0</cx:pt>
          <cx:pt idx="43035">0</cx:pt>
          <cx:pt idx="43036">0</cx:pt>
          <cx:pt idx="43037">0</cx:pt>
          <cx:pt idx="43038">1</cx:pt>
          <cx:pt idx="43039">0</cx:pt>
          <cx:pt idx="43040">0</cx:pt>
          <cx:pt idx="43041">0</cx:pt>
          <cx:pt idx="43042">0</cx:pt>
          <cx:pt idx="43043">1</cx:pt>
          <cx:pt idx="43044">1</cx:pt>
          <cx:pt idx="43045">0</cx:pt>
          <cx:pt idx="43046">1</cx:pt>
          <cx:pt idx="43047">0</cx:pt>
          <cx:pt idx="43048">0</cx:pt>
          <cx:pt idx="43049">0</cx:pt>
          <cx:pt idx="43050">0</cx:pt>
          <cx:pt idx="43051">1</cx:pt>
          <cx:pt idx="43052">1</cx:pt>
          <cx:pt idx="43053">0</cx:pt>
          <cx:pt idx="43054">0</cx:pt>
          <cx:pt idx="43055">0</cx:pt>
          <cx:pt idx="43056">0</cx:pt>
          <cx:pt idx="43057">1</cx:pt>
          <cx:pt idx="43058">0</cx:pt>
          <cx:pt idx="43059">0</cx:pt>
          <cx:pt idx="43060">0</cx:pt>
          <cx:pt idx="43061">1</cx:pt>
          <cx:pt idx="43062">0</cx:pt>
          <cx:pt idx="43063">0</cx:pt>
          <cx:pt idx="43064">1</cx:pt>
          <cx:pt idx="43065">1</cx:pt>
          <cx:pt idx="43066">0</cx:pt>
          <cx:pt idx="43067">0</cx:pt>
          <cx:pt idx="43068">0</cx:pt>
          <cx:pt idx="43069">0</cx:pt>
          <cx:pt idx="43070">0</cx:pt>
          <cx:pt idx="43071">0</cx:pt>
          <cx:pt idx="43072">1</cx:pt>
          <cx:pt idx="43073">1</cx:pt>
          <cx:pt idx="43074">1</cx:pt>
          <cx:pt idx="43075">0</cx:pt>
          <cx:pt idx="43076">0</cx:pt>
          <cx:pt idx="43077">1</cx:pt>
          <cx:pt idx="43078">0</cx:pt>
          <cx:pt idx="43079">1</cx:pt>
          <cx:pt idx="43080">0</cx:pt>
          <cx:pt idx="43081">1</cx:pt>
          <cx:pt idx="43082">0</cx:pt>
          <cx:pt idx="43083">0</cx:pt>
          <cx:pt idx="43084">1</cx:pt>
          <cx:pt idx="43085">0</cx:pt>
          <cx:pt idx="43086">1</cx:pt>
          <cx:pt idx="43087">1</cx:pt>
          <cx:pt idx="43088">1</cx:pt>
          <cx:pt idx="43089">1</cx:pt>
          <cx:pt idx="43090">1</cx:pt>
          <cx:pt idx="43091">1</cx:pt>
          <cx:pt idx="43092">1</cx:pt>
          <cx:pt idx="43093">1</cx:pt>
          <cx:pt idx="43094">0</cx:pt>
          <cx:pt idx="43095">1</cx:pt>
          <cx:pt idx="43096">1</cx:pt>
          <cx:pt idx="43097">0</cx:pt>
          <cx:pt idx="43098">0</cx:pt>
          <cx:pt idx="43099">0</cx:pt>
          <cx:pt idx="43100">0</cx:pt>
          <cx:pt idx="43101">0</cx:pt>
          <cx:pt idx="43102">0</cx:pt>
          <cx:pt idx="43103">0</cx:pt>
          <cx:pt idx="43104">1</cx:pt>
          <cx:pt idx="43105">1</cx:pt>
          <cx:pt idx="43106">0</cx:pt>
          <cx:pt idx="43107">1</cx:pt>
          <cx:pt idx="43108">1</cx:pt>
          <cx:pt idx="43109">0</cx:pt>
          <cx:pt idx="43110">0</cx:pt>
          <cx:pt idx="43111">0</cx:pt>
          <cx:pt idx="43112">1</cx:pt>
          <cx:pt idx="43113">0</cx:pt>
          <cx:pt idx="43114">0</cx:pt>
          <cx:pt idx="43115">1</cx:pt>
          <cx:pt idx="43116">1</cx:pt>
          <cx:pt idx="43117">0</cx:pt>
          <cx:pt idx="43118">1</cx:pt>
          <cx:pt idx="43119">1</cx:pt>
          <cx:pt idx="43120">1</cx:pt>
          <cx:pt idx="43121">0</cx:pt>
          <cx:pt idx="43122">0</cx:pt>
          <cx:pt idx="43123">0</cx:pt>
          <cx:pt idx="43124">1</cx:pt>
          <cx:pt idx="43125">0</cx:pt>
          <cx:pt idx="43126">0</cx:pt>
          <cx:pt idx="43127">1</cx:pt>
          <cx:pt idx="43128">1</cx:pt>
          <cx:pt idx="43129">0</cx:pt>
          <cx:pt idx="43130">0</cx:pt>
          <cx:pt idx="43131">0</cx:pt>
          <cx:pt idx="43132">0</cx:pt>
          <cx:pt idx="43133">1</cx:pt>
          <cx:pt idx="43134">1</cx:pt>
          <cx:pt idx="43135">0</cx:pt>
          <cx:pt idx="43136">0</cx:pt>
          <cx:pt idx="43137">0</cx:pt>
          <cx:pt idx="43138">0</cx:pt>
          <cx:pt idx="43139">1</cx:pt>
          <cx:pt idx="43140">1</cx:pt>
          <cx:pt idx="43141">0</cx:pt>
          <cx:pt idx="43142">0</cx:pt>
          <cx:pt idx="43143">1</cx:pt>
          <cx:pt idx="43144">1</cx:pt>
          <cx:pt idx="43145">1</cx:pt>
          <cx:pt idx="43146">1</cx:pt>
          <cx:pt idx="43147">1</cx:pt>
          <cx:pt idx="43148">1</cx:pt>
          <cx:pt idx="43149">1</cx:pt>
          <cx:pt idx="43150">0</cx:pt>
          <cx:pt idx="43151">1</cx:pt>
          <cx:pt idx="43152">0</cx:pt>
          <cx:pt idx="43153">0</cx:pt>
          <cx:pt idx="43154">1</cx:pt>
          <cx:pt idx="43155">1</cx:pt>
          <cx:pt idx="43156">1</cx:pt>
          <cx:pt idx="43157">0</cx:pt>
          <cx:pt idx="43158">1</cx:pt>
          <cx:pt idx="43159">1</cx:pt>
          <cx:pt idx="43160">1</cx:pt>
          <cx:pt idx="43161">0</cx:pt>
          <cx:pt idx="43162">1</cx:pt>
          <cx:pt idx="43163">0</cx:pt>
          <cx:pt idx="43164">0</cx:pt>
          <cx:pt idx="43165">1</cx:pt>
          <cx:pt idx="43166">0</cx:pt>
          <cx:pt idx="43167">0</cx:pt>
          <cx:pt idx="43168">0</cx:pt>
          <cx:pt idx="43169">0</cx:pt>
          <cx:pt idx="43170">1</cx:pt>
          <cx:pt idx="43171">0</cx:pt>
          <cx:pt idx="43172">1</cx:pt>
          <cx:pt idx="43173">1</cx:pt>
          <cx:pt idx="43174">0</cx:pt>
          <cx:pt idx="43175">0</cx:pt>
          <cx:pt idx="43176">1</cx:pt>
          <cx:pt idx="43177">0</cx:pt>
          <cx:pt idx="43178">1</cx:pt>
          <cx:pt idx="43179">0</cx:pt>
          <cx:pt idx="43180">1</cx:pt>
          <cx:pt idx="43181">0</cx:pt>
          <cx:pt idx="43182">1</cx:pt>
          <cx:pt idx="43183">1</cx:pt>
          <cx:pt idx="43184">0</cx:pt>
          <cx:pt idx="43185">1</cx:pt>
          <cx:pt idx="43186">1</cx:pt>
          <cx:pt idx="43187">0</cx:pt>
          <cx:pt idx="43188">0</cx:pt>
          <cx:pt idx="43189">1</cx:pt>
          <cx:pt idx="43190">1</cx:pt>
          <cx:pt idx="43191">0</cx:pt>
          <cx:pt idx="43192">1</cx:pt>
          <cx:pt idx="43193">0</cx:pt>
          <cx:pt idx="43194">1</cx:pt>
          <cx:pt idx="43195">0</cx:pt>
          <cx:pt idx="43196">1</cx:pt>
          <cx:pt idx="43197">0</cx:pt>
          <cx:pt idx="43198">0</cx:pt>
          <cx:pt idx="43199">1</cx:pt>
          <cx:pt idx="43200">0</cx:pt>
          <cx:pt idx="43201">1</cx:pt>
          <cx:pt idx="43202">0</cx:pt>
          <cx:pt idx="43203">0</cx:pt>
          <cx:pt idx="43204">0</cx:pt>
          <cx:pt idx="43205">1</cx:pt>
          <cx:pt idx="43206">1</cx:pt>
          <cx:pt idx="43207">1</cx:pt>
          <cx:pt idx="43208">0</cx:pt>
          <cx:pt idx="43209">0</cx:pt>
          <cx:pt idx="43210">1</cx:pt>
          <cx:pt idx="43211">1</cx:pt>
          <cx:pt idx="43212">0</cx:pt>
          <cx:pt idx="43213">1</cx:pt>
          <cx:pt idx="43214">0</cx:pt>
          <cx:pt idx="43215">1</cx:pt>
          <cx:pt idx="43216">1</cx:pt>
          <cx:pt idx="43217">0</cx:pt>
          <cx:pt idx="43218">0</cx:pt>
          <cx:pt idx="43219">1</cx:pt>
          <cx:pt idx="43220">0</cx:pt>
          <cx:pt idx="43221">1</cx:pt>
          <cx:pt idx="43222">0</cx:pt>
          <cx:pt idx="43223">1</cx:pt>
          <cx:pt idx="43224">1</cx:pt>
          <cx:pt idx="43225">0</cx:pt>
          <cx:pt idx="43226">1</cx:pt>
          <cx:pt idx="43227">0</cx:pt>
          <cx:pt idx="43228">0</cx:pt>
          <cx:pt idx="43229">1</cx:pt>
          <cx:pt idx="43230">0</cx:pt>
          <cx:pt idx="43231">0</cx:pt>
          <cx:pt idx="43232">0</cx:pt>
          <cx:pt idx="43233">1</cx:pt>
          <cx:pt idx="43234">0</cx:pt>
          <cx:pt idx="43235">1</cx:pt>
          <cx:pt idx="43236">1</cx:pt>
          <cx:pt idx="43237">0</cx:pt>
          <cx:pt idx="43238">0</cx:pt>
          <cx:pt idx="43239">1</cx:pt>
          <cx:pt idx="43240">0</cx:pt>
          <cx:pt idx="43241">1</cx:pt>
          <cx:pt idx="43242">0</cx:pt>
          <cx:pt idx="43243">0</cx:pt>
          <cx:pt idx="43244">1</cx:pt>
          <cx:pt idx="43245">1</cx:pt>
          <cx:pt idx="43246">0</cx:pt>
          <cx:pt idx="43247">0</cx:pt>
          <cx:pt idx="43248">1</cx:pt>
          <cx:pt idx="43249">0</cx:pt>
          <cx:pt idx="43250">0</cx:pt>
          <cx:pt idx="43251">0</cx:pt>
          <cx:pt idx="43252">1</cx:pt>
          <cx:pt idx="43253">0</cx:pt>
          <cx:pt idx="43254">0</cx:pt>
          <cx:pt idx="43255">0</cx:pt>
          <cx:pt idx="43256">1</cx:pt>
          <cx:pt idx="43257">0</cx:pt>
          <cx:pt idx="43258">0</cx:pt>
          <cx:pt idx="43259">1</cx:pt>
          <cx:pt idx="43260">0</cx:pt>
          <cx:pt idx="43261">1</cx:pt>
          <cx:pt idx="43262">1</cx:pt>
          <cx:pt idx="43263">1</cx:pt>
          <cx:pt idx="43264">1</cx:pt>
          <cx:pt idx="43265">1</cx:pt>
          <cx:pt idx="43266">1</cx:pt>
          <cx:pt idx="43267">1</cx:pt>
          <cx:pt idx="43268">1</cx:pt>
          <cx:pt idx="43269">0</cx:pt>
          <cx:pt idx="43270">0</cx:pt>
          <cx:pt idx="43271">1</cx:pt>
          <cx:pt idx="43272">1</cx:pt>
          <cx:pt idx="43273">1</cx:pt>
          <cx:pt idx="43274">1</cx:pt>
          <cx:pt idx="43275">0</cx:pt>
          <cx:pt idx="43276">1</cx:pt>
          <cx:pt idx="43277">0</cx:pt>
          <cx:pt idx="43278">1</cx:pt>
          <cx:pt idx="43279">0</cx:pt>
          <cx:pt idx="43280">0</cx:pt>
          <cx:pt idx="43281">1</cx:pt>
          <cx:pt idx="43282">1</cx:pt>
          <cx:pt idx="43283">1</cx:pt>
          <cx:pt idx="43284">1</cx:pt>
          <cx:pt idx="43285">0</cx:pt>
          <cx:pt idx="43286">1</cx:pt>
          <cx:pt idx="43287">0</cx:pt>
          <cx:pt idx="43288">1</cx:pt>
          <cx:pt idx="43289">0</cx:pt>
          <cx:pt idx="43290">1</cx:pt>
          <cx:pt idx="43291">0</cx:pt>
          <cx:pt idx="43292">0</cx:pt>
          <cx:pt idx="43293">0</cx:pt>
          <cx:pt idx="43294">1</cx:pt>
          <cx:pt idx="43295">0</cx:pt>
          <cx:pt idx="43296">0</cx:pt>
          <cx:pt idx="43297">0</cx:pt>
          <cx:pt idx="43298">1</cx:pt>
          <cx:pt idx="43299">0</cx:pt>
          <cx:pt idx="43300">0</cx:pt>
          <cx:pt idx="43301">1</cx:pt>
          <cx:pt idx="43302">1</cx:pt>
          <cx:pt idx="43303">1</cx:pt>
          <cx:pt idx="43304">0</cx:pt>
          <cx:pt idx="43305">0</cx:pt>
          <cx:pt idx="43306">0</cx:pt>
          <cx:pt idx="43307">1</cx:pt>
          <cx:pt idx="43308">0</cx:pt>
          <cx:pt idx="43309">1</cx:pt>
          <cx:pt idx="43310">0</cx:pt>
          <cx:pt idx="43311">1</cx:pt>
          <cx:pt idx="43312">1</cx:pt>
          <cx:pt idx="43313">1</cx:pt>
          <cx:pt idx="43314">1</cx:pt>
          <cx:pt idx="43315">0</cx:pt>
          <cx:pt idx="43316">0</cx:pt>
          <cx:pt idx="43317">1</cx:pt>
          <cx:pt idx="43318">1</cx:pt>
          <cx:pt idx="43319">1</cx:pt>
          <cx:pt idx="43320">0</cx:pt>
          <cx:pt idx="43321">1</cx:pt>
          <cx:pt idx="43322">0</cx:pt>
          <cx:pt idx="43323">0</cx:pt>
          <cx:pt idx="43324">0</cx:pt>
          <cx:pt idx="43325">1</cx:pt>
          <cx:pt idx="43326">1</cx:pt>
          <cx:pt idx="43327">1</cx:pt>
          <cx:pt idx="43328">0</cx:pt>
          <cx:pt idx="43329">0</cx:pt>
          <cx:pt idx="43330">0</cx:pt>
          <cx:pt idx="43331">1</cx:pt>
          <cx:pt idx="43332">1</cx:pt>
          <cx:pt idx="43333">0</cx:pt>
          <cx:pt idx="43334">1</cx:pt>
          <cx:pt idx="43335">0</cx:pt>
          <cx:pt idx="43336">0</cx:pt>
          <cx:pt idx="43337">1</cx:pt>
          <cx:pt idx="43338">1</cx:pt>
          <cx:pt idx="43339">1</cx:pt>
          <cx:pt idx="43340">0</cx:pt>
          <cx:pt idx="43341">0</cx:pt>
          <cx:pt idx="43342">0</cx:pt>
          <cx:pt idx="43343">1</cx:pt>
          <cx:pt idx="43344">0</cx:pt>
          <cx:pt idx="43345">1</cx:pt>
          <cx:pt idx="43346">0</cx:pt>
          <cx:pt idx="43347">0</cx:pt>
          <cx:pt idx="43348">1</cx:pt>
          <cx:pt idx="43349">0</cx:pt>
          <cx:pt idx="43350">1</cx:pt>
          <cx:pt idx="43351">0</cx:pt>
          <cx:pt idx="43352">1</cx:pt>
          <cx:pt idx="43353">1</cx:pt>
          <cx:pt idx="43354">1</cx:pt>
          <cx:pt idx="43355">1</cx:pt>
          <cx:pt idx="43356">1</cx:pt>
          <cx:pt idx="43357">1</cx:pt>
          <cx:pt idx="43358">1</cx:pt>
          <cx:pt idx="43359">0</cx:pt>
          <cx:pt idx="43360">1</cx:pt>
          <cx:pt idx="43361">0</cx:pt>
          <cx:pt idx="43362">0</cx:pt>
          <cx:pt idx="43363">0</cx:pt>
          <cx:pt idx="43364">0</cx:pt>
          <cx:pt idx="43365">0</cx:pt>
          <cx:pt idx="43366">0</cx:pt>
          <cx:pt idx="43367">1</cx:pt>
          <cx:pt idx="43368">1</cx:pt>
          <cx:pt idx="43369">1</cx:pt>
          <cx:pt idx="43370">1</cx:pt>
          <cx:pt idx="43371">0</cx:pt>
          <cx:pt idx="43372">0</cx:pt>
          <cx:pt idx="43373">0</cx:pt>
          <cx:pt idx="43374">1</cx:pt>
          <cx:pt idx="43375">1</cx:pt>
          <cx:pt idx="43376">1</cx:pt>
          <cx:pt idx="43377">0</cx:pt>
          <cx:pt idx="43378">1</cx:pt>
          <cx:pt idx="43379">1</cx:pt>
          <cx:pt idx="43380">1</cx:pt>
          <cx:pt idx="43381">0</cx:pt>
          <cx:pt idx="43382">0</cx:pt>
          <cx:pt idx="43383">0</cx:pt>
          <cx:pt idx="43384">1</cx:pt>
          <cx:pt idx="43385">0</cx:pt>
          <cx:pt idx="43386">1</cx:pt>
          <cx:pt idx="43387">0</cx:pt>
          <cx:pt idx="43388">0</cx:pt>
          <cx:pt idx="43389">1</cx:pt>
          <cx:pt idx="43390">0</cx:pt>
          <cx:pt idx="43391">1</cx:pt>
          <cx:pt idx="43392">0</cx:pt>
          <cx:pt idx="43393">0</cx:pt>
          <cx:pt idx="43394">0</cx:pt>
          <cx:pt idx="43395">0</cx:pt>
          <cx:pt idx="43396">1</cx:pt>
          <cx:pt idx="43397">1</cx:pt>
          <cx:pt idx="43398">0</cx:pt>
          <cx:pt idx="43399">1</cx:pt>
          <cx:pt idx="43400">0</cx:pt>
          <cx:pt idx="43401">1</cx:pt>
          <cx:pt idx="43402">1</cx:pt>
          <cx:pt idx="43403">0</cx:pt>
          <cx:pt idx="43404">0</cx:pt>
          <cx:pt idx="43405">0</cx:pt>
          <cx:pt idx="43406">0</cx:pt>
          <cx:pt idx="43407">1</cx:pt>
          <cx:pt idx="43408">0</cx:pt>
          <cx:pt idx="43409">0</cx:pt>
          <cx:pt idx="43410">0</cx:pt>
          <cx:pt idx="43411">1</cx:pt>
          <cx:pt idx="43412">1</cx:pt>
          <cx:pt idx="43413">0</cx:pt>
          <cx:pt idx="43414">0</cx:pt>
          <cx:pt idx="43415">0</cx:pt>
          <cx:pt idx="43416">1</cx:pt>
          <cx:pt idx="43417">1</cx:pt>
          <cx:pt idx="43418">0</cx:pt>
          <cx:pt idx="43419">1</cx:pt>
          <cx:pt idx="43420">0</cx:pt>
          <cx:pt idx="43421">0</cx:pt>
          <cx:pt idx="43422">1</cx:pt>
          <cx:pt idx="43423">1</cx:pt>
          <cx:pt idx="43424">1</cx:pt>
          <cx:pt idx="43425">1</cx:pt>
          <cx:pt idx="43426">1</cx:pt>
          <cx:pt idx="43427">0</cx:pt>
          <cx:pt idx="43428">1</cx:pt>
          <cx:pt idx="43429">1</cx:pt>
          <cx:pt idx="43430">0</cx:pt>
          <cx:pt idx="43431">0</cx:pt>
          <cx:pt idx="43432">1</cx:pt>
          <cx:pt idx="43433">0</cx:pt>
          <cx:pt idx="43434">0</cx:pt>
          <cx:pt idx="43435">1</cx:pt>
          <cx:pt idx="43436">1</cx:pt>
          <cx:pt idx="43437">0</cx:pt>
          <cx:pt idx="43438">0</cx:pt>
          <cx:pt idx="43439">0</cx:pt>
          <cx:pt idx="43440">0</cx:pt>
          <cx:pt idx="43441">1</cx:pt>
          <cx:pt idx="43442">1</cx:pt>
          <cx:pt idx="43443">1</cx:pt>
          <cx:pt idx="43444">1</cx:pt>
          <cx:pt idx="43445">1</cx:pt>
          <cx:pt idx="43446">1</cx:pt>
          <cx:pt idx="43447">1</cx:pt>
          <cx:pt idx="43448">1</cx:pt>
          <cx:pt idx="43449">1</cx:pt>
          <cx:pt idx="43450">0</cx:pt>
          <cx:pt idx="43451">0</cx:pt>
          <cx:pt idx="43452">1</cx:pt>
          <cx:pt idx="43453">1</cx:pt>
          <cx:pt idx="43454">1</cx:pt>
          <cx:pt idx="43455">1</cx:pt>
          <cx:pt idx="43456">1</cx:pt>
          <cx:pt idx="43457">0</cx:pt>
          <cx:pt idx="43458">1</cx:pt>
          <cx:pt idx="43459">0</cx:pt>
          <cx:pt idx="43460">1</cx:pt>
          <cx:pt idx="43461">0</cx:pt>
          <cx:pt idx="43462">1</cx:pt>
          <cx:pt idx="43463">1</cx:pt>
          <cx:pt idx="43464">0</cx:pt>
          <cx:pt idx="43465">1</cx:pt>
          <cx:pt idx="43466">1</cx:pt>
          <cx:pt idx="43467">0</cx:pt>
          <cx:pt idx="43468">1</cx:pt>
          <cx:pt idx="43469">0</cx:pt>
          <cx:pt idx="43470">0</cx:pt>
          <cx:pt idx="43471">1</cx:pt>
          <cx:pt idx="43472">1</cx:pt>
          <cx:pt idx="43473">0</cx:pt>
          <cx:pt idx="43474">1</cx:pt>
          <cx:pt idx="43475">1</cx:pt>
          <cx:pt idx="43476">0</cx:pt>
          <cx:pt idx="43477">0</cx:pt>
          <cx:pt idx="43478">1</cx:pt>
          <cx:pt idx="43479">1</cx:pt>
          <cx:pt idx="43480">1</cx:pt>
          <cx:pt idx="43481">0</cx:pt>
          <cx:pt idx="43482">0</cx:pt>
          <cx:pt idx="43483">0</cx:pt>
          <cx:pt idx="43484">0</cx:pt>
          <cx:pt idx="43485">1</cx:pt>
          <cx:pt idx="43486">1</cx:pt>
          <cx:pt idx="43487">1</cx:pt>
          <cx:pt idx="43488">0</cx:pt>
          <cx:pt idx="43489">0</cx:pt>
          <cx:pt idx="43490">1</cx:pt>
          <cx:pt idx="43491">1</cx:pt>
          <cx:pt idx="43492">1</cx:pt>
          <cx:pt idx="43493">0</cx:pt>
          <cx:pt idx="43494">1</cx:pt>
          <cx:pt idx="43495">1</cx:pt>
          <cx:pt idx="43496">0</cx:pt>
          <cx:pt idx="43497">0</cx:pt>
          <cx:pt idx="43498">0</cx:pt>
          <cx:pt idx="43499">0</cx:pt>
          <cx:pt idx="43500">1</cx:pt>
          <cx:pt idx="43501">0</cx:pt>
          <cx:pt idx="43502">1</cx:pt>
          <cx:pt idx="43503">0</cx:pt>
          <cx:pt idx="43504">0</cx:pt>
          <cx:pt idx="43505">1</cx:pt>
          <cx:pt idx="43506">1</cx:pt>
          <cx:pt idx="43507">1</cx:pt>
          <cx:pt idx="43508">1</cx:pt>
          <cx:pt idx="43509">1</cx:pt>
          <cx:pt idx="43510">0</cx:pt>
          <cx:pt idx="43511">0</cx:pt>
          <cx:pt idx="43512">1</cx:pt>
          <cx:pt idx="43513">0</cx:pt>
          <cx:pt idx="43514">0</cx:pt>
          <cx:pt idx="43515">1</cx:pt>
          <cx:pt idx="43516">1</cx:pt>
          <cx:pt idx="43517">1</cx:pt>
          <cx:pt idx="43518">1</cx:pt>
          <cx:pt idx="43519">0</cx:pt>
          <cx:pt idx="43520">1</cx:pt>
          <cx:pt idx="43521">1</cx:pt>
          <cx:pt idx="43522">0</cx:pt>
          <cx:pt idx="43523">1</cx:pt>
          <cx:pt idx="43524">0</cx:pt>
          <cx:pt idx="43525">1</cx:pt>
          <cx:pt idx="43526">0</cx:pt>
          <cx:pt idx="43527">0</cx:pt>
          <cx:pt idx="43528">0</cx:pt>
          <cx:pt idx="43529">0</cx:pt>
          <cx:pt idx="43530">0</cx:pt>
          <cx:pt idx="43531">1</cx:pt>
          <cx:pt idx="43532">1</cx:pt>
          <cx:pt idx="43533">1</cx:pt>
          <cx:pt idx="43534">0</cx:pt>
          <cx:pt idx="43535">0</cx:pt>
          <cx:pt idx="43536">0</cx:pt>
          <cx:pt idx="43537">0</cx:pt>
          <cx:pt idx="43538">1</cx:pt>
          <cx:pt idx="43539">1</cx:pt>
          <cx:pt idx="43540">0</cx:pt>
          <cx:pt idx="43541">0</cx:pt>
          <cx:pt idx="43542">1</cx:pt>
          <cx:pt idx="43543">1</cx:pt>
          <cx:pt idx="43544">0</cx:pt>
          <cx:pt idx="43545">1</cx:pt>
          <cx:pt idx="43546">1</cx:pt>
          <cx:pt idx="43547">1</cx:pt>
          <cx:pt idx="43548">1</cx:pt>
          <cx:pt idx="43549">1</cx:pt>
          <cx:pt idx="43550">0</cx:pt>
          <cx:pt idx="43551">1</cx:pt>
          <cx:pt idx="43552">1</cx:pt>
          <cx:pt idx="43553">1</cx:pt>
          <cx:pt idx="43554">0</cx:pt>
          <cx:pt idx="43555">1</cx:pt>
          <cx:pt idx="43556">0</cx:pt>
          <cx:pt idx="43557">1</cx:pt>
          <cx:pt idx="43558">0</cx:pt>
          <cx:pt idx="43559">0</cx:pt>
          <cx:pt idx="43560">1</cx:pt>
          <cx:pt idx="43561">1</cx:pt>
          <cx:pt idx="43562">1</cx:pt>
          <cx:pt idx="43563">1</cx:pt>
          <cx:pt idx="43564">0</cx:pt>
          <cx:pt idx="43565">0</cx:pt>
          <cx:pt idx="43566">0</cx:pt>
          <cx:pt idx="43567">0</cx:pt>
          <cx:pt idx="43568">0</cx:pt>
          <cx:pt idx="43569">1</cx:pt>
          <cx:pt idx="43570">0</cx:pt>
          <cx:pt idx="43571">1</cx:pt>
          <cx:pt idx="43572">1</cx:pt>
          <cx:pt idx="43573">1</cx:pt>
          <cx:pt idx="43574">0</cx:pt>
          <cx:pt idx="43575">0</cx:pt>
          <cx:pt idx="43576">1</cx:pt>
          <cx:pt idx="43577">1</cx:pt>
          <cx:pt idx="43578">1</cx:pt>
          <cx:pt idx="43579">1</cx:pt>
          <cx:pt idx="43580">0</cx:pt>
          <cx:pt idx="43581">1</cx:pt>
          <cx:pt idx="43582">1</cx:pt>
          <cx:pt idx="43583">0</cx:pt>
          <cx:pt idx="43584">0</cx:pt>
          <cx:pt idx="43585">0</cx:pt>
          <cx:pt idx="43586">0</cx:pt>
          <cx:pt idx="43587">0</cx:pt>
          <cx:pt idx="43588">0</cx:pt>
          <cx:pt idx="43589">1</cx:pt>
          <cx:pt idx="43590">0</cx:pt>
          <cx:pt idx="43591">1</cx:pt>
          <cx:pt idx="43592">1</cx:pt>
          <cx:pt idx="43593">1</cx:pt>
          <cx:pt idx="43594">1</cx:pt>
          <cx:pt idx="43595">0</cx:pt>
          <cx:pt idx="43596">1</cx:pt>
          <cx:pt idx="43597">1</cx:pt>
          <cx:pt idx="43598">1</cx:pt>
          <cx:pt idx="43599">0</cx:pt>
          <cx:pt idx="43600">1</cx:pt>
          <cx:pt idx="43601">1</cx:pt>
          <cx:pt idx="43602">0</cx:pt>
          <cx:pt idx="43603">1</cx:pt>
          <cx:pt idx="43604">0</cx:pt>
          <cx:pt idx="43605">0</cx:pt>
          <cx:pt idx="43606">0</cx:pt>
          <cx:pt idx="43607">1</cx:pt>
          <cx:pt idx="43608">1</cx:pt>
          <cx:pt idx="43609">1</cx:pt>
          <cx:pt idx="43610">0</cx:pt>
          <cx:pt idx="43611">1</cx:pt>
          <cx:pt idx="43612">1</cx:pt>
          <cx:pt idx="43613">1</cx:pt>
          <cx:pt idx="43614">1</cx:pt>
          <cx:pt idx="43615">1</cx:pt>
          <cx:pt idx="43616">0</cx:pt>
          <cx:pt idx="43617">1</cx:pt>
          <cx:pt idx="43618">0</cx:pt>
          <cx:pt idx="43619">0</cx:pt>
          <cx:pt idx="43620">1</cx:pt>
          <cx:pt idx="43621">0</cx:pt>
          <cx:pt idx="43622">1</cx:pt>
          <cx:pt idx="43623">1</cx:pt>
          <cx:pt idx="43624">1</cx:pt>
          <cx:pt idx="43625">1</cx:pt>
          <cx:pt idx="43626">1</cx:pt>
          <cx:pt idx="43627">0</cx:pt>
          <cx:pt idx="43628">1</cx:pt>
          <cx:pt idx="43629">1</cx:pt>
          <cx:pt idx="43630">0</cx:pt>
          <cx:pt idx="43631">1</cx:pt>
          <cx:pt idx="43632">0</cx:pt>
          <cx:pt idx="43633">1</cx:pt>
          <cx:pt idx="43634">0</cx:pt>
          <cx:pt idx="43635">1</cx:pt>
          <cx:pt idx="43636">1</cx:pt>
          <cx:pt idx="43637">0</cx:pt>
          <cx:pt idx="43638">0</cx:pt>
          <cx:pt idx="43639">0</cx:pt>
          <cx:pt idx="43640">0</cx:pt>
          <cx:pt idx="43641">1</cx:pt>
          <cx:pt idx="43642">0</cx:pt>
          <cx:pt idx="43643">1</cx:pt>
          <cx:pt idx="43644">0</cx:pt>
          <cx:pt idx="43645">1</cx:pt>
          <cx:pt idx="43646">0</cx:pt>
          <cx:pt idx="43647">1</cx:pt>
          <cx:pt idx="43648">0</cx:pt>
          <cx:pt idx="43649">1</cx:pt>
          <cx:pt idx="43650">0</cx:pt>
          <cx:pt idx="43651">1</cx:pt>
          <cx:pt idx="43652">0</cx:pt>
          <cx:pt idx="43653">0</cx:pt>
          <cx:pt idx="43654">0</cx:pt>
          <cx:pt idx="43655">0</cx:pt>
          <cx:pt idx="43656">1</cx:pt>
          <cx:pt idx="43657">0</cx:pt>
          <cx:pt idx="43658">1</cx:pt>
          <cx:pt idx="43659">1</cx:pt>
          <cx:pt idx="43660">1</cx:pt>
          <cx:pt idx="43661">1</cx:pt>
          <cx:pt idx="43662">0</cx:pt>
          <cx:pt idx="43663">1</cx:pt>
          <cx:pt idx="43664">1</cx:pt>
          <cx:pt idx="43665">0</cx:pt>
          <cx:pt idx="43666">0</cx:pt>
          <cx:pt idx="43667">0</cx:pt>
          <cx:pt idx="43668">1</cx:pt>
          <cx:pt idx="43669">0</cx:pt>
          <cx:pt idx="43670">0</cx:pt>
          <cx:pt idx="43671">1</cx:pt>
          <cx:pt idx="43672">0</cx:pt>
          <cx:pt idx="43673">1</cx:pt>
          <cx:pt idx="43674">1</cx:pt>
          <cx:pt idx="43675">0</cx:pt>
          <cx:pt idx="43676">1</cx:pt>
          <cx:pt idx="43677">1</cx:pt>
          <cx:pt idx="43678">0</cx:pt>
          <cx:pt idx="43679">1</cx:pt>
          <cx:pt idx="43680">1</cx:pt>
          <cx:pt idx="43681">1</cx:pt>
          <cx:pt idx="43682">0</cx:pt>
          <cx:pt idx="43683">0</cx:pt>
          <cx:pt idx="43684">1</cx:pt>
          <cx:pt idx="43685">1</cx:pt>
          <cx:pt idx="43686">1</cx:pt>
          <cx:pt idx="43687">1</cx:pt>
          <cx:pt idx="43688">0</cx:pt>
          <cx:pt idx="43689">1</cx:pt>
          <cx:pt idx="43690">1</cx:pt>
          <cx:pt idx="43691">0</cx:pt>
          <cx:pt idx="43692">0</cx:pt>
          <cx:pt idx="43693">0</cx:pt>
          <cx:pt idx="43694">1</cx:pt>
          <cx:pt idx="43695">0</cx:pt>
          <cx:pt idx="43696">0</cx:pt>
          <cx:pt idx="43697">1</cx:pt>
          <cx:pt idx="43698">0</cx:pt>
          <cx:pt idx="43699">1</cx:pt>
          <cx:pt idx="43700">0</cx:pt>
          <cx:pt idx="43701">0</cx:pt>
          <cx:pt idx="43702">1</cx:pt>
          <cx:pt idx="43703">1</cx:pt>
          <cx:pt idx="43704">0</cx:pt>
          <cx:pt idx="43705">1</cx:pt>
          <cx:pt idx="43706">1</cx:pt>
          <cx:pt idx="43707">1</cx:pt>
          <cx:pt idx="43708">0</cx:pt>
          <cx:pt idx="43709">0</cx:pt>
          <cx:pt idx="43710">1</cx:pt>
          <cx:pt idx="43711">1</cx:pt>
          <cx:pt idx="43712">0</cx:pt>
          <cx:pt idx="43713">1</cx:pt>
          <cx:pt idx="43714">0</cx:pt>
          <cx:pt idx="43715">0</cx:pt>
          <cx:pt idx="43716">0</cx:pt>
          <cx:pt idx="43717">1</cx:pt>
          <cx:pt idx="43718">1</cx:pt>
          <cx:pt idx="43719">1</cx:pt>
          <cx:pt idx="43720">0</cx:pt>
          <cx:pt idx="43721">0</cx:pt>
          <cx:pt idx="43722">1</cx:pt>
          <cx:pt idx="43723">0</cx:pt>
          <cx:pt idx="43724">0</cx:pt>
          <cx:pt idx="43725">0</cx:pt>
          <cx:pt idx="43726">0</cx:pt>
          <cx:pt idx="43727">0</cx:pt>
          <cx:pt idx="43728">0</cx:pt>
          <cx:pt idx="43729">0</cx:pt>
          <cx:pt idx="43730">1</cx:pt>
          <cx:pt idx="43731">0</cx:pt>
          <cx:pt idx="43732">1</cx:pt>
          <cx:pt idx="43733">1</cx:pt>
          <cx:pt idx="43734">1</cx:pt>
          <cx:pt idx="43735">1</cx:pt>
          <cx:pt idx="43736">1</cx:pt>
          <cx:pt idx="43737">0</cx:pt>
          <cx:pt idx="43738">1</cx:pt>
          <cx:pt idx="43739">0</cx:pt>
          <cx:pt idx="43740">0</cx:pt>
          <cx:pt idx="43741">0</cx:pt>
          <cx:pt idx="43742">1</cx:pt>
          <cx:pt idx="43743">0</cx:pt>
          <cx:pt idx="43744">0</cx:pt>
          <cx:pt idx="43745">0</cx:pt>
          <cx:pt idx="43746">0</cx:pt>
          <cx:pt idx="43747">1</cx:pt>
          <cx:pt idx="43748">0</cx:pt>
          <cx:pt idx="43749">0</cx:pt>
          <cx:pt idx="43750">1</cx:pt>
          <cx:pt idx="43751">1</cx:pt>
          <cx:pt idx="43752">0</cx:pt>
          <cx:pt idx="43753">0</cx:pt>
          <cx:pt idx="43754">0</cx:pt>
          <cx:pt idx="43755">1</cx:pt>
          <cx:pt idx="43756">1</cx:pt>
          <cx:pt idx="43757">0</cx:pt>
          <cx:pt idx="43758">0</cx:pt>
          <cx:pt idx="43759">1</cx:pt>
          <cx:pt idx="43760">1</cx:pt>
          <cx:pt idx="43761">0</cx:pt>
          <cx:pt idx="43762">0</cx:pt>
          <cx:pt idx="43763">0</cx:pt>
          <cx:pt idx="43764">0</cx:pt>
          <cx:pt idx="43765">1</cx:pt>
          <cx:pt idx="43766">1</cx:pt>
          <cx:pt idx="43767">0</cx:pt>
          <cx:pt idx="43768">0</cx:pt>
          <cx:pt idx="43769">0</cx:pt>
          <cx:pt idx="43770">0</cx:pt>
          <cx:pt idx="43771">0</cx:pt>
          <cx:pt idx="43772">1</cx:pt>
          <cx:pt idx="43773">1</cx:pt>
          <cx:pt idx="43774">1</cx:pt>
          <cx:pt idx="43775">0</cx:pt>
          <cx:pt idx="43776">0</cx:pt>
          <cx:pt idx="43777">0</cx:pt>
          <cx:pt idx="43778">0</cx:pt>
          <cx:pt idx="43779">1</cx:pt>
          <cx:pt idx="43780">0</cx:pt>
          <cx:pt idx="43781">1</cx:pt>
          <cx:pt idx="43782">1</cx:pt>
          <cx:pt idx="43783">1</cx:pt>
          <cx:pt idx="43784">0</cx:pt>
          <cx:pt idx="43785">1</cx:pt>
          <cx:pt idx="43786">1</cx:pt>
          <cx:pt idx="43787">0</cx:pt>
          <cx:pt idx="43788">0</cx:pt>
          <cx:pt idx="43789">0</cx:pt>
          <cx:pt idx="43790">1</cx:pt>
          <cx:pt idx="43791">0</cx:pt>
          <cx:pt idx="43792">0</cx:pt>
          <cx:pt idx="43793">1</cx:pt>
          <cx:pt idx="43794">0</cx:pt>
          <cx:pt idx="43795">1</cx:pt>
          <cx:pt idx="43796">1</cx:pt>
          <cx:pt idx="43797">0</cx:pt>
          <cx:pt idx="43798">1</cx:pt>
          <cx:pt idx="43799">1</cx:pt>
          <cx:pt idx="43800">1</cx:pt>
          <cx:pt idx="43801">1</cx:pt>
          <cx:pt idx="43802">1</cx:pt>
          <cx:pt idx="43803">0</cx:pt>
          <cx:pt idx="43804">1</cx:pt>
          <cx:pt idx="43805">0</cx:pt>
          <cx:pt idx="43806">1</cx:pt>
          <cx:pt idx="43807">0</cx:pt>
          <cx:pt idx="43808">1</cx:pt>
          <cx:pt idx="43809">0</cx:pt>
          <cx:pt idx="43810">1</cx:pt>
          <cx:pt idx="43811">1</cx:pt>
          <cx:pt idx="43812">1</cx:pt>
          <cx:pt idx="43813">1</cx:pt>
          <cx:pt idx="43814">1</cx:pt>
          <cx:pt idx="43815">1</cx:pt>
          <cx:pt idx="43816">0</cx:pt>
          <cx:pt idx="43817">1</cx:pt>
          <cx:pt idx="43818">0</cx:pt>
          <cx:pt idx="43819">0</cx:pt>
          <cx:pt idx="43820">0</cx:pt>
          <cx:pt idx="43821">0</cx:pt>
          <cx:pt idx="43822">0</cx:pt>
          <cx:pt idx="43823">0</cx:pt>
          <cx:pt idx="43824">1</cx:pt>
          <cx:pt idx="43825">0</cx:pt>
          <cx:pt idx="43826">0</cx:pt>
          <cx:pt idx="43827">0</cx:pt>
          <cx:pt idx="43828">1</cx:pt>
          <cx:pt idx="43829">0</cx:pt>
          <cx:pt idx="43830">0</cx:pt>
          <cx:pt idx="43831">0</cx:pt>
          <cx:pt idx="43832">1</cx:pt>
          <cx:pt idx="43833">1</cx:pt>
          <cx:pt idx="43834">1</cx:pt>
          <cx:pt idx="43835">0</cx:pt>
          <cx:pt idx="43836">0</cx:pt>
          <cx:pt idx="43837">0</cx:pt>
          <cx:pt idx="43838">0</cx:pt>
          <cx:pt idx="43839">0</cx:pt>
          <cx:pt idx="43840">1</cx:pt>
          <cx:pt idx="43841">0</cx:pt>
          <cx:pt idx="43842">0</cx:pt>
          <cx:pt idx="43843">1</cx:pt>
          <cx:pt idx="43844">1</cx:pt>
          <cx:pt idx="43845">0</cx:pt>
          <cx:pt idx="43846">1</cx:pt>
          <cx:pt idx="43847">0</cx:pt>
          <cx:pt idx="43848">0</cx:pt>
          <cx:pt idx="43849">0</cx:pt>
          <cx:pt idx="43850">0</cx:pt>
          <cx:pt idx="43851">1</cx:pt>
          <cx:pt idx="43852">1</cx:pt>
          <cx:pt idx="43853">1</cx:pt>
          <cx:pt idx="43854">0</cx:pt>
          <cx:pt idx="43855">1</cx:pt>
          <cx:pt idx="43856">1</cx:pt>
          <cx:pt idx="43857">0</cx:pt>
          <cx:pt idx="43858">0</cx:pt>
          <cx:pt idx="43859">0</cx:pt>
          <cx:pt idx="43860">0</cx:pt>
          <cx:pt idx="43861">1</cx:pt>
          <cx:pt idx="43862">1</cx:pt>
          <cx:pt idx="43863">1</cx:pt>
          <cx:pt idx="43864">0</cx:pt>
          <cx:pt idx="43865">0</cx:pt>
          <cx:pt idx="43866">0</cx:pt>
          <cx:pt idx="43867">0</cx:pt>
          <cx:pt idx="43868">0</cx:pt>
          <cx:pt idx="43869">1</cx:pt>
          <cx:pt idx="43870">1</cx:pt>
          <cx:pt idx="43871">1</cx:pt>
          <cx:pt idx="43872">1</cx:pt>
          <cx:pt idx="43873">1</cx:pt>
          <cx:pt idx="43874">1</cx:pt>
          <cx:pt idx="43875">0</cx:pt>
          <cx:pt idx="43876">0</cx:pt>
          <cx:pt idx="43877">1</cx:pt>
          <cx:pt idx="43878">0</cx:pt>
          <cx:pt idx="43879">1</cx:pt>
          <cx:pt idx="43880">1</cx:pt>
          <cx:pt idx="43881">1</cx:pt>
          <cx:pt idx="43882">1</cx:pt>
          <cx:pt idx="43883">1</cx:pt>
          <cx:pt idx="43884">0</cx:pt>
          <cx:pt idx="43885">0</cx:pt>
          <cx:pt idx="43886">0</cx:pt>
          <cx:pt idx="43887">1</cx:pt>
          <cx:pt idx="43888">0</cx:pt>
          <cx:pt idx="43889">0</cx:pt>
          <cx:pt idx="43890">0</cx:pt>
          <cx:pt idx="43891">0</cx:pt>
          <cx:pt idx="43892">1</cx:pt>
          <cx:pt idx="43893">0</cx:pt>
          <cx:pt idx="43894">0</cx:pt>
          <cx:pt idx="43895">0</cx:pt>
          <cx:pt idx="43896">1</cx:pt>
          <cx:pt idx="43897">1</cx:pt>
          <cx:pt idx="43898">0</cx:pt>
          <cx:pt idx="43899">1</cx:pt>
          <cx:pt idx="43900">0</cx:pt>
          <cx:pt idx="43901">1</cx:pt>
          <cx:pt idx="43902">1</cx:pt>
          <cx:pt idx="43903">1</cx:pt>
          <cx:pt idx="43904">1</cx:pt>
          <cx:pt idx="43905">0</cx:pt>
          <cx:pt idx="43906">1</cx:pt>
          <cx:pt idx="43907">1</cx:pt>
          <cx:pt idx="43908">1</cx:pt>
          <cx:pt idx="43909">1</cx:pt>
          <cx:pt idx="43910">0</cx:pt>
          <cx:pt idx="43911">0</cx:pt>
          <cx:pt idx="43912">0</cx:pt>
          <cx:pt idx="43913">0</cx:pt>
          <cx:pt idx="43914">1</cx:pt>
          <cx:pt idx="43915">1</cx:pt>
          <cx:pt idx="43916">0</cx:pt>
          <cx:pt idx="43917">0</cx:pt>
          <cx:pt idx="43918">1</cx:pt>
          <cx:pt idx="43919">0</cx:pt>
          <cx:pt idx="43920">0</cx:pt>
          <cx:pt idx="43921">1</cx:pt>
          <cx:pt idx="43922">0</cx:pt>
          <cx:pt idx="43923">0</cx:pt>
          <cx:pt idx="43924">0</cx:pt>
          <cx:pt idx="43925">0</cx:pt>
          <cx:pt idx="43926">1</cx:pt>
          <cx:pt idx="43927">0</cx:pt>
          <cx:pt idx="43928">0</cx:pt>
          <cx:pt idx="43929">1</cx:pt>
          <cx:pt idx="43930">0</cx:pt>
          <cx:pt idx="43931">0</cx:pt>
          <cx:pt idx="43932">0</cx:pt>
          <cx:pt idx="43933">1</cx:pt>
          <cx:pt idx="43934">1</cx:pt>
          <cx:pt idx="43935">0</cx:pt>
          <cx:pt idx="43936">1</cx:pt>
          <cx:pt idx="43937">1</cx:pt>
          <cx:pt idx="43938">0</cx:pt>
          <cx:pt idx="43939">0</cx:pt>
          <cx:pt idx="43940">1</cx:pt>
          <cx:pt idx="43941">1</cx:pt>
          <cx:pt idx="43942">1</cx:pt>
          <cx:pt idx="43943">1</cx:pt>
          <cx:pt idx="43944">1</cx:pt>
          <cx:pt idx="43945">0</cx:pt>
          <cx:pt idx="43946">0</cx:pt>
          <cx:pt idx="43947">0</cx:pt>
          <cx:pt idx="43948">0</cx:pt>
          <cx:pt idx="43949">0</cx:pt>
          <cx:pt idx="43950">0</cx:pt>
          <cx:pt idx="43951">1</cx:pt>
          <cx:pt idx="43952">0</cx:pt>
          <cx:pt idx="43953">0</cx:pt>
          <cx:pt idx="43954">0</cx:pt>
          <cx:pt idx="43955">0</cx:pt>
          <cx:pt idx="43956">1</cx:pt>
          <cx:pt idx="43957">1</cx:pt>
          <cx:pt idx="43958">1</cx:pt>
          <cx:pt idx="43959">0</cx:pt>
          <cx:pt idx="43960">0</cx:pt>
          <cx:pt idx="43961">1</cx:pt>
          <cx:pt idx="43962">1</cx:pt>
          <cx:pt idx="43963">1</cx:pt>
          <cx:pt idx="43964">1</cx:pt>
          <cx:pt idx="43965">0</cx:pt>
          <cx:pt idx="43966">1</cx:pt>
          <cx:pt idx="43967">0</cx:pt>
          <cx:pt idx="43968">1</cx:pt>
          <cx:pt idx="43969">0</cx:pt>
          <cx:pt idx="43970">0</cx:pt>
          <cx:pt idx="43971">1</cx:pt>
          <cx:pt idx="43972">1</cx:pt>
          <cx:pt idx="43973">1</cx:pt>
          <cx:pt idx="43974">1</cx:pt>
          <cx:pt idx="43975">0</cx:pt>
          <cx:pt idx="43976">0</cx:pt>
          <cx:pt idx="43977">0</cx:pt>
          <cx:pt idx="43978">1</cx:pt>
          <cx:pt idx="43979">0</cx:pt>
          <cx:pt idx="43980">0</cx:pt>
          <cx:pt idx="43981">1</cx:pt>
          <cx:pt idx="43982">0</cx:pt>
          <cx:pt idx="43983">1</cx:pt>
          <cx:pt idx="43984">1</cx:pt>
          <cx:pt idx="43985">0</cx:pt>
          <cx:pt idx="43986">1</cx:pt>
          <cx:pt idx="43987">1</cx:pt>
          <cx:pt idx="43988">0</cx:pt>
          <cx:pt idx="43989">0</cx:pt>
          <cx:pt idx="43990">0</cx:pt>
          <cx:pt idx="43991">1</cx:pt>
          <cx:pt idx="43992">1</cx:pt>
          <cx:pt idx="43993">0</cx:pt>
          <cx:pt idx="43994">0</cx:pt>
          <cx:pt idx="43995">1</cx:pt>
          <cx:pt idx="43996">0</cx:pt>
          <cx:pt idx="43997">0</cx:pt>
          <cx:pt idx="43998">0</cx:pt>
          <cx:pt idx="43999">1</cx:pt>
          <cx:pt idx="44000">0</cx:pt>
          <cx:pt idx="44001">0</cx:pt>
          <cx:pt idx="44002">0</cx:pt>
          <cx:pt idx="44003">0</cx:pt>
          <cx:pt idx="44004">1</cx:pt>
          <cx:pt idx="44005">1</cx:pt>
          <cx:pt idx="44006">1</cx:pt>
          <cx:pt idx="44007">0</cx:pt>
          <cx:pt idx="44008">0</cx:pt>
          <cx:pt idx="44009">0</cx:pt>
          <cx:pt idx="44010">0</cx:pt>
          <cx:pt idx="44011">1</cx:pt>
          <cx:pt idx="44012">0</cx:pt>
          <cx:pt idx="44013">1</cx:pt>
          <cx:pt idx="44014">1</cx:pt>
          <cx:pt idx="44015">0</cx:pt>
          <cx:pt idx="44016">0</cx:pt>
          <cx:pt idx="44017">0</cx:pt>
          <cx:pt idx="44018">0</cx:pt>
          <cx:pt idx="44019">1</cx:pt>
          <cx:pt idx="44020">1</cx:pt>
          <cx:pt idx="44021">0</cx:pt>
          <cx:pt idx="44022">0</cx:pt>
          <cx:pt idx="44023">1</cx:pt>
          <cx:pt idx="44024">1</cx:pt>
          <cx:pt idx="44025">1</cx:pt>
          <cx:pt idx="44026">0</cx:pt>
          <cx:pt idx="44027">0</cx:pt>
          <cx:pt idx="44028">1</cx:pt>
          <cx:pt idx="44029">0</cx:pt>
          <cx:pt idx="44030">1</cx:pt>
          <cx:pt idx="44031">0</cx:pt>
          <cx:pt idx="44032">0</cx:pt>
          <cx:pt idx="44033">0</cx:pt>
          <cx:pt idx="44034">0</cx:pt>
          <cx:pt idx="44035">0</cx:pt>
          <cx:pt idx="44036">0</cx:pt>
          <cx:pt idx="44037">1</cx:pt>
          <cx:pt idx="44038">0</cx:pt>
          <cx:pt idx="44039">0</cx:pt>
          <cx:pt idx="44040">0</cx:pt>
          <cx:pt idx="44041">0</cx:pt>
          <cx:pt idx="44042">1</cx:pt>
          <cx:pt idx="44043">0</cx:pt>
          <cx:pt idx="44044">0</cx:pt>
          <cx:pt idx="44045">1</cx:pt>
          <cx:pt idx="44046">0</cx:pt>
          <cx:pt idx="44047">0</cx:pt>
          <cx:pt idx="44048">0</cx:pt>
          <cx:pt idx="44049">0</cx:pt>
          <cx:pt idx="44050">0</cx:pt>
          <cx:pt idx="44051">0</cx:pt>
          <cx:pt idx="44052">0</cx:pt>
          <cx:pt idx="44053">1</cx:pt>
          <cx:pt idx="44054">0</cx:pt>
          <cx:pt idx="44055">0</cx:pt>
          <cx:pt idx="44056">1</cx:pt>
          <cx:pt idx="44057">1</cx:pt>
          <cx:pt idx="44058">0</cx:pt>
          <cx:pt idx="44059">0</cx:pt>
          <cx:pt idx="44060">0</cx:pt>
          <cx:pt idx="44061">0</cx:pt>
          <cx:pt idx="44062">0</cx:pt>
          <cx:pt idx="44063">1</cx:pt>
          <cx:pt idx="44064">0</cx:pt>
          <cx:pt idx="44065">0</cx:pt>
          <cx:pt idx="44066">1</cx:pt>
          <cx:pt idx="44067">0</cx:pt>
          <cx:pt idx="44068">0</cx:pt>
          <cx:pt idx="44069">1</cx:pt>
          <cx:pt idx="44070">0</cx:pt>
          <cx:pt idx="44071">0</cx:pt>
          <cx:pt idx="44072">1</cx:pt>
          <cx:pt idx="44073">0</cx:pt>
          <cx:pt idx="44074">0</cx:pt>
          <cx:pt idx="44075">0</cx:pt>
          <cx:pt idx="44076">0</cx:pt>
          <cx:pt idx="44077">0</cx:pt>
          <cx:pt idx="44078">0</cx:pt>
          <cx:pt idx="44079">1</cx:pt>
          <cx:pt idx="44080">0</cx:pt>
          <cx:pt idx="44081">1</cx:pt>
          <cx:pt idx="44082">0</cx:pt>
          <cx:pt idx="44083">1</cx:pt>
          <cx:pt idx="44084">0</cx:pt>
          <cx:pt idx="44085">0</cx:pt>
          <cx:pt idx="44086">0</cx:pt>
          <cx:pt idx="44087">1</cx:pt>
          <cx:pt idx="44088">0</cx:pt>
          <cx:pt idx="44089">0</cx:pt>
          <cx:pt idx="44090">0</cx:pt>
          <cx:pt idx="44091">1</cx:pt>
          <cx:pt idx="44092">0</cx:pt>
          <cx:pt idx="44093">0</cx:pt>
          <cx:pt idx="44094">1</cx:pt>
          <cx:pt idx="44095">0</cx:pt>
          <cx:pt idx="44096">0</cx:pt>
          <cx:pt idx="44097">0</cx:pt>
          <cx:pt idx="44098">0</cx:pt>
          <cx:pt idx="44099">0</cx:pt>
          <cx:pt idx="44100">1</cx:pt>
          <cx:pt idx="44101">0</cx:pt>
          <cx:pt idx="44102">1</cx:pt>
          <cx:pt idx="44103">0</cx:pt>
          <cx:pt idx="44104">0</cx:pt>
          <cx:pt idx="44105">0</cx:pt>
          <cx:pt idx="44106">0</cx:pt>
          <cx:pt idx="44107">1</cx:pt>
          <cx:pt idx="44108">1</cx:pt>
          <cx:pt idx="44109">0</cx:pt>
          <cx:pt idx="44110">1</cx:pt>
          <cx:pt idx="44111">1</cx:pt>
          <cx:pt idx="44112">0</cx:pt>
          <cx:pt idx="44113">0</cx:pt>
          <cx:pt idx="44114">1</cx:pt>
          <cx:pt idx="44115">0</cx:pt>
          <cx:pt idx="44116">0</cx:pt>
          <cx:pt idx="44117">1</cx:pt>
          <cx:pt idx="44118">0</cx:pt>
          <cx:pt idx="44119">0</cx:pt>
          <cx:pt idx="44120">0</cx:pt>
          <cx:pt idx="44121">0</cx:pt>
          <cx:pt idx="44122">0</cx:pt>
          <cx:pt idx="44123">0</cx:pt>
          <cx:pt idx="44124">1</cx:pt>
          <cx:pt idx="44125">0</cx:pt>
          <cx:pt idx="44126">1</cx:pt>
          <cx:pt idx="44127">1</cx:pt>
          <cx:pt idx="44128">0</cx:pt>
          <cx:pt idx="44129">0</cx:pt>
          <cx:pt idx="44130">1</cx:pt>
          <cx:pt idx="44131">0</cx:pt>
          <cx:pt idx="44132">0</cx:pt>
          <cx:pt idx="44133">0</cx:pt>
          <cx:pt idx="44134">0</cx:pt>
          <cx:pt idx="44135">1</cx:pt>
          <cx:pt idx="44136">1</cx:pt>
          <cx:pt idx="44137">0</cx:pt>
          <cx:pt idx="44138">0</cx:pt>
          <cx:pt idx="44139">0</cx:pt>
          <cx:pt idx="44140">1</cx:pt>
          <cx:pt idx="44141">1</cx:pt>
          <cx:pt idx="44142">0</cx:pt>
          <cx:pt idx="44143">0</cx:pt>
          <cx:pt idx="44144">0</cx:pt>
          <cx:pt idx="44145">1</cx:pt>
          <cx:pt idx="44146">0</cx:pt>
          <cx:pt idx="44147">0</cx:pt>
          <cx:pt idx="44148">0</cx:pt>
          <cx:pt idx="44149">0</cx:pt>
          <cx:pt idx="44150">0</cx:pt>
          <cx:pt idx="44151">0</cx:pt>
          <cx:pt idx="44152">1</cx:pt>
          <cx:pt idx="44153">0</cx:pt>
          <cx:pt idx="44154">1</cx:pt>
          <cx:pt idx="44155">0</cx:pt>
          <cx:pt idx="44156">1</cx:pt>
          <cx:pt idx="44157">1</cx:pt>
          <cx:pt idx="44158">1</cx:pt>
          <cx:pt idx="44159">1</cx:pt>
          <cx:pt idx="44160">0</cx:pt>
          <cx:pt idx="44161">0</cx:pt>
          <cx:pt idx="44162">1</cx:pt>
          <cx:pt idx="44163">1</cx:pt>
          <cx:pt idx="44164">1</cx:pt>
          <cx:pt idx="44165">1</cx:pt>
          <cx:pt idx="44166">0</cx:pt>
          <cx:pt idx="44167">0</cx:pt>
          <cx:pt idx="44168">0</cx:pt>
          <cx:pt idx="44169">1</cx:pt>
          <cx:pt idx="44170">1</cx:pt>
          <cx:pt idx="44171">1</cx:pt>
          <cx:pt idx="44172">0</cx:pt>
          <cx:pt idx="44173">0</cx:pt>
          <cx:pt idx="44174">0</cx:pt>
          <cx:pt idx="44175">0</cx:pt>
          <cx:pt idx="44176">0</cx:pt>
          <cx:pt idx="44177">1</cx:pt>
          <cx:pt idx="44178">0</cx:pt>
          <cx:pt idx="44179">0</cx:pt>
          <cx:pt idx="44180">1</cx:pt>
          <cx:pt idx="44181">1</cx:pt>
          <cx:pt idx="44182">1</cx:pt>
          <cx:pt idx="44183">0</cx:pt>
          <cx:pt idx="44184">0</cx:pt>
          <cx:pt idx="44185">0</cx:pt>
          <cx:pt idx="44186">0</cx:pt>
          <cx:pt idx="44187">1</cx:pt>
          <cx:pt idx="44188">0</cx:pt>
          <cx:pt idx="44189">1</cx:pt>
          <cx:pt idx="44190">0</cx:pt>
          <cx:pt idx="44191">1</cx:pt>
          <cx:pt idx="44192">0</cx:pt>
          <cx:pt idx="44193">0</cx:pt>
          <cx:pt idx="44194">0</cx:pt>
          <cx:pt idx="44195">1</cx:pt>
          <cx:pt idx="44196">0</cx:pt>
          <cx:pt idx="44197">1</cx:pt>
          <cx:pt idx="44198">1</cx:pt>
          <cx:pt idx="44199">0</cx:pt>
          <cx:pt idx="44200">1</cx:pt>
          <cx:pt idx="44201">0</cx:pt>
          <cx:pt idx="44202">1</cx:pt>
          <cx:pt idx="44203">0</cx:pt>
          <cx:pt idx="44204">0</cx:pt>
          <cx:pt idx="44205">0</cx:pt>
          <cx:pt idx="44206">0</cx:pt>
          <cx:pt idx="44207">0</cx:pt>
          <cx:pt idx="44208">1</cx:pt>
          <cx:pt idx="44209">1</cx:pt>
          <cx:pt idx="44210">0</cx:pt>
          <cx:pt idx="44211">1</cx:pt>
          <cx:pt idx="44212">1</cx:pt>
          <cx:pt idx="44213">1</cx:pt>
          <cx:pt idx="44214">0</cx:pt>
          <cx:pt idx="44215">0</cx:pt>
          <cx:pt idx="44216">0</cx:pt>
          <cx:pt idx="44217">0</cx:pt>
          <cx:pt idx="44218">1</cx:pt>
          <cx:pt idx="44219">0</cx:pt>
          <cx:pt idx="44220">0</cx:pt>
          <cx:pt idx="44221">1</cx:pt>
          <cx:pt idx="44222">0</cx:pt>
          <cx:pt idx="44223">0</cx:pt>
          <cx:pt idx="44224">0</cx:pt>
          <cx:pt idx="44225">0</cx:pt>
          <cx:pt idx="44226">1</cx:pt>
          <cx:pt idx="44227">0</cx:pt>
          <cx:pt idx="44228">1</cx:pt>
          <cx:pt idx="44229">0</cx:pt>
          <cx:pt idx="44230">1</cx:pt>
          <cx:pt idx="44231">1</cx:pt>
          <cx:pt idx="44232">1</cx:pt>
          <cx:pt idx="44233">0</cx:pt>
          <cx:pt idx="44234">0</cx:pt>
          <cx:pt idx="44235">0</cx:pt>
          <cx:pt idx="44236">1</cx:pt>
          <cx:pt idx="44237">1</cx:pt>
          <cx:pt idx="44238">0</cx:pt>
          <cx:pt idx="44239">0</cx:pt>
          <cx:pt idx="44240">1</cx:pt>
          <cx:pt idx="44241">0</cx:pt>
          <cx:pt idx="44242">0</cx:pt>
          <cx:pt idx="44243">0</cx:pt>
          <cx:pt idx="44244">1</cx:pt>
          <cx:pt idx="44245">0</cx:pt>
          <cx:pt idx="44246">1</cx:pt>
          <cx:pt idx="44247">1</cx:pt>
          <cx:pt idx="44248">0</cx:pt>
          <cx:pt idx="44249">1</cx:pt>
          <cx:pt idx="44250">1</cx:pt>
          <cx:pt idx="44251">1</cx:pt>
          <cx:pt idx="44252">1</cx:pt>
          <cx:pt idx="44253">0</cx:pt>
          <cx:pt idx="44254">0</cx:pt>
          <cx:pt idx="44255">1</cx:pt>
          <cx:pt idx="44256">1</cx:pt>
          <cx:pt idx="44257">1</cx:pt>
          <cx:pt idx="44258">0</cx:pt>
          <cx:pt idx="44259">1</cx:pt>
          <cx:pt idx="44260">0</cx:pt>
          <cx:pt idx="44261">1</cx:pt>
          <cx:pt idx="44262">1</cx:pt>
          <cx:pt idx="44263">1</cx:pt>
          <cx:pt idx="44264">0</cx:pt>
          <cx:pt idx="44265">1</cx:pt>
          <cx:pt idx="44266">1</cx:pt>
          <cx:pt idx="44267">1</cx:pt>
          <cx:pt idx="44268">0</cx:pt>
          <cx:pt idx="44269">0</cx:pt>
          <cx:pt idx="44270">1</cx:pt>
          <cx:pt idx="44271">0</cx:pt>
          <cx:pt idx="44272">1</cx:pt>
          <cx:pt idx="44273">0</cx:pt>
          <cx:pt idx="44274">0</cx:pt>
          <cx:pt idx="44275">0</cx:pt>
          <cx:pt idx="44276">0</cx:pt>
          <cx:pt idx="44277">0</cx:pt>
          <cx:pt idx="44278">0</cx:pt>
          <cx:pt idx="44279">1</cx:pt>
          <cx:pt idx="44280">1</cx:pt>
          <cx:pt idx="44281">0</cx:pt>
          <cx:pt idx="44282">0</cx:pt>
          <cx:pt idx="44283">1</cx:pt>
          <cx:pt idx="44284">0</cx:pt>
          <cx:pt idx="44285">0</cx:pt>
          <cx:pt idx="44286">1</cx:pt>
          <cx:pt idx="44287">1</cx:pt>
          <cx:pt idx="44288">0</cx:pt>
          <cx:pt idx="44289">0</cx:pt>
          <cx:pt idx="44290">1</cx:pt>
          <cx:pt idx="44291">0</cx:pt>
          <cx:pt idx="44292">1</cx:pt>
          <cx:pt idx="44293">0</cx:pt>
          <cx:pt idx="44294">0</cx:pt>
          <cx:pt idx="44295">0</cx:pt>
          <cx:pt idx="44296">0</cx:pt>
          <cx:pt idx="44297">1</cx:pt>
          <cx:pt idx="44298">0</cx:pt>
          <cx:pt idx="44299">1</cx:pt>
          <cx:pt idx="44300">1</cx:pt>
          <cx:pt idx="44301">0</cx:pt>
          <cx:pt idx="44302">0</cx:pt>
          <cx:pt idx="44303">0</cx:pt>
          <cx:pt idx="44304">0</cx:pt>
          <cx:pt idx="44305">0</cx:pt>
          <cx:pt idx="44306">0</cx:pt>
          <cx:pt idx="44307">1</cx:pt>
          <cx:pt idx="44308">1</cx:pt>
          <cx:pt idx="44309">0</cx:pt>
          <cx:pt idx="44310">0</cx:pt>
          <cx:pt idx="44311">0</cx:pt>
          <cx:pt idx="44312">1</cx:pt>
          <cx:pt idx="44313">0</cx:pt>
          <cx:pt idx="44314">0</cx:pt>
          <cx:pt idx="44315">1</cx:pt>
          <cx:pt idx="44316">1</cx:pt>
          <cx:pt idx="44317">0</cx:pt>
          <cx:pt idx="44318">0</cx:pt>
          <cx:pt idx="44319">0</cx:pt>
          <cx:pt idx="44320">1</cx:pt>
          <cx:pt idx="44321">0</cx:pt>
          <cx:pt idx="44322">0</cx:pt>
          <cx:pt idx="44323">1</cx:pt>
          <cx:pt idx="44324">1</cx:pt>
          <cx:pt idx="44325">0</cx:pt>
          <cx:pt idx="44326">0</cx:pt>
          <cx:pt idx="44327">1</cx:pt>
          <cx:pt idx="44328">0</cx:pt>
          <cx:pt idx="44329">1</cx:pt>
          <cx:pt idx="44330">0</cx:pt>
          <cx:pt idx="44331">0</cx:pt>
          <cx:pt idx="44332">1</cx:pt>
          <cx:pt idx="44333">1</cx:pt>
          <cx:pt idx="44334">1</cx:pt>
          <cx:pt idx="44335">1</cx:pt>
          <cx:pt idx="44336">1</cx:pt>
          <cx:pt idx="44337">0</cx:pt>
          <cx:pt idx="44338">0</cx:pt>
          <cx:pt idx="44339">1</cx:pt>
          <cx:pt idx="44340">0</cx:pt>
          <cx:pt idx="44341">1</cx:pt>
          <cx:pt idx="44342">1</cx:pt>
          <cx:pt idx="44343">0</cx:pt>
          <cx:pt idx="44344">1</cx:pt>
          <cx:pt idx="44345">1</cx:pt>
          <cx:pt idx="44346">1</cx:pt>
          <cx:pt idx="44347">0</cx:pt>
          <cx:pt idx="44348">1</cx:pt>
          <cx:pt idx="44349">1</cx:pt>
          <cx:pt idx="44350">0</cx:pt>
          <cx:pt idx="44351">1</cx:pt>
          <cx:pt idx="44352">1</cx:pt>
          <cx:pt idx="44353">1</cx:pt>
          <cx:pt idx="44354">0</cx:pt>
          <cx:pt idx="44355">1</cx:pt>
          <cx:pt idx="44356">1</cx:pt>
          <cx:pt idx="44357">1</cx:pt>
          <cx:pt idx="44358">0</cx:pt>
          <cx:pt idx="44359">1</cx:pt>
          <cx:pt idx="44360">0</cx:pt>
          <cx:pt idx="44361">0</cx:pt>
          <cx:pt idx="44362">0</cx:pt>
          <cx:pt idx="44363">1</cx:pt>
          <cx:pt idx="44364">0</cx:pt>
          <cx:pt idx="44365">0</cx:pt>
          <cx:pt idx="44366">1</cx:pt>
          <cx:pt idx="44367">0</cx:pt>
          <cx:pt idx="44368">0</cx:pt>
          <cx:pt idx="44369">0</cx:pt>
          <cx:pt idx="44370">0</cx:pt>
          <cx:pt idx="44371">0</cx:pt>
          <cx:pt idx="44372">0</cx:pt>
          <cx:pt idx="44373">0</cx:pt>
          <cx:pt idx="44374">0</cx:pt>
          <cx:pt idx="44375">1</cx:pt>
          <cx:pt idx="44376">0</cx:pt>
          <cx:pt idx="44377">1</cx:pt>
          <cx:pt idx="44378">1</cx:pt>
          <cx:pt idx="44379">1</cx:pt>
          <cx:pt idx="44380">0</cx:pt>
          <cx:pt idx="44381">1</cx:pt>
          <cx:pt idx="44382">0</cx:pt>
          <cx:pt idx="44383">1</cx:pt>
          <cx:pt idx="44384">1</cx:pt>
          <cx:pt idx="44385">1</cx:pt>
          <cx:pt idx="44386">0</cx:pt>
          <cx:pt idx="44387">0</cx:pt>
          <cx:pt idx="44388">1</cx:pt>
          <cx:pt idx="44389">0</cx:pt>
          <cx:pt idx="44390">0</cx:pt>
          <cx:pt idx="44391">1</cx:pt>
          <cx:pt idx="44392">1</cx:pt>
          <cx:pt idx="44393">1</cx:pt>
          <cx:pt idx="44394">0</cx:pt>
          <cx:pt idx="44395">0</cx:pt>
          <cx:pt idx="44396">1</cx:pt>
          <cx:pt idx="44397">0</cx:pt>
          <cx:pt idx="44398">1</cx:pt>
          <cx:pt idx="44399">0</cx:pt>
          <cx:pt idx="44400">0</cx:pt>
          <cx:pt idx="44401">0</cx:pt>
          <cx:pt idx="44402">0</cx:pt>
          <cx:pt idx="44403">0</cx:pt>
          <cx:pt idx="44404">1</cx:pt>
          <cx:pt idx="44405">0</cx:pt>
          <cx:pt idx="44406">0</cx:pt>
          <cx:pt idx="44407">0</cx:pt>
          <cx:pt idx="44408">1</cx:pt>
          <cx:pt idx="44409">1</cx:pt>
          <cx:pt idx="44410">1</cx:pt>
          <cx:pt idx="44411">1</cx:pt>
          <cx:pt idx="44412">1</cx:pt>
          <cx:pt idx="44413">1</cx:pt>
          <cx:pt idx="44414">0</cx:pt>
          <cx:pt idx="44415">1</cx:pt>
          <cx:pt idx="44416">0</cx:pt>
          <cx:pt idx="44417">0</cx:pt>
          <cx:pt idx="44418">0</cx:pt>
          <cx:pt idx="44419">1</cx:pt>
          <cx:pt idx="44420">1</cx:pt>
          <cx:pt idx="44421">1</cx:pt>
          <cx:pt idx="44422">0</cx:pt>
          <cx:pt idx="44423">1</cx:pt>
          <cx:pt idx="44424">0</cx:pt>
          <cx:pt idx="44425">1</cx:pt>
          <cx:pt idx="44426">0</cx:pt>
          <cx:pt idx="44427">1</cx:pt>
          <cx:pt idx="44428">0</cx:pt>
          <cx:pt idx="44429">1</cx:pt>
          <cx:pt idx="44430">0</cx:pt>
          <cx:pt idx="44431">1</cx:pt>
          <cx:pt idx="44432">0</cx:pt>
          <cx:pt idx="44433">1</cx:pt>
          <cx:pt idx="44434">1</cx:pt>
          <cx:pt idx="44435">0</cx:pt>
          <cx:pt idx="44436">0</cx:pt>
          <cx:pt idx="44437">1</cx:pt>
          <cx:pt idx="44438">1</cx:pt>
          <cx:pt idx="44439">0</cx:pt>
          <cx:pt idx="44440">1</cx:pt>
          <cx:pt idx="44441">1</cx:pt>
          <cx:pt idx="44442">1</cx:pt>
          <cx:pt idx="44443">0</cx:pt>
          <cx:pt idx="44444">1</cx:pt>
          <cx:pt idx="44445">0</cx:pt>
          <cx:pt idx="44446">1</cx:pt>
          <cx:pt idx="44447">1</cx:pt>
          <cx:pt idx="44448">0</cx:pt>
          <cx:pt idx="44449">0</cx:pt>
          <cx:pt idx="44450">0</cx:pt>
          <cx:pt idx="44451">0</cx:pt>
          <cx:pt idx="44452">0</cx:pt>
          <cx:pt idx="44453">0</cx:pt>
          <cx:pt idx="44454">1</cx:pt>
          <cx:pt idx="44455">0</cx:pt>
          <cx:pt idx="44456">0</cx:pt>
          <cx:pt idx="44457">1</cx:pt>
          <cx:pt idx="44458">1</cx:pt>
          <cx:pt idx="44459">0</cx:pt>
          <cx:pt idx="44460">1</cx:pt>
          <cx:pt idx="44461">1</cx:pt>
          <cx:pt idx="44462">0</cx:pt>
          <cx:pt idx="44463">1</cx:pt>
          <cx:pt idx="44464">1</cx:pt>
          <cx:pt idx="44465">0</cx:pt>
          <cx:pt idx="44466">0</cx:pt>
          <cx:pt idx="44467">0</cx:pt>
          <cx:pt idx="44468">1</cx:pt>
          <cx:pt idx="44469">1</cx:pt>
          <cx:pt idx="44470">0</cx:pt>
          <cx:pt idx="44471">0</cx:pt>
          <cx:pt idx="44472">1</cx:pt>
          <cx:pt idx="44473">1</cx:pt>
          <cx:pt idx="44474">1</cx:pt>
          <cx:pt idx="44475">0</cx:pt>
          <cx:pt idx="44476">1</cx:pt>
          <cx:pt idx="44477">0</cx:pt>
          <cx:pt idx="44478">0</cx:pt>
          <cx:pt idx="44479">0</cx:pt>
          <cx:pt idx="44480">1</cx:pt>
          <cx:pt idx="44481">0</cx:pt>
          <cx:pt idx="44482">1</cx:pt>
          <cx:pt idx="44483">0</cx:pt>
          <cx:pt idx="44484">1</cx:pt>
          <cx:pt idx="44485">0</cx:pt>
          <cx:pt idx="44486">1</cx:pt>
          <cx:pt idx="44487">0</cx:pt>
          <cx:pt idx="44488">1</cx:pt>
          <cx:pt idx="44489">0</cx:pt>
          <cx:pt idx="44490">0</cx:pt>
          <cx:pt idx="44491">0</cx:pt>
          <cx:pt idx="44492">0</cx:pt>
          <cx:pt idx="44493">1</cx:pt>
          <cx:pt idx="44494">1</cx:pt>
          <cx:pt idx="44495">1</cx:pt>
          <cx:pt idx="44496">0</cx:pt>
          <cx:pt idx="44497">0</cx:pt>
          <cx:pt idx="44498">0</cx:pt>
          <cx:pt idx="44499">0</cx:pt>
          <cx:pt idx="44500">0</cx:pt>
          <cx:pt idx="44501">1</cx:pt>
          <cx:pt idx="44502">0</cx:pt>
          <cx:pt idx="44503">0</cx:pt>
          <cx:pt idx="44504">0</cx:pt>
          <cx:pt idx="44505">0</cx:pt>
          <cx:pt idx="44506">0</cx:pt>
          <cx:pt idx="44507">0</cx:pt>
          <cx:pt idx="44508">0</cx:pt>
          <cx:pt idx="44509">0</cx:pt>
          <cx:pt idx="44510">0</cx:pt>
          <cx:pt idx="44511">1</cx:pt>
          <cx:pt idx="44512">1</cx:pt>
          <cx:pt idx="44513">0</cx:pt>
          <cx:pt idx="44514">0</cx:pt>
          <cx:pt idx="44515">1</cx:pt>
          <cx:pt idx="44516">0</cx:pt>
          <cx:pt idx="44517">0</cx:pt>
          <cx:pt idx="44518">0</cx:pt>
          <cx:pt idx="44519">0</cx:pt>
          <cx:pt idx="44520">1</cx:pt>
          <cx:pt idx="44521">0</cx:pt>
          <cx:pt idx="44522">1</cx:pt>
          <cx:pt idx="44523">1</cx:pt>
          <cx:pt idx="44524">0</cx:pt>
          <cx:pt idx="44525">0</cx:pt>
          <cx:pt idx="44526">0</cx:pt>
          <cx:pt idx="44527">0</cx:pt>
          <cx:pt idx="44528">1</cx:pt>
          <cx:pt idx="44529">0</cx:pt>
          <cx:pt idx="44530">1</cx:pt>
          <cx:pt idx="44531">0</cx:pt>
          <cx:pt idx="44532">1</cx:pt>
          <cx:pt idx="44533">1</cx:pt>
          <cx:pt idx="44534">0</cx:pt>
          <cx:pt idx="44535">0</cx:pt>
          <cx:pt idx="44536">1</cx:pt>
          <cx:pt idx="44537">0</cx:pt>
          <cx:pt idx="44538">0</cx:pt>
          <cx:pt idx="44539">0</cx:pt>
          <cx:pt idx="44540">1</cx:pt>
          <cx:pt idx="44541">1</cx:pt>
          <cx:pt idx="44542">0</cx:pt>
          <cx:pt idx="44543">0</cx:pt>
          <cx:pt idx="44544">1</cx:pt>
          <cx:pt idx="44545">1</cx:pt>
          <cx:pt idx="44546">0</cx:pt>
          <cx:pt idx="44547">0</cx:pt>
          <cx:pt idx="44548">1</cx:pt>
          <cx:pt idx="44549">0</cx:pt>
          <cx:pt idx="44550">1</cx:pt>
          <cx:pt idx="44551">0</cx:pt>
          <cx:pt idx="44552">1</cx:pt>
          <cx:pt idx="44553">0</cx:pt>
          <cx:pt idx="44554">0</cx:pt>
          <cx:pt idx="44555">0</cx:pt>
          <cx:pt idx="44556">0</cx:pt>
          <cx:pt idx="44557">1</cx:pt>
          <cx:pt idx="44558">1</cx:pt>
          <cx:pt idx="44559">0</cx:pt>
          <cx:pt idx="44560">0</cx:pt>
          <cx:pt idx="44561">1</cx:pt>
          <cx:pt idx="44562">1</cx:pt>
          <cx:pt idx="44563">1</cx:pt>
          <cx:pt idx="44564">1</cx:pt>
          <cx:pt idx="44565">1</cx:pt>
          <cx:pt idx="44566">0</cx:pt>
          <cx:pt idx="44567">0</cx:pt>
          <cx:pt idx="44568">1</cx:pt>
          <cx:pt idx="44569">1</cx:pt>
          <cx:pt idx="44570">0</cx:pt>
          <cx:pt idx="44571">0</cx:pt>
          <cx:pt idx="44572">0</cx:pt>
          <cx:pt idx="44573">1</cx:pt>
          <cx:pt idx="44574">0</cx:pt>
          <cx:pt idx="44575">1</cx:pt>
          <cx:pt idx="44576">0</cx:pt>
          <cx:pt idx="44577">0</cx:pt>
          <cx:pt idx="44578">1</cx:pt>
          <cx:pt idx="44579">1</cx:pt>
          <cx:pt idx="44580">1</cx:pt>
          <cx:pt idx="44581">0</cx:pt>
          <cx:pt idx="44582">1</cx:pt>
          <cx:pt idx="44583">0</cx:pt>
          <cx:pt idx="44584">0</cx:pt>
          <cx:pt idx="44585">1</cx:pt>
          <cx:pt idx="44586">1</cx:pt>
          <cx:pt idx="44587">0</cx:pt>
          <cx:pt idx="44588">0</cx:pt>
          <cx:pt idx="44589">0</cx:pt>
          <cx:pt idx="44590">0</cx:pt>
          <cx:pt idx="44591">0</cx:pt>
          <cx:pt idx="44592">1</cx:pt>
          <cx:pt idx="44593">0</cx:pt>
          <cx:pt idx="44594">0</cx:pt>
          <cx:pt idx="44595">0</cx:pt>
          <cx:pt idx="44596">1</cx:pt>
          <cx:pt idx="44597">1</cx:pt>
          <cx:pt idx="44598">1</cx:pt>
          <cx:pt idx="44599">0</cx:pt>
          <cx:pt idx="44600">1</cx:pt>
          <cx:pt idx="44601">0</cx:pt>
          <cx:pt idx="44602">0</cx:pt>
          <cx:pt idx="44603">1</cx:pt>
          <cx:pt idx="44604">0</cx:pt>
          <cx:pt idx="44605">0</cx:pt>
          <cx:pt idx="44606">1</cx:pt>
          <cx:pt idx="44607">0</cx:pt>
          <cx:pt idx="44608">1</cx:pt>
          <cx:pt idx="44609">1</cx:pt>
          <cx:pt idx="44610">1</cx:pt>
          <cx:pt idx="44611">0</cx:pt>
          <cx:pt idx="44612">0</cx:pt>
          <cx:pt idx="44613">0</cx:pt>
          <cx:pt idx="44614">0</cx:pt>
          <cx:pt idx="44615">0</cx:pt>
          <cx:pt idx="44616">1</cx:pt>
          <cx:pt idx="44617">0</cx:pt>
          <cx:pt idx="44618">0</cx:pt>
          <cx:pt idx="44619">1</cx:pt>
          <cx:pt idx="44620">0</cx:pt>
          <cx:pt idx="44621">1</cx:pt>
          <cx:pt idx="44622">1</cx:pt>
          <cx:pt idx="44623">1</cx:pt>
          <cx:pt idx="44624">0</cx:pt>
          <cx:pt idx="44625">1</cx:pt>
          <cx:pt idx="44626">0</cx:pt>
          <cx:pt idx="44627">1</cx:pt>
          <cx:pt idx="44628">1</cx:pt>
          <cx:pt idx="44629">0</cx:pt>
          <cx:pt idx="44630">0</cx:pt>
          <cx:pt idx="44631">0</cx:pt>
          <cx:pt idx="44632">0</cx:pt>
          <cx:pt idx="44633">0</cx:pt>
          <cx:pt idx="44634">0</cx:pt>
          <cx:pt idx="44635">1</cx:pt>
          <cx:pt idx="44636">0</cx:pt>
          <cx:pt idx="44637">1</cx:pt>
          <cx:pt idx="44638">1</cx:pt>
          <cx:pt idx="44639">0</cx:pt>
          <cx:pt idx="44640">1</cx:pt>
          <cx:pt idx="44641">1</cx:pt>
          <cx:pt idx="44642">1</cx:pt>
          <cx:pt idx="44643">0</cx:pt>
          <cx:pt idx="44644">1</cx:pt>
          <cx:pt idx="44645">1</cx:pt>
          <cx:pt idx="44646">1</cx:pt>
          <cx:pt idx="44647">0</cx:pt>
          <cx:pt idx="44648">0</cx:pt>
          <cx:pt idx="44649">1</cx:pt>
          <cx:pt idx="44650">1</cx:pt>
          <cx:pt idx="44651">1</cx:pt>
          <cx:pt idx="44652">0</cx:pt>
          <cx:pt idx="44653">0</cx:pt>
          <cx:pt idx="44654">1</cx:pt>
          <cx:pt idx="44655">0</cx:pt>
          <cx:pt idx="44656">0</cx:pt>
          <cx:pt idx="44657">1</cx:pt>
          <cx:pt idx="44658">1</cx:pt>
          <cx:pt idx="44659">1</cx:pt>
          <cx:pt idx="44660">1</cx:pt>
          <cx:pt idx="44661">0</cx:pt>
          <cx:pt idx="44662">0</cx:pt>
          <cx:pt idx="44663">1</cx:pt>
          <cx:pt idx="44664">0</cx:pt>
          <cx:pt idx="44665">0</cx:pt>
          <cx:pt idx="44666">1</cx:pt>
          <cx:pt idx="44667">0</cx:pt>
          <cx:pt idx="44668">0</cx:pt>
          <cx:pt idx="44669">1</cx:pt>
          <cx:pt idx="44670">0</cx:pt>
          <cx:pt idx="44671">0</cx:pt>
          <cx:pt idx="44672">1</cx:pt>
          <cx:pt idx="44673">1</cx:pt>
          <cx:pt idx="44674">0</cx:pt>
          <cx:pt idx="44675">1</cx:pt>
          <cx:pt idx="44676">0</cx:pt>
          <cx:pt idx="44677">1</cx:pt>
          <cx:pt idx="44678">0</cx:pt>
          <cx:pt idx="44679">0</cx:pt>
          <cx:pt idx="44680">1</cx:pt>
          <cx:pt idx="44681">0</cx:pt>
          <cx:pt idx="44682">1</cx:pt>
          <cx:pt idx="44683">1</cx:pt>
          <cx:pt idx="44684">1</cx:pt>
          <cx:pt idx="44685">1</cx:pt>
          <cx:pt idx="44686">0</cx:pt>
          <cx:pt idx="44687">0</cx:pt>
          <cx:pt idx="44688">0</cx:pt>
          <cx:pt idx="44689">0</cx:pt>
          <cx:pt idx="44690">0</cx:pt>
          <cx:pt idx="44691">0</cx:pt>
          <cx:pt idx="44692">0</cx:pt>
          <cx:pt idx="44693">0</cx:pt>
          <cx:pt idx="44694">0</cx:pt>
          <cx:pt idx="44695">1</cx:pt>
          <cx:pt idx="44696">0</cx:pt>
          <cx:pt idx="44697">1</cx:pt>
          <cx:pt idx="44698">1</cx:pt>
          <cx:pt idx="44699">0</cx:pt>
          <cx:pt idx="44700">0</cx:pt>
          <cx:pt idx="44701">0</cx:pt>
          <cx:pt idx="44702">0</cx:pt>
          <cx:pt idx="44703">0</cx:pt>
          <cx:pt idx="44704">0</cx:pt>
          <cx:pt idx="44705">0</cx:pt>
          <cx:pt idx="44706">1</cx:pt>
          <cx:pt idx="44707">0</cx:pt>
          <cx:pt idx="44708">0</cx:pt>
          <cx:pt idx="44709">0</cx:pt>
          <cx:pt idx="44710">0</cx:pt>
          <cx:pt idx="44711">0</cx:pt>
          <cx:pt idx="44712">0</cx:pt>
          <cx:pt idx="44713">1</cx:pt>
          <cx:pt idx="44714">1</cx:pt>
          <cx:pt idx="44715">1</cx:pt>
          <cx:pt idx="44716">0</cx:pt>
          <cx:pt idx="44717">0</cx:pt>
          <cx:pt idx="44718">1</cx:pt>
          <cx:pt idx="44719">1</cx:pt>
          <cx:pt idx="44720">0</cx:pt>
          <cx:pt idx="44721">0</cx:pt>
          <cx:pt idx="44722">0</cx:pt>
          <cx:pt idx="44723">0</cx:pt>
          <cx:pt idx="44724">0</cx:pt>
          <cx:pt idx="44725">0</cx:pt>
          <cx:pt idx="44726">0</cx:pt>
          <cx:pt idx="44727">1</cx:pt>
          <cx:pt idx="44728">0</cx:pt>
          <cx:pt idx="44729">1</cx:pt>
          <cx:pt idx="44730">1</cx:pt>
          <cx:pt idx="44731">0</cx:pt>
          <cx:pt idx="44732">0</cx:pt>
          <cx:pt idx="44733">1</cx:pt>
          <cx:pt idx="44734">1</cx:pt>
          <cx:pt idx="44735">1</cx:pt>
          <cx:pt idx="44736">0</cx:pt>
          <cx:pt idx="44737">1</cx:pt>
          <cx:pt idx="44738">0</cx:pt>
          <cx:pt idx="44739">0</cx:pt>
          <cx:pt idx="44740">0</cx:pt>
          <cx:pt idx="44741">0</cx:pt>
          <cx:pt idx="44742">1</cx:pt>
          <cx:pt idx="44743">0</cx:pt>
          <cx:pt idx="44744">0</cx:pt>
          <cx:pt idx="44745">1</cx:pt>
          <cx:pt idx="44746">0</cx:pt>
          <cx:pt idx="44747">0</cx:pt>
          <cx:pt idx="44748">0</cx:pt>
          <cx:pt idx="44749">1</cx:pt>
          <cx:pt idx="44750">1</cx:pt>
          <cx:pt idx="44751">0</cx:pt>
          <cx:pt idx="44752">1</cx:pt>
          <cx:pt idx="44753">1</cx:pt>
          <cx:pt idx="44754">0</cx:pt>
          <cx:pt idx="44755">1</cx:pt>
          <cx:pt idx="44756">1</cx:pt>
          <cx:pt idx="44757">0</cx:pt>
          <cx:pt idx="44758">0</cx:pt>
          <cx:pt idx="44759">0</cx:pt>
          <cx:pt idx="44760">0</cx:pt>
          <cx:pt idx="44761">0</cx:pt>
          <cx:pt idx="44762">1</cx:pt>
          <cx:pt idx="44763">1</cx:pt>
          <cx:pt idx="44764">0</cx:pt>
          <cx:pt idx="44765">0</cx:pt>
          <cx:pt idx="44766">1</cx:pt>
          <cx:pt idx="44767">1</cx:pt>
          <cx:pt idx="44768">0</cx:pt>
          <cx:pt idx="44769">0</cx:pt>
          <cx:pt idx="44770">0</cx:pt>
          <cx:pt idx="44771">0</cx:pt>
          <cx:pt idx="44772">1</cx:pt>
          <cx:pt idx="44773">1</cx:pt>
          <cx:pt idx="44774">0</cx:pt>
          <cx:pt idx="44775">0</cx:pt>
          <cx:pt idx="44776">0</cx:pt>
          <cx:pt idx="44777">0</cx:pt>
          <cx:pt idx="44778">1</cx:pt>
          <cx:pt idx="44779">0</cx:pt>
          <cx:pt idx="44780">0</cx:pt>
          <cx:pt idx="44781">1</cx:pt>
          <cx:pt idx="44782">0</cx:pt>
          <cx:pt idx="44783">1</cx:pt>
          <cx:pt idx="44784">0</cx:pt>
          <cx:pt idx="44785">1</cx:pt>
          <cx:pt idx="44786">0</cx:pt>
          <cx:pt idx="44787">1</cx:pt>
          <cx:pt idx="44788">0</cx:pt>
          <cx:pt idx="44789">1</cx:pt>
          <cx:pt idx="44790">1</cx:pt>
          <cx:pt idx="44791">0</cx:pt>
          <cx:pt idx="44792">0</cx:pt>
          <cx:pt idx="44793">1</cx:pt>
          <cx:pt idx="44794">1</cx:pt>
          <cx:pt idx="44795">1</cx:pt>
          <cx:pt idx="44796">1</cx:pt>
          <cx:pt idx="44797">0</cx:pt>
          <cx:pt idx="44798">1</cx:pt>
          <cx:pt idx="44799">0</cx:pt>
          <cx:pt idx="44800">0</cx:pt>
          <cx:pt idx="44801">0</cx:pt>
          <cx:pt idx="44802">0</cx:pt>
          <cx:pt idx="44803">0</cx:pt>
          <cx:pt idx="44804">1</cx:pt>
          <cx:pt idx="44805">0</cx:pt>
          <cx:pt idx="44806">0</cx:pt>
          <cx:pt idx="44807">0</cx:pt>
          <cx:pt idx="44808">1</cx:pt>
          <cx:pt idx="44809">1</cx:pt>
          <cx:pt idx="44810">0</cx:pt>
          <cx:pt idx="44811">0</cx:pt>
          <cx:pt idx="44812">1</cx:pt>
          <cx:pt idx="44813">1</cx:pt>
          <cx:pt idx="44814">0</cx:pt>
          <cx:pt idx="44815">1</cx:pt>
          <cx:pt idx="44816">1</cx:pt>
          <cx:pt idx="44817">0</cx:pt>
          <cx:pt idx="44818">1</cx:pt>
          <cx:pt idx="44819">1</cx:pt>
          <cx:pt idx="44820">1</cx:pt>
          <cx:pt idx="44821">0</cx:pt>
          <cx:pt idx="44822">1</cx:pt>
          <cx:pt idx="44823">0</cx:pt>
          <cx:pt idx="44824">0</cx:pt>
          <cx:pt idx="44825">0</cx:pt>
          <cx:pt idx="44826">0</cx:pt>
          <cx:pt idx="44827">0</cx:pt>
          <cx:pt idx="44828">1</cx:pt>
          <cx:pt idx="44829">0</cx:pt>
          <cx:pt idx="44830">1</cx:pt>
          <cx:pt idx="44831">0</cx:pt>
          <cx:pt idx="44832">1</cx:pt>
          <cx:pt idx="44833">1</cx:pt>
          <cx:pt idx="44834">0</cx:pt>
          <cx:pt idx="44835">0</cx:pt>
          <cx:pt idx="44836">1</cx:pt>
          <cx:pt idx="44837">0</cx:pt>
          <cx:pt idx="44838">1</cx:pt>
          <cx:pt idx="44839">0</cx:pt>
          <cx:pt idx="44840">0</cx:pt>
          <cx:pt idx="44841">0</cx:pt>
          <cx:pt idx="44842">1</cx:pt>
          <cx:pt idx="44843">0</cx:pt>
          <cx:pt idx="44844">0</cx:pt>
          <cx:pt idx="44845">0</cx:pt>
          <cx:pt idx="44846">0</cx:pt>
          <cx:pt idx="44847">0</cx:pt>
          <cx:pt idx="44848">0</cx:pt>
          <cx:pt idx="44849">1</cx:pt>
          <cx:pt idx="44850">0</cx:pt>
          <cx:pt idx="44851">1</cx:pt>
          <cx:pt idx="44852">0</cx:pt>
          <cx:pt idx="44853">0</cx:pt>
          <cx:pt idx="44854">0</cx:pt>
          <cx:pt idx="44855">1</cx:pt>
          <cx:pt idx="44856">1</cx:pt>
          <cx:pt idx="44857">1</cx:pt>
          <cx:pt idx="44858">1</cx:pt>
          <cx:pt idx="44859">1</cx:pt>
          <cx:pt idx="44860">0</cx:pt>
          <cx:pt idx="44861">0</cx:pt>
          <cx:pt idx="44862">0</cx:pt>
          <cx:pt idx="44863">0</cx:pt>
          <cx:pt idx="44864">0</cx:pt>
          <cx:pt idx="44865">0</cx:pt>
          <cx:pt idx="44866">0</cx:pt>
          <cx:pt idx="44867">1</cx:pt>
          <cx:pt idx="44868">1</cx:pt>
          <cx:pt idx="44869">0</cx:pt>
          <cx:pt idx="44870">1</cx:pt>
          <cx:pt idx="44871">1</cx:pt>
          <cx:pt idx="44872">1</cx:pt>
          <cx:pt idx="44873">0</cx:pt>
          <cx:pt idx="44874">0</cx:pt>
          <cx:pt idx="44875">0</cx:pt>
          <cx:pt idx="44876">1</cx:pt>
          <cx:pt idx="44877">0</cx:pt>
          <cx:pt idx="44878">0</cx:pt>
          <cx:pt idx="44879">0</cx:pt>
          <cx:pt idx="44880">1</cx:pt>
          <cx:pt idx="44881">0</cx:pt>
          <cx:pt idx="44882">1</cx:pt>
          <cx:pt idx="44883">0</cx:pt>
          <cx:pt idx="44884">0</cx:pt>
          <cx:pt idx="44885">0</cx:pt>
          <cx:pt idx="44886">0</cx:pt>
          <cx:pt idx="44887">0</cx:pt>
          <cx:pt idx="44888">0</cx:pt>
          <cx:pt idx="44889">0</cx:pt>
          <cx:pt idx="44890">0</cx:pt>
          <cx:pt idx="44891">0</cx:pt>
          <cx:pt idx="44892">0</cx:pt>
          <cx:pt idx="44893">1</cx:pt>
          <cx:pt idx="44894">0</cx:pt>
          <cx:pt idx="44895">1</cx:pt>
          <cx:pt idx="44896">0</cx:pt>
          <cx:pt idx="44897">1</cx:pt>
          <cx:pt idx="44898">1</cx:pt>
          <cx:pt idx="44899">0</cx:pt>
          <cx:pt idx="44900">0</cx:pt>
          <cx:pt idx="44901">0</cx:pt>
          <cx:pt idx="44902">0</cx:pt>
          <cx:pt idx="44903">1</cx:pt>
          <cx:pt idx="44904">0</cx:pt>
          <cx:pt idx="44905">1</cx:pt>
          <cx:pt idx="44906">1</cx:pt>
          <cx:pt idx="44907">0</cx:pt>
          <cx:pt idx="44908">0</cx:pt>
          <cx:pt idx="44909">1</cx:pt>
          <cx:pt idx="44910">0</cx:pt>
          <cx:pt idx="44911">0</cx:pt>
          <cx:pt idx="44912">0</cx:pt>
          <cx:pt idx="44913">0</cx:pt>
          <cx:pt idx="44914">0</cx:pt>
          <cx:pt idx="44915">1</cx:pt>
          <cx:pt idx="44916">0</cx:pt>
          <cx:pt idx="44917">0</cx:pt>
          <cx:pt idx="44918">1</cx:pt>
          <cx:pt idx="44919">1</cx:pt>
          <cx:pt idx="44920">0</cx:pt>
          <cx:pt idx="44921">0</cx:pt>
          <cx:pt idx="44922">1</cx:pt>
          <cx:pt idx="44923">0</cx:pt>
          <cx:pt idx="44924">0</cx:pt>
          <cx:pt idx="44925">1</cx:pt>
          <cx:pt idx="44926">0</cx:pt>
          <cx:pt idx="44927">0</cx:pt>
          <cx:pt idx="44928">1</cx:pt>
          <cx:pt idx="44929">0</cx:pt>
          <cx:pt idx="44930">0</cx:pt>
          <cx:pt idx="44931">0</cx:pt>
          <cx:pt idx="44932">0</cx:pt>
          <cx:pt idx="44933">1</cx:pt>
          <cx:pt idx="44934">0</cx:pt>
          <cx:pt idx="44935">1</cx:pt>
          <cx:pt idx="44936">0</cx:pt>
          <cx:pt idx="44937">1</cx:pt>
          <cx:pt idx="44938">0</cx:pt>
          <cx:pt idx="44939">1</cx:pt>
          <cx:pt idx="44940">0</cx:pt>
          <cx:pt idx="44941">0</cx:pt>
          <cx:pt idx="44942">1</cx:pt>
          <cx:pt idx="44943">1</cx:pt>
          <cx:pt idx="44944">1</cx:pt>
          <cx:pt idx="44945">0</cx:pt>
          <cx:pt idx="44946">1</cx:pt>
          <cx:pt idx="44947">0</cx:pt>
          <cx:pt idx="44948">0</cx:pt>
          <cx:pt idx="44949">1</cx:pt>
          <cx:pt idx="44950">0</cx:pt>
          <cx:pt idx="44951">0</cx:pt>
          <cx:pt idx="44952">1</cx:pt>
          <cx:pt idx="44953">0</cx:pt>
          <cx:pt idx="44954">0</cx:pt>
          <cx:pt idx="44955">1</cx:pt>
          <cx:pt idx="44956">0</cx:pt>
          <cx:pt idx="44957">0</cx:pt>
          <cx:pt idx="44958">0</cx:pt>
          <cx:pt idx="44959">1</cx:pt>
          <cx:pt idx="44960">0</cx:pt>
          <cx:pt idx="44961">1</cx:pt>
          <cx:pt idx="44962">1</cx:pt>
          <cx:pt idx="44963">1</cx:pt>
          <cx:pt idx="44964">1</cx:pt>
          <cx:pt idx="44965">0</cx:pt>
          <cx:pt idx="44966">0</cx:pt>
          <cx:pt idx="44967">0</cx:pt>
          <cx:pt idx="44968">0</cx:pt>
          <cx:pt idx="44969">0</cx:pt>
          <cx:pt idx="44970">0</cx:pt>
          <cx:pt idx="44971">0</cx:pt>
          <cx:pt idx="44972">0</cx:pt>
          <cx:pt idx="44973">0</cx:pt>
          <cx:pt idx="44974">1</cx:pt>
          <cx:pt idx="44975">0</cx:pt>
          <cx:pt idx="44976">0</cx:pt>
          <cx:pt idx="44977">0</cx:pt>
          <cx:pt idx="44978">1</cx:pt>
          <cx:pt idx="44979">0</cx:pt>
          <cx:pt idx="44980">1</cx:pt>
          <cx:pt idx="44981">1</cx:pt>
          <cx:pt idx="44982">0</cx:pt>
          <cx:pt idx="44983">0</cx:pt>
          <cx:pt idx="44984">0</cx:pt>
          <cx:pt idx="44985">0</cx:pt>
          <cx:pt idx="44986">1</cx:pt>
          <cx:pt idx="44987">1</cx:pt>
          <cx:pt idx="44988">1</cx:pt>
          <cx:pt idx="44989">1</cx:pt>
          <cx:pt idx="44990">0</cx:pt>
          <cx:pt idx="44991">1</cx:pt>
          <cx:pt idx="44992">0</cx:pt>
          <cx:pt idx="44993">1</cx:pt>
          <cx:pt idx="44994">0</cx:pt>
          <cx:pt idx="44995">0</cx:pt>
          <cx:pt idx="44996">0</cx:pt>
          <cx:pt idx="44997">1</cx:pt>
          <cx:pt idx="44998">1</cx:pt>
          <cx:pt idx="44999">0</cx:pt>
          <cx:pt idx="45000">0</cx:pt>
          <cx:pt idx="45001">1</cx:pt>
          <cx:pt idx="45002">1</cx:pt>
          <cx:pt idx="45003">0</cx:pt>
          <cx:pt idx="45004">1</cx:pt>
          <cx:pt idx="45005">0</cx:pt>
          <cx:pt idx="45006">0</cx:pt>
          <cx:pt idx="45007">1</cx:pt>
          <cx:pt idx="45008">1</cx:pt>
          <cx:pt idx="45009">0</cx:pt>
          <cx:pt idx="45010">0</cx:pt>
          <cx:pt idx="45011">1</cx:pt>
          <cx:pt idx="45012">0</cx:pt>
          <cx:pt idx="45013">0</cx:pt>
          <cx:pt idx="45014">0</cx:pt>
          <cx:pt idx="45015">1</cx:pt>
          <cx:pt idx="45016">0</cx:pt>
          <cx:pt idx="45017">1</cx:pt>
          <cx:pt idx="45018">1</cx:pt>
          <cx:pt idx="45019">0</cx:pt>
          <cx:pt idx="45020">0</cx:pt>
          <cx:pt idx="45021">1</cx:pt>
          <cx:pt idx="45022">0</cx:pt>
          <cx:pt idx="45023">1</cx:pt>
          <cx:pt idx="45024">1</cx:pt>
          <cx:pt idx="45025">1</cx:pt>
          <cx:pt idx="45026">0</cx:pt>
          <cx:pt idx="45027">1</cx:pt>
          <cx:pt idx="45028">1</cx:pt>
          <cx:pt idx="45029">0</cx:pt>
          <cx:pt idx="45030">1</cx:pt>
          <cx:pt idx="45031">0</cx:pt>
          <cx:pt idx="45032">1</cx:pt>
          <cx:pt idx="45033">0</cx:pt>
          <cx:pt idx="45034">0</cx:pt>
          <cx:pt idx="45035">0</cx:pt>
          <cx:pt idx="45036">0</cx:pt>
          <cx:pt idx="45037">0</cx:pt>
          <cx:pt idx="45038">0</cx:pt>
          <cx:pt idx="45039">0</cx:pt>
          <cx:pt idx="45040">0</cx:pt>
          <cx:pt idx="45041">0</cx:pt>
          <cx:pt idx="45042">0</cx:pt>
          <cx:pt idx="45043">0</cx:pt>
          <cx:pt idx="45044">1</cx:pt>
          <cx:pt idx="45045">0</cx:pt>
          <cx:pt idx="45046">0</cx:pt>
          <cx:pt idx="45047">1</cx:pt>
          <cx:pt idx="45048">0</cx:pt>
          <cx:pt idx="45049">1</cx:pt>
          <cx:pt idx="45050">0</cx:pt>
          <cx:pt idx="45051">1</cx:pt>
          <cx:pt idx="45052">0</cx:pt>
          <cx:pt idx="45053">1</cx:pt>
          <cx:pt idx="45054">0</cx:pt>
          <cx:pt idx="45055">1</cx:pt>
          <cx:pt idx="45056">0</cx:pt>
          <cx:pt idx="45057">0</cx:pt>
          <cx:pt idx="45058">1</cx:pt>
          <cx:pt idx="45059">1</cx:pt>
          <cx:pt idx="45060">0</cx:pt>
          <cx:pt idx="45061">0</cx:pt>
          <cx:pt idx="45062">0</cx:pt>
          <cx:pt idx="45063">0</cx:pt>
          <cx:pt idx="45064">0</cx:pt>
          <cx:pt idx="45065">1</cx:pt>
          <cx:pt idx="45066">0</cx:pt>
          <cx:pt idx="45067">0</cx:pt>
          <cx:pt idx="45068">1</cx:pt>
          <cx:pt idx="45069">0</cx:pt>
          <cx:pt idx="45070">0</cx:pt>
          <cx:pt idx="45071">1</cx:pt>
          <cx:pt idx="45072">0</cx:pt>
          <cx:pt idx="45073">0</cx:pt>
          <cx:pt idx="45074">1</cx:pt>
          <cx:pt idx="45075">0</cx:pt>
          <cx:pt idx="45076">0</cx:pt>
          <cx:pt idx="45077">0</cx:pt>
          <cx:pt idx="45078">0</cx:pt>
          <cx:pt idx="45079">1</cx:pt>
          <cx:pt idx="45080">0</cx:pt>
          <cx:pt idx="45081">0</cx:pt>
          <cx:pt idx="45082">0</cx:pt>
          <cx:pt idx="45083">0</cx:pt>
          <cx:pt idx="45084">0</cx:pt>
          <cx:pt idx="45085">0</cx:pt>
          <cx:pt idx="45086">0</cx:pt>
          <cx:pt idx="45087">1</cx:pt>
          <cx:pt idx="45088">0</cx:pt>
          <cx:pt idx="45089">0</cx:pt>
          <cx:pt idx="45090">0</cx:pt>
          <cx:pt idx="45091">1</cx:pt>
          <cx:pt idx="45092">1</cx:pt>
          <cx:pt idx="45093">1</cx:pt>
          <cx:pt idx="45094">0</cx:pt>
          <cx:pt idx="45095">1</cx:pt>
          <cx:pt idx="45096">0</cx:pt>
          <cx:pt idx="45097">1</cx:pt>
          <cx:pt idx="45098">1</cx:pt>
          <cx:pt idx="45099">0</cx:pt>
          <cx:pt idx="45100">1</cx:pt>
          <cx:pt idx="45101">0</cx:pt>
          <cx:pt idx="45102">0</cx:pt>
          <cx:pt idx="45103">0</cx:pt>
          <cx:pt idx="45104">0</cx:pt>
          <cx:pt idx="45105">1</cx:pt>
          <cx:pt idx="45106">0</cx:pt>
          <cx:pt idx="45107">1</cx:pt>
          <cx:pt idx="45108">1</cx:pt>
          <cx:pt idx="45109">1</cx:pt>
          <cx:pt idx="45110">1</cx:pt>
          <cx:pt idx="45111">1</cx:pt>
          <cx:pt idx="45112">1</cx:pt>
          <cx:pt idx="45113">1</cx:pt>
          <cx:pt idx="45114">0</cx:pt>
          <cx:pt idx="45115">0</cx:pt>
          <cx:pt idx="45116">0</cx:pt>
          <cx:pt idx="45117">1</cx:pt>
          <cx:pt idx="45118">1</cx:pt>
          <cx:pt idx="45119">1</cx:pt>
          <cx:pt idx="45120">0</cx:pt>
          <cx:pt idx="45121">0</cx:pt>
          <cx:pt idx="45122">0</cx:pt>
          <cx:pt idx="45123">1</cx:pt>
          <cx:pt idx="45124">0</cx:pt>
          <cx:pt idx="45125">0</cx:pt>
          <cx:pt idx="45126">1</cx:pt>
          <cx:pt idx="45127">1</cx:pt>
          <cx:pt idx="45128">1</cx:pt>
          <cx:pt idx="45129">1</cx:pt>
          <cx:pt idx="45130">0</cx:pt>
          <cx:pt idx="45131">0</cx:pt>
          <cx:pt idx="45132">1</cx:pt>
          <cx:pt idx="45133">0</cx:pt>
          <cx:pt idx="45134">1</cx:pt>
          <cx:pt idx="45135">1</cx:pt>
          <cx:pt idx="45136">0</cx:pt>
          <cx:pt idx="45137">0</cx:pt>
          <cx:pt idx="45138">0</cx:pt>
          <cx:pt idx="45139">0</cx:pt>
          <cx:pt idx="45140">1</cx:pt>
          <cx:pt idx="45141">0</cx:pt>
          <cx:pt idx="45142">0</cx:pt>
          <cx:pt idx="45143">0</cx:pt>
          <cx:pt idx="45144">1</cx:pt>
          <cx:pt idx="45145">1</cx:pt>
          <cx:pt idx="45146">0</cx:pt>
          <cx:pt idx="45147">1</cx:pt>
          <cx:pt idx="45148">0</cx:pt>
          <cx:pt idx="45149">0</cx:pt>
          <cx:pt idx="45150">0</cx:pt>
          <cx:pt idx="45151">0</cx:pt>
          <cx:pt idx="45152">0</cx:pt>
          <cx:pt idx="45153">1</cx:pt>
          <cx:pt idx="45154">0</cx:pt>
          <cx:pt idx="45155">0</cx:pt>
          <cx:pt idx="45156">1</cx:pt>
          <cx:pt idx="45157">0</cx:pt>
          <cx:pt idx="45158">1</cx:pt>
          <cx:pt idx="45159">0</cx:pt>
          <cx:pt idx="45160">0</cx:pt>
          <cx:pt idx="45161">0</cx:pt>
          <cx:pt idx="45162">0</cx:pt>
          <cx:pt idx="45163">0</cx:pt>
          <cx:pt idx="45164">1</cx:pt>
          <cx:pt idx="45165">1</cx:pt>
          <cx:pt idx="45166">0</cx:pt>
          <cx:pt idx="45167">0</cx:pt>
          <cx:pt idx="45168">1</cx:pt>
          <cx:pt idx="45169">1</cx:pt>
          <cx:pt idx="45170">1</cx:pt>
          <cx:pt idx="45171">1</cx:pt>
          <cx:pt idx="45172">1</cx:pt>
          <cx:pt idx="45173">0</cx:pt>
          <cx:pt idx="45174">1</cx:pt>
          <cx:pt idx="45175">0</cx:pt>
          <cx:pt idx="45176">0</cx:pt>
          <cx:pt idx="45177">0</cx:pt>
          <cx:pt idx="45178">1</cx:pt>
          <cx:pt idx="45179">0</cx:pt>
          <cx:pt idx="45180">1</cx:pt>
          <cx:pt idx="45181">0</cx:pt>
          <cx:pt idx="45182">0</cx:pt>
          <cx:pt idx="45183">0</cx:pt>
          <cx:pt idx="45184">1</cx:pt>
          <cx:pt idx="45185">1</cx:pt>
          <cx:pt idx="45186">0</cx:pt>
          <cx:pt idx="45187">1</cx:pt>
          <cx:pt idx="45188">1</cx:pt>
          <cx:pt idx="45189">1</cx:pt>
          <cx:pt idx="45190">0</cx:pt>
          <cx:pt idx="45191">0</cx:pt>
          <cx:pt idx="45192">0</cx:pt>
          <cx:pt idx="45193">0</cx:pt>
          <cx:pt idx="45194">1</cx:pt>
          <cx:pt idx="45195">1</cx:pt>
          <cx:pt idx="45196">0</cx:pt>
          <cx:pt idx="45197">0</cx:pt>
          <cx:pt idx="45198">1</cx:pt>
          <cx:pt idx="45199">0</cx:pt>
          <cx:pt idx="45200">1</cx:pt>
          <cx:pt idx="45201">0</cx:pt>
          <cx:pt idx="45202">1</cx:pt>
          <cx:pt idx="45203">1</cx:pt>
          <cx:pt idx="45204">1</cx:pt>
          <cx:pt idx="45205">0</cx:pt>
          <cx:pt idx="45206">1</cx:pt>
          <cx:pt idx="45207">1</cx:pt>
          <cx:pt idx="45208">1</cx:pt>
          <cx:pt idx="45209">0</cx:pt>
          <cx:pt idx="45210">0</cx:pt>
          <cx:pt idx="45211">0</cx:pt>
          <cx:pt idx="45212">0</cx:pt>
          <cx:pt idx="45213">0</cx:pt>
          <cx:pt idx="45214">0</cx:pt>
          <cx:pt idx="45215">0</cx:pt>
          <cx:pt idx="45216">1</cx:pt>
          <cx:pt idx="45217">1</cx:pt>
          <cx:pt idx="45218">1</cx:pt>
          <cx:pt idx="45219">1</cx:pt>
          <cx:pt idx="45220">0</cx:pt>
          <cx:pt idx="45221">0</cx:pt>
          <cx:pt idx="45222">1</cx:pt>
          <cx:pt idx="45223">0</cx:pt>
          <cx:pt idx="45224">1</cx:pt>
          <cx:pt idx="45225">1</cx:pt>
          <cx:pt idx="45226">0</cx:pt>
          <cx:pt idx="45227">1</cx:pt>
          <cx:pt idx="45228">0</cx:pt>
          <cx:pt idx="45229">1</cx:pt>
          <cx:pt idx="45230">0</cx:pt>
          <cx:pt idx="45231">0</cx:pt>
          <cx:pt idx="45232">0</cx:pt>
          <cx:pt idx="45233">1</cx:pt>
          <cx:pt idx="45234">0</cx:pt>
          <cx:pt idx="45235">1</cx:pt>
          <cx:pt idx="45236">1</cx:pt>
          <cx:pt idx="45237">1</cx:pt>
          <cx:pt idx="45238">0</cx:pt>
          <cx:pt idx="45239">0</cx:pt>
          <cx:pt idx="45240">0</cx:pt>
          <cx:pt idx="45241">0</cx:pt>
          <cx:pt idx="45242">0</cx:pt>
          <cx:pt idx="45243">1</cx:pt>
          <cx:pt idx="45244">0</cx:pt>
          <cx:pt idx="45245">0</cx:pt>
          <cx:pt idx="45246">0</cx:pt>
          <cx:pt idx="45247">0</cx:pt>
          <cx:pt idx="45248">0</cx:pt>
          <cx:pt idx="45249">0</cx:pt>
          <cx:pt idx="45250">1</cx:pt>
          <cx:pt idx="45251">0</cx:pt>
          <cx:pt idx="45252">1</cx:pt>
          <cx:pt idx="45253">0</cx:pt>
          <cx:pt idx="45254">1</cx:pt>
          <cx:pt idx="45255">1</cx:pt>
          <cx:pt idx="45256">1</cx:pt>
          <cx:pt idx="45257">0</cx:pt>
          <cx:pt idx="45258">0</cx:pt>
          <cx:pt idx="45259">0</cx:pt>
          <cx:pt idx="45260">1</cx:pt>
          <cx:pt idx="45261">0</cx:pt>
          <cx:pt idx="45262">0</cx:pt>
          <cx:pt idx="45263">1</cx:pt>
          <cx:pt idx="45264">1</cx:pt>
          <cx:pt idx="45265">0</cx:pt>
          <cx:pt idx="45266">1</cx:pt>
          <cx:pt idx="45267">0</cx:pt>
          <cx:pt idx="45268">0</cx:pt>
          <cx:pt idx="45269">1</cx:pt>
          <cx:pt idx="45270">1</cx:pt>
          <cx:pt idx="45271">1</cx:pt>
          <cx:pt idx="45272">0</cx:pt>
          <cx:pt idx="45273">0</cx:pt>
          <cx:pt idx="45274">1</cx:pt>
          <cx:pt idx="45275">0</cx:pt>
          <cx:pt idx="45276">1</cx:pt>
          <cx:pt idx="45277">1</cx:pt>
          <cx:pt idx="45278">0</cx:pt>
          <cx:pt idx="45279">1</cx:pt>
          <cx:pt idx="45280">0</cx:pt>
          <cx:pt idx="45281">1</cx:pt>
          <cx:pt idx="45282">0</cx:pt>
          <cx:pt idx="45283">1</cx:pt>
          <cx:pt idx="45284">1</cx:pt>
          <cx:pt idx="45285">1</cx:pt>
          <cx:pt idx="45286">0</cx:pt>
          <cx:pt idx="45287">1</cx:pt>
          <cx:pt idx="45288">0</cx:pt>
          <cx:pt idx="45289">0</cx:pt>
          <cx:pt idx="45290">0</cx:pt>
          <cx:pt idx="45291">0</cx:pt>
          <cx:pt idx="45292">0</cx:pt>
          <cx:pt idx="45293">0</cx:pt>
          <cx:pt idx="45294">0</cx:pt>
          <cx:pt idx="45295">0</cx:pt>
          <cx:pt idx="45296">0</cx:pt>
          <cx:pt idx="45297">0</cx:pt>
          <cx:pt idx="45298">0</cx:pt>
          <cx:pt idx="45299">0</cx:pt>
          <cx:pt idx="45300">1</cx:pt>
          <cx:pt idx="45301">1</cx:pt>
          <cx:pt idx="45302">0</cx:pt>
          <cx:pt idx="45303">1</cx:pt>
          <cx:pt idx="45304">1</cx:pt>
          <cx:pt idx="45305">0</cx:pt>
          <cx:pt idx="45306">0</cx:pt>
          <cx:pt idx="45307">1</cx:pt>
          <cx:pt idx="45308">1</cx:pt>
          <cx:pt idx="45309">0</cx:pt>
          <cx:pt idx="45310">1</cx:pt>
          <cx:pt idx="45311">0</cx:pt>
          <cx:pt idx="45312">0</cx:pt>
          <cx:pt idx="45313">0</cx:pt>
          <cx:pt idx="45314">0</cx:pt>
          <cx:pt idx="45315">1</cx:pt>
          <cx:pt idx="45316">1</cx:pt>
          <cx:pt idx="45317">1</cx:pt>
          <cx:pt idx="45318">0</cx:pt>
          <cx:pt idx="45319">0</cx:pt>
          <cx:pt idx="45320">1</cx:pt>
          <cx:pt idx="45321">0</cx:pt>
          <cx:pt idx="45322">0</cx:pt>
          <cx:pt idx="45323">0</cx:pt>
          <cx:pt idx="45324">0</cx:pt>
          <cx:pt idx="45325">0</cx:pt>
          <cx:pt idx="45326">1</cx:pt>
          <cx:pt idx="45327">0</cx:pt>
          <cx:pt idx="45328">0</cx:pt>
          <cx:pt idx="45329">1</cx:pt>
          <cx:pt idx="45330">0</cx:pt>
          <cx:pt idx="45331">0</cx:pt>
          <cx:pt idx="45332">0</cx:pt>
          <cx:pt idx="45333">0</cx:pt>
          <cx:pt idx="45334">0</cx:pt>
          <cx:pt idx="45335">0</cx:pt>
          <cx:pt idx="45336">1</cx:pt>
          <cx:pt idx="45337">0</cx:pt>
          <cx:pt idx="45338">0</cx:pt>
          <cx:pt idx="45339">1</cx:pt>
          <cx:pt idx="45340">1</cx:pt>
          <cx:pt idx="45341">1</cx:pt>
          <cx:pt idx="45342">0</cx:pt>
          <cx:pt idx="45343">1</cx:pt>
          <cx:pt idx="45344">0</cx:pt>
          <cx:pt idx="45345">0</cx:pt>
          <cx:pt idx="45346">1</cx:pt>
          <cx:pt idx="45347">0</cx:pt>
          <cx:pt idx="45348">1</cx:pt>
          <cx:pt idx="45349">1</cx:pt>
          <cx:pt idx="45350">0</cx:pt>
          <cx:pt idx="45351">1</cx:pt>
          <cx:pt idx="45352">0</cx:pt>
          <cx:pt idx="45353">1</cx:pt>
          <cx:pt idx="45354">1</cx:pt>
          <cx:pt idx="45355">1</cx:pt>
          <cx:pt idx="45356">0</cx:pt>
          <cx:pt idx="45357">0</cx:pt>
          <cx:pt idx="45358">0</cx:pt>
          <cx:pt idx="45359">1</cx:pt>
          <cx:pt idx="45360">0</cx:pt>
          <cx:pt idx="45361">1</cx:pt>
          <cx:pt idx="45362">0</cx:pt>
          <cx:pt idx="45363">0</cx:pt>
          <cx:pt idx="45364">0</cx:pt>
          <cx:pt idx="45365">1</cx:pt>
          <cx:pt idx="45366">0</cx:pt>
          <cx:pt idx="45367">0</cx:pt>
          <cx:pt idx="45368">0</cx:pt>
          <cx:pt idx="45369">0</cx:pt>
          <cx:pt idx="45370">1</cx:pt>
          <cx:pt idx="45371">0</cx:pt>
          <cx:pt idx="45372">0</cx:pt>
          <cx:pt idx="45373">1</cx:pt>
          <cx:pt idx="45374">1</cx:pt>
          <cx:pt idx="45375">0</cx:pt>
          <cx:pt idx="45376">0</cx:pt>
          <cx:pt idx="45377">1</cx:pt>
          <cx:pt idx="45378">0</cx:pt>
          <cx:pt idx="45379">1</cx:pt>
          <cx:pt idx="45380">1</cx:pt>
          <cx:pt idx="45381">1</cx:pt>
          <cx:pt idx="45382">0</cx:pt>
          <cx:pt idx="45383">1</cx:pt>
          <cx:pt idx="45384">0</cx:pt>
          <cx:pt idx="45385">0</cx:pt>
          <cx:pt idx="45386">0</cx:pt>
          <cx:pt idx="45387">1</cx:pt>
          <cx:pt idx="45388">1</cx:pt>
          <cx:pt idx="45389">1</cx:pt>
          <cx:pt idx="45390">0</cx:pt>
          <cx:pt idx="45391">0</cx:pt>
          <cx:pt idx="45392">1</cx:pt>
          <cx:pt idx="45393">0</cx:pt>
          <cx:pt idx="45394">0</cx:pt>
          <cx:pt idx="45395">1</cx:pt>
          <cx:pt idx="45396">0</cx:pt>
          <cx:pt idx="45397">1</cx:pt>
          <cx:pt idx="45398">0</cx:pt>
          <cx:pt idx="45399">0</cx:pt>
          <cx:pt idx="45400">1</cx:pt>
          <cx:pt idx="45401">1</cx:pt>
          <cx:pt idx="45402">1</cx:pt>
          <cx:pt idx="45403">0</cx:pt>
          <cx:pt idx="45404">1</cx:pt>
          <cx:pt idx="45405">0</cx:pt>
          <cx:pt idx="45406">1</cx:pt>
          <cx:pt idx="45407">1</cx:pt>
          <cx:pt idx="45408">1</cx:pt>
          <cx:pt idx="45409">1</cx:pt>
          <cx:pt idx="45410">0</cx:pt>
          <cx:pt idx="45411">0</cx:pt>
          <cx:pt idx="45412">1</cx:pt>
          <cx:pt idx="45413">0</cx:pt>
          <cx:pt idx="45414">1</cx:pt>
          <cx:pt idx="45415">0</cx:pt>
          <cx:pt idx="45416">0</cx:pt>
          <cx:pt idx="45417">0</cx:pt>
          <cx:pt idx="45418">0</cx:pt>
          <cx:pt idx="45419">1</cx:pt>
          <cx:pt idx="45420">0</cx:pt>
          <cx:pt idx="45421">1</cx:pt>
          <cx:pt idx="45422">1</cx:pt>
          <cx:pt idx="45423">0</cx:pt>
          <cx:pt idx="45424">1</cx:pt>
          <cx:pt idx="45425">0</cx:pt>
          <cx:pt idx="45426">1</cx:pt>
          <cx:pt idx="45427">0</cx:pt>
          <cx:pt idx="45428">0</cx:pt>
          <cx:pt idx="45429">1</cx:pt>
          <cx:pt idx="45430">0</cx:pt>
          <cx:pt idx="45431">1</cx:pt>
          <cx:pt idx="45432">0</cx:pt>
          <cx:pt idx="45433">1</cx:pt>
          <cx:pt idx="45434">0</cx:pt>
          <cx:pt idx="45435">0</cx:pt>
          <cx:pt idx="45436">0</cx:pt>
          <cx:pt idx="45437">1</cx:pt>
          <cx:pt idx="45438">0</cx:pt>
          <cx:pt idx="45439">0</cx:pt>
          <cx:pt idx="45440">0</cx:pt>
          <cx:pt idx="45441">1</cx:pt>
          <cx:pt idx="45442">0</cx:pt>
          <cx:pt idx="45443">0</cx:pt>
          <cx:pt idx="45444">0</cx:pt>
          <cx:pt idx="45445">0</cx:pt>
          <cx:pt idx="45446">0</cx:pt>
          <cx:pt idx="45447">0</cx:pt>
          <cx:pt idx="45448">0</cx:pt>
          <cx:pt idx="45449">1</cx:pt>
          <cx:pt idx="45450">0</cx:pt>
          <cx:pt idx="45451">0</cx:pt>
          <cx:pt idx="45452">0</cx:pt>
          <cx:pt idx="45453">0</cx:pt>
          <cx:pt idx="45454">0</cx:pt>
          <cx:pt idx="45455">0</cx:pt>
          <cx:pt idx="45456">0</cx:pt>
          <cx:pt idx="45457">1</cx:pt>
          <cx:pt idx="45458">1</cx:pt>
          <cx:pt idx="45459">0</cx:pt>
          <cx:pt idx="45460">1</cx:pt>
          <cx:pt idx="45461">0</cx:pt>
          <cx:pt idx="45462">1</cx:pt>
          <cx:pt idx="45463">1</cx:pt>
          <cx:pt idx="45464">0</cx:pt>
          <cx:pt idx="45465">1</cx:pt>
          <cx:pt idx="45466">0</cx:pt>
          <cx:pt idx="45467">1</cx:pt>
          <cx:pt idx="45468">0</cx:pt>
          <cx:pt idx="45469">1</cx:pt>
          <cx:pt idx="45470">0</cx:pt>
          <cx:pt idx="45471">0</cx:pt>
          <cx:pt idx="45472">1</cx:pt>
          <cx:pt idx="45473">1</cx:pt>
          <cx:pt idx="45474">0</cx:pt>
          <cx:pt idx="45475">0</cx:pt>
          <cx:pt idx="45476">0</cx:pt>
          <cx:pt idx="45477">1</cx:pt>
          <cx:pt idx="45478">1</cx:pt>
          <cx:pt idx="45479">0</cx:pt>
          <cx:pt idx="45480">0</cx:pt>
          <cx:pt idx="45481">0</cx:pt>
          <cx:pt idx="45482">0</cx:pt>
          <cx:pt idx="45483">1</cx:pt>
          <cx:pt idx="45484">0</cx:pt>
          <cx:pt idx="45485">0</cx:pt>
          <cx:pt idx="45486">1</cx:pt>
          <cx:pt idx="45487">0</cx:pt>
          <cx:pt idx="45488">0</cx:pt>
          <cx:pt idx="45489">0</cx:pt>
          <cx:pt idx="45490">1</cx:pt>
          <cx:pt idx="45491">0</cx:pt>
          <cx:pt idx="45492">0</cx:pt>
          <cx:pt idx="45493">0</cx:pt>
          <cx:pt idx="45494">0</cx:pt>
          <cx:pt idx="45495">0</cx:pt>
          <cx:pt idx="45496">0</cx:pt>
          <cx:pt idx="45497">0</cx:pt>
          <cx:pt idx="45498">1</cx:pt>
          <cx:pt idx="45499">0</cx:pt>
          <cx:pt idx="45500">0</cx:pt>
          <cx:pt idx="45501">0</cx:pt>
          <cx:pt idx="45502">1</cx:pt>
          <cx:pt idx="45503">0</cx:pt>
          <cx:pt idx="45504">0</cx:pt>
          <cx:pt idx="45505">0</cx:pt>
          <cx:pt idx="45506">0</cx:pt>
          <cx:pt idx="45507">1</cx:pt>
          <cx:pt idx="45508">0</cx:pt>
          <cx:pt idx="45509">0</cx:pt>
          <cx:pt idx="45510">1</cx:pt>
          <cx:pt idx="45511">0</cx:pt>
          <cx:pt idx="45512">1</cx:pt>
          <cx:pt idx="45513">0</cx:pt>
          <cx:pt idx="45514">0</cx:pt>
          <cx:pt idx="45515">0</cx:pt>
          <cx:pt idx="45516">1</cx:pt>
          <cx:pt idx="45517">1</cx:pt>
          <cx:pt idx="45518">1</cx:pt>
          <cx:pt idx="45519">0</cx:pt>
          <cx:pt idx="45520">0</cx:pt>
          <cx:pt idx="45521">0</cx:pt>
          <cx:pt idx="45522">0</cx:pt>
          <cx:pt idx="45523">0</cx:pt>
          <cx:pt idx="45524">0</cx:pt>
          <cx:pt idx="45525">0</cx:pt>
          <cx:pt idx="45526">0</cx:pt>
          <cx:pt idx="45527">0</cx:pt>
          <cx:pt idx="45528">0</cx:pt>
          <cx:pt idx="45529">1</cx:pt>
          <cx:pt idx="45530">0</cx:pt>
          <cx:pt idx="45531">1</cx:pt>
          <cx:pt idx="45532">1</cx:pt>
          <cx:pt idx="45533">0</cx:pt>
          <cx:pt idx="45534">1</cx:pt>
          <cx:pt idx="45535">0</cx:pt>
          <cx:pt idx="45536">0</cx:pt>
          <cx:pt idx="45537">1</cx:pt>
          <cx:pt idx="45538">0</cx:pt>
          <cx:pt idx="45539">1</cx:pt>
          <cx:pt idx="45540">0</cx:pt>
          <cx:pt idx="45541">1</cx:pt>
          <cx:pt idx="45542">1</cx:pt>
          <cx:pt idx="45543">0</cx:pt>
          <cx:pt idx="45544">1</cx:pt>
          <cx:pt idx="45545">1</cx:pt>
          <cx:pt idx="45546">0</cx:pt>
          <cx:pt idx="45547">0</cx:pt>
          <cx:pt idx="45548">1</cx:pt>
          <cx:pt idx="45549">0</cx:pt>
          <cx:pt idx="45550">1</cx:pt>
          <cx:pt idx="45551">1</cx:pt>
          <cx:pt idx="45552">0</cx:pt>
          <cx:pt idx="45553">0</cx:pt>
          <cx:pt idx="45554">0</cx:pt>
          <cx:pt idx="45555">0</cx:pt>
          <cx:pt idx="45556">1</cx:pt>
          <cx:pt idx="45557">0</cx:pt>
          <cx:pt idx="45558">0</cx:pt>
          <cx:pt idx="45559">1</cx:pt>
          <cx:pt idx="45560">0</cx:pt>
          <cx:pt idx="45561">1</cx:pt>
          <cx:pt idx="45562">0</cx:pt>
          <cx:pt idx="45563">1</cx:pt>
          <cx:pt idx="45564">1</cx:pt>
          <cx:pt idx="45565">1</cx:pt>
          <cx:pt idx="45566">0</cx:pt>
          <cx:pt idx="45567">1</cx:pt>
          <cx:pt idx="45568">0</cx:pt>
          <cx:pt idx="45569">0</cx:pt>
          <cx:pt idx="45570">1</cx:pt>
          <cx:pt idx="45571">0</cx:pt>
          <cx:pt idx="45572">1</cx:pt>
          <cx:pt idx="45573">1</cx:pt>
          <cx:pt idx="45574">0</cx:pt>
          <cx:pt idx="45575">0</cx:pt>
          <cx:pt idx="45576">0</cx:pt>
          <cx:pt idx="45577">0</cx:pt>
          <cx:pt idx="45578">0</cx:pt>
          <cx:pt idx="45579">0</cx:pt>
          <cx:pt idx="45580">0</cx:pt>
          <cx:pt idx="45581">1</cx:pt>
          <cx:pt idx="45582">1</cx:pt>
          <cx:pt idx="45583">1</cx:pt>
          <cx:pt idx="45584">0</cx:pt>
          <cx:pt idx="45585">0</cx:pt>
          <cx:pt idx="45586">0</cx:pt>
          <cx:pt idx="45587">0</cx:pt>
          <cx:pt idx="45588">0</cx:pt>
          <cx:pt idx="45589">1</cx:pt>
          <cx:pt idx="45590">0</cx:pt>
          <cx:pt idx="45591">1</cx:pt>
          <cx:pt idx="45592">1</cx:pt>
          <cx:pt idx="45593">0</cx:pt>
          <cx:pt idx="45594">1</cx:pt>
          <cx:pt idx="45595">0</cx:pt>
          <cx:pt idx="45596">0</cx:pt>
          <cx:pt idx="45597">0</cx:pt>
          <cx:pt idx="45598">1</cx:pt>
          <cx:pt idx="45599">0</cx:pt>
          <cx:pt idx="45600">0</cx:pt>
          <cx:pt idx="45601">0</cx:pt>
          <cx:pt idx="45602">0</cx:pt>
          <cx:pt idx="45603">0</cx:pt>
          <cx:pt idx="45604">1</cx:pt>
          <cx:pt idx="45605">1</cx:pt>
          <cx:pt idx="45606">1</cx:pt>
          <cx:pt idx="45607">1</cx:pt>
          <cx:pt idx="45608">1</cx:pt>
          <cx:pt idx="45609">1</cx:pt>
          <cx:pt idx="45610">0</cx:pt>
          <cx:pt idx="45611">0</cx:pt>
          <cx:pt idx="45612">1</cx:pt>
          <cx:pt idx="45613">0</cx:pt>
          <cx:pt idx="45614">1</cx:pt>
          <cx:pt idx="45615">0</cx:pt>
          <cx:pt idx="45616">0</cx:pt>
          <cx:pt idx="45617">1</cx:pt>
          <cx:pt idx="45618">0</cx:pt>
          <cx:pt idx="45619">0</cx:pt>
          <cx:pt idx="45620">0</cx:pt>
          <cx:pt idx="45621">0</cx:pt>
          <cx:pt idx="45622">1</cx:pt>
          <cx:pt idx="45623">1</cx:pt>
          <cx:pt idx="45624">0</cx:pt>
          <cx:pt idx="45625">0</cx:pt>
          <cx:pt idx="45626">0</cx:pt>
          <cx:pt idx="45627">0</cx:pt>
          <cx:pt idx="45628">1</cx:pt>
          <cx:pt idx="45629">1</cx:pt>
          <cx:pt idx="45630">0</cx:pt>
          <cx:pt idx="45631">0</cx:pt>
          <cx:pt idx="45632">0</cx:pt>
          <cx:pt idx="45633">0</cx:pt>
          <cx:pt idx="45634">1</cx:pt>
          <cx:pt idx="45635">0</cx:pt>
          <cx:pt idx="45636">1</cx:pt>
          <cx:pt idx="45637">0</cx:pt>
          <cx:pt idx="45638">0</cx:pt>
          <cx:pt idx="45639">0</cx:pt>
          <cx:pt idx="45640">0</cx:pt>
          <cx:pt idx="45641">1</cx:pt>
          <cx:pt idx="45642">0</cx:pt>
          <cx:pt idx="45643">0</cx:pt>
          <cx:pt idx="45644">0</cx:pt>
          <cx:pt idx="45645">1</cx:pt>
          <cx:pt idx="45646">1</cx:pt>
          <cx:pt idx="45647">0</cx:pt>
          <cx:pt idx="45648">1</cx:pt>
          <cx:pt idx="45649">0</cx:pt>
          <cx:pt idx="45650">1</cx:pt>
          <cx:pt idx="45651">0</cx:pt>
          <cx:pt idx="45652">1</cx:pt>
          <cx:pt idx="45653">0</cx:pt>
          <cx:pt idx="45654">0</cx:pt>
          <cx:pt idx="45655">0</cx:pt>
          <cx:pt idx="45656">1</cx:pt>
          <cx:pt idx="45657">1</cx:pt>
          <cx:pt idx="45658">0</cx:pt>
          <cx:pt idx="45659">1</cx:pt>
          <cx:pt idx="45660">0</cx:pt>
          <cx:pt idx="45661">0</cx:pt>
          <cx:pt idx="45662">1</cx:pt>
          <cx:pt idx="45663">1</cx:pt>
          <cx:pt idx="45664">0</cx:pt>
          <cx:pt idx="45665">1</cx:pt>
          <cx:pt idx="45666">1</cx:pt>
          <cx:pt idx="45667">0</cx:pt>
          <cx:pt idx="45668">1</cx:pt>
          <cx:pt idx="45669">1</cx:pt>
          <cx:pt idx="45670">0</cx:pt>
          <cx:pt idx="45671">1</cx:pt>
          <cx:pt idx="45672">1</cx:pt>
          <cx:pt idx="45673">1</cx:pt>
          <cx:pt idx="45674">0</cx:pt>
          <cx:pt idx="45675">0</cx:pt>
          <cx:pt idx="45676">0</cx:pt>
          <cx:pt idx="45677">0</cx:pt>
          <cx:pt idx="45678">1</cx:pt>
          <cx:pt idx="45679">1</cx:pt>
          <cx:pt idx="45680">0</cx:pt>
          <cx:pt idx="45681">1</cx:pt>
          <cx:pt idx="45682">0</cx:pt>
          <cx:pt idx="45683">0</cx:pt>
          <cx:pt idx="45684">0</cx:pt>
          <cx:pt idx="45685">0</cx:pt>
          <cx:pt idx="45686">0</cx:pt>
          <cx:pt idx="45687">0</cx:pt>
          <cx:pt idx="45688">0</cx:pt>
          <cx:pt idx="45689">0</cx:pt>
          <cx:pt idx="45690">1</cx:pt>
          <cx:pt idx="45691">1</cx:pt>
          <cx:pt idx="45692">1</cx:pt>
          <cx:pt idx="45693">1</cx:pt>
          <cx:pt idx="45694">0</cx:pt>
          <cx:pt idx="45695">0</cx:pt>
          <cx:pt idx="45696">0</cx:pt>
          <cx:pt idx="45697">0</cx:pt>
          <cx:pt idx="45698">0</cx:pt>
          <cx:pt idx="45699">0</cx:pt>
          <cx:pt idx="45700">0</cx:pt>
          <cx:pt idx="45701">1</cx:pt>
          <cx:pt idx="45702">1</cx:pt>
          <cx:pt idx="45703">0</cx:pt>
          <cx:pt idx="45704">1</cx:pt>
          <cx:pt idx="45705">0</cx:pt>
          <cx:pt idx="45706">0</cx:pt>
          <cx:pt idx="45707">0</cx:pt>
          <cx:pt idx="45708">0</cx:pt>
          <cx:pt idx="45709">0</cx:pt>
          <cx:pt idx="45710">0</cx:pt>
          <cx:pt idx="45711">0</cx:pt>
          <cx:pt idx="45712">0</cx:pt>
          <cx:pt idx="45713">0</cx:pt>
          <cx:pt idx="45714">1</cx:pt>
          <cx:pt idx="45715">0</cx:pt>
          <cx:pt idx="45716">1</cx:pt>
          <cx:pt idx="45717">1</cx:pt>
          <cx:pt idx="45718">1</cx:pt>
          <cx:pt idx="45719">0</cx:pt>
          <cx:pt idx="45720">0</cx:pt>
          <cx:pt idx="45721">1</cx:pt>
          <cx:pt idx="45722">1</cx:pt>
          <cx:pt idx="45723">1</cx:pt>
          <cx:pt idx="45724">0</cx:pt>
          <cx:pt idx="45725">1</cx:pt>
          <cx:pt idx="45726">0</cx:pt>
          <cx:pt idx="45727">0</cx:pt>
          <cx:pt idx="45728">0</cx:pt>
          <cx:pt idx="45729">1</cx:pt>
          <cx:pt idx="45730">1</cx:pt>
          <cx:pt idx="45731">0</cx:pt>
          <cx:pt idx="45732">0</cx:pt>
          <cx:pt idx="45733">0</cx:pt>
          <cx:pt idx="45734">1</cx:pt>
          <cx:pt idx="45735">1</cx:pt>
          <cx:pt idx="45736">1</cx:pt>
          <cx:pt idx="45737">1</cx:pt>
          <cx:pt idx="45738">1</cx:pt>
          <cx:pt idx="45739">0</cx:pt>
          <cx:pt idx="45740">0</cx:pt>
          <cx:pt idx="45741">1</cx:pt>
          <cx:pt idx="45742">0</cx:pt>
          <cx:pt idx="45743">1</cx:pt>
          <cx:pt idx="45744">0</cx:pt>
          <cx:pt idx="45745">0</cx:pt>
          <cx:pt idx="45746">1</cx:pt>
          <cx:pt idx="45747">0</cx:pt>
          <cx:pt idx="45748">0</cx:pt>
          <cx:pt idx="45749">0</cx:pt>
          <cx:pt idx="45750">0</cx:pt>
          <cx:pt idx="45751">0</cx:pt>
          <cx:pt idx="45752">1</cx:pt>
          <cx:pt idx="45753">0</cx:pt>
          <cx:pt idx="45754">1</cx:pt>
          <cx:pt idx="45755">0</cx:pt>
          <cx:pt idx="45756">0</cx:pt>
          <cx:pt idx="45757">1</cx:pt>
          <cx:pt idx="45758">0</cx:pt>
          <cx:pt idx="45759">0</cx:pt>
          <cx:pt idx="45760">1</cx:pt>
          <cx:pt idx="45761">0</cx:pt>
          <cx:pt idx="45762">1</cx:pt>
          <cx:pt idx="45763">1</cx:pt>
          <cx:pt idx="45764">1</cx:pt>
          <cx:pt idx="45765">0</cx:pt>
          <cx:pt idx="45766">0</cx:pt>
          <cx:pt idx="45767">0</cx:pt>
          <cx:pt idx="45768">0</cx:pt>
          <cx:pt idx="45769">1</cx:pt>
          <cx:pt idx="45770">0</cx:pt>
          <cx:pt idx="45771">1</cx:pt>
          <cx:pt idx="45772">1</cx:pt>
          <cx:pt idx="45773">1</cx:pt>
          <cx:pt idx="45774">0</cx:pt>
          <cx:pt idx="45775">1</cx:pt>
          <cx:pt idx="45776">0</cx:pt>
          <cx:pt idx="45777">1</cx:pt>
          <cx:pt idx="45778">0</cx:pt>
          <cx:pt idx="45779">0</cx:pt>
          <cx:pt idx="45780">1</cx:pt>
          <cx:pt idx="45781">0</cx:pt>
          <cx:pt idx="45782">1</cx:pt>
          <cx:pt idx="45783">1</cx:pt>
          <cx:pt idx="45784">0</cx:pt>
          <cx:pt idx="45785">0</cx:pt>
          <cx:pt idx="45786">0</cx:pt>
          <cx:pt idx="45787">0</cx:pt>
          <cx:pt idx="45788">0</cx:pt>
          <cx:pt idx="45789">1</cx:pt>
          <cx:pt idx="45790">1</cx:pt>
          <cx:pt idx="45791">1</cx:pt>
          <cx:pt idx="45792">0</cx:pt>
          <cx:pt idx="45793">1</cx:pt>
          <cx:pt idx="45794">0</cx:pt>
          <cx:pt idx="45795">0</cx:pt>
          <cx:pt idx="45796">0</cx:pt>
          <cx:pt idx="45797">0</cx:pt>
          <cx:pt idx="45798">0</cx:pt>
          <cx:pt idx="45799">0</cx:pt>
          <cx:pt idx="45800">1</cx:pt>
          <cx:pt idx="45801">0</cx:pt>
          <cx:pt idx="45802">1</cx:pt>
          <cx:pt idx="45803">1</cx:pt>
          <cx:pt idx="45804">0</cx:pt>
          <cx:pt idx="45805">1</cx:pt>
          <cx:pt idx="45806">0</cx:pt>
          <cx:pt idx="45807">1</cx:pt>
          <cx:pt idx="45808">0</cx:pt>
          <cx:pt idx="45809">0</cx:pt>
          <cx:pt idx="45810">1</cx:pt>
          <cx:pt idx="45811">1</cx:pt>
          <cx:pt idx="45812">1</cx:pt>
          <cx:pt idx="45813">0</cx:pt>
          <cx:pt idx="45814">0</cx:pt>
          <cx:pt idx="45815">1</cx:pt>
          <cx:pt idx="45816">0</cx:pt>
          <cx:pt idx="45817">0</cx:pt>
          <cx:pt idx="45818">0</cx:pt>
          <cx:pt idx="45819">0</cx:pt>
          <cx:pt idx="45820">1</cx:pt>
          <cx:pt idx="45821">0</cx:pt>
          <cx:pt idx="45822">0</cx:pt>
          <cx:pt idx="45823">1</cx:pt>
          <cx:pt idx="45824">0</cx:pt>
          <cx:pt idx="45825">0</cx:pt>
          <cx:pt idx="45826">1</cx:pt>
          <cx:pt idx="45827">1</cx:pt>
          <cx:pt idx="45828">0</cx:pt>
          <cx:pt idx="45829">0</cx:pt>
          <cx:pt idx="45830">0</cx:pt>
          <cx:pt idx="45831">1</cx:pt>
          <cx:pt idx="45832">0</cx:pt>
          <cx:pt idx="45833">1</cx:pt>
          <cx:pt idx="45834">1</cx:pt>
          <cx:pt idx="45835">1</cx:pt>
          <cx:pt idx="45836">0</cx:pt>
          <cx:pt idx="45837">1</cx:pt>
          <cx:pt idx="45838">1</cx:pt>
          <cx:pt idx="45839">0</cx:pt>
          <cx:pt idx="45840">1</cx:pt>
          <cx:pt idx="45841">1</cx:pt>
          <cx:pt idx="45842">1</cx:pt>
          <cx:pt idx="45843">0</cx:pt>
          <cx:pt idx="45844">0</cx:pt>
          <cx:pt idx="45845">1</cx:pt>
          <cx:pt idx="45846">1</cx:pt>
          <cx:pt idx="45847">1</cx:pt>
          <cx:pt idx="45848">0</cx:pt>
          <cx:pt idx="45849">1</cx:pt>
          <cx:pt idx="45850">0</cx:pt>
          <cx:pt idx="45851">0</cx:pt>
          <cx:pt idx="45852">1</cx:pt>
          <cx:pt idx="45853">0</cx:pt>
          <cx:pt idx="45854">0</cx:pt>
          <cx:pt idx="45855">1</cx:pt>
          <cx:pt idx="45856">1</cx:pt>
          <cx:pt idx="45857">1</cx:pt>
          <cx:pt idx="45858">1</cx:pt>
          <cx:pt idx="45859">0</cx:pt>
          <cx:pt idx="45860">1</cx:pt>
          <cx:pt idx="45861">1</cx:pt>
          <cx:pt idx="45862">1</cx:pt>
          <cx:pt idx="45863">1</cx:pt>
          <cx:pt idx="45864">0</cx:pt>
          <cx:pt idx="45865">0</cx:pt>
          <cx:pt idx="45866">0</cx:pt>
          <cx:pt idx="45867">0</cx:pt>
          <cx:pt idx="45868">1</cx:pt>
          <cx:pt idx="45869">0</cx:pt>
          <cx:pt idx="45870">0</cx:pt>
          <cx:pt idx="45871">0</cx:pt>
          <cx:pt idx="45872">0</cx:pt>
          <cx:pt idx="45873">0</cx:pt>
          <cx:pt idx="45874">0</cx:pt>
          <cx:pt idx="45875">0</cx:pt>
          <cx:pt idx="45876">0</cx:pt>
          <cx:pt idx="45877">0</cx:pt>
          <cx:pt idx="45878">1</cx:pt>
          <cx:pt idx="45879">1</cx:pt>
          <cx:pt idx="45880">0</cx:pt>
          <cx:pt idx="45881">1</cx:pt>
          <cx:pt idx="45882">1</cx:pt>
          <cx:pt idx="45883">0</cx:pt>
          <cx:pt idx="45884">0</cx:pt>
          <cx:pt idx="45885">0</cx:pt>
          <cx:pt idx="45886">0</cx:pt>
          <cx:pt idx="45887">0</cx:pt>
          <cx:pt idx="45888">0</cx:pt>
          <cx:pt idx="45889">1</cx:pt>
          <cx:pt idx="45890">0</cx:pt>
          <cx:pt idx="45891">1</cx:pt>
          <cx:pt idx="45892">0</cx:pt>
          <cx:pt idx="45893">0</cx:pt>
          <cx:pt idx="45894">0</cx:pt>
          <cx:pt idx="45895">0</cx:pt>
          <cx:pt idx="45896">1</cx:pt>
          <cx:pt idx="45897">1</cx:pt>
          <cx:pt idx="45898">0</cx:pt>
          <cx:pt idx="45899">0</cx:pt>
          <cx:pt idx="45900">1</cx:pt>
          <cx:pt idx="45901">1</cx:pt>
          <cx:pt idx="45902">0</cx:pt>
          <cx:pt idx="45903">1</cx:pt>
          <cx:pt idx="45904">1</cx:pt>
          <cx:pt idx="45905">0</cx:pt>
          <cx:pt idx="45906">1</cx:pt>
          <cx:pt idx="45907">0</cx:pt>
          <cx:pt idx="45908">0</cx:pt>
          <cx:pt idx="45909">1</cx:pt>
          <cx:pt idx="45910">0</cx:pt>
          <cx:pt idx="45911">0</cx:pt>
          <cx:pt idx="45912">1</cx:pt>
          <cx:pt idx="45913">0</cx:pt>
          <cx:pt idx="45914">1</cx:pt>
          <cx:pt idx="45915">1</cx:pt>
          <cx:pt idx="45916">0</cx:pt>
          <cx:pt idx="45917">1</cx:pt>
          <cx:pt idx="45918">0</cx:pt>
          <cx:pt idx="45919">1</cx:pt>
          <cx:pt idx="45920">0</cx:pt>
          <cx:pt idx="45921">0</cx:pt>
          <cx:pt idx="45922">0</cx:pt>
          <cx:pt idx="45923">1</cx:pt>
          <cx:pt idx="45924">1</cx:pt>
          <cx:pt idx="45925">0</cx:pt>
          <cx:pt idx="45926">0</cx:pt>
          <cx:pt idx="45927">1</cx:pt>
          <cx:pt idx="45928">1</cx:pt>
          <cx:pt idx="45929">0</cx:pt>
          <cx:pt idx="45930">1</cx:pt>
          <cx:pt idx="45931">0</cx:pt>
          <cx:pt idx="45932">0</cx:pt>
          <cx:pt idx="45933">1</cx:pt>
          <cx:pt idx="45934">0</cx:pt>
          <cx:pt idx="45935">0</cx:pt>
          <cx:pt idx="45936">0</cx:pt>
          <cx:pt idx="45937">1</cx:pt>
          <cx:pt idx="45938">0</cx:pt>
          <cx:pt idx="45939">0</cx:pt>
          <cx:pt idx="45940">0</cx:pt>
          <cx:pt idx="45941">0</cx:pt>
          <cx:pt idx="45942">1</cx:pt>
          <cx:pt idx="45943">1</cx:pt>
          <cx:pt idx="45944">1</cx:pt>
          <cx:pt idx="45945">0</cx:pt>
          <cx:pt idx="45946">0</cx:pt>
          <cx:pt idx="45947">1</cx:pt>
          <cx:pt idx="45948">1</cx:pt>
          <cx:pt idx="45949">1</cx:pt>
          <cx:pt idx="45950">0</cx:pt>
          <cx:pt idx="45951">1</cx:pt>
          <cx:pt idx="45952">1</cx:pt>
          <cx:pt idx="45953">0</cx:pt>
          <cx:pt idx="45954">0</cx:pt>
          <cx:pt idx="45955">0</cx:pt>
          <cx:pt idx="45956">0</cx:pt>
          <cx:pt idx="45957">1</cx:pt>
          <cx:pt idx="45958">1</cx:pt>
          <cx:pt idx="45959">0</cx:pt>
          <cx:pt idx="45960">0</cx:pt>
          <cx:pt idx="45961">0</cx:pt>
          <cx:pt idx="45962">0</cx:pt>
          <cx:pt idx="45963">0</cx:pt>
          <cx:pt idx="45964">0</cx:pt>
          <cx:pt idx="45965">0</cx:pt>
          <cx:pt idx="45966">1</cx:pt>
          <cx:pt idx="45967">1</cx:pt>
          <cx:pt idx="45968">0</cx:pt>
          <cx:pt idx="45969">0</cx:pt>
          <cx:pt idx="45970">0</cx:pt>
          <cx:pt idx="45971">1</cx:pt>
          <cx:pt idx="45972">1</cx:pt>
          <cx:pt idx="45973">1</cx:pt>
          <cx:pt idx="45974">0</cx:pt>
          <cx:pt idx="45975">1</cx:pt>
          <cx:pt idx="45976">0</cx:pt>
          <cx:pt idx="45977">1</cx:pt>
          <cx:pt idx="45978">1</cx:pt>
          <cx:pt idx="45979">0</cx:pt>
          <cx:pt idx="45980">1</cx:pt>
          <cx:pt idx="45981">0</cx:pt>
          <cx:pt idx="45982">1</cx:pt>
          <cx:pt idx="45983">1</cx:pt>
          <cx:pt idx="45984">0</cx:pt>
          <cx:pt idx="45985">1</cx:pt>
          <cx:pt idx="45986">1</cx:pt>
          <cx:pt idx="45987">1</cx:pt>
          <cx:pt idx="45988">0</cx:pt>
          <cx:pt idx="45989">0</cx:pt>
          <cx:pt idx="45990">0</cx:pt>
          <cx:pt idx="45991">0</cx:pt>
          <cx:pt idx="45992">0</cx:pt>
          <cx:pt idx="45993">1</cx:pt>
          <cx:pt idx="45994">0</cx:pt>
          <cx:pt idx="45995">0</cx:pt>
          <cx:pt idx="45996">1</cx:pt>
          <cx:pt idx="45997">0</cx:pt>
          <cx:pt idx="45998">1</cx:pt>
          <cx:pt idx="45999">1</cx:pt>
          <cx:pt idx="46000">1</cx:pt>
          <cx:pt idx="46001">1</cx:pt>
          <cx:pt idx="46002">1</cx:pt>
          <cx:pt idx="46003">1</cx:pt>
          <cx:pt idx="46004">1</cx:pt>
          <cx:pt idx="46005">1</cx:pt>
          <cx:pt idx="46006">0</cx:pt>
          <cx:pt idx="46007">0</cx:pt>
          <cx:pt idx="46008">0</cx:pt>
          <cx:pt idx="46009">1</cx:pt>
          <cx:pt idx="46010">0</cx:pt>
          <cx:pt idx="46011">0</cx:pt>
          <cx:pt idx="46012">1</cx:pt>
          <cx:pt idx="46013">0</cx:pt>
          <cx:pt idx="46014">1</cx:pt>
          <cx:pt idx="46015">0</cx:pt>
          <cx:pt idx="46016">0</cx:pt>
          <cx:pt idx="46017">0</cx:pt>
          <cx:pt idx="46018">0</cx:pt>
          <cx:pt idx="46019">0</cx:pt>
          <cx:pt idx="46020">0</cx:pt>
          <cx:pt idx="46021">1</cx:pt>
          <cx:pt idx="46022">1</cx:pt>
          <cx:pt idx="46023">0</cx:pt>
          <cx:pt idx="46024">0</cx:pt>
          <cx:pt idx="46025">0</cx:pt>
          <cx:pt idx="46026">1</cx:pt>
          <cx:pt idx="46027">0</cx:pt>
          <cx:pt idx="46028">0</cx:pt>
          <cx:pt idx="46029">0</cx:pt>
          <cx:pt idx="46030">0</cx:pt>
          <cx:pt idx="46031">1</cx:pt>
          <cx:pt idx="46032">1</cx:pt>
          <cx:pt idx="46033">0</cx:pt>
          <cx:pt idx="46034">0</cx:pt>
          <cx:pt idx="46035">1</cx:pt>
          <cx:pt idx="46036">0</cx:pt>
          <cx:pt idx="46037">0</cx:pt>
          <cx:pt idx="46038">0</cx:pt>
          <cx:pt idx="46039">0</cx:pt>
          <cx:pt idx="46040">0</cx:pt>
          <cx:pt idx="46041">0</cx:pt>
          <cx:pt idx="46042">1</cx:pt>
          <cx:pt idx="46043">0</cx:pt>
          <cx:pt idx="46044">0</cx:pt>
          <cx:pt idx="46045">1</cx:pt>
          <cx:pt idx="46046">0</cx:pt>
          <cx:pt idx="46047">1</cx:pt>
          <cx:pt idx="46048">1</cx:pt>
          <cx:pt idx="46049">0</cx:pt>
          <cx:pt idx="46050">1</cx:pt>
          <cx:pt idx="46051">1</cx:pt>
          <cx:pt idx="46052">1</cx:pt>
          <cx:pt idx="46053">0</cx:pt>
          <cx:pt idx="46054">0</cx:pt>
          <cx:pt idx="46055">1</cx:pt>
          <cx:pt idx="46056">1</cx:pt>
          <cx:pt idx="46057">0</cx:pt>
          <cx:pt idx="46058">1</cx:pt>
          <cx:pt idx="46059">0</cx:pt>
          <cx:pt idx="46060">0</cx:pt>
          <cx:pt idx="46061">0</cx:pt>
          <cx:pt idx="46062">0</cx:pt>
          <cx:pt idx="46063">0</cx:pt>
          <cx:pt idx="46064">1</cx:pt>
          <cx:pt idx="46065">0</cx:pt>
          <cx:pt idx="46066">0</cx:pt>
          <cx:pt idx="46067">0</cx:pt>
          <cx:pt idx="46068">0</cx:pt>
          <cx:pt idx="46069">0</cx:pt>
          <cx:pt idx="46070">1</cx:pt>
          <cx:pt idx="46071">1</cx:pt>
          <cx:pt idx="46072">0</cx:pt>
          <cx:pt idx="46073">0</cx:pt>
          <cx:pt idx="46074">0</cx:pt>
          <cx:pt idx="46075">0</cx:pt>
          <cx:pt idx="46076">0</cx:pt>
          <cx:pt idx="46077">0</cx:pt>
          <cx:pt idx="46078">0</cx:pt>
          <cx:pt idx="46079">0</cx:pt>
          <cx:pt idx="46080">1</cx:pt>
          <cx:pt idx="46081">1</cx:pt>
          <cx:pt idx="46082">0</cx:pt>
          <cx:pt idx="46083">1</cx:pt>
          <cx:pt idx="46084">1</cx:pt>
          <cx:pt idx="46085">0</cx:pt>
          <cx:pt idx="46086">0</cx:pt>
          <cx:pt idx="46087">1</cx:pt>
          <cx:pt idx="46088">0</cx:pt>
          <cx:pt idx="46089">0</cx:pt>
          <cx:pt idx="46090">0</cx:pt>
          <cx:pt idx="46091">1</cx:pt>
          <cx:pt idx="46092">1</cx:pt>
          <cx:pt idx="46093">1</cx:pt>
          <cx:pt idx="46094">1</cx:pt>
          <cx:pt idx="46095">0</cx:pt>
          <cx:pt idx="46096">0</cx:pt>
          <cx:pt idx="46097">1</cx:pt>
          <cx:pt idx="46098">0</cx:pt>
          <cx:pt idx="46099">0</cx:pt>
          <cx:pt idx="46100">1</cx:pt>
          <cx:pt idx="46101">1</cx:pt>
          <cx:pt idx="46102">0</cx:pt>
          <cx:pt idx="46103">0</cx:pt>
          <cx:pt idx="46104">1</cx:pt>
          <cx:pt idx="46105">1</cx:pt>
          <cx:pt idx="46106">0</cx:pt>
          <cx:pt idx="46107">0</cx:pt>
          <cx:pt idx="46108">1</cx:pt>
          <cx:pt idx="46109">0</cx:pt>
          <cx:pt idx="46110">0</cx:pt>
          <cx:pt idx="46111">0</cx:pt>
          <cx:pt idx="46112">0</cx:pt>
          <cx:pt idx="46113">1</cx:pt>
          <cx:pt idx="46114">0</cx:pt>
          <cx:pt idx="46115">0</cx:pt>
          <cx:pt idx="46116">0</cx:pt>
          <cx:pt idx="46117">0</cx:pt>
          <cx:pt idx="46118">0</cx:pt>
          <cx:pt idx="46119">0</cx:pt>
          <cx:pt idx="46120">0</cx:pt>
          <cx:pt idx="46121">1</cx:pt>
          <cx:pt idx="46122">1</cx:pt>
          <cx:pt idx="46123">1</cx:pt>
          <cx:pt idx="46124">1</cx:pt>
          <cx:pt idx="46125">0</cx:pt>
          <cx:pt idx="46126">1</cx:pt>
          <cx:pt idx="46127">1</cx:pt>
          <cx:pt idx="46128">0</cx:pt>
          <cx:pt idx="46129">0</cx:pt>
          <cx:pt idx="46130">1</cx:pt>
          <cx:pt idx="46131">1</cx:pt>
          <cx:pt idx="46132">0</cx:pt>
          <cx:pt idx="46133">1</cx:pt>
          <cx:pt idx="46134">0</cx:pt>
          <cx:pt idx="46135">0</cx:pt>
          <cx:pt idx="46136">1</cx:pt>
          <cx:pt idx="46137">0</cx:pt>
          <cx:pt idx="46138">1</cx:pt>
          <cx:pt idx="46139">0</cx:pt>
          <cx:pt idx="46140">1</cx:pt>
          <cx:pt idx="46141">1</cx:pt>
          <cx:pt idx="46142">0</cx:pt>
          <cx:pt idx="46143">0</cx:pt>
          <cx:pt idx="46144">0</cx:pt>
          <cx:pt idx="46145">1</cx:pt>
          <cx:pt idx="46146">1</cx:pt>
          <cx:pt idx="46147">0</cx:pt>
          <cx:pt idx="46148">0</cx:pt>
          <cx:pt idx="46149">1</cx:pt>
          <cx:pt idx="46150">1</cx:pt>
          <cx:pt idx="46151">1</cx:pt>
          <cx:pt idx="46152">1</cx:pt>
          <cx:pt idx="46153">0</cx:pt>
          <cx:pt idx="46154">0</cx:pt>
          <cx:pt idx="46155">1</cx:pt>
          <cx:pt idx="46156">0</cx:pt>
          <cx:pt idx="46157">1</cx:pt>
          <cx:pt idx="46158">1</cx:pt>
          <cx:pt idx="46159">1</cx:pt>
          <cx:pt idx="46160">0</cx:pt>
          <cx:pt idx="46161">0</cx:pt>
          <cx:pt idx="46162">0</cx:pt>
          <cx:pt idx="46163">0</cx:pt>
          <cx:pt idx="46164">1</cx:pt>
          <cx:pt idx="46165">0</cx:pt>
          <cx:pt idx="46166">1</cx:pt>
          <cx:pt idx="46167">0</cx:pt>
          <cx:pt idx="46168">0</cx:pt>
          <cx:pt idx="46169">0</cx:pt>
          <cx:pt idx="46170">0</cx:pt>
          <cx:pt idx="46171">0</cx:pt>
          <cx:pt idx="46172">1</cx:pt>
          <cx:pt idx="46173">1</cx:pt>
          <cx:pt idx="46174">1</cx:pt>
          <cx:pt idx="46175">1</cx:pt>
          <cx:pt idx="46176">0</cx:pt>
          <cx:pt idx="46177">1</cx:pt>
          <cx:pt idx="46178">1</cx:pt>
          <cx:pt idx="46179">1</cx:pt>
          <cx:pt idx="46180">1</cx:pt>
          <cx:pt idx="46181">0</cx:pt>
          <cx:pt idx="46182">1</cx:pt>
          <cx:pt idx="46183">0</cx:pt>
          <cx:pt idx="46184">0</cx:pt>
          <cx:pt idx="46185">1</cx:pt>
          <cx:pt idx="46186">0</cx:pt>
          <cx:pt idx="46187">0</cx:pt>
          <cx:pt idx="46188">0</cx:pt>
          <cx:pt idx="46189">0</cx:pt>
          <cx:pt idx="46190">0</cx:pt>
          <cx:pt idx="46191">1</cx:pt>
          <cx:pt idx="46192">0</cx:pt>
          <cx:pt idx="46193">1</cx:pt>
          <cx:pt idx="46194">0</cx:pt>
          <cx:pt idx="46195">0</cx:pt>
          <cx:pt idx="46196">0</cx:pt>
          <cx:pt idx="46197">1</cx:pt>
          <cx:pt idx="46198">0</cx:pt>
          <cx:pt idx="46199">0</cx:pt>
          <cx:pt idx="46200">0</cx:pt>
          <cx:pt idx="46201">1</cx:pt>
          <cx:pt idx="46202">1</cx:pt>
          <cx:pt idx="46203">0</cx:pt>
          <cx:pt idx="46204">1</cx:pt>
          <cx:pt idx="46205">0</cx:pt>
          <cx:pt idx="46206">1</cx:pt>
          <cx:pt idx="46207">1</cx:pt>
          <cx:pt idx="46208">1</cx:pt>
          <cx:pt idx="46209">0</cx:pt>
          <cx:pt idx="46210">1</cx:pt>
          <cx:pt idx="46211">0</cx:pt>
          <cx:pt idx="46212">0</cx:pt>
          <cx:pt idx="46213">0</cx:pt>
          <cx:pt idx="46214">0</cx:pt>
          <cx:pt idx="46215">0</cx:pt>
          <cx:pt idx="46216">0</cx:pt>
          <cx:pt idx="46217">1</cx:pt>
          <cx:pt idx="46218">0</cx:pt>
          <cx:pt idx="46219">0</cx:pt>
          <cx:pt idx="46220">1</cx:pt>
          <cx:pt idx="46221">0</cx:pt>
          <cx:pt idx="46222">1</cx:pt>
          <cx:pt idx="46223">0</cx:pt>
          <cx:pt idx="46224">1</cx:pt>
          <cx:pt idx="46225">0</cx:pt>
          <cx:pt idx="46226">1</cx:pt>
          <cx:pt idx="46227">0</cx:pt>
          <cx:pt idx="46228">1</cx:pt>
          <cx:pt idx="46229">0</cx:pt>
          <cx:pt idx="46230">1</cx:pt>
          <cx:pt idx="46231">0</cx:pt>
          <cx:pt idx="46232">1</cx:pt>
          <cx:pt idx="46233">0</cx:pt>
          <cx:pt idx="46234">1</cx:pt>
          <cx:pt idx="46235">0</cx:pt>
          <cx:pt idx="46236">1</cx:pt>
          <cx:pt idx="46237">0</cx:pt>
          <cx:pt idx="46238">0</cx:pt>
          <cx:pt idx="46239">1</cx:pt>
          <cx:pt idx="46240">1</cx:pt>
          <cx:pt idx="46241">1</cx:pt>
          <cx:pt idx="46242">1</cx:pt>
          <cx:pt idx="46243">0</cx:pt>
          <cx:pt idx="46244">0</cx:pt>
          <cx:pt idx="46245">1</cx:pt>
          <cx:pt idx="46246">1</cx:pt>
          <cx:pt idx="46247">1</cx:pt>
          <cx:pt idx="46248">0</cx:pt>
          <cx:pt idx="46249">1</cx:pt>
          <cx:pt idx="46250">0</cx:pt>
          <cx:pt idx="46251">1</cx:pt>
          <cx:pt idx="46252">1</cx:pt>
          <cx:pt idx="46253">1</cx:pt>
          <cx:pt idx="46254">1</cx:pt>
          <cx:pt idx="46255">0</cx:pt>
          <cx:pt idx="46256">0</cx:pt>
          <cx:pt idx="46257">1</cx:pt>
          <cx:pt idx="46258">0</cx:pt>
          <cx:pt idx="46259">1</cx:pt>
          <cx:pt idx="46260">0</cx:pt>
          <cx:pt idx="46261">0</cx:pt>
          <cx:pt idx="46262">0</cx:pt>
          <cx:pt idx="46263">1</cx:pt>
          <cx:pt idx="46264">0</cx:pt>
          <cx:pt idx="46265">0</cx:pt>
          <cx:pt idx="46266">1</cx:pt>
          <cx:pt idx="46267">1</cx:pt>
          <cx:pt idx="46268">0</cx:pt>
          <cx:pt idx="46269">1</cx:pt>
          <cx:pt idx="46270">1</cx:pt>
          <cx:pt idx="46271">1</cx:pt>
          <cx:pt idx="46272">1</cx:pt>
          <cx:pt idx="46273">0</cx:pt>
          <cx:pt idx="46274">1</cx:pt>
          <cx:pt idx="46275">0</cx:pt>
          <cx:pt idx="46276">0</cx:pt>
          <cx:pt idx="46277">0</cx:pt>
          <cx:pt idx="46278">1</cx:pt>
          <cx:pt idx="46279">0</cx:pt>
          <cx:pt idx="46280">1</cx:pt>
          <cx:pt idx="46281">0</cx:pt>
          <cx:pt idx="46282">1</cx:pt>
          <cx:pt idx="46283">1</cx:pt>
          <cx:pt idx="46284">1</cx:pt>
          <cx:pt idx="46285">0</cx:pt>
          <cx:pt idx="46286">0</cx:pt>
          <cx:pt idx="46287">0</cx:pt>
          <cx:pt idx="46288">0</cx:pt>
          <cx:pt idx="46289">0</cx:pt>
          <cx:pt idx="46290">0</cx:pt>
          <cx:pt idx="46291">0</cx:pt>
          <cx:pt idx="46292">0</cx:pt>
          <cx:pt idx="46293">1</cx:pt>
          <cx:pt idx="46294">1</cx:pt>
          <cx:pt idx="46295">1</cx:pt>
          <cx:pt idx="46296">1</cx:pt>
          <cx:pt idx="46297">0</cx:pt>
          <cx:pt idx="46298">0</cx:pt>
          <cx:pt idx="46299">1</cx:pt>
          <cx:pt idx="46300">0</cx:pt>
          <cx:pt idx="46301">0</cx:pt>
          <cx:pt idx="46302">0</cx:pt>
          <cx:pt idx="46303">1</cx:pt>
          <cx:pt idx="46304">0</cx:pt>
          <cx:pt idx="46305">0</cx:pt>
          <cx:pt idx="46306">0</cx:pt>
          <cx:pt idx="46307">1</cx:pt>
          <cx:pt idx="46308">1</cx:pt>
          <cx:pt idx="46309">1</cx:pt>
          <cx:pt idx="46310">1</cx:pt>
          <cx:pt idx="46311">1</cx:pt>
          <cx:pt idx="46312">0</cx:pt>
          <cx:pt idx="46313">0</cx:pt>
          <cx:pt idx="46314">1</cx:pt>
          <cx:pt idx="46315">0</cx:pt>
          <cx:pt idx="46316">1</cx:pt>
          <cx:pt idx="46317">0</cx:pt>
          <cx:pt idx="46318">0</cx:pt>
          <cx:pt idx="46319">0</cx:pt>
          <cx:pt idx="46320">1</cx:pt>
          <cx:pt idx="46321">1</cx:pt>
          <cx:pt idx="46322">1</cx:pt>
          <cx:pt idx="46323">0</cx:pt>
          <cx:pt idx="46324">0</cx:pt>
          <cx:pt idx="46325">1</cx:pt>
          <cx:pt idx="46326">1</cx:pt>
          <cx:pt idx="46327">0</cx:pt>
          <cx:pt idx="46328">0</cx:pt>
          <cx:pt idx="46329">0</cx:pt>
          <cx:pt idx="46330">1</cx:pt>
          <cx:pt idx="46331">1</cx:pt>
          <cx:pt idx="46332">0</cx:pt>
          <cx:pt idx="46333">1</cx:pt>
          <cx:pt idx="46334">0</cx:pt>
          <cx:pt idx="46335">0</cx:pt>
          <cx:pt idx="46336">1</cx:pt>
          <cx:pt idx="46337">1</cx:pt>
          <cx:pt idx="46338">1</cx:pt>
          <cx:pt idx="46339">0</cx:pt>
          <cx:pt idx="46340">0</cx:pt>
          <cx:pt idx="46341">0</cx:pt>
          <cx:pt idx="46342">0</cx:pt>
          <cx:pt idx="46343">1</cx:pt>
          <cx:pt idx="46344">0</cx:pt>
          <cx:pt idx="46345">0</cx:pt>
          <cx:pt idx="46346">0</cx:pt>
          <cx:pt idx="46347">0</cx:pt>
          <cx:pt idx="46348">0</cx:pt>
          <cx:pt idx="46349">0</cx:pt>
          <cx:pt idx="46350">0</cx:pt>
          <cx:pt idx="46351">0</cx:pt>
          <cx:pt idx="46352">1</cx:pt>
          <cx:pt idx="46353">1</cx:pt>
          <cx:pt idx="46354">0</cx:pt>
          <cx:pt idx="46355">0</cx:pt>
          <cx:pt idx="46356">0</cx:pt>
          <cx:pt idx="46357">1</cx:pt>
          <cx:pt idx="46358">0</cx:pt>
          <cx:pt idx="46359">1</cx:pt>
          <cx:pt idx="46360">0</cx:pt>
          <cx:pt idx="46361">0</cx:pt>
          <cx:pt idx="46362">1</cx:pt>
          <cx:pt idx="46363">0</cx:pt>
          <cx:pt idx="46364">0</cx:pt>
          <cx:pt idx="46365">0</cx:pt>
          <cx:pt idx="46366">0</cx:pt>
          <cx:pt idx="46367">0</cx:pt>
          <cx:pt idx="46368">1</cx:pt>
          <cx:pt idx="46369">1</cx:pt>
          <cx:pt idx="46370">0</cx:pt>
          <cx:pt idx="46371">1</cx:pt>
          <cx:pt idx="46372">0</cx:pt>
          <cx:pt idx="46373">0</cx:pt>
          <cx:pt idx="46374">1</cx:pt>
          <cx:pt idx="46375">1</cx:pt>
          <cx:pt idx="46376">1</cx:pt>
          <cx:pt idx="46377">0</cx:pt>
          <cx:pt idx="46378">1</cx:pt>
          <cx:pt idx="46379">0</cx:pt>
          <cx:pt idx="46380">0</cx:pt>
          <cx:pt idx="46381">1</cx:pt>
          <cx:pt idx="46382">0</cx:pt>
          <cx:pt idx="46383">1</cx:pt>
          <cx:pt idx="46384">0</cx:pt>
          <cx:pt idx="46385">1</cx:pt>
          <cx:pt idx="46386">0</cx:pt>
          <cx:pt idx="46387">1</cx:pt>
          <cx:pt idx="46388">0</cx:pt>
          <cx:pt idx="46389">0</cx:pt>
          <cx:pt idx="46390">1</cx:pt>
          <cx:pt idx="46391">1</cx:pt>
          <cx:pt idx="46392">0</cx:pt>
          <cx:pt idx="46393">0</cx:pt>
          <cx:pt idx="46394">0</cx:pt>
          <cx:pt idx="46395">0</cx:pt>
          <cx:pt idx="46396">1</cx:pt>
          <cx:pt idx="46397">1</cx:pt>
          <cx:pt idx="46398">0</cx:pt>
          <cx:pt idx="46399">1</cx:pt>
          <cx:pt idx="46400">1</cx:pt>
          <cx:pt idx="46401">1</cx:pt>
          <cx:pt idx="46402">0</cx:pt>
          <cx:pt idx="46403">0</cx:pt>
          <cx:pt idx="46404">0</cx:pt>
          <cx:pt idx="46405">0</cx:pt>
          <cx:pt idx="46406">1</cx:pt>
          <cx:pt idx="46407">0</cx:pt>
          <cx:pt idx="46408">0</cx:pt>
          <cx:pt idx="46409">0</cx:pt>
          <cx:pt idx="46410">1</cx:pt>
          <cx:pt idx="46411">0</cx:pt>
          <cx:pt idx="46412">1</cx:pt>
          <cx:pt idx="46413">0</cx:pt>
          <cx:pt idx="46414">0</cx:pt>
          <cx:pt idx="46415">0</cx:pt>
          <cx:pt idx="46416">0</cx:pt>
          <cx:pt idx="46417">1</cx:pt>
          <cx:pt idx="46418">1</cx:pt>
          <cx:pt idx="46419">0</cx:pt>
          <cx:pt idx="46420">1</cx:pt>
          <cx:pt idx="46421">0</cx:pt>
          <cx:pt idx="46422">1</cx:pt>
          <cx:pt idx="46423">0</cx:pt>
          <cx:pt idx="46424">0</cx:pt>
          <cx:pt idx="46425">1</cx:pt>
          <cx:pt idx="46426">0</cx:pt>
          <cx:pt idx="46427">0</cx:pt>
          <cx:pt idx="46428">1</cx:pt>
          <cx:pt idx="46429">0</cx:pt>
          <cx:pt idx="46430">1</cx:pt>
          <cx:pt idx="46431">1</cx:pt>
          <cx:pt idx="46432">0</cx:pt>
          <cx:pt idx="46433">0</cx:pt>
          <cx:pt idx="46434">1</cx:pt>
          <cx:pt idx="46435">1</cx:pt>
          <cx:pt idx="46436">1</cx:pt>
          <cx:pt idx="46437">1</cx:pt>
          <cx:pt idx="46438">1</cx:pt>
          <cx:pt idx="46439">0</cx:pt>
          <cx:pt idx="46440">1</cx:pt>
          <cx:pt idx="46441">0</cx:pt>
          <cx:pt idx="46442">0</cx:pt>
          <cx:pt idx="46443">0</cx:pt>
          <cx:pt idx="46444">1</cx:pt>
          <cx:pt idx="46445">1</cx:pt>
          <cx:pt idx="46446">0</cx:pt>
          <cx:pt idx="46447">0</cx:pt>
          <cx:pt idx="46448">1</cx:pt>
          <cx:pt idx="46449">0</cx:pt>
          <cx:pt idx="46450">1</cx:pt>
          <cx:pt idx="46451">0</cx:pt>
          <cx:pt idx="46452">0</cx:pt>
          <cx:pt idx="46453">0</cx:pt>
          <cx:pt idx="46454">0</cx:pt>
          <cx:pt idx="46455">1</cx:pt>
          <cx:pt idx="46456">1</cx:pt>
          <cx:pt idx="46457">0</cx:pt>
          <cx:pt idx="46458">1</cx:pt>
          <cx:pt idx="46459">0</cx:pt>
          <cx:pt idx="46460">1</cx:pt>
          <cx:pt idx="46461">0</cx:pt>
          <cx:pt idx="46462">0</cx:pt>
          <cx:pt idx="46463">1</cx:pt>
          <cx:pt idx="46464">0</cx:pt>
          <cx:pt idx="46465">1</cx:pt>
          <cx:pt idx="46466">0</cx:pt>
          <cx:pt idx="46467">0</cx:pt>
          <cx:pt idx="46468">1</cx:pt>
          <cx:pt idx="46469">1</cx:pt>
          <cx:pt idx="46470">0</cx:pt>
          <cx:pt idx="46471">0</cx:pt>
          <cx:pt idx="46472">1</cx:pt>
          <cx:pt idx="46473">0</cx:pt>
          <cx:pt idx="46474">0</cx:pt>
          <cx:pt idx="46475">1</cx:pt>
          <cx:pt idx="46476">1</cx:pt>
          <cx:pt idx="46477">0</cx:pt>
          <cx:pt idx="46478">0</cx:pt>
          <cx:pt idx="46479">1</cx:pt>
          <cx:pt idx="46480">0</cx:pt>
          <cx:pt idx="46481">1</cx:pt>
          <cx:pt idx="46482">0</cx:pt>
          <cx:pt idx="46483">0</cx:pt>
          <cx:pt idx="46484">0</cx:pt>
          <cx:pt idx="46485">1</cx:pt>
          <cx:pt idx="46486">0</cx:pt>
          <cx:pt idx="46487">0</cx:pt>
          <cx:pt idx="46488">0</cx:pt>
          <cx:pt idx="46489">1</cx:pt>
          <cx:pt idx="46490">0</cx:pt>
          <cx:pt idx="46491">0</cx:pt>
          <cx:pt idx="46492">1</cx:pt>
          <cx:pt idx="46493">0</cx:pt>
          <cx:pt idx="46494">1</cx:pt>
          <cx:pt idx="46495">1</cx:pt>
          <cx:pt idx="46496">0</cx:pt>
          <cx:pt idx="46497">0</cx:pt>
          <cx:pt idx="46498">0</cx:pt>
          <cx:pt idx="46499">0</cx:pt>
          <cx:pt idx="46500">1</cx:pt>
          <cx:pt idx="46501">0</cx:pt>
          <cx:pt idx="46502">1</cx:pt>
          <cx:pt idx="46503">0</cx:pt>
          <cx:pt idx="46504">0</cx:pt>
          <cx:pt idx="46505">1</cx:pt>
          <cx:pt idx="46506">0</cx:pt>
          <cx:pt idx="46507">0</cx:pt>
          <cx:pt idx="46508">0</cx:pt>
          <cx:pt idx="46509">1</cx:pt>
          <cx:pt idx="46510">0</cx:pt>
          <cx:pt idx="46511">0</cx:pt>
          <cx:pt idx="46512">0</cx:pt>
          <cx:pt idx="46513">1</cx:pt>
          <cx:pt idx="46514">0</cx:pt>
          <cx:pt idx="46515">1</cx:pt>
          <cx:pt idx="46516">0</cx:pt>
          <cx:pt idx="46517">0</cx:pt>
          <cx:pt idx="46518">0</cx:pt>
          <cx:pt idx="46519">0</cx:pt>
          <cx:pt idx="46520">0</cx:pt>
          <cx:pt idx="46521">0</cx:pt>
          <cx:pt idx="46522">1</cx:pt>
          <cx:pt idx="46523">0</cx:pt>
          <cx:pt idx="46524">1</cx:pt>
          <cx:pt idx="46525">0</cx:pt>
          <cx:pt idx="46526">0</cx:pt>
          <cx:pt idx="46527">0</cx:pt>
          <cx:pt idx="46528">1</cx:pt>
          <cx:pt idx="46529">0</cx:pt>
          <cx:pt idx="46530">1</cx:pt>
          <cx:pt idx="46531">1</cx:pt>
          <cx:pt idx="46532">1</cx:pt>
          <cx:pt idx="46533">0</cx:pt>
          <cx:pt idx="46534">0</cx:pt>
          <cx:pt idx="46535">1</cx:pt>
          <cx:pt idx="46536">0</cx:pt>
          <cx:pt idx="46537">0</cx:pt>
          <cx:pt idx="46538">0</cx:pt>
          <cx:pt idx="46539">1</cx:pt>
          <cx:pt idx="46540">1</cx:pt>
          <cx:pt idx="46541">0</cx:pt>
          <cx:pt idx="46542">0</cx:pt>
          <cx:pt idx="46543">1</cx:pt>
          <cx:pt idx="46544">1</cx:pt>
          <cx:pt idx="46545">0</cx:pt>
          <cx:pt idx="46546">0</cx:pt>
          <cx:pt idx="46547">1</cx:pt>
          <cx:pt idx="46548">1</cx:pt>
          <cx:pt idx="46549">0</cx:pt>
          <cx:pt idx="46550">0</cx:pt>
          <cx:pt idx="46551">1</cx:pt>
          <cx:pt idx="46552">0</cx:pt>
          <cx:pt idx="46553">1</cx:pt>
          <cx:pt idx="46554">0</cx:pt>
          <cx:pt idx="46555">0</cx:pt>
          <cx:pt idx="46556">0</cx:pt>
          <cx:pt idx="46557">0</cx:pt>
          <cx:pt idx="46558">0</cx:pt>
          <cx:pt idx="46559">1</cx:pt>
          <cx:pt idx="46560">0</cx:pt>
          <cx:pt idx="46561">0</cx:pt>
          <cx:pt idx="46562">1</cx:pt>
          <cx:pt idx="46563">0</cx:pt>
          <cx:pt idx="46564">1</cx:pt>
          <cx:pt idx="46565">0</cx:pt>
          <cx:pt idx="46566">0</cx:pt>
          <cx:pt idx="46567">0</cx:pt>
          <cx:pt idx="46568">1</cx:pt>
          <cx:pt idx="46569">0</cx:pt>
          <cx:pt idx="46570">0</cx:pt>
          <cx:pt idx="46571">1</cx:pt>
          <cx:pt idx="46572">0</cx:pt>
          <cx:pt idx="46573">1</cx:pt>
          <cx:pt idx="46574">0</cx:pt>
          <cx:pt idx="46575">0</cx:pt>
          <cx:pt idx="46576">1</cx:pt>
          <cx:pt idx="46577">1</cx:pt>
          <cx:pt idx="46578">1</cx:pt>
          <cx:pt idx="46579">1</cx:pt>
          <cx:pt idx="46580">0</cx:pt>
          <cx:pt idx="46581">0</cx:pt>
          <cx:pt idx="46582">1</cx:pt>
          <cx:pt idx="46583">0</cx:pt>
          <cx:pt idx="46584">0</cx:pt>
          <cx:pt idx="46585">1</cx:pt>
          <cx:pt idx="46586">0</cx:pt>
          <cx:pt idx="46587">0</cx:pt>
          <cx:pt idx="46588">1</cx:pt>
          <cx:pt idx="46589">1</cx:pt>
          <cx:pt idx="46590">0</cx:pt>
          <cx:pt idx="46591">1</cx:pt>
          <cx:pt idx="46592">0</cx:pt>
          <cx:pt idx="46593">0</cx:pt>
          <cx:pt idx="46594">1</cx:pt>
          <cx:pt idx="46595">0</cx:pt>
          <cx:pt idx="46596">0</cx:pt>
          <cx:pt idx="46597">1</cx:pt>
          <cx:pt idx="46598">1</cx:pt>
          <cx:pt idx="46599">1</cx:pt>
          <cx:pt idx="46600">0</cx:pt>
          <cx:pt idx="46601">1</cx:pt>
          <cx:pt idx="46602">0</cx:pt>
          <cx:pt idx="46603">1</cx:pt>
          <cx:pt idx="46604">0</cx:pt>
          <cx:pt idx="46605">0</cx:pt>
          <cx:pt idx="46606">1</cx:pt>
          <cx:pt idx="46607">1</cx:pt>
          <cx:pt idx="46608">0</cx:pt>
          <cx:pt idx="46609">0</cx:pt>
          <cx:pt idx="46610">1</cx:pt>
          <cx:pt idx="46611">0</cx:pt>
          <cx:pt idx="46612">0</cx:pt>
          <cx:pt idx="46613">0</cx:pt>
          <cx:pt idx="46614">0</cx:pt>
          <cx:pt idx="46615">0</cx:pt>
          <cx:pt idx="46616">0</cx:pt>
          <cx:pt idx="46617">0</cx:pt>
          <cx:pt idx="46618">1</cx:pt>
          <cx:pt idx="46619">0</cx:pt>
          <cx:pt idx="46620">0</cx:pt>
          <cx:pt idx="46621">0</cx:pt>
          <cx:pt idx="46622">0</cx:pt>
          <cx:pt idx="46623">0</cx:pt>
          <cx:pt idx="46624">1</cx:pt>
          <cx:pt idx="46625">0</cx:pt>
          <cx:pt idx="46626">1</cx:pt>
          <cx:pt idx="46627">1</cx:pt>
          <cx:pt idx="46628">1</cx:pt>
          <cx:pt idx="46629">0</cx:pt>
          <cx:pt idx="46630">0</cx:pt>
          <cx:pt idx="46631">0</cx:pt>
          <cx:pt idx="46632">0</cx:pt>
          <cx:pt idx="46633">1</cx:pt>
          <cx:pt idx="46634">0</cx:pt>
          <cx:pt idx="46635">0</cx:pt>
          <cx:pt idx="46636">0</cx:pt>
          <cx:pt idx="46637">1</cx:pt>
          <cx:pt idx="46638">0</cx:pt>
          <cx:pt idx="46639">1</cx:pt>
          <cx:pt idx="46640">0</cx:pt>
          <cx:pt idx="46641">0</cx:pt>
          <cx:pt idx="46642">1</cx:pt>
          <cx:pt idx="46643">1</cx:pt>
          <cx:pt idx="46644">0</cx:pt>
          <cx:pt idx="46645">0</cx:pt>
          <cx:pt idx="46646">1</cx:pt>
          <cx:pt idx="46647">0</cx:pt>
          <cx:pt idx="46648">0</cx:pt>
          <cx:pt idx="46649">0</cx:pt>
          <cx:pt idx="46650">1</cx:pt>
          <cx:pt idx="46651">0</cx:pt>
          <cx:pt idx="46652">1</cx:pt>
          <cx:pt idx="46653">0</cx:pt>
          <cx:pt idx="46654">0</cx:pt>
          <cx:pt idx="46655">1</cx:pt>
          <cx:pt idx="46656">0</cx:pt>
          <cx:pt idx="46657">0</cx:pt>
          <cx:pt idx="46658">0</cx:pt>
          <cx:pt idx="46659">0</cx:pt>
          <cx:pt idx="46660">0</cx:pt>
          <cx:pt idx="46661">0</cx:pt>
          <cx:pt idx="46662">1</cx:pt>
          <cx:pt idx="46663">0</cx:pt>
          <cx:pt idx="46664">0</cx:pt>
          <cx:pt idx="46665">0</cx:pt>
          <cx:pt idx="46666">1</cx:pt>
          <cx:pt idx="46667">1</cx:pt>
          <cx:pt idx="46668">0</cx:pt>
          <cx:pt idx="46669">1</cx:pt>
          <cx:pt idx="46670">0</cx:pt>
          <cx:pt idx="46671">0</cx:pt>
          <cx:pt idx="46672">1</cx:pt>
          <cx:pt idx="46673">0</cx:pt>
          <cx:pt idx="46674">0</cx:pt>
          <cx:pt idx="46675">1</cx:pt>
          <cx:pt idx="46676">1</cx:pt>
          <cx:pt idx="46677">1</cx:pt>
          <cx:pt idx="46678">0</cx:pt>
          <cx:pt idx="46679">0</cx:pt>
          <cx:pt idx="46680">0</cx:pt>
          <cx:pt idx="46681">0</cx:pt>
          <cx:pt idx="46682">1</cx:pt>
          <cx:pt idx="46683">0</cx:pt>
          <cx:pt idx="46684">0</cx:pt>
          <cx:pt idx="46685">1</cx:pt>
          <cx:pt idx="46686">0</cx:pt>
          <cx:pt idx="46687">1</cx:pt>
          <cx:pt idx="46688">0</cx:pt>
          <cx:pt idx="46689">0</cx:pt>
          <cx:pt idx="46690">0</cx:pt>
          <cx:pt idx="46691">0</cx:pt>
          <cx:pt idx="46692">0</cx:pt>
          <cx:pt idx="46693">0</cx:pt>
          <cx:pt idx="46694">1</cx:pt>
          <cx:pt idx="46695">1</cx:pt>
          <cx:pt idx="46696">1</cx:pt>
          <cx:pt idx="46697">0</cx:pt>
          <cx:pt idx="46698">0</cx:pt>
          <cx:pt idx="46699">0</cx:pt>
          <cx:pt idx="46700">1</cx:pt>
          <cx:pt idx="46701">0</cx:pt>
          <cx:pt idx="46702">0</cx:pt>
          <cx:pt idx="46703">1</cx:pt>
          <cx:pt idx="46704">1</cx:pt>
          <cx:pt idx="46705">0</cx:pt>
          <cx:pt idx="46706">1</cx:pt>
          <cx:pt idx="46707">0</cx:pt>
          <cx:pt idx="46708">0</cx:pt>
          <cx:pt idx="46709">0</cx:pt>
          <cx:pt idx="46710">0</cx:pt>
          <cx:pt idx="46711">1</cx:pt>
          <cx:pt idx="46712">1</cx:pt>
          <cx:pt idx="46713">1</cx:pt>
          <cx:pt idx="46714">1</cx:pt>
          <cx:pt idx="46715">0</cx:pt>
          <cx:pt idx="46716">1</cx:pt>
          <cx:pt idx="46717">1</cx:pt>
          <cx:pt idx="46718">1</cx:pt>
          <cx:pt idx="46719">0</cx:pt>
          <cx:pt idx="46720">1</cx:pt>
          <cx:pt idx="46721">0</cx:pt>
          <cx:pt idx="46722">0</cx:pt>
          <cx:pt idx="46723">0</cx:pt>
          <cx:pt idx="46724">1</cx:pt>
          <cx:pt idx="46725">0</cx:pt>
          <cx:pt idx="46726">0</cx:pt>
          <cx:pt idx="46727">1</cx:pt>
          <cx:pt idx="46728">1</cx:pt>
          <cx:pt idx="46729">1</cx:pt>
          <cx:pt idx="46730">1</cx:pt>
          <cx:pt idx="46731">1</cx:pt>
          <cx:pt idx="46732">0</cx:pt>
          <cx:pt idx="46733">0</cx:pt>
          <cx:pt idx="46734">0</cx:pt>
          <cx:pt idx="46735">0</cx:pt>
          <cx:pt idx="46736">1</cx:pt>
          <cx:pt idx="46737">1</cx:pt>
          <cx:pt idx="46738">1</cx:pt>
          <cx:pt idx="46739">0</cx:pt>
          <cx:pt idx="46740">0</cx:pt>
          <cx:pt idx="46741">0</cx:pt>
          <cx:pt idx="46742">0</cx:pt>
          <cx:pt idx="46743">0</cx:pt>
          <cx:pt idx="46744">1</cx:pt>
          <cx:pt idx="46745">0</cx:pt>
          <cx:pt idx="46746">1</cx:pt>
          <cx:pt idx="46747">0</cx:pt>
          <cx:pt idx="46748">0</cx:pt>
          <cx:pt idx="46749">0</cx:pt>
          <cx:pt idx="46750">1</cx:pt>
          <cx:pt idx="46751">1</cx:pt>
          <cx:pt idx="46752">1</cx:pt>
          <cx:pt idx="46753">1</cx:pt>
          <cx:pt idx="46754">0</cx:pt>
          <cx:pt idx="46755">0</cx:pt>
          <cx:pt idx="46756">0</cx:pt>
          <cx:pt idx="46757">0</cx:pt>
          <cx:pt idx="46758">1</cx:pt>
          <cx:pt idx="46759">0</cx:pt>
          <cx:pt idx="46760">0</cx:pt>
          <cx:pt idx="46761">0</cx:pt>
          <cx:pt idx="46762">0</cx:pt>
          <cx:pt idx="46763">0</cx:pt>
          <cx:pt idx="46764">1</cx:pt>
          <cx:pt idx="46765">0</cx:pt>
          <cx:pt idx="46766">1</cx:pt>
          <cx:pt idx="46767">1</cx:pt>
          <cx:pt idx="46768">0</cx:pt>
          <cx:pt idx="46769">0</cx:pt>
          <cx:pt idx="46770">0</cx:pt>
          <cx:pt idx="46771">1</cx:pt>
          <cx:pt idx="46772">0</cx:pt>
          <cx:pt idx="46773">0</cx:pt>
          <cx:pt idx="46774">1</cx:pt>
          <cx:pt idx="46775">0</cx:pt>
          <cx:pt idx="46776">0</cx:pt>
          <cx:pt idx="46777">1</cx:pt>
          <cx:pt idx="46778">0</cx:pt>
          <cx:pt idx="46779">1</cx:pt>
          <cx:pt idx="46780">1</cx:pt>
          <cx:pt idx="46781">0</cx:pt>
          <cx:pt idx="46782">1</cx:pt>
          <cx:pt idx="46783">1</cx:pt>
          <cx:pt idx="46784">0</cx:pt>
          <cx:pt idx="46785">1</cx:pt>
          <cx:pt idx="46786">0</cx:pt>
          <cx:pt idx="46787">0</cx:pt>
          <cx:pt idx="46788">0</cx:pt>
          <cx:pt idx="46789">1</cx:pt>
          <cx:pt idx="46790">0</cx:pt>
          <cx:pt idx="46791">1</cx:pt>
          <cx:pt idx="46792">1</cx:pt>
          <cx:pt idx="46793">0</cx:pt>
          <cx:pt idx="46794">1</cx:pt>
          <cx:pt idx="46795">0</cx:pt>
          <cx:pt idx="46796">0</cx:pt>
          <cx:pt idx="46797">0</cx:pt>
          <cx:pt idx="46798">0</cx:pt>
          <cx:pt idx="46799">0</cx:pt>
          <cx:pt idx="46800">0</cx:pt>
          <cx:pt idx="46801">1</cx:pt>
          <cx:pt idx="46802">1</cx:pt>
          <cx:pt idx="46803">0</cx:pt>
          <cx:pt idx="46804">0</cx:pt>
          <cx:pt idx="46805">0</cx:pt>
          <cx:pt idx="46806">1</cx:pt>
          <cx:pt idx="46807">1</cx:pt>
          <cx:pt idx="46808">1</cx:pt>
          <cx:pt idx="46809">0</cx:pt>
          <cx:pt idx="46810">0</cx:pt>
          <cx:pt idx="46811">1</cx:pt>
          <cx:pt idx="46812">1</cx:pt>
          <cx:pt idx="46813">1</cx:pt>
          <cx:pt idx="46814">0</cx:pt>
          <cx:pt idx="46815">0</cx:pt>
          <cx:pt idx="46816">0</cx:pt>
          <cx:pt idx="46817">0</cx:pt>
          <cx:pt idx="46818">1</cx:pt>
          <cx:pt idx="46819">1</cx:pt>
          <cx:pt idx="46820">0</cx:pt>
          <cx:pt idx="46821">1</cx:pt>
          <cx:pt idx="46822">0</cx:pt>
          <cx:pt idx="46823">0</cx:pt>
          <cx:pt idx="46824">0</cx:pt>
          <cx:pt idx="46825">1</cx:pt>
          <cx:pt idx="46826">1</cx:pt>
          <cx:pt idx="46827">0</cx:pt>
          <cx:pt idx="46828">1</cx:pt>
          <cx:pt idx="46829">0</cx:pt>
          <cx:pt idx="46830">1</cx:pt>
          <cx:pt idx="46831">0</cx:pt>
          <cx:pt idx="46832">0</cx:pt>
          <cx:pt idx="46833">0</cx:pt>
          <cx:pt idx="46834">0</cx:pt>
          <cx:pt idx="46835">1</cx:pt>
          <cx:pt idx="46836">1</cx:pt>
          <cx:pt idx="46837">0</cx:pt>
          <cx:pt idx="46838">1</cx:pt>
          <cx:pt idx="46839">0</cx:pt>
          <cx:pt idx="46840">1</cx:pt>
          <cx:pt idx="46841">1</cx:pt>
          <cx:pt idx="46842">0</cx:pt>
          <cx:pt idx="46843">0</cx:pt>
          <cx:pt idx="46844">1</cx:pt>
          <cx:pt idx="46845">1</cx:pt>
          <cx:pt idx="46846">1</cx:pt>
          <cx:pt idx="46847">0</cx:pt>
          <cx:pt idx="46848">1</cx:pt>
          <cx:pt idx="46849">0</cx:pt>
          <cx:pt idx="46850">0</cx:pt>
          <cx:pt idx="46851">0</cx:pt>
          <cx:pt idx="46852">1</cx:pt>
          <cx:pt idx="46853">0</cx:pt>
          <cx:pt idx="46854">0</cx:pt>
          <cx:pt idx="46855">0</cx:pt>
          <cx:pt idx="46856">0</cx:pt>
          <cx:pt idx="46857">1</cx:pt>
          <cx:pt idx="46858">1</cx:pt>
          <cx:pt idx="46859">0</cx:pt>
          <cx:pt idx="46860">0</cx:pt>
          <cx:pt idx="46861">1</cx:pt>
          <cx:pt idx="46862">0</cx:pt>
          <cx:pt idx="46863">0</cx:pt>
          <cx:pt idx="46864">1</cx:pt>
          <cx:pt idx="46865">0</cx:pt>
          <cx:pt idx="46866">1</cx:pt>
          <cx:pt idx="46867">1</cx:pt>
          <cx:pt idx="46868">0</cx:pt>
          <cx:pt idx="46869">1</cx:pt>
          <cx:pt idx="46870">1</cx:pt>
          <cx:pt idx="46871">1</cx:pt>
          <cx:pt idx="46872">1</cx:pt>
          <cx:pt idx="46873">0</cx:pt>
          <cx:pt idx="46874">1</cx:pt>
          <cx:pt idx="46875">1</cx:pt>
          <cx:pt idx="46876">0</cx:pt>
          <cx:pt idx="46877">0</cx:pt>
          <cx:pt idx="46878">1</cx:pt>
          <cx:pt idx="46879">0</cx:pt>
          <cx:pt idx="46880">0</cx:pt>
          <cx:pt idx="46881">1</cx:pt>
          <cx:pt idx="46882">0</cx:pt>
          <cx:pt idx="46883">1</cx:pt>
          <cx:pt idx="46884">1</cx:pt>
          <cx:pt idx="46885">1</cx:pt>
          <cx:pt idx="46886">0</cx:pt>
          <cx:pt idx="46887">0</cx:pt>
          <cx:pt idx="46888">1</cx:pt>
          <cx:pt idx="46889">0</cx:pt>
          <cx:pt idx="46890">1</cx:pt>
          <cx:pt idx="46891">0</cx:pt>
          <cx:pt idx="46892">0</cx:pt>
          <cx:pt idx="46893">1</cx:pt>
          <cx:pt idx="46894">1</cx:pt>
          <cx:pt idx="46895">0</cx:pt>
          <cx:pt idx="46896">1</cx:pt>
          <cx:pt idx="46897">1</cx:pt>
          <cx:pt idx="46898">0</cx:pt>
          <cx:pt idx="46899">0</cx:pt>
          <cx:pt idx="46900">0</cx:pt>
          <cx:pt idx="46901">0</cx:pt>
          <cx:pt idx="46902">1</cx:pt>
          <cx:pt idx="46903">1</cx:pt>
          <cx:pt idx="46904">1</cx:pt>
          <cx:pt idx="46905">1</cx:pt>
          <cx:pt idx="46906">0</cx:pt>
          <cx:pt idx="46907">0</cx:pt>
          <cx:pt idx="46908">1</cx:pt>
          <cx:pt idx="46909">0</cx:pt>
          <cx:pt idx="46910">1</cx:pt>
          <cx:pt idx="46911">1</cx:pt>
          <cx:pt idx="46912">1</cx:pt>
          <cx:pt idx="46913">1</cx:pt>
          <cx:pt idx="46914">1</cx:pt>
          <cx:pt idx="46915">1</cx:pt>
          <cx:pt idx="46916">0</cx:pt>
          <cx:pt idx="46917">1</cx:pt>
          <cx:pt idx="46918">0</cx:pt>
          <cx:pt idx="46919">0</cx:pt>
          <cx:pt idx="46920">1</cx:pt>
          <cx:pt idx="46921">0</cx:pt>
          <cx:pt idx="46922">0</cx:pt>
          <cx:pt idx="46923">0</cx:pt>
          <cx:pt idx="46924">0</cx:pt>
          <cx:pt idx="46925">1</cx:pt>
          <cx:pt idx="46926">0</cx:pt>
          <cx:pt idx="46927">1</cx:pt>
          <cx:pt idx="46928">0</cx:pt>
          <cx:pt idx="46929">1</cx:pt>
          <cx:pt idx="46930">1</cx:pt>
          <cx:pt idx="46931">1</cx:pt>
          <cx:pt idx="46932">1</cx:pt>
          <cx:pt idx="46933">0</cx:pt>
          <cx:pt idx="46934">0</cx:pt>
          <cx:pt idx="46935">0</cx:pt>
          <cx:pt idx="46936">0</cx:pt>
          <cx:pt idx="46937">0</cx:pt>
          <cx:pt idx="46938">1</cx:pt>
          <cx:pt idx="46939">1</cx:pt>
          <cx:pt idx="46940">0</cx:pt>
          <cx:pt idx="46941">0</cx:pt>
          <cx:pt idx="46942">0</cx:pt>
          <cx:pt idx="46943">0</cx:pt>
          <cx:pt idx="46944">1</cx:pt>
          <cx:pt idx="46945">0</cx:pt>
          <cx:pt idx="46946">0</cx:pt>
          <cx:pt idx="46947">0</cx:pt>
          <cx:pt idx="46948">0</cx:pt>
          <cx:pt idx="46949">1</cx:pt>
          <cx:pt idx="46950">0</cx:pt>
          <cx:pt idx="46951">0</cx:pt>
          <cx:pt idx="46952">0</cx:pt>
          <cx:pt idx="46953">1</cx:pt>
          <cx:pt idx="46954">0</cx:pt>
          <cx:pt idx="46955">0</cx:pt>
          <cx:pt idx="46956">1</cx:pt>
          <cx:pt idx="46957">0</cx:pt>
          <cx:pt idx="46958">0</cx:pt>
          <cx:pt idx="46959">1</cx:pt>
          <cx:pt idx="46960">1</cx:pt>
          <cx:pt idx="46961">0</cx:pt>
          <cx:pt idx="46962">0</cx:pt>
          <cx:pt idx="46963">0</cx:pt>
          <cx:pt idx="46964">0</cx:pt>
          <cx:pt idx="46965">1</cx:pt>
          <cx:pt idx="46966">1</cx:pt>
          <cx:pt idx="46967">0</cx:pt>
          <cx:pt idx="46968">1</cx:pt>
          <cx:pt idx="46969">0</cx:pt>
          <cx:pt idx="46970">0</cx:pt>
          <cx:pt idx="46971">0</cx:pt>
          <cx:pt idx="46972">0</cx:pt>
          <cx:pt idx="46973">0</cx:pt>
          <cx:pt idx="46974">1</cx:pt>
          <cx:pt idx="46975">0</cx:pt>
          <cx:pt idx="46976">1</cx:pt>
          <cx:pt idx="46977">0</cx:pt>
          <cx:pt idx="46978">0</cx:pt>
          <cx:pt idx="46979">0</cx:pt>
          <cx:pt idx="46980">0</cx:pt>
          <cx:pt idx="46981">0</cx:pt>
          <cx:pt idx="46982">0</cx:pt>
          <cx:pt idx="46983">0</cx:pt>
          <cx:pt idx="46984">0</cx:pt>
          <cx:pt idx="46985">0</cx:pt>
          <cx:pt idx="46986">0</cx:pt>
          <cx:pt idx="46987">1</cx:pt>
          <cx:pt idx="46988">1</cx:pt>
          <cx:pt idx="46989">0</cx:pt>
          <cx:pt idx="46990">0</cx:pt>
          <cx:pt idx="46991">0</cx:pt>
          <cx:pt idx="46992">0</cx:pt>
          <cx:pt idx="46993">0</cx:pt>
          <cx:pt idx="46994">0</cx:pt>
          <cx:pt idx="46995">0</cx:pt>
          <cx:pt idx="46996">0</cx:pt>
          <cx:pt idx="46997">1</cx:pt>
          <cx:pt idx="46998">0</cx:pt>
          <cx:pt idx="46999">1</cx:pt>
          <cx:pt idx="47000">1</cx:pt>
          <cx:pt idx="47001">1</cx:pt>
          <cx:pt idx="47002">0</cx:pt>
          <cx:pt idx="47003">1</cx:pt>
          <cx:pt idx="47004">1</cx:pt>
          <cx:pt idx="47005">0</cx:pt>
          <cx:pt idx="47006">1</cx:pt>
          <cx:pt idx="47007">0</cx:pt>
          <cx:pt idx="47008">0</cx:pt>
          <cx:pt idx="47009">0</cx:pt>
          <cx:pt idx="47010">0</cx:pt>
          <cx:pt idx="47011">0</cx:pt>
          <cx:pt idx="47012">1</cx:pt>
          <cx:pt idx="47013">0</cx:pt>
          <cx:pt idx="47014">0</cx:pt>
          <cx:pt idx="47015">0</cx:pt>
          <cx:pt idx="47016">0</cx:pt>
          <cx:pt idx="47017">1</cx:pt>
          <cx:pt idx="47018">0</cx:pt>
          <cx:pt idx="47019">0</cx:pt>
          <cx:pt idx="47020">0</cx:pt>
          <cx:pt idx="47021">0</cx:pt>
          <cx:pt idx="47022">0</cx:pt>
          <cx:pt idx="47023">0</cx:pt>
          <cx:pt idx="47024">0</cx:pt>
          <cx:pt idx="47025">0</cx:pt>
          <cx:pt idx="47026">1</cx:pt>
          <cx:pt idx="47027">0</cx:pt>
          <cx:pt idx="47028">0</cx:pt>
          <cx:pt idx="47029">0</cx:pt>
          <cx:pt idx="47030">0</cx:pt>
          <cx:pt idx="47031">1</cx:pt>
          <cx:pt idx="47032">0</cx:pt>
          <cx:pt idx="47033">0</cx:pt>
          <cx:pt idx="47034">1</cx:pt>
          <cx:pt idx="47035">0</cx:pt>
          <cx:pt idx="47036">0</cx:pt>
          <cx:pt idx="47037">0</cx:pt>
          <cx:pt idx="47038">0</cx:pt>
          <cx:pt idx="47039">0</cx:pt>
          <cx:pt idx="47040">1</cx:pt>
          <cx:pt idx="47041">0</cx:pt>
          <cx:pt idx="47042">0</cx:pt>
          <cx:pt idx="47043">0</cx:pt>
          <cx:pt idx="47044">0</cx:pt>
          <cx:pt idx="47045">0</cx:pt>
          <cx:pt idx="47046">0</cx:pt>
          <cx:pt idx="47047">0</cx:pt>
          <cx:pt idx="47048">0</cx:pt>
          <cx:pt idx="47049">0</cx:pt>
          <cx:pt idx="47050">0</cx:pt>
          <cx:pt idx="47051">0</cx:pt>
          <cx:pt idx="47052">1</cx:pt>
          <cx:pt idx="47053">0</cx:pt>
          <cx:pt idx="47054">0</cx:pt>
          <cx:pt idx="47055">0</cx:pt>
          <cx:pt idx="47056">0</cx:pt>
          <cx:pt idx="47057">1</cx:pt>
          <cx:pt idx="47058">0</cx:pt>
          <cx:pt idx="47059">0</cx:pt>
          <cx:pt idx="47060">0</cx:pt>
          <cx:pt idx="47061">1</cx:pt>
          <cx:pt idx="47062">0</cx:pt>
          <cx:pt idx="47063">0</cx:pt>
          <cx:pt idx="47064">1</cx:pt>
          <cx:pt idx="47065">1</cx:pt>
          <cx:pt idx="47066">1</cx:pt>
          <cx:pt idx="47067">0</cx:pt>
          <cx:pt idx="47068">1</cx:pt>
          <cx:pt idx="47069">0</cx:pt>
          <cx:pt idx="47070">0</cx:pt>
          <cx:pt idx="47071">0</cx:pt>
          <cx:pt idx="47072">1</cx:pt>
          <cx:pt idx="47073">1</cx:pt>
          <cx:pt idx="47074">0</cx:pt>
          <cx:pt idx="47075">0</cx:pt>
          <cx:pt idx="47076">1</cx:pt>
          <cx:pt idx="47077">0</cx:pt>
          <cx:pt idx="47078">0</cx:pt>
          <cx:pt idx="47079">0</cx:pt>
          <cx:pt idx="47080">1</cx:pt>
          <cx:pt idx="47081">1</cx:pt>
          <cx:pt idx="47082">0</cx:pt>
          <cx:pt idx="47083">1</cx:pt>
          <cx:pt idx="47084">0</cx:pt>
          <cx:pt idx="47085">0</cx:pt>
          <cx:pt idx="47086">0</cx:pt>
          <cx:pt idx="47087">1</cx:pt>
          <cx:pt idx="47088">0</cx:pt>
          <cx:pt idx="47089">1</cx:pt>
          <cx:pt idx="47090">0</cx:pt>
          <cx:pt idx="47091">0</cx:pt>
          <cx:pt idx="47092">0</cx:pt>
          <cx:pt idx="47093">1</cx:pt>
          <cx:pt idx="47094">1</cx:pt>
          <cx:pt idx="47095">0</cx:pt>
          <cx:pt idx="47096">0</cx:pt>
          <cx:pt idx="47097">1</cx:pt>
          <cx:pt idx="47098">0</cx:pt>
          <cx:pt idx="47099">1</cx:pt>
          <cx:pt idx="47100">0</cx:pt>
          <cx:pt idx="47101">0</cx:pt>
          <cx:pt idx="47102">0</cx:pt>
          <cx:pt idx="47103">0</cx:pt>
          <cx:pt idx="47104">1</cx:pt>
          <cx:pt idx="47105">0</cx:pt>
          <cx:pt idx="47106">1</cx:pt>
          <cx:pt idx="47107">1</cx:pt>
          <cx:pt idx="47108">1</cx:pt>
          <cx:pt idx="47109">0</cx:pt>
          <cx:pt idx="47110">1</cx:pt>
          <cx:pt idx="47111">0</cx:pt>
          <cx:pt idx="47112">0</cx:pt>
          <cx:pt idx="47113">1</cx:pt>
          <cx:pt idx="47114">1</cx:pt>
          <cx:pt idx="47115">1</cx:pt>
          <cx:pt idx="47116">1</cx:pt>
          <cx:pt idx="47117">0</cx:pt>
          <cx:pt idx="47118">0</cx:pt>
          <cx:pt idx="47119">0</cx:pt>
          <cx:pt idx="47120">0</cx:pt>
          <cx:pt idx="47121">1</cx:pt>
          <cx:pt idx="47122">1</cx:pt>
          <cx:pt idx="47123">0</cx:pt>
          <cx:pt idx="47124">1</cx:pt>
          <cx:pt idx="47125">0</cx:pt>
          <cx:pt idx="47126">0</cx:pt>
          <cx:pt idx="47127">0</cx:pt>
          <cx:pt idx="47128">0</cx:pt>
          <cx:pt idx="47129">1</cx:pt>
          <cx:pt idx="47130">1</cx:pt>
          <cx:pt idx="47131">0</cx:pt>
          <cx:pt idx="47132">1</cx:pt>
          <cx:pt idx="47133">1</cx:pt>
          <cx:pt idx="47134">1</cx:pt>
          <cx:pt idx="47135">1</cx:pt>
          <cx:pt idx="47136">0</cx:pt>
          <cx:pt idx="47137">1</cx:pt>
          <cx:pt idx="47138">1</cx:pt>
          <cx:pt idx="47139">0</cx:pt>
          <cx:pt idx="47140">1</cx:pt>
          <cx:pt idx="47141">0</cx:pt>
          <cx:pt idx="47142">0</cx:pt>
          <cx:pt idx="47143">1</cx:pt>
          <cx:pt idx="47144">1</cx:pt>
          <cx:pt idx="47145">0</cx:pt>
          <cx:pt idx="47146">1</cx:pt>
          <cx:pt idx="47147">0</cx:pt>
          <cx:pt idx="47148">1</cx:pt>
          <cx:pt idx="47149">0</cx:pt>
          <cx:pt idx="47150">1</cx:pt>
          <cx:pt idx="47151">1</cx:pt>
          <cx:pt idx="47152">0</cx:pt>
          <cx:pt idx="47153">0</cx:pt>
          <cx:pt idx="47154">1</cx:pt>
          <cx:pt idx="47155">0</cx:pt>
          <cx:pt idx="47156">1</cx:pt>
          <cx:pt idx="47157">0</cx:pt>
          <cx:pt idx="47158">1</cx:pt>
          <cx:pt idx="47159">1</cx:pt>
          <cx:pt idx="47160">0</cx:pt>
          <cx:pt idx="47161">0</cx:pt>
          <cx:pt idx="47162">0</cx:pt>
          <cx:pt idx="47163">0</cx:pt>
          <cx:pt idx="47164">1</cx:pt>
          <cx:pt idx="47165">0</cx:pt>
          <cx:pt idx="47166">0</cx:pt>
          <cx:pt idx="47167">1</cx:pt>
          <cx:pt idx="47168">1</cx:pt>
          <cx:pt idx="47169">1</cx:pt>
          <cx:pt idx="47170">0</cx:pt>
          <cx:pt idx="47171">0</cx:pt>
          <cx:pt idx="47172">0</cx:pt>
          <cx:pt idx="47173">0</cx:pt>
          <cx:pt idx="47174">0</cx:pt>
          <cx:pt idx="47175">0</cx:pt>
          <cx:pt idx="47176">0</cx:pt>
          <cx:pt idx="47177">0</cx:pt>
          <cx:pt idx="47178">1</cx:pt>
          <cx:pt idx="47179">1</cx:pt>
          <cx:pt idx="47180">0</cx:pt>
          <cx:pt idx="47181">0</cx:pt>
          <cx:pt idx="47182">0</cx:pt>
          <cx:pt idx="47183">1</cx:pt>
          <cx:pt idx="47184">1</cx:pt>
          <cx:pt idx="47185">1</cx:pt>
          <cx:pt idx="47186">0</cx:pt>
          <cx:pt idx="47187">1</cx:pt>
          <cx:pt idx="47188">1</cx:pt>
          <cx:pt idx="47189">1</cx:pt>
          <cx:pt idx="47190">1</cx:pt>
          <cx:pt idx="47191">0</cx:pt>
          <cx:pt idx="47192">1</cx:pt>
          <cx:pt idx="47193">0</cx:pt>
          <cx:pt idx="47194">1</cx:pt>
          <cx:pt idx="47195">1</cx:pt>
          <cx:pt idx="47196">0</cx:pt>
          <cx:pt idx="47197">1</cx:pt>
          <cx:pt idx="47198">1</cx:pt>
          <cx:pt idx="47199">1</cx:pt>
          <cx:pt idx="47200">0</cx:pt>
          <cx:pt idx="47201">1</cx:pt>
          <cx:pt idx="47202">0</cx:pt>
          <cx:pt idx="47203">0</cx:pt>
          <cx:pt idx="47204">0</cx:pt>
          <cx:pt idx="47205">0</cx:pt>
          <cx:pt idx="47206">1</cx:pt>
          <cx:pt idx="47207">1</cx:pt>
          <cx:pt idx="47208">0</cx:pt>
          <cx:pt idx="47209">0</cx:pt>
          <cx:pt idx="47210">1</cx:pt>
          <cx:pt idx="47211">0</cx:pt>
          <cx:pt idx="47212">0</cx:pt>
          <cx:pt idx="47213">0</cx:pt>
          <cx:pt idx="47214">1</cx:pt>
          <cx:pt idx="47215">0</cx:pt>
          <cx:pt idx="47216">0</cx:pt>
          <cx:pt idx="47217">1</cx:pt>
          <cx:pt idx="47218">0</cx:pt>
          <cx:pt idx="47219">0</cx:pt>
          <cx:pt idx="47220">0</cx:pt>
          <cx:pt idx="47221">0</cx:pt>
          <cx:pt idx="47222">1</cx:pt>
          <cx:pt idx="47223">0</cx:pt>
          <cx:pt idx="47224">1</cx:pt>
          <cx:pt idx="47225">1</cx:pt>
          <cx:pt idx="47226">1</cx:pt>
          <cx:pt idx="47227">0</cx:pt>
          <cx:pt idx="47228">0</cx:pt>
          <cx:pt idx="47229">1</cx:pt>
          <cx:pt idx="47230">0</cx:pt>
          <cx:pt idx="47231">0</cx:pt>
          <cx:pt idx="47232">0</cx:pt>
          <cx:pt idx="47233">1</cx:pt>
          <cx:pt idx="47234">1</cx:pt>
          <cx:pt idx="47235">0</cx:pt>
          <cx:pt idx="47236">0</cx:pt>
          <cx:pt idx="47237">0</cx:pt>
          <cx:pt idx="47238">1</cx:pt>
          <cx:pt idx="47239">0</cx:pt>
          <cx:pt idx="47240">0</cx:pt>
          <cx:pt idx="47241">1</cx:pt>
          <cx:pt idx="47242">0</cx:pt>
          <cx:pt idx="47243">0</cx:pt>
          <cx:pt idx="47244">1</cx:pt>
          <cx:pt idx="47245">0</cx:pt>
          <cx:pt idx="47246">0</cx:pt>
          <cx:pt idx="47247">0</cx:pt>
          <cx:pt idx="47248">0</cx:pt>
          <cx:pt idx="47249">1</cx:pt>
          <cx:pt idx="47250">1</cx:pt>
          <cx:pt idx="47251">1</cx:pt>
          <cx:pt idx="47252">0</cx:pt>
          <cx:pt idx="47253">0</cx:pt>
          <cx:pt idx="47254">1</cx:pt>
          <cx:pt idx="47255">1</cx:pt>
          <cx:pt idx="47256">0</cx:pt>
          <cx:pt idx="47257">0</cx:pt>
          <cx:pt idx="47258">1</cx:pt>
          <cx:pt idx="47259">1</cx:pt>
          <cx:pt idx="47260">0</cx:pt>
          <cx:pt idx="47261">0</cx:pt>
          <cx:pt idx="47262">0</cx:pt>
          <cx:pt idx="47263">0</cx:pt>
          <cx:pt idx="47264">0</cx:pt>
          <cx:pt idx="47265">0</cx:pt>
          <cx:pt idx="47266">0</cx:pt>
          <cx:pt idx="47267">1</cx:pt>
          <cx:pt idx="47268">0</cx:pt>
          <cx:pt idx="47269">0</cx:pt>
          <cx:pt idx="47270">0</cx:pt>
          <cx:pt idx="47271">1</cx:pt>
          <cx:pt idx="47272">0</cx:pt>
          <cx:pt idx="47273">1</cx:pt>
          <cx:pt idx="47274">0</cx:pt>
          <cx:pt idx="47275">1</cx:pt>
          <cx:pt idx="47276">0</cx:pt>
          <cx:pt idx="47277">0</cx:pt>
          <cx:pt idx="47278">1</cx:pt>
          <cx:pt idx="47279">0</cx:pt>
          <cx:pt idx="47280">1</cx:pt>
          <cx:pt idx="47281">0</cx:pt>
          <cx:pt idx="47282">1</cx:pt>
          <cx:pt idx="47283">1</cx:pt>
          <cx:pt idx="47284">0</cx:pt>
          <cx:pt idx="47285">0</cx:pt>
          <cx:pt idx="47286">0</cx:pt>
          <cx:pt idx="47287">0</cx:pt>
          <cx:pt idx="47288">0</cx:pt>
          <cx:pt idx="47289">0</cx:pt>
          <cx:pt idx="47290">1</cx:pt>
          <cx:pt idx="47291">0</cx:pt>
          <cx:pt idx="47292">0</cx:pt>
          <cx:pt idx="47293">1</cx:pt>
          <cx:pt idx="47294">1</cx:pt>
          <cx:pt idx="47295">1</cx:pt>
          <cx:pt idx="47296">1</cx:pt>
          <cx:pt idx="47297">1</cx:pt>
          <cx:pt idx="47298">0</cx:pt>
          <cx:pt idx="47299">1</cx:pt>
          <cx:pt idx="47300">1</cx:pt>
          <cx:pt idx="47301">0</cx:pt>
          <cx:pt idx="47302">1</cx:pt>
          <cx:pt idx="47303">1</cx:pt>
          <cx:pt idx="47304">1</cx:pt>
          <cx:pt idx="47305">0</cx:pt>
          <cx:pt idx="47306">0</cx:pt>
          <cx:pt idx="47307">1</cx:pt>
          <cx:pt idx="47308">0</cx:pt>
          <cx:pt idx="47309">1</cx:pt>
          <cx:pt idx="47310">0</cx:pt>
          <cx:pt idx="47311">0</cx:pt>
          <cx:pt idx="47312">1</cx:pt>
          <cx:pt idx="47313">1</cx:pt>
          <cx:pt idx="47314">1</cx:pt>
          <cx:pt idx="47315">0</cx:pt>
          <cx:pt idx="47316">0</cx:pt>
          <cx:pt idx="47317">0</cx:pt>
          <cx:pt idx="47318">0</cx:pt>
          <cx:pt idx="47319">1</cx:pt>
          <cx:pt idx="47320">0</cx:pt>
          <cx:pt idx="47321">1</cx:pt>
          <cx:pt idx="47322">0</cx:pt>
          <cx:pt idx="47323">1</cx:pt>
          <cx:pt idx="47324">0</cx:pt>
          <cx:pt idx="47325">0</cx:pt>
          <cx:pt idx="47326">1</cx:pt>
          <cx:pt idx="47327">1</cx:pt>
          <cx:pt idx="47328">0</cx:pt>
          <cx:pt idx="47329">1</cx:pt>
          <cx:pt idx="47330">1</cx:pt>
          <cx:pt idx="47331">1</cx:pt>
          <cx:pt idx="47332">0</cx:pt>
          <cx:pt idx="47333">1</cx:pt>
          <cx:pt idx="47334">1</cx:pt>
          <cx:pt idx="47335">0</cx:pt>
          <cx:pt idx="47336">1</cx:pt>
          <cx:pt idx="47337">1</cx:pt>
          <cx:pt idx="47338">1</cx:pt>
          <cx:pt idx="47339">1</cx:pt>
          <cx:pt idx="47340">0</cx:pt>
          <cx:pt idx="47341">1</cx:pt>
          <cx:pt idx="47342">1</cx:pt>
          <cx:pt idx="47343">0</cx:pt>
          <cx:pt idx="47344">0</cx:pt>
          <cx:pt idx="47345">0</cx:pt>
          <cx:pt idx="47346">0</cx:pt>
          <cx:pt idx="47347">0</cx:pt>
          <cx:pt idx="47348">0</cx:pt>
          <cx:pt idx="47349">0</cx:pt>
          <cx:pt idx="47350">0</cx:pt>
          <cx:pt idx="47351">0</cx:pt>
          <cx:pt idx="47352">0</cx:pt>
          <cx:pt idx="47353">1</cx:pt>
          <cx:pt idx="47354">0</cx:pt>
          <cx:pt idx="47355">1</cx:pt>
          <cx:pt idx="47356">0</cx:pt>
          <cx:pt idx="47357">0</cx:pt>
          <cx:pt idx="47358">0</cx:pt>
          <cx:pt idx="47359">0</cx:pt>
          <cx:pt idx="47360">1</cx:pt>
          <cx:pt idx="47361">0</cx:pt>
          <cx:pt idx="47362">0</cx:pt>
          <cx:pt idx="47363">0</cx:pt>
          <cx:pt idx="47364">0</cx:pt>
          <cx:pt idx="47365">0</cx:pt>
          <cx:pt idx="47366">1</cx:pt>
          <cx:pt idx="47367">1</cx:pt>
          <cx:pt idx="47368">1</cx:pt>
          <cx:pt idx="47369">0</cx:pt>
          <cx:pt idx="47370">0</cx:pt>
          <cx:pt idx="47371">0</cx:pt>
          <cx:pt idx="47372">1</cx:pt>
          <cx:pt idx="47373">1</cx:pt>
          <cx:pt idx="47374">1</cx:pt>
          <cx:pt idx="47375">0</cx:pt>
          <cx:pt idx="47376">1</cx:pt>
          <cx:pt idx="47377">1</cx:pt>
          <cx:pt idx="47378">0</cx:pt>
          <cx:pt idx="47379">1</cx:pt>
          <cx:pt idx="47380">1</cx:pt>
          <cx:pt idx="47381">0</cx:pt>
          <cx:pt idx="47382">0</cx:pt>
          <cx:pt idx="47383">0</cx:pt>
          <cx:pt idx="47384">0</cx:pt>
          <cx:pt idx="47385">1</cx:pt>
          <cx:pt idx="47386">0</cx:pt>
          <cx:pt idx="47387">1</cx:pt>
          <cx:pt idx="47388">1</cx:pt>
          <cx:pt idx="47389">1</cx:pt>
          <cx:pt idx="47390">0</cx:pt>
          <cx:pt idx="47391">0</cx:pt>
          <cx:pt idx="47392">0</cx:pt>
          <cx:pt idx="47393">1</cx:pt>
          <cx:pt idx="47394">0</cx:pt>
          <cx:pt idx="47395">0</cx:pt>
          <cx:pt idx="47396">0</cx:pt>
          <cx:pt idx="47397">1</cx:pt>
          <cx:pt idx="47398">0</cx:pt>
          <cx:pt idx="47399">1</cx:pt>
          <cx:pt idx="47400">1</cx:pt>
          <cx:pt idx="47401">0</cx:pt>
          <cx:pt idx="47402">1</cx:pt>
          <cx:pt idx="47403">1</cx:pt>
          <cx:pt idx="47404">1</cx:pt>
          <cx:pt idx="47405">0</cx:pt>
          <cx:pt idx="47406">1</cx:pt>
          <cx:pt idx="47407">0</cx:pt>
          <cx:pt idx="47408">1</cx:pt>
          <cx:pt idx="47409">0</cx:pt>
          <cx:pt idx="47410">1</cx:pt>
          <cx:pt idx="47411">1</cx:pt>
          <cx:pt idx="47412">1</cx:pt>
          <cx:pt idx="47413">0</cx:pt>
          <cx:pt idx="47414">0</cx:pt>
          <cx:pt idx="47415">0</cx:pt>
          <cx:pt idx="47416">1</cx:pt>
          <cx:pt idx="47417">1</cx:pt>
          <cx:pt idx="47418">1</cx:pt>
          <cx:pt idx="47419">1</cx:pt>
          <cx:pt idx="47420">0</cx:pt>
          <cx:pt idx="47421">1</cx:pt>
          <cx:pt idx="47422">1</cx:pt>
          <cx:pt idx="47423">1</cx:pt>
          <cx:pt idx="47424">0</cx:pt>
          <cx:pt idx="47425">0</cx:pt>
          <cx:pt idx="47426">0</cx:pt>
          <cx:pt idx="47427">0</cx:pt>
          <cx:pt idx="47428">0</cx:pt>
          <cx:pt idx="47429">0</cx:pt>
          <cx:pt idx="47430">0</cx:pt>
          <cx:pt idx="47431">0</cx:pt>
          <cx:pt idx="47432">0</cx:pt>
          <cx:pt idx="47433">0</cx:pt>
          <cx:pt idx="47434">0</cx:pt>
          <cx:pt idx="47435">0</cx:pt>
          <cx:pt idx="47436">1</cx:pt>
          <cx:pt idx="47437">0</cx:pt>
          <cx:pt idx="47438">0</cx:pt>
          <cx:pt idx="47439">0</cx:pt>
          <cx:pt idx="47440">0</cx:pt>
          <cx:pt idx="47441">0</cx:pt>
          <cx:pt idx="47442">1</cx:pt>
          <cx:pt idx="47443">0</cx:pt>
          <cx:pt idx="47444">0</cx:pt>
          <cx:pt idx="47445">1</cx:pt>
          <cx:pt idx="47446">0</cx:pt>
          <cx:pt idx="47447">0</cx:pt>
          <cx:pt idx="47448">1</cx:pt>
          <cx:pt idx="47449">0</cx:pt>
          <cx:pt idx="47450">0</cx:pt>
          <cx:pt idx="47451">0</cx:pt>
          <cx:pt idx="47452">1</cx:pt>
          <cx:pt idx="47453">0</cx:pt>
          <cx:pt idx="47454">1</cx:pt>
          <cx:pt idx="47455">0</cx:pt>
          <cx:pt idx="47456">0</cx:pt>
          <cx:pt idx="47457">0</cx:pt>
          <cx:pt idx="47458">1</cx:pt>
          <cx:pt idx="47459">0</cx:pt>
          <cx:pt idx="47460">1</cx:pt>
          <cx:pt idx="47461">1</cx:pt>
          <cx:pt idx="47462">0</cx:pt>
          <cx:pt idx="47463">0</cx:pt>
          <cx:pt idx="47464">1</cx:pt>
          <cx:pt idx="47465">1</cx:pt>
          <cx:pt idx="47466">0</cx:pt>
          <cx:pt idx="47467">1</cx:pt>
          <cx:pt idx="47468">0</cx:pt>
          <cx:pt idx="47469">1</cx:pt>
          <cx:pt idx="47470">0</cx:pt>
          <cx:pt idx="47471">1</cx:pt>
          <cx:pt idx="47472">1</cx:pt>
          <cx:pt idx="47473">0</cx:pt>
          <cx:pt idx="47474">1</cx:pt>
          <cx:pt idx="47475">0</cx:pt>
          <cx:pt idx="47476">0</cx:pt>
          <cx:pt idx="47477">0</cx:pt>
          <cx:pt idx="47478">1</cx:pt>
          <cx:pt idx="47479">0</cx:pt>
          <cx:pt idx="47480">1</cx:pt>
          <cx:pt idx="47481">1</cx:pt>
          <cx:pt idx="47482">1</cx:pt>
          <cx:pt idx="47483">1</cx:pt>
          <cx:pt idx="47484">0</cx:pt>
          <cx:pt idx="47485">0</cx:pt>
          <cx:pt idx="47486">1</cx:pt>
          <cx:pt idx="47487">0</cx:pt>
          <cx:pt idx="47488">0</cx:pt>
          <cx:pt idx="47489">0</cx:pt>
          <cx:pt idx="47490">0</cx:pt>
          <cx:pt idx="47491">0</cx:pt>
          <cx:pt idx="47492">1</cx:pt>
          <cx:pt idx="47493">0</cx:pt>
          <cx:pt idx="47494">0</cx:pt>
          <cx:pt idx="47495">0</cx:pt>
          <cx:pt idx="47496">0</cx:pt>
          <cx:pt idx="47497">1</cx:pt>
          <cx:pt idx="47498">1</cx:pt>
          <cx:pt idx="47499">0</cx:pt>
          <cx:pt idx="47500">0</cx:pt>
          <cx:pt idx="47501">1</cx:pt>
          <cx:pt idx="47502">0</cx:pt>
          <cx:pt idx="47503">0</cx:pt>
          <cx:pt idx="47504">1</cx:pt>
          <cx:pt idx="47505">1</cx:pt>
          <cx:pt idx="47506">0</cx:pt>
          <cx:pt idx="47507">0</cx:pt>
          <cx:pt idx="47508">0</cx:pt>
          <cx:pt idx="47509">1</cx:pt>
          <cx:pt idx="47510">1</cx:pt>
          <cx:pt idx="47511">1</cx:pt>
          <cx:pt idx="47512">0</cx:pt>
          <cx:pt idx="47513">0</cx:pt>
          <cx:pt idx="47514">0</cx:pt>
          <cx:pt idx="47515">0</cx:pt>
          <cx:pt idx="47516">0</cx:pt>
          <cx:pt idx="47517">0</cx:pt>
          <cx:pt idx="47518">0</cx:pt>
          <cx:pt idx="47519">0</cx:pt>
          <cx:pt idx="47520">1</cx:pt>
          <cx:pt idx="47521">0</cx:pt>
          <cx:pt idx="47522">0</cx:pt>
          <cx:pt idx="47523">0</cx:pt>
          <cx:pt idx="47524">0</cx:pt>
          <cx:pt idx="47525">1</cx:pt>
          <cx:pt idx="47526">0</cx:pt>
          <cx:pt idx="47527">0</cx:pt>
          <cx:pt idx="47528">0</cx:pt>
          <cx:pt idx="47529">1</cx:pt>
          <cx:pt idx="47530">0</cx:pt>
          <cx:pt idx="47531">1</cx:pt>
          <cx:pt idx="47532">0</cx:pt>
          <cx:pt idx="47533">0</cx:pt>
          <cx:pt idx="47534">1</cx:pt>
          <cx:pt idx="47535">1</cx:pt>
          <cx:pt idx="47536">1</cx:pt>
          <cx:pt idx="47537">0</cx:pt>
          <cx:pt idx="47538">1</cx:pt>
          <cx:pt idx="47539">0</cx:pt>
          <cx:pt idx="47540">1</cx:pt>
          <cx:pt idx="47541">0</cx:pt>
          <cx:pt idx="47542">1</cx:pt>
          <cx:pt idx="47543">1</cx:pt>
          <cx:pt idx="47544">1</cx:pt>
          <cx:pt idx="47545">0</cx:pt>
          <cx:pt idx="47546">0</cx:pt>
          <cx:pt idx="47547">0</cx:pt>
          <cx:pt idx="47548">0</cx:pt>
          <cx:pt idx="47549">0</cx:pt>
          <cx:pt idx="47550">0</cx:pt>
          <cx:pt idx="47551">1</cx:pt>
          <cx:pt idx="47552">1</cx:pt>
          <cx:pt idx="47553">1</cx:pt>
          <cx:pt idx="47554">0</cx:pt>
          <cx:pt idx="47555">1</cx:pt>
          <cx:pt idx="47556">0</cx:pt>
          <cx:pt idx="47557">0</cx:pt>
          <cx:pt idx="47558">1</cx:pt>
          <cx:pt idx="47559">0</cx:pt>
          <cx:pt idx="47560">1</cx:pt>
          <cx:pt idx="47561">0</cx:pt>
          <cx:pt idx="47562">1</cx:pt>
          <cx:pt idx="47563">1</cx:pt>
          <cx:pt idx="47564">0</cx:pt>
          <cx:pt idx="47565">1</cx:pt>
          <cx:pt idx="47566">1</cx:pt>
          <cx:pt idx="47567">0</cx:pt>
          <cx:pt idx="47568">1</cx:pt>
          <cx:pt idx="47569">0</cx:pt>
          <cx:pt idx="47570">1</cx:pt>
          <cx:pt idx="47571">1</cx:pt>
          <cx:pt idx="47572">0</cx:pt>
          <cx:pt idx="47573">0</cx:pt>
          <cx:pt idx="47574">1</cx:pt>
          <cx:pt idx="47575">0</cx:pt>
          <cx:pt idx="47576">0</cx:pt>
          <cx:pt idx="47577">0</cx:pt>
          <cx:pt idx="47578">1</cx:pt>
          <cx:pt idx="47579">0</cx:pt>
          <cx:pt idx="47580">1</cx:pt>
          <cx:pt idx="47581">0</cx:pt>
          <cx:pt idx="47582">1</cx:pt>
          <cx:pt idx="47583">1</cx:pt>
          <cx:pt idx="47584">1</cx:pt>
          <cx:pt idx="47585">0</cx:pt>
          <cx:pt idx="47586">0</cx:pt>
          <cx:pt idx="47587">0</cx:pt>
          <cx:pt idx="47588">0</cx:pt>
          <cx:pt idx="47589">0</cx:pt>
          <cx:pt idx="47590">1</cx:pt>
          <cx:pt idx="47591">0</cx:pt>
          <cx:pt idx="47592">0</cx:pt>
          <cx:pt idx="47593">0</cx:pt>
          <cx:pt idx="47594">0</cx:pt>
          <cx:pt idx="47595">0</cx:pt>
          <cx:pt idx="47596">1</cx:pt>
          <cx:pt idx="47597">1</cx:pt>
          <cx:pt idx="47598">0</cx:pt>
          <cx:pt idx="47599">1</cx:pt>
          <cx:pt idx="47600">1</cx:pt>
          <cx:pt idx="47601">1</cx:pt>
          <cx:pt idx="47602">1</cx:pt>
          <cx:pt idx="47603">1</cx:pt>
          <cx:pt idx="47604">1</cx:pt>
          <cx:pt idx="47605">0</cx:pt>
          <cx:pt idx="47606">1</cx:pt>
          <cx:pt idx="47607">1</cx:pt>
          <cx:pt idx="47608">1</cx:pt>
          <cx:pt idx="47609">0</cx:pt>
          <cx:pt idx="47610">1</cx:pt>
          <cx:pt idx="47611">1</cx:pt>
          <cx:pt idx="47612">1</cx:pt>
          <cx:pt idx="47613">0</cx:pt>
          <cx:pt idx="47614">0</cx:pt>
          <cx:pt idx="47615">0</cx:pt>
          <cx:pt idx="47616">0</cx:pt>
          <cx:pt idx="47617">1</cx:pt>
          <cx:pt idx="47618">0</cx:pt>
          <cx:pt idx="47619">1</cx:pt>
          <cx:pt idx="47620">0</cx:pt>
          <cx:pt idx="47621">0</cx:pt>
          <cx:pt idx="47622">0</cx:pt>
          <cx:pt idx="47623">1</cx:pt>
          <cx:pt idx="47624">0</cx:pt>
          <cx:pt idx="47625">1</cx:pt>
          <cx:pt idx="47626">1</cx:pt>
          <cx:pt idx="47627">0</cx:pt>
          <cx:pt idx="47628">0</cx:pt>
          <cx:pt idx="47629">0</cx:pt>
          <cx:pt idx="47630">0</cx:pt>
          <cx:pt idx="47631">1</cx:pt>
          <cx:pt idx="47632">1</cx:pt>
          <cx:pt idx="47633">1</cx:pt>
          <cx:pt idx="47634">1</cx:pt>
          <cx:pt idx="47635">0</cx:pt>
          <cx:pt idx="47636">1</cx:pt>
          <cx:pt idx="47637">1</cx:pt>
          <cx:pt idx="47638">0</cx:pt>
          <cx:pt idx="47639">1</cx:pt>
          <cx:pt idx="47640">1</cx:pt>
          <cx:pt idx="47641">0</cx:pt>
          <cx:pt idx="47642">0</cx:pt>
          <cx:pt idx="47643">1</cx:pt>
          <cx:pt idx="47644">0</cx:pt>
          <cx:pt idx="47645">0</cx:pt>
          <cx:pt idx="47646">1</cx:pt>
          <cx:pt idx="47647">1</cx:pt>
          <cx:pt idx="47648">1</cx:pt>
          <cx:pt idx="47649">1</cx:pt>
          <cx:pt idx="47650">0</cx:pt>
          <cx:pt idx="47651">1</cx:pt>
          <cx:pt idx="47652">1</cx:pt>
          <cx:pt idx="47653">0</cx:pt>
          <cx:pt idx="47654">0</cx:pt>
          <cx:pt idx="47655">1</cx:pt>
          <cx:pt idx="47656">0</cx:pt>
          <cx:pt idx="47657">1</cx:pt>
          <cx:pt idx="47658">1</cx:pt>
          <cx:pt idx="47659">1</cx:pt>
          <cx:pt idx="47660">0</cx:pt>
          <cx:pt idx="47661">1</cx:pt>
          <cx:pt idx="47662">0</cx:pt>
          <cx:pt idx="47663">1</cx:pt>
          <cx:pt idx="47664">0</cx:pt>
          <cx:pt idx="47665">0</cx:pt>
          <cx:pt idx="47666">1</cx:pt>
          <cx:pt idx="47667">1</cx:pt>
          <cx:pt idx="47668">0</cx:pt>
          <cx:pt idx="47669">1</cx:pt>
          <cx:pt idx="47670">0</cx:pt>
          <cx:pt idx="47671">0</cx:pt>
          <cx:pt idx="47672">1</cx:pt>
          <cx:pt idx="47673">0</cx:pt>
          <cx:pt idx="47674">1</cx:pt>
          <cx:pt idx="47675">0</cx:pt>
          <cx:pt idx="47676">1</cx:pt>
          <cx:pt idx="47677">1</cx:pt>
          <cx:pt idx="47678">1</cx:pt>
          <cx:pt idx="47679">0</cx:pt>
          <cx:pt idx="47680">0</cx:pt>
          <cx:pt idx="47681">0</cx:pt>
          <cx:pt idx="47682">1</cx:pt>
          <cx:pt idx="47683">0</cx:pt>
          <cx:pt idx="47684">1</cx:pt>
          <cx:pt idx="47685">0</cx:pt>
          <cx:pt idx="47686">1</cx:pt>
          <cx:pt idx="47687">0</cx:pt>
          <cx:pt idx="47688">0</cx:pt>
          <cx:pt idx="47689">1</cx:pt>
          <cx:pt idx="47690">0</cx:pt>
          <cx:pt idx="47691">1</cx:pt>
          <cx:pt idx="47692">0</cx:pt>
          <cx:pt idx="47693">0</cx:pt>
          <cx:pt idx="47694">0</cx:pt>
          <cx:pt idx="47695">1</cx:pt>
          <cx:pt idx="47696">0</cx:pt>
          <cx:pt idx="47697">0</cx:pt>
          <cx:pt idx="47698">0</cx:pt>
          <cx:pt idx="47699">1</cx:pt>
          <cx:pt idx="47700">0</cx:pt>
          <cx:pt idx="47701">1</cx:pt>
          <cx:pt idx="47702">1</cx:pt>
          <cx:pt idx="47703">0</cx:pt>
          <cx:pt idx="47704">1</cx:pt>
          <cx:pt idx="47705">0</cx:pt>
          <cx:pt idx="47706">1</cx:pt>
          <cx:pt idx="47707">1</cx:pt>
          <cx:pt idx="47708">1</cx:pt>
          <cx:pt idx="47709">0</cx:pt>
          <cx:pt idx="47710">0</cx:pt>
          <cx:pt idx="47711">0</cx:pt>
          <cx:pt idx="47712">0</cx:pt>
          <cx:pt idx="47713">0</cx:pt>
          <cx:pt idx="47714">1</cx:pt>
          <cx:pt idx="47715">1</cx:pt>
          <cx:pt idx="47716">0</cx:pt>
          <cx:pt idx="47717">1</cx:pt>
          <cx:pt idx="47718">0</cx:pt>
          <cx:pt idx="47719">1</cx:pt>
          <cx:pt idx="47720">0</cx:pt>
          <cx:pt idx="47721">1</cx:pt>
          <cx:pt idx="47722">0</cx:pt>
          <cx:pt idx="47723">0</cx:pt>
          <cx:pt idx="47724">1</cx:pt>
          <cx:pt idx="47725">0</cx:pt>
          <cx:pt idx="47726">0</cx:pt>
          <cx:pt idx="47727">0</cx:pt>
          <cx:pt idx="47728">0</cx:pt>
          <cx:pt idx="47729">0</cx:pt>
          <cx:pt idx="47730">0</cx:pt>
          <cx:pt idx="47731">0</cx:pt>
          <cx:pt idx="47732">0</cx:pt>
          <cx:pt idx="47733">0</cx:pt>
          <cx:pt idx="47734">0</cx:pt>
          <cx:pt idx="47735">0</cx:pt>
          <cx:pt idx="47736">0</cx:pt>
          <cx:pt idx="47737">1</cx:pt>
          <cx:pt idx="47738">0</cx:pt>
          <cx:pt idx="47739">0</cx:pt>
          <cx:pt idx="47740">0</cx:pt>
          <cx:pt idx="47741">0</cx:pt>
          <cx:pt idx="47742">0</cx:pt>
          <cx:pt idx="47743">0</cx:pt>
          <cx:pt idx="47744">1</cx:pt>
          <cx:pt idx="47745">0</cx:pt>
          <cx:pt idx="47746">1</cx:pt>
          <cx:pt idx="47747">0</cx:pt>
          <cx:pt idx="47748">1</cx:pt>
          <cx:pt idx="47749">0</cx:pt>
          <cx:pt idx="47750">1</cx:pt>
          <cx:pt idx="47751">1</cx:pt>
          <cx:pt idx="47752">0</cx:pt>
          <cx:pt idx="47753">0</cx:pt>
          <cx:pt idx="47754">0</cx:pt>
          <cx:pt idx="47755">0</cx:pt>
          <cx:pt idx="47756">1</cx:pt>
          <cx:pt idx="47757">0</cx:pt>
          <cx:pt idx="47758">0</cx:pt>
          <cx:pt idx="47759">1</cx:pt>
          <cx:pt idx="47760">0</cx:pt>
          <cx:pt idx="47761">0</cx:pt>
          <cx:pt idx="47762">0</cx:pt>
          <cx:pt idx="47763">0</cx:pt>
          <cx:pt idx="47764">1</cx:pt>
          <cx:pt idx="47765">1</cx:pt>
          <cx:pt idx="47766">0</cx:pt>
          <cx:pt idx="47767">1</cx:pt>
          <cx:pt idx="47768">0</cx:pt>
          <cx:pt idx="47769">0</cx:pt>
          <cx:pt idx="47770">1</cx:pt>
          <cx:pt idx="47771">0</cx:pt>
          <cx:pt idx="47772">0</cx:pt>
          <cx:pt idx="47773">1</cx:pt>
          <cx:pt idx="47774">1</cx:pt>
          <cx:pt idx="47775">0</cx:pt>
          <cx:pt idx="47776">1</cx:pt>
          <cx:pt idx="47777">1</cx:pt>
          <cx:pt idx="47778">0</cx:pt>
          <cx:pt idx="47779">1</cx:pt>
          <cx:pt idx="47780">0</cx:pt>
          <cx:pt idx="47781">0</cx:pt>
          <cx:pt idx="47782">0</cx:pt>
          <cx:pt idx="47783">0</cx:pt>
          <cx:pt idx="47784">0</cx:pt>
          <cx:pt idx="47785">0</cx:pt>
          <cx:pt idx="47786">1</cx:pt>
          <cx:pt idx="47787">1</cx:pt>
          <cx:pt idx="47788">1</cx:pt>
          <cx:pt idx="47789">1</cx:pt>
          <cx:pt idx="47790">0</cx:pt>
          <cx:pt idx="47791">1</cx:pt>
          <cx:pt idx="47792">1</cx:pt>
          <cx:pt idx="47793">0</cx:pt>
          <cx:pt idx="47794">1</cx:pt>
          <cx:pt idx="47795">0</cx:pt>
          <cx:pt idx="47796">0</cx:pt>
          <cx:pt idx="47797">0</cx:pt>
          <cx:pt idx="47798">1</cx:pt>
          <cx:pt idx="47799">1</cx:pt>
          <cx:pt idx="47800">0</cx:pt>
          <cx:pt idx="47801">1</cx:pt>
          <cx:pt idx="47802">0</cx:pt>
          <cx:pt idx="47803">1</cx:pt>
          <cx:pt idx="47804">1</cx:pt>
          <cx:pt idx="47805">1</cx:pt>
          <cx:pt idx="47806">1</cx:pt>
          <cx:pt idx="47807">1</cx:pt>
          <cx:pt idx="47808">0</cx:pt>
          <cx:pt idx="47809">1</cx:pt>
          <cx:pt idx="47810">0</cx:pt>
          <cx:pt idx="47811">0</cx:pt>
          <cx:pt idx="47812">1</cx:pt>
          <cx:pt idx="47813">0</cx:pt>
          <cx:pt idx="47814">0</cx:pt>
          <cx:pt idx="47815">0</cx:pt>
          <cx:pt idx="47816">0</cx:pt>
          <cx:pt idx="47817">1</cx:pt>
          <cx:pt idx="47818">0</cx:pt>
          <cx:pt idx="47819">0</cx:pt>
          <cx:pt idx="47820">0</cx:pt>
          <cx:pt idx="47821">0</cx:pt>
          <cx:pt idx="47822">1</cx:pt>
          <cx:pt idx="47823">1</cx:pt>
          <cx:pt idx="47824">1</cx:pt>
          <cx:pt idx="47825">1</cx:pt>
          <cx:pt idx="47826">0</cx:pt>
          <cx:pt idx="47827">0</cx:pt>
          <cx:pt idx="47828">1</cx:pt>
          <cx:pt idx="47829">0</cx:pt>
          <cx:pt idx="47830">0</cx:pt>
          <cx:pt idx="47831">0</cx:pt>
          <cx:pt idx="47832">1</cx:pt>
          <cx:pt idx="47833">0</cx:pt>
          <cx:pt idx="47834">0</cx:pt>
          <cx:pt idx="47835">0</cx:pt>
          <cx:pt idx="47836">1</cx:pt>
          <cx:pt idx="47837">0</cx:pt>
          <cx:pt idx="47838">1</cx:pt>
          <cx:pt idx="47839">0</cx:pt>
          <cx:pt idx="47840">0</cx:pt>
          <cx:pt idx="47841">0</cx:pt>
          <cx:pt idx="47842">1</cx:pt>
          <cx:pt idx="47843">0</cx:pt>
          <cx:pt idx="47844">0</cx:pt>
          <cx:pt idx="47845">0</cx:pt>
          <cx:pt idx="47846">1</cx:pt>
          <cx:pt idx="47847">1</cx:pt>
          <cx:pt idx="47848">1</cx:pt>
          <cx:pt idx="47849">1</cx:pt>
          <cx:pt idx="47850">0</cx:pt>
          <cx:pt idx="47851">0</cx:pt>
          <cx:pt idx="47852">0</cx:pt>
          <cx:pt idx="47853">0</cx:pt>
          <cx:pt idx="47854">0</cx:pt>
          <cx:pt idx="47855">0</cx:pt>
          <cx:pt idx="47856">0</cx:pt>
          <cx:pt idx="47857">1</cx:pt>
          <cx:pt idx="47858">0</cx:pt>
          <cx:pt idx="47859">0</cx:pt>
          <cx:pt idx="47860">0</cx:pt>
          <cx:pt idx="47861">0</cx:pt>
          <cx:pt idx="47862">1</cx:pt>
          <cx:pt idx="47863">0</cx:pt>
          <cx:pt idx="47864">0</cx:pt>
          <cx:pt idx="47865">1</cx:pt>
          <cx:pt idx="47866">1</cx:pt>
          <cx:pt idx="47867">1</cx:pt>
          <cx:pt idx="47868">0</cx:pt>
          <cx:pt idx="47869">1</cx:pt>
          <cx:pt idx="47870">0</cx:pt>
          <cx:pt idx="47871">0</cx:pt>
          <cx:pt idx="47872">0</cx:pt>
          <cx:pt idx="47873">0</cx:pt>
          <cx:pt idx="47874">0</cx:pt>
          <cx:pt idx="47875">0</cx:pt>
          <cx:pt idx="47876">0</cx:pt>
          <cx:pt idx="47877">0</cx:pt>
          <cx:pt idx="47878">1</cx:pt>
          <cx:pt idx="47879">0</cx:pt>
          <cx:pt idx="47880">1</cx:pt>
          <cx:pt idx="47881">0</cx:pt>
          <cx:pt idx="47882">0</cx:pt>
          <cx:pt idx="47883">1</cx:pt>
          <cx:pt idx="47884">0</cx:pt>
          <cx:pt idx="47885">1</cx:pt>
          <cx:pt idx="47886">0</cx:pt>
          <cx:pt idx="47887">1</cx:pt>
          <cx:pt idx="47888">1</cx:pt>
          <cx:pt idx="47889">1</cx:pt>
          <cx:pt idx="47890">1</cx:pt>
          <cx:pt idx="47891">1</cx:pt>
          <cx:pt idx="47892">0</cx:pt>
          <cx:pt idx="47893">1</cx:pt>
          <cx:pt idx="47894">0</cx:pt>
          <cx:pt idx="47895">1</cx:pt>
          <cx:pt idx="47896">1</cx:pt>
          <cx:pt idx="47897">1</cx:pt>
          <cx:pt idx="47898">0</cx:pt>
          <cx:pt idx="47899">0</cx:pt>
          <cx:pt idx="47900">0</cx:pt>
          <cx:pt idx="47901">1</cx:pt>
          <cx:pt idx="47902">0</cx:pt>
          <cx:pt idx="47903">1</cx:pt>
          <cx:pt idx="47904">1</cx:pt>
          <cx:pt idx="47905">1</cx:pt>
          <cx:pt idx="47906">0</cx:pt>
          <cx:pt idx="47907">1</cx:pt>
          <cx:pt idx="47908">0</cx:pt>
          <cx:pt idx="47909">1</cx:pt>
          <cx:pt idx="47910">0</cx:pt>
          <cx:pt idx="47911">0</cx:pt>
          <cx:pt idx="47912">1</cx:pt>
          <cx:pt idx="47913">0</cx:pt>
          <cx:pt idx="47914">1</cx:pt>
          <cx:pt idx="47915">1</cx:pt>
          <cx:pt idx="47916">1</cx:pt>
          <cx:pt idx="47917">0</cx:pt>
          <cx:pt idx="47918">0</cx:pt>
          <cx:pt idx="47919">0</cx:pt>
          <cx:pt idx="47920">0</cx:pt>
          <cx:pt idx="47921">0</cx:pt>
          <cx:pt idx="47922">0</cx:pt>
          <cx:pt idx="47923">0</cx:pt>
          <cx:pt idx="47924">1</cx:pt>
          <cx:pt idx="47925">1</cx:pt>
          <cx:pt idx="47926">1</cx:pt>
          <cx:pt idx="47927">0</cx:pt>
          <cx:pt idx="47928">1</cx:pt>
          <cx:pt idx="47929">1</cx:pt>
          <cx:pt idx="47930">0</cx:pt>
          <cx:pt idx="47931">1</cx:pt>
          <cx:pt idx="47932">0</cx:pt>
          <cx:pt idx="47933">0</cx:pt>
          <cx:pt idx="47934">1</cx:pt>
          <cx:pt idx="47935">0</cx:pt>
          <cx:pt idx="47936">1</cx:pt>
          <cx:pt idx="47937">1</cx:pt>
          <cx:pt idx="47938">0</cx:pt>
          <cx:pt idx="47939">1</cx:pt>
          <cx:pt idx="47940">0</cx:pt>
          <cx:pt idx="47941">1</cx:pt>
          <cx:pt idx="47942">1</cx:pt>
          <cx:pt idx="47943">0</cx:pt>
          <cx:pt idx="47944">1</cx:pt>
          <cx:pt idx="47945">1</cx:pt>
          <cx:pt idx="47946">1</cx:pt>
          <cx:pt idx="47947">1</cx:pt>
          <cx:pt idx="47948">0</cx:pt>
          <cx:pt idx="47949">0</cx:pt>
          <cx:pt idx="47950">0</cx:pt>
          <cx:pt idx="47951">0</cx:pt>
          <cx:pt idx="47952">0</cx:pt>
          <cx:pt idx="47953">0</cx:pt>
          <cx:pt idx="47954">1</cx:pt>
          <cx:pt idx="47955">0</cx:pt>
          <cx:pt idx="47956">1</cx:pt>
          <cx:pt idx="47957">0</cx:pt>
          <cx:pt idx="47958">1</cx:pt>
          <cx:pt idx="47959">0</cx:pt>
          <cx:pt idx="47960">1</cx:pt>
          <cx:pt idx="47961">0</cx:pt>
          <cx:pt idx="47962">0</cx:pt>
          <cx:pt idx="47963">1</cx:pt>
          <cx:pt idx="47964">0</cx:pt>
          <cx:pt idx="47965">0</cx:pt>
          <cx:pt idx="47966">0</cx:pt>
          <cx:pt idx="47967">1</cx:pt>
          <cx:pt idx="47968">0</cx:pt>
          <cx:pt idx="47969">0</cx:pt>
          <cx:pt idx="47970">1</cx:pt>
          <cx:pt idx="47971">0</cx:pt>
          <cx:pt idx="47972">1</cx:pt>
          <cx:pt idx="47973">1</cx:pt>
          <cx:pt idx="47974">1</cx:pt>
          <cx:pt idx="47975">1</cx:pt>
          <cx:pt idx="47976">0</cx:pt>
          <cx:pt idx="47977">0</cx:pt>
          <cx:pt idx="47978">0</cx:pt>
          <cx:pt idx="47979">0</cx:pt>
          <cx:pt idx="47980">1</cx:pt>
          <cx:pt idx="47981">0</cx:pt>
          <cx:pt idx="47982">1</cx:pt>
          <cx:pt idx="47983">1</cx:pt>
          <cx:pt idx="47984">1</cx:pt>
          <cx:pt idx="47985">0</cx:pt>
          <cx:pt idx="47986">0</cx:pt>
          <cx:pt idx="47987">1</cx:pt>
          <cx:pt idx="47988">0</cx:pt>
          <cx:pt idx="47989">1</cx:pt>
          <cx:pt idx="47990">1</cx:pt>
          <cx:pt idx="47991">0</cx:pt>
          <cx:pt idx="47992">1</cx:pt>
          <cx:pt idx="47993">1</cx:pt>
          <cx:pt idx="47994">1</cx:pt>
          <cx:pt idx="47995">1</cx:pt>
          <cx:pt idx="47996">1</cx:pt>
          <cx:pt idx="47997">1</cx:pt>
          <cx:pt idx="47998">0</cx:pt>
          <cx:pt idx="47999">0</cx:pt>
          <cx:pt idx="48000">0</cx:pt>
          <cx:pt idx="48001">0</cx:pt>
          <cx:pt idx="48002">0</cx:pt>
          <cx:pt idx="48003">1</cx:pt>
          <cx:pt idx="48004">1</cx:pt>
          <cx:pt idx="48005">0</cx:pt>
          <cx:pt idx="48006">1</cx:pt>
          <cx:pt idx="48007">1</cx:pt>
          <cx:pt idx="48008">0</cx:pt>
          <cx:pt idx="48009">0</cx:pt>
          <cx:pt idx="48010">0</cx:pt>
          <cx:pt idx="48011">0</cx:pt>
          <cx:pt idx="48012">0</cx:pt>
          <cx:pt idx="48013">0</cx:pt>
          <cx:pt idx="48014">1</cx:pt>
          <cx:pt idx="48015">0</cx:pt>
          <cx:pt idx="48016">1</cx:pt>
          <cx:pt idx="48017">0</cx:pt>
          <cx:pt idx="48018">0</cx:pt>
          <cx:pt idx="48019">0</cx:pt>
          <cx:pt idx="48020">0</cx:pt>
          <cx:pt idx="48021">0</cx:pt>
          <cx:pt idx="48022">0</cx:pt>
          <cx:pt idx="48023">1</cx:pt>
          <cx:pt idx="48024">0</cx:pt>
          <cx:pt idx="48025">0</cx:pt>
          <cx:pt idx="48026">0</cx:pt>
          <cx:pt idx="48027">1</cx:pt>
          <cx:pt idx="48028">1</cx:pt>
          <cx:pt idx="48029">0</cx:pt>
          <cx:pt idx="48030">1</cx:pt>
          <cx:pt idx="48031">0</cx:pt>
          <cx:pt idx="48032">1</cx:pt>
          <cx:pt idx="48033">0</cx:pt>
          <cx:pt idx="48034">1</cx:pt>
          <cx:pt idx="48035">0</cx:pt>
          <cx:pt idx="48036">0</cx:pt>
          <cx:pt idx="48037">0</cx:pt>
          <cx:pt idx="48038">0</cx:pt>
          <cx:pt idx="48039">0</cx:pt>
          <cx:pt idx="48040">1</cx:pt>
          <cx:pt idx="48041">0</cx:pt>
          <cx:pt idx="48042">0</cx:pt>
          <cx:pt idx="48043">1</cx:pt>
          <cx:pt idx="48044">0</cx:pt>
          <cx:pt idx="48045">0</cx:pt>
          <cx:pt idx="48046">0</cx:pt>
          <cx:pt idx="48047">1</cx:pt>
          <cx:pt idx="48048">0</cx:pt>
          <cx:pt idx="48049">1</cx:pt>
          <cx:pt idx="48050">0</cx:pt>
          <cx:pt idx="48051">0</cx:pt>
          <cx:pt idx="48052">0</cx:pt>
          <cx:pt idx="48053">0</cx:pt>
          <cx:pt idx="48054">0</cx:pt>
          <cx:pt idx="48055">1</cx:pt>
          <cx:pt idx="48056">0</cx:pt>
          <cx:pt idx="48057">0</cx:pt>
          <cx:pt idx="48058">1</cx:pt>
          <cx:pt idx="48059">1</cx:pt>
          <cx:pt idx="48060">1</cx:pt>
          <cx:pt idx="48061">0</cx:pt>
          <cx:pt idx="48062">0</cx:pt>
          <cx:pt idx="48063">0</cx:pt>
          <cx:pt idx="48064">0</cx:pt>
          <cx:pt idx="48065">0</cx:pt>
          <cx:pt idx="48066">0</cx:pt>
          <cx:pt idx="48067">0</cx:pt>
          <cx:pt idx="48068">1</cx:pt>
          <cx:pt idx="48069">1</cx:pt>
          <cx:pt idx="48070">0</cx:pt>
          <cx:pt idx="48071">1</cx:pt>
          <cx:pt idx="48072">0</cx:pt>
          <cx:pt idx="48073">0</cx:pt>
          <cx:pt idx="48074">1</cx:pt>
          <cx:pt idx="48075">0</cx:pt>
          <cx:pt idx="48076">0</cx:pt>
          <cx:pt idx="48077">0</cx:pt>
          <cx:pt idx="48078">0</cx:pt>
          <cx:pt idx="48079">0</cx:pt>
          <cx:pt idx="48080">0</cx:pt>
          <cx:pt idx="48081">0</cx:pt>
          <cx:pt idx="48082">0</cx:pt>
          <cx:pt idx="48083">1</cx:pt>
          <cx:pt idx="48084">0</cx:pt>
          <cx:pt idx="48085">1</cx:pt>
          <cx:pt idx="48086">0</cx:pt>
          <cx:pt idx="48087">1</cx:pt>
          <cx:pt idx="48088">1</cx:pt>
          <cx:pt idx="48089">0</cx:pt>
          <cx:pt idx="48090">0</cx:pt>
          <cx:pt idx="48091">1</cx:pt>
          <cx:pt idx="48092">0</cx:pt>
          <cx:pt idx="48093">1</cx:pt>
          <cx:pt idx="48094">1</cx:pt>
          <cx:pt idx="48095">0</cx:pt>
          <cx:pt idx="48096">1</cx:pt>
          <cx:pt idx="48097">1</cx:pt>
          <cx:pt idx="48098">0</cx:pt>
          <cx:pt idx="48099">0</cx:pt>
          <cx:pt idx="48100">1</cx:pt>
          <cx:pt idx="48101">0</cx:pt>
          <cx:pt idx="48102">0</cx:pt>
          <cx:pt idx="48103">1</cx:pt>
          <cx:pt idx="48104">0</cx:pt>
          <cx:pt idx="48105">0</cx:pt>
          <cx:pt idx="48106">0</cx:pt>
          <cx:pt idx="48107">1</cx:pt>
          <cx:pt idx="48108">0</cx:pt>
          <cx:pt idx="48109">0</cx:pt>
          <cx:pt idx="48110">0</cx:pt>
          <cx:pt idx="48111">0</cx:pt>
          <cx:pt idx="48112">0</cx:pt>
          <cx:pt idx="48113">1</cx:pt>
          <cx:pt idx="48114">1</cx:pt>
          <cx:pt idx="48115">1</cx:pt>
          <cx:pt idx="48116">0</cx:pt>
          <cx:pt idx="48117">1</cx:pt>
          <cx:pt idx="48118">1</cx:pt>
          <cx:pt idx="48119">1</cx:pt>
          <cx:pt idx="48120">0</cx:pt>
          <cx:pt idx="48121">1</cx:pt>
          <cx:pt idx="48122">0</cx:pt>
          <cx:pt idx="48123">1</cx:pt>
          <cx:pt idx="48124">0</cx:pt>
          <cx:pt idx="48125">1</cx:pt>
          <cx:pt idx="48126">1</cx:pt>
          <cx:pt idx="48127">1</cx:pt>
          <cx:pt idx="48128">0</cx:pt>
          <cx:pt idx="48129">1</cx:pt>
          <cx:pt idx="48130">1</cx:pt>
          <cx:pt idx="48131">0</cx:pt>
          <cx:pt idx="48132">0</cx:pt>
          <cx:pt idx="48133">0</cx:pt>
          <cx:pt idx="48134">0</cx:pt>
          <cx:pt idx="48135">0</cx:pt>
          <cx:pt idx="48136">0</cx:pt>
          <cx:pt idx="48137">1</cx:pt>
          <cx:pt idx="48138">0</cx:pt>
          <cx:pt idx="48139">0</cx:pt>
          <cx:pt idx="48140">0</cx:pt>
          <cx:pt idx="48141">1</cx:pt>
          <cx:pt idx="48142">1</cx:pt>
          <cx:pt idx="48143">0</cx:pt>
          <cx:pt idx="48144">1</cx:pt>
          <cx:pt idx="48145">0</cx:pt>
          <cx:pt idx="48146">0</cx:pt>
          <cx:pt idx="48147">0</cx:pt>
          <cx:pt idx="48148">0</cx:pt>
          <cx:pt idx="48149">0</cx:pt>
          <cx:pt idx="48150">0</cx:pt>
          <cx:pt idx="48151">1</cx:pt>
          <cx:pt idx="48152">0</cx:pt>
          <cx:pt idx="48153">1</cx:pt>
          <cx:pt idx="48154">0</cx:pt>
          <cx:pt idx="48155">1</cx:pt>
          <cx:pt idx="48156">0</cx:pt>
          <cx:pt idx="48157">0</cx:pt>
          <cx:pt idx="48158">0</cx:pt>
          <cx:pt idx="48159">1</cx:pt>
          <cx:pt idx="48160">1</cx:pt>
          <cx:pt idx="48161">0</cx:pt>
          <cx:pt idx="48162">1</cx:pt>
          <cx:pt idx="48163">0</cx:pt>
          <cx:pt idx="48164">0</cx:pt>
          <cx:pt idx="48165">0</cx:pt>
          <cx:pt idx="48166">1</cx:pt>
          <cx:pt idx="48167">0</cx:pt>
          <cx:pt idx="48168">0</cx:pt>
          <cx:pt idx="48169">0</cx:pt>
          <cx:pt idx="48170">1</cx:pt>
          <cx:pt idx="48171">0</cx:pt>
          <cx:pt idx="48172">1</cx:pt>
          <cx:pt idx="48173">1</cx:pt>
          <cx:pt idx="48174">1</cx:pt>
          <cx:pt idx="48175">0</cx:pt>
          <cx:pt idx="48176">1</cx:pt>
          <cx:pt idx="48177">1</cx:pt>
          <cx:pt idx="48178">0</cx:pt>
          <cx:pt idx="48179">0</cx:pt>
          <cx:pt idx="48180">1</cx:pt>
          <cx:pt idx="48181">1</cx:pt>
          <cx:pt idx="48182">0</cx:pt>
          <cx:pt idx="48183">1</cx:pt>
          <cx:pt idx="48184">1</cx:pt>
          <cx:pt idx="48185">0</cx:pt>
          <cx:pt idx="48186">1</cx:pt>
          <cx:pt idx="48187">0</cx:pt>
          <cx:pt idx="48188">0</cx:pt>
          <cx:pt idx="48189">1</cx:pt>
          <cx:pt idx="48190">0</cx:pt>
          <cx:pt idx="48191">1</cx:pt>
          <cx:pt idx="48192">1</cx:pt>
          <cx:pt idx="48193">0</cx:pt>
          <cx:pt idx="48194">1</cx:pt>
          <cx:pt idx="48195">1</cx:pt>
          <cx:pt idx="48196">0</cx:pt>
          <cx:pt idx="48197">1</cx:pt>
          <cx:pt idx="48198">0</cx:pt>
          <cx:pt idx="48199">0</cx:pt>
          <cx:pt idx="48200">0</cx:pt>
          <cx:pt idx="48201">1</cx:pt>
          <cx:pt idx="48202">1</cx:pt>
          <cx:pt idx="48203">1</cx:pt>
          <cx:pt idx="48204">1</cx:pt>
          <cx:pt idx="48205">0</cx:pt>
          <cx:pt idx="48206">0</cx:pt>
          <cx:pt idx="48207">1</cx:pt>
          <cx:pt idx="48208">1</cx:pt>
          <cx:pt idx="48209">1</cx:pt>
          <cx:pt idx="48210">0</cx:pt>
          <cx:pt idx="48211">1</cx:pt>
          <cx:pt idx="48212">1</cx:pt>
          <cx:pt idx="48213">0</cx:pt>
          <cx:pt idx="48214">0</cx:pt>
          <cx:pt idx="48215">1</cx:pt>
          <cx:pt idx="48216">0</cx:pt>
          <cx:pt idx="48217">0</cx:pt>
          <cx:pt idx="48218">1</cx:pt>
          <cx:pt idx="48219">0</cx:pt>
          <cx:pt idx="48220">0</cx:pt>
          <cx:pt idx="48221">0</cx:pt>
          <cx:pt idx="48222">0</cx:pt>
          <cx:pt idx="48223">0</cx:pt>
          <cx:pt idx="48224">1</cx:pt>
          <cx:pt idx="48225">1</cx:pt>
          <cx:pt idx="48226">1</cx:pt>
          <cx:pt idx="48227">1</cx:pt>
          <cx:pt idx="48228">0</cx:pt>
          <cx:pt idx="48229">1</cx:pt>
          <cx:pt idx="48230">0</cx:pt>
          <cx:pt idx="48231">0</cx:pt>
          <cx:pt idx="48232">0</cx:pt>
          <cx:pt idx="48233">1</cx:pt>
          <cx:pt idx="48234">0</cx:pt>
          <cx:pt idx="48235">0</cx:pt>
          <cx:pt idx="48236">0</cx:pt>
          <cx:pt idx="48237">0</cx:pt>
          <cx:pt idx="48238">1</cx:pt>
          <cx:pt idx="48239">1</cx:pt>
          <cx:pt idx="48240">0</cx:pt>
          <cx:pt idx="48241">0</cx:pt>
          <cx:pt idx="48242">0</cx:pt>
          <cx:pt idx="48243">1</cx:pt>
          <cx:pt idx="48244">0</cx:pt>
          <cx:pt idx="48245">1</cx:pt>
          <cx:pt idx="48246">1</cx:pt>
          <cx:pt idx="48247">0</cx:pt>
          <cx:pt idx="48248">0</cx:pt>
          <cx:pt idx="48249">1</cx:pt>
          <cx:pt idx="48250">0</cx:pt>
          <cx:pt idx="48251">0</cx:pt>
          <cx:pt idx="48252">1</cx:pt>
          <cx:pt idx="48253">0</cx:pt>
          <cx:pt idx="48254">0</cx:pt>
          <cx:pt idx="48255">0</cx:pt>
          <cx:pt idx="48256">1</cx:pt>
          <cx:pt idx="48257">0</cx:pt>
          <cx:pt idx="48258">1</cx:pt>
          <cx:pt idx="48259">0</cx:pt>
          <cx:pt idx="48260">0</cx:pt>
          <cx:pt idx="48261">1</cx:pt>
          <cx:pt idx="48262">0</cx:pt>
          <cx:pt idx="48263">1</cx:pt>
          <cx:pt idx="48264">0</cx:pt>
          <cx:pt idx="48265">0</cx:pt>
          <cx:pt idx="48266">0</cx:pt>
          <cx:pt idx="48267">0</cx:pt>
          <cx:pt idx="48268">1</cx:pt>
          <cx:pt idx="48269">0</cx:pt>
          <cx:pt idx="48270">0</cx:pt>
          <cx:pt idx="48271">0</cx:pt>
          <cx:pt idx="48272">0</cx:pt>
          <cx:pt idx="48273">1</cx:pt>
          <cx:pt idx="48274">1</cx:pt>
          <cx:pt idx="48275">0</cx:pt>
          <cx:pt idx="48276">0</cx:pt>
          <cx:pt idx="48277">0</cx:pt>
          <cx:pt idx="48278">1</cx:pt>
          <cx:pt idx="48279">0</cx:pt>
          <cx:pt idx="48280">0</cx:pt>
          <cx:pt idx="48281">0</cx:pt>
          <cx:pt idx="48282">0</cx:pt>
          <cx:pt idx="48283">1</cx:pt>
          <cx:pt idx="48284">0</cx:pt>
          <cx:pt idx="48285">0</cx:pt>
          <cx:pt idx="48286">1</cx:pt>
          <cx:pt idx="48287">0</cx:pt>
          <cx:pt idx="48288">0</cx:pt>
          <cx:pt idx="48289">0</cx:pt>
          <cx:pt idx="48290">0</cx:pt>
          <cx:pt idx="48291">0</cx:pt>
          <cx:pt idx="48292">1</cx:pt>
          <cx:pt idx="48293">1</cx:pt>
          <cx:pt idx="48294">0</cx:pt>
          <cx:pt idx="48295">1</cx:pt>
          <cx:pt idx="48296">0</cx:pt>
          <cx:pt idx="48297">0</cx:pt>
          <cx:pt idx="48298">1</cx:pt>
          <cx:pt idx="48299">0</cx:pt>
          <cx:pt idx="48300">1</cx:pt>
          <cx:pt idx="48301">0</cx:pt>
          <cx:pt idx="48302">1</cx:pt>
          <cx:pt idx="48303">0</cx:pt>
          <cx:pt idx="48304">0</cx:pt>
          <cx:pt idx="48305">1</cx:pt>
          <cx:pt idx="48306">0</cx:pt>
          <cx:pt idx="48307">0</cx:pt>
          <cx:pt idx="48308">1</cx:pt>
          <cx:pt idx="48309">0</cx:pt>
          <cx:pt idx="48310">1</cx:pt>
          <cx:pt idx="48311">1</cx:pt>
          <cx:pt idx="48312">0</cx:pt>
          <cx:pt idx="48313">1</cx:pt>
          <cx:pt idx="48314">0</cx:pt>
          <cx:pt idx="48315">0</cx:pt>
          <cx:pt idx="48316">0</cx:pt>
          <cx:pt idx="48317">0</cx:pt>
          <cx:pt idx="48318">1</cx:pt>
          <cx:pt idx="48319">0</cx:pt>
          <cx:pt idx="48320">0</cx:pt>
          <cx:pt idx="48321">1</cx:pt>
          <cx:pt idx="48322">0</cx:pt>
          <cx:pt idx="48323">1</cx:pt>
          <cx:pt idx="48324">1</cx:pt>
          <cx:pt idx="48325">0</cx:pt>
          <cx:pt idx="48326">0</cx:pt>
          <cx:pt idx="48327">1</cx:pt>
          <cx:pt idx="48328">0</cx:pt>
          <cx:pt idx="48329">0</cx:pt>
          <cx:pt idx="48330">1</cx:pt>
          <cx:pt idx="48331">0</cx:pt>
          <cx:pt idx="48332">1</cx:pt>
          <cx:pt idx="48333">0</cx:pt>
          <cx:pt idx="48334">1</cx:pt>
          <cx:pt idx="48335">0</cx:pt>
          <cx:pt idx="48336">1</cx:pt>
          <cx:pt idx="48337">1</cx:pt>
          <cx:pt idx="48338">0</cx:pt>
          <cx:pt idx="48339">0</cx:pt>
          <cx:pt idx="48340">1</cx:pt>
          <cx:pt idx="48341">1</cx:pt>
          <cx:pt idx="48342">0</cx:pt>
          <cx:pt idx="48343">0</cx:pt>
          <cx:pt idx="48344">1</cx:pt>
          <cx:pt idx="48345">0</cx:pt>
          <cx:pt idx="48346">0</cx:pt>
          <cx:pt idx="48347">0</cx:pt>
          <cx:pt idx="48348">1</cx:pt>
          <cx:pt idx="48349">0</cx:pt>
          <cx:pt idx="48350">0</cx:pt>
          <cx:pt idx="48351">0</cx:pt>
          <cx:pt idx="48352">0</cx:pt>
          <cx:pt idx="48353">0</cx:pt>
          <cx:pt idx="48354">1</cx:pt>
          <cx:pt idx="48355">0</cx:pt>
          <cx:pt idx="48356">0</cx:pt>
          <cx:pt idx="48357">1</cx:pt>
          <cx:pt idx="48358">1</cx:pt>
          <cx:pt idx="48359">0</cx:pt>
          <cx:pt idx="48360">0</cx:pt>
          <cx:pt idx="48361">1</cx:pt>
          <cx:pt idx="48362">0</cx:pt>
          <cx:pt idx="48363">0</cx:pt>
          <cx:pt idx="48364">0</cx:pt>
          <cx:pt idx="48365">1</cx:pt>
          <cx:pt idx="48366">0</cx:pt>
          <cx:pt idx="48367">0</cx:pt>
          <cx:pt idx="48368">1</cx:pt>
          <cx:pt idx="48369">0</cx:pt>
          <cx:pt idx="48370">1</cx:pt>
          <cx:pt idx="48371">1</cx:pt>
          <cx:pt idx="48372">0</cx:pt>
          <cx:pt idx="48373">0</cx:pt>
          <cx:pt idx="48374">0</cx:pt>
          <cx:pt idx="48375">0</cx:pt>
          <cx:pt idx="48376">0</cx:pt>
          <cx:pt idx="48377">0</cx:pt>
          <cx:pt idx="48378">1</cx:pt>
          <cx:pt idx="48379">0</cx:pt>
          <cx:pt idx="48380">0</cx:pt>
          <cx:pt idx="48381">1</cx:pt>
          <cx:pt idx="48382">0</cx:pt>
          <cx:pt idx="48383">0</cx:pt>
          <cx:pt idx="48384">0</cx:pt>
          <cx:pt idx="48385">0</cx:pt>
          <cx:pt idx="48386">0</cx:pt>
          <cx:pt idx="48387">0</cx:pt>
          <cx:pt idx="48388">0</cx:pt>
          <cx:pt idx="48389">1</cx:pt>
          <cx:pt idx="48390">0</cx:pt>
          <cx:pt idx="48391">0</cx:pt>
          <cx:pt idx="48392">0</cx:pt>
          <cx:pt idx="48393">0</cx:pt>
          <cx:pt idx="48394">1</cx:pt>
          <cx:pt idx="48395">0</cx:pt>
          <cx:pt idx="48396">0</cx:pt>
          <cx:pt idx="48397">0</cx:pt>
          <cx:pt idx="48398">1</cx:pt>
          <cx:pt idx="48399">0</cx:pt>
          <cx:pt idx="48400">1</cx:pt>
          <cx:pt idx="48401">0</cx:pt>
          <cx:pt idx="48402">1</cx:pt>
          <cx:pt idx="48403">0</cx:pt>
          <cx:pt idx="48404">1</cx:pt>
          <cx:pt idx="48405">0</cx:pt>
          <cx:pt idx="48406">0</cx:pt>
          <cx:pt idx="48407">1</cx:pt>
          <cx:pt idx="48408">1</cx:pt>
          <cx:pt idx="48409">0</cx:pt>
          <cx:pt idx="48410">1</cx:pt>
          <cx:pt idx="48411">1</cx:pt>
          <cx:pt idx="48412">0</cx:pt>
          <cx:pt idx="48413">1</cx:pt>
          <cx:pt idx="48414">1</cx:pt>
          <cx:pt idx="48415">1</cx:pt>
          <cx:pt idx="48416">0</cx:pt>
          <cx:pt idx="48417">1</cx:pt>
          <cx:pt idx="48418">1</cx:pt>
          <cx:pt idx="48419">0</cx:pt>
          <cx:pt idx="48420">0</cx:pt>
          <cx:pt idx="48421">0</cx:pt>
          <cx:pt idx="48422">1</cx:pt>
          <cx:pt idx="48423">1</cx:pt>
          <cx:pt idx="48424">0</cx:pt>
          <cx:pt idx="48425">0</cx:pt>
          <cx:pt idx="48426">0</cx:pt>
          <cx:pt idx="48427">1</cx:pt>
          <cx:pt idx="48428">0</cx:pt>
          <cx:pt idx="48429">1</cx:pt>
          <cx:pt idx="48430">0</cx:pt>
          <cx:pt idx="48431">0</cx:pt>
          <cx:pt idx="48432">1</cx:pt>
          <cx:pt idx="48433">0</cx:pt>
          <cx:pt idx="48434">0</cx:pt>
          <cx:pt idx="48435">0</cx:pt>
          <cx:pt idx="48436">1</cx:pt>
          <cx:pt idx="48437">0</cx:pt>
          <cx:pt idx="48438">0</cx:pt>
          <cx:pt idx="48439">1</cx:pt>
          <cx:pt idx="48440">1</cx:pt>
          <cx:pt idx="48441">1</cx:pt>
          <cx:pt idx="48442">1</cx:pt>
          <cx:pt idx="48443">1</cx:pt>
          <cx:pt idx="48444">1</cx:pt>
          <cx:pt idx="48445">0</cx:pt>
          <cx:pt idx="48446">0</cx:pt>
          <cx:pt idx="48447">1</cx:pt>
          <cx:pt idx="48448">0</cx:pt>
          <cx:pt idx="48449">1</cx:pt>
          <cx:pt idx="48450">1</cx:pt>
          <cx:pt idx="48451">0</cx:pt>
          <cx:pt idx="48452">0</cx:pt>
          <cx:pt idx="48453">1</cx:pt>
          <cx:pt idx="48454">1</cx:pt>
          <cx:pt idx="48455">1</cx:pt>
          <cx:pt idx="48456">1</cx:pt>
          <cx:pt idx="48457">0</cx:pt>
          <cx:pt idx="48458">0</cx:pt>
          <cx:pt idx="48459">1</cx:pt>
          <cx:pt idx="48460">1</cx:pt>
          <cx:pt idx="48461">0</cx:pt>
          <cx:pt idx="48462">0</cx:pt>
          <cx:pt idx="48463">1</cx:pt>
          <cx:pt idx="48464">0</cx:pt>
          <cx:pt idx="48465">0</cx:pt>
          <cx:pt idx="48466">0</cx:pt>
          <cx:pt idx="48467">0</cx:pt>
          <cx:pt idx="48468">1</cx:pt>
          <cx:pt idx="48469">1</cx:pt>
          <cx:pt idx="48470">1</cx:pt>
          <cx:pt idx="48471">1</cx:pt>
          <cx:pt idx="48472">1</cx:pt>
          <cx:pt idx="48473">1</cx:pt>
          <cx:pt idx="48474">1</cx:pt>
          <cx:pt idx="48475">0</cx:pt>
          <cx:pt idx="48476">1</cx:pt>
          <cx:pt idx="48477">0</cx:pt>
          <cx:pt idx="48478">0</cx:pt>
          <cx:pt idx="48479">1</cx:pt>
          <cx:pt idx="48480">0</cx:pt>
          <cx:pt idx="48481">1</cx:pt>
          <cx:pt idx="48482">0</cx:pt>
          <cx:pt idx="48483">1</cx:pt>
          <cx:pt idx="48484">1</cx:pt>
          <cx:pt idx="48485">1</cx:pt>
          <cx:pt idx="48486">0</cx:pt>
          <cx:pt idx="48487">1</cx:pt>
          <cx:pt idx="48488">0</cx:pt>
          <cx:pt idx="48489">1</cx:pt>
          <cx:pt idx="48490">1</cx:pt>
          <cx:pt idx="48491">0</cx:pt>
          <cx:pt idx="48492">1</cx:pt>
          <cx:pt idx="48493">1</cx:pt>
          <cx:pt idx="48494">0</cx:pt>
          <cx:pt idx="48495">1</cx:pt>
          <cx:pt idx="48496">0</cx:pt>
          <cx:pt idx="48497">1</cx:pt>
          <cx:pt idx="48498">0</cx:pt>
          <cx:pt idx="48499">1</cx:pt>
          <cx:pt idx="48500">0</cx:pt>
          <cx:pt idx="48501">0</cx:pt>
          <cx:pt idx="48502">0</cx:pt>
          <cx:pt idx="48503">1</cx:pt>
          <cx:pt idx="48504">0</cx:pt>
          <cx:pt idx="48505">0</cx:pt>
          <cx:pt idx="48506">1</cx:pt>
          <cx:pt idx="48507">0</cx:pt>
          <cx:pt idx="48508">1</cx:pt>
          <cx:pt idx="48509">1</cx:pt>
          <cx:pt idx="48510">0</cx:pt>
          <cx:pt idx="48511">0</cx:pt>
          <cx:pt idx="48512">1</cx:pt>
          <cx:pt idx="48513">0</cx:pt>
          <cx:pt idx="48514">1</cx:pt>
          <cx:pt idx="48515">0</cx:pt>
          <cx:pt idx="48516">0</cx:pt>
          <cx:pt idx="48517">1</cx:pt>
          <cx:pt idx="48518">1</cx:pt>
          <cx:pt idx="48519">0</cx:pt>
          <cx:pt idx="48520">1</cx:pt>
          <cx:pt idx="48521">0</cx:pt>
          <cx:pt idx="48522">0</cx:pt>
          <cx:pt idx="48523">1</cx:pt>
          <cx:pt idx="48524">0</cx:pt>
          <cx:pt idx="48525">1</cx:pt>
          <cx:pt idx="48526">0</cx:pt>
          <cx:pt idx="48527">0</cx:pt>
          <cx:pt idx="48528">0</cx:pt>
          <cx:pt idx="48529">0</cx:pt>
          <cx:pt idx="48530">0</cx:pt>
          <cx:pt idx="48531">1</cx:pt>
          <cx:pt idx="48532">0</cx:pt>
          <cx:pt idx="48533">1</cx:pt>
          <cx:pt idx="48534">0</cx:pt>
          <cx:pt idx="48535">1</cx:pt>
          <cx:pt idx="48536">1</cx:pt>
          <cx:pt idx="48537">1</cx:pt>
          <cx:pt idx="48538">0</cx:pt>
          <cx:pt idx="48539">0</cx:pt>
          <cx:pt idx="48540">0</cx:pt>
          <cx:pt idx="48541">0</cx:pt>
          <cx:pt idx="48542">1</cx:pt>
          <cx:pt idx="48543">1</cx:pt>
          <cx:pt idx="48544">0</cx:pt>
          <cx:pt idx="48545">0</cx:pt>
          <cx:pt idx="48546">0</cx:pt>
          <cx:pt idx="48547">0</cx:pt>
          <cx:pt idx="48548">0</cx:pt>
          <cx:pt idx="48549">0</cx:pt>
          <cx:pt idx="48550">1</cx:pt>
          <cx:pt idx="48551">1</cx:pt>
          <cx:pt idx="48552">1</cx:pt>
          <cx:pt idx="48553">0</cx:pt>
          <cx:pt idx="48554">0</cx:pt>
          <cx:pt idx="48555">0</cx:pt>
          <cx:pt idx="48556">0</cx:pt>
          <cx:pt idx="48557">1</cx:pt>
          <cx:pt idx="48558">0</cx:pt>
          <cx:pt idx="48559">1</cx:pt>
          <cx:pt idx="48560">0</cx:pt>
          <cx:pt idx="48561">0</cx:pt>
          <cx:pt idx="48562">1</cx:pt>
          <cx:pt idx="48563">0</cx:pt>
          <cx:pt idx="48564">0</cx:pt>
          <cx:pt idx="48565">0</cx:pt>
          <cx:pt idx="48566">1</cx:pt>
          <cx:pt idx="48567">0</cx:pt>
          <cx:pt idx="48568">0</cx:pt>
          <cx:pt idx="48569">0</cx:pt>
          <cx:pt idx="48570">0</cx:pt>
          <cx:pt idx="48571">0</cx:pt>
          <cx:pt idx="48572">1</cx:pt>
          <cx:pt idx="48573">0</cx:pt>
          <cx:pt idx="48574">1</cx:pt>
          <cx:pt idx="48575">0</cx:pt>
          <cx:pt idx="48576">0</cx:pt>
          <cx:pt idx="48577">1</cx:pt>
          <cx:pt idx="48578">0</cx:pt>
          <cx:pt idx="48579">0</cx:pt>
          <cx:pt idx="48580">1</cx:pt>
          <cx:pt idx="48581">0</cx:pt>
          <cx:pt idx="48582">0</cx:pt>
          <cx:pt idx="48583">1</cx:pt>
          <cx:pt idx="48584">0</cx:pt>
          <cx:pt idx="48585">0</cx:pt>
          <cx:pt idx="48586">1</cx:pt>
          <cx:pt idx="48587">0</cx:pt>
          <cx:pt idx="48588">1</cx:pt>
          <cx:pt idx="48589">0</cx:pt>
          <cx:pt idx="48590">1</cx:pt>
          <cx:pt idx="48591">0</cx:pt>
          <cx:pt idx="48592">1</cx:pt>
          <cx:pt idx="48593">0</cx:pt>
          <cx:pt idx="48594">1</cx:pt>
          <cx:pt idx="48595">0</cx:pt>
          <cx:pt idx="48596">0</cx:pt>
          <cx:pt idx="48597">0</cx:pt>
          <cx:pt idx="48598">0</cx:pt>
          <cx:pt idx="48599">0</cx:pt>
          <cx:pt idx="48600">0</cx:pt>
          <cx:pt idx="48601">1</cx:pt>
          <cx:pt idx="48602">1</cx:pt>
          <cx:pt idx="48603">0</cx:pt>
          <cx:pt idx="48604">1</cx:pt>
          <cx:pt idx="48605">1</cx:pt>
          <cx:pt idx="48606">1</cx:pt>
          <cx:pt idx="48607">1</cx:pt>
          <cx:pt idx="48608">0</cx:pt>
          <cx:pt idx="48609">1</cx:pt>
          <cx:pt idx="48610">0</cx:pt>
          <cx:pt idx="48611">1</cx:pt>
          <cx:pt idx="48612">0</cx:pt>
          <cx:pt idx="48613">0</cx:pt>
          <cx:pt idx="48614">1</cx:pt>
          <cx:pt idx="48615">0</cx:pt>
          <cx:pt idx="48616">1</cx:pt>
          <cx:pt idx="48617">0</cx:pt>
          <cx:pt idx="48618">0</cx:pt>
          <cx:pt idx="48619">0</cx:pt>
          <cx:pt idx="48620">0</cx:pt>
          <cx:pt idx="48621">0</cx:pt>
          <cx:pt idx="48622">1</cx:pt>
          <cx:pt idx="48623">1</cx:pt>
          <cx:pt idx="48624">0</cx:pt>
          <cx:pt idx="48625">1</cx:pt>
          <cx:pt idx="48626">1</cx:pt>
          <cx:pt idx="48627">1</cx:pt>
          <cx:pt idx="48628">1</cx:pt>
          <cx:pt idx="48629">0</cx:pt>
          <cx:pt idx="48630">0</cx:pt>
          <cx:pt idx="48631">1</cx:pt>
          <cx:pt idx="48632">0</cx:pt>
          <cx:pt idx="48633">0</cx:pt>
          <cx:pt idx="48634">1</cx:pt>
          <cx:pt idx="48635">0</cx:pt>
          <cx:pt idx="48636">0</cx:pt>
          <cx:pt idx="48637">0</cx:pt>
          <cx:pt idx="48638">0</cx:pt>
          <cx:pt idx="48639">0</cx:pt>
          <cx:pt idx="48640">1</cx:pt>
          <cx:pt idx="48641">0</cx:pt>
          <cx:pt idx="48642">0</cx:pt>
          <cx:pt idx="48643">0</cx:pt>
          <cx:pt idx="48644">1</cx:pt>
          <cx:pt idx="48645">1</cx:pt>
          <cx:pt idx="48646">0</cx:pt>
          <cx:pt idx="48647">0</cx:pt>
          <cx:pt idx="48648">0</cx:pt>
          <cx:pt idx="48649">1</cx:pt>
          <cx:pt idx="48650">0</cx:pt>
          <cx:pt idx="48651">1</cx:pt>
          <cx:pt idx="48652">0</cx:pt>
          <cx:pt idx="48653">0</cx:pt>
          <cx:pt idx="48654">0</cx:pt>
          <cx:pt idx="48655">1</cx:pt>
          <cx:pt idx="48656">1</cx:pt>
          <cx:pt idx="48657">1</cx:pt>
          <cx:pt idx="48658">1</cx:pt>
          <cx:pt idx="48659">0</cx:pt>
          <cx:pt idx="48660">0</cx:pt>
          <cx:pt idx="48661">0</cx:pt>
          <cx:pt idx="48662">0</cx:pt>
          <cx:pt idx="48663">0</cx:pt>
          <cx:pt idx="48664">0</cx:pt>
          <cx:pt idx="48665">0</cx:pt>
          <cx:pt idx="48666">0</cx:pt>
          <cx:pt idx="48667">0</cx:pt>
          <cx:pt idx="48668">0</cx:pt>
          <cx:pt idx="48669">0</cx:pt>
          <cx:pt idx="48670">0</cx:pt>
          <cx:pt idx="48671">0</cx:pt>
          <cx:pt idx="48672">0</cx:pt>
          <cx:pt idx="48673">0</cx:pt>
          <cx:pt idx="48674">0</cx:pt>
          <cx:pt idx="48675">0</cx:pt>
          <cx:pt idx="48676">0</cx:pt>
          <cx:pt idx="48677">0</cx:pt>
          <cx:pt idx="48678">0</cx:pt>
          <cx:pt idx="48679">0</cx:pt>
          <cx:pt idx="48680">0</cx:pt>
          <cx:pt idx="48681">0</cx:pt>
          <cx:pt idx="48682">0</cx:pt>
          <cx:pt idx="48683">1</cx:pt>
          <cx:pt idx="48684">0</cx:pt>
          <cx:pt idx="48685">1</cx:pt>
          <cx:pt idx="48686">1</cx:pt>
          <cx:pt idx="48687">1</cx:pt>
          <cx:pt idx="48688">0</cx:pt>
          <cx:pt idx="48689">0</cx:pt>
          <cx:pt idx="48690">1</cx:pt>
          <cx:pt idx="48691">0</cx:pt>
          <cx:pt idx="48692">1</cx:pt>
          <cx:pt idx="48693">1</cx:pt>
          <cx:pt idx="48694">1</cx:pt>
          <cx:pt idx="48695">1</cx:pt>
          <cx:pt idx="48696">1</cx:pt>
          <cx:pt idx="48697">0</cx:pt>
          <cx:pt idx="48698">0</cx:pt>
          <cx:pt idx="48699">0</cx:pt>
          <cx:pt idx="48700">1</cx:pt>
          <cx:pt idx="48701">0</cx:pt>
          <cx:pt idx="48702">0</cx:pt>
          <cx:pt idx="48703">1</cx:pt>
          <cx:pt idx="48704">1</cx:pt>
          <cx:pt idx="48705">0</cx:pt>
          <cx:pt idx="48706">0</cx:pt>
          <cx:pt idx="48707">1</cx:pt>
          <cx:pt idx="48708">0</cx:pt>
          <cx:pt idx="48709">1</cx:pt>
          <cx:pt idx="48710">0</cx:pt>
          <cx:pt idx="48711">1</cx:pt>
          <cx:pt idx="48712">1</cx:pt>
          <cx:pt idx="48713">1</cx:pt>
          <cx:pt idx="48714">0</cx:pt>
          <cx:pt idx="48715">1</cx:pt>
          <cx:pt idx="48716">1</cx:pt>
          <cx:pt idx="48717">1</cx:pt>
          <cx:pt idx="48718">1</cx:pt>
          <cx:pt idx="48719">0</cx:pt>
          <cx:pt idx="48720">1</cx:pt>
          <cx:pt idx="48721">1</cx:pt>
          <cx:pt idx="48722">1</cx:pt>
          <cx:pt idx="48723">1</cx:pt>
          <cx:pt idx="48724">0</cx:pt>
          <cx:pt idx="48725">1</cx:pt>
          <cx:pt idx="48726">1</cx:pt>
          <cx:pt idx="48727">1</cx:pt>
          <cx:pt idx="48728">0</cx:pt>
          <cx:pt idx="48729">0</cx:pt>
          <cx:pt idx="48730">0</cx:pt>
          <cx:pt idx="48731">0</cx:pt>
          <cx:pt idx="48732">0</cx:pt>
          <cx:pt idx="48733">0</cx:pt>
          <cx:pt idx="48734">0</cx:pt>
          <cx:pt idx="48735">0</cx:pt>
          <cx:pt idx="48736">1</cx:pt>
          <cx:pt idx="48737">1</cx:pt>
          <cx:pt idx="48738">1</cx:pt>
          <cx:pt idx="48739">1</cx:pt>
          <cx:pt idx="48740">0</cx:pt>
          <cx:pt idx="48741">1</cx:pt>
          <cx:pt idx="48742">0</cx:pt>
          <cx:pt idx="48743">0</cx:pt>
          <cx:pt idx="48744">0</cx:pt>
          <cx:pt idx="48745">1</cx:pt>
          <cx:pt idx="48746">1</cx:pt>
          <cx:pt idx="48747">0</cx:pt>
          <cx:pt idx="48748">1</cx:pt>
          <cx:pt idx="48749">0</cx:pt>
          <cx:pt idx="48750">0</cx:pt>
          <cx:pt idx="48751">0</cx:pt>
          <cx:pt idx="48752">1</cx:pt>
          <cx:pt idx="48753">0</cx:pt>
          <cx:pt idx="48754">1</cx:pt>
          <cx:pt idx="48755">1</cx:pt>
          <cx:pt idx="48756">0</cx:pt>
          <cx:pt idx="48757">1</cx:pt>
          <cx:pt idx="48758">1</cx:pt>
          <cx:pt idx="48759">1</cx:pt>
          <cx:pt idx="48760">0</cx:pt>
          <cx:pt idx="48761">0</cx:pt>
          <cx:pt idx="48762">0</cx:pt>
          <cx:pt idx="48763">1</cx:pt>
          <cx:pt idx="48764">0</cx:pt>
          <cx:pt idx="48765">1</cx:pt>
          <cx:pt idx="48766">0</cx:pt>
          <cx:pt idx="48767">0</cx:pt>
          <cx:pt idx="48768">0</cx:pt>
          <cx:pt idx="48769">1</cx:pt>
          <cx:pt idx="48770">1</cx:pt>
          <cx:pt idx="48771">1</cx:pt>
          <cx:pt idx="48772">1</cx:pt>
          <cx:pt idx="48773">1</cx:pt>
          <cx:pt idx="48774">0</cx:pt>
          <cx:pt idx="48775">0</cx:pt>
          <cx:pt idx="48776">0</cx:pt>
          <cx:pt idx="48777">0</cx:pt>
          <cx:pt idx="48778">1</cx:pt>
          <cx:pt idx="48779">0</cx:pt>
          <cx:pt idx="48780">0</cx:pt>
          <cx:pt idx="48781">1</cx:pt>
          <cx:pt idx="48782">0</cx:pt>
          <cx:pt idx="48783">0</cx:pt>
          <cx:pt idx="48784">0</cx:pt>
          <cx:pt idx="48785">0</cx:pt>
          <cx:pt idx="48786">0</cx:pt>
          <cx:pt idx="48787">1</cx:pt>
          <cx:pt idx="48788">1</cx:pt>
          <cx:pt idx="48789">1</cx:pt>
          <cx:pt idx="48790">0</cx:pt>
          <cx:pt idx="48791">0</cx:pt>
          <cx:pt idx="48792">0</cx:pt>
          <cx:pt idx="48793">0</cx:pt>
          <cx:pt idx="48794">1</cx:pt>
          <cx:pt idx="48795">1</cx:pt>
          <cx:pt idx="48796">1</cx:pt>
          <cx:pt idx="48797">1</cx:pt>
          <cx:pt idx="48798">0</cx:pt>
          <cx:pt idx="48799">0</cx:pt>
          <cx:pt idx="48800">0</cx:pt>
          <cx:pt idx="48801">0</cx:pt>
          <cx:pt idx="48802">0</cx:pt>
          <cx:pt idx="48803">1</cx:pt>
          <cx:pt idx="48804">1</cx:pt>
          <cx:pt idx="48805">1</cx:pt>
          <cx:pt idx="48806">0</cx:pt>
          <cx:pt idx="48807">0</cx:pt>
          <cx:pt idx="48808">0</cx:pt>
          <cx:pt idx="48809">1</cx:pt>
          <cx:pt idx="48810">1</cx:pt>
          <cx:pt idx="48811">0</cx:pt>
          <cx:pt idx="48812">0</cx:pt>
          <cx:pt idx="48813">0</cx:pt>
          <cx:pt idx="48814">0</cx:pt>
          <cx:pt idx="48815">0</cx:pt>
          <cx:pt idx="48816">1</cx:pt>
          <cx:pt idx="48817">1</cx:pt>
          <cx:pt idx="48818">1</cx:pt>
          <cx:pt idx="48819">1</cx:pt>
          <cx:pt idx="48820">1</cx:pt>
          <cx:pt idx="48821">0</cx:pt>
          <cx:pt idx="48822">0</cx:pt>
          <cx:pt idx="48823">0</cx:pt>
          <cx:pt idx="48824">1</cx:pt>
          <cx:pt idx="48825">0</cx:pt>
          <cx:pt idx="48826">1</cx:pt>
          <cx:pt idx="48827">1</cx:pt>
          <cx:pt idx="48828">0</cx:pt>
          <cx:pt idx="48829">0</cx:pt>
          <cx:pt idx="48830">1</cx:pt>
          <cx:pt idx="48831">0</cx:pt>
          <cx:pt idx="48832">1</cx:pt>
          <cx:pt idx="48833">1</cx:pt>
          <cx:pt idx="48834">0</cx:pt>
          <cx:pt idx="48835">0</cx:pt>
          <cx:pt idx="48836">1</cx:pt>
          <cx:pt idx="48837">1</cx:pt>
          <cx:pt idx="48838">1</cx:pt>
          <cx:pt idx="48839">1</cx:pt>
          <cx:pt idx="48840">1</cx:pt>
          <cx:pt idx="48841">0</cx:pt>
          <cx:pt idx="48842">1</cx:pt>
          <cx:pt idx="48843">0</cx:pt>
          <cx:pt idx="48844">0</cx:pt>
          <cx:pt idx="48845">1</cx:pt>
          <cx:pt idx="48846">0</cx:pt>
          <cx:pt idx="48847">1</cx:pt>
          <cx:pt idx="48848">1</cx:pt>
          <cx:pt idx="48849">0</cx:pt>
          <cx:pt idx="48850">1</cx:pt>
          <cx:pt idx="48851">1</cx:pt>
          <cx:pt idx="48852">1</cx:pt>
          <cx:pt idx="48853">1</cx:pt>
          <cx:pt idx="48854">0</cx:pt>
          <cx:pt idx="48855">0</cx:pt>
          <cx:pt idx="48856">1</cx:pt>
          <cx:pt idx="48857">0</cx:pt>
          <cx:pt idx="48858">1</cx:pt>
          <cx:pt idx="48859">0</cx:pt>
          <cx:pt idx="48860">1</cx:pt>
          <cx:pt idx="48861">1</cx:pt>
          <cx:pt idx="48862">0</cx:pt>
          <cx:pt idx="48863">0</cx:pt>
          <cx:pt idx="48864">0</cx:pt>
          <cx:pt idx="48865">0</cx:pt>
          <cx:pt idx="48866">1</cx:pt>
          <cx:pt idx="48867">1</cx:pt>
          <cx:pt idx="48868">0</cx:pt>
          <cx:pt idx="48869">0</cx:pt>
          <cx:pt idx="48870">1</cx:pt>
          <cx:pt idx="48871">1</cx:pt>
          <cx:pt idx="48872">0</cx:pt>
          <cx:pt idx="48873">1</cx:pt>
          <cx:pt idx="48874">0</cx:pt>
          <cx:pt idx="48875">0</cx:pt>
          <cx:pt idx="48876">0</cx:pt>
          <cx:pt idx="48877">0</cx:pt>
          <cx:pt idx="48878">1</cx:pt>
          <cx:pt idx="48879">0</cx:pt>
          <cx:pt idx="48880">1</cx:pt>
          <cx:pt idx="48881">0</cx:pt>
          <cx:pt idx="48882">1</cx:pt>
          <cx:pt idx="48883">0</cx:pt>
          <cx:pt idx="48884">1</cx:pt>
          <cx:pt idx="48885">1</cx:pt>
          <cx:pt idx="48886">1</cx:pt>
          <cx:pt idx="48887">0</cx:pt>
          <cx:pt idx="48888">0</cx:pt>
          <cx:pt idx="48889">0</cx:pt>
          <cx:pt idx="48890">1</cx:pt>
          <cx:pt idx="48891">0</cx:pt>
          <cx:pt idx="48892">1</cx:pt>
          <cx:pt idx="48893">0</cx:pt>
          <cx:pt idx="48894">1</cx:pt>
          <cx:pt idx="48895">0</cx:pt>
          <cx:pt idx="48896">0</cx:pt>
          <cx:pt idx="48897">0</cx:pt>
          <cx:pt idx="48898">1</cx:pt>
          <cx:pt idx="48899">1</cx:pt>
          <cx:pt idx="48900">1</cx:pt>
          <cx:pt idx="48901">1</cx:pt>
          <cx:pt idx="48902">1</cx:pt>
          <cx:pt idx="48903">1</cx:pt>
          <cx:pt idx="48904">0</cx:pt>
          <cx:pt idx="48905">0</cx:pt>
          <cx:pt idx="48906">1</cx:pt>
          <cx:pt idx="48907">1</cx:pt>
          <cx:pt idx="48908">0</cx:pt>
          <cx:pt idx="48909">1</cx:pt>
          <cx:pt idx="48910">0</cx:pt>
          <cx:pt idx="48911">0</cx:pt>
          <cx:pt idx="48912">0</cx:pt>
          <cx:pt idx="48913">0</cx:pt>
          <cx:pt idx="48914">0</cx:pt>
          <cx:pt idx="48915">0</cx:pt>
          <cx:pt idx="48916">1</cx:pt>
          <cx:pt idx="48917">0</cx:pt>
          <cx:pt idx="48918">1</cx:pt>
          <cx:pt idx="48919">1</cx:pt>
          <cx:pt idx="48920">0</cx:pt>
          <cx:pt idx="48921">0</cx:pt>
          <cx:pt idx="48922">0</cx:pt>
          <cx:pt idx="48923">1</cx:pt>
          <cx:pt idx="48924">1</cx:pt>
          <cx:pt idx="48925">0</cx:pt>
          <cx:pt idx="48926">0</cx:pt>
          <cx:pt idx="48927">0</cx:pt>
          <cx:pt idx="48928">1</cx:pt>
          <cx:pt idx="48929">0</cx:pt>
          <cx:pt idx="48930">1</cx:pt>
          <cx:pt idx="48931">0</cx:pt>
          <cx:pt idx="48932">0</cx:pt>
          <cx:pt idx="48933">0</cx:pt>
          <cx:pt idx="48934">0</cx:pt>
          <cx:pt idx="48935">0</cx:pt>
          <cx:pt idx="48936">0</cx:pt>
          <cx:pt idx="48937">1</cx:pt>
          <cx:pt idx="48938">0</cx:pt>
          <cx:pt idx="48939">0</cx:pt>
          <cx:pt idx="48940">0</cx:pt>
          <cx:pt idx="48941">0</cx:pt>
          <cx:pt idx="48942">0</cx:pt>
          <cx:pt idx="48943">1</cx:pt>
          <cx:pt idx="48944">0</cx:pt>
          <cx:pt idx="48945">0</cx:pt>
          <cx:pt idx="48946">0</cx:pt>
          <cx:pt idx="48947">0</cx:pt>
          <cx:pt idx="48948">0</cx:pt>
          <cx:pt idx="48949">0</cx:pt>
          <cx:pt idx="48950">1</cx:pt>
          <cx:pt idx="48951">1</cx:pt>
          <cx:pt idx="48952">1</cx:pt>
          <cx:pt idx="48953">0</cx:pt>
          <cx:pt idx="48954">0</cx:pt>
          <cx:pt idx="48955">1</cx:pt>
          <cx:pt idx="48956">0</cx:pt>
          <cx:pt idx="48957">0</cx:pt>
          <cx:pt idx="48958">1</cx:pt>
          <cx:pt idx="48959">1</cx:pt>
          <cx:pt idx="48960">1</cx:pt>
          <cx:pt idx="48961">1</cx:pt>
          <cx:pt idx="48962">0</cx:pt>
          <cx:pt idx="48963">0</cx:pt>
          <cx:pt idx="48964">1</cx:pt>
          <cx:pt idx="48965">0</cx:pt>
          <cx:pt idx="48966">0</cx:pt>
          <cx:pt idx="48967">1</cx:pt>
          <cx:pt idx="48968">0</cx:pt>
          <cx:pt idx="48969">1</cx:pt>
          <cx:pt idx="48970">0</cx:pt>
          <cx:pt idx="48971">0</cx:pt>
          <cx:pt idx="48972">1</cx:pt>
          <cx:pt idx="48973">0</cx:pt>
          <cx:pt idx="48974">1</cx:pt>
          <cx:pt idx="48975">0</cx:pt>
          <cx:pt idx="48976">0</cx:pt>
          <cx:pt idx="48977">0</cx:pt>
          <cx:pt idx="48978">1</cx:pt>
          <cx:pt idx="48979">0</cx:pt>
          <cx:pt idx="48980">0</cx:pt>
          <cx:pt idx="48981">0</cx:pt>
          <cx:pt idx="48982">1</cx:pt>
          <cx:pt idx="48983">0</cx:pt>
          <cx:pt idx="48984">1</cx:pt>
          <cx:pt idx="48985">1</cx:pt>
          <cx:pt idx="48986">0</cx:pt>
          <cx:pt idx="48987">0</cx:pt>
          <cx:pt idx="48988">0</cx:pt>
          <cx:pt idx="48989">1</cx:pt>
          <cx:pt idx="48990">1</cx:pt>
          <cx:pt idx="48991">1</cx:pt>
          <cx:pt idx="48992">1</cx:pt>
          <cx:pt idx="48993">0</cx:pt>
          <cx:pt idx="48994">1</cx:pt>
          <cx:pt idx="48995">0</cx:pt>
          <cx:pt idx="48996">0</cx:pt>
          <cx:pt idx="48997">1</cx:pt>
          <cx:pt idx="48998">0</cx:pt>
          <cx:pt idx="48999">1</cx:pt>
          <cx:pt idx="49000">0</cx:pt>
          <cx:pt idx="49001">1</cx:pt>
          <cx:pt idx="49002">0</cx:pt>
          <cx:pt idx="49003">1</cx:pt>
          <cx:pt idx="49004">1</cx:pt>
          <cx:pt idx="49005">1</cx:pt>
          <cx:pt idx="49006">0</cx:pt>
          <cx:pt idx="49007">1</cx:pt>
          <cx:pt idx="49008">1</cx:pt>
          <cx:pt idx="49009">0</cx:pt>
          <cx:pt idx="49010">1</cx:pt>
          <cx:pt idx="49011">0</cx:pt>
          <cx:pt idx="49012">0</cx:pt>
          <cx:pt idx="49013">1</cx:pt>
          <cx:pt idx="49014">0</cx:pt>
          <cx:pt idx="49015">0</cx:pt>
          <cx:pt idx="49016">0</cx:pt>
          <cx:pt idx="49017">0</cx:pt>
          <cx:pt idx="49018">0</cx:pt>
          <cx:pt idx="49019">0</cx:pt>
          <cx:pt idx="49020">0</cx:pt>
          <cx:pt idx="49021">0</cx:pt>
          <cx:pt idx="49022">0</cx:pt>
          <cx:pt idx="49023">1</cx:pt>
          <cx:pt idx="49024">1</cx:pt>
          <cx:pt idx="49025">0</cx:pt>
          <cx:pt idx="49026">1</cx:pt>
          <cx:pt idx="49027">0</cx:pt>
          <cx:pt idx="49028">0</cx:pt>
          <cx:pt idx="49029">0</cx:pt>
          <cx:pt idx="49030">0</cx:pt>
          <cx:pt idx="49031">0</cx:pt>
          <cx:pt idx="49032">0</cx:pt>
          <cx:pt idx="49033">1</cx:pt>
          <cx:pt idx="49034">1</cx:pt>
          <cx:pt idx="49035">1</cx:pt>
          <cx:pt idx="49036">0</cx:pt>
          <cx:pt idx="49037">0</cx:pt>
          <cx:pt idx="49038">0</cx:pt>
          <cx:pt idx="49039">1</cx:pt>
          <cx:pt idx="49040">0</cx:pt>
          <cx:pt idx="49041">1</cx:pt>
          <cx:pt idx="49042">0</cx:pt>
          <cx:pt idx="49043">0</cx:pt>
          <cx:pt idx="49044">0</cx:pt>
          <cx:pt idx="49045">0</cx:pt>
          <cx:pt idx="49046">1</cx:pt>
          <cx:pt idx="49047">0</cx:pt>
          <cx:pt idx="49048">0</cx:pt>
          <cx:pt idx="49049">0</cx:pt>
          <cx:pt idx="49050">1</cx:pt>
          <cx:pt idx="49051">0</cx:pt>
          <cx:pt idx="49052">1</cx:pt>
          <cx:pt idx="49053">0</cx:pt>
          <cx:pt idx="49054">1</cx:pt>
          <cx:pt idx="49055">0</cx:pt>
          <cx:pt idx="49056">1</cx:pt>
          <cx:pt idx="49057">1</cx:pt>
          <cx:pt idx="49058">1</cx:pt>
          <cx:pt idx="49059">0</cx:pt>
          <cx:pt idx="49060">1</cx:pt>
          <cx:pt idx="49061">1</cx:pt>
          <cx:pt idx="49062">0</cx:pt>
          <cx:pt idx="49063">1</cx:pt>
          <cx:pt idx="49064">0</cx:pt>
          <cx:pt idx="49065">0</cx:pt>
          <cx:pt idx="49066">0</cx:pt>
          <cx:pt idx="49067">1</cx:pt>
          <cx:pt idx="49068">1</cx:pt>
          <cx:pt idx="49069">0</cx:pt>
          <cx:pt idx="49070">0</cx:pt>
          <cx:pt idx="49071">0</cx:pt>
          <cx:pt idx="49072">0</cx:pt>
          <cx:pt idx="49073">1</cx:pt>
          <cx:pt idx="49074">1</cx:pt>
          <cx:pt idx="49075">1</cx:pt>
          <cx:pt idx="49076">0</cx:pt>
          <cx:pt idx="49077">0</cx:pt>
          <cx:pt idx="49078">0</cx:pt>
          <cx:pt idx="49079">1</cx:pt>
          <cx:pt idx="49080">0</cx:pt>
          <cx:pt idx="49081">0</cx:pt>
          <cx:pt idx="49082">1</cx:pt>
          <cx:pt idx="49083">0</cx:pt>
          <cx:pt idx="49084">0</cx:pt>
          <cx:pt idx="49085">0</cx:pt>
          <cx:pt idx="49086">0</cx:pt>
          <cx:pt idx="49087">1</cx:pt>
          <cx:pt idx="49088">1</cx:pt>
          <cx:pt idx="49089">1</cx:pt>
          <cx:pt idx="49090">1</cx:pt>
          <cx:pt idx="49091">0</cx:pt>
          <cx:pt idx="49092">0</cx:pt>
          <cx:pt idx="49093">0</cx:pt>
          <cx:pt idx="49094">1</cx:pt>
          <cx:pt idx="49095">0</cx:pt>
          <cx:pt idx="49096">0</cx:pt>
          <cx:pt idx="49097">0</cx:pt>
          <cx:pt idx="49098">0</cx:pt>
          <cx:pt idx="49099">1</cx:pt>
          <cx:pt idx="49100">0</cx:pt>
          <cx:pt idx="49101">0</cx:pt>
          <cx:pt idx="49102">1</cx:pt>
          <cx:pt idx="49103">0</cx:pt>
          <cx:pt idx="49104">0</cx:pt>
          <cx:pt idx="49105">0</cx:pt>
          <cx:pt idx="49106">1</cx:pt>
          <cx:pt idx="49107">0</cx:pt>
          <cx:pt idx="49108">1</cx:pt>
          <cx:pt idx="49109">1</cx:pt>
          <cx:pt idx="49110">0</cx:pt>
          <cx:pt idx="49111">1</cx:pt>
          <cx:pt idx="49112">0</cx:pt>
          <cx:pt idx="49113">0</cx:pt>
          <cx:pt idx="49114">1</cx:pt>
          <cx:pt idx="49115">0</cx:pt>
          <cx:pt idx="49116">1</cx:pt>
          <cx:pt idx="49117">0</cx:pt>
          <cx:pt idx="49118">0</cx:pt>
          <cx:pt idx="49119">0</cx:pt>
          <cx:pt idx="49120">0</cx:pt>
          <cx:pt idx="49121">0</cx:pt>
          <cx:pt idx="49122">0</cx:pt>
          <cx:pt idx="49123">1</cx:pt>
          <cx:pt idx="49124">1</cx:pt>
          <cx:pt idx="49125">0</cx:pt>
          <cx:pt idx="49126">0</cx:pt>
          <cx:pt idx="49127">1</cx:pt>
          <cx:pt idx="49128">0</cx:pt>
          <cx:pt idx="49129">0</cx:pt>
          <cx:pt idx="49130">1</cx:pt>
          <cx:pt idx="49131">1</cx:pt>
          <cx:pt idx="49132">0</cx:pt>
          <cx:pt idx="49133">0</cx:pt>
          <cx:pt idx="49134">1</cx:pt>
          <cx:pt idx="49135">0</cx:pt>
          <cx:pt idx="49136">1</cx:pt>
          <cx:pt idx="49137">0</cx:pt>
          <cx:pt idx="49138">1</cx:pt>
          <cx:pt idx="49139">0</cx:pt>
          <cx:pt idx="49140">0</cx:pt>
          <cx:pt idx="49141">1</cx:pt>
          <cx:pt idx="49142">0</cx:pt>
          <cx:pt idx="49143">1</cx:pt>
          <cx:pt idx="49144">1</cx:pt>
          <cx:pt idx="49145">0</cx:pt>
          <cx:pt idx="49146">1</cx:pt>
          <cx:pt idx="49147">0</cx:pt>
          <cx:pt idx="49148">1</cx:pt>
          <cx:pt idx="49149">1</cx:pt>
          <cx:pt idx="49150">1</cx:pt>
          <cx:pt idx="49151">0</cx:pt>
          <cx:pt idx="49152">0</cx:pt>
          <cx:pt idx="49153">1</cx:pt>
          <cx:pt idx="49154">0</cx:pt>
          <cx:pt idx="49155">0</cx:pt>
          <cx:pt idx="49156">0</cx:pt>
          <cx:pt idx="49157">0</cx:pt>
          <cx:pt idx="49158">0</cx:pt>
          <cx:pt idx="49159">1</cx:pt>
          <cx:pt idx="49160">1</cx:pt>
          <cx:pt idx="49161">0</cx:pt>
          <cx:pt idx="49162">1</cx:pt>
          <cx:pt idx="49163">1</cx:pt>
          <cx:pt idx="49164">1</cx:pt>
          <cx:pt idx="49165">0</cx:pt>
          <cx:pt idx="49166">1</cx:pt>
          <cx:pt idx="49167">1</cx:pt>
          <cx:pt idx="49168">1</cx:pt>
          <cx:pt idx="49169">0</cx:pt>
          <cx:pt idx="49170">1</cx:pt>
          <cx:pt idx="49171">1</cx:pt>
          <cx:pt idx="49172">1</cx:pt>
          <cx:pt idx="49173">1</cx:pt>
          <cx:pt idx="49174">0</cx:pt>
          <cx:pt idx="49175">1</cx:pt>
          <cx:pt idx="49176">0</cx:pt>
          <cx:pt idx="49177">0</cx:pt>
          <cx:pt idx="49178">0</cx:pt>
          <cx:pt idx="49179">1</cx:pt>
          <cx:pt idx="49180">0</cx:pt>
          <cx:pt idx="49181">1</cx:pt>
          <cx:pt idx="49182">0</cx:pt>
          <cx:pt idx="49183">1</cx:pt>
          <cx:pt idx="49184">0</cx:pt>
          <cx:pt idx="49185">0</cx:pt>
          <cx:pt idx="49186">0</cx:pt>
          <cx:pt idx="49187">1</cx:pt>
          <cx:pt idx="49188">0</cx:pt>
          <cx:pt idx="49189">1</cx:pt>
          <cx:pt idx="49190">0</cx:pt>
          <cx:pt idx="49191">0</cx:pt>
          <cx:pt idx="49192">1</cx:pt>
          <cx:pt idx="49193">1</cx:pt>
          <cx:pt idx="49194">0</cx:pt>
          <cx:pt idx="49195">0</cx:pt>
          <cx:pt idx="49196">0</cx:pt>
          <cx:pt idx="49197">1</cx:pt>
          <cx:pt idx="49198">0</cx:pt>
          <cx:pt idx="49199">1</cx:pt>
          <cx:pt idx="49200">1</cx:pt>
          <cx:pt idx="49201">0</cx:pt>
          <cx:pt idx="49202">0</cx:pt>
          <cx:pt idx="49203">1</cx:pt>
          <cx:pt idx="49204">0</cx:pt>
          <cx:pt idx="49205">1</cx:pt>
          <cx:pt idx="49206">1</cx:pt>
          <cx:pt idx="49207">0</cx:pt>
          <cx:pt idx="49208">1</cx:pt>
          <cx:pt idx="49209">1</cx:pt>
          <cx:pt idx="49210">0</cx:pt>
          <cx:pt idx="49211">0</cx:pt>
          <cx:pt idx="49212">0</cx:pt>
          <cx:pt idx="49213">1</cx:pt>
          <cx:pt idx="49214">0</cx:pt>
          <cx:pt idx="49215">0</cx:pt>
          <cx:pt idx="49216">0</cx:pt>
          <cx:pt idx="49217">0</cx:pt>
          <cx:pt idx="49218">0</cx:pt>
          <cx:pt idx="49219">1</cx:pt>
          <cx:pt idx="49220">0</cx:pt>
          <cx:pt idx="49221">0</cx:pt>
          <cx:pt idx="49222">0</cx:pt>
          <cx:pt idx="49223">0</cx:pt>
          <cx:pt idx="49224">0</cx:pt>
          <cx:pt idx="49225">0</cx:pt>
          <cx:pt idx="49226">1</cx:pt>
          <cx:pt idx="49227">0</cx:pt>
          <cx:pt idx="49228">0</cx:pt>
          <cx:pt idx="49229">0</cx:pt>
          <cx:pt idx="49230">0</cx:pt>
          <cx:pt idx="49231">0</cx:pt>
          <cx:pt idx="49232">0</cx:pt>
          <cx:pt idx="49233">0</cx:pt>
          <cx:pt idx="49234">0</cx:pt>
          <cx:pt idx="49235">0</cx:pt>
          <cx:pt idx="49236">1</cx:pt>
          <cx:pt idx="49237">1</cx:pt>
          <cx:pt idx="49238">1</cx:pt>
          <cx:pt idx="49239">0</cx:pt>
          <cx:pt idx="49240">0</cx:pt>
          <cx:pt idx="49241">0</cx:pt>
          <cx:pt idx="49242">1</cx:pt>
          <cx:pt idx="49243">0</cx:pt>
          <cx:pt idx="49244">0</cx:pt>
          <cx:pt idx="49245">0</cx:pt>
          <cx:pt idx="49246">0</cx:pt>
          <cx:pt idx="49247">1</cx:pt>
          <cx:pt idx="49248">1</cx:pt>
          <cx:pt idx="49249">0</cx:pt>
          <cx:pt idx="49250">1</cx:pt>
          <cx:pt idx="49251">1</cx:pt>
          <cx:pt idx="49252">1</cx:pt>
          <cx:pt idx="49253">1</cx:pt>
          <cx:pt idx="49254">0</cx:pt>
          <cx:pt idx="49255">0</cx:pt>
          <cx:pt idx="49256">0</cx:pt>
          <cx:pt idx="49257">1</cx:pt>
          <cx:pt idx="49258">0</cx:pt>
          <cx:pt idx="49259">0</cx:pt>
          <cx:pt idx="49260">0</cx:pt>
          <cx:pt idx="49261">0</cx:pt>
          <cx:pt idx="49262">0</cx:pt>
          <cx:pt idx="49263">0</cx:pt>
          <cx:pt idx="49264">0</cx:pt>
          <cx:pt idx="49265">0</cx:pt>
          <cx:pt idx="49266">1</cx:pt>
          <cx:pt idx="49267">0</cx:pt>
          <cx:pt idx="49268">1</cx:pt>
          <cx:pt idx="49269">0</cx:pt>
          <cx:pt idx="49270">0</cx:pt>
          <cx:pt idx="49271">1</cx:pt>
          <cx:pt idx="49272">0</cx:pt>
          <cx:pt idx="49273">0</cx:pt>
          <cx:pt idx="49274">1</cx:pt>
          <cx:pt idx="49275">0</cx:pt>
          <cx:pt idx="49276">1</cx:pt>
          <cx:pt idx="49277">1</cx:pt>
          <cx:pt idx="49278">1</cx:pt>
          <cx:pt idx="49279">1</cx:pt>
          <cx:pt idx="49280">1</cx:pt>
          <cx:pt idx="49281">0</cx:pt>
          <cx:pt idx="49282">0</cx:pt>
          <cx:pt idx="49283">0</cx:pt>
          <cx:pt idx="49284">0</cx:pt>
          <cx:pt idx="49285">1</cx:pt>
          <cx:pt idx="49286">0</cx:pt>
          <cx:pt idx="49287">1</cx:pt>
          <cx:pt idx="49288">0</cx:pt>
          <cx:pt idx="49289">0</cx:pt>
          <cx:pt idx="49290">0</cx:pt>
          <cx:pt idx="49291">0</cx:pt>
          <cx:pt idx="49292">1</cx:pt>
          <cx:pt idx="49293">0</cx:pt>
          <cx:pt idx="49294">0</cx:pt>
          <cx:pt idx="49295">0</cx:pt>
          <cx:pt idx="49296">0</cx:pt>
          <cx:pt idx="49297">0</cx:pt>
          <cx:pt idx="49298">1</cx:pt>
          <cx:pt idx="49299">1</cx:pt>
          <cx:pt idx="49300">1</cx:pt>
          <cx:pt idx="49301">0</cx:pt>
          <cx:pt idx="49302">0</cx:pt>
          <cx:pt idx="49303">0</cx:pt>
          <cx:pt idx="49304">0</cx:pt>
          <cx:pt idx="49305">0</cx:pt>
          <cx:pt idx="49306">0</cx:pt>
          <cx:pt idx="49307">0</cx:pt>
          <cx:pt idx="49308">1</cx:pt>
          <cx:pt idx="49309">0</cx:pt>
          <cx:pt idx="49310">0</cx:pt>
          <cx:pt idx="49311">0</cx:pt>
          <cx:pt idx="49312">1</cx:pt>
          <cx:pt idx="49313">1</cx:pt>
          <cx:pt idx="49314">0</cx:pt>
          <cx:pt idx="49315">1</cx:pt>
          <cx:pt idx="49316">1</cx:pt>
          <cx:pt idx="49317">1</cx:pt>
          <cx:pt idx="49318">0</cx:pt>
          <cx:pt idx="49319">0</cx:pt>
          <cx:pt idx="49320">1</cx:pt>
          <cx:pt idx="49321">0</cx:pt>
          <cx:pt idx="49322">1</cx:pt>
          <cx:pt idx="49323">1</cx:pt>
          <cx:pt idx="49324">0</cx:pt>
          <cx:pt idx="49325">0</cx:pt>
          <cx:pt idx="49326">0</cx:pt>
          <cx:pt idx="49327">0</cx:pt>
          <cx:pt idx="49328">1</cx:pt>
          <cx:pt idx="49329">0</cx:pt>
          <cx:pt idx="49330">1</cx:pt>
          <cx:pt idx="49331">1</cx:pt>
          <cx:pt idx="49332">0</cx:pt>
          <cx:pt idx="49333">0</cx:pt>
          <cx:pt idx="49334">0</cx:pt>
          <cx:pt idx="49335">1</cx:pt>
          <cx:pt idx="49336">0</cx:pt>
          <cx:pt idx="49337">1</cx:pt>
          <cx:pt idx="49338">1</cx:pt>
          <cx:pt idx="49339">0</cx:pt>
          <cx:pt idx="49340">1</cx:pt>
          <cx:pt idx="49341">1</cx:pt>
          <cx:pt idx="49342">0</cx:pt>
          <cx:pt idx="49343">0</cx:pt>
          <cx:pt idx="49344">1</cx:pt>
          <cx:pt idx="49345">0</cx:pt>
          <cx:pt idx="49346">1</cx:pt>
          <cx:pt idx="49347">0</cx:pt>
          <cx:pt idx="49348">1</cx:pt>
          <cx:pt idx="49349">0</cx:pt>
          <cx:pt idx="49350">0</cx:pt>
          <cx:pt idx="49351">0</cx:pt>
          <cx:pt idx="49352">1</cx:pt>
          <cx:pt idx="49353">0</cx:pt>
          <cx:pt idx="49354">0</cx:pt>
          <cx:pt idx="49355">0</cx:pt>
          <cx:pt idx="49356">0</cx:pt>
          <cx:pt idx="49357">1</cx:pt>
          <cx:pt idx="49358">0</cx:pt>
          <cx:pt idx="49359">0</cx:pt>
          <cx:pt idx="49360">1</cx:pt>
          <cx:pt idx="49361">1</cx:pt>
          <cx:pt idx="49362">1</cx:pt>
          <cx:pt idx="49363">0</cx:pt>
          <cx:pt idx="49364">0</cx:pt>
          <cx:pt idx="49365">1</cx:pt>
          <cx:pt idx="49366">0</cx:pt>
          <cx:pt idx="49367">1</cx:pt>
          <cx:pt idx="49368">1</cx:pt>
          <cx:pt idx="49369">0</cx:pt>
          <cx:pt idx="49370">0</cx:pt>
          <cx:pt idx="49371">0</cx:pt>
          <cx:pt idx="49372">1</cx:pt>
          <cx:pt idx="49373">1</cx:pt>
          <cx:pt idx="49374">1</cx:pt>
          <cx:pt idx="49375">0</cx:pt>
          <cx:pt idx="49376">1</cx:pt>
          <cx:pt idx="49377">1</cx:pt>
          <cx:pt idx="49378">1</cx:pt>
          <cx:pt idx="49379">0</cx:pt>
          <cx:pt idx="49380">0</cx:pt>
          <cx:pt idx="49381">1</cx:pt>
          <cx:pt idx="49382">1</cx:pt>
          <cx:pt idx="49383">0</cx:pt>
          <cx:pt idx="49384">1</cx:pt>
          <cx:pt idx="49385">0</cx:pt>
          <cx:pt idx="49386">1</cx:pt>
          <cx:pt idx="49387">1</cx:pt>
          <cx:pt idx="49388">1</cx:pt>
          <cx:pt idx="49389">1</cx:pt>
          <cx:pt idx="49390">0</cx:pt>
          <cx:pt idx="49391">0</cx:pt>
          <cx:pt idx="49392">0</cx:pt>
          <cx:pt idx="49393">0</cx:pt>
          <cx:pt idx="49394">0</cx:pt>
          <cx:pt idx="49395">1</cx:pt>
          <cx:pt idx="49396">0</cx:pt>
          <cx:pt idx="49397">0</cx:pt>
          <cx:pt idx="49398">0</cx:pt>
          <cx:pt idx="49399">0</cx:pt>
          <cx:pt idx="49400">0</cx:pt>
          <cx:pt idx="49401">0</cx:pt>
          <cx:pt idx="49402">0</cx:pt>
          <cx:pt idx="49403">0</cx:pt>
          <cx:pt idx="49404">0</cx:pt>
          <cx:pt idx="49405">0</cx:pt>
          <cx:pt idx="49406">0</cx:pt>
          <cx:pt idx="49407">1</cx:pt>
          <cx:pt idx="49408">1</cx:pt>
          <cx:pt idx="49409">0</cx:pt>
          <cx:pt idx="49410">0</cx:pt>
          <cx:pt idx="49411">1</cx:pt>
          <cx:pt idx="49412">0</cx:pt>
          <cx:pt idx="49413">1</cx:pt>
          <cx:pt idx="49414">0</cx:pt>
          <cx:pt idx="49415">1</cx:pt>
          <cx:pt idx="49416">0</cx:pt>
          <cx:pt idx="49417">1</cx:pt>
          <cx:pt idx="49418">1</cx:pt>
          <cx:pt idx="49419">1</cx:pt>
          <cx:pt idx="49420">1</cx:pt>
          <cx:pt idx="49421">1</cx:pt>
          <cx:pt idx="49422">1</cx:pt>
          <cx:pt idx="49423">0</cx:pt>
          <cx:pt idx="49424">1</cx:pt>
          <cx:pt idx="49425">0</cx:pt>
          <cx:pt idx="49426">1</cx:pt>
          <cx:pt idx="49427">0</cx:pt>
          <cx:pt idx="49428">1</cx:pt>
          <cx:pt idx="49429">0</cx:pt>
          <cx:pt idx="49430">1</cx:pt>
          <cx:pt idx="49431">1</cx:pt>
          <cx:pt idx="49432">0</cx:pt>
          <cx:pt idx="49433">1</cx:pt>
          <cx:pt idx="49434">1</cx:pt>
          <cx:pt idx="49435">1</cx:pt>
          <cx:pt idx="49436">1</cx:pt>
          <cx:pt idx="49437">0</cx:pt>
          <cx:pt idx="49438">1</cx:pt>
          <cx:pt idx="49439">1</cx:pt>
          <cx:pt idx="49440">0</cx:pt>
          <cx:pt idx="49441">0</cx:pt>
          <cx:pt idx="49442">0</cx:pt>
          <cx:pt idx="49443">0</cx:pt>
          <cx:pt idx="49444">0</cx:pt>
          <cx:pt idx="49445">1</cx:pt>
          <cx:pt idx="49446">1</cx:pt>
          <cx:pt idx="49447">0</cx:pt>
          <cx:pt idx="49448">0</cx:pt>
          <cx:pt idx="49449">1</cx:pt>
          <cx:pt idx="49450">0</cx:pt>
          <cx:pt idx="49451">1</cx:pt>
          <cx:pt idx="49452">0</cx:pt>
          <cx:pt idx="49453">1</cx:pt>
          <cx:pt idx="49454">1</cx:pt>
          <cx:pt idx="49455">1</cx:pt>
          <cx:pt idx="49456">0</cx:pt>
          <cx:pt idx="49457">0</cx:pt>
          <cx:pt idx="49458">0</cx:pt>
          <cx:pt idx="49459">1</cx:pt>
          <cx:pt idx="49460">1</cx:pt>
          <cx:pt idx="49461">0</cx:pt>
          <cx:pt idx="49462">1</cx:pt>
          <cx:pt idx="49463">0</cx:pt>
          <cx:pt idx="49464">0</cx:pt>
          <cx:pt idx="49465">0</cx:pt>
          <cx:pt idx="49466">0</cx:pt>
          <cx:pt idx="49467">1</cx:pt>
          <cx:pt idx="49468">1</cx:pt>
          <cx:pt idx="49469">0</cx:pt>
          <cx:pt idx="49470">0</cx:pt>
          <cx:pt idx="49471">0</cx:pt>
          <cx:pt idx="49472">0</cx:pt>
          <cx:pt idx="49473">1</cx:pt>
          <cx:pt idx="49474">1</cx:pt>
          <cx:pt idx="49475">1</cx:pt>
          <cx:pt idx="49476">1</cx:pt>
          <cx:pt idx="49477">1</cx:pt>
          <cx:pt idx="49478">0</cx:pt>
          <cx:pt idx="49479">1</cx:pt>
          <cx:pt idx="49480">1</cx:pt>
          <cx:pt idx="49481">1</cx:pt>
          <cx:pt idx="49482">1</cx:pt>
          <cx:pt idx="49483">1</cx:pt>
          <cx:pt idx="49484">0</cx:pt>
          <cx:pt idx="49485">1</cx:pt>
          <cx:pt idx="49486">0</cx:pt>
          <cx:pt idx="49487">0</cx:pt>
          <cx:pt idx="49488">1</cx:pt>
          <cx:pt idx="49489">0</cx:pt>
          <cx:pt idx="49490">0</cx:pt>
          <cx:pt idx="49491">0</cx:pt>
          <cx:pt idx="49492">1</cx:pt>
          <cx:pt idx="49493">0</cx:pt>
          <cx:pt idx="49494">0</cx:pt>
          <cx:pt idx="49495">0</cx:pt>
          <cx:pt idx="49496">0</cx:pt>
          <cx:pt idx="49497">1</cx:pt>
          <cx:pt idx="49498">0</cx:pt>
          <cx:pt idx="49499">1</cx:pt>
          <cx:pt idx="49500">0</cx:pt>
          <cx:pt idx="49501">0</cx:pt>
          <cx:pt idx="49502">0</cx:pt>
          <cx:pt idx="49503">0</cx:pt>
          <cx:pt idx="49504">1</cx:pt>
          <cx:pt idx="49505">0</cx:pt>
          <cx:pt idx="49506">1</cx:pt>
          <cx:pt idx="49507">0</cx:pt>
          <cx:pt idx="49508">1</cx:pt>
          <cx:pt idx="49509">0</cx:pt>
          <cx:pt idx="49510">0</cx:pt>
          <cx:pt idx="49511">1</cx:pt>
          <cx:pt idx="49512">1</cx:pt>
          <cx:pt idx="49513">1</cx:pt>
          <cx:pt idx="49514">1</cx:pt>
          <cx:pt idx="49515">0</cx:pt>
          <cx:pt idx="49516">0</cx:pt>
          <cx:pt idx="49517">0</cx:pt>
          <cx:pt idx="49518">0</cx:pt>
          <cx:pt idx="49519">0</cx:pt>
          <cx:pt idx="49520">1</cx:pt>
          <cx:pt idx="49521">0</cx:pt>
          <cx:pt idx="49522">0</cx:pt>
          <cx:pt idx="49523">1</cx:pt>
          <cx:pt idx="49524">0</cx:pt>
          <cx:pt idx="49525">0</cx:pt>
          <cx:pt idx="49526">0</cx:pt>
          <cx:pt idx="49527">0</cx:pt>
          <cx:pt idx="49528">1</cx:pt>
          <cx:pt idx="49529">1</cx:pt>
          <cx:pt idx="49530">0</cx:pt>
          <cx:pt idx="49531">0</cx:pt>
          <cx:pt idx="49532">0</cx:pt>
          <cx:pt idx="49533">0</cx:pt>
          <cx:pt idx="49534">0</cx:pt>
          <cx:pt idx="49535">1</cx:pt>
          <cx:pt idx="49536">0</cx:pt>
          <cx:pt idx="49537">1</cx:pt>
          <cx:pt idx="49538">1</cx:pt>
          <cx:pt idx="49539">0</cx:pt>
          <cx:pt idx="49540">1</cx:pt>
          <cx:pt idx="49541">1</cx:pt>
          <cx:pt idx="49542">0</cx:pt>
          <cx:pt idx="49543">0</cx:pt>
          <cx:pt idx="49544">1</cx:pt>
          <cx:pt idx="49545">0</cx:pt>
          <cx:pt idx="49546">0</cx:pt>
          <cx:pt idx="49547">0</cx:pt>
          <cx:pt idx="49548">1</cx:pt>
          <cx:pt idx="49549">1</cx:pt>
          <cx:pt idx="49550">0</cx:pt>
          <cx:pt idx="49551">0</cx:pt>
          <cx:pt idx="49552">1</cx:pt>
          <cx:pt idx="49553">1</cx:pt>
          <cx:pt idx="49554">0</cx:pt>
          <cx:pt idx="49555">0</cx:pt>
          <cx:pt idx="49556">1</cx:pt>
          <cx:pt idx="49557">1</cx:pt>
          <cx:pt idx="49558">0</cx:pt>
          <cx:pt idx="49559">1</cx:pt>
          <cx:pt idx="49560">1</cx:pt>
          <cx:pt idx="49561">1</cx:pt>
          <cx:pt idx="49562">0</cx:pt>
          <cx:pt idx="49563">0</cx:pt>
          <cx:pt idx="49564">1</cx:pt>
          <cx:pt idx="49565">0</cx:pt>
          <cx:pt idx="49566">0</cx:pt>
          <cx:pt idx="49567">0</cx:pt>
          <cx:pt idx="49568">1</cx:pt>
          <cx:pt idx="49569">0</cx:pt>
          <cx:pt idx="49570">0</cx:pt>
          <cx:pt idx="49571">1</cx:pt>
          <cx:pt idx="49572">0</cx:pt>
          <cx:pt idx="49573">0</cx:pt>
          <cx:pt idx="49574">1</cx:pt>
          <cx:pt idx="49575">1</cx:pt>
          <cx:pt idx="49576">0</cx:pt>
          <cx:pt idx="49577">0</cx:pt>
          <cx:pt idx="49578">1</cx:pt>
          <cx:pt idx="49579">1</cx:pt>
          <cx:pt idx="49580">0</cx:pt>
          <cx:pt idx="49581">0</cx:pt>
          <cx:pt idx="49582">0</cx:pt>
          <cx:pt idx="49583">1</cx:pt>
          <cx:pt idx="49584">1</cx:pt>
          <cx:pt idx="49585">1</cx:pt>
          <cx:pt idx="49586">0</cx:pt>
          <cx:pt idx="49587">0</cx:pt>
          <cx:pt idx="49588">1</cx:pt>
          <cx:pt idx="49589">0</cx:pt>
          <cx:pt idx="49590">1</cx:pt>
          <cx:pt idx="49591">0</cx:pt>
          <cx:pt idx="49592">1</cx:pt>
          <cx:pt idx="49593">1</cx:pt>
          <cx:pt idx="49594">1</cx:pt>
          <cx:pt idx="49595">0</cx:pt>
          <cx:pt idx="49596">1</cx:pt>
          <cx:pt idx="49597">0</cx:pt>
          <cx:pt idx="49598">1</cx:pt>
          <cx:pt idx="49599">0</cx:pt>
          <cx:pt idx="49600">1</cx:pt>
          <cx:pt idx="49601">0</cx:pt>
          <cx:pt idx="49602">0</cx:pt>
          <cx:pt idx="49603">1</cx:pt>
          <cx:pt idx="49604">1</cx:pt>
          <cx:pt idx="49605">0</cx:pt>
          <cx:pt idx="49606">1</cx:pt>
          <cx:pt idx="49607">1</cx:pt>
          <cx:pt idx="49608">0</cx:pt>
          <cx:pt idx="49609">0</cx:pt>
          <cx:pt idx="49610">1</cx:pt>
          <cx:pt idx="49611">1</cx:pt>
          <cx:pt idx="49612">0</cx:pt>
          <cx:pt idx="49613">1</cx:pt>
          <cx:pt idx="49614">1</cx:pt>
          <cx:pt idx="49615">0</cx:pt>
          <cx:pt idx="49616">1</cx:pt>
          <cx:pt idx="49617">0</cx:pt>
          <cx:pt idx="49618">0</cx:pt>
          <cx:pt idx="49619">0</cx:pt>
          <cx:pt idx="49620">1</cx:pt>
          <cx:pt idx="49621">0</cx:pt>
          <cx:pt idx="49622">0</cx:pt>
          <cx:pt idx="49623">0</cx:pt>
          <cx:pt idx="49624">0</cx:pt>
          <cx:pt idx="49625">1</cx:pt>
          <cx:pt idx="49626">0</cx:pt>
          <cx:pt idx="49627">1</cx:pt>
          <cx:pt idx="49628">1</cx:pt>
          <cx:pt idx="49629">0</cx:pt>
          <cx:pt idx="49630">1</cx:pt>
          <cx:pt idx="49631">1</cx:pt>
          <cx:pt idx="49632">0</cx:pt>
          <cx:pt idx="49633">0</cx:pt>
          <cx:pt idx="49634">0</cx:pt>
          <cx:pt idx="49635">0</cx:pt>
          <cx:pt idx="49636">1</cx:pt>
          <cx:pt idx="49637">0</cx:pt>
          <cx:pt idx="49638">1</cx:pt>
          <cx:pt idx="49639">0</cx:pt>
          <cx:pt idx="49640">1</cx:pt>
          <cx:pt idx="49641">1</cx:pt>
          <cx:pt idx="49642">1</cx:pt>
          <cx:pt idx="49643">0</cx:pt>
          <cx:pt idx="49644">0</cx:pt>
          <cx:pt idx="49645">0</cx:pt>
          <cx:pt idx="49646">0</cx:pt>
          <cx:pt idx="49647">1</cx:pt>
          <cx:pt idx="49648">1</cx:pt>
          <cx:pt idx="49649">0</cx:pt>
          <cx:pt idx="49650">1</cx:pt>
          <cx:pt idx="49651">0</cx:pt>
          <cx:pt idx="49652">0</cx:pt>
          <cx:pt idx="49653">1</cx:pt>
          <cx:pt idx="49654">1</cx:pt>
          <cx:pt idx="49655">1</cx:pt>
          <cx:pt idx="49656">0</cx:pt>
          <cx:pt idx="49657">1</cx:pt>
          <cx:pt idx="49658">0</cx:pt>
          <cx:pt idx="49659">0</cx:pt>
          <cx:pt idx="49660">0</cx:pt>
          <cx:pt idx="49661">0</cx:pt>
          <cx:pt idx="49662">1</cx:pt>
          <cx:pt idx="49663">1</cx:pt>
          <cx:pt idx="49664">0</cx:pt>
          <cx:pt idx="49665">1</cx:pt>
          <cx:pt idx="49666">1</cx:pt>
          <cx:pt idx="49667">0</cx:pt>
          <cx:pt idx="49668">1</cx:pt>
          <cx:pt idx="49669">0</cx:pt>
          <cx:pt idx="49670">0</cx:pt>
          <cx:pt idx="49671">0</cx:pt>
          <cx:pt idx="49672">0</cx:pt>
          <cx:pt idx="49673">0</cx:pt>
          <cx:pt idx="49674">0</cx:pt>
          <cx:pt idx="49675">0</cx:pt>
          <cx:pt idx="49676">1</cx:pt>
          <cx:pt idx="49677">1</cx:pt>
          <cx:pt idx="49678">1</cx:pt>
          <cx:pt idx="49679">1</cx:pt>
          <cx:pt idx="49680">1</cx:pt>
          <cx:pt idx="49681">1</cx:pt>
          <cx:pt idx="49682">1</cx:pt>
          <cx:pt idx="49683">1</cx:pt>
          <cx:pt idx="49684">0</cx:pt>
          <cx:pt idx="49685">1</cx:pt>
          <cx:pt idx="49686">0</cx:pt>
          <cx:pt idx="49687">1</cx:pt>
          <cx:pt idx="49688">0</cx:pt>
          <cx:pt idx="49689">1</cx:pt>
          <cx:pt idx="49690">0</cx:pt>
          <cx:pt idx="49691">0</cx:pt>
          <cx:pt idx="49692">0</cx:pt>
          <cx:pt idx="49693">1</cx:pt>
          <cx:pt idx="49694">0</cx:pt>
          <cx:pt idx="49695">0</cx:pt>
          <cx:pt idx="49696">1</cx:pt>
          <cx:pt idx="49697">0</cx:pt>
          <cx:pt idx="49698">1</cx:pt>
          <cx:pt idx="49699">0</cx:pt>
          <cx:pt idx="49700">0</cx:pt>
          <cx:pt idx="49701">0</cx:pt>
          <cx:pt idx="49702">0</cx:pt>
          <cx:pt idx="49703">1</cx:pt>
          <cx:pt idx="49704">1</cx:pt>
          <cx:pt idx="49705">1</cx:pt>
          <cx:pt idx="49706">1</cx:pt>
          <cx:pt idx="49707">0</cx:pt>
          <cx:pt idx="49708">0</cx:pt>
          <cx:pt idx="49709">1</cx:pt>
          <cx:pt idx="49710">1</cx:pt>
          <cx:pt idx="49711">1</cx:pt>
          <cx:pt idx="49712">1</cx:pt>
          <cx:pt idx="49713">1</cx:pt>
          <cx:pt idx="49714">1</cx:pt>
          <cx:pt idx="49715">1</cx:pt>
          <cx:pt idx="49716">0</cx:pt>
          <cx:pt idx="49717">0</cx:pt>
          <cx:pt idx="49718">0</cx:pt>
          <cx:pt idx="49719">0</cx:pt>
          <cx:pt idx="49720">0</cx:pt>
          <cx:pt idx="49721">0</cx:pt>
          <cx:pt idx="49722">0</cx:pt>
          <cx:pt idx="49723">1</cx:pt>
          <cx:pt idx="49724">0</cx:pt>
          <cx:pt idx="49725">0</cx:pt>
          <cx:pt idx="49726">1</cx:pt>
          <cx:pt idx="49727">1</cx:pt>
          <cx:pt idx="49728">1</cx:pt>
          <cx:pt idx="49729">0</cx:pt>
          <cx:pt idx="49730">0</cx:pt>
          <cx:pt idx="49731">0</cx:pt>
          <cx:pt idx="49732">0</cx:pt>
          <cx:pt idx="49733">0</cx:pt>
          <cx:pt idx="49734">1</cx:pt>
          <cx:pt idx="49735">1</cx:pt>
          <cx:pt idx="49736">0</cx:pt>
          <cx:pt idx="49737">0</cx:pt>
          <cx:pt idx="49738">1</cx:pt>
          <cx:pt idx="49739">0</cx:pt>
          <cx:pt idx="49740">1</cx:pt>
          <cx:pt idx="49741">0</cx:pt>
          <cx:pt idx="49742">0</cx:pt>
          <cx:pt idx="49743">0</cx:pt>
          <cx:pt idx="49744">0</cx:pt>
          <cx:pt idx="49745">1</cx:pt>
          <cx:pt idx="49746">1</cx:pt>
          <cx:pt idx="49747">0</cx:pt>
          <cx:pt idx="49748">0</cx:pt>
          <cx:pt idx="49749">0</cx:pt>
          <cx:pt idx="49750">0</cx:pt>
          <cx:pt idx="49751">0</cx:pt>
          <cx:pt idx="49752">0</cx:pt>
          <cx:pt idx="49753">1</cx:pt>
          <cx:pt idx="49754">1</cx:pt>
          <cx:pt idx="49755">1</cx:pt>
          <cx:pt idx="49756">0</cx:pt>
          <cx:pt idx="49757">1</cx:pt>
          <cx:pt idx="49758">0</cx:pt>
          <cx:pt idx="49759">1</cx:pt>
          <cx:pt idx="49760">0</cx:pt>
          <cx:pt idx="49761">1</cx:pt>
          <cx:pt idx="49762">1</cx:pt>
          <cx:pt idx="49763">0</cx:pt>
          <cx:pt idx="49764">0</cx:pt>
          <cx:pt idx="49765">0</cx:pt>
          <cx:pt idx="49766">0</cx:pt>
          <cx:pt idx="49767">0</cx:pt>
          <cx:pt idx="49768">0</cx:pt>
          <cx:pt idx="49769">1</cx:pt>
          <cx:pt idx="49770">0</cx:pt>
          <cx:pt idx="49771">1</cx:pt>
          <cx:pt idx="49772">0</cx:pt>
          <cx:pt idx="49773">0</cx:pt>
          <cx:pt idx="49774">0</cx:pt>
          <cx:pt idx="49775">1</cx:pt>
          <cx:pt idx="49776">0</cx:pt>
          <cx:pt idx="49777">0</cx:pt>
          <cx:pt idx="49778">1</cx:pt>
          <cx:pt idx="49779">0</cx:pt>
          <cx:pt idx="49780">0</cx:pt>
          <cx:pt idx="49781">1</cx:pt>
          <cx:pt idx="49782">0</cx:pt>
          <cx:pt idx="49783">1</cx:pt>
          <cx:pt idx="49784">0</cx:pt>
          <cx:pt idx="49785">0</cx:pt>
          <cx:pt idx="49786">0</cx:pt>
          <cx:pt idx="49787">0</cx:pt>
          <cx:pt idx="49788">0</cx:pt>
          <cx:pt idx="49789">0</cx:pt>
          <cx:pt idx="49790">1</cx:pt>
          <cx:pt idx="49791">1</cx:pt>
          <cx:pt idx="49792">1</cx:pt>
          <cx:pt idx="49793">0</cx:pt>
          <cx:pt idx="49794">0</cx:pt>
          <cx:pt idx="49795">1</cx:pt>
          <cx:pt idx="49796">1</cx:pt>
          <cx:pt idx="49797">1</cx:pt>
          <cx:pt idx="49798">1</cx:pt>
          <cx:pt idx="49799">0</cx:pt>
          <cx:pt idx="49800">0</cx:pt>
          <cx:pt idx="49801">0</cx:pt>
          <cx:pt idx="49802">0</cx:pt>
          <cx:pt idx="49803">1</cx:pt>
          <cx:pt idx="49804">0</cx:pt>
          <cx:pt idx="49805">0</cx:pt>
          <cx:pt idx="49806">0</cx:pt>
          <cx:pt idx="49807">0</cx:pt>
          <cx:pt idx="49808">1</cx:pt>
          <cx:pt idx="49809">0</cx:pt>
          <cx:pt idx="49810">0</cx:pt>
          <cx:pt idx="49811">0</cx:pt>
          <cx:pt idx="49812">1</cx:pt>
          <cx:pt idx="49813">1</cx:pt>
          <cx:pt idx="49814">1</cx:pt>
          <cx:pt idx="49815">1</cx:pt>
          <cx:pt idx="49816">0</cx:pt>
          <cx:pt idx="49817">1</cx:pt>
          <cx:pt idx="49818">1</cx:pt>
          <cx:pt idx="49819">1</cx:pt>
          <cx:pt idx="49820">0</cx:pt>
          <cx:pt idx="49821">0</cx:pt>
          <cx:pt idx="49822">1</cx:pt>
          <cx:pt idx="49823">1</cx:pt>
          <cx:pt idx="49824">0</cx:pt>
          <cx:pt idx="49825">1</cx:pt>
          <cx:pt idx="49826">0</cx:pt>
          <cx:pt idx="49827">1</cx:pt>
          <cx:pt idx="49828">1</cx:pt>
          <cx:pt idx="49829">0</cx:pt>
          <cx:pt idx="49830">1</cx:pt>
          <cx:pt idx="49831">0</cx:pt>
          <cx:pt idx="49832">1</cx:pt>
          <cx:pt idx="49833">0</cx:pt>
          <cx:pt idx="49834">1</cx:pt>
          <cx:pt idx="49835">0</cx:pt>
          <cx:pt idx="49836">0</cx:pt>
          <cx:pt idx="49837">0</cx:pt>
          <cx:pt idx="49838">1</cx:pt>
          <cx:pt idx="49839">0</cx:pt>
          <cx:pt idx="49840">1</cx:pt>
          <cx:pt idx="49841">0</cx:pt>
          <cx:pt idx="49842">1</cx:pt>
          <cx:pt idx="49843">0</cx:pt>
          <cx:pt idx="49844">0</cx:pt>
          <cx:pt idx="49845">1</cx:pt>
          <cx:pt idx="49846">0</cx:pt>
          <cx:pt idx="49847">1</cx:pt>
          <cx:pt idx="49848">1</cx:pt>
          <cx:pt idx="49849">1</cx:pt>
          <cx:pt idx="49850">1</cx:pt>
          <cx:pt idx="49851">0</cx:pt>
          <cx:pt idx="49852">0</cx:pt>
          <cx:pt idx="49853">1</cx:pt>
          <cx:pt idx="49854">0</cx:pt>
          <cx:pt idx="49855">0</cx:pt>
          <cx:pt idx="49856">1</cx:pt>
          <cx:pt idx="49857">0</cx:pt>
          <cx:pt idx="49858">0</cx:pt>
          <cx:pt idx="49859">0</cx:pt>
          <cx:pt idx="49860">0</cx:pt>
          <cx:pt idx="49861">0</cx:pt>
          <cx:pt idx="49862">0</cx:pt>
          <cx:pt idx="49863">1</cx:pt>
          <cx:pt idx="49864">1</cx:pt>
          <cx:pt idx="49865">0</cx:pt>
          <cx:pt idx="49866">1</cx:pt>
          <cx:pt idx="49867">0</cx:pt>
          <cx:pt idx="49868">0</cx:pt>
          <cx:pt idx="49869">1</cx:pt>
          <cx:pt idx="49870">0</cx:pt>
          <cx:pt idx="49871">0</cx:pt>
          <cx:pt idx="49872">0</cx:pt>
          <cx:pt idx="49873">0</cx:pt>
          <cx:pt idx="49874">0</cx:pt>
          <cx:pt idx="49875">0</cx:pt>
          <cx:pt idx="49876">0</cx:pt>
          <cx:pt idx="49877">0</cx:pt>
          <cx:pt idx="49878">1</cx:pt>
          <cx:pt idx="49879">1</cx:pt>
          <cx:pt idx="49880">0</cx:pt>
          <cx:pt idx="49881">0</cx:pt>
          <cx:pt idx="49882">1</cx:pt>
          <cx:pt idx="49883">0</cx:pt>
          <cx:pt idx="49884">0</cx:pt>
          <cx:pt idx="49885">0</cx:pt>
          <cx:pt idx="49886">0</cx:pt>
          <cx:pt idx="49887">0</cx:pt>
          <cx:pt idx="49888">1</cx:pt>
          <cx:pt idx="49889">1</cx:pt>
          <cx:pt idx="49890">0</cx:pt>
          <cx:pt idx="49891">1</cx:pt>
          <cx:pt idx="49892">1</cx:pt>
          <cx:pt idx="49893">1</cx:pt>
          <cx:pt idx="49894">1</cx:pt>
          <cx:pt idx="49895">1</cx:pt>
          <cx:pt idx="49896">1</cx:pt>
          <cx:pt idx="49897">1</cx:pt>
          <cx:pt idx="49898">0</cx:pt>
          <cx:pt idx="49899">1</cx:pt>
          <cx:pt idx="49900">0</cx:pt>
          <cx:pt idx="49901">1</cx:pt>
          <cx:pt idx="49902">0</cx:pt>
          <cx:pt idx="49903">0</cx:pt>
          <cx:pt idx="49904">0</cx:pt>
          <cx:pt idx="49905">1</cx:pt>
          <cx:pt idx="49906">0</cx:pt>
          <cx:pt idx="49907">0</cx:pt>
          <cx:pt idx="49908">0</cx:pt>
          <cx:pt idx="49909">0</cx:pt>
          <cx:pt idx="49910">1</cx:pt>
          <cx:pt idx="49911">0</cx:pt>
          <cx:pt idx="49912">1</cx:pt>
          <cx:pt idx="49913">1</cx:pt>
          <cx:pt idx="49914">1</cx:pt>
          <cx:pt idx="49915">0</cx:pt>
          <cx:pt idx="49916">1</cx:pt>
          <cx:pt idx="49917">0</cx:pt>
          <cx:pt idx="49918">0</cx:pt>
          <cx:pt idx="49919">1</cx:pt>
          <cx:pt idx="49920">1</cx:pt>
          <cx:pt idx="49921">1</cx:pt>
          <cx:pt idx="49922">1</cx:pt>
          <cx:pt idx="49923">0</cx:pt>
          <cx:pt idx="49924">1</cx:pt>
          <cx:pt idx="49925">1</cx:pt>
          <cx:pt idx="49926">0</cx:pt>
          <cx:pt idx="49927">0</cx:pt>
          <cx:pt idx="49928">1</cx:pt>
          <cx:pt idx="49929">1</cx:pt>
          <cx:pt idx="49930">0</cx:pt>
          <cx:pt idx="49931">1</cx:pt>
          <cx:pt idx="49932">1</cx:pt>
          <cx:pt idx="49933">0</cx:pt>
          <cx:pt idx="49934">1</cx:pt>
          <cx:pt idx="49935">0</cx:pt>
          <cx:pt idx="49936">0</cx:pt>
          <cx:pt idx="49937">0</cx:pt>
          <cx:pt idx="49938">0</cx:pt>
          <cx:pt idx="49939">1</cx:pt>
          <cx:pt idx="49940">0</cx:pt>
          <cx:pt idx="49941">0</cx:pt>
          <cx:pt idx="49942">1</cx:pt>
          <cx:pt idx="49943">1</cx:pt>
          <cx:pt idx="49944">0</cx:pt>
          <cx:pt idx="49945">1</cx:pt>
          <cx:pt idx="49946">1</cx:pt>
          <cx:pt idx="49947">0</cx:pt>
          <cx:pt idx="49948">1</cx:pt>
          <cx:pt idx="49949">1</cx:pt>
          <cx:pt idx="49950">0</cx:pt>
          <cx:pt idx="49951">1</cx:pt>
          <cx:pt idx="49952">0</cx:pt>
          <cx:pt idx="49953">1</cx:pt>
          <cx:pt idx="49954">1</cx:pt>
          <cx:pt idx="49955">1</cx:pt>
          <cx:pt idx="49956">1</cx:pt>
          <cx:pt idx="49957">1</cx:pt>
          <cx:pt idx="49958">0</cx:pt>
          <cx:pt idx="49959">1</cx:pt>
          <cx:pt idx="49960">0</cx:pt>
          <cx:pt idx="49961">1</cx:pt>
          <cx:pt idx="49962">1</cx:pt>
          <cx:pt idx="49963">0</cx:pt>
          <cx:pt idx="49964">0</cx:pt>
          <cx:pt idx="49965">1</cx:pt>
          <cx:pt idx="49966">0</cx:pt>
          <cx:pt idx="49967">0</cx:pt>
          <cx:pt idx="49968">0</cx:pt>
          <cx:pt idx="49969">0</cx:pt>
          <cx:pt idx="49970">1</cx:pt>
          <cx:pt idx="49971">0</cx:pt>
          <cx:pt idx="49972">0</cx:pt>
          <cx:pt idx="49973">1</cx:pt>
          <cx:pt idx="49974">0</cx:pt>
          <cx:pt idx="49975">0</cx:pt>
          <cx:pt idx="49976">0</cx:pt>
          <cx:pt idx="49977">0</cx:pt>
          <cx:pt idx="49978">0</cx:pt>
          <cx:pt idx="49979">1</cx:pt>
          <cx:pt idx="49980">0</cx:pt>
          <cx:pt idx="49981">0</cx:pt>
          <cx:pt idx="49982">0</cx:pt>
          <cx:pt idx="49983">0</cx:pt>
          <cx:pt idx="49984">1</cx:pt>
          <cx:pt idx="49985">0</cx:pt>
          <cx:pt idx="49986">1</cx:pt>
          <cx:pt idx="49987">1</cx:pt>
          <cx:pt idx="49988">0</cx:pt>
          <cx:pt idx="49989">0</cx:pt>
          <cx:pt idx="49990">0</cx:pt>
          <cx:pt idx="49991">1</cx:pt>
          <cx:pt idx="49992">1</cx:pt>
          <cx:pt idx="49993">0</cx:pt>
          <cx:pt idx="49994">1</cx:pt>
          <cx:pt idx="49995">0</cx:pt>
          <cx:pt idx="49996">1</cx:pt>
          <cx:pt idx="49997">1</cx:pt>
          <cx:pt idx="49998">1</cx:pt>
          <cx:pt idx="49999">0</cx:pt>
          <cx:pt idx="50000">0</cx:pt>
          <cx:pt idx="50001">0</cx:pt>
          <cx:pt idx="50002">0</cx:pt>
          <cx:pt idx="50003">1</cx:pt>
          <cx:pt idx="50004">0</cx:pt>
          <cx:pt idx="50005">0</cx:pt>
          <cx:pt idx="50006">0</cx:pt>
          <cx:pt idx="50007">1</cx:pt>
          <cx:pt idx="50008">0</cx:pt>
          <cx:pt idx="50009">1</cx:pt>
          <cx:pt idx="50010">0</cx:pt>
          <cx:pt idx="50011">0</cx:pt>
          <cx:pt idx="50012">1</cx:pt>
          <cx:pt idx="50013">0</cx:pt>
          <cx:pt idx="50014">0</cx:pt>
          <cx:pt idx="50015">0</cx:pt>
          <cx:pt idx="50016">0</cx:pt>
          <cx:pt idx="50017">1</cx:pt>
          <cx:pt idx="50018">1</cx:pt>
          <cx:pt idx="50019">0</cx:pt>
          <cx:pt idx="50020">0</cx:pt>
          <cx:pt idx="50021">0</cx:pt>
          <cx:pt idx="50022">0</cx:pt>
          <cx:pt idx="50023">1</cx:pt>
          <cx:pt idx="50024">1</cx:pt>
          <cx:pt idx="50025">0</cx:pt>
          <cx:pt idx="50026">0</cx:pt>
          <cx:pt idx="50027">1</cx:pt>
          <cx:pt idx="50028">1</cx:pt>
          <cx:pt idx="50029">0</cx:pt>
          <cx:pt idx="50030">1</cx:pt>
          <cx:pt idx="50031">0</cx:pt>
          <cx:pt idx="50032">1</cx:pt>
          <cx:pt idx="50033">0</cx:pt>
          <cx:pt idx="50034">1</cx:pt>
          <cx:pt idx="50035">0</cx:pt>
          <cx:pt idx="50036">0</cx:pt>
          <cx:pt idx="50037">1</cx:pt>
          <cx:pt idx="50038">1</cx:pt>
          <cx:pt idx="50039">0</cx:pt>
          <cx:pt idx="50040">1</cx:pt>
          <cx:pt idx="50041">1</cx:pt>
          <cx:pt idx="50042">0</cx:pt>
          <cx:pt idx="50043">1</cx:pt>
          <cx:pt idx="50044">1</cx:pt>
          <cx:pt idx="50045">0</cx:pt>
          <cx:pt idx="50046">1</cx:pt>
          <cx:pt idx="50047">0</cx:pt>
          <cx:pt idx="50048">1</cx:pt>
          <cx:pt idx="50049">1</cx:pt>
          <cx:pt idx="50050">1</cx:pt>
          <cx:pt idx="50051">0</cx:pt>
          <cx:pt idx="50052">0</cx:pt>
          <cx:pt idx="50053">0</cx:pt>
          <cx:pt idx="50054">0</cx:pt>
          <cx:pt idx="50055">1</cx:pt>
          <cx:pt idx="50056">0</cx:pt>
          <cx:pt idx="50057">1</cx:pt>
          <cx:pt idx="50058">1</cx:pt>
          <cx:pt idx="50059">0</cx:pt>
          <cx:pt idx="50060">0</cx:pt>
          <cx:pt idx="50061">0</cx:pt>
          <cx:pt idx="50062">1</cx:pt>
          <cx:pt idx="50063">0</cx:pt>
          <cx:pt idx="50064">1</cx:pt>
          <cx:pt idx="50065">1</cx:pt>
          <cx:pt idx="50066">0</cx:pt>
          <cx:pt idx="50067">1</cx:pt>
          <cx:pt idx="50068">0</cx:pt>
          <cx:pt idx="50069">0</cx:pt>
          <cx:pt idx="50070">1</cx:pt>
          <cx:pt idx="50071">0</cx:pt>
          <cx:pt idx="50072">0</cx:pt>
          <cx:pt idx="50073">0</cx:pt>
          <cx:pt idx="50074">0</cx:pt>
          <cx:pt idx="50075">1</cx:pt>
          <cx:pt idx="50076">0</cx:pt>
          <cx:pt idx="50077">1</cx:pt>
          <cx:pt idx="50078">1</cx:pt>
          <cx:pt idx="50079">0</cx:pt>
          <cx:pt idx="50080">0</cx:pt>
          <cx:pt idx="50081">1</cx:pt>
          <cx:pt idx="50082">0</cx:pt>
          <cx:pt idx="50083">1</cx:pt>
          <cx:pt idx="50084">1</cx:pt>
          <cx:pt idx="50085">0</cx:pt>
          <cx:pt idx="50086">1</cx:pt>
          <cx:pt idx="50087">1</cx:pt>
          <cx:pt idx="50088">0</cx:pt>
          <cx:pt idx="50089">1</cx:pt>
          <cx:pt idx="50090">0</cx:pt>
          <cx:pt idx="50091">1</cx:pt>
          <cx:pt idx="50092">0</cx:pt>
          <cx:pt idx="50093">1</cx:pt>
          <cx:pt idx="50094">0</cx:pt>
          <cx:pt idx="50095">1</cx:pt>
          <cx:pt idx="50096">0</cx:pt>
          <cx:pt idx="50097">0</cx:pt>
          <cx:pt idx="50098">1</cx:pt>
          <cx:pt idx="50099">0</cx:pt>
          <cx:pt idx="50100">0</cx:pt>
          <cx:pt idx="50101">0</cx:pt>
          <cx:pt idx="50102">1</cx:pt>
          <cx:pt idx="50103">0</cx:pt>
          <cx:pt idx="50104">1</cx:pt>
          <cx:pt idx="50105">0</cx:pt>
          <cx:pt idx="50106">1</cx:pt>
          <cx:pt idx="50107">0</cx:pt>
          <cx:pt idx="50108">0</cx:pt>
          <cx:pt idx="50109">0</cx:pt>
          <cx:pt idx="50110">0</cx:pt>
          <cx:pt idx="50111">0</cx:pt>
          <cx:pt idx="50112">1</cx:pt>
          <cx:pt idx="50113">0</cx:pt>
          <cx:pt idx="50114">1</cx:pt>
          <cx:pt idx="50115">1</cx:pt>
          <cx:pt idx="50116">0</cx:pt>
          <cx:pt idx="50117">1</cx:pt>
          <cx:pt idx="50118">0</cx:pt>
          <cx:pt idx="50119">0</cx:pt>
          <cx:pt idx="50120">0</cx:pt>
          <cx:pt idx="50121">1</cx:pt>
          <cx:pt idx="50122">1</cx:pt>
          <cx:pt idx="50123">0</cx:pt>
          <cx:pt idx="50124">0</cx:pt>
          <cx:pt idx="50125">0</cx:pt>
          <cx:pt idx="50126">1</cx:pt>
          <cx:pt idx="50127">1</cx:pt>
          <cx:pt idx="50128">0</cx:pt>
          <cx:pt idx="50129">0</cx:pt>
          <cx:pt idx="50130">0</cx:pt>
          <cx:pt idx="50131">1</cx:pt>
          <cx:pt idx="50132">0</cx:pt>
          <cx:pt idx="50133">1</cx:pt>
          <cx:pt idx="50134">0</cx:pt>
          <cx:pt idx="50135">1</cx:pt>
          <cx:pt idx="50136">1</cx:pt>
          <cx:pt idx="50137">0</cx:pt>
          <cx:pt idx="50138">1</cx:pt>
          <cx:pt idx="50139">0</cx:pt>
          <cx:pt idx="50140">0</cx:pt>
          <cx:pt idx="50141">0</cx:pt>
          <cx:pt idx="50142">1</cx:pt>
          <cx:pt idx="50143">0</cx:pt>
          <cx:pt idx="50144">0</cx:pt>
          <cx:pt idx="50145">0</cx:pt>
          <cx:pt idx="50146">1</cx:pt>
          <cx:pt idx="50147">1</cx:pt>
          <cx:pt idx="50148">1</cx:pt>
          <cx:pt idx="50149">0</cx:pt>
          <cx:pt idx="50150">1</cx:pt>
          <cx:pt idx="50151">1</cx:pt>
          <cx:pt idx="50152">0</cx:pt>
          <cx:pt idx="50153">0</cx:pt>
          <cx:pt idx="50154">0</cx:pt>
          <cx:pt idx="50155">0</cx:pt>
          <cx:pt idx="50156">0</cx:pt>
          <cx:pt idx="50157">1</cx:pt>
          <cx:pt idx="50158">1</cx:pt>
          <cx:pt idx="50159">0</cx:pt>
          <cx:pt idx="50160">0</cx:pt>
          <cx:pt idx="50161">0</cx:pt>
          <cx:pt idx="50162">1</cx:pt>
          <cx:pt idx="50163">1</cx:pt>
          <cx:pt idx="50164">0</cx:pt>
          <cx:pt idx="50165">1</cx:pt>
          <cx:pt idx="50166">0</cx:pt>
          <cx:pt idx="50167">1</cx:pt>
          <cx:pt idx="50168">1</cx:pt>
          <cx:pt idx="50169">0</cx:pt>
          <cx:pt idx="50170">1</cx:pt>
          <cx:pt idx="50171">1</cx:pt>
          <cx:pt idx="50172">1</cx:pt>
          <cx:pt idx="50173">0</cx:pt>
          <cx:pt idx="50174">1</cx:pt>
          <cx:pt idx="50175">0</cx:pt>
          <cx:pt idx="50176">0</cx:pt>
          <cx:pt idx="50177">0</cx:pt>
          <cx:pt idx="50178">0</cx:pt>
          <cx:pt idx="50179">1</cx:pt>
          <cx:pt idx="50180">0</cx:pt>
          <cx:pt idx="50181">1</cx:pt>
          <cx:pt idx="50182">0</cx:pt>
          <cx:pt idx="50183">0</cx:pt>
          <cx:pt idx="50184">1</cx:pt>
          <cx:pt idx="50185">0</cx:pt>
          <cx:pt idx="50186">0</cx:pt>
          <cx:pt idx="50187">1</cx:pt>
          <cx:pt idx="50188">1</cx:pt>
          <cx:pt idx="50189">0</cx:pt>
          <cx:pt idx="50190">0</cx:pt>
          <cx:pt idx="50191">0</cx:pt>
          <cx:pt idx="50192">0</cx:pt>
          <cx:pt idx="50193">0</cx:pt>
          <cx:pt idx="50194">0</cx:pt>
          <cx:pt idx="50195">0</cx:pt>
          <cx:pt idx="50196">1</cx:pt>
          <cx:pt idx="50197">1</cx:pt>
          <cx:pt idx="50198">0</cx:pt>
          <cx:pt idx="50199">1</cx:pt>
          <cx:pt idx="50200">0</cx:pt>
          <cx:pt idx="50201">1</cx:pt>
          <cx:pt idx="50202">1</cx:pt>
          <cx:pt idx="50203">0</cx:pt>
          <cx:pt idx="50204">0</cx:pt>
          <cx:pt idx="50205">1</cx:pt>
          <cx:pt idx="50206">0</cx:pt>
          <cx:pt idx="50207">0</cx:pt>
          <cx:pt idx="50208">1</cx:pt>
          <cx:pt idx="50209">1</cx:pt>
          <cx:pt idx="50210">0</cx:pt>
          <cx:pt idx="50211">1</cx:pt>
          <cx:pt idx="50212">1</cx:pt>
          <cx:pt idx="50213">1</cx:pt>
          <cx:pt idx="50214">1</cx:pt>
          <cx:pt idx="50215">0</cx:pt>
          <cx:pt idx="50216">0</cx:pt>
          <cx:pt idx="50217">0</cx:pt>
          <cx:pt idx="50218">1</cx:pt>
          <cx:pt idx="50219">0</cx:pt>
          <cx:pt idx="50220">0</cx:pt>
          <cx:pt idx="50221">0</cx:pt>
          <cx:pt idx="50222">0</cx:pt>
          <cx:pt idx="50223">0</cx:pt>
          <cx:pt idx="50224">1</cx:pt>
          <cx:pt idx="50225">0</cx:pt>
          <cx:pt idx="50226">1</cx:pt>
          <cx:pt idx="50227">0</cx:pt>
          <cx:pt idx="50228">0</cx:pt>
          <cx:pt idx="50229">0</cx:pt>
          <cx:pt idx="50230">0</cx:pt>
          <cx:pt idx="50231">1</cx:pt>
          <cx:pt idx="50232">1</cx:pt>
          <cx:pt idx="50233">1</cx:pt>
          <cx:pt idx="50234">1</cx:pt>
          <cx:pt idx="50235">0</cx:pt>
          <cx:pt idx="50236">0</cx:pt>
          <cx:pt idx="50237">0</cx:pt>
          <cx:pt idx="50238">1</cx:pt>
          <cx:pt idx="50239">1</cx:pt>
          <cx:pt idx="50240">0</cx:pt>
          <cx:pt idx="50241">1</cx:pt>
          <cx:pt idx="50242">1</cx:pt>
          <cx:pt idx="50243">0</cx:pt>
          <cx:pt idx="50244">1</cx:pt>
          <cx:pt idx="50245">1</cx:pt>
          <cx:pt idx="50246">1</cx:pt>
          <cx:pt idx="50247">0</cx:pt>
          <cx:pt idx="50248">0</cx:pt>
          <cx:pt idx="50249">1</cx:pt>
          <cx:pt idx="50250">0</cx:pt>
          <cx:pt idx="50251">0</cx:pt>
          <cx:pt idx="50252">0</cx:pt>
          <cx:pt idx="50253">0</cx:pt>
          <cx:pt idx="50254">1</cx:pt>
          <cx:pt idx="50255">0</cx:pt>
          <cx:pt idx="50256">1</cx:pt>
          <cx:pt idx="50257">0</cx:pt>
          <cx:pt idx="50258">0</cx:pt>
          <cx:pt idx="50259">1</cx:pt>
          <cx:pt idx="50260">1</cx:pt>
          <cx:pt idx="50261">1</cx:pt>
          <cx:pt idx="50262">1</cx:pt>
          <cx:pt idx="50263">0</cx:pt>
          <cx:pt idx="50264">0</cx:pt>
          <cx:pt idx="50265">1</cx:pt>
          <cx:pt idx="50266">1</cx:pt>
          <cx:pt idx="50267">1</cx:pt>
          <cx:pt idx="50268">1</cx:pt>
          <cx:pt idx="50269">1</cx:pt>
          <cx:pt idx="50270">0</cx:pt>
          <cx:pt idx="50271">1</cx:pt>
          <cx:pt idx="50272">0</cx:pt>
          <cx:pt idx="50273">0</cx:pt>
          <cx:pt idx="50274">0</cx:pt>
          <cx:pt idx="50275">1</cx:pt>
          <cx:pt idx="50276">0</cx:pt>
          <cx:pt idx="50277">0</cx:pt>
          <cx:pt idx="50278">0</cx:pt>
          <cx:pt idx="50279">0</cx:pt>
          <cx:pt idx="50280">0</cx:pt>
          <cx:pt idx="50281">0</cx:pt>
          <cx:pt idx="50282">0</cx:pt>
          <cx:pt idx="50283">1</cx:pt>
          <cx:pt idx="50284">1</cx:pt>
          <cx:pt idx="50285">0</cx:pt>
          <cx:pt idx="50286">0</cx:pt>
          <cx:pt idx="50287">0</cx:pt>
          <cx:pt idx="50288">1</cx:pt>
          <cx:pt idx="50289">0</cx:pt>
          <cx:pt idx="50290">1</cx:pt>
          <cx:pt idx="50291">1</cx:pt>
          <cx:pt idx="50292">1</cx:pt>
          <cx:pt idx="50293">1</cx:pt>
          <cx:pt idx="50294">0</cx:pt>
          <cx:pt idx="50295">0</cx:pt>
          <cx:pt idx="50296">0</cx:pt>
          <cx:pt idx="50297">0</cx:pt>
          <cx:pt idx="50298">0</cx:pt>
          <cx:pt idx="50299">1</cx:pt>
          <cx:pt idx="50300">1</cx:pt>
          <cx:pt idx="50301">0</cx:pt>
          <cx:pt idx="50302">0</cx:pt>
          <cx:pt idx="50303">0</cx:pt>
          <cx:pt idx="50304">1</cx:pt>
          <cx:pt idx="50305">0</cx:pt>
          <cx:pt idx="50306">0</cx:pt>
          <cx:pt idx="50307">0</cx:pt>
          <cx:pt idx="50308">0</cx:pt>
          <cx:pt idx="50309">1</cx:pt>
          <cx:pt idx="50310">1</cx:pt>
          <cx:pt idx="50311">0</cx:pt>
          <cx:pt idx="50312">1</cx:pt>
          <cx:pt idx="50313">0</cx:pt>
          <cx:pt idx="50314">0</cx:pt>
          <cx:pt idx="50315">1</cx:pt>
          <cx:pt idx="50316">0</cx:pt>
          <cx:pt idx="50317">1</cx:pt>
          <cx:pt idx="50318">1</cx:pt>
          <cx:pt idx="50319">1</cx:pt>
          <cx:pt idx="50320">0</cx:pt>
          <cx:pt idx="50321">0</cx:pt>
          <cx:pt idx="50322">0</cx:pt>
          <cx:pt idx="50323">1</cx:pt>
          <cx:pt idx="50324">0</cx:pt>
          <cx:pt idx="50325">1</cx:pt>
          <cx:pt idx="50326">0</cx:pt>
          <cx:pt idx="50327">0</cx:pt>
          <cx:pt idx="50328">1</cx:pt>
          <cx:pt idx="50329">0</cx:pt>
          <cx:pt idx="50330">0</cx:pt>
          <cx:pt idx="50331">0</cx:pt>
          <cx:pt idx="50332">1</cx:pt>
          <cx:pt idx="50333">0</cx:pt>
          <cx:pt idx="50334">0</cx:pt>
          <cx:pt idx="50335">0</cx:pt>
          <cx:pt idx="50336">1</cx:pt>
          <cx:pt idx="50337">0</cx:pt>
          <cx:pt idx="50338">0</cx:pt>
          <cx:pt idx="50339">0</cx:pt>
          <cx:pt idx="50340">0</cx:pt>
          <cx:pt idx="50341">0</cx:pt>
          <cx:pt idx="50342">1</cx:pt>
          <cx:pt idx="50343">0</cx:pt>
          <cx:pt idx="50344">1</cx:pt>
          <cx:pt idx="50345">1</cx:pt>
          <cx:pt idx="50346">0</cx:pt>
          <cx:pt idx="50347">0</cx:pt>
          <cx:pt idx="50348">1</cx:pt>
          <cx:pt idx="50349">1</cx:pt>
          <cx:pt idx="50350">0</cx:pt>
          <cx:pt idx="50351">1</cx:pt>
          <cx:pt idx="50352">1</cx:pt>
          <cx:pt idx="50353">1</cx:pt>
          <cx:pt idx="50354">0</cx:pt>
          <cx:pt idx="50355">0</cx:pt>
          <cx:pt idx="50356">1</cx:pt>
          <cx:pt idx="50357">0</cx:pt>
          <cx:pt idx="50358">0</cx:pt>
          <cx:pt idx="50359">1</cx:pt>
          <cx:pt idx="50360">1</cx:pt>
          <cx:pt idx="50361">0</cx:pt>
          <cx:pt idx="50362">0</cx:pt>
          <cx:pt idx="50363">0</cx:pt>
          <cx:pt idx="50364">0</cx:pt>
          <cx:pt idx="50365">1</cx:pt>
          <cx:pt idx="50366">0</cx:pt>
          <cx:pt idx="50367">0</cx:pt>
          <cx:pt idx="50368">0</cx:pt>
          <cx:pt idx="50369">0</cx:pt>
          <cx:pt idx="50370">0</cx:pt>
          <cx:pt idx="50371">1</cx:pt>
          <cx:pt idx="50372">1</cx:pt>
          <cx:pt idx="50373">1</cx:pt>
          <cx:pt idx="50374">1</cx:pt>
          <cx:pt idx="50375">1</cx:pt>
          <cx:pt idx="50376">0</cx:pt>
          <cx:pt idx="50377">0</cx:pt>
          <cx:pt idx="50378">0</cx:pt>
          <cx:pt idx="50379">1</cx:pt>
          <cx:pt idx="50380">1</cx:pt>
          <cx:pt idx="50381">0</cx:pt>
          <cx:pt idx="50382">1</cx:pt>
          <cx:pt idx="50383">0</cx:pt>
          <cx:pt idx="50384">0</cx:pt>
          <cx:pt idx="50385">0</cx:pt>
          <cx:pt idx="50386">0</cx:pt>
          <cx:pt idx="50387">0</cx:pt>
          <cx:pt idx="50388">1</cx:pt>
          <cx:pt idx="50389">1</cx:pt>
          <cx:pt idx="50390">1</cx:pt>
          <cx:pt idx="50391">0</cx:pt>
          <cx:pt idx="50392">0</cx:pt>
          <cx:pt idx="50393">1</cx:pt>
          <cx:pt idx="50394">1</cx:pt>
          <cx:pt idx="50395">0</cx:pt>
          <cx:pt idx="50396">1</cx:pt>
          <cx:pt idx="50397">1</cx:pt>
          <cx:pt idx="50398">0</cx:pt>
          <cx:pt idx="50399">0</cx:pt>
          <cx:pt idx="50400">0</cx:pt>
          <cx:pt idx="50401">0</cx:pt>
          <cx:pt idx="50402">1</cx:pt>
          <cx:pt idx="50403">0</cx:pt>
          <cx:pt idx="50404">0</cx:pt>
          <cx:pt idx="50405">1</cx:pt>
          <cx:pt idx="50406">0</cx:pt>
          <cx:pt idx="50407">1</cx:pt>
          <cx:pt idx="50408">0</cx:pt>
          <cx:pt idx="50409">0</cx:pt>
          <cx:pt idx="50410">0</cx:pt>
          <cx:pt idx="50411">1</cx:pt>
          <cx:pt idx="50412">1</cx:pt>
          <cx:pt idx="50413">0</cx:pt>
          <cx:pt idx="50414">1</cx:pt>
          <cx:pt idx="50415">1</cx:pt>
          <cx:pt idx="50416">0</cx:pt>
          <cx:pt idx="50417">1</cx:pt>
          <cx:pt idx="50418">1</cx:pt>
          <cx:pt idx="50419">0</cx:pt>
          <cx:pt idx="50420">0</cx:pt>
          <cx:pt idx="50421">1</cx:pt>
          <cx:pt idx="50422">0</cx:pt>
          <cx:pt idx="50423">0</cx:pt>
          <cx:pt idx="50424">0</cx:pt>
          <cx:pt idx="50425">0</cx:pt>
          <cx:pt idx="50426">0</cx:pt>
          <cx:pt idx="50427">0</cx:pt>
          <cx:pt idx="50428">0</cx:pt>
          <cx:pt idx="50429">0</cx:pt>
          <cx:pt idx="50430">1</cx:pt>
          <cx:pt idx="50431">0</cx:pt>
          <cx:pt idx="50432">1</cx:pt>
          <cx:pt idx="50433">1</cx:pt>
          <cx:pt idx="50434">0</cx:pt>
          <cx:pt idx="50435">0</cx:pt>
          <cx:pt idx="50436">0</cx:pt>
          <cx:pt idx="50437">1</cx:pt>
          <cx:pt idx="50438">1</cx:pt>
          <cx:pt idx="50439">1</cx:pt>
          <cx:pt idx="50440">0</cx:pt>
          <cx:pt idx="50441">1</cx:pt>
          <cx:pt idx="50442">0</cx:pt>
          <cx:pt idx="50443">0</cx:pt>
          <cx:pt idx="50444">0</cx:pt>
          <cx:pt idx="50445">0</cx:pt>
          <cx:pt idx="50446">1</cx:pt>
          <cx:pt idx="50447">0</cx:pt>
          <cx:pt idx="50448">1</cx:pt>
          <cx:pt idx="50449">0</cx:pt>
          <cx:pt idx="50450">1</cx:pt>
          <cx:pt idx="50451">1</cx:pt>
          <cx:pt idx="50452">1</cx:pt>
          <cx:pt idx="50453">1</cx:pt>
          <cx:pt idx="50454">0</cx:pt>
          <cx:pt idx="50455">1</cx:pt>
          <cx:pt idx="50456">0</cx:pt>
          <cx:pt idx="50457">1</cx:pt>
          <cx:pt idx="50458">1</cx:pt>
          <cx:pt idx="50459">0</cx:pt>
          <cx:pt idx="50460">1</cx:pt>
          <cx:pt idx="50461">0</cx:pt>
          <cx:pt idx="50462">0</cx:pt>
          <cx:pt idx="50463">0</cx:pt>
          <cx:pt idx="50464">1</cx:pt>
          <cx:pt idx="50465">0</cx:pt>
          <cx:pt idx="50466">1</cx:pt>
          <cx:pt idx="50467">1</cx:pt>
          <cx:pt idx="50468">1</cx:pt>
          <cx:pt idx="50469">0</cx:pt>
          <cx:pt idx="50470">1</cx:pt>
          <cx:pt idx="50471">1</cx:pt>
          <cx:pt idx="50472">0</cx:pt>
          <cx:pt idx="50473">0</cx:pt>
          <cx:pt idx="50474">1</cx:pt>
          <cx:pt idx="50475">1</cx:pt>
          <cx:pt idx="50476">0</cx:pt>
          <cx:pt idx="50477">1</cx:pt>
          <cx:pt idx="50478">0</cx:pt>
          <cx:pt idx="50479">0</cx:pt>
          <cx:pt idx="50480">0</cx:pt>
          <cx:pt idx="50481">0</cx:pt>
          <cx:pt idx="50482">0</cx:pt>
          <cx:pt idx="50483">1</cx:pt>
          <cx:pt idx="50484">0</cx:pt>
          <cx:pt idx="50485">0</cx:pt>
          <cx:pt idx="50486">1</cx:pt>
          <cx:pt idx="50487">0</cx:pt>
          <cx:pt idx="50488">1</cx:pt>
          <cx:pt idx="50489">1</cx:pt>
          <cx:pt idx="50490">1</cx:pt>
          <cx:pt idx="50491">1</cx:pt>
          <cx:pt idx="50492">1</cx:pt>
          <cx:pt idx="50493">0</cx:pt>
          <cx:pt idx="50494">1</cx:pt>
          <cx:pt idx="50495">0</cx:pt>
          <cx:pt idx="50496">0</cx:pt>
          <cx:pt idx="50497">1</cx:pt>
          <cx:pt idx="50498">1</cx:pt>
          <cx:pt idx="50499">0</cx:pt>
          <cx:pt idx="50500">0</cx:pt>
          <cx:pt idx="50501">1</cx:pt>
          <cx:pt idx="50502">0</cx:pt>
          <cx:pt idx="50503">1</cx:pt>
          <cx:pt idx="50504">0</cx:pt>
          <cx:pt idx="50505">0</cx:pt>
          <cx:pt idx="50506">0</cx:pt>
          <cx:pt idx="50507">0</cx:pt>
          <cx:pt idx="50508">1</cx:pt>
          <cx:pt idx="50509">0</cx:pt>
          <cx:pt idx="50510">1</cx:pt>
          <cx:pt idx="50511">1</cx:pt>
          <cx:pt idx="50512">0</cx:pt>
          <cx:pt idx="50513">1</cx:pt>
          <cx:pt idx="50514">0</cx:pt>
          <cx:pt idx="50515">0</cx:pt>
          <cx:pt idx="50516">1</cx:pt>
          <cx:pt idx="50517">0</cx:pt>
          <cx:pt idx="50518">1</cx:pt>
          <cx:pt idx="50519">0</cx:pt>
          <cx:pt idx="50520">1</cx:pt>
          <cx:pt idx="50521">0</cx:pt>
          <cx:pt idx="50522">0</cx:pt>
          <cx:pt idx="50523">1</cx:pt>
          <cx:pt idx="50524">0</cx:pt>
          <cx:pt idx="50525">1</cx:pt>
          <cx:pt idx="50526">0</cx:pt>
          <cx:pt idx="50527">0</cx:pt>
          <cx:pt idx="50528">1</cx:pt>
          <cx:pt idx="50529">1</cx:pt>
          <cx:pt idx="50530">0</cx:pt>
          <cx:pt idx="50531">0</cx:pt>
          <cx:pt idx="50532">1</cx:pt>
          <cx:pt idx="50533">0</cx:pt>
          <cx:pt idx="50534">1</cx:pt>
          <cx:pt idx="50535">0</cx:pt>
          <cx:pt idx="50536">0</cx:pt>
          <cx:pt idx="50537">0</cx:pt>
          <cx:pt idx="50538">1</cx:pt>
          <cx:pt idx="50539">0</cx:pt>
          <cx:pt idx="50540">0</cx:pt>
          <cx:pt idx="50541">1</cx:pt>
          <cx:pt idx="50542">1</cx:pt>
          <cx:pt idx="50543">1</cx:pt>
          <cx:pt idx="50544">0</cx:pt>
          <cx:pt idx="50545">0</cx:pt>
          <cx:pt idx="50546">1</cx:pt>
          <cx:pt idx="50547">0</cx:pt>
          <cx:pt idx="50548">0</cx:pt>
          <cx:pt idx="50549">1</cx:pt>
          <cx:pt idx="50550">1</cx:pt>
          <cx:pt idx="50551">0</cx:pt>
          <cx:pt idx="50552">0</cx:pt>
          <cx:pt idx="50553">0</cx:pt>
          <cx:pt idx="50554">0</cx:pt>
          <cx:pt idx="50555">1</cx:pt>
          <cx:pt idx="50556">0</cx:pt>
          <cx:pt idx="50557">0</cx:pt>
          <cx:pt idx="50558">1</cx:pt>
          <cx:pt idx="50559">0</cx:pt>
          <cx:pt idx="50560">0</cx:pt>
          <cx:pt idx="50561">0</cx:pt>
          <cx:pt idx="50562">1</cx:pt>
          <cx:pt idx="50563">0</cx:pt>
          <cx:pt idx="50564">0</cx:pt>
          <cx:pt idx="50565">0</cx:pt>
          <cx:pt idx="50566">0</cx:pt>
          <cx:pt idx="50567">0</cx:pt>
          <cx:pt idx="50568">0</cx:pt>
          <cx:pt idx="50569">1</cx:pt>
          <cx:pt idx="50570">0</cx:pt>
          <cx:pt idx="50571">0</cx:pt>
          <cx:pt idx="50572">0</cx:pt>
          <cx:pt idx="50573">1</cx:pt>
          <cx:pt idx="50574">1</cx:pt>
          <cx:pt idx="50575">0</cx:pt>
          <cx:pt idx="50576">1</cx:pt>
          <cx:pt idx="50577">0</cx:pt>
          <cx:pt idx="50578">0</cx:pt>
          <cx:pt idx="50579">1</cx:pt>
          <cx:pt idx="50580">0</cx:pt>
          <cx:pt idx="50581">1</cx:pt>
          <cx:pt idx="50582">0</cx:pt>
          <cx:pt idx="50583">0</cx:pt>
          <cx:pt idx="50584">0</cx:pt>
          <cx:pt idx="50585">0</cx:pt>
          <cx:pt idx="50586">1</cx:pt>
          <cx:pt idx="50587">0</cx:pt>
          <cx:pt idx="50588">0</cx:pt>
          <cx:pt idx="50589">1</cx:pt>
          <cx:pt idx="50590">0</cx:pt>
          <cx:pt idx="50591">0</cx:pt>
          <cx:pt idx="50592">1</cx:pt>
          <cx:pt idx="50593">0</cx:pt>
          <cx:pt idx="50594">1</cx:pt>
          <cx:pt idx="50595">1</cx:pt>
          <cx:pt idx="50596">1</cx:pt>
          <cx:pt idx="50597">0</cx:pt>
          <cx:pt idx="50598">0</cx:pt>
          <cx:pt idx="50599">1</cx:pt>
          <cx:pt idx="50600">1</cx:pt>
          <cx:pt idx="50601">1</cx:pt>
          <cx:pt idx="50602">0</cx:pt>
          <cx:pt idx="50603">0</cx:pt>
          <cx:pt idx="50604">0</cx:pt>
          <cx:pt idx="50605">0</cx:pt>
          <cx:pt idx="50606">0</cx:pt>
          <cx:pt idx="50607">0</cx:pt>
          <cx:pt idx="50608">0</cx:pt>
          <cx:pt idx="50609">0</cx:pt>
          <cx:pt idx="50610">1</cx:pt>
          <cx:pt idx="50611">0</cx:pt>
          <cx:pt idx="50612">1</cx:pt>
          <cx:pt idx="50613">1</cx:pt>
          <cx:pt idx="50614">1</cx:pt>
          <cx:pt idx="50615">0</cx:pt>
          <cx:pt idx="50616">0</cx:pt>
          <cx:pt idx="50617">0</cx:pt>
          <cx:pt idx="50618">1</cx:pt>
          <cx:pt idx="50619">1</cx:pt>
          <cx:pt idx="50620">0</cx:pt>
          <cx:pt idx="50621">1</cx:pt>
          <cx:pt idx="50622">0</cx:pt>
          <cx:pt idx="50623">0</cx:pt>
          <cx:pt idx="50624">0</cx:pt>
          <cx:pt idx="50625">1</cx:pt>
          <cx:pt idx="50626">0</cx:pt>
          <cx:pt idx="50627">0</cx:pt>
          <cx:pt idx="50628">0</cx:pt>
          <cx:pt idx="50629">0</cx:pt>
          <cx:pt idx="50630">1</cx:pt>
          <cx:pt idx="50631">1</cx:pt>
          <cx:pt idx="50632">0</cx:pt>
          <cx:pt idx="50633">0</cx:pt>
          <cx:pt idx="50634">0</cx:pt>
          <cx:pt idx="50635">1</cx:pt>
          <cx:pt idx="50636">0</cx:pt>
          <cx:pt idx="50637">0</cx:pt>
          <cx:pt idx="50638">1</cx:pt>
          <cx:pt idx="50639">1</cx:pt>
          <cx:pt idx="50640">0</cx:pt>
          <cx:pt idx="50641">1</cx:pt>
          <cx:pt idx="50642">0</cx:pt>
          <cx:pt idx="50643">0</cx:pt>
          <cx:pt idx="50644">1</cx:pt>
          <cx:pt idx="50645">0</cx:pt>
          <cx:pt idx="50646">0</cx:pt>
          <cx:pt idx="50647">1</cx:pt>
          <cx:pt idx="50648">0</cx:pt>
          <cx:pt idx="50649">1</cx:pt>
          <cx:pt idx="50650">0</cx:pt>
          <cx:pt idx="50651">1</cx:pt>
          <cx:pt idx="50652">0</cx:pt>
          <cx:pt idx="50653">0</cx:pt>
          <cx:pt idx="50654">0</cx:pt>
          <cx:pt idx="50655">0</cx:pt>
          <cx:pt idx="50656">0</cx:pt>
          <cx:pt idx="50657">1</cx:pt>
          <cx:pt idx="50658">0</cx:pt>
          <cx:pt idx="50659">0</cx:pt>
          <cx:pt idx="50660">1</cx:pt>
          <cx:pt idx="50661">1</cx:pt>
          <cx:pt idx="50662">1</cx:pt>
          <cx:pt idx="50663">0</cx:pt>
          <cx:pt idx="50664">1</cx:pt>
          <cx:pt idx="50665">0</cx:pt>
          <cx:pt idx="50666">0</cx:pt>
          <cx:pt idx="50667">0</cx:pt>
          <cx:pt idx="50668">0</cx:pt>
          <cx:pt idx="50669">0</cx:pt>
          <cx:pt idx="50670">1</cx:pt>
          <cx:pt idx="50671">0</cx:pt>
          <cx:pt idx="50672">1</cx:pt>
          <cx:pt idx="50673">0</cx:pt>
          <cx:pt idx="50674">1</cx:pt>
          <cx:pt idx="50675">0</cx:pt>
          <cx:pt idx="50676">1</cx:pt>
          <cx:pt idx="50677">0</cx:pt>
          <cx:pt idx="50678">1</cx:pt>
          <cx:pt idx="50679">0</cx:pt>
          <cx:pt idx="50680">0</cx:pt>
          <cx:pt idx="50681">0</cx:pt>
          <cx:pt idx="50682">1</cx:pt>
          <cx:pt idx="50683">0</cx:pt>
          <cx:pt idx="50684">0</cx:pt>
          <cx:pt idx="50685">0</cx:pt>
          <cx:pt idx="50686">1</cx:pt>
          <cx:pt idx="50687">1</cx:pt>
          <cx:pt idx="50688">0</cx:pt>
          <cx:pt idx="50689">0</cx:pt>
          <cx:pt idx="50690">1</cx:pt>
          <cx:pt idx="50691">0</cx:pt>
          <cx:pt idx="50692">1</cx:pt>
          <cx:pt idx="50693">0</cx:pt>
          <cx:pt idx="50694">0</cx:pt>
          <cx:pt idx="50695">1</cx:pt>
          <cx:pt idx="50696">1</cx:pt>
          <cx:pt idx="50697">0</cx:pt>
          <cx:pt idx="50698">1</cx:pt>
          <cx:pt idx="50699">0</cx:pt>
          <cx:pt idx="50700">1</cx:pt>
          <cx:pt idx="50701">0</cx:pt>
          <cx:pt idx="50702">0</cx:pt>
          <cx:pt idx="50703">1</cx:pt>
          <cx:pt idx="50704">0</cx:pt>
          <cx:pt idx="50705">0</cx:pt>
          <cx:pt idx="50706">0</cx:pt>
          <cx:pt idx="50707">1</cx:pt>
          <cx:pt idx="50708">0</cx:pt>
          <cx:pt idx="50709">1</cx:pt>
          <cx:pt idx="50710">0</cx:pt>
          <cx:pt idx="50711">0</cx:pt>
          <cx:pt idx="50712">0</cx:pt>
          <cx:pt idx="50713">0</cx:pt>
          <cx:pt idx="50714">0</cx:pt>
          <cx:pt idx="50715">1</cx:pt>
          <cx:pt idx="50716">1</cx:pt>
          <cx:pt idx="50717">0</cx:pt>
          <cx:pt idx="50718">1</cx:pt>
          <cx:pt idx="50719">0</cx:pt>
          <cx:pt idx="50720">0</cx:pt>
          <cx:pt idx="50721">1</cx:pt>
          <cx:pt idx="50722">1</cx:pt>
          <cx:pt idx="50723">0</cx:pt>
          <cx:pt idx="50724">1</cx:pt>
          <cx:pt idx="50725">1</cx:pt>
          <cx:pt idx="50726">0</cx:pt>
          <cx:pt idx="50727">1</cx:pt>
          <cx:pt idx="50728">0</cx:pt>
          <cx:pt idx="50729">0</cx:pt>
          <cx:pt idx="50730">1</cx:pt>
          <cx:pt idx="50731">1</cx:pt>
          <cx:pt idx="50732">0</cx:pt>
          <cx:pt idx="50733">1</cx:pt>
          <cx:pt idx="50734">0</cx:pt>
          <cx:pt idx="50735">0</cx:pt>
          <cx:pt idx="50736">1</cx:pt>
          <cx:pt idx="50737">0</cx:pt>
          <cx:pt idx="50738">0</cx:pt>
          <cx:pt idx="50739">1</cx:pt>
          <cx:pt idx="50740">1</cx:pt>
          <cx:pt idx="50741">0</cx:pt>
          <cx:pt idx="50742">0</cx:pt>
          <cx:pt idx="50743">0</cx:pt>
          <cx:pt idx="50744">1</cx:pt>
          <cx:pt idx="50745">0</cx:pt>
          <cx:pt idx="50746">1</cx:pt>
          <cx:pt idx="50747">0</cx:pt>
          <cx:pt idx="50748">0</cx:pt>
          <cx:pt idx="50749">0</cx:pt>
          <cx:pt idx="50750">0</cx:pt>
          <cx:pt idx="50751">0</cx:pt>
          <cx:pt idx="50752">0</cx:pt>
          <cx:pt idx="50753">0</cx:pt>
          <cx:pt idx="50754">0</cx:pt>
          <cx:pt idx="50755">1</cx:pt>
          <cx:pt idx="50756">1</cx:pt>
          <cx:pt idx="50757">0</cx:pt>
          <cx:pt idx="50758">0</cx:pt>
          <cx:pt idx="50759">0</cx:pt>
          <cx:pt idx="50760">0</cx:pt>
          <cx:pt idx="50761">1</cx:pt>
          <cx:pt idx="50762">1</cx:pt>
          <cx:pt idx="50763">0</cx:pt>
          <cx:pt idx="50764">0</cx:pt>
          <cx:pt idx="50765">0</cx:pt>
          <cx:pt idx="50766">0</cx:pt>
          <cx:pt idx="50767">1</cx:pt>
          <cx:pt idx="50768">1</cx:pt>
          <cx:pt idx="50769">0</cx:pt>
          <cx:pt idx="50770">1</cx:pt>
          <cx:pt idx="50771">0</cx:pt>
          <cx:pt idx="50772">0</cx:pt>
          <cx:pt idx="50773">0</cx:pt>
          <cx:pt idx="50774">0</cx:pt>
          <cx:pt idx="50775">0</cx:pt>
          <cx:pt idx="50776">1</cx:pt>
          <cx:pt idx="50777">1</cx:pt>
          <cx:pt idx="50778">1</cx:pt>
          <cx:pt idx="50779">0</cx:pt>
          <cx:pt idx="50780">0</cx:pt>
          <cx:pt idx="50781">1</cx:pt>
          <cx:pt idx="50782">0</cx:pt>
          <cx:pt idx="50783">0</cx:pt>
          <cx:pt idx="50784">1</cx:pt>
          <cx:pt idx="50785">1</cx:pt>
          <cx:pt idx="50786">1</cx:pt>
          <cx:pt idx="50787">1</cx:pt>
          <cx:pt idx="50788">0</cx:pt>
          <cx:pt idx="50789">0</cx:pt>
          <cx:pt idx="50790">0</cx:pt>
          <cx:pt idx="50791">0</cx:pt>
          <cx:pt idx="50792">1</cx:pt>
          <cx:pt idx="50793">0</cx:pt>
          <cx:pt idx="50794">1</cx:pt>
          <cx:pt idx="50795">0</cx:pt>
          <cx:pt idx="50796">0</cx:pt>
          <cx:pt idx="50797">1</cx:pt>
          <cx:pt idx="50798">1</cx:pt>
          <cx:pt idx="50799">0</cx:pt>
          <cx:pt idx="50800">1</cx:pt>
          <cx:pt idx="50801">0</cx:pt>
          <cx:pt idx="50802">0</cx:pt>
          <cx:pt idx="50803">1</cx:pt>
          <cx:pt idx="50804">1</cx:pt>
          <cx:pt idx="50805">0</cx:pt>
          <cx:pt idx="50806">0</cx:pt>
          <cx:pt idx="50807">0</cx:pt>
          <cx:pt idx="50808">1</cx:pt>
          <cx:pt idx="50809">1</cx:pt>
          <cx:pt idx="50810">0</cx:pt>
          <cx:pt idx="50811">0</cx:pt>
          <cx:pt idx="50812">0</cx:pt>
          <cx:pt idx="50813">0</cx:pt>
          <cx:pt idx="50814">1</cx:pt>
          <cx:pt idx="50815">1</cx:pt>
          <cx:pt idx="50816">0</cx:pt>
          <cx:pt idx="50817">0</cx:pt>
          <cx:pt idx="50818">0</cx:pt>
          <cx:pt idx="50819">0</cx:pt>
          <cx:pt idx="50820">0</cx:pt>
          <cx:pt idx="50821">0</cx:pt>
          <cx:pt idx="50822">0</cx:pt>
          <cx:pt idx="50823">1</cx:pt>
          <cx:pt idx="50824">0</cx:pt>
          <cx:pt idx="50825">0</cx:pt>
          <cx:pt idx="50826">0</cx:pt>
          <cx:pt idx="50827">1</cx:pt>
          <cx:pt idx="50828">0</cx:pt>
          <cx:pt idx="50829">0</cx:pt>
          <cx:pt idx="50830">1</cx:pt>
          <cx:pt idx="50831">1</cx:pt>
          <cx:pt idx="50832">0</cx:pt>
          <cx:pt idx="50833">1</cx:pt>
          <cx:pt idx="50834">0</cx:pt>
          <cx:pt idx="50835">1</cx:pt>
          <cx:pt idx="50836">0</cx:pt>
          <cx:pt idx="50837">1</cx:pt>
          <cx:pt idx="50838">0</cx:pt>
          <cx:pt idx="50839">0</cx:pt>
          <cx:pt idx="50840">0</cx:pt>
          <cx:pt idx="50841">0</cx:pt>
          <cx:pt idx="50842">0</cx:pt>
          <cx:pt idx="50843">1</cx:pt>
          <cx:pt idx="50844">0</cx:pt>
          <cx:pt idx="50845">1</cx:pt>
          <cx:pt idx="50846">0</cx:pt>
          <cx:pt idx="50847">0</cx:pt>
          <cx:pt idx="50848">1</cx:pt>
          <cx:pt idx="50849">1</cx:pt>
          <cx:pt idx="50850">1</cx:pt>
          <cx:pt idx="50851">1</cx:pt>
          <cx:pt idx="50852">0</cx:pt>
          <cx:pt idx="50853">0</cx:pt>
          <cx:pt idx="50854">0</cx:pt>
          <cx:pt idx="50855">0</cx:pt>
          <cx:pt idx="50856">0</cx:pt>
          <cx:pt idx="50857">0</cx:pt>
          <cx:pt idx="50858">0</cx:pt>
          <cx:pt idx="50859">0</cx:pt>
          <cx:pt idx="50860">0</cx:pt>
          <cx:pt idx="50861">1</cx:pt>
          <cx:pt idx="50862">1</cx:pt>
          <cx:pt idx="50863">1</cx:pt>
          <cx:pt idx="50864">1</cx:pt>
          <cx:pt idx="50865">0</cx:pt>
          <cx:pt idx="50866">1</cx:pt>
          <cx:pt idx="50867">1</cx:pt>
          <cx:pt idx="50868">0</cx:pt>
          <cx:pt idx="50869">1</cx:pt>
          <cx:pt idx="50870">0</cx:pt>
          <cx:pt idx="50871">1</cx:pt>
          <cx:pt idx="50872">1</cx:pt>
          <cx:pt idx="50873">0</cx:pt>
          <cx:pt idx="50874">0</cx:pt>
          <cx:pt idx="50875">1</cx:pt>
          <cx:pt idx="50876">1</cx:pt>
          <cx:pt idx="50877">0</cx:pt>
          <cx:pt idx="50878">0</cx:pt>
          <cx:pt idx="50879">0</cx:pt>
          <cx:pt idx="50880">1</cx:pt>
          <cx:pt idx="50881">1</cx:pt>
          <cx:pt idx="50882">0</cx:pt>
          <cx:pt idx="50883">0</cx:pt>
          <cx:pt idx="50884">1</cx:pt>
          <cx:pt idx="50885">0</cx:pt>
          <cx:pt idx="50886">0</cx:pt>
          <cx:pt idx="50887">1</cx:pt>
          <cx:pt idx="50888">0</cx:pt>
          <cx:pt idx="50889">0</cx:pt>
          <cx:pt idx="50890">0</cx:pt>
          <cx:pt idx="50891">0</cx:pt>
          <cx:pt idx="50892">1</cx:pt>
          <cx:pt idx="50893">1</cx:pt>
          <cx:pt idx="50894">1</cx:pt>
          <cx:pt idx="50895">0</cx:pt>
          <cx:pt idx="50896">0</cx:pt>
          <cx:pt idx="50897">1</cx:pt>
          <cx:pt idx="50898">1</cx:pt>
          <cx:pt idx="50899">0</cx:pt>
          <cx:pt idx="50900">0</cx:pt>
          <cx:pt idx="50901">1</cx:pt>
          <cx:pt idx="50902">1</cx:pt>
          <cx:pt idx="50903">0</cx:pt>
          <cx:pt idx="50904">0</cx:pt>
          <cx:pt idx="50905">0</cx:pt>
          <cx:pt idx="50906">0</cx:pt>
          <cx:pt idx="50907">1</cx:pt>
          <cx:pt idx="50908">1</cx:pt>
          <cx:pt idx="50909">0</cx:pt>
          <cx:pt idx="50910">1</cx:pt>
          <cx:pt idx="50911">1</cx:pt>
          <cx:pt idx="50912">0</cx:pt>
          <cx:pt idx="50913">1</cx:pt>
          <cx:pt idx="50914">0</cx:pt>
          <cx:pt idx="50915">1</cx:pt>
          <cx:pt idx="50916">0</cx:pt>
          <cx:pt idx="50917">0</cx:pt>
          <cx:pt idx="50918">1</cx:pt>
          <cx:pt idx="50919">0</cx:pt>
          <cx:pt idx="50920">1</cx:pt>
          <cx:pt idx="50921">0</cx:pt>
          <cx:pt idx="50922">1</cx:pt>
          <cx:pt idx="50923">0</cx:pt>
          <cx:pt idx="50924">1</cx:pt>
          <cx:pt idx="50925">0</cx:pt>
          <cx:pt idx="50926">0</cx:pt>
          <cx:pt idx="50927">1</cx:pt>
          <cx:pt idx="50928">0</cx:pt>
          <cx:pt idx="50929">1</cx:pt>
          <cx:pt idx="50930">0</cx:pt>
          <cx:pt idx="50931">1</cx:pt>
          <cx:pt idx="50932">1</cx:pt>
          <cx:pt idx="50933">0</cx:pt>
          <cx:pt idx="50934">1</cx:pt>
          <cx:pt idx="50935">1</cx:pt>
          <cx:pt idx="50936">1</cx:pt>
          <cx:pt idx="50937">0</cx:pt>
          <cx:pt idx="50938">0</cx:pt>
          <cx:pt idx="50939">0</cx:pt>
          <cx:pt idx="50940">0</cx:pt>
          <cx:pt idx="50941">0</cx:pt>
          <cx:pt idx="50942">0</cx:pt>
          <cx:pt idx="50943">0</cx:pt>
          <cx:pt idx="50944">0</cx:pt>
          <cx:pt idx="50945">0</cx:pt>
          <cx:pt idx="50946">1</cx:pt>
          <cx:pt idx="50947">0</cx:pt>
          <cx:pt idx="50948">0</cx:pt>
          <cx:pt idx="50949">1</cx:pt>
          <cx:pt idx="50950">1</cx:pt>
          <cx:pt idx="50951">0</cx:pt>
          <cx:pt idx="50952">0</cx:pt>
          <cx:pt idx="50953">0</cx:pt>
          <cx:pt idx="50954">1</cx:pt>
          <cx:pt idx="50955">0</cx:pt>
          <cx:pt idx="50956">0</cx:pt>
          <cx:pt idx="50957">1</cx:pt>
          <cx:pt idx="50958">1</cx:pt>
          <cx:pt idx="50959">1</cx:pt>
          <cx:pt idx="50960">1</cx:pt>
          <cx:pt idx="50961">0</cx:pt>
          <cx:pt idx="50962">0</cx:pt>
          <cx:pt idx="50963">0</cx:pt>
          <cx:pt idx="50964">1</cx:pt>
          <cx:pt idx="50965">0</cx:pt>
          <cx:pt idx="50966">0</cx:pt>
          <cx:pt idx="50967">1</cx:pt>
          <cx:pt idx="50968">0</cx:pt>
          <cx:pt idx="50969">0</cx:pt>
          <cx:pt idx="50970">0</cx:pt>
          <cx:pt idx="50971">1</cx:pt>
          <cx:pt idx="50972">1</cx:pt>
          <cx:pt idx="50973">1</cx:pt>
          <cx:pt idx="50974">1</cx:pt>
          <cx:pt idx="50975">0</cx:pt>
          <cx:pt idx="50976">0</cx:pt>
          <cx:pt idx="50977">1</cx:pt>
          <cx:pt idx="50978">1</cx:pt>
          <cx:pt idx="50979">1</cx:pt>
          <cx:pt idx="50980">1</cx:pt>
          <cx:pt idx="50981">0</cx:pt>
          <cx:pt idx="50982">0</cx:pt>
          <cx:pt idx="50983">1</cx:pt>
          <cx:pt idx="50984">0</cx:pt>
          <cx:pt idx="50985">0</cx:pt>
          <cx:pt idx="50986">0</cx:pt>
          <cx:pt idx="50987">1</cx:pt>
          <cx:pt idx="50988">0</cx:pt>
          <cx:pt idx="50989">0</cx:pt>
          <cx:pt idx="50990">0</cx:pt>
          <cx:pt idx="50991">0</cx:pt>
          <cx:pt idx="50992">1</cx:pt>
          <cx:pt idx="50993">0</cx:pt>
          <cx:pt idx="50994">0</cx:pt>
          <cx:pt idx="50995">0</cx:pt>
          <cx:pt idx="50996">1</cx:pt>
          <cx:pt idx="50997">0</cx:pt>
          <cx:pt idx="50998">1</cx:pt>
          <cx:pt idx="50999">0</cx:pt>
          <cx:pt idx="51000">0</cx:pt>
          <cx:pt idx="51001">1</cx:pt>
          <cx:pt idx="51002">0</cx:pt>
          <cx:pt idx="51003">1</cx:pt>
          <cx:pt idx="51004">0</cx:pt>
          <cx:pt idx="51005">0</cx:pt>
          <cx:pt idx="51006">0</cx:pt>
          <cx:pt idx="51007">1</cx:pt>
          <cx:pt idx="51008">1</cx:pt>
          <cx:pt idx="51009">0</cx:pt>
          <cx:pt idx="51010">0</cx:pt>
          <cx:pt idx="51011">1</cx:pt>
          <cx:pt idx="51012">0</cx:pt>
          <cx:pt idx="51013">1</cx:pt>
          <cx:pt idx="51014">0</cx:pt>
          <cx:pt idx="51015">1</cx:pt>
          <cx:pt idx="51016">0</cx:pt>
          <cx:pt idx="51017">1</cx:pt>
          <cx:pt idx="51018">0</cx:pt>
          <cx:pt idx="51019">0</cx:pt>
          <cx:pt idx="51020">0</cx:pt>
          <cx:pt idx="51021">1</cx:pt>
          <cx:pt idx="51022">1</cx:pt>
          <cx:pt idx="51023">0</cx:pt>
          <cx:pt idx="51024">1</cx:pt>
          <cx:pt idx="51025">1</cx:pt>
          <cx:pt idx="51026">1</cx:pt>
          <cx:pt idx="51027">0</cx:pt>
          <cx:pt idx="51028">1</cx:pt>
          <cx:pt idx="51029">1</cx:pt>
          <cx:pt idx="51030">1</cx:pt>
          <cx:pt idx="51031">0</cx:pt>
          <cx:pt idx="51032">0</cx:pt>
          <cx:pt idx="51033">0</cx:pt>
          <cx:pt idx="51034">1</cx:pt>
          <cx:pt idx="51035">1</cx:pt>
          <cx:pt idx="51036">1</cx:pt>
          <cx:pt idx="51037">1</cx:pt>
          <cx:pt idx="51038">1</cx:pt>
          <cx:pt idx="51039">0</cx:pt>
          <cx:pt idx="51040">0</cx:pt>
          <cx:pt idx="51041">1</cx:pt>
          <cx:pt idx="51042">0</cx:pt>
          <cx:pt idx="51043">1</cx:pt>
          <cx:pt idx="51044">1</cx:pt>
          <cx:pt idx="51045">0</cx:pt>
          <cx:pt idx="51046">1</cx:pt>
          <cx:pt idx="51047">1</cx:pt>
          <cx:pt idx="51048">0</cx:pt>
          <cx:pt idx="51049">0</cx:pt>
          <cx:pt idx="51050">0</cx:pt>
          <cx:pt idx="51051">1</cx:pt>
          <cx:pt idx="51052">0</cx:pt>
          <cx:pt idx="51053">0</cx:pt>
          <cx:pt idx="51054">0</cx:pt>
          <cx:pt idx="51055">0</cx:pt>
          <cx:pt idx="51056">0</cx:pt>
          <cx:pt idx="51057">1</cx:pt>
          <cx:pt idx="51058">0</cx:pt>
          <cx:pt idx="51059">0</cx:pt>
          <cx:pt idx="51060">0</cx:pt>
          <cx:pt idx="51061">0</cx:pt>
          <cx:pt idx="51062">0</cx:pt>
          <cx:pt idx="51063">0</cx:pt>
          <cx:pt idx="51064">0</cx:pt>
          <cx:pt idx="51065">1</cx:pt>
          <cx:pt idx="51066">1</cx:pt>
          <cx:pt idx="51067">1</cx:pt>
          <cx:pt idx="51068">0</cx:pt>
          <cx:pt idx="51069">0</cx:pt>
          <cx:pt idx="51070">1</cx:pt>
          <cx:pt idx="51071">1</cx:pt>
          <cx:pt idx="51072">1</cx:pt>
          <cx:pt idx="51073">1</cx:pt>
          <cx:pt idx="51074">1</cx:pt>
          <cx:pt idx="51075">0</cx:pt>
          <cx:pt idx="51076">1</cx:pt>
          <cx:pt idx="51077">0</cx:pt>
          <cx:pt idx="51078">0</cx:pt>
          <cx:pt idx="51079">1</cx:pt>
          <cx:pt idx="51080">0</cx:pt>
          <cx:pt idx="51081">1</cx:pt>
          <cx:pt idx="51082">1</cx:pt>
          <cx:pt idx="51083">0</cx:pt>
          <cx:pt idx="51084">1</cx:pt>
          <cx:pt idx="51085">1</cx:pt>
          <cx:pt idx="51086">1</cx:pt>
          <cx:pt idx="51087">0</cx:pt>
          <cx:pt idx="51088">1</cx:pt>
          <cx:pt idx="51089">1</cx:pt>
          <cx:pt idx="51090">1</cx:pt>
          <cx:pt idx="51091">0</cx:pt>
          <cx:pt idx="51092">1</cx:pt>
          <cx:pt idx="51093">1</cx:pt>
          <cx:pt idx="51094">1</cx:pt>
          <cx:pt idx="51095">1</cx:pt>
          <cx:pt idx="51096">0</cx:pt>
          <cx:pt idx="51097">0</cx:pt>
          <cx:pt idx="51098">1</cx:pt>
          <cx:pt idx="51099">0</cx:pt>
          <cx:pt idx="51100">0</cx:pt>
          <cx:pt idx="51101">1</cx:pt>
          <cx:pt idx="51102">0</cx:pt>
          <cx:pt idx="51103">1</cx:pt>
          <cx:pt idx="51104">1</cx:pt>
          <cx:pt idx="51105">0</cx:pt>
          <cx:pt idx="51106">0</cx:pt>
          <cx:pt idx="51107">1</cx:pt>
          <cx:pt idx="51108">0</cx:pt>
          <cx:pt idx="51109">0</cx:pt>
          <cx:pt idx="51110">1</cx:pt>
          <cx:pt idx="51111">1</cx:pt>
          <cx:pt idx="51112">0</cx:pt>
          <cx:pt idx="51113">1</cx:pt>
          <cx:pt idx="51114">0</cx:pt>
          <cx:pt idx="51115">0</cx:pt>
          <cx:pt idx="51116">1</cx:pt>
          <cx:pt idx="51117">1</cx:pt>
          <cx:pt idx="51118">1</cx:pt>
          <cx:pt idx="51119">1</cx:pt>
          <cx:pt idx="51120">0</cx:pt>
          <cx:pt idx="51121">1</cx:pt>
          <cx:pt idx="51122">0</cx:pt>
          <cx:pt idx="51123">1</cx:pt>
          <cx:pt idx="51124">1</cx:pt>
          <cx:pt idx="51125">1</cx:pt>
          <cx:pt idx="51126">0</cx:pt>
          <cx:pt idx="51127">1</cx:pt>
          <cx:pt idx="51128">1</cx:pt>
          <cx:pt idx="51129">0</cx:pt>
          <cx:pt idx="51130">1</cx:pt>
          <cx:pt idx="51131">1</cx:pt>
          <cx:pt idx="51132">0</cx:pt>
          <cx:pt idx="51133">1</cx:pt>
          <cx:pt idx="51134">0</cx:pt>
          <cx:pt idx="51135">0</cx:pt>
          <cx:pt idx="51136">1</cx:pt>
          <cx:pt idx="51137">0</cx:pt>
          <cx:pt idx="51138">1</cx:pt>
          <cx:pt idx="51139">1</cx:pt>
          <cx:pt idx="51140">0</cx:pt>
          <cx:pt idx="51141">1</cx:pt>
          <cx:pt idx="51142">0</cx:pt>
          <cx:pt idx="51143">1</cx:pt>
          <cx:pt idx="51144">0</cx:pt>
          <cx:pt idx="51145">0</cx:pt>
          <cx:pt idx="51146">1</cx:pt>
          <cx:pt idx="51147">1</cx:pt>
          <cx:pt idx="51148">0</cx:pt>
          <cx:pt idx="51149">0</cx:pt>
          <cx:pt idx="51150">0</cx:pt>
          <cx:pt idx="51151">1</cx:pt>
          <cx:pt idx="51152">1</cx:pt>
          <cx:pt idx="51153">1</cx:pt>
          <cx:pt idx="51154">1</cx:pt>
          <cx:pt idx="51155">1</cx:pt>
          <cx:pt idx="51156">0</cx:pt>
          <cx:pt idx="51157">0</cx:pt>
          <cx:pt idx="51158">0</cx:pt>
          <cx:pt idx="51159">1</cx:pt>
          <cx:pt idx="51160">1</cx:pt>
          <cx:pt idx="51161">0</cx:pt>
          <cx:pt idx="51162">1</cx:pt>
          <cx:pt idx="51163">0</cx:pt>
          <cx:pt idx="51164">1</cx:pt>
          <cx:pt idx="51165">1</cx:pt>
          <cx:pt idx="51166">1</cx:pt>
          <cx:pt idx="51167">1</cx:pt>
          <cx:pt idx="51168">0</cx:pt>
          <cx:pt idx="51169">0</cx:pt>
          <cx:pt idx="51170">0</cx:pt>
          <cx:pt idx="51171">0</cx:pt>
          <cx:pt idx="51172">0</cx:pt>
          <cx:pt idx="51173">0</cx:pt>
          <cx:pt idx="51174">1</cx:pt>
          <cx:pt idx="51175">0</cx:pt>
          <cx:pt idx="51176">1</cx:pt>
          <cx:pt idx="51177">0</cx:pt>
          <cx:pt idx="51178">0</cx:pt>
          <cx:pt idx="51179">1</cx:pt>
          <cx:pt idx="51180">0</cx:pt>
          <cx:pt idx="51181">1</cx:pt>
          <cx:pt idx="51182">0</cx:pt>
          <cx:pt idx="51183">1</cx:pt>
          <cx:pt idx="51184">1</cx:pt>
          <cx:pt idx="51185">0</cx:pt>
          <cx:pt idx="51186">0</cx:pt>
          <cx:pt idx="51187">1</cx:pt>
          <cx:pt idx="51188">1</cx:pt>
          <cx:pt idx="51189">0</cx:pt>
          <cx:pt idx="51190">0</cx:pt>
          <cx:pt idx="51191">1</cx:pt>
          <cx:pt idx="51192">1</cx:pt>
          <cx:pt idx="51193">0</cx:pt>
          <cx:pt idx="51194">1</cx:pt>
          <cx:pt idx="51195">1</cx:pt>
          <cx:pt idx="51196">1</cx:pt>
          <cx:pt idx="51197">0</cx:pt>
          <cx:pt idx="51198">0</cx:pt>
          <cx:pt idx="51199">1</cx:pt>
          <cx:pt idx="51200">1</cx:pt>
          <cx:pt idx="51201">0</cx:pt>
          <cx:pt idx="51202">1</cx:pt>
          <cx:pt idx="51203">1</cx:pt>
          <cx:pt idx="51204">1</cx:pt>
          <cx:pt idx="51205">0</cx:pt>
          <cx:pt idx="51206">1</cx:pt>
          <cx:pt idx="51207">0</cx:pt>
          <cx:pt idx="51208">0</cx:pt>
          <cx:pt idx="51209">0</cx:pt>
          <cx:pt idx="51210">0</cx:pt>
          <cx:pt idx="51211">0</cx:pt>
          <cx:pt idx="51212">1</cx:pt>
          <cx:pt idx="51213">0</cx:pt>
          <cx:pt idx="51214">0</cx:pt>
          <cx:pt idx="51215">1</cx:pt>
          <cx:pt idx="51216">0</cx:pt>
          <cx:pt idx="51217">1</cx:pt>
          <cx:pt idx="51218">0</cx:pt>
          <cx:pt idx="51219">1</cx:pt>
          <cx:pt idx="51220">1</cx:pt>
          <cx:pt idx="51221">0</cx:pt>
          <cx:pt idx="51222">0</cx:pt>
          <cx:pt idx="51223">0</cx:pt>
          <cx:pt idx="51224">1</cx:pt>
          <cx:pt idx="51225">1</cx:pt>
          <cx:pt idx="51226">0</cx:pt>
          <cx:pt idx="51227">1</cx:pt>
          <cx:pt idx="51228">1</cx:pt>
          <cx:pt idx="51229">0</cx:pt>
          <cx:pt idx="51230">0</cx:pt>
          <cx:pt idx="51231">0</cx:pt>
          <cx:pt idx="51232">0</cx:pt>
          <cx:pt idx="51233">0</cx:pt>
          <cx:pt idx="51234">0</cx:pt>
          <cx:pt idx="51235">0</cx:pt>
          <cx:pt idx="51236">1</cx:pt>
          <cx:pt idx="51237">1</cx:pt>
          <cx:pt idx="51238">0</cx:pt>
          <cx:pt idx="51239">0</cx:pt>
          <cx:pt idx="51240">1</cx:pt>
          <cx:pt idx="51241">1</cx:pt>
          <cx:pt idx="51242">0</cx:pt>
          <cx:pt idx="51243">1</cx:pt>
          <cx:pt idx="51244">0</cx:pt>
          <cx:pt idx="51245">0</cx:pt>
          <cx:pt idx="51246">0</cx:pt>
          <cx:pt idx="51247">0</cx:pt>
          <cx:pt idx="51248">0</cx:pt>
          <cx:pt idx="51249">1</cx:pt>
          <cx:pt idx="51250">0</cx:pt>
          <cx:pt idx="51251">1</cx:pt>
          <cx:pt idx="51252">0</cx:pt>
          <cx:pt idx="51253">1</cx:pt>
          <cx:pt idx="51254">0</cx:pt>
          <cx:pt idx="51255">0</cx:pt>
          <cx:pt idx="51256">0</cx:pt>
          <cx:pt idx="51257">0</cx:pt>
          <cx:pt idx="51258">0</cx:pt>
          <cx:pt idx="51259">0</cx:pt>
          <cx:pt idx="51260">1</cx:pt>
          <cx:pt idx="51261">0</cx:pt>
          <cx:pt idx="51262">0</cx:pt>
          <cx:pt idx="51263">0</cx:pt>
          <cx:pt idx="51264">1</cx:pt>
          <cx:pt idx="51265">0</cx:pt>
          <cx:pt idx="51266">0</cx:pt>
          <cx:pt idx="51267">1</cx:pt>
          <cx:pt idx="51268">1</cx:pt>
          <cx:pt idx="51269">0</cx:pt>
          <cx:pt idx="51270">1</cx:pt>
          <cx:pt idx="51271">0</cx:pt>
          <cx:pt idx="51272">1</cx:pt>
          <cx:pt idx="51273">0</cx:pt>
          <cx:pt idx="51274">1</cx:pt>
          <cx:pt idx="51275">0</cx:pt>
          <cx:pt idx="51276">0</cx:pt>
          <cx:pt idx="51277">1</cx:pt>
          <cx:pt idx="51278">0</cx:pt>
          <cx:pt idx="51279">1</cx:pt>
          <cx:pt idx="51280">1</cx:pt>
          <cx:pt idx="51281">0</cx:pt>
          <cx:pt idx="51282">0</cx:pt>
          <cx:pt idx="51283">0</cx:pt>
          <cx:pt idx="51284">1</cx:pt>
          <cx:pt idx="51285">0</cx:pt>
          <cx:pt idx="51286">1</cx:pt>
          <cx:pt idx="51287">0</cx:pt>
          <cx:pt idx="51288">1</cx:pt>
          <cx:pt idx="51289">1</cx:pt>
          <cx:pt idx="51290">1</cx:pt>
          <cx:pt idx="51291">0</cx:pt>
          <cx:pt idx="51292">1</cx:pt>
          <cx:pt idx="51293">0</cx:pt>
          <cx:pt idx="51294">0</cx:pt>
          <cx:pt idx="51295">0</cx:pt>
          <cx:pt idx="51296">0</cx:pt>
          <cx:pt idx="51297">1</cx:pt>
          <cx:pt idx="51298">0</cx:pt>
          <cx:pt idx="51299">1</cx:pt>
          <cx:pt idx="51300">0</cx:pt>
          <cx:pt idx="51301">1</cx:pt>
          <cx:pt idx="51302">0</cx:pt>
          <cx:pt idx="51303">0</cx:pt>
          <cx:pt idx="51304">0</cx:pt>
          <cx:pt idx="51305">1</cx:pt>
          <cx:pt idx="51306">0</cx:pt>
          <cx:pt idx="51307">1</cx:pt>
          <cx:pt idx="51308">0</cx:pt>
          <cx:pt idx="51309">0</cx:pt>
          <cx:pt idx="51310">1</cx:pt>
          <cx:pt idx="51311">0</cx:pt>
          <cx:pt idx="51312">0</cx:pt>
          <cx:pt idx="51313">0</cx:pt>
          <cx:pt idx="51314">1</cx:pt>
          <cx:pt idx="51315">0</cx:pt>
          <cx:pt idx="51316">1</cx:pt>
          <cx:pt idx="51317">0</cx:pt>
          <cx:pt idx="51318">0</cx:pt>
          <cx:pt idx="51319">0</cx:pt>
          <cx:pt idx="51320">0</cx:pt>
          <cx:pt idx="51321">0</cx:pt>
          <cx:pt idx="51322">1</cx:pt>
          <cx:pt idx="51323">1</cx:pt>
          <cx:pt idx="51324">0</cx:pt>
          <cx:pt idx="51325">1</cx:pt>
          <cx:pt idx="51326">0</cx:pt>
          <cx:pt idx="51327">0</cx:pt>
          <cx:pt idx="51328">1</cx:pt>
          <cx:pt idx="51329">0</cx:pt>
          <cx:pt idx="51330">0</cx:pt>
          <cx:pt idx="51331">0</cx:pt>
          <cx:pt idx="51332">0</cx:pt>
          <cx:pt idx="51333">1</cx:pt>
          <cx:pt idx="51334">1</cx:pt>
          <cx:pt idx="51335">1</cx:pt>
          <cx:pt idx="51336">1</cx:pt>
          <cx:pt idx="51337">1</cx:pt>
          <cx:pt idx="51338">1</cx:pt>
          <cx:pt idx="51339">1</cx:pt>
          <cx:pt idx="51340">1</cx:pt>
          <cx:pt idx="51341">0</cx:pt>
          <cx:pt idx="51342">1</cx:pt>
          <cx:pt idx="51343">0</cx:pt>
          <cx:pt idx="51344">0</cx:pt>
          <cx:pt idx="51345">0</cx:pt>
          <cx:pt idx="51346">0</cx:pt>
          <cx:pt idx="51347">0</cx:pt>
          <cx:pt idx="51348">0</cx:pt>
          <cx:pt idx="51349">0</cx:pt>
          <cx:pt idx="51350">0</cx:pt>
          <cx:pt idx="51351">0</cx:pt>
          <cx:pt idx="51352">0</cx:pt>
          <cx:pt idx="51353">0</cx:pt>
          <cx:pt idx="51354">0</cx:pt>
          <cx:pt idx="51355">0</cx:pt>
          <cx:pt idx="51356">1</cx:pt>
          <cx:pt idx="51357">1</cx:pt>
          <cx:pt idx="51358">1</cx:pt>
          <cx:pt idx="51359">1</cx:pt>
          <cx:pt idx="51360">0</cx:pt>
          <cx:pt idx="51361">0</cx:pt>
          <cx:pt idx="51362">0</cx:pt>
          <cx:pt idx="51363">1</cx:pt>
          <cx:pt idx="51364">1</cx:pt>
          <cx:pt idx="51365">0</cx:pt>
          <cx:pt idx="51366">1</cx:pt>
          <cx:pt idx="51367">0</cx:pt>
          <cx:pt idx="51368">1</cx:pt>
          <cx:pt idx="51369">0</cx:pt>
          <cx:pt idx="51370">1</cx:pt>
          <cx:pt idx="51371">1</cx:pt>
          <cx:pt idx="51372">0</cx:pt>
          <cx:pt idx="51373">1</cx:pt>
          <cx:pt idx="51374">0</cx:pt>
          <cx:pt idx="51375">0</cx:pt>
          <cx:pt idx="51376">1</cx:pt>
          <cx:pt idx="51377">0</cx:pt>
          <cx:pt idx="51378">1</cx:pt>
          <cx:pt idx="51379">0</cx:pt>
          <cx:pt idx="51380">0</cx:pt>
          <cx:pt idx="51381">1</cx:pt>
          <cx:pt idx="51382">0</cx:pt>
          <cx:pt idx="51383">0</cx:pt>
          <cx:pt idx="51384">1</cx:pt>
          <cx:pt idx="51385">1</cx:pt>
          <cx:pt idx="51386">0</cx:pt>
          <cx:pt idx="51387">0</cx:pt>
          <cx:pt idx="51388">1</cx:pt>
          <cx:pt idx="51389">0</cx:pt>
          <cx:pt idx="51390">1</cx:pt>
          <cx:pt idx="51391">0</cx:pt>
          <cx:pt idx="51392">0</cx:pt>
          <cx:pt idx="51393">1</cx:pt>
          <cx:pt idx="51394">0</cx:pt>
          <cx:pt idx="51395">1</cx:pt>
          <cx:pt idx="51396">1</cx:pt>
          <cx:pt idx="51397">0</cx:pt>
          <cx:pt idx="51398">1</cx:pt>
          <cx:pt idx="51399">0</cx:pt>
          <cx:pt idx="51400">0</cx:pt>
          <cx:pt idx="51401">0</cx:pt>
          <cx:pt idx="51402">1</cx:pt>
          <cx:pt idx="51403">0</cx:pt>
          <cx:pt idx="51404">0</cx:pt>
          <cx:pt idx="51405">0</cx:pt>
          <cx:pt idx="51406">1</cx:pt>
          <cx:pt idx="51407">1</cx:pt>
          <cx:pt idx="51408">1</cx:pt>
          <cx:pt idx="51409">0</cx:pt>
          <cx:pt idx="51410">1</cx:pt>
          <cx:pt idx="51411">0</cx:pt>
          <cx:pt idx="51412">1</cx:pt>
          <cx:pt idx="51413">0</cx:pt>
          <cx:pt idx="51414">1</cx:pt>
          <cx:pt idx="51415">0</cx:pt>
          <cx:pt idx="51416">0</cx:pt>
          <cx:pt idx="51417">1</cx:pt>
          <cx:pt idx="51418">0</cx:pt>
          <cx:pt idx="51419">0</cx:pt>
          <cx:pt idx="51420">1</cx:pt>
          <cx:pt idx="51421">0</cx:pt>
          <cx:pt idx="51422">0</cx:pt>
          <cx:pt idx="51423">0</cx:pt>
          <cx:pt idx="51424">0</cx:pt>
          <cx:pt idx="51425">0</cx:pt>
          <cx:pt idx="51426">0</cx:pt>
          <cx:pt idx="51427">1</cx:pt>
          <cx:pt idx="51428">0</cx:pt>
          <cx:pt idx="51429">1</cx:pt>
          <cx:pt idx="51430">1</cx:pt>
          <cx:pt idx="51431">1</cx:pt>
          <cx:pt idx="51432">0</cx:pt>
          <cx:pt idx="51433">0</cx:pt>
          <cx:pt idx="51434">1</cx:pt>
          <cx:pt idx="51435">0</cx:pt>
          <cx:pt idx="51436">1</cx:pt>
          <cx:pt idx="51437">1</cx:pt>
          <cx:pt idx="51438">1</cx:pt>
          <cx:pt idx="51439">0</cx:pt>
          <cx:pt idx="51440">0</cx:pt>
          <cx:pt idx="51441">0</cx:pt>
          <cx:pt idx="51442">0</cx:pt>
          <cx:pt idx="51443">0</cx:pt>
          <cx:pt idx="51444">0</cx:pt>
          <cx:pt idx="51445">1</cx:pt>
          <cx:pt idx="51446">1</cx:pt>
          <cx:pt idx="51447">1</cx:pt>
          <cx:pt idx="51448">1</cx:pt>
          <cx:pt idx="51449">0</cx:pt>
          <cx:pt idx="51450">0</cx:pt>
          <cx:pt idx="51451">1</cx:pt>
          <cx:pt idx="51452">0</cx:pt>
          <cx:pt idx="51453">0</cx:pt>
          <cx:pt idx="51454">1</cx:pt>
          <cx:pt idx="51455">0</cx:pt>
          <cx:pt idx="51456">0</cx:pt>
          <cx:pt idx="51457">1</cx:pt>
          <cx:pt idx="51458">0</cx:pt>
          <cx:pt idx="51459">1</cx:pt>
          <cx:pt idx="51460">1</cx:pt>
          <cx:pt idx="51461">1</cx:pt>
          <cx:pt idx="51462">1</cx:pt>
          <cx:pt idx="51463">1</cx:pt>
          <cx:pt idx="51464">0</cx:pt>
          <cx:pt idx="51465">0</cx:pt>
          <cx:pt idx="51466">0</cx:pt>
          <cx:pt idx="51467">0</cx:pt>
          <cx:pt idx="51468">0</cx:pt>
          <cx:pt idx="51469">1</cx:pt>
          <cx:pt idx="51470">0</cx:pt>
          <cx:pt idx="51471">1</cx:pt>
          <cx:pt idx="51472">0</cx:pt>
          <cx:pt idx="51473">0</cx:pt>
          <cx:pt idx="51474">1</cx:pt>
          <cx:pt idx="51475">0</cx:pt>
          <cx:pt idx="51476">1</cx:pt>
          <cx:pt idx="51477">1</cx:pt>
          <cx:pt idx="51478">0</cx:pt>
          <cx:pt idx="51479">1</cx:pt>
          <cx:pt idx="51480">0</cx:pt>
          <cx:pt idx="51481">0</cx:pt>
          <cx:pt idx="51482">0</cx:pt>
          <cx:pt idx="51483">1</cx:pt>
          <cx:pt idx="51484">0</cx:pt>
          <cx:pt idx="51485">0</cx:pt>
          <cx:pt idx="51486">0</cx:pt>
          <cx:pt idx="51487">0</cx:pt>
          <cx:pt idx="51488">0</cx:pt>
          <cx:pt idx="51489">0</cx:pt>
          <cx:pt idx="51490">0</cx:pt>
          <cx:pt idx="51491">1</cx:pt>
          <cx:pt idx="51492">1</cx:pt>
          <cx:pt idx="51493">0</cx:pt>
          <cx:pt idx="51494">0</cx:pt>
          <cx:pt idx="51495">1</cx:pt>
          <cx:pt idx="51496">1</cx:pt>
          <cx:pt idx="51497">0</cx:pt>
          <cx:pt idx="51498">0</cx:pt>
          <cx:pt idx="51499">0</cx:pt>
          <cx:pt idx="51500">0</cx:pt>
          <cx:pt idx="51501">0</cx:pt>
          <cx:pt idx="51502">1</cx:pt>
          <cx:pt idx="51503">1</cx:pt>
          <cx:pt idx="51504">1</cx:pt>
          <cx:pt idx="51505">1</cx:pt>
          <cx:pt idx="51506">1</cx:pt>
          <cx:pt idx="51507">0</cx:pt>
          <cx:pt idx="51508">0</cx:pt>
          <cx:pt idx="51509">0</cx:pt>
          <cx:pt idx="51510">0</cx:pt>
          <cx:pt idx="51511">0</cx:pt>
          <cx:pt idx="51512">0</cx:pt>
          <cx:pt idx="51513">0</cx:pt>
          <cx:pt idx="51514">0</cx:pt>
          <cx:pt idx="51515">0</cx:pt>
          <cx:pt idx="51516">0</cx:pt>
          <cx:pt idx="51517">1</cx:pt>
          <cx:pt idx="51518">0</cx:pt>
          <cx:pt idx="51519">0</cx:pt>
          <cx:pt idx="51520">1</cx:pt>
          <cx:pt idx="51521">1</cx:pt>
          <cx:pt idx="51522">0</cx:pt>
          <cx:pt idx="51523">0</cx:pt>
          <cx:pt idx="51524">0</cx:pt>
          <cx:pt idx="51525">1</cx:pt>
          <cx:pt idx="51526">1</cx:pt>
          <cx:pt idx="51527">1</cx:pt>
          <cx:pt idx="51528">1</cx:pt>
          <cx:pt idx="51529">0</cx:pt>
          <cx:pt idx="51530">1</cx:pt>
          <cx:pt idx="51531">0</cx:pt>
          <cx:pt idx="51532">0</cx:pt>
          <cx:pt idx="51533">1</cx:pt>
          <cx:pt idx="51534">0</cx:pt>
          <cx:pt idx="51535">0</cx:pt>
          <cx:pt idx="51536">1</cx:pt>
          <cx:pt idx="51537">0</cx:pt>
          <cx:pt idx="51538">0</cx:pt>
          <cx:pt idx="51539">0</cx:pt>
          <cx:pt idx="51540">1</cx:pt>
          <cx:pt idx="51541">0</cx:pt>
          <cx:pt idx="51542">0</cx:pt>
          <cx:pt idx="51543">0</cx:pt>
          <cx:pt idx="51544">0</cx:pt>
          <cx:pt idx="51545">0</cx:pt>
          <cx:pt idx="51546">1</cx:pt>
          <cx:pt idx="51547">0</cx:pt>
          <cx:pt idx="51548">1</cx:pt>
          <cx:pt idx="51549">1</cx:pt>
          <cx:pt idx="51550">1</cx:pt>
          <cx:pt idx="51551">0</cx:pt>
          <cx:pt idx="51552">0</cx:pt>
          <cx:pt idx="51553">1</cx:pt>
          <cx:pt idx="51554">1</cx:pt>
          <cx:pt idx="51555">0</cx:pt>
          <cx:pt idx="51556">0</cx:pt>
          <cx:pt idx="51557">1</cx:pt>
          <cx:pt idx="51558">0</cx:pt>
          <cx:pt idx="51559">1</cx:pt>
          <cx:pt idx="51560">0</cx:pt>
          <cx:pt idx="51561">0</cx:pt>
          <cx:pt idx="51562">0</cx:pt>
          <cx:pt idx="51563">0</cx:pt>
          <cx:pt idx="51564">1</cx:pt>
          <cx:pt idx="51565">0</cx:pt>
          <cx:pt idx="51566">0</cx:pt>
          <cx:pt idx="51567">0</cx:pt>
          <cx:pt idx="51568">1</cx:pt>
          <cx:pt idx="51569">0</cx:pt>
          <cx:pt idx="51570">0</cx:pt>
          <cx:pt idx="51571">0</cx:pt>
          <cx:pt idx="51572">1</cx:pt>
          <cx:pt idx="51573">0</cx:pt>
          <cx:pt idx="51574">0</cx:pt>
          <cx:pt idx="51575">0</cx:pt>
          <cx:pt idx="51576">1</cx:pt>
          <cx:pt idx="51577">0</cx:pt>
          <cx:pt idx="51578">1</cx:pt>
          <cx:pt idx="51579">0</cx:pt>
          <cx:pt idx="51580">1</cx:pt>
          <cx:pt idx="51581">1</cx:pt>
          <cx:pt idx="51582">0</cx:pt>
          <cx:pt idx="51583">1</cx:pt>
          <cx:pt idx="51584">0</cx:pt>
          <cx:pt idx="51585">1</cx:pt>
          <cx:pt idx="51586">1</cx:pt>
          <cx:pt idx="51587">0</cx:pt>
          <cx:pt idx="51588">0</cx:pt>
          <cx:pt idx="51589">0</cx:pt>
          <cx:pt idx="51590">0</cx:pt>
          <cx:pt idx="51591">1</cx:pt>
          <cx:pt idx="51592">0</cx:pt>
          <cx:pt idx="51593">1</cx:pt>
          <cx:pt idx="51594">0</cx:pt>
          <cx:pt idx="51595">1</cx:pt>
          <cx:pt idx="51596">1</cx:pt>
          <cx:pt idx="51597">0</cx:pt>
          <cx:pt idx="51598">0</cx:pt>
          <cx:pt idx="51599">1</cx:pt>
          <cx:pt idx="51600">1</cx:pt>
          <cx:pt idx="51601">0</cx:pt>
          <cx:pt idx="51602">0</cx:pt>
          <cx:pt idx="51603">1</cx:pt>
          <cx:pt idx="51604">0</cx:pt>
          <cx:pt idx="51605">1</cx:pt>
          <cx:pt idx="51606">1</cx:pt>
          <cx:pt idx="51607">0</cx:pt>
          <cx:pt idx="51608">0</cx:pt>
          <cx:pt idx="51609">1</cx:pt>
          <cx:pt idx="51610">0</cx:pt>
          <cx:pt idx="51611">1</cx:pt>
          <cx:pt idx="51612">1</cx:pt>
          <cx:pt idx="51613">1</cx:pt>
          <cx:pt idx="51614">1</cx:pt>
          <cx:pt idx="51615">0</cx:pt>
          <cx:pt idx="51616">1</cx:pt>
          <cx:pt idx="51617">1</cx:pt>
          <cx:pt idx="51618">0</cx:pt>
          <cx:pt idx="51619">1</cx:pt>
          <cx:pt idx="51620">0</cx:pt>
          <cx:pt idx="51621">0</cx:pt>
          <cx:pt idx="51622">1</cx:pt>
          <cx:pt idx="51623">0</cx:pt>
          <cx:pt idx="51624">1</cx:pt>
          <cx:pt idx="51625">0</cx:pt>
          <cx:pt idx="51626">0</cx:pt>
          <cx:pt idx="51627">0</cx:pt>
          <cx:pt idx="51628">0</cx:pt>
          <cx:pt idx="51629">1</cx:pt>
          <cx:pt idx="51630">0</cx:pt>
          <cx:pt idx="51631">0</cx:pt>
          <cx:pt idx="51632">0</cx:pt>
          <cx:pt idx="51633">1</cx:pt>
          <cx:pt idx="51634">0</cx:pt>
          <cx:pt idx="51635">0</cx:pt>
          <cx:pt idx="51636">1</cx:pt>
          <cx:pt idx="51637">0</cx:pt>
          <cx:pt idx="51638">1</cx:pt>
          <cx:pt idx="51639">1</cx:pt>
          <cx:pt idx="51640">0</cx:pt>
          <cx:pt idx="51641">1</cx:pt>
          <cx:pt idx="51642">0</cx:pt>
          <cx:pt idx="51643">1</cx:pt>
          <cx:pt idx="51644">0</cx:pt>
          <cx:pt idx="51645">1</cx:pt>
          <cx:pt idx="51646">0</cx:pt>
          <cx:pt idx="51647">1</cx:pt>
          <cx:pt idx="51648">1</cx:pt>
          <cx:pt idx="51649">0</cx:pt>
          <cx:pt idx="51650">1</cx:pt>
          <cx:pt idx="51651">0</cx:pt>
          <cx:pt idx="51652">1</cx:pt>
          <cx:pt idx="51653">1</cx:pt>
          <cx:pt idx="51654">1</cx:pt>
          <cx:pt idx="51655">1</cx:pt>
          <cx:pt idx="51656">0</cx:pt>
          <cx:pt idx="51657">1</cx:pt>
          <cx:pt idx="51658">0</cx:pt>
          <cx:pt idx="51659">0</cx:pt>
          <cx:pt idx="51660">0</cx:pt>
          <cx:pt idx="51661">1</cx:pt>
          <cx:pt idx="51662">1</cx:pt>
          <cx:pt idx="51663">1</cx:pt>
          <cx:pt idx="51664">0</cx:pt>
          <cx:pt idx="51665">0</cx:pt>
          <cx:pt idx="51666">1</cx:pt>
          <cx:pt idx="51667">1</cx:pt>
          <cx:pt idx="51668">0</cx:pt>
          <cx:pt idx="51669">1</cx:pt>
          <cx:pt idx="51670">0</cx:pt>
          <cx:pt idx="51671">1</cx:pt>
          <cx:pt idx="51672">1</cx:pt>
          <cx:pt idx="51673">0</cx:pt>
          <cx:pt idx="51674">1</cx:pt>
          <cx:pt idx="51675">1</cx:pt>
          <cx:pt idx="51676">1</cx:pt>
          <cx:pt idx="51677">0</cx:pt>
          <cx:pt idx="51678">0</cx:pt>
          <cx:pt idx="51679">0</cx:pt>
          <cx:pt idx="51680">0</cx:pt>
          <cx:pt idx="51681">1</cx:pt>
          <cx:pt idx="51682">0</cx:pt>
          <cx:pt idx="51683">1</cx:pt>
          <cx:pt idx="51684">1</cx:pt>
          <cx:pt idx="51685">1</cx:pt>
          <cx:pt idx="51686">1</cx:pt>
          <cx:pt idx="51687">1</cx:pt>
          <cx:pt idx="51688">0</cx:pt>
          <cx:pt idx="51689">0</cx:pt>
          <cx:pt idx="51690">1</cx:pt>
          <cx:pt idx="51691">0</cx:pt>
          <cx:pt idx="51692">0</cx:pt>
          <cx:pt idx="51693">0</cx:pt>
          <cx:pt idx="51694">0</cx:pt>
          <cx:pt idx="51695">1</cx:pt>
          <cx:pt idx="51696">0</cx:pt>
          <cx:pt idx="51697">1</cx:pt>
          <cx:pt idx="51698">0</cx:pt>
          <cx:pt idx="51699">1</cx:pt>
          <cx:pt idx="51700">0</cx:pt>
          <cx:pt idx="51701">1</cx:pt>
          <cx:pt idx="51702">0</cx:pt>
          <cx:pt idx="51703">1</cx:pt>
          <cx:pt idx="51704">0</cx:pt>
          <cx:pt idx="51705">1</cx:pt>
          <cx:pt idx="51706">0</cx:pt>
          <cx:pt idx="51707">1</cx:pt>
          <cx:pt idx="51708">1</cx:pt>
          <cx:pt idx="51709">0</cx:pt>
          <cx:pt idx="51710">0</cx:pt>
          <cx:pt idx="51711">0</cx:pt>
          <cx:pt idx="51712">1</cx:pt>
          <cx:pt idx="51713">0</cx:pt>
          <cx:pt idx="51714">1</cx:pt>
          <cx:pt idx="51715">1</cx:pt>
          <cx:pt idx="51716">0</cx:pt>
          <cx:pt idx="51717">0</cx:pt>
          <cx:pt idx="51718">0</cx:pt>
          <cx:pt idx="51719">1</cx:pt>
          <cx:pt idx="51720">1</cx:pt>
          <cx:pt idx="51721">0</cx:pt>
          <cx:pt idx="51722">1</cx:pt>
          <cx:pt idx="51723">1</cx:pt>
          <cx:pt idx="51724">1</cx:pt>
          <cx:pt idx="51725">1</cx:pt>
          <cx:pt idx="51726">1</cx:pt>
          <cx:pt idx="51727">0</cx:pt>
          <cx:pt idx="51728">0</cx:pt>
          <cx:pt idx="51729">0</cx:pt>
          <cx:pt idx="51730">0</cx:pt>
          <cx:pt idx="51731">1</cx:pt>
          <cx:pt idx="51732">0</cx:pt>
          <cx:pt idx="51733">1</cx:pt>
          <cx:pt idx="51734">1</cx:pt>
          <cx:pt idx="51735">0</cx:pt>
          <cx:pt idx="51736">1</cx:pt>
          <cx:pt idx="51737">1</cx:pt>
          <cx:pt idx="51738">0</cx:pt>
          <cx:pt idx="51739">1</cx:pt>
          <cx:pt idx="51740">0</cx:pt>
          <cx:pt idx="51741">0</cx:pt>
          <cx:pt idx="51742">0</cx:pt>
          <cx:pt idx="51743">1</cx:pt>
          <cx:pt idx="51744">1</cx:pt>
          <cx:pt idx="51745">1</cx:pt>
          <cx:pt idx="51746">1</cx:pt>
          <cx:pt idx="51747">0</cx:pt>
          <cx:pt idx="51748">1</cx:pt>
          <cx:pt idx="51749">1</cx:pt>
          <cx:pt idx="51750">0</cx:pt>
          <cx:pt idx="51751">0</cx:pt>
          <cx:pt idx="51752">0</cx:pt>
          <cx:pt idx="51753">0</cx:pt>
          <cx:pt idx="51754">1</cx:pt>
          <cx:pt idx="51755">0</cx:pt>
          <cx:pt idx="51756">0</cx:pt>
          <cx:pt idx="51757">0</cx:pt>
          <cx:pt idx="51758">1</cx:pt>
          <cx:pt idx="51759">0</cx:pt>
          <cx:pt idx="51760">1</cx:pt>
          <cx:pt idx="51761">1</cx:pt>
          <cx:pt idx="51762">1</cx:pt>
          <cx:pt idx="51763">1</cx:pt>
          <cx:pt idx="51764">0</cx:pt>
          <cx:pt idx="51765">1</cx:pt>
          <cx:pt idx="51766">0</cx:pt>
          <cx:pt idx="51767">0</cx:pt>
          <cx:pt idx="51768">0</cx:pt>
          <cx:pt idx="51769">0</cx:pt>
          <cx:pt idx="51770">0</cx:pt>
          <cx:pt idx="51771">0</cx:pt>
          <cx:pt idx="51772">1</cx:pt>
          <cx:pt idx="51773">0</cx:pt>
          <cx:pt idx="51774">0</cx:pt>
          <cx:pt idx="51775">0</cx:pt>
          <cx:pt idx="51776">1</cx:pt>
          <cx:pt idx="51777">0</cx:pt>
          <cx:pt idx="51778">0</cx:pt>
          <cx:pt idx="51779">0</cx:pt>
          <cx:pt idx="51780">0</cx:pt>
          <cx:pt idx="51781">0</cx:pt>
          <cx:pt idx="51782">1</cx:pt>
          <cx:pt idx="51783">1</cx:pt>
          <cx:pt idx="51784">0</cx:pt>
          <cx:pt idx="51785">0</cx:pt>
          <cx:pt idx="51786">0</cx:pt>
          <cx:pt idx="51787">0</cx:pt>
          <cx:pt idx="51788">1</cx:pt>
          <cx:pt idx="51789">0</cx:pt>
          <cx:pt idx="51790">1</cx:pt>
          <cx:pt idx="51791">1</cx:pt>
          <cx:pt idx="51792">1</cx:pt>
          <cx:pt idx="51793">0</cx:pt>
          <cx:pt idx="51794">1</cx:pt>
          <cx:pt idx="51795">1</cx:pt>
          <cx:pt idx="51796">1</cx:pt>
          <cx:pt idx="51797">0</cx:pt>
          <cx:pt idx="51798">1</cx:pt>
          <cx:pt idx="51799">1</cx:pt>
          <cx:pt idx="51800">0</cx:pt>
          <cx:pt idx="51801">0</cx:pt>
          <cx:pt idx="51802">0</cx:pt>
          <cx:pt idx="51803">0</cx:pt>
          <cx:pt idx="51804">0</cx:pt>
          <cx:pt idx="51805">0</cx:pt>
          <cx:pt idx="51806">0</cx:pt>
          <cx:pt idx="51807">1</cx:pt>
          <cx:pt idx="51808">0</cx:pt>
          <cx:pt idx="51809">1</cx:pt>
          <cx:pt idx="51810">1</cx:pt>
          <cx:pt idx="51811">0</cx:pt>
          <cx:pt idx="51812">0</cx:pt>
          <cx:pt idx="51813">1</cx:pt>
          <cx:pt idx="51814">1</cx:pt>
          <cx:pt idx="51815">0</cx:pt>
          <cx:pt idx="51816">1</cx:pt>
          <cx:pt idx="51817">0</cx:pt>
          <cx:pt idx="51818">1</cx:pt>
          <cx:pt idx="51819">0</cx:pt>
          <cx:pt idx="51820">0</cx:pt>
          <cx:pt idx="51821">0</cx:pt>
          <cx:pt idx="51822">0</cx:pt>
          <cx:pt idx="51823">0</cx:pt>
          <cx:pt idx="51824">0</cx:pt>
          <cx:pt idx="51825">0</cx:pt>
          <cx:pt idx="51826">0</cx:pt>
          <cx:pt idx="51827">0</cx:pt>
          <cx:pt idx="51828">1</cx:pt>
          <cx:pt idx="51829">0</cx:pt>
          <cx:pt idx="51830">1</cx:pt>
          <cx:pt idx="51831">1</cx:pt>
          <cx:pt idx="51832">0</cx:pt>
          <cx:pt idx="51833">1</cx:pt>
          <cx:pt idx="51834">0</cx:pt>
          <cx:pt idx="51835">1</cx:pt>
          <cx:pt idx="51836">0</cx:pt>
          <cx:pt idx="51837">0</cx:pt>
          <cx:pt idx="51838">0</cx:pt>
          <cx:pt idx="51839">1</cx:pt>
          <cx:pt idx="51840">0</cx:pt>
          <cx:pt idx="51841">0</cx:pt>
          <cx:pt idx="51842">0</cx:pt>
          <cx:pt idx="51843">0</cx:pt>
          <cx:pt idx="51844">0</cx:pt>
          <cx:pt idx="51845">0</cx:pt>
          <cx:pt idx="51846">0</cx:pt>
          <cx:pt idx="51847">1</cx:pt>
          <cx:pt idx="51848">0</cx:pt>
          <cx:pt idx="51849">0</cx:pt>
          <cx:pt idx="51850">1</cx:pt>
          <cx:pt idx="51851">0</cx:pt>
          <cx:pt idx="51852">0</cx:pt>
          <cx:pt idx="51853">0</cx:pt>
          <cx:pt idx="51854">0</cx:pt>
          <cx:pt idx="51855">1</cx:pt>
          <cx:pt idx="51856">0</cx:pt>
          <cx:pt idx="51857">0</cx:pt>
          <cx:pt idx="51858">0</cx:pt>
          <cx:pt idx="51859">1</cx:pt>
          <cx:pt idx="51860">0</cx:pt>
          <cx:pt idx="51861">0</cx:pt>
          <cx:pt idx="51862">1</cx:pt>
          <cx:pt idx="51863">1</cx:pt>
          <cx:pt idx="51864">1</cx:pt>
          <cx:pt idx="51865">0</cx:pt>
          <cx:pt idx="51866">1</cx:pt>
          <cx:pt idx="51867">0</cx:pt>
          <cx:pt idx="51868">1</cx:pt>
          <cx:pt idx="51869">1</cx:pt>
          <cx:pt idx="51870">0</cx:pt>
          <cx:pt idx="51871">0</cx:pt>
          <cx:pt idx="51872">1</cx:pt>
          <cx:pt idx="51873">1</cx:pt>
          <cx:pt idx="51874">0</cx:pt>
          <cx:pt idx="51875">0</cx:pt>
          <cx:pt idx="51876">0</cx:pt>
          <cx:pt idx="51877">0</cx:pt>
          <cx:pt idx="51878">0</cx:pt>
          <cx:pt idx="51879">0</cx:pt>
          <cx:pt idx="51880">0</cx:pt>
          <cx:pt idx="51881">0</cx:pt>
          <cx:pt idx="51882">0</cx:pt>
          <cx:pt idx="51883">0</cx:pt>
          <cx:pt idx="51884">1</cx:pt>
          <cx:pt idx="51885">0</cx:pt>
          <cx:pt idx="51886">1</cx:pt>
          <cx:pt idx="51887">0</cx:pt>
          <cx:pt idx="51888">0</cx:pt>
          <cx:pt idx="51889">1</cx:pt>
          <cx:pt idx="51890">1</cx:pt>
          <cx:pt idx="51891">0</cx:pt>
          <cx:pt idx="51892">0</cx:pt>
          <cx:pt idx="51893">0</cx:pt>
          <cx:pt idx="51894">0</cx:pt>
          <cx:pt idx="51895">1</cx:pt>
          <cx:pt idx="51896">0</cx:pt>
          <cx:pt idx="51897">1</cx:pt>
          <cx:pt idx="51898">1</cx:pt>
          <cx:pt idx="51899">0</cx:pt>
          <cx:pt idx="51900">0</cx:pt>
          <cx:pt idx="51901">0</cx:pt>
          <cx:pt idx="51902">1</cx:pt>
          <cx:pt idx="51903">0</cx:pt>
          <cx:pt idx="51904">0</cx:pt>
          <cx:pt idx="51905">0</cx:pt>
          <cx:pt idx="51906">0</cx:pt>
          <cx:pt idx="51907">1</cx:pt>
          <cx:pt idx="51908">0</cx:pt>
          <cx:pt idx="51909">0</cx:pt>
          <cx:pt idx="51910">1</cx:pt>
          <cx:pt idx="51911">1</cx:pt>
          <cx:pt idx="51912">1</cx:pt>
          <cx:pt idx="51913">1</cx:pt>
          <cx:pt idx="51914">1</cx:pt>
          <cx:pt idx="51915">0</cx:pt>
          <cx:pt idx="51916">1</cx:pt>
          <cx:pt idx="51917">0</cx:pt>
          <cx:pt idx="51918">1</cx:pt>
          <cx:pt idx="51919">0</cx:pt>
          <cx:pt idx="51920">0</cx:pt>
          <cx:pt idx="51921">1</cx:pt>
          <cx:pt idx="51922">0</cx:pt>
          <cx:pt idx="51923">1</cx:pt>
          <cx:pt idx="51924">1</cx:pt>
          <cx:pt idx="51925">0</cx:pt>
          <cx:pt idx="51926">1</cx:pt>
          <cx:pt idx="51927">0</cx:pt>
          <cx:pt idx="51928">0</cx:pt>
          <cx:pt idx="51929">0</cx:pt>
          <cx:pt idx="51930">0</cx:pt>
          <cx:pt idx="51931">0</cx:pt>
          <cx:pt idx="51932">1</cx:pt>
          <cx:pt idx="51933">0</cx:pt>
          <cx:pt idx="51934">0</cx:pt>
          <cx:pt idx="51935">1</cx:pt>
          <cx:pt idx="51936">0</cx:pt>
          <cx:pt idx="51937">1</cx:pt>
          <cx:pt idx="51938">0</cx:pt>
          <cx:pt idx="51939">1</cx:pt>
          <cx:pt idx="51940">0</cx:pt>
          <cx:pt idx="51941">0</cx:pt>
          <cx:pt idx="51942">0</cx:pt>
          <cx:pt idx="51943">0</cx:pt>
          <cx:pt idx="51944">1</cx:pt>
          <cx:pt idx="51945">0</cx:pt>
          <cx:pt idx="51946">1</cx:pt>
          <cx:pt idx="51947">0</cx:pt>
          <cx:pt idx="51948">0</cx:pt>
          <cx:pt idx="51949">1</cx:pt>
          <cx:pt idx="51950">1</cx:pt>
          <cx:pt idx="51951">0</cx:pt>
          <cx:pt idx="51952">1</cx:pt>
          <cx:pt idx="51953">0</cx:pt>
          <cx:pt idx="51954">0</cx:pt>
          <cx:pt idx="51955">1</cx:pt>
          <cx:pt idx="51956">1</cx:pt>
          <cx:pt idx="51957">1</cx:pt>
          <cx:pt idx="51958">0</cx:pt>
          <cx:pt idx="51959">1</cx:pt>
          <cx:pt idx="51960">1</cx:pt>
          <cx:pt idx="51961">0</cx:pt>
          <cx:pt idx="51962">1</cx:pt>
          <cx:pt idx="51963">1</cx:pt>
          <cx:pt idx="51964">0</cx:pt>
          <cx:pt idx="51965">0</cx:pt>
          <cx:pt idx="51966">1</cx:pt>
          <cx:pt idx="51967">0</cx:pt>
          <cx:pt idx="51968">0</cx:pt>
          <cx:pt idx="51969">0</cx:pt>
          <cx:pt idx="51970">0</cx:pt>
          <cx:pt idx="51971">0</cx:pt>
          <cx:pt idx="51972">0</cx:pt>
          <cx:pt idx="51973">0</cx:pt>
          <cx:pt idx="51974">0</cx:pt>
          <cx:pt idx="51975">1</cx:pt>
          <cx:pt idx="51976">1</cx:pt>
          <cx:pt idx="51977">1</cx:pt>
          <cx:pt idx="51978">0</cx:pt>
          <cx:pt idx="51979">1</cx:pt>
          <cx:pt idx="51980">0</cx:pt>
          <cx:pt idx="51981">0</cx:pt>
          <cx:pt idx="51982">0</cx:pt>
          <cx:pt idx="51983">0</cx:pt>
          <cx:pt idx="51984">1</cx:pt>
          <cx:pt idx="51985">0</cx:pt>
          <cx:pt idx="51986">0</cx:pt>
          <cx:pt idx="51987">0</cx:pt>
          <cx:pt idx="51988">1</cx:pt>
          <cx:pt idx="51989">0</cx:pt>
          <cx:pt idx="51990">0</cx:pt>
          <cx:pt idx="51991">1</cx:pt>
          <cx:pt idx="51992">1</cx:pt>
          <cx:pt idx="51993">1</cx:pt>
          <cx:pt idx="51994">1</cx:pt>
          <cx:pt idx="51995">0</cx:pt>
          <cx:pt idx="51996">1</cx:pt>
          <cx:pt idx="51997">0</cx:pt>
          <cx:pt idx="51998">0</cx:pt>
          <cx:pt idx="51999">0</cx:pt>
          <cx:pt idx="52000">1</cx:pt>
          <cx:pt idx="52001">0</cx:pt>
          <cx:pt idx="52002">1</cx:pt>
          <cx:pt idx="52003">1</cx:pt>
          <cx:pt idx="52004">0</cx:pt>
          <cx:pt idx="52005">1</cx:pt>
          <cx:pt idx="52006">0</cx:pt>
          <cx:pt idx="52007">1</cx:pt>
          <cx:pt idx="52008">0</cx:pt>
          <cx:pt idx="52009">0</cx:pt>
          <cx:pt idx="52010">1</cx:pt>
          <cx:pt idx="52011">1</cx:pt>
          <cx:pt idx="52012">1</cx:pt>
          <cx:pt idx="52013">0</cx:pt>
          <cx:pt idx="52014">0</cx:pt>
          <cx:pt idx="52015">0</cx:pt>
          <cx:pt idx="52016">0</cx:pt>
          <cx:pt idx="52017">0</cx:pt>
          <cx:pt idx="52018">0</cx:pt>
          <cx:pt idx="52019">0</cx:pt>
          <cx:pt idx="52020">1</cx:pt>
          <cx:pt idx="52021">1</cx:pt>
          <cx:pt idx="52022">1</cx:pt>
          <cx:pt idx="52023">0</cx:pt>
          <cx:pt idx="52024">1</cx:pt>
          <cx:pt idx="52025">0</cx:pt>
          <cx:pt idx="52026">1</cx:pt>
          <cx:pt idx="52027">1</cx:pt>
          <cx:pt idx="52028">0</cx:pt>
          <cx:pt idx="52029">1</cx:pt>
          <cx:pt idx="52030">1</cx:pt>
          <cx:pt idx="52031">1</cx:pt>
          <cx:pt idx="52032">0</cx:pt>
          <cx:pt idx="52033">1</cx:pt>
          <cx:pt idx="52034">1</cx:pt>
          <cx:pt idx="52035">0</cx:pt>
          <cx:pt idx="52036">0</cx:pt>
          <cx:pt idx="52037">1</cx:pt>
          <cx:pt idx="52038">1</cx:pt>
          <cx:pt idx="52039">0</cx:pt>
          <cx:pt idx="52040">0</cx:pt>
          <cx:pt idx="52041">1</cx:pt>
          <cx:pt idx="52042">0</cx:pt>
          <cx:pt idx="52043">0</cx:pt>
          <cx:pt idx="52044">1</cx:pt>
          <cx:pt idx="52045">0</cx:pt>
          <cx:pt idx="52046">1</cx:pt>
          <cx:pt idx="52047">0</cx:pt>
          <cx:pt idx="52048">1</cx:pt>
          <cx:pt idx="52049">1</cx:pt>
          <cx:pt idx="52050">1</cx:pt>
          <cx:pt idx="52051">0</cx:pt>
          <cx:pt idx="52052">0</cx:pt>
          <cx:pt idx="52053">0</cx:pt>
          <cx:pt idx="52054">0</cx:pt>
          <cx:pt idx="52055">0</cx:pt>
          <cx:pt idx="52056">0</cx:pt>
          <cx:pt idx="52057">1</cx:pt>
          <cx:pt idx="52058">0</cx:pt>
          <cx:pt idx="52059">0</cx:pt>
          <cx:pt idx="52060">0</cx:pt>
          <cx:pt idx="52061">0</cx:pt>
          <cx:pt idx="52062">0</cx:pt>
          <cx:pt idx="52063">0</cx:pt>
          <cx:pt idx="52064">1</cx:pt>
          <cx:pt idx="52065">0</cx:pt>
          <cx:pt idx="52066">1</cx:pt>
          <cx:pt idx="52067">0</cx:pt>
          <cx:pt idx="52068">1</cx:pt>
          <cx:pt idx="52069">1</cx:pt>
          <cx:pt idx="52070">0</cx:pt>
          <cx:pt idx="52071">0</cx:pt>
          <cx:pt idx="52072">1</cx:pt>
          <cx:pt idx="52073">0</cx:pt>
          <cx:pt idx="52074">1</cx:pt>
          <cx:pt idx="52075">0</cx:pt>
          <cx:pt idx="52076">0</cx:pt>
          <cx:pt idx="52077">0</cx:pt>
          <cx:pt idx="52078">1</cx:pt>
          <cx:pt idx="52079">0</cx:pt>
          <cx:pt idx="52080">0</cx:pt>
          <cx:pt idx="52081">0</cx:pt>
          <cx:pt idx="52082">1</cx:pt>
          <cx:pt idx="52083">0</cx:pt>
          <cx:pt idx="52084">1</cx:pt>
          <cx:pt idx="52085">1</cx:pt>
          <cx:pt idx="52086">0</cx:pt>
          <cx:pt idx="52087">0</cx:pt>
          <cx:pt idx="52088">0</cx:pt>
          <cx:pt idx="52089">1</cx:pt>
          <cx:pt idx="52090">0</cx:pt>
          <cx:pt idx="52091">1</cx:pt>
          <cx:pt idx="52092">1</cx:pt>
          <cx:pt idx="52093">0</cx:pt>
          <cx:pt idx="52094">0</cx:pt>
          <cx:pt idx="52095">0</cx:pt>
          <cx:pt idx="52096">1</cx:pt>
          <cx:pt idx="52097">1</cx:pt>
          <cx:pt idx="52098">1</cx:pt>
          <cx:pt idx="52099">0</cx:pt>
          <cx:pt idx="52100">0</cx:pt>
          <cx:pt idx="52101">0</cx:pt>
          <cx:pt idx="52102">0</cx:pt>
          <cx:pt idx="52103">0</cx:pt>
          <cx:pt idx="52104">1</cx:pt>
          <cx:pt idx="52105">1</cx:pt>
          <cx:pt idx="52106">1</cx:pt>
          <cx:pt idx="52107">1</cx:pt>
          <cx:pt idx="52108">0</cx:pt>
          <cx:pt idx="52109">0</cx:pt>
          <cx:pt idx="52110">0</cx:pt>
          <cx:pt idx="52111">0</cx:pt>
          <cx:pt idx="52112">0</cx:pt>
          <cx:pt idx="52113">0</cx:pt>
          <cx:pt idx="52114">0</cx:pt>
          <cx:pt idx="52115">0</cx:pt>
          <cx:pt idx="52116">1</cx:pt>
          <cx:pt idx="52117">0</cx:pt>
          <cx:pt idx="52118">1</cx:pt>
          <cx:pt idx="52119">0</cx:pt>
          <cx:pt idx="52120">0</cx:pt>
          <cx:pt idx="52121">1</cx:pt>
          <cx:pt idx="52122">0</cx:pt>
          <cx:pt idx="52123">1</cx:pt>
          <cx:pt idx="52124">1</cx:pt>
          <cx:pt idx="52125">0</cx:pt>
          <cx:pt idx="52126">0</cx:pt>
          <cx:pt idx="52127">1</cx:pt>
          <cx:pt idx="52128">1</cx:pt>
          <cx:pt idx="52129">1</cx:pt>
          <cx:pt idx="52130">0</cx:pt>
          <cx:pt idx="52131">1</cx:pt>
          <cx:pt idx="52132">0</cx:pt>
          <cx:pt idx="52133">0</cx:pt>
          <cx:pt idx="52134">0</cx:pt>
          <cx:pt idx="52135">0</cx:pt>
          <cx:pt idx="52136">0</cx:pt>
          <cx:pt idx="52137">0</cx:pt>
          <cx:pt idx="52138">0</cx:pt>
          <cx:pt idx="52139">0</cx:pt>
          <cx:pt idx="52140">1</cx:pt>
          <cx:pt idx="52141">1</cx:pt>
          <cx:pt idx="52142">0</cx:pt>
          <cx:pt idx="52143">0</cx:pt>
          <cx:pt idx="52144">0</cx:pt>
          <cx:pt idx="52145">0</cx:pt>
          <cx:pt idx="52146">1</cx:pt>
          <cx:pt idx="52147">0</cx:pt>
          <cx:pt idx="52148">0</cx:pt>
          <cx:pt idx="52149">1</cx:pt>
          <cx:pt idx="52150">1</cx:pt>
          <cx:pt idx="52151">0</cx:pt>
          <cx:pt idx="52152">0</cx:pt>
          <cx:pt idx="52153">1</cx:pt>
          <cx:pt idx="52154">0</cx:pt>
          <cx:pt idx="52155">0</cx:pt>
          <cx:pt idx="52156">0</cx:pt>
          <cx:pt idx="52157">0</cx:pt>
          <cx:pt idx="52158">1</cx:pt>
          <cx:pt idx="52159">0</cx:pt>
          <cx:pt idx="52160">0</cx:pt>
          <cx:pt idx="52161">0</cx:pt>
          <cx:pt idx="52162">0</cx:pt>
          <cx:pt idx="52163">1</cx:pt>
          <cx:pt idx="52164">0</cx:pt>
          <cx:pt idx="52165">0</cx:pt>
          <cx:pt idx="52166">1</cx:pt>
          <cx:pt idx="52167">1</cx:pt>
          <cx:pt idx="52168">0</cx:pt>
          <cx:pt idx="52169">0</cx:pt>
          <cx:pt idx="52170">0</cx:pt>
          <cx:pt idx="52171">0</cx:pt>
          <cx:pt idx="52172">0</cx:pt>
          <cx:pt idx="52173">1</cx:pt>
          <cx:pt idx="52174">0</cx:pt>
          <cx:pt idx="52175">1</cx:pt>
          <cx:pt idx="52176">1</cx:pt>
          <cx:pt idx="52177">0</cx:pt>
          <cx:pt idx="52178">1</cx:pt>
          <cx:pt idx="52179">0</cx:pt>
          <cx:pt idx="52180">0</cx:pt>
          <cx:pt idx="52181">1</cx:pt>
          <cx:pt idx="52182">0</cx:pt>
          <cx:pt idx="52183">0</cx:pt>
          <cx:pt idx="52184">1</cx:pt>
          <cx:pt idx="52185">1</cx:pt>
          <cx:pt idx="52186">0</cx:pt>
          <cx:pt idx="52187">1</cx:pt>
          <cx:pt idx="52188">1</cx:pt>
          <cx:pt idx="52189">0</cx:pt>
          <cx:pt idx="52190">0</cx:pt>
          <cx:pt idx="52191">0</cx:pt>
          <cx:pt idx="52192">0</cx:pt>
          <cx:pt idx="52193">0</cx:pt>
          <cx:pt idx="52194">0</cx:pt>
          <cx:pt idx="52195">0</cx:pt>
          <cx:pt idx="52196">1</cx:pt>
          <cx:pt idx="52197">1</cx:pt>
          <cx:pt idx="52198">0</cx:pt>
          <cx:pt idx="52199">0</cx:pt>
          <cx:pt idx="52200">0</cx:pt>
          <cx:pt idx="52201">1</cx:pt>
          <cx:pt idx="52202">1</cx:pt>
          <cx:pt idx="52203">1</cx:pt>
          <cx:pt idx="52204">1</cx:pt>
          <cx:pt idx="52205">1</cx:pt>
          <cx:pt idx="52206">0</cx:pt>
          <cx:pt idx="52207">0</cx:pt>
          <cx:pt idx="52208">1</cx:pt>
          <cx:pt idx="52209">1</cx:pt>
          <cx:pt idx="52210">1</cx:pt>
          <cx:pt idx="52211">1</cx:pt>
          <cx:pt idx="52212">0</cx:pt>
          <cx:pt idx="52213">1</cx:pt>
          <cx:pt idx="52214">0</cx:pt>
          <cx:pt idx="52215">1</cx:pt>
          <cx:pt idx="52216">1</cx:pt>
          <cx:pt idx="52217">0</cx:pt>
          <cx:pt idx="52218">0</cx:pt>
          <cx:pt idx="52219">0</cx:pt>
          <cx:pt idx="52220">0</cx:pt>
          <cx:pt idx="52221">0</cx:pt>
          <cx:pt idx="52222">0</cx:pt>
          <cx:pt idx="52223">0</cx:pt>
          <cx:pt idx="52224">0</cx:pt>
          <cx:pt idx="52225">0</cx:pt>
          <cx:pt idx="52226">1</cx:pt>
          <cx:pt idx="52227">0</cx:pt>
          <cx:pt idx="52228">0</cx:pt>
          <cx:pt idx="52229">0</cx:pt>
          <cx:pt idx="52230">0</cx:pt>
          <cx:pt idx="52231">1</cx:pt>
          <cx:pt idx="52232">1</cx:pt>
          <cx:pt idx="52233">0</cx:pt>
          <cx:pt idx="52234">0</cx:pt>
          <cx:pt idx="52235">0</cx:pt>
          <cx:pt idx="52236">0</cx:pt>
          <cx:pt idx="52237">0</cx:pt>
          <cx:pt idx="52238">0</cx:pt>
          <cx:pt idx="52239">1</cx:pt>
          <cx:pt idx="52240">0</cx:pt>
          <cx:pt idx="52241">0</cx:pt>
          <cx:pt idx="52242">1</cx:pt>
          <cx:pt idx="52243">0</cx:pt>
          <cx:pt idx="52244">0</cx:pt>
          <cx:pt idx="52245">1</cx:pt>
          <cx:pt idx="52246">1</cx:pt>
          <cx:pt idx="52247">0</cx:pt>
          <cx:pt idx="52248">1</cx:pt>
          <cx:pt idx="52249">0</cx:pt>
          <cx:pt idx="52250">0</cx:pt>
          <cx:pt idx="52251">0</cx:pt>
          <cx:pt idx="52252">0</cx:pt>
          <cx:pt idx="52253">0</cx:pt>
          <cx:pt idx="52254">0</cx:pt>
          <cx:pt idx="52255">0</cx:pt>
          <cx:pt idx="52256">1</cx:pt>
          <cx:pt idx="52257">0</cx:pt>
          <cx:pt idx="52258">0</cx:pt>
          <cx:pt idx="52259">1</cx:pt>
          <cx:pt idx="52260">0</cx:pt>
          <cx:pt idx="52261">0</cx:pt>
          <cx:pt idx="52262">0</cx:pt>
          <cx:pt idx="52263">0</cx:pt>
          <cx:pt idx="52264">0</cx:pt>
          <cx:pt idx="52265">1</cx:pt>
          <cx:pt idx="52266">1</cx:pt>
          <cx:pt idx="52267">0</cx:pt>
          <cx:pt idx="52268">1</cx:pt>
          <cx:pt idx="52269">0</cx:pt>
          <cx:pt idx="52270">1</cx:pt>
          <cx:pt idx="52271">1</cx:pt>
          <cx:pt idx="52272">0</cx:pt>
          <cx:pt idx="52273">1</cx:pt>
          <cx:pt idx="52274">0</cx:pt>
          <cx:pt idx="52275">0</cx:pt>
          <cx:pt idx="52276">0</cx:pt>
          <cx:pt idx="52277">0</cx:pt>
          <cx:pt idx="52278">0</cx:pt>
          <cx:pt idx="52279">1</cx:pt>
          <cx:pt idx="52280">0</cx:pt>
          <cx:pt idx="52281">1</cx:pt>
          <cx:pt idx="52282">1</cx:pt>
          <cx:pt idx="52283">1</cx:pt>
          <cx:pt idx="52284">0</cx:pt>
          <cx:pt idx="52285">1</cx:pt>
          <cx:pt idx="52286">1</cx:pt>
          <cx:pt idx="52287">1</cx:pt>
          <cx:pt idx="52288">0</cx:pt>
          <cx:pt idx="52289">0</cx:pt>
          <cx:pt idx="52290">0</cx:pt>
          <cx:pt idx="52291">0</cx:pt>
          <cx:pt idx="52292">1</cx:pt>
          <cx:pt idx="52293">0</cx:pt>
          <cx:pt idx="52294">1</cx:pt>
          <cx:pt idx="52295">1</cx:pt>
          <cx:pt idx="52296">1</cx:pt>
          <cx:pt idx="52297">0</cx:pt>
          <cx:pt idx="52298">0</cx:pt>
          <cx:pt idx="52299">0</cx:pt>
          <cx:pt idx="52300">1</cx:pt>
          <cx:pt idx="52301">1</cx:pt>
          <cx:pt idx="52302">1</cx:pt>
          <cx:pt idx="52303">0</cx:pt>
          <cx:pt idx="52304">1</cx:pt>
          <cx:pt idx="52305">0</cx:pt>
          <cx:pt idx="52306">0</cx:pt>
          <cx:pt idx="52307">1</cx:pt>
          <cx:pt idx="52308">1</cx:pt>
          <cx:pt idx="52309">0</cx:pt>
          <cx:pt idx="52310">1</cx:pt>
          <cx:pt idx="52311">0</cx:pt>
          <cx:pt idx="52312">0</cx:pt>
          <cx:pt idx="52313">1</cx:pt>
          <cx:pt idx="52314">0</cx:pt>
          <cx:pt idx="52315">0</cx:pt>
          <cx:pt idx="52316">1</cx:pt>
          <cx:pt idx="52317">1</cx:pt>
          <cx:pt idx="52318">0</cx:pt>
          <cx:pt idx="52319">1</cx:pt>
          <cx:pt idx="52320">0</cx:pt>
          <cx:pt idx="52321">0</cx:pt>
          <cx:pt idx="52322">1</cx:pt>
          <cx:pt idx="52323">0</cx:pt>
          <cx:pt idx="52324">0</cx:pt>
          <cx:pt idx="52325">0</cx:pt>
          <cx:pt idx="52326">1</cx:pt>
          <cx:pt idx="52327">1</cx:pt>
          <cx:pt idx="52328">0</cx:pt>
          <cx:pt idx="52329">0</cx:pt>
          <cx:pt idx="52330">0</cx:pt>
          <cx:pt idx="52331">1</cx:pt>
          <cx:pt idx="52332">1</cx:pt>
          <cx:pt idx="52333">0</cx:pt>
          <cx:pt idx="52334">0</cx:pt>
          <cx:pt idx="52335">1</cx:pt>
          <cx:pt idx="52336">1</cx:pt>
          <cx:pt idx="52337">1</cx:pt>
          <cx:pt idx="52338">0</cx:pt>
          <cx:pt idx="52339">0</cx:pt>
          <cx:pt idx="52340">0</cx:pt>
          <cx:pt idx="52341">0</cx:pt>
          <cx:pt idx="52342">1</cx:pt>
          <cx:pt idx="52343">1</cx:pt>
          <cx:pt idx="52344">0</cx:pt>
          <cx:pt idx="52345">0</cx:pt>
          <cx:pt idx="52346">1</cx:pt>
          <cx:pt idx="52347">1</cx:pt>
          <cx:pt idx="52348">0</cx:pt>
          <cx:pt idx="52349">0</cx:pt>
          <cx:pt idx="52350">1</cx:pt>
          <cx:pt idx="52351">0</cx:pt>
          <cx:pt idx="52352">0</cx:pt>
          <cx:pt idx="52353">1</cx:pt>
          <cx:pt idx="52354">1</cx:pt>
          <cx:pt idx="52355">0</cx:pt>
          <cx:pt idx="52356">0</cx:pt>
          <cx:pt idx="52357">0</cx:pt>
          <cx:pt idx="52358">0</cx:pt>
          <cx:pt idx="52359">0</cx:pt>
          <cx:pt idx="52360">0</cx:pt>
          <cx:pt idx="52361">0</cx:pt>
          <cx:pt idx="52362">0</cx:pt>
          <cx:pt idx="52363">0</cx:pt>
          <cx:pt idx="52364">0</cx:pt>
          <cx:pt idx="52365">0</cx:pt>
          <cx:pt idx="52366">0</cx:pt>
          <cx:pt idx="52367">1</cx:pt>
          <cx:pt idx="52368">0</cx:pt>
          <cx:pt idx="52369">0</cx:pt>
          <cx:pt idx="52370">1</cx:pt>
          <cx:pt idx="52371">0</cx:pt>
          <cx:pt idx="52372">0</cx:pt>
          <cx:pt idx="52373">0</cx:pt>
          <cx:pt idx="52374">0</cx:pt>
          <cx:pt idx="52375">1</cx:pt>
          <cx:pt idx="52376">0</cx:pt>
          <cx:pt idx="52377">0</cx:pt>
          <cx:pt idx="52378">1</cx:pt>
          <cx:pt idx="52379">1</cx:pt>
          <cx:pt idx="52380">1</cx:pt>
          <cx:pt idx="52381">0</cx:pt>
          <cx:pt idx="52382">0</cx:pt>
          <cx:pt idx="52383">0</cx:pt>
          <cx:pt idx="52384">0</cx:pt>
          <cx:pt idx="52385">0</cx:pt>
          <cx:pt idx="52386">0</cx:pt>
          <cx:pt idx="52387">0</cx:pt>
          <cx:pt idx="52388">1</cx:pt>
          <cx:pt idx="52389">1</cx:pt>
          <cx:pt idx="52390">0</cx:pt>
          <cx:pt idx="52391">1</cx:pt>
          <cx:pt idx="52392">0</cx:pt>
          <cx:pt idx="52393">0</cx:pt>
          <cx:pt idx="52394">1</cx:pt>
          <cx:pt idx="52395">0</cx:pt>
          <cx:pt idx="52396">0</cx:pt>
          <cx:pt idx="52397">1</cx:pt>
          <cx:pt idx="52398">0</cx:pt>
          <cx:pt idx="52399">0</cx:pt>
          <cx:pt idx="52400">0</cx:pt>
          <cx:pt idx="52401">0</cx:pt>
          <cx:pt idx="52402">0</cx:pt>
          <cx:pt idx="52403">0</cx:pt>
          <cx:pt idx="52404">0</cx:pt>
          <cx:pt idx="52405">1</cx:pt>
          <cx:pt idx="52406">1</cx:pt>
          <cx:pt idx="52407">0</cx:pt>
          <cx:pt idx="52408">1</cx:pt>
          <cx:pt idx="52409">0</cx:pt>
          <cx:pt idx="52410">1</cx:pt>
          <cx:pt idx="52411">0</cx:pt>
          <cx:pt idx="52412">0</cx:pt>
          <cx:pt idx="52413">0</cx:pt>
          <cx:pt idx="52414">1</cx:pt>
          <cx:pt idx="52415">1</cx:pt>
          <cx:pt idx="52416">0</cx:pt>
          <cx:pt idx="52417">0</cx:pt>
          <cx:pt idx="52418">0</cx:pt>
          <cx:pt idx="52419">0</cx:pt>
          <cx:pt idx="52420">1</cx:pt>
          <cx:pt idx="52421">1</cx:pt>
          <cx:pt idx="52422">0</cx:pt>
          <cx:pt idx="52423">1</cx:pt>
          <cx:pt idx="52424">0</cx:pt>
          <cx:pt idx="52425">0</cx:pt>
          <cx:pt idx="52426">1</cx:pt>
          <cx:pt idx="52427">0</cx:pt>
          <cx:pt idx="52428">0</cx:pt>
          <cx:pt idx="52429">1</cx:pt>
          <cx:pt idx="52430">1</cx:pt>
          <cx:pt idx="52431">1</cx:pt>
          <cx:pt idx="52432">1</cx:pt>
          <cx:pt idx="52433">1</cx:pt>
          <cx:pt idx="52434">1</cx:pt>
          <cx:pt idx="52435">0</cx:pt>
          <cx:pt idx="52436">0</cx:pt>
          <cx:pt idx="52437">0</cx:pt>
          <cx:pt idx="52438">1</cx:pt>
          <cx:pt idx="52439">1</cx:pt>
          <cx:pt idx="52440">0</cx:pt>
          <cx:pt idx="52441">1</cx:pt>
          <cx:pt idx="52442">1</cx:pt>
          <cx:pt idx="52443">0</cx:pt>
          <cx:pt idx="52444">1</cx:pt>
          <cx:pt idx="52445">1</cx:pt>
          <cx:pt idx="52446">0</cx:pt>
          <cx:pt idx="52447">0</cx:pt>
          <cx:pt idx="52448">0</cx:pt>
          <cx:pt idx="52449">0</cx:pt>
          <cx:pt idx="52450">0</cx:pt>
          <cx:pt idx="52451">1</cx:pt>
          <cx:pt idx="52452">1</cx:pt>
          <cx:pt idx="52453">1</cx:pt>
          <cx:pt idx="52454">0</cx:pt>
          <cx:pt idx="52455">0</cx:pt>
          <cx:pt idx="52456">0</cx:pt>
          <cx:pt idx="52457">1</cx:pt>
          <cx:pt idx="52458">1</cx:pt>
          <cx:pt idx="52459">0</cx:pt>
          <cx:pt idx="52460">1</cx:pt>
          <cx:pt idx="52461">0</cx:pt>
          <cx:pt idx="52462">1</cx:pt>
          <cx:pt idx="52463">1</cx:pt>
          <cx:pt idx="52464">1</cx:pt>
          <cx:pt idx="52465">0</cx:pt>
          <cx:pt idx="52466">1</cx:pt>
          <cx:pt idx="52467">0</cx:pt>
          <cx:pt idx="52468">0</cx:pt>
          <cx:pt idx="52469">0</cx:pt>
          <cx:pt idx="52470">0</cx:pt>
          <cx:pt idx="52471">0</cx:pt>
          <cx:pt idx="52472">1</cx:pt>
          <cx:pt idx="52473">0</cx:pt>
          <cx:pt idx="52474">1</cx:pt>
          <cx:pt idx="52475">1</cx:pt>
          <cx:pt idx="52476">1</cx:pt>
          <cx:pt idx="52477">0</cx:pt>
          <cx:pt idx="52478">1</cx:pt>
          <cx:pt idx="52479">0</cx:pt>
          <cx:pt idx="52480">1</cx:pt>
          <cx:pt idx="52481">0</cx:pt>
          <cx:pt idx="52482">1</cx:pt>
          <cx:pt idx="52483">0</cx:pt>
          <cx:pt idx="52484">0</cx:pt>
          <cx:pt idx="52485">0</cx:pt>
          <cx:pt idx="52486">1</cx:pt>
          <cx:pt idx="52487">0</cx:pt>
          <cx:pt idx="52488">0</cx:pt>
          <cx:pt idx="52489">1</cx:pt>
          <cx:pt idx="52490">1</cx:pt>
          <cx:pt idx="52491">1</cx:pt>
          <cx:pt idx="52492">1</cx:pt>
          <cx:pt idx="52493">0</cx:pt>
          <cx:pt idx="52494">0</cx:pt>
          <cx:pt idx="52495">1</cx:pt>
          <cx:pt idx="52496">0</cx:pt>
          <cx:pt idx="52497">0</cx:pt>
          <cx:pt idx="52498">1</cx:pt>
          <cx:pt idx="52499">0</cx:pt>
          <cx:pt idx="52500">1</cx:pt>
          <cx:pt idx="52501">0</cx:pt>
          <cx:pt idx="52502">1</cx:pt>
          <cx:pt idx="52503">0</cx:pt>
          <cx:pt idx="52504">1</cx:pt>
          <cx:pt idx="52505">0</cx:pt>
          <cx:pt idx="52506">0</cx:pt>
          <cx:pt idx="52507">0</cx:pt>
          <cx:pt idx="52508">0</cx:pt>
          <cx:pt idx="52509">1</cx:pt>
          <cx:pt idx="52510">0</cx:pt>
          <cx:pt idx="52511">1</cx:pt>
          <cx:pt idx="52512">0</cx:pt>
          <cx:pt idx="52513">1</cx:pt>
          <cx:pt idx="52514">0</cx:pt>
          <cx:pt idx="52515">0</cx:pt>
          <cx:pt idx="52516">0</cx:pt>
          <cx:pt idx="52517">0</cx:pt>
          <cx:pt idx="52518">1</cx:pt>
          <cx:pt idx="52519">1</cx:pt>
          <cx:pt idx="52520">0</cx:pt>
          <cx:pt idx="52521">0</cx:pt>
          <cx:pt idx="52522">0</cx:pt>
          <cx:pt idx="52523">0</cx:pt>
          <cx:pt idx="52524">0</cx:pt>
          <cx:pt idx="52525">1</cx:pt>
          <cx:pt idx="52526">1</cx:pt>
          <cx:pt idx="52527">0</cx:pt>
          <cx:pt idx="52528">1</cx:pt>
          <cx:pt idx="52529">0</cx:pt>
          <cx:pt idx="52530">1</cx:pt>
          <cx:pt idx="52531">1</cx:pt>
          <cx:pt idx="52532">0</cx:pt>
          <cx:pt idx="52533">0</cx:pt>
          <cx:pt idx="52534">1</cx:pt>
          <cx:pt idx="52535">0</cx:pt>
          <cx:pt idx="52536">0</cx:pt>
          <cx:pt idx="52537">0</cx:pt>
          <cx:pt idx="52538">1</cx:pt>
          <cx:pt idx="52539">0</cx:pt>
          <cx:pt idx="52540">1</cx:pt>
          <cx:pt idx="52541">1</cx:pt>
          <cx:pt idx="52542">0</cx:pt>
          <cx:pt idx="52543">0</cx:pt>
          <cx:pt idx="52544">0</cx:pt>
          <cx:pt idx="52545">0</cx:pt>
          <cx:pt idx="52546">1</cx:pt>
          <cx:pt idx="52547">1</cx:pt>
          <cx:pt idx="52548">0</cx:pt>
          <cx:pt idx="52549">0</cx:pt>
          <cx:pt idx="52550">0</cx:pt>
          <cx:pt idx="52551">0</cx:pt>
          <cx:pt idx="52552">1</cx:pt>
          <cx:pt idx="52553">0</cx:pt>
          <cx:pt idx="52554">0</cx:pt>
          <cx:pt idx="52555">0</cx:pt>
          <cx:pt idx="52556">1</cx:pt>
          <cx:pt idx="52557">0</cx:pt>
          <cx:pt idx="52558">1</cx:pt>
          <cx:pt idx="52559">0</cx:pt>
          <cx:pt idx="52560">1</cx:pt>
          <cx:pt idx="52561">1</cx:pt>
          <cx:pt idx="52562">1</cx:pt>
          <cx:pt idx="52563">0</cx:pt>
          <cx:pt idx="52564">1</cx:pt>
          <cx:pt idx="52565">1</cx:pt>
          <cx:pt idx="52566">1</cx:pt>
          <cx:pt idx="52567">0</cx:pt>
          <cx:pt idx="52568">1</cx:pt>
          <cx:pt idx="52569">0</cx:pt>
          <cx:pt idx="52570">1</cx:pt>
          <cx:pt idx="52571">1</cx:pt>
          <cx:pt idx="52572">1</cx:pt>
          <cx:pt idx="52573">0</cx:pt>
          <cx:pt idx="52574">0</cx:pt>
          <cx:pt idx="52575">1</cx:pt>
          <cx:pt idx="52576">0</cx:pt>
          <cx:pt idx="52577">0</cx:pt>
          <cx:pt idx="52578">0</cx:pt>
          <cx:pt idx="52579">1</cx:pt>
          <cx:pt idx="52580">0</cx:pt>
          <cx:pt idx="52581">0</cx:pt>
          <cx:pt idx="52582">0</cx:pt>
          <cx:pt idx="52583">0</cx:pt>
          <cx:pt idx="52584">1</cx:pt>
          <cx:pt idx="52585">1</cx:pt>
          <cx:pt idx="52586">1</cx:pt>
          <cx:pt idx="52587">0</cx:pt>
          <cx:pt idx="52588">1</cx:pt>
          <cx:pt idx="52589">1</cx:pt>
          <cx:pt idx="52590">1</cx:pt>
          <cx:pt idx="52591">0</cx:pt>
          <cx:pt idx="52592">0</cx:pt>
          <cx:pt idx="52593">1</cx:pt>
          <cx:pt idx="52594">0</cx:pt>
          <cx:pt idx="52595">0</cx:pt>
          <cx:pt idx="52596">0</cx:pt>
          <cx:pt idx="52597">0</cx:pt>
          <cx:pt idx="52598">0</cx:pt>
          <cx:pt idx="52599">1</cx:pt>
          <cx:pt idx="52600">1</cx:pt>
          <cx:pt idx="52601">0</cx:pt>
          <cx:pt idx="52602">1</cx:pt>
          <cx:pt idx="52603">1</cx:pt>
          <cx:pt idx="52604">0</cx:pt>
          <cx:pt idx="52605">1</cx:pt>
          <cx:pt idx="52606">1</cx:pt>
          <cx:pt idx="52607">0</cx:pt>
          <cx:pt idx="52608">0</cx:pt>
          <cx:pt idx="52609">0</cx:pt>
          <cx:pt idx="52610">1</cx:pt>
          <cx:pt idx="52611">0</cx:pt>
          <cx:pt idx="52612">1</cx:pt>
          <cx:pt idx="52613">1</cx:pt>
          <cx:pt idx="52614">0</cx:pt>
          <cx:pt idx="52615">1</cx:pt>
          <cx:pt idx="52616">1</cx:pt>
          <cx:pt idx="52617">1</cx:pt>
          <cx:pt idx="52618">0</cx:pt>
          <cx:pt idx="52619">0</cx:pt>
          <cx:pt idx="52620">1</cx:pt>
          <cx:pt idx="52621">1</cx:pt>
          <cx:pt idx="52622">1</cx:pt>
          <cx:pt idx="52623">0</cx:pt>
          <cx:pt idx="52624">1</cx:pt>
          <cx:pt idx="52625">1</cx:pt>
          <cx:pt idx="52626">0</cx:pt>
          <cx:pt idx="52627">1</cx:pt>
          <cx:pt idx="52628">0</cx:pt>
          <cx:pt idx="52629">1</cx:pt>
          <cx:pt idx="52630">0</cx:pt>
          <cx:pt idx="52631">0</cx:pt>
          <cx:pt idx="52632">1</cx:pt>
          <cx:pt idx="52633">0</cx:pt>
          <cx:pt idx="52634">1</cx:pt>
          <cx:pt idx="52635">1</cx:pt>
          <cx:pt idx="52636">0</cx:pt>
          <cx:pt idx="52637">0</cx:pt>
          <cx:pt idx="52638">0</cx:pt>
          <cx:pt idx="52639">1</cx:pt>
          <cx:pt idx="52640">0</cx:pt>
          <cx:pt idx="52641">0</cx:pt>
          <cx:pt idx="52642">0</cx:pt>
          <cx:pt idx="52643">0</cx:pt>
          <cx:pt idx="52644">0</cx:pt>
          <cx:pt idx="52645">0</cx:pt>
          <cx:pt idx="52646">1</cx:pt>
          <cx:pt idx="52647">0</cx:pt>
          <cx:pt idx="52648">1</cx:pt>
          <cx:pt idx="52649">0</cx:pt>
          <cx:pt idx="52650">0</cx:pt>
          <cx:pt idx="52651">0</cx:pt>
          <cx:pt idx="52652">0</cx:pt>
          <cx:pt idx="52653">0</cx:pt>
          <cx:pt idx="52654">1</cx:pt>
          <cx:pt idx="52655">1</cx:pt>
          <cx:pt idx="52656">1</cx:pt>
          <cx:pt idx="52657">1</cx:pt>
          <cx:pt idx="52658">1</cx:pt>
          <cx:pt idx="52659">0</cx:pt>
          <cx:pt idx="52660">0</cx:pt>
          <cx:pt idx="52661">1</cx:pt>
          <cx:pt idx="52662">1</cx:pt>
          <cx:pt idx="52663">0</cx:pt>
          <cx:pt idx="52664">0</cx:pt>
          <cx:pt idx="52665">0</cx:pt>
          <cx:pt idx="52666">0</cx:pt>
          <cx:pt idx="52667">1</cx:pt>
          <cx:pt idx="52668">1</cx:pt>
          <cx:pt idx="52669">0</cx:pt>
          <cx:pt idx="52670">1</cx:pt>
          <cx:pt idx="52671">0</cx:pt>
          <cx:pt idx="52672">1</cx:pt>
          <cx:pt idx="52673">1</cx:pt>
          <cx:pt idx="52674">0</cx:pt>
          <cx:pt idx="52675">1</cx:pt>
          <cx:pt idx="52676">1</cx:pt>
          <cx:pt idx="52677">1</cx:pt>
          <cx:pt idx="52678">0</cx:pt>
          <cx:pt idx="52679">0</cx:pt>
          <cx:pt idx="52680">1</cx:pt>
          <cx:pt idx="52681">1</cx:pt>
          <cx:pt idx="52682">0</cx:pt>
          <cx:pt idx="52683">0</cx:pt>
          <cx:pt idx="52684">0</cx:pt>
          <cx:pt idx="52685">0</cx:pt>
          <cx:pt idx="52686">0</cx:pt>
          <cx:pt idx="52687">1</cx:pt>
          <cx:pt idx="52688">1</cx:pt>
          <cx:pt idx="52689">1</cx:pt>
          <cx:pt idx="52690">1</cx:pt>
          <cx:pt idx="52691">0</cx:pt>
          <cx:pt idx="52692">1</cx:pt>
          <cx:pt idx="52693">0</cx:pt>
          <cx:pt idx="52694">0</cx:pt>
          <cx:pt idx="52695">1</cx:pt>
          <cx:pt idx="52696">0</cx:pt>
          <cx:pt idx="52697">0</cx:pt>
          <cx:pt idx="52698">0</cx:pt>
          <cx:pt idx="52699">1</cx:pt>
          <cx:pt idx="52700">0</cx:pt>
          <cx:pt idx="52701">0</cx:pt>
          <cx:pt idx="52702">0</cx:pt>
          <cx:pt idx="52703">0</cx:pt>
          <cx:pt idx="52704">1</cx:pt>
          <cx:pt idx="52705">1</cx:pt>
          <cx:pt idx="52706">0</cx:pt>
          <cx:pt idx="52707">0</cx:pt>
          <cx:pt idx="52708">1</cx:pt>
          <cx:pt idx="52709">0</cx:pt>
          <cx:pt idx="52710">0</cx:pt>
          <cx:pt idx="52711">0</cx:pt>
          <cx:pt idx="52712">1</cx:pt>
          <cx:pt idx="52713">1</cx:pt>
          <cx:pt idx="52714">1</cx:pt>
          <cx:pt idx="52715">1</cx:pt>
          <cx:pt idx="52716">0</cx:pt>
          <cx:pt idx="52717">0</cx:pt>
          <cx:pt idx="52718">1</cx:pt>
          <cx:pt idx="52719">0</cx:pt>
          <cx:pt idx="52720">0</cx:pt>
          <cx:pt idx="52721">1</cx:pt>
          <cx:pt idx="52722">0</cx:pt>
          <cx:pt idx="52723">1</cx:pt>
          <cx:pt idx="52724">0</cx:pt>
          <cx:pt idx="52725">0</cx:pt>
          <cx:pt idx="52726">0</cx:pt>
          <cx:pt idx="52727">1</cx:pt>
          <cx:pt idx="52728">1</cx:pt>
          <cx:pt idx="52729">1</cx:pt>
          <cx:pt idx="52730">0</cx:pt>
          <cx:pt idx="52731">0</cx:pt>
          <cx:pt idx="52732">1</cx:pt>
          <cx:pt idx="52733">0</cx:pt>
          <cx:pt idx="52734">0</cx:pt>
          <cx:pt idx="52735">0</cx:pt>
          <cx:pt idx="52736">0</cx:pt>
          <cx:pt idx="52737">0</cx:pt>
          <cx:pt idx="52738">1</cx:pt>
          <cx:pt idx="52739">0</cx:pt>
          <cx:pt idx="52740">0</cx:pt>
          <cx:pt idx="52741">1</cx:pt>
          <cx:pt idx="52742">0</cx:pt>
          <cx:pt idx="52743">1</cx:pt>
          <cx:pt idx="52744">0</cx:pt>
          <cx:pt idx="52745">1</cx:pt>
          <cx:pt idx="52746">0</cx:pt>
          <cx:pt idx="52747">1</cx:pt>
          <cx:pt idx="52748">0</cx:pt>
          <cx:pt idx="52749">0</cx:pt>
          <cx:pt idx="52750">0</cx:pt>
          <cx:pt idx="52751">0</cx:pt>
          <cx:pt idx="52752">1</cx:pt>
          <cx:pt idx="52753">1</cx:pt>
          <cx:pt idx="52754">1</cx:pt>
          <cx:pt idx="52755">1</cx:pt>
          <cx:pt idx="52756">0</cx:pt>
          <cx:pt idx="52757">1</cx:pt>
          <cx:pt idx="52758">1</cx:pt>
          <cx:pt idx="52759">0</cx:pt>
          <cx:pt idx="52760">1</cx:pt>
          <cx:pt idx="52761">0</cx:pt>
          <cx:pt idx="52762">1</cx:pt>
          <cx:pt idx="52763">1</cx:pt>
          <cx:pt idx="52764">0</cx:pt>
          <cx:pt idx="52765">0</cx:pt>
          <cx:pt idx="52766">0</cx:pt>
          <cx:pt idx="52767">1</cx:pt>
          <cx:pt idx="52768">0</cx:pt>
          <cx:pt idx="52769">1</cx:pt>
          <cx:pt idx="52770">0</cx:pt>
          <cx:pt idx="52771">1</cx:pt>
          <cx:pt idx="52772">0</cx:pt>
          <cx:pt idx="52773">0</cx:pt>
          <cx:pt idx="52774">0</cx:pt>
          <cx:pt idx="52775">1</cx:pt>
          <cx:pt idx="52776">1</cx:pt>
          <cx:pt idx="52777">1</cx:pt>
          <cx:pt idx="52778">0</cx:pt>
          <cx:pt idx="52779">0</cx:pt>
          <cx:pt idx="52780">0</cx:pt>
          <cx:pt idx="52781">1</cx:pt>
          <cx:pt idx="52782">0</cx:pt>
          <cx:pt idx="52783">0</cx:pt>
          <cx:pt idx="52784">1</cx:pt>
          <cx:pt idx="52785">0</cx:pt>
          <cx:pt idx="52786">1</cx:pt>
          <cx:pt idx="52787">1</cx:pt>
          <cx:pt idx="52788">1</cx:pt>
          <cx:pt idx="52789">1</cx:pt>
          <cx:pt idx="52790">0</cx:pt>
          <cx:pt idx="52791">1</cx:pt>
          <cx:pt idx="52792">1</cx:pt>
          <cx:pt idx="52793">1</cx:pt>
          <cx:pt idx="52794">0</cx:pt>
          <cx:pt idx="52795">0</cx:pt>
          <cx:pt idx="52796">0</cx:pt>
          <cx:pt idx="52797">1</cx:pt>
          <cx:pt idx="52798">1</cx:pt>
          <cx:pt idx="52799">0</cx:pt>
          <cx:pt idx="52800">0</cx:pt>
          <cx:pt idx="52801">1</cx:pt>
          <cx:pt idx="52802">0</cx:pt>
          <cx:pt idx="52803">0</cx:pt>
          <cx:pt idx="52804">1</cx:pt>
          <cx:pt idx="52805">1</cx:pt>
          <cx:pt idx="52806">1</cx:pt>
          <cx:pt idx="52807">1</cx:pt>
          <cx:pt idx="52808">1</cx:pt>
          <cx:pt idx="52809">0</cx:pt>
          <cx:pt idx="52810">1</cx:pt>
          <cx:pt idx="52811">1</cx:pt>
          <cx:pt idx="52812">1</cx:pt>
          <cx:pt idx="52813">1</cx:pt>
          <cx:pt idx="52814">0</cx:pt>
          <cx:pt idx="52815">1</cx:pt>
          <cx:pt idx="52816">0</cx:pt>
          <cx:pt idx="52817">1</cx:pt>
          <cx:pt idx="52818">1</cx:pt>
          <cx:pt idx="52819">1</cx:pt>
          <cx:pt idx="52820">1</cx:pt>
          <cx:pt idx="52821">1</cx:pt>
          <cx:pt idx="52822">1</cx:pt>
          <cx:pt idx="52823">1</cx:pt>
          <cx:pt idx="52824">0</cx:pt>
          <cx:pt idx="52825">1</cx:pt>
          <cx:pt idx="52826">1</cx:pt>
          <cx:pt idx="52827">0</cx:pt>
          <cx:pt idx="52828">0</cx:pt>
          <cx:pt idx="52829">0</cx:pt>
          <cx:pt idx="52830">1</cx:pt>
          <cx:pt idx="52831">0</cx:pt>
          <cx:pt idx="52832">1</cx:pt>
          <cx:pt idx="52833">0</cx:pt>
          <cx:pt idx="52834">1</cx:pt>
          <cx:pt idx="52835">0</cx:pt>
          <cx:pt idx="52836">1</cx:pt>
          <cx:pt idx="52837">1</cx:pt>
          <cx:pt idx="52838">0</cx:pt>
          <cx:pt idx="52839">1</cx:pt>
          <cx:pt idx="52840">1</cx:pt>
          <cx:pt idx="52841">0</cx:pt>
          <cx:pt idx="52842">1</cx:pt>
          <cx:pt idx="52843">1</cx:pt>
          <cx:pt idx="52844">0</cx:pt>
          <cx:pt idx="52845">1</cx:pt>
          <cx:pt idx="52846">1</cx:pt>
          <cx:pt idx="52847">0</cx:pt>
          <cx:pt idx="52848">1</cx:pt>
          <cx:pt idx="52849">0</cx:pt>
          <cx:pt idx="52850">1</cx:pt>
          <cx:pt idx="52851">0</cx:pt>
          <cx:pt idx="52852">1</cx:pt>
          <cx:pt idx="52853">0</cx:pt>
          <cx:pt idx="52854">1</cx:pt>
          <cx:pt idx="52855">1</cx:pt>
          <cx:pt idx="52856">1</cx:pt>
          <cx:pt idx="52857">1</cx:pt>
          <cx:pt idx="52858">1</cx:pt>
          <cx:pt idx="52859">0</cx:pt>
          <cx:pt idx="52860">1</cx:pt>
          <cx:pt idx="52861">0</cx:pt>
          <cx:pt idx="52862">0</cx:pt>
          <cx:pt idx="52863">1</cx:pt>
          <cx:pt idx="52864">1</cx:pt>
          <cx:pt idx="52865">0</cx:pt>
          <cx:pt idx="52866">1</cx:pt>
          <cx:pt idx="52867">1</cx:pt>
          <cx:pt idx="52868">0</cx:pt>
          <cx:pt idx="52869">1</cx:pt>
          <cx:pt idx="52870">0</cx:pt>
          <cx:pt idx="52871">1</cx:pt>
          <cx:pt idx="52872">0</cx:pt>
          <cx:pt idx="52873">0</cx:pt>
          <cx:pt idx="52874">0</cx:pt>
          <cx:pt idx="52875">0</cx:pt>
          <cx:pt idx="52876">1</cx:pt>
          <cx:pt idx="52877">0</cx:pt>
          <cx:pt idx="52878">0</cx:pt>
          <cx:pt idx="52879">0</cx:pt>
          <cx:pt idx="52880">1</cx:pt>
          <cx:pt idx="52881">0</cx:pt>
          <cx:pt idx="52882">1</cx:pt>
          <cx:pt idx="52883">1</cx:pt>
          <cx:pt idx="52884">1</cx:pt>
          <cx:pt idx="52885">0</cx:pt>
          <cx:pt idx="52886">1</cx:pt>
          <cx:pt idx="52887">0</cx:pt>
          <cx:pt idx="52888">1</cx:pt>
          <cx:pt idx="52889">1</cx:pt>
          <cx:pt idx="52890">1</cx:pt>
          <cx:pt idx="52891">1</cx:pt>
          <cx:pt idx="52892">1</cx:pt>
          <cx:pt idx="52893">0</cx:pt>
          <cx:pt idx="52894">1</cx:pt>
          <cx:pt idx="52895">0</cx:pt>
          <cx:pt idx="52896">1</cx:pt>
          <cx:pt idx="52897">0</cx:pt>
          <cx:pt idx="52898">0</cx:pt>
          <cx:pt idx="52899">0</cx:pt>
          <cx:pt idx="52900">0</cx:pt>
          <cx:pt idx="52901">0</cx:pt>
          <cx:pt idx="52902">0</cx:pt>
          <cx:pt idx="52903">0</cx:pt>
          <cx:pt idx="52904">1</cx:pt>
          <cx:pt idx="52905">0</cx:pt>
          <cx:pt idx="52906">0</cx:pt>
          <cx:pt idx="52907">1</cx:pt>
          <cx:pt idx="52908">1</cx:pt>
          <cx:pt idx="52909">0</cx:pt>
          <cx:pt idx="52910">0</cx:pt>
          <cx:pt idx="52911">1</cx:pt>
          <cx:pt idx="52912">0</cx:pt>
          <cx:pt idx="52913">1</cx:pt>
          <cx:pt idx="52914">1</cx:pt>
          <cx:pt idx="52915">0</cx:pt>
          <cx:pt idx="52916">0</cx:pt>
          <cx:pt idx="52917">0</cx:pt>
          <cx:pt idx="52918">1</cx:pt>
          <cx:pt idx="52919">0</cx:pt>
          <cx:pt idx="52920">0</cx:pt>
          <cx:pt idx="52921">1</cx:pt>
          <cx:pt idx="52922">0</cx:pt>
          <cx:pt idx="52923">1</cx:pt>
          <cx:pt idx="52924">1</cx:pt>
          <cx:pt idx="52925">0</cx:pt>
          <cx:pt idx="52926">0</cx:pt>
          <cx:pt idx="52927">1</cx:pt>
          <cx:pt idx="52928">0</cx:pt>
          <cx:pt idx="52929">1</cx:pt>
          <cx:pt idx="52930">1</cx:pt>
          <cx:pt idx="52931">0</cx:pt>
          <cx:pt idx="52932">1</cx:pt>
          <cx:pt idx="52933">1</cx:pt>
          <cx:pt idx="52934">0</cx:pt>
          <cx:pt idx="52935">0</cx:pt>
          <cx:pt idx="52936">0</cx:pt>
          <cx:pt idx="52937">1</cx:pt>
          <cx:pt idx="52938">1</cx:pt>
          <cx:pt idx="52939">0</cx:pt>
          <cx:pt idx="52940">0</cx:pt>
          <cx:pt idx="52941">0</cx:pt>
          <cx:pt idx="52942">1</cx:pt>
          <cx:pt idx="52943">0</cx:pt>
          <cx:pt idx="52944">1</cx:pt>
          <cx:pt idx="52945">1</cx:pt>
          <cx:pt idx="52946">1</cx:pt>
          <cx:pt idx="52947">1</cx:pt>
          <cx:pt idx="52948">1</cx:pt>
          <cx:pt idx="52949">0</cx:pt>
          <cx:pt idx="52950">1</cx:pt>
          <cx:pt idx="52951">0</cx:pt>
          <cx:pt idx="52952">1</cx:pt>
          <cx:pt idx="52953">1</cx:pt>
          <cx:pt idx="52954">1</cx:pt>
          <cx:pt idx="52955">1</cx:pt>
          <cx:pt idx="52956">0</cx:pt>
          <cx:pt idx="52957">0</cx:pt>
          <cx:pt idx="52958">0</cx:pt>
          <cx:pt idx="52959">0</cx:pt>
          <cx:pt idx="52960">0</cx:pt>
          <cx:pt idx="52961">0</cx:pt>
          <cx:pt idx="52962">1</cx:pt>
          <cx:pt idx="52963">0</cx:pt>
          <cx:pt idx="52964">0</cx:pt>
          <cx:pt idx="52965">0</cx:pt>
          <cx:pt idx="52966">0</cx:pt>
          <cx:pt idx="52967">1</cx:pt>
          <cx:pt idx="52968">0</cx:pt>
          <cx:pt idx="52969">0</cx:pt>
          <cx:pt idx="52970">0</cx:pt>
          <cx:pt idx="52971">1</cx:pt>
          <cx:pt idx="52972">0</cx:pt>
          <cx:pt idx="52973">0</cx:pt>
          <cx:pt idx="52974">1</cx:pt>
          <cx:pt idx="52975">1</cx:pt>
          <cx:pt idx="52976">0</cx:pt>
          <cx:pt idx="52977">1</cx:pt>
          <cx:pt idx="52978">0</cx:pt>
          <cx:pt idx="52979">0</cx:pt>
          <cx:pt idx="52980">0</cx:pt>
          <cx:pt idx="52981">0</cx:pt>
          <cx:pt idx="52982">0</cx:pt>
          <cx:pt idx="52983">1</cx:pt>
          <cx:pt idx="52984">0</cx:pt>
          <cx:pt idx="52985">0</cx:pt>
          <cx:pt idx="52986">1</cx:pt>
          <cx:pt idx="52987">1</cx:pt>
          <cx:pt idx="52988">0</cx:pt>
          <cx:pt idx="52989">1</cx:pt>
          <cx:pt idx="52990">0</cx:pt>
          <cx:pt idx="52991">1</cx:pt>
          <cx:pt idx="52992">0</cx:pt>
          <cx:pt idx="52993">0</cx:pt>
          <cx:pt idx="52994">1</cx:pt>
          <cx:pt idx="52995">0</cx:pt>
          <cx:pt idx="52996">0</cx:pt>
          <cx:pt idx="52997">1</cx:pt>
          <cx:pt idx="52998">1</cx:pt>
          <cx:pt idx="52999">1</cx:pt>
          <cx:pt idx="53000">1</cx:pt>
          <cx:pt idx="53001">0</cx:pt>
          <cx:pt idx="53002">0</cx:pt>
          <cx:pt idx="53003">1</cx:pt>
          <cx:pt idx="53004">1</cx:pt>
          <cx:pt idx="53005">0</cx:pt>
          <cx:pt idx="53006">1</cx:pt>
          <cx:pt idx="53007">1</cx:pt>
          <cx:pt idx="53008">0</cx:pt>
          <cx:pt idx="53009">0</cx:pt>
          <cx:pt idx="53010">0</cx:pt>
          <cx:pt idx="53011">0</cx:pt>
          <cx:pt idx="53012">1</cx:pt>
          <cx:pt idx="53013">1</cx:pt>
          <cx:pt idx="53014">0</cx:pt>
          <cx:pt idx="53015">0</cx:pt>
          <cx:pt idx="53016">1</cx:pt>
          <cx:pt idx="53017">0</cx:pt>
          <cx:pt idx="53018">0</cx:pt>
          <cx:pt idx="53019">0</cx:pt>
          <cx:pt idx="53020">0</cx:pt>
          <cx:pt idx="53021">0</cx:pt>
          <cx:pt idx="53022">0</cx:pt>
          <cx:pt idx="53023">0</cx:pt>
          <cx:pt idx="53024">1</cx:pt>
          <cx:pt idx="53025">0</cx:pt>
          <cx:pt idx="53026">1</cx:pt>
          <cx:pt idx="53027">0</cx:pt>
          <cx:pt idx="53028">1</cx:pt>
          <cx:pt idx="53029">0</cx:pt>
          <cx:pt idx="53030">0</cx:pt>
          <cx:pt idx="53031">0</cx:pt>
          <cx:pt idx="53032">0</cx:pt>
          <cx:pt idx="53033">0</cx:pt>
          <cx:pt idx="53034">0</cx:pt>
          <cx:pt idx="53035">0</cx:pt>
          <cx:pt idx="53036">1</cx:pt>
          <cx:pt idx="53037">0</cx:pt>
          <cx:pt idx="53038">1</cx:pt>
          <cx:pt idx="53039">0</cx:pt>
          <cx:pt idx="53040">1</cx:pt>
          <cx:pt idx="53041">1</cx:pt>
          <cx:pt idx="53042">0</cx:pt>
          <cx:pt idx="53043">1</cx:pt>
          <cx:pt idx="53044">0</cx:pt>
          <cx:pt idx="53045">0</cx:pt>
          <cx:pt idx="53046">0</cx:pt>
          <cx:pt idx="53047">0</cx:pt>
          <cx:pt idx="53048">0</cx:pt>
          <cx:pt idx="53049">1</cx:pt>
          <cx:pt idx="53050">0</cx:pt>
          <cx:pt idx="53051">1</cx:pt>
          <cx:pt idx="53052">0</cx:pt>
          <cx:pt idx="53053">0</cx:pt>
          <cx:pt idx="53054">0</cx:pt>
          <cx:pt idx="53055">1</cx:pt>
          <cx:pt idx="53056">1</cx:pt>
          <cx:pt idx="53057">0</cx:pt>
          <cx:pt idx="53058">1</cx:pt>
          <cx:pt idx="53059">0</cx:pt>
          <cx:pt idx="53060">0</cx:pt>
          <cx:pt idx="53061">1</cx:pt>
          <cx:pt idx="53062">0</cx:pt>
          <cx:pt idx="53063">1</cx:pt>
          <cx:pt idx="53064">1</cx:pt>
          <cx:pt idx="53065">0</cx:pt>
          <cx:pt idx="53066">1</cx:pt>
          <cx:pt idx="53067">0</cx:pt>
          <cx:pt idx="53068">0</cx:pt>
          <cx:pt idx="53069">1</cx:pt>
          <cx:pt idx="53070">0</cx:pt>
          <cx:pt idx="53071">0</cx:pt>
          <cx:pt idx="53072">0</cx:pt>
          <cx:pt idx="53073">1</cx:pt>
          <cx:pt idx="53074">0</cx:pt>
          <cx:pt idx="53075">0</cx:pt>
          <cx:pt idx="53076">0</cx:pt>
          <cx:pt idx="53077">0</cx:pt>
          <cx:pt idx="53078">1</cx:pt>
          <cx:pt idx="53079">1</cx:pt>
          <cx:pt idx="53080">0</cx:pt>
          <cx:pt idx="53081">0</cx:pt>
          <cx:pt idx="53082">0</cx:pt>
          <cx:pt idx="53083">0</cx:pt>
          <cx:pt idx="53084">1</cx:pt>
          <cx:pt idx="53085">1</cx:pt>
          <cx:pt idx="53086">1</cx:pt>
          <cx:pt idx="53087">0</cx:pt>
          <cx:pt idx="53088">1</cx:pt>
          <cx:pt idx="53089">1</cx:pt>
          <cx:pt idx="53090">1</cx:pt>
          <cx:pt idx="53091">1</cx:pt>
          <cx:pt idx="53092">0</cx:pt>
          <cx:pt idx="53093">0</cx:pt>
          <cx:pt idx="53094">0</cx:pt>
          <cx:pt idx="53095">0</cx:pt>
          <cx:pt idx="53096">0</cx:pt>
          <cx:pt idx="53097">1</cx:pt>
          <cx:pt idx="53098">0</cx:pt>
          <cx:pt idx="53099">1</cx:pt>
          <cx:pt idx="53100">0</cx:pt>
          <cx:pt idx="53101">1</cx:pt>
          <cx:pt idx="53102">1</cx:pt>
          <cx:pt idx="53103">1</cx:pt>
          <cx:pt idx="53104">0</cx:pt>
          <cx:pt idx="53105">1</cx:pt>
          <cx:pt idx="53106">0</cx:pt>
          <cx:pt idx="53107">0</cx:pt>
          <cx:pt idx="53108">0</cx:pt>
          <cx:pt idx="53109">0</cx:pt>
          <cx:pt idx="53110">0</cx:pt>
          <cx:pt idx="53111">0</cx:pt>
          <cx:pt idx="53112">1</cx:pt>
          <cx:pt idx="53113">1</cx:pt>
          <cx:pt idx="53114">0</cx:pt>
          <cx:pt idx="53115">0</cx:pt>
          <cx:pt idx="53116">1</cx:pt>
          <cx:pt idx="53117">0</cx:pt>
          <cx:pt idx="53118">1</cx:pt>
          <cx:pt idx="53119">1</cx:pt>
          <cx:pt idx="53120">0</cx:pt>
          <cx:pt idx="53121">1</cx:pt>
          <cx:pt idx="53122">0</cx:pt>
          <cx:pt idx="53123">0</cx:pt>
          <cx:pt idx="53124">1</cx:pt>
          <cx:pt idx="53125">0</cx:pt>
          <cx:pt idx="53126">0</cx:pt>
          <cx:pt idx="53127">0</cx:pt>
          <cx:pt idx="53128">0</cx:pt>
          <cx:pt idx="53129">1</cx:pt>
          <cx:pt idx="53130">1</cx:pt>
          <cx:pt idx="53131">1</cx:pt>
          <cx:pt idx="53132">1</cx:pt>
          <cx:pt idx="53133">1</cx:pt>
          <cx:pt idx="53134">1</cx:pt>
          <cx:pt idx="53135">0</cx:pt>
          <cx:pt idx="53136">0</cx:pt>
          <cx:pt idx="53137">0</cx:pt>
          <cx:pt idx="53138">0</cx:pt>
          <cx:pt idx="53139">1</cx:pt>
          <cx:pt idx="53140">1</cx:pt>
          <cx:pt idx="53141">1</cx:pt>
          <cx:pt idx="53142">0</cx:pt>
          <cx:pt idx="53143">1</cx:pt>
          <cx:pt idx="53144">1</cx:pt>
          <cx:pt idx="53145">1</cx:pt>
          <cx:pt idx="53146">0</cx:pt>
          <cx:pt idx="53147">0</cx:pt>
          <cx:pt idx="53148">1</cx:pt>
          <cx:pt idx="53149">1</cx:pt>
          <cx:pt idx="53150">1</cx:pt>
          <cx:pt idx="53151">1</cx:pt>
          <cx:pt idx="53152">0</cx:pt>
          <cx:pt idx="53153">0</cx:pt>
          <cx:pt idx="53154">1</cx:pt>
          <cx:pt idx="53155">0</cx:pt>
          <cx:pt idx="53156">1</cx:pt>
          <cx:pt idx="53157">1</cx:pt>
          <cx:pt idx="53158">0</cx:pt>
          <cx:pt idx="53159">1</cx:pt>
          <cx:pt idx="53160">1</cx:pt>
          <cx:pt idx="53161">1</cx:pt>
          <cx:pt idx="53162">0</cx:pt>
          <cx:pt idx="53163">1</cx:pt>
          <cx:pt idx="53164">1</cx:pt>
          <cx:pt idx="53165">1</cx:pt>
          <cx:pt idx="53166">0</cx:pt>
          <cx:pt idx="53167">0</cx:pt>
          <cx:pt idx="53168">1</cx:pt>
          <cx:pt idx="53169">0</cx:pt>
          <cx:pt idx="53170">0</cx:pt>
          <cx:pt idx="53171">0</cx:pt>
          <cx:pt idx="53172">1</cx:pt>
          <cx:pt idx="53173">0</cx:pt>
          <cx:pt idx="53174">1</cx:pt>
          <cx:pt idx="53175">1</cx:pt>
          <cx:pt idx="53176">1</cx:pt>
          <cx:pt idx="53177">1</cx:pt>
          <cx:pt idx="53178">1</cx:pt>
          <cx:pt idx="53179">0</cx:pt>
          <cx:pt idx="53180">0</cx:pt>
          <cx:pt idx="53181">1</cx:pt>
          <cx:pt idx="53182">0</cx:pt>
          <cx:pt idx="53183">0</cx:pt>
          <cx:pt idx="53184">1</cx:pt>
          <cx:pt idx="53185">1</cx:pt>
          <cx:pt idx="53186">0</cx:pt>
          <cx:pt idx="53187">0</cx:pt>
          <cx:pt idx="53188">1</cx:pt>
          <cx:pt idx="53189">1</cx:pt>
          <cx:pt idx="53190">0</cx:pt>
          <cx:pt idx="53191">1</cx:pt>
          <cx:pt idx="53192">1</cx:pt>
          <cx:pt idx="53193">0</cx:pt>
          <cx:pt idx="53194">1</cx:pt>
          <cx:pt idx="53195">1</cx:pt>
          <cx:pt idx="53196">1</cx:pt>
          <cx:pt idx="53197">0</cx:pt>
          <cx:pt idx="53198">0</cx:pt>
          <cx:pt idx="53199">0</cx:pt>
          <cx:pt idx="53200">0</cx:pt>
          <cx:pt idx="53201">0</cx:pt>
          <cx:pt idx="53202">1</cx:pt>
          <cx:pt idx="53203">0</cx:pt>
          <cx:pt idx="53204">1</cx:pt>
          <cx:pt idx="53205">1</cx:pt>
          <cx:pt idx="53206">0</cx:pt>
          <cx:pt idx="53207">0</cx:pt>
          <cx:pt idx="53208">1</cx:pt>
          <cx:pt idx="53209">0</cx:pt>
          <cx:pt idx="53210">1</cx:pt>
          <cx:pt idx="53211">0</cx:pt>
          <cx:pt idx="53212">0</cx:pt>
          <cx:pt idx="53213">0</cx:pt>
          <cx:pt idx="53214">1</cx:pt>
          <cx:pt idx="53215">0</cx:pt>
          <cx:pt idx="53216">0</cx:pt>
          <cx:pt idx="53217">1</cx:pt>
          <cx:pt idx="53218">1</cx:pt>
          <cx:pt idx="53219">0</cx:pt>
          <cx:pt idx="53220">0</cx:pt>
          <cx:pt idx="53221">1</cx:pt>
          <cx:pt idx="53222">0</cx:pt>
          <cx:pt idx="53223">1</cx:pt>
          <cx:pt idx="53224">0</cx:pt>
          <cx:pt idx="53225">1</cx:pt>
          <cx:pt idx="53226">1</cx:pt>
          <cx:pt idx="53227">0</cx:pt>
          <cx:pt idx="53228">0</cx:pt>
          <cx:pt idx="53229">0</cx:pt>
          <cx:pt idx="53230">0</cx:pt>
          <cx:pt idx="53231">1</cx:pt>
          <cx:pt idx="53232">1</cx:pt>
          <cx:pt idx="53233">0</cx:pt>
          <cx:pt idx="53234">0</cx:pt>
          <cx:pt idx="53235">0</cx:pt>
          <cx:pt idx="53236">1</cx:pt>
          <cx:pt idx="53237">1</cx:pt>
          <cx:pt idx="53238">1</cx:pt>
          <cx:pt idx="53239">0</cx:pt>
          <cx:pt idx="53240">1</cx:pt>
          <cx:pt idx="53241">0</cx:pt>
          <cx:pt idx="53242">0</cx:pt>
          <cx:pt idx="53243">0</cx:pt>
          <cx:pt idx="53244">0</cx:pt>
          <cx:pt idx="53245">0</cx:pt>
          <cx:pt idx="53246">1</cx:pt>
          <cx:pt idx="53247">1</cx:pt>
          <cx:pt idx="53248">0</cx:pt>
          <cx:pt idx="53249">0</cx:pt>
          <cx:pt idx="53250">0</cx:pt>
          <cx:pt idx="53251">1</cx:pt>
          <cx:pt idx="53252">0</cx:pt>
          <cx:pt idx="53253">0</cx:pt>
          <cx:pt idx="53254">0</cx:pt>
          <cx:pt idx="53255">1</cx:pt>
          <cx:pt idx="53256">0</cx:pt>
          <cx:pt idx="53257">0</cx:pt>
          <cx:pt idx="53258">0</cx:pt>
          <cx:pt idx="53259">1</cx:pt>
          <cx:pt idx="53260">0</cx:pt>
          <cx:pt idx="53261">0</cx:pt>
          <cx:pt idx="53262">0</cx:pt>
          <cx:pt idx="53263">0</cx:pt>
          <cx:pt idx="53264">1</cx:pt>
          <cx:pt idx="53265">1</cx:pt>
          <cx:pt idx="53266">0</cx:pt>
          <cx:pt idx="53267">1</cx:pt>
          <cx:pt idx="53268">1</cx:pt>
          <cx:pt idx="53269">0</cx:pt>
          <cx:pt idx="53270">1</cx:pt>
          <cx:pt idx="53271">1</cx:pt>
          <cx:pt idx="53272">0</cx:pt>
          <cx:pt idx="53273">0</cx:pt>
          <cx:pt idx="53274">1</cx:pt>
          <cx:pt idx="53275">0</cx:pt>
          <cx:pt idx="53276">1</cx:pt>
          <cx:pt idx="53277">0</cx:pt>
          <cx:pt idx="53278">1</cx:pt>
          <cx:pt idx="53279">0</cx:pt>
          <cx:pt idx="53280">0</cx:pt>
          <cx:pt idx="53281">1</cx:pt>
          <cx:pt idx="53282">0</cx:pt>
          <cx:pt idx="53283">0</cx:pt>
          <cx:pt idx="53284">1</cx:pt>
          <cx:pt idx="53285">0</cx:pt>
          <cx:pt idx="53286">1</cx:pt>
          <cx:pt idx="53287">0</cx:pt>
          <cx:pt idx="53288">0</cx:pt>
          <cx:pt idx="53289">0</cx:pt>
          <cx:pt idx="53290">1</cx:pt>
          <cx:pt idx="53291">1</cx:pt>
          <cx:pt idx="53292">0</cx:pt>
          <cx:pt idx="53293">0</cx:pt>
          <cx:pt idx="53294">0</cx:pt>
          <cx:pt idx="53295">1</cx:pt>
          <cx:pt idx="53296">0</cx:pt>
          <cx:pt idx="53297">1</cx:pt>
          <cx:pt idx="53298">0</cx:pt>
          <cx:pt idx="53299">0</cx:pt>
          <cx:pt idx="53300">1</cx:pt>
          <cx:pt idx="53301">0</cx:pt>
          <cx:pt idx="53302">1</cx:pt>
          <cx:pt idx="53303">1</cx:pt>
          <cx:pt idx="53304">0</cx:pt>
          <cx:pt idx="53305">0</cx:pt>
          <cx:pt idx="53306">0</cx:pt>
          <cx:pt idx="53307">0</cx:pt>
          <cx:pt idx="53308">1</cx:pt>
          <cx:pt idx="53309">1</cx:pt>
          <cx:pt idx="53310">1</cx:pt>
          <cx:pt idx="53311">0</cx:pt>
          <cx:pt idx="53312">0</cx:pt>
          <cx:pt idx="53313">1</cx:pt>
          <cx:pt idx="53314">1</cx:pt>
          <cx:pt idx="53315">1</cx:pt>
          <cx:pt idx="53316">1</cx:pt>
          <cx:pt idx="53317">0</cx:pt>
          <cx:pt idx="53318">0</cx:pt>
          <cx:pt idx="53319">0</cx:pt>
          <cx:pt idx="53320">1</cx:pt>
          <cx:pt idx="53321">1</cx:pt>
          <cx:pt idx="53322">1</cx:pt>
          <cx:pt idx="53323">0</cx:pt>
          <cx:pt idx="53324">0</cx:pt>
          <cx:pt idx="53325">1</cx:pt>
          <cx:pt idx="53326">1</cx:pt>
          <cx:pt idx="53327">1</cx:pt>
          <cx:pt idx="53328">0</cx:pt>
          <cx:pt idx="53329">1</cx:pt>
          <cx:pt idx="53330">0</cx:pt>
          <cx:pt idx="53331">0</cx:pt>
          <cx:pt idx="53332">0</cx:pt>
          <cx:pt idx="53333">0</cx:pt>
          <cx:pt idx="53334">0</cx:pt>
          <cx:pt idx="53335">0</cx:pt>
          <cx:pt idx="53336">1</cx:pt>
          <cx:pt idx="53337">1</cx:pt>
          <cx:pt idx="53338">0</cx:pt>
          <cx:pt idx="53339">1</cx:pt>
          <cx:pt idx="53340">1</cx:pt>
          <cx:pt idx="53341">0</cx:pt>
          <cx:pt idx="53342">1</cx:pt>
          <cx:pt idx="53343">0</cx:pt>
          <cx:pt idx="53344">0</cx:pt>
          <cx:pt idx="53345">0</cx:pt>
          <cx:pt idx="53346">1</cx:pt>
          <cx:pt idx="53347">0</cx:pt>
          <cx:pt idx="53348">0</cx:pt>
          <cx:pt idx="53349">1</cx:pt>
          <cx:pt idx="53350">0</cx:pt>
          <cx:pt idx="53351">1</cx:pt>
          <cx:pt idx="53352">0</cx:pt>
          <cx:pt idx="53353">1</cx:pt>
          <cx:pt idx="53354">0</cx:pt>
          <cx:pt idx="53355">0</cx:pt>
          <cx:pt idx="53356">0</cx:pt>
          <cx:pt idx="53357">0</cx:pt>
          <cx:pt idx="53358">1</cx:pt>
          <cx:pt idx="53359">0</cx:pt>
          <cx:pt idx="53360">1</cx:pt>
          <cx:pt idx="53361">0</cx:pt>
          <cx:pt idx="53362">0</cx:pt>
          <cx:pt idx="53363">1</cx:pt>
          <cx:pt idx="53364">0</cx:pt>
          <cx:pt idx="53365">0</cx:pt>
          <cx:pt idx="53366">0</cx:pt>
          <cx:pt idx="53367">0</cx:pt>
          <cx:pt idx="53368">1</cx:pt>
          <cx:pt idx="53369">0</cx:pt>
          <cx:pt idx="53370">0</cx:pt>
          <cx:pt idx="53371">0</cx:pt>
          <cx:pt idx="53372">0</cx:pt>
          <cx:pt idx="53373">0</cx:pt>
          <cx:pt idx="53374">0</cx:pt>
          <cx:pt idx="53375">1</cx:pt>
          <cx:pt idx="53376">0</cx:pt>
          <cx:pt idx="53377">1</cx:pt>
          <cx:pt idx="53378">0</cx:pt>
          <cx:pt idx="53379">0</cx:pt>
          <cx:pt idx="53380">0</cx:pt>
          <cx:pt idx="53381">0</cx:pt>
          <cx:pt idx="53382">0</cx:pt>
          <cx:pt idx="53383">0</cx:pt>
          <cx:pt idx="53384">0</cx:pt>
          <cx:pt idx="53385">0</cx:pt>
          <cx:pt idx="53386">0</cx:pt>
          <cx:pt idx="53387">0</cx:pt>
          <cx:pt idx="53388">0</cx:pt>
          <cx:pt idx="53389">0</cx:pt>
          <cx:pt idx="53390">0</cx:pt>
          <cx:pt idx="53391">1</cx:pt>
          <cx:pt idx="53392">0</cx:pt>
          <cx:pt idx="53393">0</cx:pt>
          <cx:pt idx="53394">1</cx:pt>
          <cx:pt idx="53395">1</cx:pt>
          <cx:pt idx="53396">0</cx:pt>
          <cx:pt idx="53397">0</cx:pt>
          <cx:pt idx="53398">1</cx:pt>
          <cx:pt idx="53399">0</cx:pt>
          <cx:pt idx="53400">1</cx:pt>
          <cx:pt idx="53401">1</cx:pt>
          <cx:pt idx="53402">1</cx:pt>
          <cx:pt idx="53403">0</cx:pt>
          <cx:pt idx="53404">0</cx:pt>
          <cx:pt idx="53405">0</cx:pt>
          <cx:pt idx="53406">1</cx:pt>
          <cx:pt idx="53407">0</cx:pt>
          <cx:pt idx="53408">1</cx:pt>
          <cx:pt idx="53409">0</cx:pt>
          <cx:pt idx="53410">1</cx:pt>
          <cx:pt idx="53411">0</cx:pt>
          <cx:pt idx="53412">0</cx:pt>
          <cx:pt idx="53413">1</cx:pt>
          <cx:pt idx="53414">1</cx:pt>
          <cx:pt idx="53415">1</cx:pt>
          <cx:pt idx="53416">1</cx:pt>
          <cx:pt idx="53417">0</cx:pt>
          <cx:pt idx="53418">0</cx:pt>
          <cx:pt idx="53419">0</cx:pt>
          <cx:pt idx="53420">1</cx:pt>
          <cx:pt idx="53421">1</cx:pt>
          <cx:pt idx="53422">1</cx:pt>
          <cx:pt idx="53423">0</cx:pt>
          <cx:pt idx="53424">0</cx:pt>
          <cx:pt idx="53425">0</cx:pt>
          <cx:pt idx="53426">1</cx:pt>
          <cx:pt idx="53427">0</cx:pt>
          <cx:pt idx="53428">1</cx:pt>
          <cx:pt idx="53429">0</cx:pt>
          <cx:pt idx="53430">0</cx:pt>
          <cx:pt idx="53431">0</cx:pt>
          <cx:pt idx="53432">0</cx:pt>
          <cx:pt idx="53433">0</cx:pt>
          <cx:pt idx="53434">0</cx:pt>
          <cx:pt idx="53435">0</cx:pt>
          <cx:pt idx="53436">0</cx:pt>
          <cx:pt idx="53437">1</cx:pt>
          <cx:pt idx="53438">1</cx:pt>
          <cx:pt idx="53439">1</cx:pt>
          <cx:pt idx="53440">1</cx:pt>
          <cx:pt idx="53441">0</cx:pt>
          <cx:pt idx="53442">0</cx:pt>
          <cx:pt idx="53443">1</cx:pt>
          <cx:pt idx="53444">1</cx:pt>
          <cx:pt idx="53445">0</cx:pt>
          <cx:pt idx="53446">0</cx:pt>
          <cx:pt idx="53447">1</cx:pt>
          <cx:pt idx="53448">1</cx:pt>
          <cx:pt idx="53449">0</cx:pt>
          <cx:pt idx="53450">1</cx:pt>
          <cx:pt idx="53451">1</cx:pt>
          <cx:pt idx="53452">0</cx:pt>
          <cx:pt idx="53453">0</cx:pt>
          <cx:pt idx="53454">0</cx:pt>
          <cx:pt idx="53455">0</cx:pt>
          <cx:pt idx="53456">1</cx:pt>
          <cx:pt idx="53457">0</cx:pt>
          <cx:pt idx="53458">1</cx:pt>
          <cx:pt idx="53459">0</cx:pt>
          <cx:pt idx="53460">1</cx:pt>
          <cx:pt idx="53461">0</cx:pt>
          <cx:pt idx="53462">1</cx:pt>
          <cx:pt idx="53463">0</cx:pt>
          <cx:pt idx="53464">0</cx:pt>
          <cx:pt idx="53465">0</cx:pt>
          <cx:pt idx="53466">1</cx:pt>
          <cx:pt idx="53467">0</cx:pt>
          <cx:pt idx="53468">1</cx:pt>
          <cx:pt idx="53469">0</cx:pt>
          <cx:pt idx="53470">1</cx:pt>
          <cx:pt idx="53471">1</cx:pt>
          <cx:pt idx="53472">1</cx:pt>
          <cx:pt idx="53473">0</cx:pt>
          <cx:pt idx="53474">1</cx:pt>
          <cx:pt idx="53475">1</cx:pt>
          <cx:pt idx="53476">1</cx:pt>
          <cx:pt idx="53477">0</cx:pt>
          <cx:pt idx="53478">0</cx:pt>
          <cx:pt idx="53479">0</cx:pt>
          <cx:pt idx="53480">0</cx:pt>
          <cx:pt idx="53481">1</cx:pt>
          <cx:pt idx="53482">0</cx:pt>
          <cx:pt idx="53483">0</cx:pt>
          <cx:pt idx="53484">1</cx:pt>
          <cx:pt idx="53485">0</cx:pt>
          <cx:pt idx="53486">1</cx:pt>
          <cx:pt idx="53487">0</cx:pt>
          <cx:pt idx="53488">0</cx:pt>
          <cx:pt idx="53489">1</cx:pt>
          <cx:pt idx="53490">0</cx:pt>
          <cx:pt idx="53491">0</cx:pt>
          <cx:pt idx="53492">0</cx:pt>
          <cx:pt idx="53493">0</cx:pt>
          <cx:pt idx="53494">0</cx:pt>
          <cx:pt idx="53495">0</cx:pt>
          <cx:pt idx="53496">0</cx:pt>
          <cx:pt idx="53497">0</cx:pt>
          <cx:pt idx="53498">1</cx:pt>
          <cx:pt idx="53499">0</cx:pt>
          <cx:pt idx="53500">1</cx:pt>
          <cx:pt idx="53501">1</cx:pt>
          <cx:pt idx="53502">0</cx:pt>
          <cx:pt idx="53503">0</cx:pt>
          <cx:pt idx="53504">1</cx:pt>
          <cx:pt idx="53505">0</cx:pt>
          <cx:pt idx="53506">1</cx:pt>
          <cx:pt idx="53507">1</cx:pt>
          <cx:pt idx="53508">1</cx:pt>
          <cx:pt idx="53509">0</cx:pt>
          <cx:pt idx="53510">1</cx:pt>
          <cx:pt idx="53511">0</cx:pt>
          <cx:pt idx="53512">1</cx:pt>
          <cx:pt idx="53513">0</cx:pt>
          <cx:pt idx="53514">1</cx:pt>
          <cx:pt idx="53515">0</cx:pt>
          <cx:pt idx="53516">1</cx:pt>
          <cx:pt idx="53517">0</cx:pt>
          <cx:pt idx="53518">0</cx:pt>
          <cx:pt idx="53519">0</cx:pt>
          <cx:pt idx="53520">1</cx:pt>
          <cx:pt idx="53521">0</cx:pt>
          <cx:pt idx="53522">0</cx:pt>
          <cx:pt idx="53523">0</cx:pt>
          <cx:pt idx="53524">0</cx:pt>
          <cx:pt idx="53525">1</cx:pt>
          <cx:pt idx="53526">1</cx:pt>
          <cx:pt idx="53527">1</cx:pt>
          <cx:pt idx="53528">0</cx:pt>
          <cx:pt idx="53529">0</cx:pt>
          <cx:pt idx="53530">0</cx:pt>
          <cx:pt idx="53531">1</cx:pt>
          <cx:pt idx="53532">0</cx:pt>
          <cx:pt idx="53533">0</cx:pt>
          <cx:pt idx="53534">0</cx:pt>
          <cx:pt idx="53535">0</cx:pt>
          <cx:pt idx="53536">1</cx:pt>
          <cx:pt idx="53537">0</cx:pt>
          <cx:pt idx="53538">0</cx:pt>
          <cx:pt idx="53539">0</cx:pt>
          <cx:pt idx="53540">0</cx:pt>
          <cx:pt idx="53541">1</cx:pt>
          <cx:pt idx="53542">0</cx:pt>
          <cx:pt idx="53543">0</cx:pt>
          <cx:pt idx="53544">0</cx:pt>
          <cx:pt idx="53545">1</cx:pt>
          <cx:pt idx="53546">1</cx:pt>
          <cx:pt idx="53547">0</cx:pt>
          <cx:pt idx="53548">1</cx:pt>
          <cx:pt idx="53549">0</cx:pt>
          <cx:pt idx="53550">0</cx:pt>
          <cx:pt idx="53551">0</cx:pt>
          <cx:pt idx="53552">1</cx:pt>
          <cx:pt idx="53553">1</cx:pt>
          <cx:pt idx="53554">1</cx:pt>
          <cx:pt idx="53555">1</cx:pt>
          <cx:pt idx="53556">1</cx:pt>
          <cx:pt idx="53557">0</cx:pt>
          <cx:pt idx="53558">1</cx:pt>
          <cx:pt idx="53559">0</cx:pt>
          <cx:pt idx="53560">0</cx:pt>
          <cx:pt idx="53561">0</cx:pt>
          <cx:pt idx="53562">0</cx:pt>
          <cx:pt idx="53563">1</cx:pt>
          <cx:pt idx="53564">0</cx:pt>
          <cx:pt idx="53565">1</cx:pt>
          <cx:pt idx="53566">0</cx:pt>
          <cx:pt idx="53567">0</cx:pt>
          <cx:pt idx="53568">1</cx:pt>
          <cx:pt idx="53569">0</cx:pt>
          <cx:pt idx="53570">0</cx:pt>
          <cx:pt idx="53571">1</cx:pt>
          <cx:pt idx="53572">0</cx:pt>
          <cx:pt idx="53573">1</cx:pt>
          <cx:pt idx="53574">1</cx:pt>
          <cx:pt idx="53575">0</cx:pt>
          <cx:pt idx="53576">0</cx:pt>
          <cx:pt idx="53577">0</cx:pt>
          <cx:pt idx="53578">0</cx:pt>
          <cx:pt idx="53579">0</cx:pt>
          <cx:pt idx="53580">1</cx:pt>
          <cx:pt idx="53581">0</cx:pt>
          <cx:pt idx="53582">1</cx:pt>
          <cx:pt idx="53583">0</cx:pt>
          <cx:pt idx="53584">0</cx:pt>
          <cx:pt idx="53585">1</cx:pt>
          <cx:pt idx="53586">1</cx:pt>
          <cx:pt idx="53587">1</cx:pt>
          <cx:pt idx="53588">1</cx:pt>
          <cx:pt idx="53589">0</cx:pt>
          <cx:pt idx="53590">0</cx:pt>
          <cx:pt idx="53591">0</cx:pt>
          <cx:pt idx="53592">0</cx:pt>
          <cx:pt idx="53593">0</cx:pt>
          <cx:pt idx="53594">1</cx:pt>
          <cx:pt idx="53595">0</cx:pt>
          <cx:pt idx="53596">1</cx:pt>
          <cx:pt idx="53597">1</cx:pt>
          <cx:pt idx="53598">0</cx:pt>
          <cx:pt idx="53599">1</cx:pt>
          <cx:pt idx="53600">0</cx:pt>
          <cx:pt idx="53601">0</cx:pt>
          <cx:pt idx="53602">1</cx:pt>
          <cx:pt idx="53603">1</cx:pt>
          <cx:pt idx="53604">1</cx:pt>
          <cx:pt idx="53605">0</cx:pt>
          <cx:pt idx="53606">1</cx:pt>
          <cx:pt idx="53607">1</cx:pt>
          <cx:pt idx="53608">0</cx:pt>
          <cx:pt idx="53609">0</cx:pt>
          <cx:pt idx="53610">0</cx:pt>
          <cx:pt idx="53611">0</cx:pt>
          <cx:pt idx="53612">0</cx:pt>
          <cx:pt idx="53613">0</cx:pt>
          <cx:pt idx="53614">0</cx:pt>
          <cx:pt idx="53615">1</cx:pt>
          <cx:pt idx="53616">1</cx:pt>
          <cx:pt idx="53617">1</cx:pt>
          <cx:pt idx="53618">0</cx:pt>
          <cx:pt idx="53619">0</cx:pt>
          <cx:pt idx="53620">1</cx:pt>
          <cx:pt idx="53621">0</cx:pt>
          <cx:pt idx="53622">0</cx:pt>
          <cx:pt idx="53623">0</cx:pt>
          <cx:pt idx="53624">0</cx:pt>
          <cx:pt idx="53625">0</cx:pt>
          <cx:pt idx="53626">1</cx:pt>
          <cx:pt idx="53627">0</cx:pt>
          <cx:pt idx="53628">1</cx:pt>
          <cx:pt idx="53629">0</cx:pt>
          <cx:pt idx="53630">0</cx:pt>
          <cx:pt idx="53631">1</cx:pt>
          <cx:pt idx="53632">0</cx:pt>
          <cx:pt idx="53633">0</cx:pt>
          <cx:pt idx="53634">1</cx:pt>
          <cx:pt idx="53635">0</cx:pt>
          <cx:pt idx="53636">0</cx:pt>
          <cx:pt idx="53637">1</cx:pt>
          <cx:pt idx="53638">1</cx:pt>
          <cx:pt idx="53639">0</cx:pt>
          <cx:pt idx="53640">1</cx:pt>
          <cx:pt idx="53641">0</cx:pt>
          <cx:pt idx="53642">1</cx:pt>
          <cx:pt idx="53643">0</cx:pt>
          <cx:pt idx="53644">0</cx:pt>
          <cx:pt idx="53645">1</cx:pt>
          <cx:pt idx="53646">1</cx:pt>
          <cx:pt idx="53647">1</cx:pt>
          <cx:pt idx="53648">0</cx:pt>
          <cx:pt idx="53649">0</cx:pt>
          <cx:pt idx="53650">1</cx:pt>
          <cx:pt idx="53651">0</cx:pt>
          <cx:pt idx="53652">1</cx:pt>
          <cx:pt idx="53653">0</cx:pt>
          <cx:pt idx="53654">1</cx:pt>
          <cx:pt idx="53655">1</cx:pt>
          <cx:pt idx="53656">0</cx:pt>
          <cx:pt idx="53657">1</cx:pt>
          <cx:pt idx="53658">1</cx:pt>
          <cx:pt idx="53659">1</cx:pt>
          <cx:pt idx="53660">1</cx:pt>
          <cx:pt idx="53661">1</cx:pt>
          <cx:pt idx="53662">1</cx:pt>
          <cx:pt idx="53663">0</cx:pt>
          <cx:pt idx="53664">1</cx:pt>
          <cx:pt idx="53665">1</cx:pt>
          <cx:pt idx="53666">0</cx:pt>
          <cx:pt idx="53667">0</cx:pt>
          <cx:pt idx="53668">1</cx:pt>
          <cx:pt idx="53669">1</cx:pt>
          <cx:pt idx="53670">0</cx:pt>
          <cx:pt idx="53671">1</cx:pt>
          <cx:pt idx="53672">1</cx:pt>
          <cx:pt idx="53673">0</cx:pt>
          <cx:pt idx="53674">0</cx:pt>
          <cx:pt idx="53675">1</cx:pt>
          <cx:pt idx="53676">1</cx:pt>
          <cx:pt idx="53677">0</cx:pt>
          <cx:pt idx="53678">0</cx:pt>
          <cx:pt idx="53679">1</cx:pt>
          <cx:pt idx="53680">1</cx:pt>
          <cx:pt idx="53681">0</cx:pt>
          <cx:pt idx="53682">0</cx:pt>
          <cx:pt idx="53683">1</cx:pt>
          <cx:pt idx="53684">1</cx:pt>
          <cx:pt idx="53685">0</cx:pt>
          <cx:pt idx="53686">1</cx:pt>
          <cx:pt idx="53687">1</cx:pt>
          <cx:pt idx="53688">1</cx:pt>
          <cx:pt idx="53689">0</cx:pt>
          <cx:pt idx="53690">0</cx:pt>
          <cx:pt idx="53691">0</cx:pt>
          <cx:pt idx="53692">1</cx:pt>
          <cx:pt idx="53693">0</cx:pt>
          <cx:pt idx="53694">0</cx:pt>
          <cx:pt idx="53695">0</cx:pt>
          <cx:pt idx="53696">1</cx:pt>
          <cx:pt idx="53697">0</cx:pt>
          <cx:pt idx="53698">1</cx:pt>
          <cx:pt idx="53699">0</cx:pt>
          <cx:pt idx="53700">1</cx:pt>
          <cx:pt idx="53701">1</cx:pt>
          <cx:pt idx="53702">0</cx:pt>
          <cx:pt idx="53703">0</cx:pt>
          <cx:pt idx="53704">1</cx:pt>
          <cx:pt idx="53705">0</cx:pt>
          <cx:pt idx="53706">0</cx:pt>
          <cx:pt idx="53707">0</cx:pt>
          <cx:pt idx="53708">1</cx:pt>
          <cx:pt idx="53709">1</cx:pt>
          <cx:pt idx="53710">0</cx:pt>
          <cx:pt idx="53711">0</cx:pt>
          <cx:pt idx="53712">0</cx:pt>
          <cx:pt idx="53713">0</cx:pt>
          <cx:pt idx="53714">1</cx:pt>
          <cx:pt idx="53715">0</cx:pt>
          <cx:pt idx="53716">0</cx:pt>
          <cx:pt idx="53717">0</cx:pt>
          <cx:pt idx="53718">0</cx:pt>
          <cx:pt idx="53719">1</cx:pt>
          <cx:pt idx="53720">1</cx:pt>
          <cx:pt idx="53721">1</cx:pt>
          <cx:pt idx="53722">1</cx:pt>
          <cx:pt idx="53723">1</cx:pt>
          <cx:pt idx="53724">1</cx:pt>
          <cx:pt idx="53725">0</cx:pt>
          <cx:pt idx="53726">1</cx:pt>
          <cx:pt idx="53727">1</cx:pt>
          <cx:pt idx="53728">0</cx:pt>
          <cx:pt idx="53729">0</cx:pt>
          <cx:pt idx="53730">0</cx:pt>
          <cx:pt idx="53731">0</cx:pt>
          <cx:pt idx="53732">0</cx:pt>
          <cx:pt idx="53733">0</cx:pt>
          <cx:pt idx="53734">0</cx:pt>
          <cx:pt idx="53735">0</cx:pt>
          <cx:pt idx="53736">0</cx:pt>
          <cx:pt idx="53737">0</cx:pt>
          <cx:pt idx="53738">1</cx:pt>
          <cx:pt idx="53739">0</cx:pt>
          <cx:pt idx="53740">0</cx:pt>
          <cx:pt idx="53741">0</cx:pt>
          <cx:pt idx="53742">0</cx:pt>
          <cx:pt idx="53743">0</cx:pt>
          <cx:pt idx="53744">0</cx:pt>
          <cx:pt idx="53745">0</cx:pt>
          <cx:pt idx="53746">1</cx:pt>
          <cx:pt idx="53747">1</cx:pt>
          <cx:pt idx="53748">0</cx:pt>
          <cx:pt idx="53749">0</cx:pt>
          <cx:pt idx="53750">0</cx:pt>
          <cx:pt idx="53751">0</cx:pt>
          <cx:pt idx="53752">1</cx:pt>
          <cx:pt idx="53753">1</cx:pt>
          <cx:pt idx="53754">0</cx:pt>
          <cx:pt idx="53755">0</cx:pt>
          <cx:pt idx="53756">1</cx:pt>
          <cx:pt idx="53757">0</cx:pt>
          <cx:pt idx="53758">1</cx:pt>
          <cx:pt idx="53759">0</cx:pt>
          <cx:pt idx="53760">0</cx:pt>
          <cx:pt idx="53761">1</cx:pt>
          <cx:pt idx="53762">1</cx:pt>
          <cx:pt idx="53763">0</cx:pt>
          <cx:pt idx="53764">0</cx:pt>
          <cx:pt idx="53765">1</cx:pt>
          <cx:pt idx="53766">0</cx:pt>
          <cx:pt idx="53767">1</cx:pt>
          <cx:pt idx="53768">1</cx:pt>
          <cx:pt idx="53769">0</cx:pt>
          <cx:pt idx="53770">0</cx:pt>
          <cx:pt idx="53771">0</cx:pt>
          <cx:pt idx="53772">0</cx:pt>
          <cx:pt idx="53773">0</cx:pt>
          <cx:pt idx="53774">1</cx:pt>
          <cx:pt idx="53775">0</cx:pt>
          <cx:pt idx="53776">1</cx:pt>
          <cx:pt idx="53777">0</cx:pt>
          <cx:pt idx="53778">1</cx:pt>
          <cx:pt idx="53779">0</cx:pt>
          <cx:pt idx="53780">1</cx:pt>
          <cx:pt idx="53781">0</cx:pt>
          <cx:pt idx="53782">0</cx:pt>
          <cx:pt idx="53783">0</cx:pt>
          <cx:pt idx="53784">1</cx:pt>
          <cx:pt idx="53785">1</cx:pt>
          <cx:pt idx="53786">1</cx:pt>
          <cx:pt idx="53787">1</cx:pt>
          <cx:pt idx="53788">1</cx:pt>
          <cx:pt idx="53789">0</cx:pt>
          <cx:pt idx="53790">0</cx:pt>
          <cx:pt idx="53791">0</cx:pt>
          <cx:pt idx="53792">1</cx:pt>
          <cx:pt idx="53793">0</cx:pt>
          <cx:pt idx="53794">0</cx:pt>
          <cx:pt idx="53795">0</cx:pt>
          <cx:pt idx="53796">0</cx:pt>
          <cx:pt idx="53797">1</cx:pt>
          <cx:pt idx="53798">0</cx:pt>
          <cx:pt idx="53799">1</cx:pt>
          <cx:pt idx="53800">0</cx:pt>
          <cx:pt idx="53801">0</cx:pt>
          <cx:pt idx="53802">1</cx:pt>
          <cx:pt idx="53803">0</cx:pt>
          <cx:pt idx="53804">0</cx:pt>
          <cx:pt idx="53805">0</cx:pt>
          <cx:pt idx="53806">1</cx:pt>
          <cx:pt idx="53807">0</cx:pt>
          <cx:pt idx="53808">1</cx:pt>
          <cx:pt idx="53809">1</cx:pt>
          <cx:pt idx="53810">0</cx:pt>
          <cx:pt idx="53811">1</cx:pt>
          <cx:pt idx="53812">0</cx:pt>
          <cx:pt idx="53813">0</cx:pt>
          <cx:pt idx="53814">1</cx:pt>
          <cx:pt idx="53815">1</cx:pt>
          <cx:pt idx="53816">0</cx:pt>
          <cx:pt idx="53817">0</cx:pt>
          <cx:pt idx="53818">0</cx:pt>
          <cx:pt idx="53819">0</cx:pt>
          <cx:pt idx="53820">0</cx:pt>
          <cx:pt idx="53821">0</cx:pt>
          <cx:pt idx="53822">1</cx:pt>
          <cx:pt idx="53823">1</cx:pt>
          <cx:pt idx="53824">1</cx:pt>
          <cx:pt idx="53825">1</cx:pt>
          <cx:pt idx="53826">0</cx:pt>
          <cx:pt idx="53827">0</cx:pt>
          <cx:pt idx="53828">0</cx:pt>
          <cx:pt idx="53829">0</cx:pt>
          <cx:pt idx="53830">1</cx:pt>
          <cx:pt idx="53831">0</cx:pt>
          <cx:pt idx="53832">0</cx:pt>
          <cx:pt idx="53833">1</cx:pt>
          <cx:pt idx="53834">1</cx:pt>
          <cx:pt idx="53835">1</cx:pt>
          <cx:pt idx="53836">0</cx:pt>
          <cx:pt idx="53837">1</cx:pt>
          <cx:pt idx="53838">0</cx:pt>
          <cx:pt idx="53839">1</cx:pt>
          <cx:pt idx="53840">0</cx:pt>
          <cx:pt idx="53841">0</cx:pt>
          <cx:pt idx="53842">1</cx:pt>
          <cx:pt idx="53843">0</cx:pt>
          <cx:pt idx="53844">0</cx:pt>
          <cx:pt idx="53845">1</cx:pt>
          <cx:pt idx="53846">0</cx:pt>
          <cx:pt idx="53847">0</cx:pt>
          <cx:pt idx="53848">0</cx:pt>
          <cx:pt idx="53849">0</cx:pt>
          <cx:pt idx="53850">1</cx:pt>
          <cx:pt idx="53851">0</cx:pt>
          <cx:pt idx="53852">0</cx:pt>
          <cx:pt idx="53853">0</cx:pt>
          <cx:pt idx="53854">0</cx:pt>
          <cx:pt idx="53855">0</cx:pt>
          <cx:pt idx="53856">1</cx:pt>
          <cx:pt idx="53857">1</cx:pt>
          <cx:pt idx="53858">0</cx:pt>
          <cx:pt idx="53859">1</cx:pt>
          <cx:pt idx="53860">0</cx:pt>
          <cx:pt idx="53861">0</cx:pt>
          <cx:pt idx="53862">0</cx:pt>
          <cx:pt idx="53863">1</cx:pt>
          <cx:pt idx="53864">0</cx:pt>
          <cx:pt idx="53865">0</cx:pt>
          <cx:pt idx="53866">1</cx:pt>
          <cx:pt idx="53867">0</cx:pt>
          <cx:pt idx="53868">0</cx:pt>
          <cx:pt idx="53869">1</cx:pt>
          <cx:pt idx="53870">0</cx:pt>
          <cx:pt idx="53871">0</cx:pt>
          <cx:pt idx="53872">0</cx:pt>
          <cx:pt idx="53873">0</cx:pt>
          <cx:pt idx="53874">0</cx:pt>
          <cx:pt idx="53875">0</cx:pt>
          <cx:pt idx="53876">1</cx:pt>
          <cx:pt idx="53877">0</cx:pt>
          <cx:pt idx="53878">0</cx:pt>
          <cx:pt idx="53879">1</cx:pt>
          <cx:pt idx="53880">1</cx:pt>
          <cx:pt idx="53881">0</cx:pt>
          <cx:pt idx="53882">0</cx:pt>
          <cx:pt idx="53883">1</cx:pt>
          <cx:pt idx="53884">0</cx:pt>
          <cx:pt idx="53885">0</cx:pt>
          <cx:pt idx="53886">1</cx:pt>
          <cx:pt idx="53887">0</cx:pt>
          <cx:pt idx="53888">1</cx:pt>
          <cx:pt idx="53889">0</cx:pt>
          <cx:pt idx="53890">0</cx:pt>
          <cx:pt idx="53891">0</cx:pt>
          <cx:pt idx="53892">0</cx:pt>
          <cx:pt idx="53893">1</cx:pt>
          <cx:pt idx="53894">0</cx:pt>
          <cx:pt idx="53895">0</cx:pt>
          <cx:pt idx="53896">0</cx:pt>
          <cx:pt idx="53897">1</cx:pt>
          <cx:pt idx="53898">1</cx:pt>
          <cx:pt idx="53899">1</cx:pt>
          <cx:pt idx="53900">1</cx:pt>
          <cx:pt idx="53901">1</cx:pt>
          <cx:pt idx="53902">1</cx:pt>
          <cx:pt idx="53903">0</cx:pt>
          <cx:pt idx="53904">0</cx:pt>
          <cx:pt idx="53905">0</cx:pt>
          <cx:pt idx="53906">1</cx:pt>
          <cx:pt idx="53907">1</cx:pt>
          <cx:pt idx="53908">0</cx:pt>
          <cx:pt idx="53909">1</cx:pt>
          <cx:pt idx="53910">1</cx:pt>
          <cx:pt idx="53911">0</cx:pt>
          <cx:pt idx="53912">1</cx:pt>
          <cx:pt idx="53913">0</cx:pt>
          <cx:pt idx="53914">1</cx:pt>
          <cx:pt idx="53915">0</cx:pt>
          <cx:pt idx="53916">1</cx:pt>
          <cx:pt idx="53917">1</cx:pt>
          <cx:pt idx="53918">1</cx:pt>
          <cx:pt idx="53919">0</cx:pt>
          <cx:pt idx="53920">0</cx:pt>
          <cx:pt idx="53921">0</cx:pt>
          <cx:pt idx="53922">1</cx:pt>
          <cx:pt idx="53923">1</cx:pt>
          <cx:pt idx="53924">0</cx:pt>
          <cx:pt idx="53925">1</cx:pt>
          <cx:pt idx="53926">1</cx:pt>
          <cx:pt idx="53927">1</cx:pt>
          <cx:pt idx="53928">0</cx:pt>
          <cx:pt idx="53929">0</cx:pt>
          <cx:pt idx="53930">0</cx:pt>
          <cx:pt idx="53931">0</cx:pt>
          <cx:pt idx="53932">1</cx:pt>
          <cx:pt idx="53933">1</cx:pt>
          <cx:pt idx="53934">0</cx:pt>
          <cx:pt idx="53935">0</cx:pt>
          <cx:pt idx="53936">0</cx:pt>
          <cx:pt idx="53937">0</cx:pt>
          <cx:pt idx="53938">0</cx:pt>
          <cx:pt idx="53939">1</cx:pt>
          <cx:pt idx="53940">1</cx:pt>
          <cx:pt idx="53941">0</cx:pt>
          <cx:pt idx="53942">0</cx:pt>
          <cx:pt idx="53943">0</cx:pt>
          <cx:pt idx="53944">1</cx:pt>
          <cx:pt idx="53945">0</cx:pt>
          <cx:pt idx="53946">1</cx:pt>
          <cx:pt idx="53947">1</cx:pt>
          <cx:pt idx="53948">1</cx:pt>
          <cx:pt idx="53949">0</cx:pt>
          <cx:pt idx="53950">0</cx:pt>
          <cx:pt idx="53951">1</cx:pt>
          <cx:pt idx="53952">0</cx:pt>
          <cx:pt idx="53953">1</cx:pt>
          <cx:pt idx="53954">1</cx:pt>
          <cx:pt idx="53955">0</cx:pt>
          <cx:pt idx="53956">1</cx:pt>
          <cx:pt idx="53957">0</cx:pt>
          <cx:pt idx="53958">1</cx:pt>
          <cx:pt idx="53959">1</cx:pt>
          <cx:pt idx="53960">0</cx:pt>
          <cx:pt idx="53961">0</cx:pt>
          <cx:pt idx="53962">0</cx:pt>
          <cx:pt idx="53963">1</cx:pt>
          <cx:pt idx="53964">0</cx:pt>
          <cx:pt idx="53965">0</cx:pt>
          <cx:pt idx="53966">1</cx:pt>
          <cx:pt idx="53967">0</cx:pt>
          <cx:pt idx="53968">0</cx:pt>
          <cx:pt idx="53969">0</cx:pt>
          <cx:pt idx="53970">1</cx:pt>
          <cx:pt idx="53971">1</cx:pt>
          <cx:pt idx="53972">0</cx:pt>
          <cx:pt idx="53973">1</cx:pt>
          <cx:pt idx="53974">0</cx:pt>
          <cx:pt idx="53975">0</cx:pt>
          <cx:pt idx="53976">0</cx:pt>
          <cx:pt idx="53977">0</cx:pt>
          <cx:pt idx="53978">0</cx:pt>
          <cx:pt idx="53979">0</cx:pt>
          <cx:pt idx="53980">0</cx:pt>
          <cx:pt idx="53981">0</cx:pt>
          <cx:pt idx="53982">0</cx:pt>
          <cx:pt idx="53983">0</cx:pt>
          <cx:pt idx="53984">0</cx:pt>
          <cx:pt idx="53985">0</cx:pt>
          <cx:pt idx="53986">1</cx:pt>
          <cx:pt idx="53987">1</cx:pt>
          <cx:pt idx="53988">0</cx:pt>
          <cx:pt idx="53989">1</cx:pt>
          <cx:pt idx="53990">0</cx:pt>
          <cx:pt idx="53991">0</cx:pt>
          <cx:pt idx="53992">1</cx:pt>
          <cx:pt idx="53993">0</cx:pt>
          <cx:pt idx="53994">1</cx:pt>
          <cx:pt idx="53995">1</cx:pt>
          <cx:pt idx="53996">0</cx:pt>
          <cx:pt idx="53997">0</cx:pt>
          <cx:pt idx="53998">1</cx:pt>
          <cx:pt idx="53999">0</cx:pt>
          <cx:pt idx="54000">1</cx:pt>
          <cx:pt idx="54001">0</cx:pt>
          <cx:pt idx="54002">0</cx:pt>
          <cx:pt idx="54003">1</cx:pt>
          <cx:pt idx="54004">1</cx:pt>
          <cx:pt idx="54005">1</cx:pt>
          <cx:pt idx="54006">0</cx:pt>
          <cx:pt idx="54007">1</cx:pt>
          <cx:pt idx="54008">1</cx:pt>
          <cx:pt idx="54009">0</cx:pt>
          <cx:pt idx="54010">0</cx:pt>
          <cx:pt idx="54011">1</cx:pt>
          <cx:pt idx="54012">0</cx:pt>
          <cx:pt idx="54013">1</cx:pt>
          <cx:pt idx="54014">0</cx:pt>
          <cx:pt idx="54015">1</cx:pt>
          <cx:pt idx="54016">1</cx:pt>
          <cx:pt idx="54017">1</cx:pt>
          <cx:pt idx="54018">0</cx:pt>
          <cx:pt idx="54019">0</cx:pt>
          <cx:pt idx="54020">0</cx:pt>
          <cx:pt idx="54021">0</cx:pt>
          <cx:pt idx="54022">1</cx:pt>
          <cx:pt idx="54023">0</cx:pt>
          <cx:pt idx="54024">1</cx:pt>
          <cx:pt idx="54025">0</cx:pt>
          <cx:pt idx="54026">0</cx:pt>
          <cx:pt idx="54027">1</cx:pt>
          <cx:pt idx="54028">0</cx:pt>
          <cx:pt idx="54029">0</cx:pt>
          <cx:pt idx="54030">0</cx:pt>
          <cx:pt idx="54031">1</cx:pt>
          <cx:pt idx="54032">0</cx:pt>
          <cx:pt idx="54033">0</cx:pt>
          <cx:pt idx="54034">0</cx:pt>
          <cx:pt idx="54035">1</cx:pt>
          <cx:pt idx="54036">0</cx:pt>
          <cx:pt idx="54037">1</cx:pt>
          <cx:pt idx="54038">1</cx:pt>
          <cx:pt idx="54039">0</cx:pt>
          <cx:pt idx="54040">0</cx:pt>
          <cx:pt idx="54041">1</cx:pt>
          <cx:pt idx="54042">1</cx:pt>
          <cx:pt idx="54043">1</cx:pt>
          <cx:pt idx="54044">0</cx:pt>
          <cx:pt idx="54045">0</cx:pt>
          <cx:pt idx="54046">1</cx:pt>
          <cx:pt idx="54047">0</cx:pt>
          <cx:pt idx="54048">1</cx:pt>
          <cx:pt idx="54049">1</cx:pt>
          <cx:pt idx="54050">1</cx:pt>
          <cx:pt idx="54051">0</cx:pt>
          <cx:pt idx="54052">0</cx:pt>
          <cx:pt idx="54053">0</cx:pt>
          <cx:pt idx="54054">1</cx:pt>
          <cx:pt idx="54055">0</cx:pt>
          <cx:pt idx="54056">0</cx:pt>
          <cx:pt idx="54057">0</cx:pt>
          <cx:pt idx="54058">1</cx:pt>
          <cx:pt idx="54059">0</cx:pt>
          <cx:pt idx="54060">1</cx:pt>
          <cx:pt idx="54061">0</cx:pt>
          <cx:pt idx="54062">1</cx:pt>
          <cx:pt idx="54063">0</cx:pt>
          <cx:pt idx="54064">0</cx:pt>
          <cx:pt idx="54065">0</cx:pt>
          <cx:pt idx="54066">1</cx:pt>
          <cx:pt idx="54067">1</cx:pt>
          <cx:pt idx="54068">1</cx:pt>
          <cx:pt idx="54069">1</cx:pt>
          <cx:pt idx="54070">0</cx:pt>
          <cx:pt idx="54071">1</cx:pt>
          <cx:pt idx="54072">1</cx:pt>
          <cx:pt idx="54073">1</cx:pt>
          <cx:pt idx="54074">0</cx:pt>
          <cx:pt idx="54075">1</cx:pt>
          <cx:pt idx="54076">1</cx:pt>
          <cx:pt idx="54077">0</cx:pt>
          <cx:pt idx="54078">0</cx:pt>
          <cx:pt idx="54079">0</cx:pt>
          <cx:pt idx="54080">0</cx:pt>
          <cx:pt idx="54081">0</cx:pt>
          <cx:pt idx="54082">0</cx:pt>
          <cx:pt idx="54083">1</cx:pt>
          <cx:pt idx="54084">1</cx:pt>
          <cx:pt idx="54085">0</cx:pt>
          <cx:pt idx="54086">0</cx:pt>
          <cx:pt idx="54087">0</cx:pt>
          <cx:pt idx="54088">0</cx:pt>
          <cx:pt idx="54089">1</cx:pt>
          <cx:pt idx="54090">0</cx:pt>
          <cx:pt idx="54091">0</cx:pt>
          <cx:pt idx="54092">0</cx:pt>
          <cx:pt idx="54093">1</cx:pt>
          <cx:pt idx="54094">0</cx:pt>
          <cx:pt idx="54095">0</cx:pt>
          <cx:pt idx="54096">0</cx:pt>
          <cx:pt idx="54097">0</cx:pt>
          <cx:pt idx="54098">0</cx:pt>
          <cx:pt idx="54099">0</cx:pt>
          <cx:pt idx="54100">1</cx:pt>
          <cx:pt idx="54101">0</cx:pt>
          <cx:pt idx="54102">1</cx:pt>
          <cx:pt idx="54103">0</cx:pt>
          <cx:pt idx="54104">0</cx:pt>
          <cx:pt idx="54105">1</cx:pt>
          <cx:pt idx="54106">0</cx:pt>
          <cx:pt idx="54107">0</cx:pt>
          <cx:pt idx="54108">0</cx:pt>
          <cx:pt idx="54109">1</cx:pt>
          <cx:pt idx="54110">0</cx:pt>
          <cx:pt idx="54111">1</cx:pt>
          <cx:pt idx="54112">0</cx:pt>
          <cx:pt idx="54113">0</cx:pt>
          <cx:pt idx="54114">0</cx:pt>
          <cx:pt idx="54115">1</cx:pt>
          <cx:pt idx="54116">0</cx:pt>
          <cx:pt idx="54117">0</cx:pt>
          <cx:pt idx="54118">0</cx:pt>
          <cx:pt idx="54119">0</cx:pt>
          <cx:pt idx="54120">0</cx:pt>
          <cx:pt idx="54121">0</cx:pt>
          <cx:pt idx="54122">1</cx:pt>
          <cx:pt idx="54123">0</cx:pt>
          <cx:pt idx="54124">0</cx:pt>
          <cx:pt idx="54125">0</cx:pt>
          <cx:pt idx="54126">0</cx:pt>
          <cx:pt idx="54127">1</cx:pt>
          <cx:pt idx="54128">1</cx:pt>
          <cx:pt idx="54129">0</cx:pt>
          <cx:pt idx="54130">0</cx:pt>
          <cx:pt idx="54131">0</cx:pt>
          <cx:pt idx="54132">0</cx:pt>
          <cx:pt idx="54133">0</cx:pt>
          <cx:pt idx="54134">0</cx:pt>
          <cx:pt idx="54135">0</cx:pt>
          <cx:pt idx="54136">1</cx:pt>
          <cx:pt idx="54137">0</cx:pt>
          <cx:pt idx="54138">1</cx:pt>
          <cx:pt idx="54139">0</cx:pt>
          <cx:pt idx="54140">0</cx:pt>
          <cx:pt idx="54141">1</cx:pt>
          <cx:pt idx="54142">0</cx:pt>
          <cx:pt idx="54143">0</cx:pt>
          <cx:pt idx="54144">0</cx:pt>
          <cx:pt idx="54145">1</cx:pt>
          <cx:pt idx="54146">0</cx:pt>
          <cx:pt idx="54147">0</cx:pt>
          <cx:pt idx="54148">1</cx:pt>
          <cx:pt idx="54149">0</cx:pt>
          <cx:pt idx="54150">1</cx:pt>
          <cx:pt idx="54151">0</cx:pt>
          <cx:pt idx="54152">0</cx:pt>
          <cx:pt idx="54153">0</cx:pt>
          <cx:pt idx="54154">0</cx:pt>
          <cx:pt idx="54155">0</cx:pt>
          <cx:pt idx="54156">0</cx:pt>
          <cx:pt idx="54157">0</cx:pt>
          <cx:pt idx="54158">0</cx:pt>
          <cx:pt idx="54159">0</cx:pt>
          <cx:pt idx="54160">0</cx:pt>
          <cx:pt idx="54161">1</cx:pt>
          <cx:pt idx="54162">0</cx:pt>
          <cx:pt idx="54163">1</cx:pt>
          <cx:pt idx="54164">0</cx:pt>
          <cx:pt idx="54165">1</cx:pt>
          <cx:pt idx="54166">1</cx:pt>
          <cx:pt idx="54167">0</cx:pt>
          <cx:pt idx="54168">1</cx:pt>
          <cx:pt idx="54169">1</cx:pt>
          <cx:pt idx="54170">1</cx:pt>
          <cx:pt idx="54171">1</cx:pt>
          <cx:pt idx="54172">1</cx:pt>
          <cx:pt idx="54173">0</cx:pt>
          <cx:pt idx="54174">0</cx:pt>
          <cx:pt idx="54175">1</cx:pt>
          <cx:pt idx="54176">1</cx:pt>
          <cx:pt idx="54177">1</cx:pt>
          <cx:pt idx="54178">1</cx:pt>
          <cx:pt idx="54179">0</cx:pt>
          <cx:pt idx="54180">0</cx:pt>
          <cx:pt idx="54181">1</cx:pt>
          <cx:pt idx="54182">1</cx:pt>
          <cx:pt idx="54183">1</cx:pt>
          <cx:pt idx="54184">1</cx:pt>
          <cx:pt idx="54185">0</cx:pt>
          <cx:pt idx="54186">0</cx:pt>
          <cx:pt idx="54187">0</cx:pt>
          <cx:pt idx="54188">0</cx:pt>
          <cx:pt idx="54189">0</cx:pt>
          <cx:pt idx="54190">1</cx:pt>
          <cx:pt idx="54191">1</cx:pt>
          <cx:pt idx="54192">0</cx:pt>
          <cx:pt idx="54193">0</cx:pt>
          <cx:pt idx="54194">0</cx:pt>
          <cx:pt idx="54195">0</cx:pt>
          <cx:pt idx="54196">1</cx:pt>
          <cx:pt idx="54197">1</cx:pt>
          <cx:pt idx="54198">1</cx:pt>
          <cx:pt idx="54199">1</cx:pt>
          <cx:pt idx="54200">0</cx:pt>
          <cx:pt idx="54201">1</cx:pt>
          <cx:pt idx="54202">0</cx:pt>
          <cx:pt idx="54203">1</cx:pt>
          <cx:pt idx="54204">1</cx:pt>
          <cx:pt idx="54205">0</cx:pt>
          <cx:pt idx="54206">0</cx:pt>
          <cx:pt idx="54207">0</cx:pt>
          <cx:pt idx="54208">0</cx:pt>
          <cx:pt idx="54209">1</cx:pt>
          <cx:pt idx="54210">1</cx:pt>
          <cx:pt idx="54211">1</cx:pt>
          <cx:pt idx="54212">1</cx:pt>
          <cx:pt idx="54213">1</cx:pt>
          <cx:pt idx="54214">1</cx:pt>
          <cx:pt idx="54215">0</cx:pt>
          <cx:pt idx="54216">1</cx:pt>
          <cx:pt idx="54217">1</cx:pt>
          <cx:pt idx="54218">1</cx:pt>
          <cx:pt idx="54219">1</cx:pt>
          <cx:pt idx="54220">0</cx:pt>
          <cx:pt idx="54221">1</cx:pt>
          <cx:pt idx="54222">1</cx:pt>
          <cx:pt idx="54223">1</cx:pt>
          <cx:pt idx="54224">1</cx:pt>
          <cx:pt idx="54225">0</cx:pt>
          <cx:pt idx="54226">1</cx:pt>
          <cx:pt idx="54227">1</cx:pt>
          <cx:pt idx="54228">0</cx:pt>
          <cx:pt idx="54229">0</cx:pt>
          <cx:pt idx="54230">1</cx:pt>
          <cx:pt idx="54231">0</cx:pt>
          <cx:pt idx="54232">0</cx:pt>
          <cx:pt idx="54233">0</cx:pt>
          <cx:pt idx="54234">1</cx:pt>
          <cx:pt idx="54235">1</cx:pt>
          <cx:pt idx="54236">0</cx:pt>
          <cx:pt idx="54237">0</cx:pt>
          <cx:pt idx="54238">1</cx:pt>
          <cx:pt idx="54239">1</cx:pt>
          <cx:pt idx="54240">1</cx:pt>
          <cx:pt idx="54241">1</cx:pt>
          <cx:pt idx="54242">0</cx:pt>
          <cx:pt idx="54243">0</cx:pt>
          <cx:pt idx="54244">1</cx:pt>
          <cx:pt idx="54245">1</cx:pt>
          <cx:pt idx="54246">1</cx:pt>
          <cx:pt idx="54247">0</cx:pt>
          <cx:pt idx="54248">1</cx:pt>
          <cx:pt idx="54249">1</cx:pt>
          <cx:pt idx="54250">0</cx:pt>
          <cx:pt idx="54251">0</cx:pt>
          <cx:pt idx="54252">0</cx:pt>
          <cx:pt idx="54253">0</cx:pt>
          <cx:pt idx="54254">0</cx:pt>
          <cx:pt idx="54255">0</cx:pt>
          <cx:pt idx="54256">0</cx:pt>
          <cx:pt idx="54257">1</cx:pt>
          <cx:pt idx="54258">1</cx:pt>
          <cx:pt idx="54259">0</cx:pt>
          <cx:pt idx="54260">1</cx:pt>
          <cx:pt idx="54261">1</cx:pt>
          <cx:pt idx="54262">0</cx:pt>
          <cx:pt idx="54263">1</cx:pt>
          <cx:pt idx="54264">0</cx:pt>
          <cx:pt idx="54265">1</cx:pt>
          <cx:pt idx="54266">1</cx:pt>
          <cx:pt idx="54267">1</cx:pt>
          <cx:pt idx="54268">0</cx:pt>
          <cx:pt idx="54269">0</cx:pt>
          <cx:pt idx="54270">0</cx:pt>
          <cx:pt idx="54271">1</cx:pt>
          <cx:pt idx="54272">1</cx:pt>
          <cx:pt idx="54273">0</cx:pt>
          <cx:pt idx="54274">0</cx:pt>
          <cx:pt idx="54275">1</cx:pt>
          <cx:pt idx="54276">1</cx:pt>
          <cx:pt idx="54277">0</cx:pt>
          <cx:pt idx="54278">0</cx:pt>
          <cx:pt idx="54279">0</cx:pt>
          <cx:pt idx="54280">1</cx:pt>
          <cx:pt idx="54281">0</cx:pt>
          <cx:pt idx="54282">0</cx:pt>
          <cx:pt idx="54283">0</cx:pt>
          <cx:pt idx="54284">0</cx:pt>
          <cx:pt idx="54285">1</cx:pt>
          <cx:pt idx="54286">0</cx:pt>
          <cx:pt idx="54287">0</cx:pt>
          <cx:pt idx="54288">1</cx:pt>
          <cx:pt idx="54289">1</cx:pt>
          <cx:pt idx="54290">0</cx:pt>
          <cx:pt idx="54291">0</cx:pt>
          <cx:pt idx="54292">0</cx:pt>
          <cx:pt idx="54293">0</cx:pt>
          <cx:pt idx="54294">1</cx:pt>
          <cx:pt idx="54295">0</cx:pt>
          <cx:pt idx="54296">0</cx:pt>
          <cx:pt idx="54297">0</cx:pt>
          <cx:pt idx="54298">1</cx:pt>
          <cx:pt idx="54299">0</cx:pt>
          <cx:pt idx="54300">0</cx:pt>
          <cx:pt idx="54301">0</cx:pt>
          <cx:pt idx="54302">1</cx:pt>
          <cx:pt idx="54303">0</cx:pt>
          <cx:pt idx="54304">1</cx:pt>
          <cx:pt idx="54305">0</cx:pt>
          <cx:pt idx="54306">1</cx:pt>
          <cx:pt idx="54307">1</cx:pt>
          <cx:pt idx="54308">1</cx:pt>
          <cx:pt idx="54309">1</cx:pt>
          <cx:pt idx="54310">1</cx:pt>
          <cx:pt idx="54311">1</cx:pt>
          <cx:pt idx="54312">1</cx:pt>
          <cx:pt idx="54313">1</cx:pt>
          <cx:pt idx="54314">0</cx:pt>
          <cx:pt idx="54315">1</cx:pt>
          <cx:pt idx="54316">1</cx:pt>
          <cx:pt idx="54317">0</cx:pt>
          <cx:pt idx="54318">0</cx:pt>
          <cx:pt idx="54319">0</cx:pt>
          <cx:pt idx="54320">1</cx:pt>
          <cx:pt idx="54321">0</cx:pt>
          <cx:pt idx="54322">0</cx:pt>
          <cx:pt idx="54323">0</cx:pt>
          <cx:pt idx="54324">1</cx:pt>
          <cx:pt idx="54325">0</cx:pt>
          <cx:pt idx="54326">0</cx:pt>
          <cx:pt idx="54327">0</cx:pt>
          <cx:pt idx="54328">0</cx:pt>
          <cx:pt idx="54329">1</cx:pt>
          <cx:pt idx="54330">0</cx:pt>
          <cx:pt idx="54331">1</cx:pt>
          <cx:pt idx="54332">0</cx:pt>
          <cx:pt idx="54333">0</cx:pt>
          <cx:pt idx="54334">0</cx:pt>
          <cx:pt idx="54335">0</cx:pt>
          <cx:pt idx="54336">0</cx:pt>
          <cx:pt idx="54337">0</cx:pt>
          <cx:pt idx="54338">0</cx:pt>
          <cx:pt idx="54339">0</cx:pt>
          <cx:pt idx="54340">1</cx:pt>
          <cx:pt idx="54341">0</cx:pt>
          <cx:pt idx="54342">0</cx:pt>
          <cx:pt idx="54343">1</cx:pt>
          <cx:pt idx="54344">0</cx:pt>
          <cx:pt idx="54345">1</cx:pt>
          <cx:pt idx="54346">0</cx:pt>
          <cx:pt idx="54347">0</cx:pt>
          <cx:pt idx="54348">0</cx:pt>
          <cx:pt idx="54349">1</cx:pt>
          <cx:pt idx="54350">0</cx:pt>
          <cx:pt idx="54351">0</cx:pt>
          <cx:pt idx="54352">1</cx:pt>
          <cx:pt idx="54353">1</cx:pt>
          <cx:pt idx="54354">1</cx:pt>
          <cx:pt idx="54355">0</cx:pt>
          <cx:pt idx="54356">1</cx:pt>
          <cx:pt idx="54357">0</cx:pt>
          <cx:pt idx="54358">0</cx:pt>
          <cx:pt idx="54359">1</cx:pt>
          <cx:pt idx="54360">1</cx:pt>
          <cx:pt idx="54361">1</cx:pt>
          <cx:pt idx="54362">0</cx:pt>
          <cx:pt idx="54363">0</cx:pt>
          <cx:pt idx="54364">1</cx:pt>
          <cx:pt idx="54365">0</cx:pt>
          <cx:pt idx="54366">0</cx:pt>
          <cx:pt idx="54367">0</cx:pt>
          <cx:pt idx="54368">0</cx:pt>
          <cx:pt idx="54369">0</cx:pt>
          <cx:pt idx="54370">1</cx:pt>
          <cx:pt idx="54371">0</cx:pt>
          <cx:pt idx="54372">0</cx:pt>
          <cx:pt idx="54373">1</cx:pt>
          <cx:pt idx="54374">1</cx:pt>
          <cx:pt idx="54375">0</cx:pt>
          <cx:pt idx="54376">1</cx:pt>
          <cx:pt idx="54377">1</cx:pt>
          <cx:pt idx="54378">1</cx:pt>
          <cx:pt idx="54379">1</cx:pt>
          <cx:pt idx="54380">1</cx:pt>
          <cx:pt idx="54381">0</cx:pt>
          <cx:pt idx="54382">1</cx:pt>
          <cx:pt idx="54383">1</cx:pt>
          <cx:pt idx="54384">0</cx:pt>
          <cx:pt idx="54385">0</cx:pt>
          <cx:pt idx="54386">1</cx:pt>
          <cx:pt idx="54387">0</cx:pt>
          <cx:pt idx="54388">0</cx:pt>
          <cx:pt idx="54389">1</cx:pt>
          <cx:pt idx="54390">1</cx:pt>
          <cx:pt idx="54391">0</cx:pt>
          <cx:pt idx="54392">1</cx:pt>
          <cx:pt idx="54393">1</cx:pt>
          <cx:pt idx="54394">0</cx:pt>
          <cx:pt idx="54395">1</cx:pt>
          <cx:pt idx="54396">0</cx:pt>
          <cx:pt idx="54397">1</cx:pt>
          <cx:pt idx="54398">1</cx:pt>
          <cx:pt idx="54399">0</cx:pt>
          <cx:pt idx="54400">1</cx:pt>
          <cx:pt idx="54401">0</cx:pt>
          <cx:pt idx="54402">1</cx:pt>
          <cx:pt idx="54403">0</cx:pt>
          <cx:pt idx="54404">0</cx:pt>
          <cx:pt idx="54405">0</cx:pt>
          <cx:pt idx="54406">0</cx:pt>
          <cx:pt idx="54407">0</cx:pt>
          <cx:pt idx="54408">0</cx:pt>
          <cx:pt idx="54409">0</cx:pt>
          <cx:pt idx="54410">1</cx:pt>
          <cx:pt idx="54411">0</cx:pt>
          <cx:pt idx="54412">0</cx:pt>
          <cx:pt idx="54413">0</cx:pt>
          <cx:pt idx="54414">0</cx:pt>
          <cx:pt idx="54415">0</cx:pt>
          <cx:pt idx="54416">0</cx:pt>
          <cx:pt idx="54417">1</cx:pt>
          <cx:pt idx="54418">0</cx:pt>
          <cx:pt idx="54419">1</cx:pt>
          <cx:pt idx="54420">1</cx:pt>
          <cx:pt idx="54421">0</cx:pt>
          <cx:pt idx="54422">0</cx:pt>
          <cx:pt idx="54423">0</cx:pt>
          <cx:pt idx="54424">0</cx:pt>
          <cx:pt idx="54425">0</cx:pt>
          <cx:pt idx="54426">1</cx:pt>
          <cx:pt idx="54427">1</cx:pt>
          <cx:pt idx="54428">0</cx:pt>
          <cx:pt idx="54429">0</cx:pt>
          <cx:pt idx="54430">1</cx:pt>
          <cx:pt idx="54431">1</cx:pt>
          <cx:pt idx="54432">1</cx:pt>
          <cx:pt idx="54433">0</cx:pt>
          <cx:pt idx="54434">0</cx:pt>
          <cx:pt idx="54435">0</cx:pt>
          <cx:pt idx="54436">1</cx:pt>
          <cx:pt idx="54437">1</cx:pt>
          <cx:pt idx="54438">0</cx:pt>
          <cx:pt idx="54439">1</cx:pt>
          <cx:pt idx="54440">0</cx:pt>
          <cx:pt idx="54441">0</cx:pt>
          <cx:pt idx="54442">0</cx:pt>
          <cx:pt idx="54443">0</cx:pt>
          <cx:pt idx="54444">0</cx:pt>
          <cx:pt idx="54445">0</cx:pt>
          <cx:pt idx="54446">1</cx:pt>
          <cx:pt idx="54447">0</cx:pt>
          <cx:pt idx="54448">1</cx:pt>
          <cx:pt idx="54449">0</cx:pt>
          <cx:pt idx="54450">1</cx:pt>
          <cx:pt idx="54451">0</cx:pt>
          <cx:pt idx="54452">0</cx:pt>
          <cx:pt idx="54453">0</cx:pt>
          <cx:pt idx="54454">0</cx:pt>
          <cx:pt idx="54455">0</cx:pt>
          <cx:pt idx="54456">0</cx:pt>
          <cx:pt idx="54457">0</cx:pt>
          <cx:pt idx="54458">0</cx:pt>
          <cx:pt idx="54459">0</cx:pt>
          <cx:pt idx="54460">1</cx:pt>
          <cx:pt idx="54461">0</cx:pt>
          <cx:pt idx="54462">1</cx:pt>
          <cx:pt idx="54463">0</cx:pt>
          <cx:pt idx="54464">1</cx:pt>
          <cx:pt idx="54465">1</cx:pt>
          <cx:pt idx="54466">1</cx:pt>
          <cx:pt idx="54467">1</cx:pt>
          <cx:pt idx="54468">0</cx:pt>
          <cx:pt idx="54469">0</cx:pt>
          <cx:pt idx="54470">1</cx:pt>
          <cx:pt idx="54471">1</cx:pt>
          <cx:pt idx="54472">1</cx:pt>
          <cx:pt idx="54473">0</cx:pt>
          <cx:pt idx="54474">0</cx:pt>
          <cx:pt idx="54475">0</cx:pt>
          <cx:pt idx="54476">1</cx:pt>
          <cx:pt idx="54477">0</cx:pt>
          <cx:pt idx="54478">0</cx:pt>
          <cx:pt idx="54479">1</cx:pt>
          <cx:pt idx="54480">0</cx:pt>
          <cx:pt idx="54481">0</cx:pt>
          <cx:pt idx="54482">1</cx:pt>
          <cx:pt idx="54483">0</cx:pt>
          <cx:pt idx="54484">0</cx:pt>
          <cx:pt idx="54485">1</cx:pt>
          <cx:pt idx="54486">0</cx:pt>
          <cx:pt idx="54487">0</cx:pt>
          <cx:pt idx="54488">1</cx:pt>
          <cx:pt idx="54489">0</cx:pt>
          <cx:pt idx="54490">1</cx:pt>
          <cx:pt idx="54491">0</cx:pt>
          <cx:pt idx="54492">1</cx:pt>
          <cx:pt idx="54493">0</cx:pt>
          <cx:pt idx="54494">0</cx:pt>
          <cx:pt idx="54495">1</cx:pt>
          <cx:pt idx="54496">0</cx:pt>
          <cx:pt idx="54497">0</cx:pt>
          <cx:pt idx="54498">0</cx:pt>
          <cx:pt idx="54499">1</cx:pt>
          <cx:pt idx="54500">1</cx:pt>
          <cx:pt idx="54501">0</cx:pt>
          <cx:pt idx="54502">0</cx:pt>
          <cx:pt idx="54503">0</cx:pt>
          <cx:pt idx="54504">0</cx:pt>
          <cx:pt idx="54505">0</cx:pt>
          <cx:pt idx="54506">1</cx:pt>
          <cx:pt idx="54507">0</cx:pt>
          <cx:pt idx="54508">1</cx:pt>
          <cx:pt idx="54509">1</cx:pt>
          <cx:pt idx="54510">1</cx:pt>
          <cx:pt idx="54511">0</cx:pt>
          <cx:pt idx="54512">0</cx:pt>
          <cx:pt idx="54513">1</cx:pt>
          <cx:pt idx="54514">0</cx:pt>
          <cx:pt idx="54515">1</cx:pt>
          <cx:pt idx="54516">1</cx:pt>
          <cx:pt idx="54517">0</cx:pt>
          <cx:pt idx="54518">0</cx:pt>
          <cx:pt idx="54519">1</cx:pt>
          <cx:pt idx="54520">0</cx:pt>
          <cx:pt idx="54521">1</cx:pt>
          <cx:pt idx="54522">1</cx:pt>
          <cx:pt idx="54523">1</cx:pt>
          <cx:pt idx="54524">0</cx:pt>
          <cx:pt idx="54525">0</cx:pt>
          <cx:pt idx="54526">0</cx:pt>
          <cx:pt idx="54527">0</cx:pt>
          <cx:pt idx="54528">0</cx:pt>
          <cx:pt idx="54529">0</cx:pt>
          <cx:pt idx="54530">0</cx:pt>
          <cx:pt idx="54531">0</cx:pt>
          <cx:pt idx="54532">0</cx:pt>
          <cx:pt idx="54533">0</cx:pt>
          <cx:pt idx="54534">0</cx:pt>
          <cx:pt idx="54535">1</cx:pt>
          <cx:pt idx="54536">1</cx:pt>
          <cx:pt idx="54537">1</cx:pt>
          <cx:pt idx="54538">1</cx:pt>
          <cx:pt idx="54539">0</cx:pt>
          <cx:pt idx="54540">1</cx:pt>
          <cx:pt idx="54541">0</cx:pt>
          <cx:pt idx="54542">0</cx:pt>
          <cx:pt idx="54543">0</cx:pt>
          <cx:pt idx="54544">0</cx:pt>
          <cx:pt idx="54545">1</cx:pt>
          <cx:pt idx="54546">0</cx:pt>
          <cx:pt idx="54547">0</cx:pt>
          <cx:pt idx="54548">1</cx:pt>
          <cx:pt idx="54549">0</cx:pt>
          <cx:pt idx="54550">1</cx:pt>
          <cx:pt idx="54551">1</cx:pt>
          <cx:pt idx="54552">0</cx:pt>
          <cx:pt idx="54553">1</cx:pt>
          <cx:pt idx="54554">1</cx:pt>
          <cx:pt idx="54555">0</cx:pt>
          <cx:pt idx="54556">1</cx:pt>
          <cx:pt idx="54557">0</cx:pt>
          <cx:pt idx="54558">1</cx:pt>
          <cx:pt idx="54559">1</cx:pt>
          <cx:pt idx="54560">0</cx:pt>
          <cx:pt idx="54561">0</cx:pt>
          <cx:pt idx="54562">0</cx:pt>
          <cx:pt idx="54563">1</cx:pt>
          <cx:pt idx="54564">0</cx:pt>
          <cx:pt idx="54565">1</cx:pt>
          <cx:pt idx="54566">1</cx:pt>
          <cx:pt idx="54567">0</cx:pt>
          <cx:pt idx="54568">0</cx:pt>
          <cx:pt idx="54569">0</cx:pt>
          <cx:pt idx="54570">0</cx:pt>
          <cx:pt idx="54571">1</cx:pt>
          <cx:pt idx="54572">1</cx:pt>
          <cx:pt idx="54573">0</cx:pt>
          <cx:pt idx="54574">0</cx:pt>
          <cx:pt idx="54575">1</cx:pt>
          <cx:pt idx="54576">1</cx:pt>
          <cx:pt idx="54577">0</cx:pt>
          <cx:pt idx="54578">0</cx:pt>
          <cx:pt idx="54579">0</cx:pt>
          <cx:pt idx="54580">0</cx:pt>
          <cx:pt idx="54581">1</cx:pt>
          <cx:pt idx="54582">1</cx:pt>
          <cx:pt idx="54583">0</cx:pt>
          <cx:pt idx="54584">1</cx:pt>
          <cx:pt idx="54585">1</cx:pt>
          <cx:pt idx="54586">1</cx:pt>
          <cx:pt idx="54587">0</cx:pt>
          <cx:pt idx="54588">0</cx:pt>
          <cx:pt idx="54589">1</cx:pt>
          <cx:pt idx="54590">1</cx:pt>
          <cx:pt idx="54591">0</cx:pt>
          <cx:pt idx="54592">0</cx:pt>
          <cx:pt idx="54593">0</cx:pt>
          <cx:pt idx="54594">1</cx:pt>
          <cx:pt idx="54595">0</cx:pt>
          <cx:pt idx="54596">1</cx:pt>
          <cx:pt idx="54597">0</cx:pt>
          <cx:pt idx="54598">1</cx:pt>
          <cx:pt idx="54599">0</cx:pt>
          <cx:pt idx="54600">0</cx:pt>
          <cx:pt idx="54601">0</cx:pt>
          <cx:pt idx="54602">1</cx:pt>
          <cx:pt idx="54603">0</cx:pt>
          <cx:pt idx="54604">1</cx:pt>
          <cx:pt idx="54605">0</cx:pt>
          <cx:pt idx="54606">1</cx:pt>
          <cx:pt idx="54607">0</cx:pt>
          <cx:pt idx="54608">0</cx:pt>
          <cx:pt idx="54609">1</cx:pt>
          <cx:pt idx="54610">0</cx:pt>
          <cx:pt idx="54611">1</cx:pt>
          <cx:pt idx="54612">1</cx:pt>
          <cx:pt idx="54613">1</cx:pt>
          <cx:pt idx="54614">0</cx:pt>
          <cx:pt idx="54615">1</cx:pt>
          <cx:pt idx="54616">1</cx:pt>
          <cx:pt idx="54617">1</cx:pt>
          <cx:pt idx="54618">0</cx:pt>
          <cx:pt idx="54619">1</cx:pt>
          <cx:pt idx="54620">1</cx:pt>
          <cx:pt idx="54621">1</cx:pt>
          <cx:pt idx="54622">0</cx:pt>
          <cx:pt idx="54623">1</cx:pt>
          <cx:pt idx="54624">1</cx:pt>
          <cx:pt idx="54625">1</cx:pt>
          <cx:pt idx="54626">0</cx:pt>
          <cx:pt idx="54627">1</cx:pt>
          <cx:pt idx="54628">1</cx:pt>
          <cx:pt idx="54629">0</cx:pt>
          <cx:pt idx="54630">1</cx:pt>
          <cx:pt idx="54631">1</cx:pt>
          <cx:pt idx="54632">0</cx:pt>
          <cx:pt idx="54633">0</cx:pt>
          <cx:pt idx="54634">1</cx:pt>
          <cx:pt idx="54635">0</cx:pt>
          <cx:pt idx="54636">0</cx:pt>
          <cx:pt idx="54637">0</cx:pt>
          <cx:pt idx="54638">1</cx:pt>
          <cx:pt idx="54639">1</cx:pt>
          <cx:pt idx="54640">0</cx:pt>
          <cx:pt idx="54641">0</cx:pt>
          <cx:pt idx="54642">0</cx:pt>
          <cx:pt idx="54643">1</cx:pt>
          <cx:pt idx="54644">1</cx:pt>
          <cx:pt idx="54645">1</cx:pt>
          <cx:pt idx="54646">1</cx:pt>
          <cx:pt idx="54647">0</cx:pt>
          <cx:pt idx="54648">0</cx:pt>
          <cx:pt idx="54649">1</cx:pt>
          <cx:pt idx="54650">0</cx:pt>
          <cx:pt idx="54651">1</cx:pt>
          <cx:pt idx="54652">0</cx:pt>
          <cx:pt idx="54653">0</cx:pt>
          <cx:pt idx="54654">0</cx:pt>
          <cx:pt idx="54655">0</cx:pt>
          <cx:pt idx="54656">0</cx:pt>
          <cx:pt idx="54657">0</cx:pt>
          <cx:pt idx="54658">1</cx:pt>
          <cx:pt idx="54659">0</cx:pt>
          <cx:pt idx="54660">0</cx:pt>
          <cx:pt idx="54661">0</cx:pt>
          <cx:pt idx="54662">0</cx:pt>
          <cx:pt idx="54663">1</cx:pt>
          <cx:pt idx="54664">0</cx:pt>
          <cx:pt idx="54665">0</cx:pt>
          <cx:pt idx="54666">0</cx:pt>
          <cx:pt idx="54667">0</cx:pt>
          <cx:pt idx="54668">0</cx:pt>
          <cx:pt idx="54669">0</cx:pt>
          <cx:pt idx="54670">0</cx:pt>
          <cx:pt idx="54671">0</cx:pt>
          <cx:pt idx="54672">1</cx:pt>
          <cx:pt idx="54673">0</cx:pt>
          <cx:pt idx="54674">1</cx:pt>
          <cx:pt idx="54675">1</cx:pt>
          <cx:pt idx="54676">1</cx:pt>
          <cx:pt idx="54677">0</cx:pt>
          <cx:pt idx="54678">0</cx:pt>
          <cx:pt idx="54679">0</cx:pt>
          <cx:pt idx="54680">1</cx:pt>
          <cx:pt idx="54681">1</cx:pt>
          <cx:pt idx="54682">0</cx:pt>
          <cx:pt idx="54683">0</cx:pt>
          <cx:pt idx="54684">1</cx:pt>
          <cx:pt idx="54685">0</cx:pt>
          <cx:pt idx="54686">1</cx:pt>
          <cx:pt idx="54687">1</cx:pt>
          <cx:pt idx="54688">1</cx:pt>
          <cx:pt idx="54689">1</cx:pt>
          <cx:pt idx="54690">0</cx:pt>
          <cx:pt idx="54691">0</cx:pt>
          <cx:pt idx="54692">0</cx:pt>
          <cx:pt idx="54693">0</cx:pt>
          <cx:pt idx="54694">1</cx:pt>
          <cx:pt idx="54695">1</cx:pt>
          <cx:pt idx="54696">0</cx:pt>
          <cx:pt idx="54697">1</cx:pt>
          <cx:pt idx="54698">0</cx:pt>
          <cx:pt idx="54699">1</cx:pt>
          <cx:pt idx="54700">1</cx:pt>
          <cx:pt idx="54701">0</cx:pt>
          <cx:pt idx="54702">0</cx:pt>
          <cx:pt idx="54703">0</cx:pt>
          <cx:pt idx="54704">0</cx:pt>
          <cx:pt idx="54705">0</cx:pt>
          <cx:pt idx="54706">1</cx:pt>
          <cx:pt idx="54707">0</cx:pt>
          <cx:pt idx="54708">1</cx:pt>
          <cx:pt idx="54709">1</cx:pt>
          <cx:pt idx="54710">0</cx:pt>
          <cx:pt idx="54711">0</cx:pt>
          <cx:pt idx="54712">1</cx:pt>
          <cx:pt idx="54713">1</cx:pt>
          <cx:pt idx="54714">1</cx:pt>
          <cx:pt idx="54715">1</cx:pt>
          <cx:pt idx="54716">0</cx:pt>
          <cx:pt idx="54717">0</cx:pt>
          <cx:pt idx="54718">1</cx:pt>
          <cx:pt idx="54719">1</cx:pt>
          <cx:pt idx="54720">0</cx:pt>
          <cx:pt idx="54721">0</cx:pt>
          <cx:pt idx="54722">0</cx:pt>
          <cx:pt idx="54723">0</cx:pt>
          <cx:pt idx="54724">1</cx:pt>
          <cx:pt idx="54725">1</cx:pt>
          <cx:pt idx="54726">1</cx:pt>
          <cx:pt idx="54727">1</cx:pt>
          <cx:pt idx="54728">1</cx:pt>
          <cx:pt idx="54729">0</cx:pt>
          <cx:pt idx="54730">1</cx:pt>
          <cx:pt idx="54731">0</cx:pt>
          <cx:pt idx="54732">0</cx:pt>
          <cx:pt idx="54733">1</cx:pt>
          <cx:pt idx="54734">1</cx:pt>
          <cx:pt idx="54735">1</cx:pt>
          <cx:pt idx="54736">1</cx:pt>
          <cx:pt idx="54737">1</cx:pt>
          <cx:pt idx="54738">1</cx:pt>
          <cx:pt idx="54739">1</cx:pt>
          <cx:pt idx="54740">1</cx:pt>
          <cx:pt idx="54741">1</cx:pt>
          <cx:pt idx="54742">0</cx:pt>
          <cx:pt idx="54743">1</cx:pt>
          <cx:pt idx="54744">1</cx:pt>
          <cx:pt idx="54745">1</cx:pt>
          <cx:pt idx="54746">0</cx:pt>
          <cx:pt idx="54747">1</cx:pt>
          <cx:pt idx="54748">0</cx:pt>
          <cx:pt idx="54749">1</cx:pt>
          <cx:pt idx="54750">1</cx:pt>
          <cx:pt idx="54751">0</cx:pt>
          <cx:pt idx="54752">1</cx:pt>
          <cx:pt idx="54753">1</cx:pt>
          <cx:pt idx="54754">1</cx:pt>
          <cx:pt idx="54755">0</cx:pt>
          <cx:pt idx="54756">0</cx:pt>
          <cx:pt idx="54757">0</cx:pt>
          <cx:pt idx="54758">0</cx:pt>
          <cx:pt idx="54759">0</cx:pt>
          <cx:pt idx="54760">1</cx:pt>
          <cx:pt idx="54761">0</cx:pt>
          <cx:pt idx="54762">0</cx:pt>
          <cx:pt idx="54763">1</cx:pt>
          <cx:pt idx="54764">1</cx:pt>
          <cx:pt idx="54765">0</cx:pt>
          <cx:pt idx="54766">0</cx:pt>
          <cx:pt idx="54767">1</cx:pt>
          <cx:pt idx="54768">1</cx:pt>
          <cx:pt idx="54769">0</cx:pt>
          <cx:pt idx="54770">1</cx:pt>
          <cx:pt idx="54771">0</cx:pt>
          <cx:pt idx="54772">1</cx:pt>
          <cx:pt idx="54773">0</cx:pt>
          <cx:pt idx="54774">1</cx:pt>
          <cx:pt idx="54775">0</cx:pt>
          <cx:pt idx="54776">0</cx:pt>
          <cx:pt idx="54777">0</cx:pt>
          <cx:pt idx="54778">1</cx:pt>
          <cx:pt idx="54779">0</cx:pt>
          <cx:pt idx="54780">1</cx:pt>
          <cx:pt idx="54781">0</cx:pt>
          <cx:pt idx="54782">0</cx:pt>
          <cx:pt idx="54783">0</cx:pt>
          <cx:pt idx="54784">1</cx:pt>
          <cx:pt idx="54785">1</cx:pt>
          <cx:pt idx="54786">0</cx:pt>
          <cx:pt idx="54787">1</cx:pt>
          <cx:pt idx="54788">0</cx:pt>
          <cx:pt idx="54789">0</cx:pt>
          <cx:pt idx="54790">1</cx:pt>
          <cx:pt idx="54791">0</cx:pt>
          <cx:pt idx="54792">0</cx:pt>
          <cx:pt idx="54793">0</cx:pt>
          <cx:pt idx="54794">0</cx:pt>
          <cx:pt idx="54795">1</cx:pt>
          <cx:pt idx="54796">0</cx:pt>
          <cx:pt idx="54797">1</cx:pt>
          <cx:pt idx="54798">1</cx:pt>
          <cx:pt idx="54799">1</cx:pt>
          <cx:pt idx="54800">0</cx:pt>
          <cx:pt idx="54801">1</cx:pt>
          <cx:pt idx="54802">0</cx:pt>
          <cx:pt idx="54803">0</cx:pt>
          <cx:pt idx="54804">1</cx:pt>
          <cx:pt idx="54805">1</cx:pt>
          <cx:pt idx="54806">1</cx:pt>
          <cx:pt idx="54807">0</cx:pt>
          <cx:pt idx="54808">0</cx:pt>
          <cx:pt idx="54809">0</cx:pt>
          <cx:pt idx="54810">0</cx:pt>
          <cx:pt idx="54811">0</cx:pt>
          <cx:pt idx="54812">0</cx:pt>
          <cx:pt idx="54813">1</cx:pt>
          <cx:pt idx="54814">0</cx:pt>
          <cx:pt idx="54815">1</cx:pt>
          <cx:pt idx="54816">0</cx:pt>
          <cx:pt idx="54817">0</cx:pt>
          <cx:pt idx="54818">1</cx:pt>
          <cx:pt idx="54819">1</cx:pt>
          <cx:pt idx="54820">1</cx:pt>
          <cx:pt idx="54821">0</cx:pt>
          <cx:pt idx="54822">0</cx:pt>
          <cx:pt idx="54823">0</cx:pt>
          <cx:pt idx="54824">1</cx:pt>
          <cx:pt idx="54825">0</cx:pt>
          <cx:pt idx="54826">1</cx:pt>
          <cx:pt idx="54827">0</cx:pt>
          <cx:pt idx="54828">1</cx:pt>
          <cx:pt idx="54829">0</cx:pt>
          <cx:pt idx="54830">1</cx:pt>
          <cx:pt idx="54831">1</cx:pt>
          <cx:pt idx="54832">1</cx:pt>
          <cx:pt idx="54833">0</cx:pt>
          <cx:pt idx="54834">1</cx:pt>
          <cx:pt idx="54835">1</cx:pt>
          <cx:pt idx="54836">0</cx:pt>
          <cx:pt idx="54837">0</cx:pt>
          <cx:pt idx="54838">1</cx:pt>
          <cx:pt idx="54839">0</cx:pt>
          <cx:pt idx="54840">0</cx:pt>
          <cx:pt idx="54841">0</cx:pt>
          <cx:pt idx="54842">0</cx:pt>
          <cx:pt idx="54843">1</cx:pt>
          <cx:pt idx="54844">0</cx:pt>
          <cx:pt idx="54845">0</cx:pt>
          <cx:pt idx="54846">0</cx:pt>
          <cx:pt idx="54847">0</cx:pt>
          <cx:pt idx="54848">0</cx:pt>
          <cx:pt idx="54849">1</cx:pt>
          <cx:pt idx="54850">0</cx:pt>
          <cx:pt idx="54851">1</cx:pt>
          <cx:pt idx="54852">0</cx:pt>
          <cx:pt idx="54853">1</cx:pt>
          <cx:pt idx="54854">0</cx:pt>
          <cx:pt idx="54855">0</cx:pt>
          <cx:pt idx="54856">0</cx:pt>
          <cx:pt idx="54857">0</cx:pt>
          <cx:pt idx="54858">0</cx:pt>
          <cx:pt idx="54859">1</cx:pt>
          <cx:pt idx="54860">0</cx:pt>
          <cx:pt idx="54861">0</cx:pt>
          <cx:pt idx="54862">0</cx:pt>
          <cx:pt idx="54863">0</cx:pt>
          <cx:pt idx="54864">1</cx:pt>
          <cx:pt idx="54865">0</cx:pt>
          <cx:pt idx="54866">0</cx:pt>
          <cx:pt idx="54867">0</cx:pt>
          <cx:pt idx="54868">0</cx:pt>
          <cx:pt idx="54869">0</cx:pt>
          <cx:pt idx="54870">1</cx:pt>
          <cx:pt idx="54871">0</cx:pt>
          <cx:pt idx="54872">1</cx:pt>
          <cx:pt idx="54873">0</cx:pt>
          <cx:pt idx="54874">0</cx:pt>
          <cx:pt idx="54875">0</cx:pt>
          <cx:pt idx="54876">1</cx:pt>
          <cx:pt idx="54877">0</cx:pt>
          <cx:pt idx="54878">0</cx:pt>
          <cx:pt idx="54879">1</cx:pt>
          <cx:pt idx="54880">0</cx:pt>
          <cx:pt idx="54881">0</cx:pt>
          <cx:pt idx="54882">0</cx:pt>
          <cx:pt idx="54883">0</cx:pt>
          <cx:pt idx="54884">1</cx:pt>
          <cx:pt idx="54885">1</cx:pt>
          <cx:pt idx="54886">0</cx:pt>
          <cx:pt idx="54887">0</cx:pt>
          <cx:pt idx="54888">0</cx:pt>
          <cx:pt idx="54889">1</cx:pt>
          <cx:pt idx="54890">0</cx:pt>
          <cx:pt idx="54891">0</cx:pt>
          <cx:pt idx="54892">1</cx:pt>
          <cx:pt idx="54893">0</cx:pt>
          <cx:pt idx="54894">0</cx:pt>
          <cx:pt idx="54895">1</cx:pt>
          <cx:pt idx="54896">0</cx:pt>
          <cx:pt idx="54897">0</cx:pt>
          <cx:pt idx="54898">0</cx:pt>
          <cx:pt idx="54899">1</cx:pt>
          <cx:pt idx="54900">1</cx:pt>
          <cx:pt idx="54901">0</cx:pt>
          <cx:pt idx="54902">1</cx:pt>
          <cx:pt idx="54903">0</cx:pt>
          <cx:pt idx="54904">1</cx:pt>
          <cx:pt idx="54905">0</cx:pt>
          <cx:pt idx="54906">0</cx:pt>
          <cx:pt idx="54907">0</cx:pt>
          <cx:pt idx="54908">0</cx:pt>
          <cx:pt idx="54909">0</cx:pt>
          <cx:pt idx="54910">1</cx:pt>
          <cx:pt idx="54911">0</cx:pt>
          <cx:pt idx="54912">1</cx:pt>
          <cx:pt idx="54913">1</cx:pt>
          <cx:pt idx="54914">1</cx:pt>
          <cx:pt idx="54915">1</cx:pt>
          <cx:pt idx="54916">1</cx:pt>
          <cx:pt idx="54917">1</cx:pt>
          <cx:pt idx="54918">0</cx:pt>
          <cx:pt idx="54919">1</cx:pt>
          <cx:pt idx="54920">1</cx:pt>
          <cx:pt idx="54921">1</cx:pt>
          <cx:pt idx="54922">1</cx:pt>
          <cx:pt idx="54923">0</cx:pt>
          <cx:pt idx="54924">1</cx:pt>
          <cx:pt idx="54925">1</cx:pt>
          <cx:pt idx="54926">1</cx:pt>
          <cx:pt idx="54927">0</cx:pt>
          <cx:pt idx="54928">0</cx:pt>
          <cx:pt idx="54929">0</cx:pt>
          <cx:pt idx="54930">1</cx:pt>
          <cx:pt idx="54931">1</cx:pt>
          <cx:pt idx="54932">0</cx:pt>
          <cx:pt idx="54933">0</cx:pt>
          <cx:pt idx="54934">0</cx:pt>
          <cx:pt idx="54935">0</cx:pt>
          <cx:pt idx="54936">0</cx:pt>
          <cx:pt idx="54937">0</cx:pt>
          <cx:pt idx="54938">0</cx:pt>
          <cx:pt idx="54939">0</cx:pt>
          <cx:pt idx="54940">1</cx:pt>
          <cx:pt idx="54941">0</cx:pt>
          <cx:pt idx="54942">0</cx:pt>
          <cx:pt idx="54943">0</cx:pt>
          <cx:pt idx="54944">1</cx:pt>
          <cx:pt idx="54945">1</cx:pt>
          <cx:pt idx="54946">1</cx:pt>
          <cx:pt idx="54947">0</cx:pt>
          <cx:pt idx="54948">0</cx:pt>
          <cx:pt idx="54949">1</cx:pt>
          <cx:pt idx="54950">0</cx:pt>
          <cx:pt idx="54951">0</cx:pt>
          <cx:pt idx="54952">1</cx:pt>
          <cx:pt idx="54953">0</cx:pt>
          <cx:pt idx="54954">0</cx:pt>
          <cx:pt idx="54955">0</cx:pt>
          <cx:pt idx="54956">1</cx:pt>
          <cx:pt idx="54957">1</cx:pt>
          <cx:pt idx="54958">1</cx:pt>
          <cx:pt idx="54959">0</cx:pt>
          <cx:pt idx="54960">1</cx:pt>
          <cx:pt idx="54961">0</cx:pt>
          <cx:pt idx="54962">0</cx:pt>
          <cx:pt idx="54963">0</cx:pt>
          <cx:pt idx="54964">1</cx:pt>
          <cx:pt idx="54965">0</cx:pt>
          <cx:pt idx="54966">0</cx:pt>
          <cx:pt idx="54967">0</cx:pt>
          <cx:pt idx="54968">1</cx:pt>
          <cx:pt idx="54969">1</cx:pt>
          <cx:pt idx="54970">0</cx:pt>
          <cx:pt idx="54971">0</cx:pt>
          <cx:pt idx="54972">1</cx:pt>
          <cx:pt idx="54973">0</cx:pt>
          <cx:pt idx="54974">1</cx:pt>
          <cx:pt idx="54975">0</cx:pt>
          <cx:pt idx="54976">0</cx:pt>
          <cx:pt idx="54977">1</cx:pt>
          <cx:pt idx="54978">0</cx:pt>
          <cx:pt idx="54979">0</cx:pt>
          <cx:pt idx="54980">0</cx:pt>
          <cx:pt idx="54981">1</cx:pt>
          <cx:pt idx="54982">1</cx:pt>
          <cx:pt idx="54983">1</cx:pt>
          <cx:pt idx="54984">0</cx:pt>
          <cx:pt idx="54985">1</cx:pt>
          <cx:pt idx="54986">0</cx:pt>
          <cx:pt idx="54987">1</cx:pt>
          <cx:pt idx="54988">1</cx:pt>
          <cx:pt idx="54989">1</cx:pt>
          <cx:pt idx="54990">0</cx:pt>
          <cx:pt idx="54991">1</cx:pt>
          <cx:pt idx="54992">1</cx:pt>
          <cx:pt idx="54993">0</cx:pt>
          <cx:pt idx="54994">0</cx:pt>
          <cx:pt idx="54995">0</cx:pt>
          <cx:pt idx="54996">1</cx:pt>
          <cx:pt idx="54997">0</cx:pt>
          <cx:pt idx="54998">1</cx:pt>
          <cx:pt idx="54999">0</cx:pt>
          <cx:pt idx="55000">0</cx:pt>
          <cx:pt idx="55001">1</cx:pt>
          <cx:pt idx="55002">0</cx:pt>
          <cx:pt idx="55003">0</cx:pt>
          <cx:pt idx="55004">1</cx:pt>
          <cx:pt idx="55005">1</cx:pt>
          <cx:pt idx="55006">0</cx:pt>
          <cx:pt idx="55007">0</cx:pt>
          <cx:pt idx="55008">0</cx:pt>
          <cx:pt idx="55009">0</cx:pt>
          <cx:pt idx="55010">0</cx:pt>
          <cx:pt idx="55011">0</cx:pt>
          <cx:pt idx="55012">1</cx:pt>
          <cx:pt idx="55013">0</cx:pt>
          <cx:pt idx="55014">0</cx:pt>
          <cx:pt idx="55015">0</cx:pt>
          <cx:pt idx="55016">1</cx:pt>
          <cx:pt idx="55017">1</cx:pt>
          <cx:pt idx="55018">1</cx:pt>
          <cx:pt idx="55019">1</cx:pt>
          <cx:pt idx="55020">1</cx:pt>
          <cx:pt idx="55021">1</cx:pt>
          <cx:pt idx="55022">0</cx:pt>
          <cx:pt idx="55023">0</cx:pt>
          <cx:pt idx="55024">1</cx:pt>
          <cx:pt idx="55025">1</cx:pt>
          <cx:pt idx="55026">0</cx:pt>
          <cx:pt idx="55027">0</cx:pt>
          <cx:pt idx="55028">0</cx:pt>
          <cx:pt idx="55029">1</cx:pt>
          <cx:pt idx="55030">1</cx:pt>
          <cx:pt idx="55031">0</cx:pt>
          <cx:pt idx="55032">1</cx:pt>
          <cx:pt idx="55033">0</cx:pt>
          <cx:pt idx="55034">1</cx:pt>
          <cx:pt idx="55035">1</cx:pt>
          <cx:pt idx="55036">1</cx:pt>
          <cx:pt idx="55037">0</cx:pt>
          <cx:pt idx="55038">1</cx:pt>
          <cx:pt idx="55039">1</cx:pt>
          <cx:pt idx="55040">0</cx:pt>
          <cx:pt idx="55041">0</cx:pt>
          <cx:pt idx="55042">0</cx:pt>
          <cx:pt idx="55043">1</cx:pt>
          <cx:pt idx="55044">1</cx:pt>
          <cx:pt idx="55045">1</cx:pt>
          <cx:pt idx="55046">0</cx:pt>
          <cx:pt idx="55047">1</cx:pt>
          <cx:pt idx="55048">0</cx:pt>
          <cx:pt idx="55049">0</cx:pt>
          <cx:pt idx="55050">1</cx:pt>
          <cx:pt idx="55051">0</cx:pt>
          <cx:pt idx="55052">0</cx:pt>
          <cx:pt idx="55053">0</cx:pt>
          <cx:pt idx="55054">0</cx:pt>
          <cx:pt idx="55055">1</cx:pt>
          <cx:pt idx="55056">0</cx:pt>
          <cx:pt idx="55057">1</cx:pt>
          <cx:pt idx="55058">1</cx:pt>
          <cx:pt idx="55059">1</cx:pt>
          <cx:pt idx="55060">0</cx:pt>
          <cx:pt idx="55061">1</cx:pt>
          <cx:pt idx="55062">0</cx:pt>
          <cx:pt idx="55063">1</cx:pt>
          <cx:pt idx="55064">0</cx:pt>
          <cx:pt idx="55065">1</cx:pt>
          <cx:pt idx="55066">0</cx:pt>
          <cx:pt idx="55067">1</cx:pt>
          <cx:pt idx="55068">1</cx:pt>
          <cx:pt idx="55069">0</cx:pt>
          <cx:pt idx="55070">1</cx:pt>
          <cx:pt idx="55071">0</cx:pt>
          <cx:pt idx="55072">1</cx:pt>
          <cx:pt idx="55073">0</cx:pt>
          <cx:pt idx="55074">0</cx:pt>
          <cx:pt idx="55075">0</cx:pt>
          <cx:pt idx="55076">1</cx:pt>
          <cx:pt idx="55077">1</cx:pt>
          <cx:pt idx="55078">0</cx:pt>
          <cx:pt idx="55079">0</cx:pt>
          <cx:pt idx="55080">1</cx:pt>
          <cx:pt idx="55081">0</cx:pt>
          <cx:pt idx="55082">0</cx:pt>
          <cx:pt idx="55083">0</cx:pt>
          <cx:pt idx="55084">1</cx:pt>
          <cx:pt idx="55085">1</cx:pt>
          <cx:pt idx="55086">1</cx:pt>
          <cx:pt idx="55087">0</cx:pt>
          <cx:pt idx="55088">0</cx:pt>
          <cx:pt idx="55089">0</cx:pt>
          <cx:pt idx="55090">0</cx:pt>
          <cx:pt idx="55091">0</cx:pt>
          <cx:pt idx="55092">0</cx:pt>
          <cx:pt idx="55093">0</cx:pt>
          <cx:pt idx="55094">0</cx:pt>
          <cx:pt idx="55095">1</cx:pt>
          <cx:pt idx="55096">0</cx:pt>
          <cx:pt idx="55097">1</cx:pt>
          <cx:pt idx="55098">1</cx:pt>
          <cx:pt idx="55099">0</cx:pt>
          <cx:pt idx="55100">0</cx:pt>
          <cx:pt idx="55101">1</cx:pt>
          <cx:pt idx="55102">0</cx:pt>
          <cx:pt idx="55103">0</cx:pt>
          <cx:pt idx="55104">0</cx:pt>
          <cx:pt idx="55105">0</cx:pt>
          <cx:pt idx="55106">0</cx:pt>
          <cx:pt idx="55107">1</cx:pt>
          <cx:pt idx="55108">1</cx:pt>
          <cx:pt idx="55109">0</cx:pt>
          <cx:pt idx="55110">0</cx:pt>
          <cx:pt idx="55111">0</cx:pt>
          <cx:pt idx="55112">0</cx:pt>
          <cx:pt idx="55113">1</cx:pt>
          <cx:pt idx="55114">0</cx:pt>
          <cx:pt idx="55115">1</cx:pt>
          <cx:pt idx="55116">0</cx:pt>
          <cx:pt idx="55117">0</cx:pt>
          <cx:pt idx="55118">0</cx:pt>
          <cx:pt idx="55119">0</cx:pt>
          <cx:pt idx="55120">0</cx:pt>
          <cx:pt idx="55121">0</cx:pt>
          <cx:pt idx="55122">1</cx:pt>
          <cx:pt idx="55123">1</cx:pt>
          <cx:pt idx="55124">1</cx:pt>
          <cx:pt idx="55125">1</cx:pt>
          <cx:pt idx="55126">0</cx:pt>
          <cx:pt idx="55127">0</cx:pt>
          <cx:pt idx="55128">0</cx:pt>
          <cx:pt idx="55129">1</cx:pt>
          <cx:pt idx="55130">0</cx:pt>
          <cx:pt idx="55131">0</cx:pt>
          <cx:pt idx="55132">0</cx:pt>
          <cx:pt idx="55133">1</cx:pt>
          <cx:pt idx="55134">1</cx:pt>
          <cx:pt idx="55135">0</cx:pt>
          <cx:pt idx="55136">0</cx:pt>
          <cx:pt idx="55137">0</cx:pt>
          <cx:pt idx="55138">0</cx:pt>
          <cx:pt idx="55139">1</cx:pt>
          <cx:pt idx="55140">0</cx:pt>
          <cx:pt idx="55141">1</cx:pt>
          <cx:pt idx="55142">1</cx:pt>
          <cx:pt idx="55143">0</cx:pt>
          <cx:pt idx="55144">1</cx:pt>
          <cx:pt idx="55145">1</cx:pt>
          <cx:pt idx="55146">0</cx:pt>
          <cx:pt idx="55147">0</cx:pt>
          <cx:pt idx="55148">1</cx:pt>
          <cx:pt idx="55149">0</cx:pt>
          <cx:pt idx="55150">0</cx:pt>
          <cx:pt idx="55151">1</cx:pt>
          <cx:pt idx="55152">0</cx:pt>
          <cx:pt idx="55153">0</cx:pt>
          <cx:pt idx="55154">1</cx:pt>
          <cx:pt idx="55155">1</cx:pt>
          <cx:pt idx="55156">0</cx:pt>
          <cx:pt idx="55157">0</cx:pt>
          <cx:pt idx="55158">1</cx:pt>
          <cx:pt idx="55159">0</cx:pt>
          <cx:pt idx="55160">0</cx:pt>
          <cx:pt idx="55161">0</cx:pt>
          <cx:pt idx="55162">1</cx:pt>
          <cx:pt idx="55163">1</cx:pt>
          <cx:pt idx="55164">0</cx:pt>
          <cx:pt idx="55165">1</cx:pt>
          <cx:pt idx="55166">0</cx:pt>
          <cx:pt idx="55167">0</cx:pt>
          <cx:pt idx="55168">1</cx:pt>
          <cx:pt idx="55169">0</cx:pt>
          <cx:pt idx="55170">1</cx:pt>
          <cx:pt idx="55171">1</cx:pt>
          <cx:pt idx="55172">0</cx:pt>
          <cx:pt idx="55173">1</cx:pt>
          <cx:pt idx="55174">1</cx:pt>
          <cx:pt idx="55175">0</cx:pt>
          <cx:pt idx="55176">1</cx:pt>
          <cx:pt idx="55177">0</cx:pt>
          <cx:pt idx="55178">0</cx:pt>
          <cx:pt idx="55179">0</cx:pt>
          <cx:pt idx="55180">0</cx:pt>
          <cx:pt idx="55181">0</cx:pt>
          <cx:pt idx="55182">0</cx:pt>
          <cx:pt idx="55183">0</cx:pt>
          <cx:pt idx="55184">0</cx:pt>
          <cx:pt idx="55185">1</cx:pt>
          <cx:pt idx="55186">1</cx:pt>
          <cx:pt idx="55187">1</cx:pt>
          <cx:pt idx="55188">0</cx:pt>
          <cx:pt idx="55189">1</cx:pt>
          <cx:pt idx="55190">0</cx:pt>
          <cx:pt idx="55191">0</cx:pt>
          <cx:pt idx="55192">0</cx:pt>
          <cx:pt idx="55193">0</cx:pt>
          <cx:pt idx="55194">1</cx:pt>
          <cx:pt idx="55195">0</cx:pt>
          <cx:pt idx="55196">0</cx:pt>
          <cx:pt idx="55197">1</cx:pt>
          <cx:pt idx="55198">1</cx:pt>
          <cx:pt idx="55199">0</cx:pt>
          <cx:pt idx="55200">1</cx:pt>
          <cx:pt idx="55201">0</cx:pt>
          <cx:pt idx="55202">0</cx:pt>
          <cx:pt idx="55203">0</cx:pt>
          <cx:pt idx="55204">0</cx:pt>
          <cx:pt idx="55205">0</cx:pt>
          <cx:pt idx="55206">0</cx:pt>
          <cx:pt idx="55207">0</cx:pt>
          <cx:pt idx="55208">0</cx:pt>
          <cx:pt idx="55209">0</cx:pt>
          <cx:pt idx="55210">1</cx:pt>
          <cx:pt idx="55211">0</cx:pt>
          <cx:pt idx="55212">1</cx:pt>
          <cx:pt idx="55213">0</cx:pt>
          <cx:pt idx="55214">1</cx:pt>
          <cx:pt idx="55215">0</cx:pt>
          <cx:pt idx="55216">1</cx:pt>
          <cx:pt idx="55217">1</cx:pt>
          <cx:pt idx="55218">1</cx:pt>
          <cx:pt idx="55219">1</cx:pt>
          <cx:pt idx="55220">1</cx:pt>
          <cx:pt idx="55221">0</cx:pt>
          <cx:pt idx="55222">1</cx:pt>
          <cx:pt idx="55223">0</cx:pt>
          <cx:pt idx="55224">0</cx:pt>
          <cx:pt idx="55225">0</cx:pt>
          <cx:pt idx="55226">1</cx:pt>
          <cx:pt idx="55227">1</cx:pt>
          <cx:pt idx="55228">0</cx:pt>
          <cx:pt idx="55229">1</cx:pt>
          <cx:pt idx="55230">0</cx:pt>
          <cx:pt idx="55231">0</cx:pt>
          <cx:pt idx="55232">0</cx:pt>
          <cx:pt idx="55233">0</cx:pt>
          <cx:pt idx="55234">1</cx:pt>
          <cx:pt idx="55235">1</cx:pt>
          <cx:pt idx="55236">1</cx:pt>
          <cx:pt idx="55237">0</cx:pt>
          <cx:pt idx="55238">1</cx:pt>
          <cx:pt idx="55239">0</cx:pt>
          <cx:pt idx="55240">1</cx:pt>
          <cx:pt idx="55241">1</cx:pt>
          <cx:pt idx="55242">0</cx:pt>
          <cx:pt idx="55243">0</cx:pt>
          <cx:pt idx="55244">0</cx:pt>
          <cx:pt idx="55245">0</cx:pt>
          <cx:pt idx="55246">1</cx:pt>
          <cx:pt idx="55247">0</cx:pt>
          <cx:pt idx="55248">0</cx:pt>
          <cx:pt idx="55249">0</cx:pt>
          <cx:pt idx="55250">0</cx:pt>
          <cx:pt idx="55251">0</cx:pt>
          <cx:pt idx="55252">0</cx:pt>
          <cx:pt idx="55253">0</cx:pt>
          <cx:pt idx="55254">1</cx:pt>
          <cx:pt idx="55255">1</cx:pt>
          <cx:pt idx="55256">1</cx:pt>
          <cx:pt idx="55257">0</cx:pt>
          <cx:pt idx="55258">0</cx:pt>
          <cx:pt idx="55259">1</cx:pt>
          <cx:pt idx="55260">0</cx:pt>
          <cx:pt idx="55261">1</cx:pt>
          <cx:pt idx="55262">1</cx:pt>
          <cx:pt idx="55263">0</cx:pt>
          <cx:pt idx="55264">1</cx:pt>
          <cx:pt idx="55265">1</cx:pt>
          <cx:pt idx="55266">0</cx:pt>
          <cx:pt idx="55267">1</cx:pt>
          <cx:pt idx="55268">0</cx:pt>
          <cx:pt idx="55269">0</cx:pt>
          <cx:pt idx="55270">1</cx:pt>
          <cx:pt idx="55271">0</cx:pt>
          <cx:pt idx="55272">0</cx:pt>
          <cx:pt idx="55273">1</cx:pt>
          <cx:pt idx="55274">0</cx:pt>
          <cx:pt idx="55275">1</cx:pt>
          <cx:pt idx="55276">1</cx:pt>
          <cx:pt idx="55277">1</cx:pt>
          <cx:pt idx="55278">0</cx:pt>
          <cx:pt idx="55279">1</cx:pt>
          <cx:pt idx="55280">0</cx:pt>
          <cx:pt idx="55281">1</cx:pt>
          <cx:pt idx="55282">1</cx:pt>
          <cx:pt idx="55283">1</cx:pt>
          <cx:pt idx="55284">1</cx:pt>
          <cx:pt idx="55285">0</cx:pt>
          <cx:pt idx="55286">0</cx:pt>
          <cx:pt idx="55287">0</cx:pt>
          <cx:pt idx="55288">1</cx:pt>
          <cx:pt idx="55289">0</cx:pt>
          <cx:pt idx="55290">0</cx:pt>
          <cx:pt idx="55291">0</cx:pt>
          <cx:pt idx="55292">1</cx:pt>
          <cx:pt idx="55293">1</cx:pt>
          <cx:pt idx="55294">0</cx:pt>
          <cx:pt idx="55295">1</cx:pt>
          <cx:pt idx="55296">0</cx:pt>
          <cx:pt idx="55297">1</cx:pt>
          <cx:pt idx="55298">0</cx:pt>
          <cx:pt idx="55299">0</cx:pt>
          <cx:pt idx="55300">0</cx:pt>
          <cx:pt idx="55301">1</cx:pt>
          <cx:pt idx="55302">1</cx:pt>
          <cx:pt idx="55303">0</cx:pt>
          <cx:pt idx="55304">1</cx:pt>
          <cx:pt idx="55305">1</cx:pt>
          <cx:pt idx="55306">0</cx:pt>
          <cx:pt idx="55307">0</cx:pt>
          <cx:pt idx="55308">0</cx:pt>
          <cx:pt idx="55309">1</cx:pt>
          <cx:pt idx="55310">1</cx:pt>
          <cx:pt idx="55311">0</cx:pt>
          <cx:pt idx="55312">0</cx:pt>
          <cx:pt idx="55313">1</cx:pt>
          <cx:pt idx="55314">1</cx:pt>
          <cx:pt idx="55315">0</cx:pt>
          <cx:pt idx="55316">0</cx:pt>
          <cx:pt idx="55317">1</cx:pt>
          <cx:pt idx="55318">0</cx:pt>
          <cx:pt idx="55319">0</cx:pt>
          <cx:pt idx="55320">0</cx:pt>
          <cx:pt idx="55321">0</cx:pt>
          <cx:pt idx="55322">0</cx:pt>
          <cx:pt idx="55323">1</cx:pt>
          <cx:pt idx="55324">0</cx:pt>
          <cx:pt idx="55325">1</cx:pt>
          <cx:pt idx="55326">0</cx:pt>
          <cx:pt idx="55327">1</cx:pt>
          <cx:pt idx="55328">0</cx:pt>
          <cx:pt idx="55329">1</cx:pt>
          <cx:pt idx="55330">1</cx:pt>
          <cx:pt idx="55331">1</cx:pt>
          <cx:pt idx="55332">0</cx:pt>
          <cx:pt idx="55333">1</cx:pt>
          <cx:pt idx="55334">1</cx:pt>
          <cx:pt idx="55335">1</cx:pt>
          <cx:pt idx="55336">1</cx:pt>
          <cx:pt idx="55337">0</cx:pt>
          <cx:pt idx="55338">1</cx:pt>
          <cx:pt idx="55339">0</cx:pt>
          <cx:pt idx="55340">0</cx:pt>
          <cx:pt idx="55341">1</cx:pt>
          <cx:pt idx="55342">0</cx:pt>
          <cx:pt idx="55343">1</cx:pt>
          <cx:pt idx="55344">0</cx:pt>
          <cx:pt idx="55345">0</cx:pt>
          <cx:pt idx="55346">0</cx:pt>
          <cx:pt idx="55347">0</cx:pt>
          <cx:pt idx="55348">1</cx:pt>
          <cx:pt idx="55349">1</cx:pt>
          <cx:pt idx="55350">0</cx:pt>
          <cx:pt idx="55351">1</cx:pt>
          <cx:pt idx="55352">0</cx:pt>
          <cx:pt idx="55353">1</cx:pt>
          <cx:pt idx="55354">1</cx:pt>
          <cx:pt idx="55355">0</cx:pt>
          <cx:pt idx="55356">0</cx:pt>
          <cx:pt idx="55357">1</cx:pt>
          <cx:pt idx="55358">0</cx:pt>
          <cx:pt idx="55359">1</cx:pt>
          <cx:pt idx="55360">0</cx:pt>
          <cx:pt idx="55361">0</cx:pt>
          <cx:pt idx="55362">0</cx:pt>
          <cx:pt idx="55363">0</cx:pt>
          <cx:pt idx="55364">1</cx:pt>
          <cx:pt idx="55365">0</cx:pt>
          <cx:pt idx="55366">0</cx:pt>
          <cx:pt idx="55367">0</cx:pt>
          <cx:pt idx="55368">1</cx:pt>
          <cx:pt idx="55369">0</cx:pt>
          <cx:pt idx="55370">0</cx:pt>
          <cx:pt idx="55371">1</cx:pt>
          <cx:pt idx="55372">1</cx:pt>
          <cx:pt idx="55373">0</cx:pt>
          <cx:pt idx="55374">0</cx:pt>
          <cx:pt idx="55375">1</cx:pt>
          <cx:pt idx="55376">0</cx:pt>
          <cx:pt idx="55377">1</cx:pt>
          <cx:pt idx="55378">0</cx:pt>
          <cx:pt idx="55379">1</cx:pt>
          <cx:pt idx="55380">0</cx:pt>
          <cx:pt idx="55381">1</cx:pt>
          <cx:pt idx="55382">0</cx:pt>
          <cx:pt idx="55383">1</cx:pt>
          <cx:pt idx="55384">0</cx:pt>
          <cx:pt idx="55385">0</cx:pt>
          <cx:pt idx="55386">1</cx:pt>
          <cx:pt idx="55387">0</cx:pt>
          <cx:pt idx="55388">1</cx:pt>
          <cx:pt idx="55389">1</cx:pt>
          <cx:pt idx="55390">0</cx:pt>
          <cx:pt idx="55391">0</cx:pt>
          <cx:pt idx="55392">1</cx:pt>
          <cx:pt idx="55393">0</cx:pt>
          <cx:pt idx="55394">1</cx:pt>
          <cx:pt idx="55395">0</cx:pt>
          <cx:pt idx="55396">1</cx:pt>
          <cx:pt idx="55397">1</cx:pt>
          <cx:pt idx="55398">0</cx:pt>
          <cx:pt idx="55399">1</cx:pt>
          <cx:pt idx="55400">1</cx:pt>
          <cx:pt idx="55401">0</cx:pt>
          <cx:pt idx="55402">0</cx:pt>
          <cx:pt idx="55403">0</cx:pt>
          <cx:pt idx="55404">1</cx:pt>
          <cx:pt idx="55405">0</cx:pt>
          <cx:pt idx="55406">1</cx:pt>
          <cx:pt idx="55407">0</cx:pt>
          <cx:pt idx="55408">0</cx:pt>
          <cx:pt idx="55409">0</cx:pt>
          <cx:pt idx="55410">1</cx:pt>
          <cx:pt idx="55411">0</cx:pt>
          <cx:pt idx="55412">1</cx:pt>
          <cx:pt idx="55413">1</cx:pt>
          <cx:pt idx="55414">1</cx:pt>
          <cx:pt idx="55415">0</cx:pt>
          <cx:pt idx="55416">0</cx:pt>
          <cx:pt idx="55417">0</cx:pt>
          <cx:pt idx="55418">1</cx:pt>
          <cx:pt idx="55419">0</cx:pt>
          <cx:pt idx="55420">0</cx:pt>
          <cx:pt idx="55421">0</cx:pt>
          <cx:pt idx="55422">0</cx:pt>
          <cx:pt idx="55423">1</cx:pt>
          <cx:pt idx="55424">0</cx:pt>
          <cx:pt idx="55425">1</cx:pt>
          <cx:pt idx="55426">1</cx:pt>
          <cx:pt idx="55427">1</cx:pt>
          <cx:pt idx="55428">0</cx:pt>
          <cx:pt idx="55429">0</cx:pt>
          <cx:pt idx="55430">1</cx:pt>
          <cx:pt idx="55431">0</cx:pt>
          <cx:pt idx="55432">1</cx:pt>
          <cx:pt idx="55433">0</cx:pt>
          <cx:pt idx="55434">0</cx:pt>
          <cx:pt idx="55435">1</cx:pt>
          <cx:pt idx="55436">0</cx:pt>
          <cx:pt idx="55437">0</cx:pt>
          <cx:pt idx="55438">0</cx:pt>
          <cx:pt idx="55439">0</cx:pt>
          <cx:pt idx="55440">0</cx:pt>
          <cx:pt idx="55441">0</cx:pt>
          <cx:pt idx="55442">0</cx:pt>
          <cx:pt idx="55443">0</cx:pt>
          <cx:pt idx="55444">0</cx:pt>
          <cx:pt idx="55445">0</cx:pt>
          <cx:pt idx="55446">0</cx:pt>
          <cx:pt idx="55447">1</cx:pt>
          <cx:pt idx="55448">0</cx:pt>
          <cx:pt idx="55449">1</cx:pt>
          <cx:pt idx="55450">1</cx:pt>
          <cx:pt idx="55451">0</cx:pt>
          <cx:pt idx="55452">0</cx:pt>
          <cx:pt idx="55453">0</cx:pt>
          <cx:pt idx="55454">0</cx:pt>
          <cx:pt idx="55455">0</cx:pt>
          <cx:pt idx="55456">0</cx:pt>
          <cx:pt idx="55457">0</cx:pt>
          <cx:pt idx="55458">0</cx:pt>
          <cx:pt idx="55459">0</cx:pt>
          <cx:pt idx="55460">0</cx:pt>
          <cx:pt idx="55461">1</cx:pt>
          <cx:pt idx="55462">1</cx:pt>
          <cx:pt idx="55463">1</cx:pt>
          <cx:pt idx="55464">1</cx:pt>
          <cx:pt idx="55465">0</cx:pt>
          <cx:pt idx="55466">1</cx:pt>
          <cx:pt idx="55467">0</cx:pt>
          <cx:pt idx="55468">1</cx:pt>
          <cx:pt idx="55469">1</cx:pt>
          <cx:pt idx="55470">0</cx:pt>
          <cx:pt idx="55471">1</cx:pt>
          <cx:pt idx="55472">0</cx:pt>
          <cx:pt idx="55473">0</cx:pt>
          <cx:pt idx="55474">1</cx:pt>
          <cx:pt idx="55475">1</cx:pt>
          <cx:pt idx="55476">0</cx:pt>
          <cx:pt idx="55477">1</cx:pt>
          <cx:pt idx="55478">0</cx:pt>
          <cx:pt idx="55479">1</cx:pt>
          <cx:pt idx="55480">0</cx:pt>
          <cx:pt idx="55481">1</cx:pt>
          <cx:pt idx="55482">1</cx:pt>
          <cx:pt idx="55483">0</cx:pt>
          <cx:pt idx="55484">1</cx:pt>
          <cx:pt idx="55485">0</cx:pt>
          <cx:pt idx="55486">0</cx:pt>
          <cx:pt idx="55487">0</cx:pt>
          <cx:pt idx="55488">1</cx:pt>
          <cx:pt idx="55489">0</cx:pt>
          <cx:pt idx="55490">0</cx:pt>
          <cx:pt idx="55491">0</cx:pt>
          <cx:pt idx="55492">0</cx:pt>
          <cx:pt idx="55493">0</cx:pt>
          <cx:pt idx="55494">0</cx:pt>
          <cx:pt idx="55495">1</cx:pt>
          <cx:pt idx="55496">1</cx:pt>
          <cx:pt idx="55497">0</cx:pt>
          <cx:pt idx="55498">1</cx:pt>
          <cx:pt idx="55499">0</cx:pt>
          <cx:pt idx="55500">1</cx:pt>
          <cx:pt idx="55501">0</cx:pt>
          <cx:pt idx="55502">0</cx:pt>
          <cx:pt idx="55503">0</cx:pt>
          <cx:pt idx="55504">0</cx:pt>
          <cx:pt idx="55505">0</cx:pt>
          <cx:pt idx="55506">0</cx:pt>
          <cx:pt idx="55507">1</cx:pt>
          <cx:pt idx="55508">0</cx:pt>
          <cx:pt idx="55509">0</cx:pt>
          <cx:pt idx="55510">1</cx:pt>
          <cx:pt idx="55511">1</cx:pt>
          <cx:pt idx="55512">0</cx:pt>
          <cx:pt idx="55513">0</cx:pt>
          <cx:pt idx="55514">1</cx:pt>
          <cx:pt idx="55515">0</cx:pt>
          <cx:pt idx="55516">1</cx:pt>
          <cx:pt idx="55517">1</cx:pt>
          <cx:pt idx="55518">1</cx:pt>
          <cx:pt idx="55519">1</cx:pt>
          <cx:pt idx="55520">1</cx:pt>
          <cx:pt idx="55521">0</cx:pt>
          <cx:pt idx="55522">0</cx:pt>
          <cx:pt idx="55523">0</cx:pt>
          <cx:pt idx="55524">1</cx:pt>
          <cx:pt idx="55525">1</cx:pt>
          <cx:pt idx="55526">0</cx:pt>
          <cx:pt idx="55527">1</cx:pt>
          <cx:pt idx="55528">0</cx:pt>
          <cx:pt idx="55529">1</cx:pt>
          <cx:pt idx="55530">0</cx:pt>
          <cx:pt idx="55531">0</cx:pt>
          <cx:pt idx="55532">1</cx:pt>
          <cx:pt idx="55533">0</cx:pt>
          <cx:pt idx="55534">1</cx:pt>
          <cx:pt idx="55535">0</cx:pt>
          <cx:pt idx="55536">0</cx:pt>
          <cx:pt idx="55537">0</cx:pt>
          <cx:pt idx="55538">0</cx:pt>
          <cx:pt idx="55539">0</cx:pt>
          <cx:pt idx="55540">1</cx:pt>
          <cx:pt idx="55541">1</cx:pt>
          <cx:pt idx="55542">1</cx:pt>
          <cx:pt idx="55543">0</cx:pt>
          <cx:pt idx="55544">1</cx:pt>
          <cx:pt idx="55545">0</cx:pt>
          <cx:pt idx="55546">1</cx:pt>
          <cx:pt idx="55547">1</cx:pt>
          <cx:pt idx="55548">0</cx:pt>
          <cx:pt idx="55549">0</cx:pt>
          <cx:pt idx="55550">1</cx:pt>
          <cx:pt idx="55551">0</cx:pt>
          <cx:pt idx="55552">0</cx:pt>
          <cx:pt idx="55553">0</cx:pt>
          <cx:pt idx="55554">1</cx:pt>
          <cx:pt idx="55555">0</cx:pt>
          <cx:pt idx="55556">0</cx:pt>
          <cx:pt idx="55557">0</cx:pt>
          <cx:pt idx="55558">1</cx:pt>
          <cx:pt idx="55559">1</cx:pt>
          <cx:pt idx="55560">0</cx:pt>
          <cx:pt idx="55561">1</cx:pt>
          <cx:pt idx="55562">0</cx:pt>
          <cx:pt idx="55563">1</cx:pt>
          <cx:pt idx="55564">1</cx:pt>
          <cx:pt idx="55565">1</cx:pt>
          <cx:pt idx="55566">1</cx:pt>
          <cx:pt idx="55567">0</cx:pt>
          <cx:pt idx="55568">1</cx:pt>
          <cx:pt idx="55569">0</cx:pt>
          <cx:pt idx="55570">0</cx:pt>
          <cx:pt idx="55571">0</cx:pt>
          <cx:pt idx="55572">0</cx:pt>
          <cx:pt idx="55573">1</cx:pt>
          <cx:pt idx="55574">0</cx:pt>
          <cx:pt idx="55575">1</cx:pt>
          <cx:pt idx="55576">1</cx:pt>
          <cx:pt idx="55577">1</cx:pt>
          <cx:pt idx="55578">1</cx:pt>
          <cx:pt idx="55579">1</cx:pt>
          <cx:pt idx="55580">0</cx:pt>
          <cx:pt idx="55581">0</cx:pt>
          <cx:pt idx="55582">0</cx:pt>
          <cx:pt idx="55583">0</cx:pt>
          <cx:pt idx="55584">0</cx:pt>
          <cx:pt idx="55585">1</cx:pt>
          <cx:pt idx="55586">0</cx:pt>
          <cx:pt idx="55587">0</cx:pt>
          <cx:pt idx="55588">0</cx:pt>
          <cx:pt idx="55589">0</cx:pt>
          <cx:pt idx="55590">0</cx:pt>
          <cx:pt idx="55591">1</cx:pt>
          <cx:pt idx="55592">0</cx:pt>
          <cx:pt idx="55593">0</cx:pt>
          <cx:pt idx="55594">0</cx:pt>
          <cx:pt idx="55595">0</cx:pt>
          <cx:pt idx="55596">0</cx:pt>
          <cx:pt idx="55597">0</cx:pt>
          <cx:pt idx="55598">1</cx:pt>
          <cx:pt idx="55599">1</cx:pt>
          <cx:pt idx="55600">1</cx:pt>
          <cx:pt idx="55601">1</cx:pt>
          <cx:pt idx="55602">0</cx:pt>
          <cx:pt idx="55603">0</cx:pt>
          <cx:pt idx="55604">0</cx:pt>
          <cx:pt idx="55605">1</cx:pt>
          <cx:pt idx="55606">0</cx:pt>
          <cx:pt idx="55607">1</cx:pt>
          <cx:pt idx="55608">1</cx:pt>
          <cx:pt idx="55609">1</cx:pt>
          <cx:pt idx="55610">0</cx:pt>
          <cx:pt idx="55611">1</cx:pt>
          <cx:pt idx="55612">1</cx:pt>
          <cx:pt idx="55613">0</cx:pt>
          <cx:pt idx="55614">0</cx:pt>
          <cx:pt idx="55615">1</cx:pt>
          <cx:pt idx="55616">1</cx:pt>
          <cx:pt idx="55617">0</cx:pt>
          <cx:pt idx="55618">0</cx:pt>
          <cx:pt idx="55619">0</cx:pt>
          <cx:pt idx="55620">0</cx:pt>
          <cx:pt idx="55621">1</cx:pt>
          <cx:pt idx="55622">0</cx:pt>
          <cx:pt idx="55623">1</cx:pt>
          <cx:pt idx="55624">0</cx:pt>
          <cx:pt idx="55625">0</cx:pt>
          <cx:pt idx="55626">0</cx:pt>
          <cx:pt idx="55627">0</cx:pt>
          <cx:pt idx="55628">1</cx:pt>
          <cx:pt idx="55629">1</cx:pt>
          <cx:pt idx="55630">0</cx:pt>
          <cx:pt idx="55631">0</cx:pt>
          <cx:pt idx="55632">1</cx:pt>
          <cx:pt idx="55633">0</cx:pt>
          <cx:pt idx="55634">0</cx:pt>
          <cx:pt idx="55635">1</cx:pt>
          <cx:pt idx="55636">1</cx:pt>
          <cx:pt idx="55637">1</cx:pt>
          <cx:pt idx="55638">0</cx:pt>
          <cx:pt idx="55639">0</cx:pt>
          <cx:pt idx="55640">0</cx:pt>
          <cx:pt idx="55641">0</cx:pt>
          <cx:pt idx="55642">1</cx:pt>
          <cx:pt idx="55643">0</cx:pt>
          <cx:pt idx="55644">0</cx:pt>
          <cx:pt idx="55645">1</cx:pt>
          <cx:pt idx="55646">1</cx:pt>
          <cx:pt idx="55647">1</cx:pt>
          <cx:pt idx="55648">1</cx:pt>
          <cx:pt idx="55649">0</cx:pt>
          <cx:pt idx="55650">1</cx:pt>
          <cx:pt idx="55651">1</cx:pt>
          <cx:pt idx="55652">0</cx:pt>
          <cx:pt idx="55653">0</cx:pt>
          <cx:pt idx="55654">1</cx:pt>
          <cx:pt idx="55655">1</cx:pt>
          <cx:pt idx="55656">1</cx:pt>
          <cx:pt idx="55657">0</cx:pt>
          <cx:pt idx="55658">0</cx:pt>
          <cx:pt idx="55659">1</cx:pt>
          <cx:pt idx="55660">0</cx:pt>
          <cx:pt idx="55661">0</cx:pt>
          <cx:pt idx="55662">0</cx:pt>
          <cx:pt idx="55663">1</cx:pt>
          <cx:pt idx="55664">1</cx:pt>
          <cx:pt idx="55665">0</cx:pt>
          <cx:pt idx="55666">1</cx:pt>
          <cx:pt idx="55667">0</cx:pt>
          <cx:pt idx="55668">0</cx:pt>
          <cx:pt idx="55669">1</cx:pt>
          <cx:pt idx="55670">1</cx:pt>
          <cx:pt idx="55671">0</cx:pt>
          <cx:pt idx="55672">1</cx:pt>
          <cx:pt idx="55673">1</cx:pt>
          <cx:pt idx="55674">1</cx:pt>
          <cx:pt idx="55675">0</cx:pt>
          <cx:pt idx="55676">0</cx:pt>
          <cx:pt idx="55677">1</cx:pt>
          <cx:pt idx="55678">1</cx:pt>
          <cx:pt idx="55679">0</cx:pt>
          <cx:pt idx="55680">0</cx:pt>
          <cx:pt idx="55681">1</cx:pt>
          <cx:pt idx="55682">1</cx:pt>
          <cx:pt idx="55683">0</cx:pt>
          <cx:pt idx="55684">1</cx:pt>
          <cx:pt idx="55685">0</cx:pt>
          <cx:pt idx="55686">0</cx:pt>
          <cx:pt idx="55687">0</cx:pt>
          <cx:pt idx="55688">1</cx:pt>
          <cx:pt idx="55689">1</cx:pt>
          <cx:pt idx="55690">0</cx:pt>
          <cx:pt idx="55691">0</cx:pt>
          <cx:pt idx="55692">0</cx:pt>
          <cx:pt idx="55693">0</cx:pt>
          <cx:pt idx="55694">0</cx:pt>
          <cx:pt idx="55695">0</cx:pt>
          <cx:pt idx="55696">0</cx:pt>
          <cx:pt idx="55697">0</cx:pt>
          <cx:pt idx="55698">0</cx:pt>
          <cx:pt idx="55699">0</cx:pt>
          <cx:pt idx="55700">0</cx:pt>
          <cx:pt idx="55701">1</cx:pt>
          <cx:pt idx="55702">0</cx:pt>
          <cx:pt idx="55703">0</cx:pt>
          <cx:pt idx="55704">1</cx:pt>
          <cx:pt idx="55705">0</cx:pt>
          <cx:pt idx="55706">0</cx:pt>
          <cx:pt idx="55707">0</cx:pt>
          <cx:pt idx="55708">1</cx:pt>
          <cx:pt idx="55709">0</cx:pt>
          <cx:pt idx="55710">1</cx:pt>
          <cx:pt idx="55711">1</cx:pt>
          <cx:pt idx="55712">1</cx:pt>
          <cx:pt idx="55713">0</cx:pt>
          <cx:pt idx="55714">1</cx:pt>
          <cx:pt idx="55715">0</cx:pt>
          <cx:pt idx="55716">0</cx:pt>
          <cx:pt idx="55717">0</cx:pt>
          <cx:pt idx="55718">1</cx:pt>
          <cx:pt idx="55719">1</cx:pt>
          <cx:pt idx="55720">1</cx:pt>
          <cx:pt idx="55721">1</cx:pt>
          <cx:pt idx="55722">0</cx:pt>
          <cx:pt idx="55723">1</cx:pt>
          <cx:pt idx="55724">0</cx:pt>
          <cx:pt idx="55725">0</cx:pt>
          <cx:pt idx="55726">0</cx:pt>
          <cx:pt idx="55727">0</cx:pt>
          <cx:pt idx="55728">1</cx:pt>
          <cx:pt idx="55729">0</cx:pt>
          <cx:pt idx="55730">0</cx:pt>
          <cx:pt idx="55731">0</cx:pt>
          <cx:pt idx="55732">1</cx:pt>
          <cx:pt idx="55733">0</cx:pt>
          <cx:pt idx="55734">0</cx:pt>
          <cx:pt idx="55735">1</cx:pt>
          <cx:pt idx="55736">1</cx:pt>
          <cx:pt idx="55737">1</cx:pt>
          <cx:pt idx="55738">1</cx:pt>
          <cx:pt idx="55739">0</cx:pt>
          <cx:pt idx="55740">0</cx:pt>
          <cx:pt idx="55741">0</cx:pt>
          <cx:pt idx="55742">0</cx:pt>
          <cx:pt idx="55743">1</cx:pt>
          <cx:pt idx="55744">0</cx:pt>
          <cx:pt idx="55745">0</cx:pt>
          <cx:pt idx="55746">1</cx:pt>
          <cx:pt idx="55747">0</cx:pt>
          <cx:pt idx="55748">1</cx:pt>
          <cx:pt idx="55749">0</cx:pt>
          <cx:pt idx="55750">0</cx:pt>
          <cx:pt idx="55751">0</cx:pt>
          <cx:pt idx="55752">0</cx:pt>
          <cx:pt idx="55753">1</cx:pt>
          <cx:pt idx="55754">1</cx:pt>
          <cx:pt idx="55755">0</cx:pt>
          <cx:pt idx="55756">1</cx:pt>
          <cx:pt idx="55757">1</cx:pt>
          <cx:pt idx="55758">1</cx:pt>
          <cx:pt idx="55759">1</cx:pt>
          <cx:pt idx="55760">0</cx:pt>
          <cx:pt idx="55761">0</cx:pt>
          <cx:pt idx="55762">0</cx:pt>
          <cx:pt idx="55763">1</cx:pt>
          <cx:pt idx="55764">1</cx:pt>
          <cx:pt idx="55765">0</cx:pt>
          <cx:pt idx="55766">1</cx:pt>
          <cx:pt idx="55767">0</cx:pt>
          <cx:pt idx="55768">0</cx:pt>
          <cx:pt idx="55769">1</cx:pt>
          <cx:pt idx="55770">0</cx:pt>
          <cx:pt idx="55771">0</cx:pt>
          <cx:pt idx="55772">1</cx:pt>
          <cx:pt idx="55773">1</cx:pt>
          <cx:pt idx="55774">1</cx:pt>
          <cx:pt idx="55775">0</cx:pt>
          <cx:pt idx="55776">1</cx:pt>
          <cx:pt idx="55777">1</cx:pt>
          <cx:pt idx="55778">1</cx:pt>
          <cx:pt idx="55779">0</cx:pt>
          <cx:pt idx="55780">0</cx:pt>
          <cx:pt idx="55781">0</cx:pt>
          <cx:pt idx="55782">0</cx:pt>
          <cx:pt idx="55783">0</cx:pt>
          <cx:pt idx="55784">0</cx:pt>
          <cx:pt idx="55785">1</cx:pt>
          <cx:pt idx="55786">1</cx:pt>
          <cx:pt idx="55787">0</cx:pt>
          <cx:pt idx="55788">0</cx:pt>
          <cx:pt idx="55789">0</cx:pt>
          <cx:pt idx="55790">1</cx:pt>
          <cx:pt idx="55791">1</cx:pt>
          <cx:pt idx="55792">1</cx:pt>
          <cx:pt idx="55793">1</cx:pt>
          <cx:pt idx="55794">1</cx:pt>
          <cx:pt idx="55795">0</cx:pt>
          <cx:pt idx="55796">0</cx:pt>
          <cx:pt idx="55797">0</cx:pt>
          <cx:pt idx="55798">0</cx:pt>
          <cx:pt idx="55799">0</cx:pt>
          <cx:pt idx="55800">1</cx:pt>
          <cx:pt idx="55801">0</cx:pt>
          <cx:pt idx="55802">0</cx:pt>
          <cx:pt idx="55803">0</cx:pt>
          <cx:pt idx="55804">0</cx:pt>
          <cx:pt idx="55805">0</cx:pt>
          <cx:pt idx="55806">1</cx:pt>
          <cx:pt idx="55807">0</cx:pt>
          <cx:pt idx="55808">0</cx:pt>
          <cx:pt idx="55809">0</cx:pt>
          <cx:pt idx="55810">1</cx:pt>
          <cx:pt idx="55811">1</cx:pt>
          <cx:pt idx="55812">0</cx:pt>
          <cx:pt idx="55813">0</cx:pt>
          <cx:pt idx="55814">0</cx:pt>
          <cx:pt idx="55815">0</cx:pt>
          <cx:pt idx="55816">1</cx:pt>
          <cx:pt idx="55817">1</cx:pt>
          <cx:pt idx="55818">1</cx:pt>
          <cx:pt idx="55819">1</cx:pt>
          <cx:pt idx="55820">0</cx:pt>
          <cx:pt idx="55821">0</cx:pt>
          <cx:pt idx="55822">0</cx:pt>
          <cx:pt idx="55823">0</cx:pt>
          <cx:pt idx="55824">0</cx:pt>
          <cx:pt idx="55825">1</cx:pt>
          <cx:pt idx="55826">0</cx:pt>
          <cx:pt idx="55827">0</cx:pt>
          <cx:pt idx="55828">0</cx:pt>
          <cx:pt idx="55829">0</cx:pt>
          <cx:pt idx="55830">1</cx:pt>
          <cx:pt idx="55831">1</cx:pt>
          <cx:pt idx="55832">1</cx:pt>
          <cx:pt idx="55833">0</cx:pt>
          <cx:pt idx="55834">1</cx:pt>
          <cx:pt idx="55835">0</cx:pt>
          <cx:pt idx="55836">0</cx:pt>
          <cx:pt idx="55837">0</cx:pt>
          <cx:pt idx="55838">0</cx:pt>
          <cx:pt idx="55839">1</cx:pt>
          <cx:pt idx="55840">0</cx:pt>
          <cx:pt idx="55841">1</cx:pt>
          <cx:pt idx="55842">1</cx:pt>
          <cx:pt idx="55843">1</cx:pt>
          <cx:pt idx="55844">0</cx:pt>
          <cx:pt idx="55845">1</cx:pt>
          <cx:pt idx="55846">0</cx:pt>
          <cx:pt idx="55847">0</cx:pt>
          <cx:pt idx="55848">0</cx:pt>
          <cx:pt idx="55849">1</cx:pt>
          <cx:pt idx="55850">1</cx:pt>
          <cx:pt idx="55851">1</cx:pt>
          <cx:pt idx="55852">1</cx:pt>
          <cx:pt idx="55853">0</cx:pt>
          <cx:pt idx="55854">1</cx:pt>
          <cx:pt idx="55855">1</cx:pt>
          <cx:pt idx="55856">1</cx:pt>
          <cx:pt idx="55857">1</cx:pt>
          <cx:pt idx="55858">0</cx:pt>
          <cx:pt idx="55859">0</cx:pt>
          <cx:pt idx="55860">0</cx:pt>
          <cx:pt idx="55861">1</cx:pt>
          <cx:pt idx="55862">0</cx:pt>
          <cx:pt idx="55863">1</cx:pt>
          <cx:pt idx="55864">0</cx:pt>
          <cx:pt idx="55865">1</cx:pt>
          <cx:pt idx="55866">0</cx:pt>
          <cx:pt idx="55867">1</cx:pt>
          <cx:pt idx="55868">1</cx:pt>
          <cx:pt idx="55869">0</cx:pt>
          <cx:pt idx="55870">0</cx:pt>
          <cx:pt idx="55871">1</cx:pt>
          <cx:pt idx="55872">0</cx:pt>
          <cx:pt idx="55873">0</cx:pt>
          <cx:pt idx="55874">0</cx:pt>
          <cx:pt idx="55875">0</cx:pt>
          <cx:pt idx="55876">1</cx:pt>
          <cx:pt idx="55877">0</cx:pt>
          <cx:pt idx="55878">1</cx:pt>
          <cx:pt idx="55879">0</cx:pt>
          <cx:pt idx="55880">0</cx:pt>
          <cx:pt idx="55881">1</cx:pt>
          <cx:pt idx="55882">1</cx:pt>
          <cx:pt idx="55883">1</cx:pt>
          <cx:pt idx="55884">1</cx:pt>
          <cx:pt idx="55885">1</cx:pt>
          <cx:pt idx="55886">1</cx:pt>
          <cx:pt idx="55887">0</cx:pt>
          <cx:pt idx="55888">1</cx:pt>
          <cx:pt idx="55889">0</cx:pt>
          <cx:pt idx="55890">0</cx:pt>
          <cx:pt idx="55891">0</cx:pt>
          <cx:pt idx="55892">1</cx:pt>
          <cx:pt idx="55893">0</cx:pt>
          <cx:pt idx="55894">0</cx:pt>
          <cx:pt idx="55895">0</cx:pt>
          <cx:pt idx="55896">1</cx:pt>
          <cx:pt idx="55897">1</cx:pt>
          <cx:pt idx="55898">0</cx:pt>
          <cx:pt idx="55899">1</cx:pt>
          <cx:pt idx="55900">0</cx:pt>
          <cx:pt idx="55901">0</cx:pt>
          <cx:pt idx="55902">1</cx:pt>
          <cx:pt idx="55903">1</cx:pt>
          <cx:pt idx="55904">1</cx:pt>
          <cx:pt idx="55905">0</cx:pt>
          <cx:pt idx="55906">0</cx:pt>
          <cx:pt idx="55907">0</cx:pt>
          <cx:pt idx="55908">0</cx:pt>
          <cx:pt idx="55909">0</cx:pt>
          <cx:pt idx="55910">1</cx:pt>
          <cx:pt idx="55911">1</cx:pt>
          <cx:pt idx="55912">0</cx:pt>
          <cx:pt idx="55913">0</cx:pt>
          <cx:pt idx="55914">1</cx:pt>
          <cx:pt idx="55915">1</cx:pt>
          <cx:pt idx="55916">1</cx:pt>
          <cx:pt idx="55917">0</cx:pt>
          <cx:pt idx="55918">0</cx:pt>
          <cx:pt idx="55919">0</cx:pt>
          <cx:pt idx="55920">0</cx:pt>
          <cx:pt idx="55921">1</cx:pt>
          <cx:pt idx="55922">0</cx:pt>
          <cx:pt idx="55923">0</cx:pt>
          <cx:pt idx="55924">1</cx:pt>
          <cx:pt idx="55925">1</cx:pt>
          <cx:pt idx="55926">0</cx:pt>
          <cx:pt idx="55927">1</cx:pt>
          <cx:pt idx="55928">1</cx:pt>
          <cx:pt idx="55929">1</cx:pt>
          <cx:pt idx="55930">1</cx:pt>
          <cx:pt idx="55931">1</cx:pt>
          <cx:pt idx="55932">1</cx:pt>
          <cx:pt idx="55933">0</cx:pt>
          <cx:pt idx="55934">0</cx:pt>
          <cx:pt idx="55935">1</cx:pt>
          <cx:pt idx="55936">1</cx:pt>
          <cx:pt idx="55937">0</cx:pt>
          <cx:pt idx="55938">1</cx:pt>
          <cx:pt idx="55939">0</cx:pt>
          <cx:pt idx="55940">1</cx:pt>
          <cx:pt idx="55941">1</cx:pt>
          <cx:pt idx="55942">1</cx:pt>
          <cx:pt idx="55943">0</cx:pt>
          <cx:pt idx="55944">0</cx:pt>
          <cx:pt idx="55945">1</cx:pt>
          <cx:pt idx="55946">0</cx:pt>
          <cx:pt idx="55947">1</cx:pt>
          <cx:pt idx="55948">0</cx:pt>
          <cx:pt idx="55949">1</cx:pt>
          <cx:pt idx="55950">0</cx:pt>
          <cx:pt idx="55951">0</cx:pt>
          <cx:pt idx="55952">0</cx:pt>
          <cx:pt idx="55953">1</cx:pt>
          <cx:pt idx="55954">0</cx:pt>
          <cx:pt idx="55955">0</cx:pt>
          <cx:pt idx="55956">1</cx:pt>
          <cx:pt idx="55957">1</cx:pt>
          <cx:pt idx="55958">0</cx:pt>
          <cx:pt idx="55959">0</cx:pt>
          <cx:pt idx="55960">0</cx:pt>
          <cx:pt idx="55961">0</cx:pt>
          <cx:pt idx="55962">1</cx:pt>
          <cx:pt idx="55963">0</cx:pt>
          <cx:pt idx="55964">0</cx:pt>
          <cx:pt idx="55965">0</cx:pt>
          <cx:pt idx="55966">0</cx:pt>
          <cx:pt idx="55967">0</cx:pt>
          <cx:pt idx="55968">1</cx:pt>
          <cx:pt idx="55969">1</cx:pt>
          <cx:pt idx="55970">0</cx:pt>
          <cx:pt idx="55971">0</cx:pt>
          <cx:pt idx="55972">0</cx:pt>
          <cx:pt idx="55973">0</cx:pt>
          <cx:pt idx="55974">0</cx:pt>
          <cx:pt idx="55975">1</cx:pt>
          <cx:pt idx="55976">1</cx:pt>
          <cx:pt idx="55977">0</cx:pt>
          <cx:pt idx="55978">0</cx:pt>
          <cx:pt idx="55979">0</cx:pt>
          <cx:pt idx="55980">0</cx:pt>
          <cx:pt idx="55981">0</cx:pt>
          <cx:pt idx="55982">1</cx:pt>
          <cx:pt idx="55983">0</cx:pt>
          <cx:pt idx="55984">0</cx:pt>
          <cx:pt idx="55985">0</cx:pt>
          <cx:pt idx="55986">0</cx:pt>
          <cx:pt idx="55987">0</cx:pt>
          <cx:pt idx="55988">0</cx:pt>
          <cx:pt idx="55989">1</cx:pt>
          <cx:pt idx="55990">1</cx:pt>
          <cx:pt idx="55991">0</cx:pt>
          <cx:pt idx="55992">0</cx:pt>
          <cx:pt idx="55993">1</cx:pt>
          <cx:pt idx="55994">0</cx:pt>
          <cx:pt idx="55995">1</cx:pt>
          <cx:pt idx="55996">0</cx:pt>
          <cx:pt idx="55997">1</cx:pt>
          <cx:pt idx="55998">1</cx:pt>
          <cx:pt idx="55999">1</cx:pt>
          <cx:pt idx="56000">0</cx:pt>
          <cx:pt idx="56001">0</cx:pt>
          <cx:pt idx="56002">1</cx:pt>
          <cx:pt idx="56003">0</cx:pt>
          <cx:pt idx="56004">1</cx:pt>
          <cx:pt idx="56005">1</cx:pt>
          <cx:pt idx="56006">0</cx:pt>
          <cx:pt idx="56007">0</cx:pt>
          <cx:pt idx="56008">1</cx:pt>
          <cx:pt idx="56009">1</cx:pt>
          <cx:pt idx="56010">0</cx:pt>
          <cx:pt idx="56011">0</cx:pt>
          <cx:pt idx="56012">0</cx:pt>
          <cx:pt idx="56013">0</cx:pt>
          <cx:pt idx="56014">0</cx:pt>
          <cx:pt idx="56015">1</cx:pt>
          <cx:pt idx="56016">1</cx:pt>
          <cx:pt idx="56017">0</cx:pt>
          <cx:pt idx="56018">1</cx:pt>
          <cx:pt idx="56019">0</cx:pt>
          <cx:pt idx="56020">0</cx:pt>
          <cx:pt idx="56021">0</cx:pt>
          <cx:pt idx="56022">1</cx:pt>
          <cx:pt idx="56023">1</cx:pt>
          <cx:pt idx="56024">0</cx:pt>
          <cx:pt idx="56025">0</cx:pt>
          <cx:pt idx="56026">0</cx:pt>
          <cx:pt idx="56027">1</cx:pt>
          <cx:pt idx="56028">1</cx:pt>
          <cx:pt idx="56029">0</cx:pt>
          <cx:pt idx="56030">0</cx:pt>
          <cx:pt idx="56031">0</cx:pt>
          <cx:pt idx="56032">0</cx:pt>
          <cx:pt idx="56033">0</cx:pt>
          <cx:pt idx="56034">0</cx:pt>
          <cx:pt idx="56035">1</cx:pt>
          <cx:pt idx="56036">0</cx:pt>
          <cx:pt idx="56037">0</cx:pt>
          <cx:pt idx="56038">1</cx:pt>
          <cx:pt idx="56039">0</cx:pt>
          <cx:pt idx="56040">0</cx:pt>
          <cx:pt idx="56041">0</cx:pt>
          <cx:pt idx="56042">0</cx:pt>
          <cx:pt idx="56043">0</cx:pt>
          <cx:pt idx="56044">1</cx:pt>
          <cx:pt idx="56045">0</cx:pt>
          <cx:pt idx="56046">1</cx:pt>
          <cx:pt idx="56047">0</cx:pt>
          <cx:pt idx="56048">0</cx:pt>
          <cx:pt idx="56049">1</cx:pt>
          <cx:pt idx="56050">0</cx:pt>
          <cx:pt idx="56051">1</cx:pt>
          <cx:pt idx="56052">1</cx:pt>
          <cx:pt idx="56053">1</cx:pt>
          <cx:pt idx="56054">0</cx:pt>
          <cx:pt idx="56055">0</cx:pt>
          <cx:pt idx="56056">0</cx:pt>
          <cx:pt idx="56057">1</cx:pt>
          <cx:pt idx="56058">1</cx:pt>
          <cx:pt idx="56059">0</cx:pt>
          <cx:pt idx="56060">1</cx:pt>
          <cx:pt idx="56061">1</cx:pt>
          <cx:pt idx="56062">1</cx:pt>
          <cx:pt idx="56063">1</cx:pt>
          <cx:pt idx="56064">0</cx:pt>
          <cx:pt idx="56065">0</cx:pt>
          <cx:pt idx="56066">0</cx:pt>
          <cx:pt idx="56067">0</cx:pt>
          <cx:pt idx="56068">0</cx:pt>
          <cx:pt idx="56069">0</cx:pt>
          <cx:pt idx="56070">1</cx:pt>
          <cx:pt idx="56071">0</cx:pt>
          <cx:pt idx="56072">1</cx:pt>
          <cx:pt idx="56073">1</cx:pt>
          <cx:pt idx="56074">0</cx:pt>
          <cx:pt idx="56075">1</cx:pt>
          <cx:pt idx="56076">1</cx:pt>
          <cx:pt idx="56077">0</cx:pt>
          <cx:pt idx="56078">1</cx:pt>
          <cx:pt idx="56079">1</cx:pt>
          <cx:pt idx="56080">0</cx:pt>
          <cx:pt idx="56081">0</cx:pt>
          <cx:pt idx="56082">1</cx:pt>
          <cx:pt idx="56083">0</cx:pt>
          <cx:pt idx="56084">1</cx:pt>
          <cx:pt idx="56085">1</cx:pt>
          <cx:pt idx="56086">1</cx:pt>
          <cx:pt idx="56087">0</cx:pt>
          <cx:pt idx="56088">0</cx:pt>
          <cx:pt idx="56089">1</cx:pt>
          <cx:pt idx="56090">1</cx:pt>
          <cx:pt idx="56091">1</cx:pt>
          <cx:pt idx="56092">0</cx:pt>
          <cx:pt idx="56093">0</cx:pt>
          <cx:pt idx="56094">0</cx:pt>
          <cx:pt idx="56095">1</cx:pt>
          <cx:pt idx="56096">0</cx:pt>
          <cx:pt idx="56097">1</cx:pt>
          <cx:pt idx="56098">0</cx:pt>
          <cx:pt idx="56099">1</cx:pt>
          <cx:pt idx="56100">0</cx:pt>
          <cx:pt idx="56101">1</cx:pt>
          <cx:pt idx="56102">0</cx:pt>
          <cx:pt idx="56103">0</cx:pt>
          <cx:pt idx="56104">1</cx:pt>
          <cx:pt idx="56105">0</cx:pt>
          <cx:pt idx="56106">0</cx:pt>
          <cx:pt idx="56107">1</cx:pt>
          <cx:pt idx="56108">1</cx:pt>
          <cx:pt idx="56109">0</cx:pt>
          <cx:pt idx="56110">0</cx:pt>
          <cx:pt idx="56111">1</cx:pt>
          <cx:pt idx="56112">0</cx:pt>
          <cx:pt idx="56113">1</cx:pt>
          <cx:pt idx="56114">0</cx:pt>
          <cx:pt idx="56115">1</cx:pt>
          <cx:pt idx="56116">1</cx:pt>
          <cx:pt idx="56117">1</cx:pt>
          <cx:pt idx="56118">0</cx:pt>
          <cx:pt idx="56119">1</cx:pt>
          <cx:pt idx="56120">1</cx:pt>
          <cx:pt idx="56121">0</cx:pt>
          <cx:pt idx="56122">0</cx:pt>
          <cx:pt idx="56123">0</cx:pt>
          <cx:pt idx="56124">1</cx:pt>
          <cx:pt idx="56125">0</cx:pt>
          <cx:pt idx="56126">1</cx:pt>
          <cx:pt idx="56127">1</cx:pt>
          <cx:pt idx="56128">0</cx:pt>
          <cx:pt idx="56129">1</cx:pt>
          <cx:pt idx="56130">0</cx:pt>
          <cx:pt idx="56131">1</cx:pt>
          <cx:pt idx="56132">1</cx:pt>
          <cx:pt idx="56133">0</cx:pt>
          <cx:pt idx="56134">0</cx:pt>
          <cx:pt idx="56135">0</cx:pt>
          <cx:pt idx="56136">0</cx:pt>
          <cx:pt idx="56137">1</cx:pt>
          <cx:pt idx="56138">0</cx:pt>
          <cx:pt idx="56139">0</cx:pt>
          <cx:pt idx="56140">1</cx:pt>
          <cx:pt idx="56141">0</cx:pt>
          <cx:pt idx="56142">0</cx:pt>
          <cx:pt idx="56143">0</cx:pt>
          <cx:pt idx="56144">0</cx:pt>
          <cx:pt idx="56145">1</cx:pt>
          <cx:pt idx="56146">0</cx:pt>
          <cx:pt idx="56147">1</cx:pt>
          <cx:pt idx="56148">1</cx:pt>
          <cx:pt idx="56149">1</cx:pt>
          <cx:pt idx="56150">0</cx:pt>
          <cx:pt idx="56151">1</cx:pt>
          <cx:pt idx="56152">1</cx:pt>
          <cx:pt idx="56153">0</cx:pt>
          <cx:pt idx="56154">0</cx:pt>
          <cx:pt idx="56155">0</cx:pt>
          <cx:pt idx="56156">0</cx:pt>
          <cx:pt idx="56157">1</cx:pt>
          <cx:pt idx="56158">1</cx:pt>
          <cx:pt idx="56159">1</cx:pt>
          <cx:pt idx="56160">1</cx:pt>
          <cx:pt idx="56161">0</cx:pt>
          <cx:pt idx="56162">0</cx:pt>
          <cx:pt idx="56163">0</cx:pt>
          <cx:pt idx="56164">0</cx:pt>
          <cx:pt idx="56165">1</cx:pt>
          <cx:pt idx="56166">1</cx:pt>
          <cx:pt idx="56167">1</cx:pt>
          <cx:pt idx="56168">0</cx:pt>
          <cx:pt idx="56169">0</cx:pt>
          <cx:pt idx="56170">1</cx:pt>
          <cx:pt idx="56171">0</cx:pt>
          <cx:pt idx="56172">0</cx:pt>
          <cx:pt idx="56173">0</cx:pt>
          <cx:pt idx="56174">1</cx:pt>
          <cx:pt idx="56175">0</cx:pt>
          <cx:pt idx="56176">0</cx:pt>
          <cx:pt idx="56177">1</cx:pt>
          <cx:pt idx="56178">0</cx:pt>
          <cx:pt idx="56179">0</cx:pt>
          <cx:pt idx="56180">0</cx:pt>
          <cx:pt idx="56181">1</cx:pt>
          <cx:pt idx="56182">1</cx:pt>
          <cx:pt idx="56183">0</cx:pt>
          <cx:pt idx="56184">1</cx:pt>
          <cx:pt idx="56185">0</cx:pt>
          <cx:pt idx="56186">0</cx:pt>
          <cx:pt idx="56187">0</cx:pt>
          <cx:pt idx="56188">1</cx:pt>
          <cx:pt idx="56189">0</cx:pt>
          <cx:pt idx="56190">1</cx:pt>
          <cx:pt idx="56191">0</cx:pt>
          <cx:pt idx="56192">1</cx:pt>
          <cx:pt idx="56193">1</cx:pt>
          <cx:pt idx="56194">1</cx:pt>
          <cx:pt idx="56195">1</cx:pt>
          <cx:pt idx="56196">1</cx:pt>
          <cx:pt idx="56197">0</cx:pt>
          <cx:pt idx="56198">1</cx:pt>
          <cx:pt idx="56199">0</cx:pt>
          <cx:pt idx="56200">1</cx:pt>
          <cx:pt idx="56201">1</cx:pt>
          <cx:pt idx="56202">0</cx:pt>
          <cx:pt idx="56203">0</cx:pt>
          <cx:pt idx="56204">1</cx:pt>
          <cx:pt idx="56205">1</cx:pt>
          <cx:pt idx="56206">1</cx:pt>
          <cx:pt idx="56207">1</cx:pt>
          <cx:pt idx="56208">0</cx:pt>
          <cx:pt idx="56209">0</cx:pt>
          <cx:pt idx="56210">0</cx:pt>
          <cx:pt idx="56211">0</cx:pt>
          <cx:pt idx="56212">0</cx:pt>
          <cx:pt idx="56213">0</cx:pt>
          <cx:pt idx="56214">1</cx:pt>
          <cx:pt idx="56215">0</cx:pt>
          <cx:pt idx="56216">0</cx:pt>
          <cx:pt idx="56217">0</cx:pt>
          <cx:pt idx="56218">1</cx:pt>
          <cx:pt idx="56219">1</cx:pt>
          <cx:pt idx="56220">1</cx:pt>
          <cx:pt idx="56221">0</cx:pt>
          <cx:pt idx="56222">0</cx:pt>
          <cx:pt idx="56223">0</cx:pt>
          <cx:pt idx="56224">0</cx:pt>
          <cx:pt idx="56225">0</cx:pt>
          <cx:pt idx="56226">0</cx:pt>
          <cx:pt idx="56227">0</cx:pt>
          <cx:pt idx="56228">0</cx:pt>
          <cx:pt idx="56229">1</cx:pt>
          <cx:pt idx="56230">1</cx:pt>
          <cx:pt idx="56231">1</cx:pt>
          <cx:pt idx="56232">1</cx:pt>
          <cx:pt idx="56233">0</cx:pt>
          <cx:pt idx="56234">0</cx:pt>
          <cx:pt idx="56235">1</cx:pt>
          <cx:pt idx="56236">0</cx:pt>
          <cx:pt idx="56237">1</cx:pt>
          <cx:pt idx="56238">1</cx:pt>
          <cx:pt idx="56239">0</cx:pt>
          <cx:pt idx="56240">1</cx:pt>
          <cx:pt idx="56241">1</cx:pt>
          <cx:pt idx="56242">0</cx:pt>
          <cx:pt idx="56243">0</cx:pt>
          <cx:pt idx="56244">1</cx:pt>
          <cx:pt idx="56245">0</cx:pt>
          <cx:pt idx="56246">0</cx:pt>
          <cx:pt idx="56247">0</cx:pt>
          <cx:pt idx="56248">1</cx:pt>
          <cx:pt idx="56249">0</cx:pt>
          <cx:pt idx="56250">1</cx:pt>
          <cx:pt idx="56251">0</cx:pt>
          <cx:pt idx="56252">0</cx:pt>
          <cx:pt idx="56253">0</cx:pt>
          <cx:pt idx="56254">0</cx:pt>
          <cx:pt idx="56255">0</cx:pt>
          <cx:pt idx="56256">0</cx:pt>
          <cx:pt idx="56257">0</cx:pt>
          <cx:pt idx="56258">0</cx:pt>
          <cx:pt idx="56259">0</cx:pt>
          <cx:pt idx="56260">0</cx:pt>
          <cx:pt idx="56261">0</cx:pt>
          <cx:pt idx="56262">1</cx:pt>
          <cx:pt idx="56263">1</cx:pt>
          <cx:pt idx="56264">1</cx:pt>
          <cx:pt idx="56265">0</cx:pt>
          <cx:pt idx="56266">1</cx:pt>
          <cx:pt idx="56267">0</cx:pt>
          <cx:pt idx="56268">1</cx:pt>
          <cx:pt idx="56269">1</cx:pt>
          <cx:pt idx="56270">0</cx:pt>
          <cx:pt idx="56271">0</cx:pt>
          <cx:pt idx="56272">0</cx:pt>
          <cx:pt idx="56273">1</cx:pt>
          <cx:pt idx="56274">0</cx:pt>
          <cx:pt idx="56275">0</cx:pt>
          <cx:pt idx="56276">1</cx:pt>
          <cx:pt idx="56277">0</cx:pt>
          <cx:pt idx="56278">1</cx:pt>
          <cx:pt idx="56279">0</cx:pt>
          <cx:pt idx="56280">1</cx:pt>
          <cx:pt idx="56281">1</cx:pt>
          <cx:pt idx="56282">1</cx:pt>
          <cx:pt idx="56283">0</cx:pt>
          <cx:pt idx="56284">0</cx:pt>
          <cx:pt idx="56285">0</cx:pt>
          <cx:pt idx="56286">0</cx:pt>
          <cx:pt idx="56287">1</cx:pt>
          <cx:pt idx="56288">0</cx:pt>
          <cx:pt idx="56289">0</cx:pt>
          <cx:pt idx="56290">1</cx:pt>
          <cx:pt idx="56291">1</cx:pt>
          <cx:pt idx="56292">0</cx:pt>
          <cx:pt idx="56293">1</cx:pt>
          <cx:pt idx="56294">1</cx:pt>
          <cx:pt idx="56295">1</cx:pt>
          <cx:pt idx="56296">0</cx:pt>
          <cx:pt idx="56297">1</cx:pt>
          <cx:pt idx="56298">1</cx:pt>
          <cx:pt idx="56299">0</cx:pt>
          <cx:pt idx="56300">0</cx:pt>
          <cx:pt idx="56301">1</cx:pt>
          <cx:pt idx="56302">0</cx:pt>
          <cx:pt idx="56303">1</cx:pt>
          <cx:pt idx="56304">1</cx:pt>
          <cx:pt idx="56305">1</cx:pt>
          <cx:pt idx="56306">1</cx:pt>
          <cx:pt idx="56307">1</cx:pt>
          <cx:pt idx="56308">1</cx:pt>
          <cx:pt idx="56309">1</cx:pt>
          <cx:pt idx="56310">0</cx:pt>
          <cx:pt idx="56311">0</cx:pt>
          <cx:pt idx="56312">0</cx:pt>
          <cx:pt idx="56313">0</cx:pt>
          <cx:pt idx="56314">0</cx:pt>
          <cx:pt idx="56315">1</cx:pt>
          <cx:pt idx="56316">0</cx:pt>
          <cx:pt idx="56317">0</cx:pt>
          <cx:pt idx="56318">0</cx:pt>
          <cx:pt idx="56319">0</cx:pt>
          <cx:pt idx="56320">1</cx:pt>
          <cx:pt idx="56321">0</cx:pt>
          <cx:pt idx="56322">0</cx:pt>
          <cx:pt idx="56323">1</cx:pt>
          <cx:pt idx="56324">1</cx:pt>
          <cx:pt idx="56325">1</cx:pt>
          <cx:pt idx="56326">0</cx:pt>
          <cx:pt idx="56327">1</cx:pt>
          <cx:pt idx="56328">0</cx:pt>
          <cx:pt idx="56329">1</cx:pt>
          <cx:pt idx="56330">1</cx:pt>
          <cx:pt idx="56331">1</cx:pt>
          <cx:pt idx="56332">0</cx:pt>
          <cx:pt idx="56333">0</cx:pt>
          <cx:pt idx="56334">1</cx:pt>
          <cx:pt idx="56335">0</cx:pt>
          <cx:pt idx="56336">0</cx:pt>
          <cx:pt idx="56337">1</cx:pt>
          <cx:pt idx="56338">1</cx:pt>
          <cx:pt idx="56339">0</cx:pt>
          <cx:pt idx="56340">1</cx:pt>
          <cx:pt idx="56341">0</cx:pt>
          <cx:pt idx="56342">0</cx:pt>
          <cx:pt idx="56343">1</cx:pt>
          <cx:pt idx="56344">1</cx:pt>
          <cx:pt idx="56345">1</cx:pt>
          <cx:pt idx="56346">0</cx:pt>
          <cx:pt idx="56347">1</cx:pt>
          <cx:pt idx="56348">0</cx:pt>
          <cx:pt idx="56349">0</cx:pt>
          <cx:pt idx="56350">1</cx:pt>
          <cx:pt idx="56351">0</cx:pt>
          <cx:pt idx="56352">0</cx:pt>
          <cx:pt idx="56353">0</cx:pt>
          <cx:pt idx="56354">0</cx:pt>
          <cx:pt idx="56355">0</cx:pt>
          <cx:pt idx="56356">1</cx:pt>
          <cx:pt idx="56357">1</cx:pt>
          <cx:pt idx="56358">1</cx:pt>
          <cx:pt idx="56359">0</cx:pt>
          <cx:pt idx="56360">0</cx:pt>
          <cx:pt idx="56361">0</cx:pt>
          <cx:pt idx="56362">0</cx:pt>
          <cx:pt idx="56363">0</cx:pt>
          <cx:pt idx="56364">0</cx:pt>
          <cx:pt idx="56365">0</cx:pt>
          <cx:pt idx="56366">1</cx:pt>
          <cx:pt idx="56367">1</cx:pt>
          <cx:pt idx="56368">1</cx:pt>
          <cx:pt idx="56369">0</cx:pt>
          <cx:pt idx="56370">0</cx:pt>
          <cx:pt idx="56371">0</cx:pt>
          <cx:pt idx="56372">1</cx:pt>
          <cx:pt idx="56373">1</cx:pt>
          <cx:pt idx="56374">1</cx:pt>
          <cx:pt idx="56375">1</cx:pt>
          <cx:pt idx="56376">0</cx:pt>
          <cx:pt idx="56377">1</cx:pt>
          <cx:pt idx="56378">1</cx:pt>
          <cx:pt idx="56379">0</cx:pt>
          <cx:pt idx="56380">0</cx:pt>
          <cx:pt idx="56381">1</cx:pt>
          <cx:pt idx="56382">0</cx:pt>
          <cx:pt idx="56383">1</cx:pt>
          <cx:pt idx="56384">1</cx:pt>
          <cx:pt idx="56385">0</cx:pt>
          <cx:pt idx="56386">1</cx:pt>
          <cx:pt idx="56387">0</cx:pt>
          <cx:pt idx="56388">0</cx:pt>
          <cx:pt idx="56389">0</cx:pt>
          <cx:pt idx="56390">0</cx:pt>
          <cx:pt idx="56391">0</cx:pt>
          <cx:pt idx="56392">0</cx:pt>
          <cx:pt idx="56393">1</cx:pt>
          <cx:pt idx="56394">1</cx:pt>
          <cx:pt idx="56395">0</cx:pt>
          <cx:pt idx="56396">0</cx:pt>
          <cx:pt idx="56397">0</cx:pt>
          <cx:pt idx="56398">0</cx:pt>
          <cx:pt idx="56399">1</cx:pt>
          <cx:pt idx="56400">1</cx:pt>
          <cx:pt idx="56401">0</cx:pt>
          <cx:pt idx="56402">1</cx:pt>
          <cx:pt idx="56403">1</cx:pt>
          <cx:pt idx="56404">0</cx:pt>
          <cx:pt idx="56405">1</cx:pt>
          <cx:pt idx="56406">0</cx:pt>
          <cx:pt idx="56407">0</cx:pt>
          <cx:pt idx="56408">1</cx:pt>
          <cx:pt idx="56409">0</cx:pt>
          <cx:pt idx="56410">0</cx:pt>
          <cx:pt idx="56411">0</cx:pt>
          <cx:pt idx="56412">1</cx:pt>
          <cx:pt idx="56413">1</cx:pt>
          <cx:pt idx="56414">0</cx:pt>
          <cx:pt idx="56415">0</cx:pt>
          <cx:pt idx="56416">0</cx:pt>
          <cx:pt idx="56417">0</cx:pt>
          <cx:pt idx="56418">1</cx:pt>
          <cx:pt idx="56419">0</cx:pt>
          <cx:pt idx="56420">0</cx:pt>
          <cx:pt idx="56421">0</cx:pt>
          <cx:pt idx="56422">1</cx:pt>
          <cx:pt idx="56423">0</cx:pt>
          <cx:pt idx="56424">0</cx:pt>
          <cx:pt idx="56425">0</cx:pt>
          <cx:pt idx="56426">1</cx:pt>
          <cx:pt idx="56427">0</cx:pt>
          <cx:pt idx="56428">1</cx:pt>
          <cx:pt idx="56429">1</cx:pt>
          <cx:pt idx="56430">0</cx:pt>
          <cx:pt idx="56431">1</cx:pt>
          <cx:pt idx="56432">1</cx:pt>
          <cx:pt idx="56433">0</cx:pt>
          <cx:pt idx="56434">1</cx:pt>
          <cx:pt idx="56435">0</cx:pt>
          <cx:pt idx="56436">0</cx:pt>
          <cx:pt idx="56437">1</cx:pt>
          <cx:pt idx="56438">0</cx:pt>
          <cx:pt idx="56439">0</cx:pt>
          <cx:pt idx="56440">0</cx:pt>
          <cx:pt idx="56441">0</cx:pt>
          <cx:pt idx="56442">0</cx:pt>
          <cx:pt idx="56443">0</cx:pt>
          <cx:pt idx="56444">1</cx:pt>
          <cx:pt idx="56445">1</cx:pt>
          <cx:pt idx="56446">0</cx:pt>
          <cx:pt idx="56447">0</cx:pt>
          <cx:pt idx="56448">1</cx:pt>
          <cx:pt idx="56449">1</cx:pt>
          <cx:pt idx="56450">1</cx:pt>
          <cx:pt idx="56451">0</cx:pt>
          <cx:pt idx="56452">0</cx:pt>
          <cx:pt idx="56453">1</cx:pt>
          <cx:pt idx="56454">1</cx:pt>
          <cx:pt idx="56455">1</cx:pt>
          <cx:pt idx="56456">0</cx:pt>
          <cx:pt idx="56457">0</cx:pt>
          <cx:pt idx="56458">1</cx:pt>
          <cx:pt idx="56459">0</cx:pt>
          <cx:pt idx="56460">0</cx:pt>
          <cx:pt idx="56461">0</cx:pt>
          <cx:pt idx="56462">1</cx:pt>
          <cx:pt idx="56463">0</cx:pt>
          <cx:pt idx="56464">1</cx:pt>
          <cx:pt idx="56465">0</cx:pt>
          <cx:pt idx="56466">0</cx:pt>
          <cx:pt idx="56467">1</cx:pt>
          <cx:pt idx="56468">0</cx:pt>
          <cx:pt idx="56469">0</cx:pt>
          <cx:pt idx="56470">0</cx:pt>
          <cx:pt idx="56471">0</cx:pt>
          <cx:pt idx="56472">1</cx:pt>
          <cx:pt idx="56473">0</cx:pt>
          <cx:pt idx="56474">0</cx:pt>
          <cx:pt idx="56475">1</cx:pt>
          <cx:pt idx="56476">1</cx:pt>
          <cx:pt idx="56477">0</cx:pt>
          <cx:pt idx="56478">0</cx:pt>
          <cx:pt idx="56479">1</cx:pt>
          <cx:pt idx="56480">0</cx:pt>
          <cx:pt idx="56481">1</cx:pt>
          <cx:pt idx="56482">0</cx:pt>
          <cx:pt idx="56483">1</cx:pt>
          <cx:pt idx="56484">1</cx:pt>
          <cx:pt idx="56485">0</cx:pt>
          <cx:pt idx="56486">1</cx:pt>
          <cx:pt idx="56487">0</cx:pt>
          <cx:pt idx="56488">0</cx:pt>
          <cx:pt idx="56489">1</cx:pt>
          <cx:pt idx="56490">1</cx:pt>
          <cx:pt idx="56491">0</cx:pt>
          <cx:pt idx="56492">0</cx:pt>
          <cx:pt idx="56493">0</cx:pt>
          <cx:pt idx="56494">1</cx:pt>
          <cx:pt idx="56495">1</cx:pt>
          <cx:pt idx="56496">0</cx:pt>
          <cx:pt idx="56497">0</cx:pt>
          <cx:pt idx="56498">1</cx:pt>
          <cx:pt idx="56499">1</cx:pt>
          <cx:pt idx="56500">1</cx:pt>
          <cx:pt idx="56501">0</cx:pt>
          <cx:pt idx="56502">0</cx:pt>
          <cx:pt idx="56503">1</cx:pt>
          <cx:pt idx="56504">0</cx:pt>
          <cx:pt idx="56505">1</cx:pt>
          <cx:pt idx="56506">1</cx:pt>
          <cx:pt idx="56507">1</cx:pt>
          <cx:pt idx="56508">1</cx:pt>
          <cx:pt idx="56509">0</cx:pt>
          <cx:pt idx="56510">0</cx:pt>
          <cx:pt idx="56511">0</cx:pt>
          <cx:pt idx="56512">0</cx:pt>
          <cx:pt idx="56513">0</cx:pt>
          <cx:pt idx="56514">0</cx:pt>
          <cx:pt idx="56515">0</cx:pt>
          <cx:pt idx="56516">1</cx:pt>
          <cx:pt idx="56517">1</cx:pt>
          <cx:pt idx="56518">1</cx:pt>
          <cx:pt idx="56519">0</cx:pt>
          <cx:pt idx="56520">0</cx:pt>
          <cx:pt idx="56521">1</cx:pt>
          <cx:pt idx="56522">1</cx:pt>
          <cx:pt idx="56523">0</cx:pt>
          <cx:pt idx="56524">1</cx:pt>
          <cx:pt idx="56525">0</cx:pt>
          <cx:pt idx="56526">1</cx:pt>
          <cx:pt idx="56527">0</cx:pt>
          <cx:pt idx="56528">0</cx:pt>
          <cx:pt idx="56529">0</cx:pt>
          <cx:pt idx="56530">1</cx:pt>
          <cx:pt idx="56531">0</cx:pt>
          <cx:pt idx="56532">0</cx:pt>
          <cx:pt idx="56533">0</cx:pt>
          <cx:pt idx="56534">1</cx:pt>
          <cx:pt idx="56535">1</cx:pt>
          <cx:pt idx="56536">0</cx:pt>
          <cx:pt idx="56537">0</cx:pt>
          <cx:pt idx="56538">1</cx:pt>
          <cx:pt idx="56539">0</cx:pt>
          <cx:pt idx="56540">0</cx:pt>
          <cx:pt idx="56541">1</cx:pt>
          <cx:pt idx="56542">0</cx:pt>
          <cx:pt idx="56543">0</cx:pt>
          <cx:pt idx="56544">1</cx:pt>
          <cx:pt idx="56545">0</cx:pt>
          <cx:pt idx="56546">1</cx:pt>
          <cx:pt idx="56547">0</cx:pt>
          <cx:pt idx="56548">0</cx:pt>
          <cx:pt idx="56549">0</cx:pt>
          <cx:pt idx="56550">0</cx:pt>
          <cx:pt idx="56551">1</cx:pt>
          <cx:pt idx="56552">0</cx:pt>
          <cx:pt idx="56553">0</cx:pt>
          <cx:pt idx="56554">1</cx:pt>
          <cx:pt idx="56555">1</cx:pt>
          <cx:pt idx="56556">0</cx:pt>
          <cx:pt idx="56557">0</cx:pt>
          <cx:pt idx="56558">1</cx:pt>
          <cx:pt idx="56559">0</cx:pt>
          <cx:pt idx="56560">1</cx:pt>
          <cx:pt idx="56561">0</cx:pt>
          <cx:pt idx="56562">0</cx:pt>
          <cx:pt idx="56563">1</cx:pt>
          <cx:pt idx="56564">1</cx:pt>
          <cx:pt idx="56565">0</cx:pt>
          <cx:pt idx="56566">0</cx:pt>
          <cx:pt idx="56567">1</cx:pt>
          <cx:pt idx="56568">0</cx:pt>
          <cx:pt idx="56569">0</cx:pt>
          <cx:pt idx="56570">0</cx:pt>
          <cx:pt idx="56571">0</cx:pt>
          <cx:pt idx="56572">1</cx:pt>
          <cx:pt idx="56573">1</cx:pt>
          <cx:pt idx="56574">0</cx:pt>
          <cx:pt idx="56575">0</cx:pt>
          <cx:pt idx="56576">1</cx:pt>
          <cx:pt idx="56577">1</cx:pt>
          <cx:pt idx="56578">0</cx:pt>
          <cx:pt idx="56579">0</cx:pt>
          <cx:pt idx="56580">1</cx:pt>
          <cx:pt idx="56581">0</cx:pt>
          <cx:pt idx="56582">0</cx:pt>
          <cx:pt idx="56583">0</cx:pt>
          <cx:pt idx="56584">1</cx:pt>
          <cx:pt idx="56585">1</cx:pt>
          <cx:pt idx="56586">0</cx:pt>
          <cx:pt idx="56587">1</cx:pt>
          <cx:pt idx="56588">1</cx:pt>
          <cx:pt idx="56589">1</cx:pt>
          <cx:pt idx="56590">1</cx:pt>
          <cx:pt idx="56591">0</cx:pt>
          <cx:pt idx="56592">0</cx:pt>
          <cx:pt idx="56593">1</cx:pt>
          <cx:pt idx="56594">1</cx:pt>
          <cx:pt idx="56595">0</cx:pt>
          <cx:pt idx="56596">1</cx:pt>
          <cx:pt idx="56597">1</cx:pt>
          <cx:pt idx="56598">1</cx:pt>
          <cx:pt idx="56599">1</cx:pt>
          <cx:pt idx="56600">1</cx:pt>
          <cx:pt idx="56601">0</cx:pt>
          <cx:pt idx="56602">1</cx:pt>
          <cx:pt idx="56603">1</cx:pt>
          <cx:pt idx="56604">1</cx:pt>
          <cx:pt idx="56605">0</cx:pt>
          <cx:pt idx="56606">1</cx:pt>
          <cx:pt idx="56607">0</cx:pt>
          <cx:pt idx="56608">0</cx:pt>
          <cx:pt idx="56609">1</cx:pt>
          <cx:pt idx="56610">0</cx:pt>
          <cx:pt idx="56611">0</cx:pt>
          <cx:pt idx="56612">1</cx:pt>
          <cx:pt idx="56613">1</cx:pt>
          <cx:pt idx="56614">1</cx:pt>
          <cx:pt idx="56615">0</cx:pt>
          <cx:pt idx="56616">1</cx:pt>
          <cx:pt idx="56617">1</cx:pt>
          <cx:pt idx="56618">0</cx:pt>
          <cx:pt idx="56619">1</cx:pt>
          <cx:pt idx="56620">0</cx:pt>
          <cx:pt idx="56621">0</cx:pt>
          <cx:pt idx="56622">0</cx:pt>
          <cx:pt idx="56623">1</cx:pt>
          <cx:pt idx="56624">1</cx:pt>
          <cx:pt idx="56625">0</cx:pt>
          <cx:pt idx="56626">1</cx:pt>
          <cx:pt idx="56627">1</cx:pt>
          <cx:pt idx="56628">1</cx:pt>
          <cx:pt idx="56629">1</cx:pt>
          <cx:pt idx="56630">0</cx:pt>
          <cx:pt idx="56631">0</cx:pt>
          <cx:pt idx="56632">0</cx:pt>
          <cx:pt idx="56633">1</cx:pt>
          <cx:pt idx="56634">1</cx:pt>
          <cx:pt idx="56635">0</cx:pt>
          <cx:pt idx="56636">1</cx:pt>
          <cx:pt idx="56637">1</cx:pt>
          <cx:pt idx="56638">1</cx:pt>
          <cx:pt idx="56639">0</cx:pt>
          <cx:pt idx="56640">1</cx:pt>
          <cx:pt idx="56641">0</cx:pt>
          <cx:pt idx="56642">0</cx:pt>
          <cx:pt idx="56643">1</cx:pt>
          <cx:pt idx="56644">0</cx:pt>
          <cx:pt idx="56645">1</cx:pt>
          <cx:pt idx="56646">0</cx:pt>
          <cx:pt idx="56647">1</cx:pt>
          <cx:pt idx="56648">0</cx:pt>
          <cx:pt idx="56649">1</cx:pt>
          <cx:pt idx="56650">0</cx:pt>
          <cx:pt idx="56651">1</cx:pt>
          <cx:pt idx="56652">1</cx:pt>
          <cx:pt idx="56653">0</cx:pt>
          <cx:pt idx="56654">1</cx:pt>
          <cx:pt idx="56655">1</cx:pt>
          <cx:pt idx="56656">0</cx:pt>
          <cx:pt idx="56657">0</cx:pt>
          <cx:pt idx="56658">0</cx:pt>
          <cx:pt idx="56659">1</cx:pt>
          <cx:pt idx="56660">1</cx:pt>
          <cx:pt idx="56661">0</cx:pt>
          <cx:pt idx="56662">0</cx:pt>
          <cx:pt idx="56663">0</cx:pt>
          <cx:pt idx="56664">1</cx:pt>
          <cx:pt idx="56665">1</cx:pt>
          <cx:pt idx="56666">0</cx:pt>
          <cx:pt idx="56667">0</cx:pt>
          <cx:pt idx="56668">0</cx:pt>
          <cx:pt idx="56669">0</cx:pt>
          <cx:pt idx="56670">0</cx:pt>
          <cx:pt idx="56671">0</cx:pt>
          <cx:pt idx="56672">0</cx:pt>
          <cx:pt idx="56673">0</cx:pt>
          <cx:pt idx="56674">0</cx:pt>
          <cx:pt idx="56675">0</cx:pt>
          <cx:pt idx="56676">0</cx:pt>
          <cx:pt idx="56677">0</cx:pt>
          <cx:pt idx="56678">1</cx:pt>
          <cx:pt idx="56679">1</cx:pt>
          <cx:pt idx="56680">1</cx:pt>
          <cx:pt idx="56681">1</cx:pt>
          <cx:pt idx="56682">0</cx:pt>
          <cx:pt idx="56683">1</cx:pt>
          <cx:pt idx="56684">0</cx:pt>
          <cx:pt idx="56685">1</cx:pt>
          <cx:pt idx="56686">0</cx:pt>
          <cx:pt idx="56687">0</cx:pt>
          <cx:pt idx="56688">0</cx:pt>
          <cx:pt idx="56689">1</cx:pt>
          <cx:pt idx="56690">1</cx:pt>
          <cx:pt idx="56691">1</cx:pt>
          <cx:pt idx="56692">0</cx:pt>
          <cx:pt idx="56693">0</cx:pt>
          <cx:pt idx="56694">0</cx:pt>
          <cx:pt idx="56695">1</cx:pt>
          <cx:pt idx="56696">1</cx:pt>
          <cx:pt idx="56697">0</cx:pt>
          <cx:pt idx="56698">0</cx:pt>
          <cx:pt idx="56699">0</cx:pt>
          <cx:pt idx="56700">0</cx:pt>
          <cx:pt idx="56701">0</cx:pt>
          <cx:pt idx="56702">1</cx:pt>
          <cx:pt idx="56703">1</cx:pt>
          <cx:pt idx="56704">0</cx:pt>
          <cx:pt idx="56705">1</cx:pt>
          <cx:pt idx="56706">0</cx:pt>
          <cx:pt idx="56707">0</cx:pt>
          <cx:pt idx="56708">0</cx:pt>
          <cx:pt idx="56709">1</cx:pt>
          <cx:pt idx="56710">1</cx:pt>
          <cx:pt idx="56711">1</cx:pt>
          <cx:pt idx="56712">1</cx:pt>
          <cx:pt idx="56713">0</cx:pt>
          <cx:pt idx="56714">1</cx:pt>
          <cx:pt idx="56715">1</cx:pt>
          <cx:pt idx="56716">1</cx:pt>
          <cx:pt idx="56717">0</cx:pt>
          <cx:pt idx="56718">0</cx:pt>
          <cx:pt idx="56719">0</cx:pt>
          <cx:pt idx="56720">0</cx:pt>
          <cx:pt idx="56721">0</cx:pt>
          <cx:pt idx="56722">0</cx:pt>
          <cx:pt idx="56723">0</cx:pt>
          <cx:pt idx="56724">0</cx:pt>
          <cx:pt idx="56725">0</cx:pt>
          <cx:pt idx="56726">0</cx:pt>
          <cx:pt idx="56727">0</cx:pt>
          <cx:pt idx="56728">0</cx:pt>
          <cx:pt idx="56729">0</cx:pt>
          <cx:pt idx="56730">1</cx:pt>
          <cx:pt idx="56731">0</cx:pt>
          <cx:pt idx="56732">0</cx:pt>
          <cx:pt idx="56733">0</cx:pt>
          <cx:pt idx="56734">1</cx:pt>
          <cx:pt idx="56735">1</cx:pt>
          <cx:pt idx="56736">0</cx:pt>
          <cx:pt idx="56737">0</cx:pt>
          <cx:pt idx="56738">0</cx:pt>
          <cx:pt idx="56739">0</cx:pt>
          <cx:pt idx="56740">0</cx:pt>
          <cx:pt idx="56741">1</cx:pt>
          <cx:pt idx="56742">0</cx:pt>
          <cx:pt idx="56743">0</cx:pt>
          <cx:pt idx="56744">0</cx:pt>
          <cx:pt idx="56745">1</cx:pt>
          <cx:pt idx="56746">0</cx:pt>
          <cx:pt idx="56747">0</cx:pt>
          <cx:pt idx="56748">1</cx:pt>
          <cx:pt idx="56749">0</cx:pt>
          <cx:pt idx="56750">1</cx:pt>
          <cx:pt idx="56751">0</cx:pt>
          <cx:pt idx="56752">1</cx:pt>
          <cx:pt idx="56753">1</cx:pt>
          <cx:pt idx="56754">0</cx:pt>
          <cx:pt idx="56755">1</cx:pt>
          <cx:pt idx="56756">1</cx:pt>
          <cx:pt idx="56757">1</cx:pt>
          <cx:pt idx="56758">1</cx:pt>
          <cx:pt idx="56759">0</cx:pt>
          <cx:pt idx="56760">0</cx:pt>
          <cx:pt idx="56761">0</cx:pt>
          <cx:pt idx="56762">1</cx:pt>
          <cx:pt idx="56763">0</cx:pt>
          <cx:pt idx="56764">1</cx:pt>
          <cx:pt idx="56765">1</cx:pt>
          <cx:pt idx="56766">0</cx:pt>
          <cx:pt idx="56767">1</cx:pt>
          <cx:pt idx="56768">1</cx:pt>
          <cx:pt idx="56769">0</cx:pt>
          <cx:pt idx="56770">0</cx:pt>
          <cx:pt idx="56771">0</cx:pt>
          <cx:pt idx="56772">0</cx:pt>
          <cx:pt idx="56773">1</cx:pt>
          <cx:pt idx="56774">0</cx:pt>
          <cx:pt idx="56775">1</cx:pt>
          <cx:pt idx="56776">0</cx:pt>
          <cx:pt idx="56777">0</cx:pt>
          <cx:pt idx="56778">0</cx:pt>
          <cx:pt idx="56779">1</cx:pt>
          <cx:pt idx="56780">1</cx:pt>
          <cx:pt idx="56781">0</cx:pt>
          <cx:pt idx="56782">0</cx:pt>
          <cx:pt idx="56783">1</cx:pt>
          <cx:pt idx="56784">0</cx:pt>
          <cx:pt idx="56785">1</cx:pt>
          <cx:pt idx="56786">0</cx:pt>
          <cx:pt idx="56787">0</cx:pt>
          <cx:pt idx="56788">1</cx:pt>
          <cx:pt idx="56789">1</cx:pt>
          <cx:pt idx="56790">1</cx:pt>
          <cx:pt idx="56791">0</cx:pt>
          <cx:pt idx="56792">0</cx:pt>
          <cx:pt idx="56793">1</cx:pt>
          <cx:pt idx="56794">0</cx:pt>
          <cx:pt idx="56795">0</cx:pt>
          <cx:pt idx="56796">1</cx:pt>
          <cx:pt idx="56797">1</cx:pt>
          <cx:pt idx="56798">0</cx:pt>
          <cx:pt idx="56799">0</cx:pt>
          <cx:pt idx="56800">1</cx:pt>
          <cx:pt idx="56801">1</cx:pt>
          <cx:pt idx="56802">1</cx:pt>
          <cx:pt idx="56803">0</cx:pt>
          <cx:pt idx="56804">0</cx:pt>
          <cx:pt idx="56805">0</cx:pt>
          <cx:pt idx="56806">1</cx:pt>
          <cx:pt idx="56807">0</cx:pt>
          <cx:pt idx="56808">1</cx:pt>
          <cx:pt idx="56809">0</cx:pt>
          <cx:pt idx="56810">1</cx:pt>
          <cx:pt idx="56811">1</cx:pt>
          <cx:pt idx="56812">0</cx:pt>
          <cx:pt idx="56813">1</cx:pt>
          <cx:pt idx="56814">0</cx:pt>
          <cx:pt idx="56815">0</cx:pt>
          <cx:pt idx="56816">1</cx:pt>
          <cx:pt idx="56817">0</cx:pt>
          <cx:pt idx="56818">1</cx:pt>
          <cx:pt idx="56819">0</cx:pt>
          <cx:pt idx="56820">1</cx:pt>
          <cx:pt idx="56821">0</cx:pt>
          <cx:pt idx="56822">0</cx:pt>
          <cx:pt idx="56823">0</cx:pt>
          <cx:pt idx="56824">0</cx:pt>
          <cx:pt idx="56825">0</cx:pt>
          <cx:pt idx="56826">1</cx:pt>
          <cx:pt idx="56827">0</cx:pt>
          <cx:pt idx="56828">0</cx:pt>
          <cx:pt idx="56829">1</cx:pt>
          <cx:pt idx="56830">0</cx:pt>
          <cx:pt idx="56831">0</cx:pt>
          <cx:pt idx="56832">0</cx:pt>
          <cx:pt idx="56833">0</cx:pt>
          <cx:pt idx="56834">0</cx:pt>
          <cx:pt idx="56835">0</cx:pt>
          <cx:pt idx="56836">0</cx:pt>
          <cx:pt idx="56837">0</cx:pt>
          <cx:pt idx="56838">0</cx:pt>
          <cx:pt idx="56839">0</cx:pt>
          <cx:pt idx="56840">0</cx:pt>
          <cx:pt idx="56841">0</cx:pt>
          <cx:pt idx="56842">1</cx:pt>
          <cx:pt idx="56843">0</cx:pt>
          <cx:pt idx="56844">0</cx:pt>
          <cx:pt idx="56845">0</cx:pt>
          <cx:pt idx="56846">1</cx:pt>
          <cx:pt idx="56847">0</cx:pt>
          <cx:pt idx="56848">1</cx:pt>
          <cx:pt idx="56849">0</cx:pt>
          <cx:pt idx="56850">0</cx:pt>
          <cx:pt idx="56851">1</cx:pt>
          <cx:pt idx="56852">0</cx:pt>
          <cx:pt idx="56853">0</cx:pt>
          <cx:pt idx="56854">1</cx:pt>
          <cx:pt idx="56855">1</cx:pt>
          <cx:pt idx="56856">0</cx:pt>
          <cx:pt idx="56857">0</cx:pt>
          <cx:pt idx="56858">1</cx:pt>
          <cx:pt idx="56859">1</cx:pt>
          <cx:pt idx="56860">1</cx:pt>
          <cx:pt idx="56861">1</cx:pt>
          <cx:pt idx="56862">0</cx:pt>
          <cx:pt idx="56863">0</cx:pt>
          <cx:pt idx="56864">0</cx:pt>
          <cx:pt idx="56865">1</cx:pt>
          <cx:pt idx="56866">0</cx:pt>
          <cx:pt idx="56867">1</cx:pt>
          <cx:pt idx="56868">1</cx:pt>
          <cx:pt idx="56869">0</cx:pt>
          <cx:pt idx="56870">0</cx:pt>
          <cx:pt idx="56871">1</cx:pt>
          <cx:pt idx="56872">0</cx:pt>
          <cx:pt idx="56873">0</cx:pt>
          <cx:pt idx="56874">0</cx:pt>
          <cx:pt idx="56875">0</cx:pt>
          <cx:pt idx="56876">1</cx:pt>
          <cx:pt idx="56877">1</cx:pt>
          <cx:pt idx="56878">1</cx:pt>
          <cx:pt idx="56879">0</cx:pt>
          <cx:pt idx="56880">0</cx:pt>
          <cx:pt idx="56881">0</cx:pt>
          <cx:pt idx="56882">0</cx:pt>
          <cx:pt idx="56883">1</cx:pt>
          <cx:pt idx="56884">1</cx:pt>
          <cx:pt idx="56885">1</cx:pt>
          <cx:pt idx="56886">0</cx:pt>
          <cx:pt idx="56887">1</cx:pt>
          <cx:pt idx="56888">1</cx:pt>
          <cx:pt idx="56889">0</cx:pt>
          <cx:pt idx="56890">1</cx:pt>
          <cx:pt idx="56891">1</cx:pt>
          <cx:pt idx="56892">0</cx:pt>
          <cx:pt idx="56893">0</cx:pt>
          <cx:pt idx="56894">0</cx:pt>
          <cx:pt idx="56895">0</cx:pt>
          <cx:pt idx="56896">0</cx:pt>
          <cx:pt idx="56897">0</cx:pt>
          <cx:pt idx="56898">0</cx:pt>
          <cx:pt idx="56899">1</cx:pt>
          <cx:pt idx="56900">1</cx:pt>
          <cx:pt idx="56901">0</cx:pt>
          <cx:pt idx="56902">1</cx:pt>
          <cx:pt idx="56903">0</cx:pt>
          <cx:pt idx="56904">0</cx:pt>
          <cx:pt idx="56905">0</cx:pt>
          <cx:pt idx="56906">0</cx:pt>
          <cx:pt idx="56907">0</cx:pt>
          <cx:pt idx="56908">1</cx:pt>
          <cx:pt idx="56909">1</cx:pt>
          <cx:pt idx="56910">1</cx:pt>
          <cx:pt idx="56911">0</cx:pt>
          <cx:pt idx="56912">1</cx:pt>
          <cx:pt idx="56913">1</cx:pt>
          <cx:pt idx="56914">1</cx:pt>
          <cx:pt idx="56915">0</cx:pt>
          <cx:pt idx="56916">0</cx:pt>
          <cx:pt idx="56917">0</cx:pt>
          <cx:pt idx="56918">1</cx:pt>
          <cx:pt idx="56919">0</cx:pt>
          <cx:pt idx="56920">1</cx:pt>
          <cx:pt idx="56921">0</cx:pt>
          <cx:pt idx="56922">0</cx:pt>
          <cx:pt idx="56923">1</cx:pt>
          <cx:pt idx="56924">1</cx:pt>
          <cx:pt idx="56925">1</cx:pt>
          <cx:pt idx="56926">0</cx:pt>
          <cx:pt idx="56927">0</cx:pt>
          <cx:pt idx="56928">0</cx:pt>
          <cx:pt idx="56929">1</cx:pt>
          <cx:pt idx="56930">1</cx:pt>
          <cx:pt idx="56931">1</cx:pt>
          <cx:pt idx="56932">0</cx:pt>
          <cx:pt idx="56933">0</cx:pt>
          <cx:pt idx="56934">0</cx:pt>
          <cx:pt idx="56935">0</cx:pt>
          <cx:pt idx="56936">0</cx:pt>
          <cx:pt idx="56937">0</cx:pt>
          <cx:pt idx="56938">1</cx:pt>
          <cx:pt idx="56939">1</cx:pt>
          <cx:pt idx="56940">0</cx:pt>
          <cx:pt idx="56941">0</cx:pt>
          <cx:pt idx="56942">0</cx:pt>
          <cx:pt idx="56943">0</cx:pt>
          <cx:pt idx="56944">0</cx:pt>
          <cx:pt idx="56945">1</cx:pt>
          <cx:pt idx="56946">0</cx:pt>
          <cx:pt idx="56947">1</cx:pt>
          <cx:pt idx="56948">0</cx:pt>
          <cx:pt idx="56949">0</cx:pt>
          <cx:pt idx="56950">0</cx:pt>
          <cx:pt idx="56951">0</cx:pt>
          <cx:pt idx="56952">0</cx:pt>
          <cx:pt idx="56953">1</cx:pt>
          <cx:pt idx="56954">0</cx:pt>
          <cx:pt idx="56955">1</cx:pt>
          <cx:pt idx="56956">0</cx:pt>
          <cx:pt idx="56957">1</cx:pt>
          <cx:pt idx="56958">1</cx:pt>
          <cx:pt idx="56959">1</cx:pt>
          <cx:pt idx="56960">0</cx:pt>
          <cx:pt idx="56961">1</cx:pt>
          <cx:pt idx="56962">1</cx:pt>
          <cx:pt idx="56963">0</cx:pt>
          <cx:pt idx="56964">1</cx:pt>
          <cx:pt idx="56965">0</cx:pt>
          <cx:pt idx="56966">0</cx:pt>
          <cx:pt idx="56967">0</cx:pt>
          <cx:pt idx="56968">0</cx:pt>
          <cx:pt idx="56969">1</cx:pt>
          <cx:pt idx="56970">1</cx:pt>
          <cx:pt idx="56971">1</cx:pt>
          <cx:pt idx="56972">1</cx:pt>
          <cx:pt idx="56973">0</cx:pt>
          <cx:pt idx="56974">1</cx:pt>
          <cx:pt idx="56975">1</cx:pt>
          <cx:pt idx="56976">0</cx:pt>
          <cx:pt idx="56977">1</cx:pt>
          <cx:pt idx="56978">0</cx:pt>
          <cx:pt idx="56979">1</cx:pt>
          <cx:pt idx="56980">1</cx:pt>
          <cx:pt idx="56981">1</cx:pt>
          <cx:pt idx="56982">0</cx:pt>
          <cx:pt idx="56983">0</cx:pt>
          <cx:pt idx="56984">0</cx:pt>
          <cx:pt idx="56985">0</cx:pt>
          <cx:pt idx="56986">0</cx:pt>
          <cx:pt idx="56987">1</cx:pt>
          <cx:pt idx="56988">0</cx:pt>
          <cx:pt idx="56989">0</cx:pt>
          <cx:pt idx="56990">0</cx:pt>
          <cx:pt idx="56991">1</cx:pt>
          <cx:pt idx="56992">0</cx:pt>
          <cx:pt idx="56993">0</cx:pt>
          <cx:pt idx="56994">0</cx:pt>
          <cx:pt idx="56995">1</cx:pt>
          <cx:pt idx="56996">1</cx:pt>
          <cx:pt idx="56997">1</cx:pt>
          <cx:pt idx="56998">1</cx:pt>
          <cx:pt idx="56999">0</cx:pt>
          <cx:pt idx="57000">0</cx:pt>
          <cx:pt idx="57001">0</cx:pt>
          <cx:pt idx="57002">0</cx:pt>
          <cx:pt idx="57003">1</cx:pt>
          <cx:pt idx="57004">0</cx:pt>
          <cx:pt idx="57005">0</cx:pt>
          <cx:pt idx="57006">1</cx:pt>
          <cx:pt idx="57007">0</cx:pt>
          <cx:pt idx="57008">1</cx:pt>
          <cx:pt idx="57009">0</cx:pt>
          <cx:pt idx="57010">0</cx:pt>
          <cx:pt idx="57011">1</cx:pt>
          <cx:pt idx="57012">0</cx:pt>
          <cx:pt idx="57013">0</cx:pt>
          <cx:pt idx="57014">1</cx:pt>
          <cx:pt idx="57015">0</cx:pt>
          <cx:pt idx="57016">1</cx:pt>
          <cx:pt idx="57017">0</cx:pt>
          <cx:pt idx="57018">0</cx:pt>
          <cx:pt idx="57019">0</cx:pt>
          <cx:pt idx="57020">0</cx:pt>
          <cx:pt idx="57021">0</cx:pt>
          <cx:pt idx="57022">0</cx:pt>
          <cx:pt idx="57023">0</cx:pt>
          <cx:pt idx="57024">0</cx:pt>
          <cx:pt idx="57025">1</cx:pt>
          <cx:pt idx="57026">1</cx:pt>
          <cx:pt idx="57027">0</cx:pt>
          <cx:pt idx="57028">0</cx:pt>
          <cx:pt idx="57029">0</cx:pt>
          <cx:pt idx="57030">0</cx:pt>
          <cx:pt idx="57031">1</cx:pt>
          <cx:pt idx="57032">1</cx:pt>
          <cx:pt idx="57033">0</cx:pt>
          <cx:pt idx="57034">1</cx:pt>
          <cx:pt idx="57035">1</cx:pt>
          <cx:pt idx="57036">0</cx:pt>
          <cx:pt idx="57037">0</cx:pt>
          <cx:pt idx="57038">1</cx:pt>
          <cx:pt idx="57039">0</cx:pt>
          <cx:pt idx="57040">0</cx:pt>
          <cx:pt idx="57041">0</cx:pt>
          <cx:pt idx="57042">0</cx:pt>
          <cx:pt idx="57043">1</cx:pt>
          <cx:pt idx="57044">0</cx:pt>
          <cx:pt idx="57045">0</cx:pt>
          <cx:pt idx="57046">0</cx:pt>
          <cx:pt idx="57047">1</cx:pt>
          <cx:pt idx="57048">1</cx:pt>
          <cx:pt idx="57049">0</cx:pt>
          <cx:pt idx="57050">0</cx:pt>
          <cx:pt idx="57051">1</cx:pt>
          <cx:pt idx="57052">0</cx:pt>
          <cx:pt idx="57053">1</cx:pt>
          <cx:pt idx="57054">1</cx:pt>
          <cx:pt idx="57055">1</cx:pt>
          <cx:pt idx="57056">1</cx:pt>
          <cx:pt idx="57057">1</cx:pt>
          <cx:pt idx="57058">1</cx:pt>
          <cx:pt idx="57059">0</cx:pt>
          <cx:pt idx="57060">1</cx:pt>
          <cx:pt idx="57061">0</cx:pt>
          <cx:pt idx="57062">0</cx:pt>
          <cx:pt idx="57063">1</cx:pt>
          <cx:pt idx="57064">0</cx:pt>
          <cx:pt idx="57065">1</cx:pt>
          <cx:pt idx="57066">1</cx:pt>
          <cx:pt idx="57067">1</cx:pt>
          <cx:pt idx="57068">0</cx:pt>
          <cx:pt idx="57069">1</cx:pt>
          <cx:pt idx="57070">0</cx:pt>
          <cx:pt idx="57071">1</cx:pt>
          <cx:pt idx="57072">0</cx:pt>
          <cx:pt idx="57073">1</cx:pt>
          <cx:pt idx="57074">0</cx:pt>
          <cx:pt idx="57075">1</cx:pt>
          <cx:pt idx="57076">0</cx:pt>
          <cx:pt idx="57077">1</cx:pt>
          <cx:pt idx="57078">1</cx:pt>
          <cx:pt idx="57079">0</cx:pt>
          <cx:pt idx="57080">1</cx:pt>
          <cx:pt idx="57081">0</cx:pt>
          <cx:pt idx="57082">0</cx:pt>
          <cx:pt idx="57083">0</cx:pt>
          <cx:pt idx="57084">0</cx:pt>
          <cx:pt idx="57085">1</cx:pt>
          <cx:pt idx="57086">0</cx:pt>
          <cx:pt idx="57087">1</cx:pt>
          <cx:pt idx="57088">1</cx:pt>
          <cx:pt idx="57089">1</cx:pt>
          <cx:pt idx="57090">0</cx:pt>
          <cx:pt idx="57091">0</cx:pt>
          <cx:pt idx="57092">0</cx:pt>
          <cx:pt idx="57093">0</cx:pt>
          <cx:pt idx="57094">0</cx:pt>
          <cx:pt idx="57095">0</cx:pt>
          <cx:pt idx="57096">0</cx:pt>
          <cx:pt idx="57097">1</cx:pt>
          <cx:pt idx="57098">1</cx:pt>
          <cx:pt idx="57099">1</cx:pt>
          <cx:pt idx="57100">1</cx:pt>
          <cx:pt idx="57101">1</cx:pt>
          <cx:pt idx="57102">0</cx:pt>
          <cx:pt idx="57103">0</cx:pt>
          <cx:pt idx="57104">1</cx:pt>
          <cx:pt idx="57105">1</cx:pt>
          <cx:pt idx="57106">1</cx:pt>
          <cx:pt idx="57107">0</cx:pt>
          <cx:pt idx="57108">0</cx:pt>
          <cx:pt idx="57109">0</cx:pt>
          <cx:pt idx="57110">1</cx:pt>
          <cx:pt idx="57111">0</cx:pt>
          <cx:pt idx="57112">1</cx:pt>
          <cx:pt idx="57113">0</cx:pt>
          <cx:pt idx="57114">0</cx:pt>
          <cx:pt idx="57115">0</cx:pt>
          <cx:pt idx="57116">1</cx:pt>
          <cx:pt idx="57117">0</cx:pt>
          <cx:pt idx="57118">0</cx:pt>
          <cx:pt idx="57119">0</cx:pt>
          <cx:pt idx="57120">1</cx:pt>
          <cx:pt idx="57121">0</cx:pt>
          <cx:pt idx="57122">0</cx:pt>
          <cx:pt idx="57123">1</cx:pt>
          <cx:pt idx="57124">1</cx:pt>
          <cx:pt idx="57125">0</cx:pt>
          <cx:pt idx="57126">1</cx:pt>
          <cx:pt idx="57127">1</cx:pt>
          <cx:pt idx="57128">0</cx:pt>
          <cx:pt idx="57129">0</cx:pt>
          <cx:pt idx="57130">1</cx:pt>
          <cx:pt idx="57131">0</cx:pt>
          <cx:pt idx="57132">1</cx:pt>
          <cx:pt idx="57133">0</cx:pt>
          <cx:pt idx="57134">1</cx:pt>
          <cx:pt idx="57135">1</cx:pt>
          <cx:pt idx="57136">0</cx:pt>
          <cx:pt idx="57137">0</cx:pt>
          <cx:pt idx="57138">0</cx:pt>
          <cx:pt idx="57139">0</cx:pt>
          <cx:pt idx="57140">1</cx:pt>
          <cx:pt idx="57141">0</cx:pt>
          <cx:pt idx="57142">0</cx:pt>
          <cx:pt idx="57143">1</cx:pt>
          <cx:pt idx="57144">0</cx:pt>
          <cx:pt idx="57145">0</cx:pt>
          <cx:pt idx="57146">1</cx:pt>
          <cx:pt idx="57147">0</cx:pt>
          <cx:pt idx="57148">1</cx:pt>
          <cx:pt idx="57149">0</cx:pt>
          <cx:pt idx="57150">0</cx:pt>
          <cx:pt idx="57151">0</cx:pt>
          <cx:pt idx="57152">0</cx:pt>
          <cx:pt idx="57153">0</cx:pt>
          <cx:pt idx="57154">0</cx:pt>
          <cx:pt idx="57155">0</cx:pt>
          <cx:pt idx="57156">1</cx:pt>
          <cx:pt idx="57157">1</cx:pt>
          <cx:pt idx="57158">0</cx:pt>
          <cx:pt idx="57159">0</cx:pt>
          <cx:pt idx="57160">1</cx:pt>
          <cx:pt idx="57161">0</cx:pt>
          <cx:pt idx="57162">1</cx:pt>
          <cx:pt idx="57163">1</cx:pt>
          <cx:pt idx="57164">1</cx:pt>
          <cx:pt idx="57165">0</cx:pt>
          <cx:pt idx="57166">1</cx:pt>
          <cx:pt idx="57167">0</cx:pt>
          <cx:pt idx="57168">0</cx:pt>
          <cx:pt idx="57169">0</cx:pt>
          <cx:pt idx="57170">1</cx:pt>
          <cx:pt idx="57171">0</cx:pt>
          <cx:pt idx="57172">1</cx:pt>
          <cx:pt idx="57173">1</cx:pt>
          <cx:pt idx="57174">1</cx:pt>
          <cx:pt idx="57175">0</cx:pt>
          <cx:pt idx="57176">0</cx:pt>
          <cx:pt idx="57177">0</cx:pt>
          <cx:pt idx="57178">0</cx:pt>
          <cx:pt idx="57179">0</cx:pt>
          <cx:pt idx="57180">1</cx:pt>
          <cx:pt idx="57181">1</cx:pt>
          <cx:pt idx="57182">1</cx:pt>
          <cx:pt idx="57183">1</cx:pt>
          <cx:pt idx="57184">0</cx:pt>
          <cx:pt idx="57185">1</cx:pt>
          <cx:pt idx="57186">1</cx:pt>
          <cx:pt idx="57187">1</cx:pt>
          <cx:pt idx="57188">0</cx:pt>
          <cx:pt idx="57189">1</cx:pt>
          <cx:pt idx="57190">0</cx:pt>
          <cx:pt idx="57191">1</cx:pt>
          <cx:pt idx="57192">0</cx:pt>
          <cx:pt idx="57193">1</cx:pt>
          <cx:pt idx="57194">1</cx:pt>
          <cx:pt idx="57195">0</cx:pt>
          <cx:pt idx="57196">0</cx:pt>
          <cx:pt idx="57197">1</cx:pt>
          <cx:pt idx="57198">1</cx:pt>
          <cx:pt idx="57199">0</cx:pt>
          <cx:pt idx="57200">0</cx:pt>
          <cx:pt idx="57201">1</cx:pt>
          <cx:pt idx="57202">1</cx:pt>
          <cx:pt idx="57203">0</cx:pt>
          <cx:pt idx="57204">0</cx:pt>
          <cx:pt idx="57205">0</cx:pt>
          <cx:pt idx="57206">0</cx:pt>
          <cx:pt idx="57207">0</cx:pt>
          <cx:pt idx="57208">0</cx:pt>
          <cx:pt idx="57209">0</cx:pt>
          <cx:pt idx="57210">1</cx:pt>
          <cx:pt idx="57211">0</cx:pt>
          <cx:pt idx="57212">0</cx:pt>
          <cx:pt idx="57213">1</cx:pt>
          <cx:pt idx="57214">0</cx:pt>
          <cx:pt idx="57215">0</cx:pt>
          <cx:pt idx="57216">1</cx:pt>
          <cx:pt idx="57217">1</cx:pt>
          <cx:pt idx="57218">1</cx:pt>
          <cx:pt idx="57219">0</cx:pt>
          <cx:pt idx="57220">0</cx:pt>
          <cx:pt idx="57221">1</cx:pt>
          <cx:pt idx="57222">0</cx:pt>
          <cx:pt idx="57223">1</cx:pt>
          <cx:pt idx="57224">1</cx:pt>
          <cx:pt idx="57225">1</cx:pt>
          <cx:pt idx="57226">0</cx:pt>
          <cx:pt idx="57227">1</cx:pt>
          <cx:pt idx="57228">0</cx:pt>
          <cx:pt idx="57229">0</cx:pt>
          <cx:pt idx="57230">0</cx:pt>
          <cx:pt idx="57231">1</cx:pt>
          <cx:pt idx="57232">1</cx:pt>
          <cx:pt idx="57233">1</cx:pt>
          <cx:pt idx="57234">0</cx:pt>
          <cx:pt idx="57235">0</cx:pt>
          <cx:pt idx="57236">1</cx:pt>
          <cx:pt idx="57237">0</cx:pt>
          <cx:pt idx="57238">0</cx:pt>
          <cx:pt idx="57239">0</cx:pt>
          <cx:pt idx="57240">1</cx:pt>
          <cx:pt idx="57241">1</cx:pt>
          <cx:pt idx="57242">1</cx:pt>
          <cx:pt idx="57243">0</cx:pt>
          <cx:pt idx="57244">0</cx:pt>
          <cx:pt idx="57245">0</cx:pt>
          <cx:pt idx="57246">1</cx:pt>
          <cx:pt idx="57247">1</cx:pt>
          <cx:pt idx="57248">0</cx:pt>
          <cx:pt idx="57249">0</cx:pt>
          <cx:pt idx="57250">1</cx:pt>
          <cx:pt idx="57251">1</cx:pt>
          <cx:pt idx="57252">0</cx:pt>
          <cx:pt idx="57253">0</cx:pt>
          <cx:pt idx="57254">0</cx:pt>
          <cx:pt idx="57255">1</cx:pt>
          <cx:pt idx="57256">0</cx:pt>
          <cx:pt idx="57257">1</cx:pt>
          <cx:pt idx="57258">1</cx:pt>
          <cx:pt idx="57259">0</cx:pt>
          <cx:pt idx="57260">0</cx:pt>
          <cx:pt idx="57261">1</cx:pt>
          <cx:pt idx="57262">0</cx:pt>
          <cx:pt idx="57263">0</cx:pt>
          <cx:pt idx="57264">1</cx:pt>
          <cx:pt idx="57265">1</cx:pt>
          <cx:pt idx="57266">1</cx:pt>
          <cx:pt idx="57267">0</cx:pt>
          <cx:pt idx="57268">0</cx:pt>
          <cx:pt idx="57269">1</cx:pt>
          <cx:pt idx="57270">0</cx:pt>
          <cx:pt idx="57271">0</cx:pt>
          <cx:pt idx="57272">0</cx:pt>
          <cx:pt idx="57273">1</cx:pt>
          <cx:pt idx="57274">1</cx:pt>
          <cx:pt idx="57275">0</cx:pt>
          <cx:pt idx="57276">0</cx:pt>
          <cx:pt idx="57277">0</cx:pt>
          <cx:pt idx="57278">0</cx:pt>
          <cx:pt idx="57279">0</cx:pt>
          <cx:pt idx="57280">1</cx:pt>
          <cx:pt idx="57281">0</cx:pt>
          <cx:pt idx="57282">1</cx:pt>
          <cx:pt idx="57283">0</cx:pt>
          <cx:pt idx="57284">0</cx:pt>
          <cx:pt idx="57285">0</cx:pt>
          <cx:pt idx="57286">1</cx:pt>
          <cx:pt idx="57287">1</cx:pt>
          <cx:pt idx="57288">0</cx:pt>
          <cx:pt idx="57289">0</cx:pt>
          <cx:pt idx="57290">1</cx:pt>
          <cx:pt idx="57291">0</cx:pt>
          <cx:pt idx="57292">0</cx:pt>
          <cx:pt idx="57293">1</cx:pt>
          <cx:pt idx="57294">0</cx:pt>
          <cx:pt idx="57295">0</cx:pt>
          <cx:pt idx="57296">0</cx:pt>
          <cx:pt idx="57297">1</cx:pt>
          <cx:pt idx="57298">0</cx:pt>
          <cx:pt idx="57299">0</cx:pt>
          <cx:pt idx="57300">0</cx:pt>
          <cx:pt idx="57301">1</cx:pt>
          <cx:pt idx="57302">0</cx:pt>
          <cx:pt idx="57303">0</cx:pt>
          <cx:pt idx="57304">1</cx:pt>
          <cx:pt idx="57305">1</cx:pt>
          <cx:pt idx="57306">0</cx:pt>
          <cx:pt idx="57307">1</cx:pt>
          <cx:pt idx="57308">0</cx:pt>
          <cx:pt idx="57309">0</cx:pt>
          <cx:pt idx="57310">1</cx:pt>
          <cx:pt idx="57311">0</cx:pt>
          <cx:pt idx="57312">1</cx:pt>
          <cx:pt idx="57313">0</cx:pt>
          <cx:pt idx="57314">1</cx:pt>
          <cx:pt idx="57315">0</cx:pt>
          <cx:pt idx="57316">0</cx:pt>
          <cx:pt idx="57317">0</cx:pt>
          <cx:pt idx="57318">1</cx:pt>
          <cx:pt idx="57319">0</cx:pt>
          <cx:pt idx="57320">1</cx:pt>
          <cx:pt idx="57321">1</cx:pt>
          <cx:pt idx="57322">0</cx:pt>
          <cx:pt idx="57323">1</cx:pt>
          <cx:pt idx="57324">0</cx:pt>
          <cx:pt idx="57325">1</cx:pt>
          <cx:pt idx="57326">1</cx:pt>
          <cx:pt idx="57327">0</cx:pt>
          <cx:pt idx="57328">1</cx:pt>
          <cx:pt idx="57329">0</cx:pt>
          <cx:pt idx="57330">1</cx:pt>
          <cx:pt idx="57331">0</cx:pt>
          <cx:pt idx="57332">0</cx:pt>
          <cx:pt idx="57333">1</cx:pt>
          <cx:pt idx="57334">0</cx:pt>
          <cx:pt idx="57335">0</cx:pt>
          <cx:pt idx="57336">1</cx:pt>
          <cx:pt idx="57337">0</cx:pt>
          <cx:pt idx="57338">1</cx:pt>
          <cx:pt idx="57339">1</cx:pt>
          <cx:pt idx="57340">1</cx:pt>
          <cx:pt idx="57341">1</cx:pt>
          <cx:pt idx="57342">1</cx:pt>
          <cx:pt idx="57343">0</cx:pt>
          <cx:pt idx="57344">0</cx:pt>
          <cx:pt idx="57345">0</cx:pt>
          <cx:pt idx="57346">0</cx:pt>
          <cx:pt idx="57347">0</cx:pt>
          <cx:pt idx="57348">1</cx:pt>
          <cx:pt idx="57349">1</cx:pt>
          <cx:pt idx="57350">0</cx:pt>
          <cx:pt idx="57351">0</cx:pt>
          <cx:pt idx="57352">1</cx:pt>
          <cx:pt idx="57353">0</cx:pt>
          <cx:pt idx="57354">0</cx:pt>
          <cx:pt idx="57355">1</cx:pt>
          <cx:pt idx="57356">1</cx:pt>
          <cx:pt idx="57357">0</cx:pt>
          <cx:pt idx="57358">0</cx:pt>
          <cx:pt idx="57359">1</cx:pt>
          <cx:pt idx="57360">0</cx:pt>
          <cx:pt idx="57361">0</cx:pt>
          <cx:pt idx="57362">0</cx:pt>
          <cx:pt idx="57363">1</cx:pt>
          <cx:pt idx="57364">1</cx:pt>
          <cx:pt idx="57365">0</cx:pt>
          <cx:pt idx="57366">0</cx:pt>
          <cx:pt idx="57367">1</cx:pt>
          <cx:pt idx="57368">0</cx:pt>
          <cx:pt idx="57369">1</cx:pt>
          <cx:pt idx="57370">0</cx:pt>
          <cx:pt idx="57371">0</cx:pt>
          <cx:pt idx="57372">0</cx:pt>
          <cx:pt idx="57373">0</cx:pt>
          <cx:pt idx="57374">0</cx:pt>
          <cx:pt idx="57375">1</cx:pt>
          <cx:pt idx="57376">0</cx:pt>
          <cx:pt idx="57377">0</cx:pt>
          <cx:pt idx="57378">0</cx:pt>
          <cx:pt idx="57379">0</cx:pt>
          <cx:pt idx="57380">1</cx:pt>
          <cx:pt idx="57381">1</cx:pt>
          <cx:pt idx="57382">0</cx:pt>
          <cx:pt idx="57383">0</cx:pt>
          <cx:pt idx="57384">0</cx:pt>
          <cx:pt idx="57385">1</cx:pt>
          <cx:pt idx="57386">0</cx:pt>
          <cx:pt idx="57387">0</cx:pt>
          <cx:pt idx="57388">0</cx:pt>
          <cx:pt idx="57389">0</cx:pt>
          <cx:pt idx="57390">0</cx:pt>
          <cx:pt idx="57391">0</cx:pt>
          <cx:pt idx="57392">0</cx:pt>
          <cx:pt idx="57393">1</cx:pt>
          <cx:pt idx="57394">0</cx:pt>
          <cx:pt idx="57395">1</cx:pt>
          <cx:pt idx="57396">1</cx:pt>
          <cx:pt idx="57397">0</cx:pt>
          <cx:pt idx="57398">1</cx:pt>
          <cx:pt idx="57399">1</cx:pt>
          <cx:pt idx="57400">1</cx:pt>
          <cx:pt idx="57401">1</cx:pt>
          <cx:pt idx="57402">0</cx:pt>
          <cx:pt idx="57403">1</cx:pt>
          <cx:pt idx="57404">1</cx:pt>
          <cx:pt idx="57405">0</cx:pt>
          <cx:pt idx="57406">0</cx:pt>
          <cx:pt idx="57407">0</cx:pt>
          <cx:pt idx="57408">1</cx:pt>
          <cx:pt idx="57409">0</cx:pt>
          <cx:pt idx="57410">1</cx:pt>
          <cx:pt idx="57411">1</cx:pt>
          <cx:pt idx="57412">0</cx:pt>
          <cx:pt idx="57413">0</cx:pt>
          <cx:pt idx="57414">1</cx:pt>
          <cx:pt idx="57415">0</cx:pt>
          <cx:pt idx="57416">0</cx:pt>
          <cx:pt idx="57417">0</cx:pt>
          <cx:pt idx="57418">0</cx:pt>
          <cx:pt idx="57419">1</cx:pt>
          <cx:pt idx="57420">0</cx:pt>
          <cx:pt idx="57421">1</cx:pt>
          <cx:pt idx="57422">0</cx:pt>
          <cx:pt idx="57423">1</cx:pt>
          <cx:pt idx="57424">0</cx:pt>
          <cx:pt idx="57425">1</cx:pt>
          <cx:pt idx="57426">1</cx:pt>
          <cx:pt idx="57427">0</cx:pt>
          <cx:pt idx="57428">0</cx:pt>
          <cx:pt idx="57429">0</cx:pt>
          <cx:pt idx="57430">0</cx:pt>
          <cx:pt idx="57431">1</cx:pt>
          <cx:pt idx="57432">0</cx:pt>
          <cx:pt idx="57433">0</cx:pt>
          <cx:pt idx="57434">1</cx:pt>
          <cx:pt idx="57435">0</cx:pt>
          <cx:pt idx="57436">0</cx:pt>
          <cx:pt idx="57437">0</cx:pt>
          <cx:pt idx="57438">1</cx:pt>
          <cx:pt idx="57439">0</cx:pt>
          <cx:pt idx="57440">1</cx:pt>
          <cx:pt idx="57441">0</cx:pt>
          <cx:pt idx="57442">1</cx:pt>
          <cx:pt idx="57443">0</cx:pt>
          <cx:pt idx="57444">1</cx:pt>
          <cx:pt idx="57445">1</cx:pt>
          <cx:pt idx="57446">1</cx:pt>
          <cx:pt idx="57447">1</cx:pt>
          <cx:pt idx="57448">1</cx:pt>
          <cx:pt idx="57449">1</cx:pt>
          <cx:pt idx="57450">0</cx:pt>
          <cx:pt idx="57451">1</cx:pt>
          <cx:pt idx="57452">0</cx:pt>
          <cx:pt idx="57453">1</cx:pt>
          <cx:pt idx="57454">1</cx:pt>
          <cx:pt idx="57455">0</cx:pt>
          <cx:pt idx="57456">1</cx:pt>
          <cx:pt idx="57457">0</cx:pt>
          <cx:pt idx="57458">1</cx:pt>
          <cx:pt idx="57459">0</cx:pt>
          <cx:pt idx="57460">0</cx:pt>
          <cx:pt idx="57461">0</cx:pt>
          <cx:pt idx="57462">1</cx:pt>
          <cx:pt idx="57463">1</cx:pt>
          <cx:pt idx="57464">0</cx:pt>
          <cx:pt idx="57465">0</cx:pt>
          <cx:pt idx="57466">0</cx:pt>
          <cx:pt idx="57467">0</cx:pt>
          <cx:pt idx="57468">1</cx:pt>
          <cx:pt idx="57469">1</cx:pt>
          <cx:pt idx="57470">0</cx:pt>
          <cx:pt idx="57471">1</cx:pt>
          <cx:pt idx="57472">0</cx:pt>
          <cx:pt idx="57473">0</cx:pt>
          <cx:pt idx="57474">1</cx:pt>
          <cx:pt idx="57475">0</cx:pt>
          <cx:pt idx="57476">1</cx:pt>
          <cx:pt idx="57477">0</cx:pt>
          <cx:pt idx="57478">1</cx:pt>
          <cx:pt idx="57479">0</cx:pt>
          <cx:pt idx="57480">0</cx:pt>
          <cx:pt idx="57481">0</cx:pt>
          <cx:pt idx="57482">1</cx:pt>
          <cx:pt idx="57483">1</cx:pt>
          <cx:pt idx="57484">0</cx:pt>
          <cx:pt idx="57485">1</cx:pt>
          <cx:pt idx="57486">1</cx:pt>
          <cx:pt idx="57487">0</cx:pt>
          <cx:pt idx="57488">1</cx:pt>
          <cx:pt idx="57489">1</cx:pt>
          <cx:pt idx="57490">1</cx:pt>
          <cx:pt idx="57491">0</cx:pt>
          <cx:pt idx="57492">1</cx:pt>
          <cx:pt idx="57493">0</cx:pt>
          <cx:pt idx="57494">0</cx:pt>
          <cx:pt idx="57495">0</cx:pt>
          <cx:pt idx="57496">0</cx:pt>
          <cx:pt idx="57497">0</cx:pt>
          <cx:pt idx="57498">0</cx:pt>
          <cx:pt idx="57499">0</cx:pt>
          <cx:pt idx="57500">0</cx:pt>
          <cx:pt idx="57501">1</cx:pt>
          <cx:pt idx="57502">1</cx:pt>
          <cx:pt idx="57503">1</cx:pt>
          <cx:pt idx="57504">0</cx:pt>
          <cx:pt idx="57505">0</cx:pt>
          <cx:pt idx="57506">0</cx:pt>
          <cx:pt idx="57507">0</cx:pt>
          <cx:pt idx="57508">0</cx:pt>
          <cx:pt idx="57509">1</cx:pt>
          <cx:pt idx="57510">0</cx:pt>
          <cx:pt idx="57511">1</cx:pt>
          <cx:pt idx="57512">1</cx:pt>
          <cx:pt idx="57513">1</cx:pt>
          <cx:pt idx="57514">0</cx:pt>
          <cx:pt idx="57515">0</cx:pt>
          <cx:pt idx="57516">1</cx:pt>
          <cx:pt idx="57517">1</cx:pt>
          <cx:pt idx="57518">0</cx:pt>
          <cx:pt idx="57519">0</cx:pt>
          <cx:pt idx="57520">0</cx:pt>
          <cx:pt idx="57521">1</cx:pt>
          <cx:pt idx="57522">0</cx:pt>
          <cx:pt idx="57523">0</cx:pt>
          <cx:pt idx="57524">1</cx:pt>
          <cx:pt idx="57525">0</cx:pt>
          <cx:pt idx="57526">0</cx:pt>
          <cx:pt idx="57527">0</cx:pt>
          <cx:pt idx="57528">1</cx:pt>
          <cx:pt idx="57529">1</cx:pt>
          <cx:pt idx="57530">0</cx:pt>
          <cx:pt idx="57531">0</cx:pt>
          <cx:pt idx="57532">1</cx:pt>
          <cx:pt idx="57533">1</cx:pt>
          <cx:pt idx="57534">1</cx:pt>
          <cx:pt idx="57535">1</cx:pt>
          <cx:pt idx="57536">0</cx:pt>
          <cx:pt idx="57537">1</cx:pt>
          <cx:pt idx="57538">0</cx:pt>
          <cx:pt idx="57539">0</cx:pt>
          <cx:pt idx="57540">1</cx:pt>
          <cx:pt idx="57541">0</cx:pt>
          <cx:pt idx="57542">1</cx:pt>
          <cx:pt idx="57543">1</cx:pt>
          <cx:pt idx="57544">0</cx:pt>
          <cx:pt idx="57545">0</cx:pt>
          <cx:pt idx="57546">1</cx:pt>
          <cx:pt idx="57547">0</cx:pt>
          <cx:pt idx="57548">0</cx:pt>
          <cx:pt idx="57549">0</cx:pt>
          <cx:pt idx="57550">1</cx:pt>
          <cx:pt idx="57551">1</cx:pt>
          <cx:pt idx="57552">0</cx:pt>
          <cx:pt idx="57553">1</cx:pt>
          <cx:pt idx="57554">0</cx:pt>
          <cx:pt idx="57555">1</cx:pt>
          <cx:pt idx="57556">1</cx:pt>
          <cx:pt idx="57557">0</cx:pt>
          <cx:pt idx="57558">0</cx:pt>
          <cx:pt idx="57559">0</cx:pt>
          <cx:pt idx="57560">1</cx:pt>
          <cx:pt idx="57561">0</cx:pt>
          <cx:pt idx="57562">0</cx:pt>
          <cx:pt idx="57563">0</cx:pt>
          <cx:pt idx="57564">0</cx:pt>
          <cx:pt idx="57565">1</cx:pt>
          <cx:pt idx="57566">0</cx:pt>
          <cx:pt idx="57567">0</cx:pt>
          <cx:pt idx="57568">1</cx:pt>
          <cx:pt idx="57569">1</cx:pt>
          <cx:pt idx="57570">0</cx:pt>
          <cx:pt idx="57571">0</cx:pt>
          <cx:pt idx="57572">0</cx:pt>
          <cx:pt idx="57573">1</cx:pt>
          <cx:pt idx="57574">0</cx:pt>
          <cx:pt idx="57575">1</cx:pt>
          <cx:pt idx="57576">0</cx:pt>
          <cx:pt idx="57577">0</cx:pt>
          <cx:pt idx="57578">0</cx:pt>
          <cx:pt idx="57579">0</cx:pt>
          <cx:pt idx="57580">0</cx:pt>
          <cx:pt idx="57581">1</cx:pt>
          <cx:pt idx="57582">0</cx:pt>
          <cx:pt idx="57583">0</cx:pt>
          <cx:pt idx="57584">1</cx:pt>
          <cx:pt idx="57585">0</cx:pt>
          <cx:pt idx="57586">0</cx:pt>
          <cx:pt idx="57587">0</cx:pt>
          <cx:pt idx="57588">0</cx:pt>
          <cx:pt idx="57589">0</cx:pt>
          <cx:pt idx="57590">1</cx:pt>
          <cx:pt idx="57591">0</cx:pt>
          <cx:pt idx="57592">0</cx:pt>
          <cx:pt idx="57593">0</cx:pt>
          <cx:pt idx="57594">0</cx:pt>
          <cx:pt idx="57595">1</cx:pt>
          <cx:pt idx="57596">0</cx:pt>
          <cx:pt idx="57597">1</cx:pt>
          <cx:pt idx="57598">0</cx:pt>
          <cx:pt idx="57599">0</cx:pt>
          <cx:pt idx="57600">0</cx:pt>
          <cx:pt idx="57601">1</cx:pt>
          <cx:pt idx="57602">1</cx:pt>
          <cx:pt idx="57603">0</cx:pt>
          <cx:pt idx="57604">1</cx:pt>
          <cx:pt idx="57605">1</cx:pt>
          <cx:pt idx="57606">1</cx:pt>
          <cx:pt idx="57607">1</cx:pt>
          <cx:pt idx="57608">0</cx:pt>
          <cx:pt idx="57609">0</cx:pt>
          <cx:pt idx="57610">0</cx:pt>
          <cx:pt idx="57611">1</cx:pt>
          <cx:pt idx="57612">1</cx:pt>
          <cx:pt idx="57613">0</cx:pt>
          <cx:pt idx="57614">0</cx:pt>
          <cx:pt idx="57615">1</cx:pt>
          <cx:pt idx="57616">1</cx:pt>
          <cx:pt idx="57617">0</cx:pt>
          <cx:pt idx="57618">0</cx:pt>
          <cx:pt idx="57619">0</cx:pt>
          <cx:pt idx="57620">0</cx:pt>
          <cx:pt idx="57621">0</cx:pt>
          <cx:pt idx="57622">0</cx:pt>
          <cx:pt idx="57623">1</cx:pt>
          <cx:pt idx="57624">1</cx:pt>
          <cx:pt idx="57625">1</cx:pt>
          <cx:pt idx="57626">1</cx:pt>
          <cx:pt idx="57627">1</cx:pt>
          <cx:pt idx="57628">0</cx:pt>
          <cx:pt idx="57629">1</cx:pt>
          <cx:pt idx="57630">0</cx:pt>
          <cx:pt idx="57631">1</cx:pt>
          <cx:pt idx="57632">0</cx:pt>
          <cx:pt idx="57633">1</cx:pt>
          <cx:pt idx="57634">1</cx:pt>
          <cx:pt idx="57635">1</cx:pt>
          <cx:pt idx="57636">0</cx:pt>
          <cx:pt idx="57637">1</cx:pt>
          <cx:pt idx="57638">0</cx:pt>
          <cx:pt idx="57639">0</cx:pt>
          <cx:pt idx="57640">0</cx:pt>
          <cx:pt idx="57641">0</cx:pt>
          <cx:pt idx="57642">1</cx:pt>
          <cx:pt idx="57643">0</cx:pt>
          <cx:pt idx="57644">1</cx:pt>
          <cx:pt idx="57645">1</cx:pt>
          <cx:pt idx="57646">1</cx:pt>
          <cx:pt idx="57647">0</cx:pt>
          <cx:pt idx="57648">1</cx:pt>
          <cx:pt idx="57649">0</cx:pt>
          <cx:pt idx="57650">0</cx:pt>
          <cx:pt idx="57651">0</cx:pt>
          <cx:pt idx="57652">0</cx:pt>
          <cx:pt idx="57653">0</cx:pt>
          <cx:pt idx="57654">1</cx:pt>
          <cx:pt idx="57655">0</cx:pt>
          <cx:pt idx="57656">1</cx:pt>
          <cx:pt idx="57657">1</cx:pt>
          <cx:pt idx="57658">0</cx:pt>
          <cx:pt idx="57659">1</cx:pt>
          <cx:pt idx="57660">1</cx:pt>
          <cx:pt idx="57661">0</cx:pt>
          <cx:pt idx="57662">1</cx:pt>
          <cx:pt idx="57663">0</cx:pt>
          <cx:pt idx="57664">1</cx:pt>
          <cx:pt idx="57665">0</cx:pt>
          <cx:pt idx="57666">0</cx:pt>
          <cx:pt idx="57667">1</cx:pt>
          <cx:pt idx="57668">0</cx:pt>
          <cx:pt idx="57669">0</cx:pt>
          <cx:pt idx="57670">1</cx:pt>
          <cx:pt idx="57671">0</cx:pt>
          <cx:pt idx="57672">1</cx:pt>
          <cx:pt idx="57673">1</cx:pt>
          <cx:pt idx="57674">0</cx:pt>
          <cx:pt idx="57675">1</cx:pt>
          <cx:pt idx="57676">0</cx:pt>
          <cx:pt idx="57677">0</cx:pt>
          <cx:pt idx="57678">0</cx:pt>
          <cx:pt idx="57679">0</cx:pt>
          <cx:pt idx="57680">1</cx:pt>
          <cx:pt idx="57681">1</cx:pt>
          <cx:pt idx="57682">1</cx:pt>
          <cx:pt idx="57683">1</cx:pt>
          <cx:pt idx="57684">1</cx:pt>
          <cx:pt idx="57685">1</cx:pt>
          <cx:pt idx="57686">0</cx:pt>
          <cx:pt idx="57687">1</cx:pt>
          <cx:pt idx="57688">1</cx:pt>
          <cx:pt idx="57689">1</cx:pt>
          <cx:pt idx="57690">1</cx:pt>
          <cx:pt idx="57691">0</cx:pt>
          <cx:pt idx="57692">1</cx:pt>
          <cx:pt idx="57693">0</cx:pt>
          <cx:pt idx="57694">0</cx:pt>
          <cx:pt idx="57695">0</cx:pt>
          <cx:pt idx="57696">0</cx:pt>
          <cx:pt idx="57697">0</cx:pt>
          <cx:pt idx="57698">0</cx:pt>
          <cx:pt idx="57699">0</cx:pt>
          <cx:pt idx="57700">0</cx:pt>
          <cx:pt idx="57701">1</cx:pt>
          <cx:pt idx="57702">0</cx:pt>
          <cx:pt idx="57703">0</cx:pt>
          <cx:pt idx="57704">1</cx:pt>
          <cx:pt idx="57705">1</cx:pt>
          <cx:pt idx="57706">1</cx:pt>
          <cx:pt idx="57707">0</cx:pt>
          <cx:pt idx="57708">0</cx:pt>
          <cx:pt idx="57709">0</cx:pt>
          <cx:pt idx="57710">0</cx:pt>
          <cx:pt idx="57711">1</cx:pt>
          <cx:pt idx="57712">1</cx:pt>
          <cx:pt idx="57713">0</cx:pt>
          <cx:pt idx="57714">0</cx:pt>
          <cx:pt idx="57715">1</cx:pt>
          <cx:pt idx="57716">1</cx:pt>
          <cx:pt idx="57717">1</cx:pt>
          <cx:pt idx="57718">0</cx:pt>
          <cx:pt idx="57719">0</cx:pt>
          <cx:pt idx="57720">0</cx:pt>
          <cx:pt idx="57721">0</cx:pt>
          <cx:pt idx="57722">0</cx:pt>
          <cx:pt idx="57723">0</cx:pt>
          <cx:pt idx="57724">1</cx:pt>
          <cx:pt idx="57725">0</cx:pt>
          <cx:pt idx="57726">1</cx:pt>
          <cx:pt idx="57727">0</cx:pt>
          <cx:pt idx="57728">0</cx:pt>
          <cx:pt idx="57729">1</cx:pt>
          <cx:pt idx="57730">0</cx:pt>
          <cx:pt idx="57731">0</cx:pt>
          <cx:pt idx="57732">1</cx:pt>
          <cx:pt idx="57733">0</cx:pt>
          <cx:pt idx="57734">1</cx:pt>
          <cx:pt idx="57735">1</cx:pt>
          <cx:pt idx="57736">0</cx:pt>
          <cx:pt idx="57737">1</cx:pt>
          <cx:pt idx="57738">1</cx:pt>
          <cx:pt idx="57739">0</cx:pt>
          <cx:pt idx="57740">0</cx:pt>
          <cx:pt idx="57741">0</cx:pt>
          <cx:pt idx="57742">1</cx:pt>
          <cx:pt idx="57743">1</cx:pt>
          <cx:pt idx="57744">0</cx:pt>
          <cx:pt idx="57745">1</cx:pt>
          <cx:pt idx="57746">1</cx:pt>
          <cx:pt idx="57747">1</cx:pt>
          <cx:pt idx="57748">1</cx:pt>
          <cx:pt idx="57749">1</cx:pt>
          <cx:pt idx="57750">0</cx:pt>
          <cx:pt idx="57751">0</cx:pt>
          <cx:pt idx="57752">0</cx:pt>
          <cx:pt idx="57753">0</cx:pt>
          <cx:pt idx="57754">0</cx:pt>
          <cx:pt idx="57755">0</cx:pt>
          <cx:pt idx="57756">0</cx:pt>
          <cx:pt idx="57757">0</cx:pt>
          <cx:pt idx="57758">1</cx:pt>
          <cx:pt idx="57759">0</cx:pt>
          <cx:pt idx="57760">1</cx:pt>
          <cx:pt idx="57761">0</cx:pt>
          <cx:pt idx="57762">0</cx:pt>
          <cx:pt idx="57763">0</cx:pt>
          <cx:pt idx="57764">0</cx:pt>
          <cx:pt idx="57765">1</cx:pt>
          <cx:pt idx="57766">0</cx:pt>
          <cx:pt idx="57767">1</cx:pt>
          <cx:pt idx="57768">0</cx:pt>
          <cx:pt idx="57769">0</cx:pt>
          <cx:pt idx="57770">0</cx:pt>
          <cx:pt idx="57771">0</cx:pt>
          <cx:pt idx="57772">1</cx:pt>
          <cx:pt idx="57773">0</cx:pt>
          <cx:pt idx="57774">1</cx:pt>
          <cx:pt idx="57775">1</cx:pt>
          <cx:pt idx="57776">0</cx:pt>
          <cx:pt idx="57777">0</cx:pt>
          <cx:pt idx="57778">0</cx:pt>
          <cx:pt idx="57779">0</cx:pt>
          <cx:pt idx="57780">0</cx:pt>
          <cx:pt idx="57781">1</cx:pt>
          <cx:pt idx="57782">0</cx:pt>
          <cx:pt idx="57783">0</cx:pt>
          <cx:pt idx="57784">0</cx:pt>
          <cx:pt idx="57785">0</cx:pt>
          <cx:pt idx="57786">1</cx:pt>
          <cx:pt idx="57787">0</cx:pt>
          <cx:pt idx="57788">0</cx:pt>
          <cx:pt idx="57789">1</cx:pt>
          <cx:pt idx="57790">0</cx:pt>
          <cx:pt idx="57791">1</cx:pt>
          <cx:pt idx="57792">0</cx:pt>
          <cx:pt idx="57793">1</cx:pt>
          <cx:pt idx="57794">0</cx:pt>
          <cx:pt idx="57795">0</cx:pt>
          <cx:pt idx="57796">0</cx:pt>
          <cx:pt idx="57797">0</cx:pt>
          <cx:pt idx="57798">0</cx:pt>
          <cx:pt idx="57799">1</cx:pt>
          <cx:pt idx="57800">1</cx:pt>
          <cx:pt idx="57801">1</cx:pt>
          <cx:pt idx="57802">1</cx:pt>
          <cx:pt idx="57803">0</cx:pt>
          <cx:pt idx="57804">1</cx:pt>
          <cx:pt idx="57805">1</cx:pt>
          <cx:pt idx="57806">0</cx:pt>
          <cx:pt idx="57807">0</cx:pt>
          <cx:pt idx="57808">1</cx:pt>
          <cx:pt idx="57809">0</cx:pt>
          <cx:pt idx="57810">1</cx:pt>
          <cx:pt idx="57811">0</cx:pt>
          <cx:pt idx="57812">0</cx:pt>
          <cx:pt idx="57813">0</cx:pt>
          <cx:pt idx="57814">1</cx:pt>
          <cx:pt idx="57815">0</cx:pt>
          <cx:pt idx="57816">0</cx:pt>
          <cx:pt idx="57817">0</cx:pt>
          <cx:pt idx="57818">0</cx:pt>
          <cx:pt idx="57819">0</cx:pt>
          <cx:pt idx="57820">1</cx:pt>
          <cx:pt idx="57821">1</cx:pt>
          <cx:pt idx="57822">1</cx:pt>
          <cx:pt idx="57823">1</cx:pt>
          <cx:pt idx="57824">0</cx:pt>
          <cx:pt idx="57825">0</cx:pt>
          <cx:pt idx="57826">1</cx:pt>
          <cx:pt idx="57827">1</cx:pt>
          <cx:pt idx="57828">0</cx:pt>
          <cx:pt idx="57829">0</cx:pt>
          <cx:pt idx="57830">0</cx:pt>
          <cx:pt idx="57831">0</cx:pt>
          <cx:pt idx="57832">0</cx:pt>
          <cx:pt idx="57833">1</cx:pt>
          <cx:pt idx="57834">0</cx:pt>
          <cx:pt idx="57835">0</cx:pt>
          <cx:pt idx="57836">0</cx:pt>
          <cx:pt idx="57837">1</cx:pt>
          <cx:pt idx="57838">1</cx:pt>
          <cx:pt idx="57839">1</cx:pt>
          <cx:pt idx="57840">0</cx:pt>
          <cx:pt idx="57841">1</cx:pt>
          <cx:pt idx="57842">0</cx:pt>
          <cx:pt idx="57843">1</cx:pt>
          <cx:pt idx="57844">0</cx:pt>
          <cx:pt idx="57845">0</cx:pt>
          <cx:pt idx="57846">1</cx:pt>
          <cx:pt idx="57847">1</cx:pt>
          <cx:pt idx="57848">0</cx:pt>
          <cx:pt idx="57849">0</cx:pt>
          <cx:pt idx="57850">1</cx:pt>
          <cx:pt idx="57851">0</cx:pt>
          <cx:pt idx="57852">1</cx:pt>
          <cx:pt idx="57853">1</cx:pt>
          <cx:pt idx="57854">0</cx:pt>
          <cx:pt idx="57855">1</cx:pt>
          <cx:pt idx="57856">0</cx:pt>
          <cx:pt idx="57857">0</cx:pt>
          <cx:pt idx="57858">0</cx:pt>
          <cx:pt idx="57859">0</cx:pt>
          <cx:pt idx="57860">0</cx:pt>
          <cx:pt idx="57861">1</cx:pt>
          <cx:pt idx="57862">0</cx:pt>
          <cx:pt idx="57863">0</cx:pt>
          <cx:pt idx="57864">1</cx:pt>
          <cx:pt idx="57865">1</cx:pt>
          <cx:pt idx="57866">0</cx:pt>
          <cx:pt idx="57867">1</cx:pt>
          <cx:pt idx="57868">0</cx:pt>
          <cx:pt idx="57869">1</cx:pt>
          <cx:pt idx="57870">1</cx:pt>
          <cx:pt idx="57871">1</cx:pt>
          <cx:pt idx="57872">0</cx:pt>
          <cx:pt idx="57873">1</cx:pt>
          <cx:pt idx="57874">1</cx:pt>
          <cx:pt idx="57875">0</cx:pt>
          <cx:pt idx="57876">1</cx:pt>
          <cx:pt idx="57877">0</cx:pt>
          <cx:pt idx="57878">0</cx:pt>
          <cx:pt idx="57879">1</cx:pt>
          <cx:pt idx="57880">0</cx:pt>
          <cx:pt idx="57881">0</cx:pt>
          <cx:pt idx="57882">1</cx:pt>
          <cx:pt idx="57883">0</cx:pt>
          <cx:pt idx="57884">1</cx:pt>
          <cx:pt idx="57885">1</cx:pt>
          <cx:pt idx="57886">0</cx:pt>
          <cx:pt idx="57887">1</cx:pt>
          <cx:pt idx="57888">0</cx:pt>
          <cx:pt idx="57889">0</cx:pt>
          <cx:pt idx="57890">1</cx:pt>
          <cx:pt idx="57891">0</cx:pt>
          <cx:pt idx="57892">1</cx:pt>
          <cx:pt idx="57893">0</cx:pt>
          <cx:pt idx="57894">1</cx:pt>
          <cx:pt idx="57895">1</cx:pt>
          <cx:pt idx="57896">0</cx:pt>
          <cx:pt idx="57897">0</cx:pt>
          <cx:pt idx="57898">1</cx:pt>
          <cx:pt idx="57899">1</cx:pt>
          <cx:pt idx="57900">0</cx:pt>
          <cx:pt idx="57901">0</cx:pt>
          <cx:pt idx="57902">0</cx:pt>
          <cx:pt idx="57903">0</cx:pt>
          <cx:pt idx="57904">0</cx:pt>
          <cx:pt idx="57905">1</cx:pt>
          <cx:pt idx="57906">0</cx:pt>
          <cx:pt idx="57907">0</cx:pt>
          <cx:pt idx="57908">1</cx:pt>
          <cx:pt idx="57909">0</cx:pt>
          <cx:pt idx="57910">0</cx:pt>
          <cx:pt idx="57911">0</cx:pt>
          <cx:pt idx="57912">0</cx:pt>
          <cx:pt idx="57913">0</cx:pt>
          <cx:pt idx="57914">0</cx:pt>
          <cx:pt idx="57915">0</cx:pt>
          <cx:pt idx="57916">1</cx:pt>
          <cx:pt idx="57917">0</cx:pt>
          <cx:pt idx="57918">1</cx:pt>
          <cx:pt idx="57919">1</cx:pt>
          <cx:pt idx="57920">0</cx:pt>
          <cx:pt idx="57921">0</cx:pt>
          <cx:pt idx="57922">0</cx:pt>
          <cx:pt idx="57923">1</cx:pt>
          <cx:pt idx="57924">1</cx:pt>
          <cx:pt idx="57925">0</cx:pt>
          <cx:pt idx="57926">0</cx:pt>
          <cx:pt idx="57927">1</cx:pt>
          <cx:pt idx="57928">0</cx:pt>
          <cx:pt idx="57929">0</cx:pt>
          <cx:pt idx="57930">0</cx:pt>
          <cx:pt idx="57931">0</cx:pt>
          <cx:pt idx="57932">0</cx:pt>
          <cx:pt idx="57933">0</cx:pt>
          <cx:pt idx="57934">0</cx:pt>
          <cx:pt idx="57935">0</cx:pt>
          <cx:pt idx="57936">1</cx:pt>
          <cx:pt idx="57937">0</cx:pt>
          <cx:pt idx="57938">0</cx:pt>
          <cx:pt idx="57939">1</cx:pt>
          <cx:pt idx="57940">1</cx:pt>
          <cx:pt idx="57941">0</cx:pt>
          <cx:pt idx="57942">1</cx:pt>
          <cx:pt idx="57943">0</cx:pt>
          <cx:pt idx="57944">0</cx:pt>
          <cx:pt idx="57945">1</cx:pt>
          <cx:pt idx="57946">0</cx:pt>
          <cx:pt idx="57947">1</cx:pt>
          <cx:pt idx="57948">1</cx:pt>
          <cx:pt idx="57949">1</cx:pt>
          <cx:pt idx="57950">1</cx:pt>
          <cx:pt idx="57951">0</cx:pt>
          <cx:pt idx="57952">0</cx:pt>
          <cx:pt idx="57953">0</cx:pt>
          <cx:pt idx="57954">0</cx:pt>
          <cx:pt idx="57955">0</cx:pt>
          <cx:pt idx="57956">0</cx:pt>
          <cx:pt idx="57957">1</cx:pt>
          <cx:pt idx="57958">0</cx:pt>
          <cx:pt idx="57959">0</cx:pt>
          <cx:pt idx="57960">0</cx:pt>
          <cx:pt idx="57961">1</cx:pt>
          <cx:pt idx="57962">1</cx:pt>
          <cx:pt idx="57963">1</cx:pt>
          <cx:pt idx="57964">0</cx:pt>
          <cx:pt idx="57965">0</cx:pt>
          <cx:pt idx="57966">1</cx:pt>
          <cx:pt idx="57967">0</cx:pt>
          <cx:pt idx="57968">0</cx:pt>
          <cx:pt idx="57969">0</cx:pt>
          <cx:pt idx="57970">1</cx:pt>
          <cx:pt idx="57971">0</cx:pt>
          <cx:pt idx="57972">0</cx:pt>
          <cx:pt idx="57973">1</cx:pt>
          <cx:pt idx="57974">0</cx:pt>
          <cx:pt idx="57975">1</cx:pt>
          <cx:pt idx="57976">1</cx:pt>
          <cx:pt idx="57977">0</cx:pt>
          <cx:pt idx="57978">0</cx:pt>
          <cx:pt idx="57979">0</cx:pt>
          <cx:pt idx="57980">0</cx:pt>
          <cx:pt idx="57981">0</cx:pt>
          <cx:pt idx="57982">0</cx:pt>
          <cx:pt idx="57983">0</cx:pt>
          <cx:pt idx="57984">0</cx:pt>
          <cx:pt idx="57985">1</cx:pt>
          <cx:pt idx="57986">1</cx:pt>
          <cx:pt idx="57987">0</cx:pt>
          <cx:pt idx="57988">0</cx:pt>
          <cx:pt idx="57989">0</cx:pt>
          <cx:pt idx="57990">1</cx:pt>
          <cx:pt idx="57991">1</cx:pt>
          <cx:pt idx="57992">0</cx:pt>
          <cx:pt idx="57993">1</cx:pt>
          <cx:pt idx="57994">1</cx:pt>
          <cx:pt idx="57995">0</cx:pt>
          <cx:pt idx="57996">1</cx:pt>
          <cx:pt idx="57997">1</cx:pt>
          <cx:pt idx="57998">1</cx:pt>
          <cx:pt idx="57999">0</cx:pt>
          <cx:pt idx="58000">0</cx:pt>
          <cx:pt idx="58001">0</cx:pt>
          <cx:pt idx="58002">0</cx:pt>
          <cx:pt idx="58003">1</cx:pt>
          <cx:pt idx="58004">1</cx:pt>
          <cx:pt idx="58005">1</cx:pt>
          <cx:pt idx="58006">1</cx:pt>
          <cx:pt idx="58007">0</cx:pt>
          <cx:pt idx="58008">0</cx:pt>
          <cx:pt idx="58009">0</cx:pt>
          <cx:pt idx="58010">1</cx:pt>
          <cx:pt idx="58011">1</cx:pt>
          <cx:pt idx="58012">0</cx:pt>
          <cx:pt idx="58013">0</cx:pt>
          <cx:pt idx="58014">0</cx:pt>
          <cx:pt idx="58015">0</cx:pt>
          <cx:pt idx="58016">0</cx:pt>
          <cx:pt idx="58017">0</cx:pt>
          <cx:pt idx="58018">0</cx:pt>
          <cx:pt idx="58019">0</cx:pt>
          <cx:pt idx="58020">1</cx:pt>
          <cx:pt idx="58021">1</cx:pt>
          <cx:pt idx="58022">0</cx:pt>
          <cx:pt idx="58023">1</cx:pt>
          <cx:pt idx="58024">0</cx:pt>
          <cx:pt idx="58025">1</cx:pt>
          <cx:pt idx="58026">0</cx:pt>
          <cx:pt idx="58027">1</cx:pt>
          <cx:pt idx="58028">0</cx:pt>
          <cx:pt idx="58029">0</cx:pt>
          <cx:pt idx="58030">0</cx:pt>
          <cx:pt idx="58031">1</cx:pt>
          <cx:pt idx="58032">1</cx:pt>
          <cx:pt idx="58033">0</cx:pt>
          <cx:pt idx="58034">1</cx:pt>
          <cx:pt idx="58035">0</cx:pt>
          <cx:pt idx="58036">0</cx:pt>
          <cx:pt idx="58037">1</cx:pt>
          <cx:pt idx="58038">1</cx:pt>
          <cx:pt idx="58039">1</cx:pt>
          <cx:pt idx="58040">1</cx:pt>
          <cx:pt idx="58041">1</cx:pt>
          <cx:pt idx="58042">0</cx:pt>
          <cx:pt idx="58043">0</cx:pt>
          <cx:pt idx="58044">0</cx:pt>
          <cx:pt idx="58045">1</cx:pt>
          <cx:pt idx="58046">1</cx:pt>
          <cx:pt idx="58047">1</cx:pt>
          <cx:pt idx="58048">1</cx:pt>
          <cx:pt idx="58049">0</cx:pt>
          <cx:pt idx="58050">0</cx:pt>
          <cx:pt idx="58051">1</cx:pt>
          <cx:pt idx="58052">0</cx:pt>
          <cx:pt idx="58053">0</cx:pt>
          <cx:pt idx="58054">0</cx:pt>
          <cx:pt idx="58055">0</cx:pt>
          <cx:pt idx="58056">1</cx:pt>
          <cx:pt idx="58057">0</cx:pt>
          <cx:pt idx="58058">0</cx:pt>
          <cx:pt idx="58059">1</cx:pt>
          <cx:pt idx="58060">0</cx:pt>
          <cx:pt idx="58061">1</cx:pt>
          <cx:pt idx="58062">1</cx:pt>
          <cx:pt idx="58063">1</cx:pt>
          <cx:pt idx="58064">0</cx:pt>
          <cx:pt idx="58065">0</cx:pt>
          <cx:pt idx="58066">0</cx:pt>
          <cx:pt idx="58067">0</cx:pt>
          <cx:pt idx="58068">0</cx:pt>
          <cx:pt idx="58069">1</cx:pt>
          <cx:pt idx="58070">0</cx:pt>
          <cx:pt idx="58071">1</cx:pt>
          <cx:pt idx="58072">1</cx:pt>
          <cx:pt idx="58073">0</cx:pt>
          <cx:pt idx="58074">0</cx:pt>
          <cx:pt idx="58075">1</cx:pt>
          <cx:pt idx="58076">0</cx:pt>
          <cx:pt idx="58077">1</cx:pt>
          <cx:pt idx="58078">0</cx:pt>
          <cx:pt idx="58079">1</cx:pt>
          <cx:pt idx="58080">1</cx:pt>
          <cx:pt idx="58081">0</cx:pt>
          <cx:pt idx="58082">0</cx:pt>
          <cx:pt idx="58083">0</cx:pt>
          <cx:pt idx="58084">0</cx:pt>
          <cx:pt idx="58085">0</cx:pt>
          <cx:pt idx="58086">0</cx:pt>
          <cx:pt idx="58087">1</cx:pt>
          <cx:pt idx="58088">1</cx:pt>
          <cx:pt idx="58089">0</cx:pt>
          <cx:pt idx="58090">0</cx:pt>
          <cx:pt idx="58091">0</cx:pt>
          <cx:pt idx="58092">0</cx:pt>
          <cx:pt idx="58093">1</cx:pt>
          <cx:pt idx="58094">0</cx:pt>
          <cx:pt idx="58095">0</cx:pt>
          <cx:pt idx="58096">1</cx:pt>
          <cx:pt idx="58097">0</cx:pt>
          <cx:pt idx="58098">0</cx:pt>
          <cx:pt idx="58099">0</cx:pt>
          <cx:pt idx="58100">1</cx:pt>
          <cx:pt idx="58101">0</cx:pt>
          <cx:pt idx="58102">0</cx:pt>
          <cx:pt idx="58103">1</cx:pt>
          <cx:pt idx="58104">0</cx:pt>
          <cx:pt idx="58105">1</cx:pt>
          <cx:pt idx="58106">0</cx:pt>
          <cx:pt idx="58107">0</cx:pt>
          <cx:pt idx="58108">1</cx:pt>
          <cx:pt idx="58109">0</cx:pt>
          <cx:pt idx="58110">0</cx:pt>
          <cx:pt idx="58111">0</cx:pt>
          <cx:pt idx="58112">1</cx:pt>
          <cx:pt idx="58113">1</cx:pt>
          <cx:pt idx="58114">1</cx:pt>
          <cx:pt idx="58115">1</cx:pt>
          <cx:pt idx="58116">0</cx:pt>
          <cx:pt idx="58117">1</cx:pt>
          <cx:pt idx="58118">0</cx:pt>
          <cx:pt idx="58119">1</cx:pt>
          <cx:pt idx="58120">0</cx:pt>
          <cx:pt idx="58121">0</cx:pt>
          <cx:pt idx="58122">1</cx:pt>
          <cx:pt idx="58123">0</cx:pt>
          <cx:pt idx="58124">0</cx:pt>
          <cx:pt idx="58125">0</cx:pt>
          <cx:pt idx="58126">1</cx:pt>
          <cx:pt idx="58127">0</cx:pt>
          <cx:pt idx="58128">1</cx:pt>
          <cx:pt idx="58129">0</cx:pt>
          <cx:pt idx="58130">0</cx:pt>
          <cx:pt idx="58131">0</cx:pt>
          <cx:pt idx="58132">0</cx:pt>
          <cx:pt idx="58133">1</cx:pt>
          <cx:pt idx="58134">1</cx:pt>
          <cx:pt idx="58135">0</cx:pt>
          <cx:pt idx="58136">0</cx:pt>
          <cx:pt idx="58137">0</cx:pt>
          <cx:pt idx="58138">0</cx:pt>
          <cx:pt idx="58139">0</cx:pt>
          <cx:pt idx="58140">0</cx:pt>
          <cx:pt idx="58141">0</cx:pt>
          <cx:pt idx="58142">1</cx:pt>
          <cx:pt idx="58143">0</cx:pt>
          <cx:pt idx="58144">1</cx:pt>
          <cx:pt idx="58145">0</cx:pt>
          <cx:pt idx="58146">0</cx:pt>
          <cx:pt idx="58147">1</cx:pt>
          <cx:pt idx="58148">0</cx:pt>
          <cx:pt idx="58149">1</cx:pt>
          <cx:pt idx="58150">0</cx:pt>
          <cx:pt idx="58151">0</cx:pt>
          <cx:pt idx="58152">0</cx:pt>
          <cx:pt idx="58153">0</cx:pt>
          <cx:pt idx="58154">1</cx:pt>
          <cx:pt idx="58155">1</cx:pt>
          <cx:pt idx="58156">0</cx:pt>
          <cx:pt idx="58157">0</cx:pt>
          <cx:pt idx="58158">0</cx:pt>
          <cx:pt idx="58159">0</cx:pt>
          <cx:pt idx="58160">0</cx:pt>
          <cx:pt idx="58161">0</cx:pt>
          <cx:pt idx="58162">1</cx:pt>
          <cx:pt idx="58163">1</cx:pt>
          <cx:pt idx="58164">0</cx:pt>
          <cx:pt idx="58165">0</cx:pt>
          <cx:pt idx="58166">1</cx:pt>
          <cx:pt idx="58167">1</cx:pt>
          <cx:pt idx="58168">1</cx:pt>
          <cx:pt idx="58169">0</cx:pt>
          <cx:pt idx="58170">1</cx:pt>
          <cx:pt idx="58171">0</cx:pt>
          <cx:pt idx="58172">0</cx:pt>
          <cx:pt idx="58173">1</cx:pt>
          <cx:pt idx="58174">0</cx:pt>
          <cx:pt idx="58175">0</cx:pt>
          <cx:pt idx="58176">0</cx:pt>
          <cx:pt idx="58177">1</cx:pt>
          <cx:pt idx="58178">1</cx:pt>
          <cx:pt idx="58179">0</cx:pt>
          <cx:pt idx="58180">0</cx:pt>
          <cx:pt idx="58181">0</cx:pt>
          <cx:pt idx="58182">1</cx:pt>
          <cx:pt idx="58183">0</cx:pt>
          <cx:pt idx="58184">0</cx:pt>
          <cx:pt idx="58185">1</cx:pt>
          <cx:pt idx="58186">0</cx:pt>
          <cx:pt idx="58187">0</cx:pt>
          <cx:pt idx="58188">0</cx:pt>
          <cx:pt idx="58189">0</cx:pt>
          <cx:pt idx="58190">1</cx:pt>
          <cx:pt idx="58191">0</cx:pt>
          <cx:pt idx="58192">1</cx:pt>
          <cx:pt idx="58193">0</cx:pt>
          <cx:pt idx="58194">1</cx:pt>
          <cx:pt idx="58195">0</cx:pt>
          <cx:pt idx="58196">1</cx:pt>
          <cx:pt idx="58197">0</cx:pt>
          <cx:pt idx="58198">1</cx:pt>
          <cx:pt idx="58199">1</cx:pt>
          <cx:pt idx="58200">1</cx:pt>
          <cx:pt idx="58201">1</cx:pt>
          <cx:pt idx="58202">0</cx:pt>
          <cx:pt idx="58203">0</cx:pt>
          <cx:pt idx="58204">1</cx:pt>
          <cx:pt idx="58205">0</cx:pt>
          <cx:pt idx="58206">1</cx:pt>
          <cx:pt idx="58207">0</cx:pt>
          <cx:pt idx="58208">1</cx:pt>
          <cx:pt idx="58209">1</cx:pt>
          <cx:pt idx="58210">0</cx:pt>
          <cx:pt idx="58211">0</cx:pt>
          <cx:pt idx="58212">1</cx:pt>
          <cx:pt idx="58213">0</cx:pt>
          <cx:pt idx="58214">0</cx:pt>
          <cx:pt idx="58215">0</cx:pt>
          <cx:pt idx="58216">1</cx:pt>
          <cx:pt idx="58217">0</cx:pt>
          <cx:pt idx="58218">0</cx:pt>
          <cx:pt idx="58219">0</cx:pt>
          <cx:pt idx="58220">0</cx:pt>
          <cx:pt idx="58221">0</cx:pt>
          <cx:pt idx="58222">0</cx:pt>
          <cx:pt idx="58223">0</cx:pt>
          <cx:pt idx="58224">0</cx:pt>
          <cx:pt idx="58225">1</cx:pt>
          <cx:pt idx="58226">1</cx:pt>
          <cx:pt idx="58227">0</cx:pt>
          <cx:pt idx="58228">0</cx:pt>
          <cx:pt idx="58229">0</cx:pt>
          <cx:pt idx="58230">1</cx:pt>
          <cx:pt idx="58231">1</cx:pt>
          <cx:pt idx="58232">1</cx:pt>
          <cx:pt idx="58233">1</cx:pt>
          <cx:pt idx="58234">0</cx:pt>
          <cx:pt idx="58235">0</cx:pt>
          <cx:pt idx="58236">1</cx:pt>
          <cx:pt idx="58237">1</cx:pt>
          <cx:pt idx="58238">1</cx:pt>
          <cx:pt idx="58239">0</cx:pt>
          <cx:pt idx="58240">1</cx:pt>
          <cx:pt idx="58241">0</cx:pt>
          <cx:pt idx="58242">1</cx:pt>
          <cx:pt idx="58243">0</cx:pt>
          <cx:pt idx="58244">1</cx:pt>
          <cx:pt idx="58245">0</cx:pt>
          <cx:pt idx="58246">0</cx:pt>
          <cx:pt idx="58247">1</cx:pt>
          <cx:pt idx="58248">1</cx:pt>
          <cx:pt idx="58249">0</cx:pt>
          <cx:pt idx="58250">1</cx:pt>
          <cx:pt idx="58251">1</cx:pt>
          <cx:pt idx="58252">1</cx:pt>
          <cx:pt idx="58253">1</cx:pt>
          <cx:pt idx="58254">1</cx:pt>
          <cx:pt idx="58255">1</cx:pt>
          <cx:pt idx="58256">0</cx:pt>
          <cx:pt idx="58257">0</cx:pt>
          <cx:pt idx="58258">1</cx:pt>
          <cx:pt idx="58259">1</cx:pt>
          <cx:pt idx="58260">1</cx:pt>
          <cx:pt idx="58261">1</cx:pt>
          <cx:pt idx="58262">1</cx:pt>
          <cx:pt idx="58263">0</cx:pt>
          <cx:pt idx="58264">1</cx:pt>
          <cx:pt idx="58265">1</cx:pt>
          <cx:pt idx="58266">0</cx:pt>
          <cx:pt idx="58267">1</cx:pt>
          <cx:pt idx="58268">1</cx:pt>
          <cx:pt idx="58269">0</cx:pt>
          <cx:pt idx="58270">0</cx:pt>
          <cx:pt idx="58271">1</cx:pt>
          <cx:pt idx="58272">1</cx:pt>
          <cx:pt idx="58273">1</cx:pt>
          <cx:pt idx="58274">1</cx:pt>
          <cx:pt idx="58275">1</cx:pt>
          <cx:pt idx="58276">0</cx:pt>
          <cx:pt idx="58277">1</cx:pt>
          <cx:pt idx="58278">1</cx:pt>
          <cx:pt idx="58279">0</cx:pt>
          <cx:pt idx="58280">1</cx:pt>
          <cx:pt idx="58281">0</cx:pt>
          <cx:pt idx="58282">0</cx:pt>
          <cx:pt idx="58283">1</cx:pt>
          <cx:pt idx="58284">1</cx:pt>
          <cx:pt idx="58285">0</cx:pt>
          <cx:pt idx="58286">0</cx:pt>
          <cx:pt idx="58287">0</cx:pt>
          <cx:pt idx="58288">0</cx:pt>
          <cx:pt idx="58289">0</cx:pt>
          <cx:pt idx="58290">0</cx:pt>
          <cx:pt idx="58291">0</cx:pt>
          <cx:pt idx="58292">1</cx:pt>
          <cx:pt idx="58293">0</cx:pt>
          <cx:pt idx="58294">1</cx:pt>
          <cx:pt idx="58295">0</cx:pt>
          <cx:pt idx="58296">1</cx:pt>
          <cx:pt idx="58297">1</cx:pt>
          <cx:pt idx="58298">0</cx:pt>
          <cx:pt idx="58299">0</cx:pt>
          <cx:pt idx="58300">1</cx:pt>
          <cx:pt idx="58301">1</cx:pt>
          <cx:pt idx="58302">1</cx:pt>
          <cx:pt idx="58303">1</cx:pt>
          <cx:pt idx="58304">1</cx:pt>
          <cx:pt idx="58305">0</cx:pt>
          <cx:pt idx="58306">0</cx:pt>
          <cx:pt idx="58307">1</cx:pt>
          <cx:pt idx="58308">0</cx:pt>
          <cx:pt idx="58309">0</cx:pt>
          <cx:pt idx="58310">0</cx:pt>
          <cx:pt idx="58311">1</cx:pt>
          <cx:pt idx="58312">1</cx:pt>
          <cx:pt idx="58313">1</cx:pt>
          <cx:pt idx="58314">1</cx:pt>
          <cx:pt idx="58315">1</cx:pt>
          <cx:pt idx="58316">1</cx:pt>
          <cx:pt idx="58317">0</cx:pt>
          <cx:pt idx="58318">1</cx:pt>
          <cx:pt idx="58319">1</cx:pt>
          <cx:pt idx="58320">1</cx:pt>
          <cx:pt idx="58321">0</cx:pt>
          <cx:pt idx="58322">0</cx:pt>
          <cx:pt idx="58323">0</cx:pt>
          <cx:pt idx="58324">0</cx:pt>
          <cx:pt idx="58325">0</cx:pt>
          <cx:pt idx="58326">1</cx:pt>
          <cx:pt idx="58327">0</cx:pt>
          <cx:pt idx="58328">1</cx:pt>
          <cx:pt idx="58329">1</cx:pt>
          <cx:pt idx="58330">0</cx:pt>
          <cx:pt idx="58331">1</cx:pt>
          <cx:pt idx="58332">0</cx:pt>
          <cx:pt idx="58333">1</cx:pt>
          <cx:pt idx="58334">1</cx:pt>
          <cx:pt idx="58335">1</cx:pt>
          <cx:pt idx="58336">1</cx:pt>
          <cx:pt idx="58337">1</cx:pt>
          <cx:pt idx="58338">1</cx:pt>
          <cx:pt idx="58339">1</cx:pt>
          <cx:pt idx="58340">0</cx:pt>
          <cx:pt idx="58341">1</cx:pt>
          <cx:pt idx="58342">0</cx:pt>
          <cx:pt idx="58343">1</cx:pt>
          <cx:pt idx="58344">0</cx:pt>
          <cx:pt idx="58345">1</cx:pt>
          <cx:pt idx="58346">0</cx:pt>
          <cx:pt idx="58347">1</cx:pt>
          <cx:pt idx="58348">0</cx:pt>
          <cx:pt idx="58349">0</cx:pt>
          <cx:pt idx="58350">0</cx:pt>
          <cx:pt idx="58351">1</cx:pt>
          <cx:pt idx="58352">1</cx:pt>
          <cx:pt idx="58353">1</cx:pt>
          <cx:pt idx="58354">0</cx:pt>
          <cx:pt idx="58355">0</cx:pt>
          <cx:pt idx="58356">1</cx:pt>
          <cx:pt idx="58357">0</cx:pt>
          <cx:pt idx="58358">1</cx:pt>
          <cx:pt idx="58359">1</cx:pt>
          <cx:pt idx="58360">1</cx:pt>
          <cx:pt idx="58361">0</cx:pt>
          <cx:pt idx="58362">1</cx:pt>
          <cx:pt idx="58363">0</cx:pt>
          <cx:pt idx="58364">1</cx:pt>
          <cx:pt idx="58365">1</cx:pt>
          <cx:pt idx="58366">1</cx:pt>
          <cx:pt idx="58367">1</cx:pt>
          <cx:pt idx="58368">1</cx:pt>
          <cx:pt idx="58369">0</cx:pt>
          <cx:pt idx="58370">0</cx:pt>
          <cx:pt idx="58371">1</cx:pt>
          <cx:pt idx="58372">1</cx:pt>
          <cx:pt idx="58373">0</cx:pt>
          <cx:pt idx="58374">1</cx:pt>
          <cx:pt idx="58375">0</cx:pt>
          <cx:pt idx="58376">1</cx:pt>
          <cx:pt idx="58377">0</cx:pt>
          <cx:pt idx="58378">0</cx:pt>
          <cx:pt idx="58379">0</cx:pt>
          <cx:pt idx="58380">1</cx:pt>
          <cx:pt idx="58381">1</cx:pt>
          <cx:pt idx="58382">0</cx:pt>
          <cx:pt idx="58383">0</cx:pt>
          <cx:pt idx="58384">0</cx:pt>
          <cx:pt idx="58385">0</cx:pt>
          <cx:pt idx="58386">0</cx:pt>
          <cx:pt idx="58387">0</cx:pt>
          <cx:pt idx="58388">0</cx:pt>
          <cx:pt idx="58389">0</cx:pt>
          <cx:pt idx="58390">1</cx:pt>
          <cx:pt idx="58391">0</cx:pt>
          <cx:pt idx="58392">0</cx:pt>
          <cx:pt idx="58393">1</cx:pt>
          <cx:pt idx="58394">1</cx:pt>
          <cx:pt idx="58395">1</cx:pt>
          <cx:pt idx="58396">0</cx:pt>
          <cx:pt idx="58397">0</cx:pt>
          <cx:pt idx="58398">1</cx:pt>
          <cx:pt idx="58399">1</cx:pt>
          <cx:pt idx="58400">1</cx:pt>
          <cx:pt idx="58401">1</cx:pt>
          <cx:pt idx="58402">0</cx:pt>
          <cx:pt idx="58403">0</cx:pt>
          <cx:pt idx="58404">1</cx:pt>
          <cx:pt idx="58405">1</cx:pt>
          <cx:pt idx="58406">1</cx:pt>
          <cx:pt idx="58407">1</cx:pt>
          <cx:pt idx="58408">0</cx:pt>
          <cx:pt idx="58409">0</cx:pt>
          <cx:pt idx="58410">1</cx:pt>
          <cx:pt idx="58411">1</cx:pt>
          <cx:pt idx="58412">1</cx:pt>
          <cx:pt idx="58413">0</cx:pt>
          <cx:pt idx="58414">0</cx:pt>
          <cx:pt idx="58415">0</cx:pt>
          <cx:pt idx="58416">0</cx:pt>
          <cx:pt idx="58417">1</cx:pt>
          <cx:pt idx="58418">0</cx:pt>
          <cx:pt idx="58419">1</cx:pt>
          <cx:pt idx="58420">0</cx:pt>
          <cx:pt idx="58421">1</cx:pt>
          <cx:pt idx="58422">1</cx:pt>
          <cx:pt idx="58423">0</cx:pt>
          <cx:pt idx="58424">1</cx:pt>
          <cx:pt idx="58425">1</cx:pt>
          <cx:pt idx="58426">0</cx:pt>
          <cx:pt idx="58427">1</cx:pt>
          <cx:pt idx="58428">0</cx:pt>
          <cx:pt idx="58429">1</cx:pt>
          <cx:pt idx="58430">0</cx:pt>
          <cx:pt idx="58431">1</cx:pt>
          <cx:pt idx="58432">0</cx:pt>
          <cx:pt idx="58433">0</cx:pt>
          <cx:pt idx="58434">0</cx:pt>
          <cx:pt idx="58435">0</cx:pt>
          <cx:pt idx="58436">1</cx:pt>
          <cx:pt idx="58437">0</cx:pt>
          <cx:pt idx="58438">0</cx:pt>
          <cx:pt idx="58439">0</cx:pt>
          <cx:pt idx="58440">0</cx:pt>
          <cx:pt idx="58441">1</cx:pt>
          <cx:pt idx="58442">1</cx:pt>
          <cx:pt idx="58443">0</cx:pt>
          <cx:pt idx="58444">1</cx:pt>
          <cx:pt idx="58445">0</cx:pt>
          <cx:pt idx="58446">0</cx:pt>
          <cx:pt idx="58447">1</cx:pt>
          <cx:pt idx="58448">1</cx:pt>
          <cx:pt idx="58449">0</cx:pt>
          <cx:pt idx="58450">0</cx:pt>
          <cx:pt idx="58451">0</cx:pt>
          <cx:pt idx="58452">0</cx:pt>
          <cx:pt idx="58453">0</cx:pt>
          <cx:pt idx="58454">0</cx:pt>
          <cx:pt idx="58455">1</cx:pt>
          <cx:pt idx="58456">1</cx:pt>
          <cx:pt idx="58457">1</cx:pt>
          <cx:pt idx="58458">1</cx:pt>
          <cx:pt idx="58459">1</cx:pt>
          <cx:pt idx="58460">1</cx:pt>
          <cx:pt idx="58461">0</cx:pt>
          <cx:pt idx="58462">1</cx:pt>
          <cx:pt idx="58463">1</cx:pt>
          <cx:pt idx="58464">0</cx:pt>
          <cx:pt idx="58465">1</cx:pt>
          <cx:pt idx="58466">1</cx:pt>
          <cx:pt idx="58467">1</cx:pt>
          <cx:pt idx="58468">0</cx:pt>
          <cx:pt idx="58469">0</cx:pt>
          <cx:pt idx="58470">0</cx:pt>
          <cx:pt idx="58471">0</cx:pt>
          <cx:pt idx="58472">0</cx:pt>
          <cx:pt idx="58473">0</cx:pt>
          <cx:pt idx="58474">1</cx:pt>
          <cx:pt idx="58475">1</cx:pt>
          <cx:pt idx="58476">0</cx:pt>
          <cx:pt idx="58477">0</cx:pt>
          <cx:pt idx="58478">1</cx:pt>
          <cx:pt idx="58479">1</cx:pt>
          <cx:pt idx="58480">1</cx:pt>
          <cx:pt idx="58481">1</cx:pt>
          <cx:pt idx="58482">0</cx:pt>
          <cx:pt idx="58483">0</cx:pt>
          <cx:pt idx="58484">0</cx:pt>
          <cx:pt idx="58485">1</cx:pt>
          <cx:pt idx="58486">0</cx:pt>
          <cx:pt idx="58487">0</cx:pt>
          <cx:pt idx="58488">1</cx:pt>
          <cx:pt idx="58489">0</cx:pt>
          <cx:pt idx="58490">0</cx:pt>
          <cx:pt idx="58491">0</cx:pt>
          <cx:pt idx="58492">1</cx:pt>
          <cx:pt idx="58493">0</cx:pt>
          <cx:pt idx="58494">0</cx:pt>
          <cx:pt idx="58495">1</cx:pt>
          <cx:pt idx="58496">0</cx:pt>
          <cx:pt idx="58497">1</cx:pt>
          <cx:pt idx="58498">0</cx:pt>
          <cx:pt idx="58499">1</cx:pt>
          <cx:pt idx="58500">1</cx:pt>
          <cx:pt idx="58501">0</cx:pt>
          <cx:pt idx="58502">0</cx:pt>
          <cx:pt idx="58503">0</cx:pt>
          <cx:pt idx="58504">0</cx:pt>
          <cx:pt idx="58505">0</cx:pt>
          <cx:pt idx="58506">0</cx:pt>
          <cx:pt idx="58507">1</cx:pt>
          <cx:pt idx="58508">0</cx:pt>
          <cx:pt idx="58509">1</cx:pt>
          <cx:pt idx="58510">1</cx:pt>
          <cx:pt idx="58511">0</cx:pt>
          <cx:pt idx="58512">1</cx:pt>
          <cx:pt idx="58513">0</cx:pt>
          <cx:pt idx="58514">1</cx:pt>
          <cx:pt idx="58515">1</cx:pt>
          <cx:pt idx="58516">0</cx:pt>
          <cx:pt idx="58517">0</cx:pt>
          <cx:pt idx="58518">0</cx:pt>
          <cx:pt idx="58519">0</cx:pt>
          <cx:pt idx="58520">1</cx:pt>
          <cx:pt idx="58521">0</cx:pt>
          <cx:pt idx="58522">1</cx:pt>
          <cx:pt idx="58523">1</cx:pt>
          <cx:pt idx="58524">1</cx:pt>
          <cx:pt idx="58525">1</cx:pt>
          <cx:pt idx="58526">0</cx:pt>
          <cx:pt idx="58527">0</cx:pt>
          <cx:pt idx="58528">0</cx:pt>
          <cx:pt idx="58529">0</cx:pt>
          <cx:pt idx="58530">0</cx:pt>
          <cx:pt idx="58531">0</cx:pt>
          <cx:pt idx="58532">1</cx:pt>
          <cx:pt idx="58533">1</cx:pt>
          <cx:pt idx="58534">1</cx:pt>
          <cx:pt idx="58535">1</cx:pt>
          <cx:pt idx="58536">1</cx:pt>
          <cx:pt idx="58537">0</cx:pt>
          <cx:pt idx="58538">0</cx:pt>
          <cx:pt idx="58539">1</cx:pt>
          <cx:pt idx="58540">0</cx:pt>
          <cx:pt idx="58541">1</cx:pt>
          <cx:pt idx="58542">1</cx:pt>
          <cx:pt idx="58543">0</cx:pt>
          <cx:pt idx="58544">1</cx:pt>
          <cx:pt idx="58545">1</cx:pt>
          <cx:pt idx="58546">0</cx:pt>
          <cx:pt idx="58547">1</cx:pt>
          <cx:pt idx="58548">0</cx:pt>
          <cx:pt idx="58549">1</cx:pt>
          <cx:pt idx="58550">0</cx:pt>
          <cx:pt idx="58551">0</cx:pt>
          <cx:pt idx="58552">1</cx:pt>
          <cx:pt idx="58553">0</cx:pt>
          <cx:pt idx="58554">0</cx:pt>
          <cx:pt idx="58555">0</cx:pt>
          <cx:pt idx="58556">0</cx:pt>
          <cx:pt idx="58557">1</cx:pt>
          <cx:pt idx="58558">0</cx:pt>
          <cx:pt idx="58559">0</cx:pt>
          <cx:pt idx="58560">0</cx:pt>
          <cx:pt idx="58561">1</cx:pt>
          <cx:pt idx="58562">1</cx:pt>
          <cx:pt idx="58563">1</cx:pt>
          <cx:pt idx="58564">0</cx:pt>
          <cx:pt idx="58565">1</cx:pt>
          <cx:pt idx="58566">1</cx:pt>
          <cx:pt idx="58567">1</cx:pt>
          <cx:pt idx="58568">0</cx:pt>
          <cx:pt idx="58569">0</cx:pt>
          <cx:pt idx="58570">0</cx:pt>
          <cx:pt idx="58571">1</cx:pt>
          <cx:pt idx="58572">0</cx:pt>
          <cx:pt idx="58573">1</cx:pt>
          <cx:pt idx="58574">1</cx:pt>
          <cx:pt idx="58575">1</cx:pt>
          <cx:pt idx="58576">0</cx:pt>
          <cx:pt idx="58577">0</cx:pt>
          <cx:pt idx="58578">0</cx:pt>
          <cx:pt idx="58579">0</cx:pt>
          <cx:pt idx="58580">1</cx:pt>
          <cx:pt idx="58581">0</cx:pt>
          <cx:pt idx="58582">1</cx:pt>
          <cx:pt idx="58583">1</cx:pt>
          <cx:pt idx="58584">1</cx:pt>
          <cx:pt idx="58585">1</cx:pt>
          <cx:pt idx="58586">0</cx:pt>
          <cx:pt idx="58587">1</cx:pt>
          <cx:pt idx="58588">1</cx:pt>
          <cx:pt idx="58589">0</cx:pt>
          <cx:pt idx="58590">0</cx:pt>
          <cx:pt idx="58591">1</cx:pt>
          <cx:pt idx="58592">1</cx:pt>
          <cx:pt idx="58593">0</cx:pt>
          <cx:pt idx="58594">1</cx:pt>
          <cx:pt idx="58595">1</cx:pt>
          <cx:pt idx="58596">1</cx:pt>
          <cx:pt idx="58597">0</cx:pt>
          <cx:pt idx="58598">0</cx:pt>
          <cx:pt idx="58599">0</cx:pt>
          <cx:pt idx="58600">0</cx:pt>
          <cx:pt idx="58601">1</cx:pt>
          <cx:pt idx="58602">0</cx:pt>
          <cx:pt idx="58603">0</cx:pt>
          <cx:pt idx="58604">1</cx:pt>
          <cx:pt idx="58605">1</cx:pt>
          <cx:pt idx="58606">0</cx:pt>
          <cx:pt idx="58607">0</cx:pt>
          <cx:pt idx="58608">0</cx:pt>
          <cx:pt idx="58609">0</cx:pt>
          <cx:pt idx="58610">0</cx:pt>
          <cx:pt idx="58611">0</cx:pt>
          <cx:pt idx="58612">0</cx:pt>
          <cx:pt idx="58613">0</cx:pt>
          <cx:pt idx="58614">0</cx:pt>
          <cx:pt idx="58615">1</cx:pt>
          <cx:pt idx="58616">0</cx:pt>
          <cx:pt idx="58617">1</cx:pt>
          <cx:pt idx="58618">1</cx:pt>
          <cx:pt idx="58619">0</cx:pt>
          <cx:pt idx="58620">1</cx:pt>
          <cx:pt idx="58621">1</cx:pt>
          <cx:pt idx="58622">1</cx:pt>
          <cx:pt idx="58623">0</cx:pt>
          <cx:pt idx="58624">1</cx:pt>
          <cx:pt idx="58625">0</cx:pt>
          <cx:pt idx="58626">0</cx:pt>
          <cx:pt idx="58627">0</cx:pt>
          <cx:pt idx="58628">1</cx:pt>
          <cx:pt idx="58629">0</cx:pt>
          <cx:pt idx="58630">1</cx:pt>
          <cx:pt idx="58631">0</cx:pt>
          <cx:pt idx="58632">1</cx:pt>
          <cx:pt idx="58633">1</cx:pt>
          <cx:pt idx="58634">1</cx:pt>
          <cx:pt idx="58635">0</cx:pt>
          <cx:pt idx="58636">1</cx:pt>
          <cx:pt idx="58637">0</cx:pt>
          <cx:pt idx="58638">0</cx:pt>
          <cx:pt idx="58639">0</cx:pt>
          <cx:pt idx="58640">0</cx:pt>
          <cx:pt idx="58641">0</cx:pt>
          <cx:pt idx="58642">0</cx:pt>
          <cx:pt idx="58643">0</cx:pt>
          <cx:pt idx="58644">1</cx:pt>
          <cx:pt idx="58645">0</cx:pt>
          <cx:pt idx="58646">0</cx:pt>
          <cx:pt idx="58647">0</cx:pt>
          <cx:pt idx="58648">1</cx:pt>
          <cx:pt idx="58649">0</cx:pt>
          <cx:pt idx="58650">0</cx:pt>
          <cx:pt idx="58651">1</cx:pt>
          <cx:pt idx="58652">0</cx:pt>
          <cx:pt idx="58653">1</cx:pt>
          <cx:pt idx="58654">1</cx:pt>
          <cx:pt idx="58655">0</cx:pt>
          <cx:pt idx="58656">0</cx:pt>
          <cx:pt idx="58657">0</cx:pt>
          <cx:pt idx="58658">0</cx:pt>
          <cx:pt idx="58659">1</cx:pt>
          <cx:pt idx="58660">1</cx:pt>
          <cx:pt idx="58661">1</cx:pt>
          <cx:pt idx="58662">1</cx:pt>
          <cx:pt idx="58663">1</cx:pt>
          <cx:pt idx="58664">1</cx:pt>
          <cx:pt idx="58665">1</cx:pt>
          <cx:pt idx="58666">1</cx:pt>
          <cx:pt idx="58667">0</cx:pt>
          <cx:pt idx="58668">0</cx:pt>
          <cx:pt idx="58669">0</cx:pt>
          <cx:pt idx="58670">0</cx:pt>
          <cx:pt idx="58671">0</cx:pt>
          <cx:pt idx="58672">0</cx:pt>
          <cx:pt idx="58673">1</cx:pt>
          <cx:pt idx="58674">0</cx:pt>
          <cx:pt idx="58675">0</cx:pt>
          <cx:pt idx="58676">1</cx:pt>
          <cx:pt idx="58677">0</cx:pt>
          <cx:pt idx="58678">0</cx:pt>
          <cx:pt idx="58679">1</cx:pt>
          <cx:pt idx="58680">1</cx:pt>
          <cx:pt idx="58681">1</cx:pt>
          <cx:pt idx="58682">1</cx:pt>
          <cx:pt idx="58683">0</cx:pt>
          <cx:pt idx="58684">1</cx:pt>
          <cx:pt idx="58685">1</cx:pt>
          <cx:pt idx="58686">0</cx:pt>
          <cx:pt idx="58687">1</cx:pt>
          <cx:pt idx="58688">1</cx:pt>
          <cx:pt idx="58689">0</cx:pt>
          <cx:pt idx="58690">0</cx:pt>
          <cx:pt idx="58691">0</cx:pt>
          <cx:pt idx="58692">0</cx:pt>
          <cx:pt idx="58693">0</cx:pt>
          <cx:pt idx="58694">1</cx:pt>
          <cx:pt idx="58695">1</cx:pt>
          <cx:pt idx="58696">0</cx:pt>
          <cx:pt idx="58697">0</cx:pt>
          <cx:pt idx="58698">1</cx:pt>
          <cx:pt idx="58699">0</cx:pt>
          <cx:pt idx="58700">1</cx:pt>
          <cx:pt idx="58701">0</cx:pt>
          <cx:pt idx="58702">0</cx:pt>
          <cx:pt idx="58703">1</cx:pt>
          <cx:pt idx="58704">0</cx:pt>
          <cx:pt idx="58705">0</cx:pt>
          <cx:pt idx="58706">0</cx:pt>
          <cx:pt idx="58707">0</cx:pt>
          <cx:pt idx="58708">1</cx:pt>
          <cx:pt idx="58709">0</cx:pt>
          <cx:pt idx="58710">0</cx:pt>
          <cx:pt idx="58711">1</cx:pt>
          <cx:pt idx="58712">0</cx:pt>
          <cx:pt idx="58713">1</cx:pt>
          <cx:pt idx="58714">0</cx:pt>
          <cx:pt idx="58715">0</cx:pt>
          <cx:pt idx="58716">1</cx:pt>
          <cx:pt idx="58717">1</cx:pt>
          <cx:pt idx="58718">0</cx:pt>
          <cx:pt idx="58719">1</cx:pt>
          <cx:pt idx="58720">0</cx:pt>
          <cx:pt idx="58721">1</cx:pt>
          <cx:pt idx="58722">1</cx:pt>
          <cx:pt idx="58723">0</cx:pt>
          <cx:pt idx="58724">0</cx:pt>
          <cx:pt idx="58725">0</cx:pt>
          <cx:pt idx="58726">1</cx:pt>
          <cx:pt idx="58727">0</cx:pt>
          <cx:pt idx="58728">0</cx:pt>
          <cx:pt idx="58729">1</cx:pt>
          <cx:pt idx="58730">0</cx:pt>
          <cx:pt idx="58731">0</cx:pt>
          <cx:pt idx="58732">0</cx:pt>
          <cx:pt idx="58733">1</cx:pt>
          <cx:pt idx="58734">1</cx:pt>
          <cx:pt idx="58735">0</cx:pt>
          <cx:pt idx="58736">1</cx:pt>
          <cx:pt idx="58737">0</cx:pt>
          <cx:pt idx="58738">0</cx:pt>
          <cx:pt idx="58739">1</cx:pt>
          <cx:pt idx="58740">1</cx:pt>
          <cx:pt idx="58741">1</cx:pt>
          <cx:pt idx="58742">1</cx:pt>
          <cx:pt idx="58743">1</cx:pt>
          <cx:pt idx="58744">0</cx:pt>
          <cx:pt idx="58745">0</cx:pt>
          <cx:pt idx="58746">0</cx:pt>
          <cx:pt idx="58747">0</cx:pt>
          <cx:pt idx="58748">0</cx:pt>
          <cx:pt idx="58749">1</cx:pt>
          <cx:pt idx="58750">0</cx:pt>
          <cx:pt idx="58751">0</cx:pt>
          <cx:pt idx="58752">1</cx:pt>
          <cx:pt idx="58753">0</cx:pt>
          <cx:pt idx="58754">1</cx:pt>
          <cx:pt idx="58755">1</cx:pt>
          <cx:pt idx="58756">1</cx:pt>
          <cx:pt idx="58757">1</cx:pt>
          <cx:pt idx="58758">0</cx:pt>
          <cx:pt idx="58759">0</cx:pt>
          <cx:pt idx="58760">0</cx:pt>
          <cx:pt idx="58761">1</cx:pt>
          <cx:pt idx="58762">1</cx:pt>
          <cx:pt idx="58763">1</cx:pt>
          <cx:pt idx="58764">1</cx:pt>
          <cx:pt idx="58765">1</cx:pt>
          <cx:pt idx="58766">0</cx:pt>
          <cx:pt idx="58767">0</cx:pt>
          <cx:pt idx="58768">1</cx:pt>
          <cx:pt idx="58769">1</cx:pt>
          <cx:pt idx="58770">0</cx:pt>
          <cx:pt idx="58771">0</cx:pt>
          <cx:pt idx="58772">0</cx:pt>
          <cx:pt idx="58773">1</cx:pt>
          <cx:pt idx="58774">0</cx:pt>
          <cx:pt idx="58775">1</cx:pt>
          <cx:pt idx="58776">0</cx:pt>
          <cx:pt idx="58777">0</cx:pt>
          <cx:pt idx="58778">1</cx:pt>
          <cx:pt idx="58779">0</cx:pt>
          <cx:pt idx="58780">0</cx:pt>
          <cx:pt idx="58781">0</cx:pt>
          <cx:pt idx="58782">1</cx:pt>
          <cx:pt idx="58783">1</cx:pt>
          <cx:pt idx="58784">0</cx:pt>
          <cx:pt idx="58785">0</cx:pt>
          <cx:pt idx="58786">0</cx:pt>
          <cx:pt idx="58787">0</cx:pt>
          <cx:pt idx="58788">1</cx:pt>
          <cx:pt idx="58789">0</cx:pt>
          <cx:pt idx="58790">1</cx:pt>
          <cx:pt idx="58791">0</cx:pt>
          <cx:pt idx="58792">1</cx:pt>
          <cx:pt idx="58793">0</cx:pt>
          <cx:pt idx="58794">0</cx:pt>
          <cx:pt idx="58795">0</cx:pt>
          <cx:pt idx="58796">1</cx:pt>
          <cx:pt idx="58797">1</cx:pt>
          <cx:pt idx="58798">1</cx:pt>
          <cx:pt idx="58799">0</cx:pt>
          <cx:pt idx="58800">0</cx:pt>
          <cx:pt idx="58801">0</cx:pt>
          <cx:pt idx="58802">0</cx:pt>
          <cx:pt idx="58803">1</cx:pt>
          <cx:pt idx="58804">1</cx:pt>
          <cx:pt idx="58805">0</cx:pt>
          <cx:pt idx="58806">0</cx:pt>
          <cx:pt idx="58807">1</cx:pt>
          <cx:pt idx="58808">0</cx:pt>
          <cx:pt idx="58809">0</cx:pt>
          <cx:pt idx="58810">0</cx:pt>
          <cx:pt idx="58811">0</cx:pt>
          <cx:pt idx="58812">1</cx:pt>
          <cx:pt idx="58813">0</cx:pt>
          <cx:pt idx="58814">0</cx:pt>
          <cx:pt idx="58815">0</cx:pt>
          <cx:pt idx="58816">0</cx:pt>
          <cx:pt idx="58817">1</cx:pt>
          <cx:pt idx="58818">0</cx:pt>
          <cx:pt idx="58819">0</cx:pt>
          <cx:pt idx="58820">1</cx:pt>
          <cx:pt idx="58821">1</cx:pt>
          <cx:pt idx="58822">1</cx:pt>
          <cx:pt idx="58823">0</cx:pt>
          <cx:pt idx="58824">0</cx:pt>
          <cx:pt idx="58825">1</cx:pt>
          <cx:pt idx="58826">1</cx:pt>
          <cx:pt idx="58827">0</cx:pt>
          <cx:pt idx="58828">1</cx:pt>
          <cx:pt idx="58829">1</cx:pt>
          <cx:pt idx="58830">1</cx:pt>
          <cx:pt idx="58831">1</cx:pt>
          <cx:pt idx="58832">0</cx:pt>
          <cx:pt idx="58833">0</cx:pt>
          <cx:pt idx="58834">0</cx:pt>
          <cx:pt idx="58835">1</cx:pt>
          <cx:pt idx="58836">0</cx:pt>
          <cx:pt idx="58837">0</cx:pt>
          <cx:pt idx="58838">0</cx:pt>
          <cx:pt idx="58839">0</cx:pt>
          <cx:pt idx="58840">0</cx:pt>
          <cx:pt idx="58841">1</cx:pt>
          <cx:pt idx="58842">0</cx:pt>
          <cx:pt idx="58843">1</cx:pt>
          <cx:pt idx="58844">0</cx:pt>
          <cx:pt idx="58845">0</cx:pt>
          <cx:pt idx="58846">0</cx:pt>
          <cx:pt idx="58847">0</cx:pt>
          <cx:pt idx="58848">0</cx:pt>
          <cx:pt idx="58849">1</cx:pt>
          <cx:pt idx="58850">0</cx:pt>
          <cx:pt idx="58851">0</cx:pt>
          <cx:pt idx="58852">0</cx:pt>
          <cx:pt idx="58853">1</cx:pt>
          <cx:pt idx="58854">1</cx:pt>
          <cx:pt idx="58855">1</cx:pt>
          <cx:pt idx="58856">0</cx:pt>
          <cx:pt idx="58857">0</cx:pt>
          <cx:pt idx="58858">1</cx:pt>
          <cx:pt idx="58859">0</cx:pt>
          <cx:pt idx="58860">0</cx:pt>
          <cx:pt idx="58861">0</cx:pt>
          <cx:pt idx="58862">0</cx:pt>
          <cx:pt idx="58863">1</cx:pt>
          <cx:pt idx="58864">1</cx:pt>
          <cx:pt idx="58865">1</cx:pt>
          <cx:pt idx="58866">0</cx:pt>
          <cx:pt idx="58867">0</cx:pt>
          <cx:pt idx="58868">1</cx:pt>
          <cx:pt idx="58869">1</cx:pt>
          <cx:pt idx="58870">1</cx:pt>
          <cx:pt idx="58871">0</cx:pt>
          <cx:pt idx="58872">0</cx:pt>
          <cx:pt idx="58873">0</cx:pt>
          <cx:pt idx="58874">1</cx:pt>
          <cx:pt idx="58875">0</cx:pt>
          <cx:pt idx="58876">1</cx:pt>
          <cx:pt idx="58877">0</cx:pt>
          <cx:pt idx="58878">0</cx:pt>
          <cx:pt idx="58879">0</cx:pt>
          <cx:pt idx="58880">0</cx:pt>
          <cx:pt idx="58881">0</cx:pt>
          <cx:pt idx="58882">1</cx:pt>
          <cx:pt idx="58883">1</cx:pt>
          <cx:pt idx="58884">0</cx:pt>
          <cx:pt idx="58885">0</cx:pt>
          <cx:pt idx="58886">0</cx:pt>
          <cx:pt idx="58887">0</cx:pt>
          <cx:pt idx="58888">0</cx:pt>
          <cx:pt idx="58889">0</cx:pt>
          <cx:pt idx="58890">1</cx:pt>
          <cx:pt idx="58891">0</cx:pt>
          <cx:pt idx="58892">0</cx:pt>
          <cx:pt idx="58893">1</cx:pt>
          <cx:pt idx="58894">0</cx:pt>
          <cx:pt idx="58895">1</cx:pt>
          <cx:pt idx="58896">1</cx:pt>
          <cx:pt idx="58897">0</cx:pt>
          <cx:pt idx="58898">0</cx:pt>
          <cx:pt idx="58899">0</cx:pt>
          <cx:pt idx="58900">0</cx:pt>
          <cx:pt idx="58901">1</cx:pt>
          <cx:pt idx="58902">1</cx:pt>
          <cx:pt idx="58903">1</cx:pt>
          <cx:pt idx="58904">1</cx:pt>
          <cx:pt idx="58905">0</cx:pt>
          <cx:pt idx="58906">0</cx:pt>
          <cx:pt idx="58907">0</cx:pt>
          <cx:pt idx="58908">1</cx:pt>
          <cx:pt idx="58909">1</cx:pt>
          <cx:pt idx="58910">0</cx:pt>
          <cx:pt idx="58911">0</cx:pt>
          <cx:pt idx="58912">1</cx:pt>
          <cx:pt idx="58913">0</cx:pt>
          <cx:pt idx="58914">1</cx:pt>
          <cx:pt idx="58915">0</cx:pt>
          <cx:pt idx="58916">1</cx:pt>
          <cx:pt idx="58917">1</cx:pt>
          <cx:pt idx="58918">1</cx:pt>
          <cx:pt idx="58919">0</cx:pt>
          <cx:pt idx="58920">0</cx:pt>
          <cx:pt idx="58921">0</cx:pt>
          <cx:pt idx="58922">0</cx:pt>
          <cx:pt idx="58923">0</cx:pt>
          <cx:pt idx="58924">1</cx:pt>
          <cx:pt idx="58925">0</cx:pt>
          <cx:pt idx="58926">1</cx:pt>
          <cx:pt idx="58927">1</cx:pt>
          <cx:pt idx="58928">0</cx:pt>
          <cx:pt idx="58929">0</cx:pt>
          <cx:pt idx="58930">1</cx:pt>
          <cx:pt idx="58931">0</cx:pt>
          <cx:pt idx="58932">1</cx:pt>
          <cx:pt idx="58933">0</cx:pt>
          <cx:pt idx="58934">0</cx:pt>
          <cx:pt idx="58935">0</cx:pt>
          <cx:pt idx="58936">0</cx:pt>
          <cx:pt idx="58937">0</cx:pt>
          <cx:pt idx="58938">0</cx:pt>
          <cx:pt idx="58939">0</cx:pt>
          <cx:pt idx="58940">1</cx:pt>
          <cx:pt idx="58941">0</cx:pt>
          <cx:pt idx="58942">1</cx:pt>
          <cx:pt idx="58943">0</cx:pt>
          <cx:pt idx="58944">1</cx:pt>
          <cx:pt idx="58945">0</cx:pt>
          <cx:pt idx="58946">1</cx:pt>
          <cx:pt idx="58947">1</cx:pt>
          <cx:pt idx="58948">0</cx:pt>
          <cx:pt idx="58949">0</cx:pt>
          <cx:pt idx="58950">0</cx:pt>
          <cx:pt idx="58951">0</cx:pt>
          <cx:pt idx="58952">0</cx:pt>
          <cx:pt idx="58953">0</cx:pt>
          <cx:pt idx="58954">1</cx:pt>
          <cx:pt idx="58955">0</cx:pt>
          <cx:pt idx="58956">0</cx:pt>
          <cx:pt idx="58957">1</cx:pt>
          <cx:pt idx="58958">0</cx:pt>
          <cx:pt idx="58959">0</cx:pt>
          <cx:pt idx="58960">0</cx:pt>
          <cx:pt idx="58961">0</cx:pt>
          <cx:pt idx="58962">1</cx:pt>
          <cx:pt idx="58963">1</cx:pt>
          <cx:pt idx="58964">0</cx:pt>
          <cx:pt idx="58965">1</cx:pt>
          <cx:pt idx="58966">0</cx:pt>
          <cx:pt idx="58967">1</cx:pt>
          <cx:pt idx="58968">0</cx:pt>
          <cx:pt idx="58969">0</cx:pt>
          <cx:pt idx="58970">1</cx:pt>
          <cx:pt idx="58971">1</cx:pt>
          <cx:pt idx="58972">0</cx:pt>
          <cx:pt idx="58973">0</cx:pt>
          <cx:pt idx="58974">0</cx:pt>
          <cx:pt idx="58975">0</cx:pt>
          <cx:pt idx="58976">1</cx:pt>
          <cx:pt idx="58977">0</cx:pt>
          <cx:pt idx="58978">0</cx:pt>
          <cx:pt idx="58979">0</cx:pt>
          <cx:pt idx="58980">1</cx:pt>
          <cx:pt idx="58981">0</cx:pt>
          <cx:pt idx="58982">0</cx:pt>
          <cx:pt idx="58983">1</cx:pt>
          <cx:pt idx="58984">0</cx:pt>
          <cx:pt idx="58985">1</cx:pt>
          <cx:pt idx="58986">0</cx:pt>
          <cx:pt idx="58987">0</cx:pt>
          <cx:pt idx="58988">0</cx:pt>
          <cx:pt idx="58989">0</cx:pt>
          <cx:pt idx="58990">0</cx:pt>
          <cx:pt idx="58991">0</cx:pt>
          <cx:pt idx="58992">1</cx:pt>
          <cx:pt idx="58993">0</cx:pt>
          <cx:pt idx="58994">0</cx:pt>
          <cx:pt idx="58995">1</cx:pt>
          <cx:pt idx="58996">0</cx:pt>
          <cx:pt idx="58997">1</cx:pt>
          <cx:pt idx="58998">1</cx:pt>
          <cx:pt idx="58999">0</cx:pt>
          <cx:pt idx="59000">1</cx:pt>
          <cx:pt idx="59001">0</cx:pt>
          <cx:pt idx="59002">0</cx:pt>
          <cx:pt idx="59003">0</cx:pt>
          <cx:pt idx="59004">0</cx:pt>
          <cx:pt idx="59005">0</cx:pt>
          <cx:pt idx="59006">0</cx:pt>
          <cx:pt idx="59007">0</cx:pt>
          <cx:pt idx="59008">0</cx:pt>
          <cx:pt idx="59009">1</cx:pt>
          <cx:pt idx="59010">0</cx:pt>
          <cx:pt idx="59011">1</cx:pt>
          <cx:pt idx="59012">1</cx:pt>
          <cx:pt idx="59013">0</cx:pt>
          <cx:pt idx="59014">0</cx:pt>
          <cx:pt idx="59015">0</cx:pt>
          <cx:pt idx="59016">0</cx:pt>
          <cx:pt idx="59017">0</cx:pt>
          <cx:pt idx="59018">1</cx:pt>
          <cx:pt idx="59019">0</cx:pt>
          <cx:pt idx="59020">1</cx:pt>
          <cx:pt idx="59021">0</cx:pt>
          <cx:pt idx="59022">0</cx:pt>
          <cx:pt idx="59023">0</cx:pt>
          <cx:pt idx="59024">1</cx:pt>
          <cx:pt idx="59025">1</cx:pt>
          <cx:pt idx="59026">1</cx:pt>
          <cx:pt idx="59027">1</cx:pt>
          <cx:pt idx="59028">1</cx:pt>
          <cx:pt idx="59029">0</cx:pt>
          <cx:pt idx="59030">1</cx:pt>
          <cx:pt idx="59031">1</cx:pt>
          <cx:pt idx="59032">0</cx:pt>
          <cx:pt idx="59033">1</cx:pt>
          <cx:pt idx="59034">0</cx:pt>
          <cx:pt idx="59035">1</cx:pt>
          <cx:pt idx="59036">0</cx:pt>
          <cx:pt idx="59037">0</cx:pt>
          <cx:pt idx="59038">1</cx:pt>
          <cx:pt idx="59039">0</cx:pt>
          <cx:pt idx="59040">0</cx:pt>
          <cx:pt idx="59041">0</cx:pt>
          <cx:pt idx="59042">0</cx:pt>
          <cx:pt idx="59043">0</cx:pt>
          <cx:pt idx="59044">0</cx:pt>
          <cx:pt idx="59045">0</cx:pt>
          <cx:pt idx="59046">0</cx:pt>
          <cx:pt idx="59047">0</cx:pt>
          <cx:pt idx="59048">1</cx:pt>
          <cx:pt idx="59049">0</cx:pt>
          <cx:pt idx="59050">0</cx:pt>
          <cx:pt idx="59051">0</cx:pt>
          <cx:pt idx="59052">0</cx:pt>
          <cx:pt idx="59053">1</cx:pt>
          <cx:pt idx="59054">0</cx:pt>
          <cx:pt idx="59055">0</cx:pt>
          <cx:pt idx="59056">0</cx:pt>
          <cx:pt idx="59057">0</cx:pt>
          <cx:pt idx="59058">1</cx:pt>
          <cx:pt idx="59059">0</cx:pt>
          <cx:pt idx="59060">1</cx:pt>
          <cx:pt idx="59061">1</cx:pt>
          <cx:pt idx="59062">1</cx:pt>
          <cx:pt idx="59063">0</cx:pt>
          <cx:pt idx="59064">0</cx:pt>
          <cx:pt idx="59065">1</cx:pt>
          <cx:pt idx="59066">1</cx:pt>
          <cx:pt idx="59067">1</cx:pt>
          <cx:pt idx="59068">0</cx:pt>
          <cx:pt idx="59069">0</cx:pt>
          <cx:pt idx="59070">1</cx:pt>
          <cx:pt idx="59071">0</cx:pt>
          <cx:pt idx="59072">1</cx:pt>
          <cx:pt idx="59073">0</cx:pt>
          <cx:pt idx="59074">0</cx:pt>
          <cx:pt idx="59075">0</cx:pt>
          <cx:pt idx="59076">0</cx:pt>
          <cx:pt idx="59077">1</cx:pt>
          <cx:pt idx="59078">1</cx:pt>
          <cx:pt idx="59079">1</cx:pt>
          <cx:pt idx="59080">1</cx:pt>
          <cx:pt idx="59081">1</cx:pt>
          <cx:pt idx="59082">0</cx:pt>
          <cx:pt idx="59083">1</cx:pt>
          <cx:pt idx="59084">1</cx:pt>
          <cx:pt idx="59085">0</cx:pt>
          <cx:pt idx="59086">0</cx:pt>
          <cx:pt idx="59087">0</cx:pt>
          <cx:pt idx="59088">0</cx:pt>
          <cx:pt idx="59089">1</cx:pt>
          <cx:pt idx="59090">1</cx:pt>
          <cx:pt idx="59091">0</cx:pt>
          <cx:pt idx="59092">0</cx:pt>
          <cx:pt idx="59093">0</cx:pt>
          <cx:pt idx="59094">0</cx:pt>
          <cx:pt idx="59095">1</cx:pt>
          <cx:pt idx="59096">0</cx:pt>
          <cx:pt idx="59097">1</cx:pt>
          <cx:pt idx="59098">0</cx:pt>
          <cx:pt idx="59099">1</cx:pt>
          <cx:pt idx="59100">0</cx:pt>
          <cx:pt idx="59101">1</cx:pt>
          <cx:pt idx="59102">1</cx:pt>
          <cx:pt idx="59103">1</cx:pt>
          <cx:pt idx="59104">0</cx:pt>
          <cx:pt idx="59105">0</cx:pt>
          <cx:pt idx="59106">0</cx:pt>
          <cx:pt idx="59107">0</cx:pt>
          <cx:pt idx="59108">1</cx:pt>
          <cx:pt idx="59109">0</cx:pt>
          <cx:pt idx="59110">0</cx:pt>
          <cx:pt idx="59111">0</cx:pt>
          <cx:pt idx="59112">0</cx:pt>
          <cx:pt idx="59113">0</cx:pt>
          <cx:pt idx="59114">1</cx:pt>
          <cx:pt idx="59115">1</cx:pt>
          <cx:pt idx="59116">1</cx:pt>
          <cx:pt idx="59117">1</cx:pt>
          <cx:pt idx="59118">0</cx:pt>
          <cx:pt idx="59119">1</cx:pt>
          <cx:pt idx="59120">1</cx:pt>
          <cx:pt idx="59121">0</cx:pt>
          <cx:pt idx="59122">0</cx:pt>
          <cx:pt idx="59123">0</cx:pt>
          <cx:pt idx="59124">1</cx:pt>
          <cx:pt idx="59125">0</cx:pt>
          <cx:pt idx="59126">1</cx:pt>
          <cx:pt idx="59127">0</cx:pt>
          <cx:pt idx="59128">0</cx:pt>
          <cx:pt idx="59129">0</cx:pt>
          <cx:pt idx="59130">0</cx:pt>
          <cx:pt idx="59131">0</cx:pt>
          <cx:pt idx="59132">0</cx:pt>
          <cx:pt idx="59133">1</cx:pt>
          <cx:pt idx="59134">1</cx:pt>
          <cx:pt idx="59135">1</cx:pt>
          <cx:pt idx="59136">0</cx:pt>
          <cx:pt idx="59137">1</cx:pt>
          <cx:pt idx="59138">0</cx:pt>
          <cx:pt idx="59139">1</cx:pt>
          <cx:pt idx="59140">1</cx:pt>
          <cx:pt idx="59141">0</cx:pt>
          <cx:pt idx="59142">1</cx:pt>
          <cx:pt idx="59143">0</cx:pt>
          <cx:pt idx="59144">0</cx:pt>
          <cx:pt idx="59145">0</cx:pt>
          <cx:pt idx="59146">0</cx:pt>
          <cx:pt idx="59147">0</cx:pt>
          <cx:pt idx="59148">1</cx:pt>
          <cx:pt idx="59149">0</cx:pt>
          <cx:pt idx="59150">1</cx:pt>
          <cx:pt idx="59151">1</cx:pt>
          <cx:pt idx="59152">0</cx:pt>
          <cx:pt idx="59153">1</cx:pt>
          <cx:pt idx="59154">0</cx:pt>
          <cx:pt idx="59155">0</cx:pt>
          <cx:pt idx="59156">1</cx:pt>
          <cx:pt idx="59157">0</cx:pt>
          <cx:pt idx="59158">0</cx:pt>
          <cx:pt idx="59159">0</cx:pt>
          <cx:pt idx="59160">0</cx:pt>
          <cx:pt idx="59161">1</cx:pt>
          <cx:pt idx="59162">0</cx:pt>
          <cx:pt idx="59163">0</cx:pt>
          <cx:pt idx="59164">1</cx:pt>
          <cx:pt idx="59165">0</cx:pt>
          <cx:pt idx="59166">0</cx:pt>
          <cx:pt idx="59167">0</cx:pt>
          <cx:pt idx="59168">0</cx:pt>
          <cx:pt idx="59169">0</cx:pt>
          <cx:pt idx="59170">1</cx:pt>
          <cx:pt idx="59171">1</cx:pt>
          <cx:pt idx="59172">0</cx:pt>
          <cx:pt idx="59173">1</cx:pt>
          <cx:pt idx="59174">1</cx:pt>
          <cx:pt idx="59175">0</cx:pt>
          <cx:pt idx="59176">0</cx:pt>
          <cx:pt idx="59177">0</cx:pt>
          <cx:pt idx="59178">0</cx:pt>
          <cx:pt idx="59179">0</cx:pt>
          <cx:pt idx="59180">1</cx:pt>
          <cx:pt idx="59181">1</cx:pt>
          <cx:pt idx="59182">1</cx:pt>
          <cx:pt idx="59183">0</cx:pt>
          <cx:pt idx="59184">1</cx:pt>
          <cx:pt idx="59185">1</cx:pt>
          <cx:pt idx="59186">0</cx:pt>
          <cx:pt idx="59187">0</cx:pt>
          <cx:pt idx="59188">1</cx:pt>
          <cx:pt idx="59189">0</cx:pt>
          <cx:pt idx="59190">0</cx:pt>
          <cx:pt idx="59191">1</cx:pt>
          <cx:pt idx="59192">0</cx:pt>
          <cx:pt idx="59193">1</cx:pt>
          <cx:pt idx="59194">0</cx:pt>
          <cx:pt idx="59195">1</cx:pt>
          <cx:pt idx="59196">1</cx:pt>
          <cx:pt idx="59197">1</cx:pt>
          <cx:pt idx="59198">0</cx:pt>
          <cx:pt idx="59199">0</cx:pt>
          <cx:pt idx="59200">0</cx:pt>
          <cx:pt idx="59201">1</cx:pt>
          <cx:pt idx="59202">1</cx:pt>
          <cx:pt idx="59203">0</cx:pt>
          <cx:pt idx="59204">0</cx:pt>
          <cx:pt idx="59205">0</cx:pt>
          <cx:pt idx="59206">1</cx:pt>
          <cx:pt idx="59207">1</cx:pt>
          <cx:pt idx="59208">0</cx:pt>
          <cx:pt idx="59209">1</cx:pt>
          <cx:pt idx="59210">0</cx:pt>
          <cx:pt idx="59211">0</cx:pt>
          <cx:pt idx="59212">1</cx:pt>
          <cx:pt idx="59213">1</cx:pt>
          <cx:pt idx="59214">0</cx:pt>
          <cx:pt idx="59215">0</cx:pt>
          <cx:pt idx="59216">1</cx:pt>
          <cx:pt idx="59217">0</cx:pt>
          <cx:pt idx="59218">0</cx:pt>
          <cx:pt idx="59219">0</cx:pt>
          <cx:pt idx="59220">0</cx:pt>
          <cx:pt idx="59221">0</cx:pt>
          <cx:pt idx="59222">1</cx:pt>
          <cx:pt idx="59223">0</cx:pt>
          <cx:pt idx="59224">0</cx:pt>
          <cx:pt idx="59225">0</cx:pt>
          <cx:pt idx="59226">0</cx:pt>
          <cx:pt idx="59227">0</cx:pt>
          <cx:pt idx="59228">1</cx:pt>
          <cx:pt idx="59229">1</cx:pt>
          <cx:pt idx="59230">0</cx:pt>
          <cx:pt idx="59231">1</cx:pt>
          <cx:pt idx="59232">1</cx:pt>
          <cx:pt idx="59233">0</cx:pt>
          <cx:pt idx="59234">0</cx:pt>
          <cx:pt idx="59235">0</cx:pt>
          <cx:pt idx="59236">0</cx:pt>
          <cx:pt idx="59237">0</cx:pt>
          <cx:pt idx="59238">0</cx:pt>
          <cx:pt idx="59239">0</cx:pt>
          <cx:pt idx="59240">0</cx:pt>
          <cx:pt idx="59241">1</cx:pt>
          <cx:pt idx="59242">1</cx:pt>
          <cx:pt idx="59243">1</cx:pt>
          <cx:pt idx="59244">1</cx:pt>
          <cx:pt idx="59245">1</cx:pt>
          <cx:pt idx="59246">1</cx:pt>
          <cx:pt idx="59247">0</cx:pt>
          <cx:pt idx="59248">0</cx:pt>
          <cx:pt idx="59249">1</cx:pt>
          <cx:pt idx="59250">0</cx:pt>
          <cx:pt idx="59251">1</cx:pt>
          <cx:pt idx="59252">1</cx:pt>
          <cx:pt idx="59253">0</cx:pt>
          <cx:pt idx="59254">0</cx:pt>
          <cx:pt idx="59255">0</cx:pt>
          <cx:pt idx="59256">1</cx:pt>
          <cx:pt idx="59257">1</cx:pt>
          <cx:pt idx="59258">1</cx:pt>
          <cx:pt idx="59259">0</cx:pt>
          <cx:pt idx="59260">1</cx:pt>
          <cx:pt idx="59261">1</cx:pt>
          <cx:pt idx="59262">1</cx:pt>
          <cx:pt idx="59263">1</cx:pt>
          <cx:pt idx="59264">0</cx:pt>
          <cx:pt idx="59265">0</cx:pt>
          <cx:pt idx="59266">1</cx:pt>
          <cx:pt idx="59267">0</cx:pt>
          <cx:pt idx="59268">1</cx:pt>
          <cx:pt idx="59269">1</cx:pt>
          <cx:pt idx="59270">0</cx:pt>
          <cx:pt idx="59271">0</cx:pt>
          <cx:pt idx="59272">0</cx:pt>
          <cx:pt idx="59273">1</cx:pt>
          <cx:pt idx="59274">1</cx:pt>
          <cx:pt idx="59275">0</cx:pt>
          <cx:pt idx="59276">1</cx:pt>
          <cx:pt idx="59277">0</cx:pt>
          <cx:pt idx="59278">1</cx:pt>
          <cx:pt idx="59279">0</cx:pt>
          <cx:pt idx="59280">1</cx:pt>
          <cx:pt idx="59281">1</cx:pt>
          <cx:pt idx="59282">0</cx:pt>
          <cx:pt idx="59283">1</cx:pt>
          <cx:pt idx="59284">0</cx:pt>
          <cx:pt idx="59285">1</cx:pt>
          <cx:pt idx="59286">0</cx:pt>
          <cx:pt idx="59287">0</cx:pt>
          <cx:pt idx="59288">1</cx:pt>
          <cx:pt idx="59289">0</cx:pt>
          <cx:pt idx="59290">1</cx:pt>
          <cx:pt idx="59291">0</cx:pt>
          <cx:pt idx="59292">1</cx:pt>
          <cx:pt idx="59293">1</cx:pt>
          <cx:pt idx="59294">0</cx:pt>
          <cx:pt idx="59295">0</cx:pt>
          <cx:pt idx="59296">0</cx:pt>
          <cx:pt idx="59297">1</cx:pt>
          <cx:pt idx="59298">1</cx:pt>
          <cx:pt idx="59299">0</cx:pt>
          <cx:pt idx="59300">0</cx:pt>
          <cx:pt idx="59301">0</cx:pt>
          <cx:pt idx="59302">0</cx:pt>
          <cx:pt idx="59303">0</cx:pt>
          <cx:pt idx="59304">0</cx:pt>
          <cx:pt idx="59305">0</cx:pt>
          <cx:pt idx="59306">1</cx:pt>
          <cx:pt idx="59307">0</cx:pt>
          <cx:pt idx="59308">0</cx:pt>
          <cx:pt idx="59309">0</cx:pt>
          <cx:pt idx="59310">0</cx:pt>
          <cx:pt idx="59311">0</cx:pt>
          <cx:pt idx="59312">0</cx:pt>
          <cx:pt idx="59313">1</cx:pt>
          <cx:pt idx="59314">1</cx:pt>
          <cx:pt idx="59315">1</cx:pt>
          <cx:pt idx="59316">0</cx:pt>
          <cx:pt idx="59317">0</cx:pt>
          <cx:pt idx="59318">0</cx:pt>
          <cx:pt idx="59319">0</cx:pt>
          <cx:pt idx="59320">0</cx:pt>
          <cx:pt idx="59321">1</cx:pt>
          <cx:pt idx="59322">1</cx:pt>
          <cx:pt idx="59323">1</cx:pt>
          <cx:pt idx="59324">1</cx:pt>
          <cx:pt idx="59325">0</cx:pt>
          <cx:pt idx="59326">0</cx:pt>
          <cx:pt idx="59327">1</cx:pt>
          <cx:pt idx="59328">0</cx:pt>
          <cx:pt idx="59329">1</cx:pt>
          <cx:pt idx="59330">0</cx:pt>
          <cx:pt idx="59331">0</cx:pt>
          <cx:pt idx="59332">1</cx:pt>
          <cx:pt idx="59333">1</cx:pt>
          <cx:pt idx="59334">0</cx:pt>
          <cx:pt idx="59335">1</cx:pt>
          <cx:pt idx="59336">0</cx:pt>
          <cx:pt idx="59337">0</cx:pt>
          <cx:pt idx="59338">0</cx:pt>
          <cx:pt idx="59339">0</cx:pt>
          <cx:pt idx="59340">1</cx:pt>
          <cx:pt idx="59341">0</cx:pt>
          <cx:pt idx="59342">0</cx:pt>
          <cx:pt idx="59343">0</cx:pt>
          <cx:pt idx="59344">0</cx:pt>
          <cx:pt idx="59345">1</cx:pt>
          <cx:pt idx="59346">0</cx:pt>
          <cx:pt idx="59347">0</cx:pt>
          <cx:pt idx="59348">0</cx:pt>
          <cx:pt idx="59349">1</cx:pt>
          <cx:pt idx="59350">1</cx:pt>
          <cx:pt idx="59351">0</cx:pt>
          <cx:pt idx="59352">1</cx:pt>
          <cx:pt idx="59353">1</cx:pt>
          <cx:pt idx="59354">1</cx:pt>
          <cx:pt idx="59355">0</cx:pt>
          <cx:pt idx="59356">0</cx:pt>
          <cx:pt idx="59357">1</cx:pt>
          <cx:pt idx="59358">1</cx:pt>
          <cx:pt idx="59359">1</cx:pt>
          <cx:pt idx="59360">0</cx:pt>
          <cx:pt idx="59361">0</cx:pt>
          <cx:pt idx="59362">1</cx:pt>
          <cx:pt idx="59363">0</cx:pt>
          <cx:pt idx="59364">0</cx:pt>
          <cx:pt idx="59365">0</cx:pt>
          <cx:pt idx="59366">0</cx:pt>
          <cx:pt idx="59367">1</cx:pt>
          <cx:pt idx="59368">1</cx:pt>
          <cx:pt idx="59369">0</cx:pt>
          <cx:pt idx="59370">0</cx:pt>
          <cx:pt idx="59371">0</cx:pt>
          <cx:pt idx="59372">0</cx:pt>
          <cx:pt idx="59373">1</cx:pt>
          <cx:pt idx="59374">0</cx:pt>
          <cx:pt idx="59375">1</cx:pt>
          <cx:pt idx="59376">0</cx:pt>
          <cx:pt idx="59377">1</cx:pt>
          <cx:pt idx="59378">1</cx:pt>
          <cx:pt idx="59379">0</cx:pt>
          <cx:pt idx="59380">0</cx:pt>
          <cx:pt idx="59381">1</cx:pt>
          <cx:pt idx="59382">0</cx:pt>
          <cx:pt idx="59383">0</cx:pt>
          <cx:pt idx="59384">0</cx:pt>
          <cx:pt idx="59385">1</cx:pt>
          <cx:pt idx="59386">0</cx:pt>
          <cx:pt idx="59387">1</cx:pt>
          <cx:pt idx="59388">0</cx:pt>
          <cx:pt idx="59389">0</cx:pt>
          <cx:pt idx="59390">0</cx:pt>
          <cx:pt idx="59391">0</cx:pt>
          <cx:pt idx="59392">1</cx:pt>
          <cx:pt idx="59393">0</cx:pt>
          <cx:pt idx="59394">0</cx:pt>
          <cx:pt idx="59395">0</cx:pt>
          <cx:pt idx="59396">1</cx:pt>
          <cx:pt idx="59397">0</cx:pt>
          <cx:pt idx="59398">0</cx:pt>
          <cx:pt idx="59399">0</cx:pt>
          <cx:pt idx="59400">0</cx:pt>
          <cx:pt idx="59401">1</cx:pt>
          <cx:pt idx="59402">1</cx:pt>
          <cx:pt idx="59403">1</cx:pt>
          <cx:pt idx="59404">0</cx:pt>
          <cx:pt idx="59405">0</cx:pt>
          <cx:pt idx="59406">0</cx:pt>
          <cx:pt idx="59407">0</cx:pt>
          <cx:pt idx="59408">1</cx:pt>
          <cx:pt idx="59409">0</cx:pt>
          <cx:pt idx="59410">1</cx:pt>
          <cx:pt idx="59411">1</cx:pt>
          <cx:pt idx="59412">1</cx:pt>
          <cx:pt idx="59413">0</cx:pt>
          <cx:pt idx="59414">1</cx:pt>
          <cx:pt idx="59415">1</cx:pt>
          <cx:pt idx="59416">0</cx:pt>
          <cx:pt idx="59417">1</cx:pt>
          <cx:pt idx="59418">0</cx:pt>
          <cx:pt idx="59419">0</cx:pt>
          <cx:pt idx="59420">0</cx:pt>
          <cx:pt idx="59421">0</cx:pt>
          <cx:pt idx="59422">1</cx:pt>
          <cx:pt idx="59423">0</cx:pt>
          <cx:pt idx="59424">1</cx:pt>
          <cx:pt idx="59425">1</cx:pt>
          <cx:pt idx="59426">1</cx:pt>
          <cx:pt idx="59427">0</cx:pt>
          <cx:pt idx="59428">0</cx:pt>
          <cx:pt idx="59429">1</cx:pt>
          <cx:pt idx="59430">1</cx:pt>
          <cx:pt idx="59431">1</cx:pt>
          <cx:pt idx="59432">0</cx:pt>
          <cx:pt idx="59433">1</cx:pt>
          <cx:pt idx="59434">0</cx:pt>
          <cx:pt idx="59435">1</cx:pt>
          <cx:pt idx="59436">0</cx:pt>
          <cx:pt idx="59437">0</cx:pt>
          <cx:pt idx="59438">0</cx:pt>
          <cx:pt idx="59439">1</cx:pt>
          <cx:pt idx="59440">0</cx:pt>
          <cx:pt idx="59441">0</cx:pt>
          <cx:pt idx="59442">0</cx:pt>
          <cx:pt idx="59443">0</cx:pt>
          <cx:pt idx="59444">0</cx:pt>
          <cx:pt idx="59445">1</cx:pt>
          <cx:pt idx="59446">1</cx:pt>
          <cx:pt idx="59447">1</cx:pt>
          <cx:pt idx="59448">1</cx:pt>
          <cx:pt idx="59449">0</cx:pt>
          <cx:pt idx="59450">1</cx:pt>
          <cx:pt idx="59451">1</cx:pt>
          <cx:pt idx="59452">1</cx:pt>
          <cx:pt idx="59453">0</cx:pt>
          <cx:pt idx="59454">1</cx:pt>
          <cx:pt idx="59455">0</cx:pt>
          <cx:pt idx="59456">0</cx:pt>
          <cx:pt idx="59457">0</cx:pt>
          <cx:pt idx="59458">1</cx:pt>
          <cx:pt idx="59459">1</cx:pt>
          <cx:pt idx="59460">0</cx:pt>
          <cx:pt idx="59461">1</cx:pt>
          <cx:pt idx="59462">1</cx:pt>
          <cx:pt idx="59463">1</cx:pt>
          <cx:pt idx="59464">0</cx:pt>
          <cx:pt idx="59465">0</cx:pt>
          <cx:pt idx="59466">0</cx:pt>
          <cx:pt idx="59467">0</cx:pt>
          <cx:pt idx="59468">0</cx:pt>
          <cx:pt idx="59469">0</cx:pt>
          <cx:pt idx="59470">1</cx:pt>
          <cx:pt idx="59471">1</cx:pt>
          <cx:pt idx="59472">1</cx:pt>
          <cx:pt idx="59473">0</cx:pt>
          <cx:pt idx="59474">0</cx:pt>
          <cx:pt idx="59475">0</cx:pt>
          <cx:pt idx="59476">1</cx:pt>
          <cx:pt idx="59477">1</cx:pt>
          <cx:pt idx="59478">0</cx:pt>
          <cx:pt idx="59479">1</cx:pt>
          <cx:pt idx="59480">1</cx:pt>
          <cx:pt idx="59481">0</cx:pt>
          <cx:pt idx="59482">1</cx:pt>
          <cx:pt idx="59483">0</cx:pt>
          <cx:pt idx="59484">0</cx:pt>
          <cx:pt idx="59485">1</cx:pt>
          <cx:pt idx="59486">0</cx:pt>
          <cx:pt idx="59487">0</cx:pt>
          <cx:pt idx="59488">1</cx:pt>
          <cx:pt idx="59489">0</cx:pt>
          <cx:pt idx="59490">0</cx:pt>
          <cx:pt idx="59491">1</cx:pt>
          <cx:pt idx="59492">0</cx:pt>
          <cx:pt idx="59493">1</cx:pt>
          <cx:pt idx="59494">1</cx:pt>
          <cx:pt idx="59495">0</cx:pt>
          <cx:pt idx="59496">0</cx:pt>
          <cx:pt idx="59497">1</cx:pt>
          <cx:pt idx="59498">0</cx:pt>
          <cx:pt idx="59499">1</cx:pt>
          <cx:pt idx="59500">0</cx:pt>
          <cx:pt idx="59501">0</cx:pt>
          <cx:pt idx="59502">1</cx:pt>
          <cx:pt idx="59503">0</cx:pt>
          <cx:pt idx="59504">1</cx:pt>
          <cx:pt idx="59505">1</cx:pt>
          <cx:pt idx="59506">0</cx:pt>
          <cx:pt idx="59507">0</cx:pt>
          <cx:pt idx="59508">1</cx:pt>
          <cx:pt idx="59509">0</cx:pt>
          <cx:pt idx="59510">0</cx:pt>
          <cx:pt idx="59511">0</cx:pt>
          <cx:pt idx="59512">0</cx:pt>
          <cx:pt idx="59513">1</cx:pt>
          <cx:pt idx="59514">1</cx:pt>
          <cx:pt idx="59515">0</cx:pt>
          <cx:pt idx="59516">0</cx:pt>
          <cx:pt idx="59517">1</cx:pt>
          <cx:pt idx="59518">0</cx:pt>
          <cx:pt idx="59519">1</cx:pt>
          <cx:pt idx="59520">0</cx:pt>
          <cx:pt idx="59521">0</cx:pt>
          <cx:pt idx="59522">0</cx:pt>
          <cx:pt idx="59523">1</cx:pt>
          <cx:pt idx="59524">0</cx:pt>
          <cx:pt idx="59525">0</cx:pt>
          <cx:pt idx="59526">1</cx:pt>
          <cx:pt idx="59527">1</cx:pt>
          <cx:pt idx="59528">0</cx:pt>
          <cx:pt idx="59529">0</cx:pt>
          <cx:pt idx="59530">0</cx:pt>
          <cx:pt idx="59531">0</cx:pt>
          <cx:pt idx="59532">0</cx:pt>
          <cx:pt idx="59533">0</cx:pt>
          <cx:pt idx="59534">0</cx:pt>
          <cx:pt idx="59535">1</cx:pt>
          <cx:pt idx="59536">0</cx:pt>
          <cx:pt idx="59537">1</cx:pt>
          <cx:pt idx="59538">1</cx:pt>
          <cx:pt idx="59539">1</cx:pt>
          <cx:pt idx="59540">0</cx:pt>
          <cx:pt idx="59541">0</cx:pt>
          <cx:pt idx="59542">1</cx:pt>
          <cx:pt idx="59543">0</cx:pt>
          <cx:pt idx="59544">1</cx:pt>
          <cx:pt idx="59545">1</cx:pt>
          <cx:pt idx="59546">1</cx:pt>
          <cx:pt idx="59547">1</cx:pt>
          <cx:pt idx="59548">0</cx:pt>
          <cx:pt idx="59549">0</cx:pt>
          <cx:pt idx="59550">1</cx:pt>
          <cx:pt idx="59551">0</cx:pt>
          <cx:pt idx="59552">0</cx:pt>
          <cx:pt idx="59553">0</cx:pt>
          <cx:pt idx="59554">1</cx:pt>
          <cx:pt idx="59555">0</cx:pt>
          <cx:pt idx="59556">0</cx:pt>
          <cx:pt idx="59557">1</cx:pt>
          <cx:pt idx="59558">0</cx:pt>
          <cx:pt idx="59559">0</cx:pt>
          <cx:pt idx="59560">1</cx:pt>
          <cx:pt idx="59561">1</cx:pt>
          <cx:pt idx="59562">0</cx:pt>
          <cx:pt idx="59563">0</cx:pt>
          <cx:pt idx="59564">1</cx:pt>
          <cx:pt idx="59565">1</cx:pt>
          <cx:pt idx="59566">1</cx:pt>
          <cx:pt idx="59567">0</cx:pt>
          <cx:pt idx="59568">0</cx:pt>
          <cx:pt idx="59569">0</cx:pt>
          <cx:pt idx="59570">1</cx:pt>
          <cx:pt idx="59571">1</cx:pt>
          <cx:pt idx="59572">1</cx:pt>
          <cx:pt idx="59573">1</cx:pt>
          <cx:pt idx="59574">1</cx:pt>
          <cx:pt idx="59575">0</cx:pt>
          <cx:pt idx="59576">0</cx:pt>
          <cx:pt idx="59577">1</cx:pt>
          <cx:pt idx="59578">1</cx:pt>
          <cx:pt idx="59579">1</cx:pt>
          <cx:pt idx="59580">0</cx:pt>
          <cx:pt idx="59581">0</cx:pt>
          <cx:pt idx="59582">0</cx:pt>
          <cx:pt idx="59583">1</cx:pt>
          <cx:pt idx="59584">1</cx:pt>
          <cx:pt idx="59585">1</cx:pt>
          <cx:pt idx="59586">1</cx:pt>
          <cx:pt idx="59587">1</cx:pt>
          <cx:pt idx="59588">0</cx:pt>
          <cx:pt idx="59589">0</cx:pt>
          <cx:pt idx="59590">0</cx:pt>
          <cx:pt idx="59591">0</cx:pt>
          <cx:pt idx="59592">1</cx:pt>
          <cx:pt idx="59593">0</cx:pt>
          <cx:pt idx="59594">1</cx:pt>
          <cx:pt idx="59595">1</cx:pt>
          <cx:pt idx="59596">0</cx:pt>
          <cx:pt idx="59597">0</cx:pt>
          <cx:pt idx="59598">1</cx:pt>
          <cx:pt idx="59599">1</cx:pt>
          <cx:pt idx="59600">0</cx:pt>
          <cx:pt idx="59601">1</cx:pt>
          <cx:pt idx="59602">1</cx:pt>
          <cx:pt idx="59603">0</cx:pt>
          <cx:pt idx="59604">0</cx:pt>
          <cx:pt idx="59605">0</cx:pt>
          <cx:pt idx="59606">0</cx:pt>
          <cx:pt idx="59607">1</cx:pt>
          <cx:pt idx="59608">0</cx:pt>
          <cx:pt idx="59609">0</cx:pt>
          <cx:pt idx="59610">1</cx:pt>
          <cx:pt idx="59611">0</cx:pt>
          <cx:pt idx="59612">0</cx:pt>
          <cx:pt idx="59613">0</cx:pt>
          <cx:pt idx="59614">0</cx:pt>
          <cx:pt idx="59615">0</cx:pt>
          <cx:pt idx="59616">0</cx:pt>
          <cx:pt idx="59617">1</cx:pt>
          <cx:pt idx="59618">0</cx:pt>
          <cx:pt idx="59619">1</cx:pt>
          <cx:pt idx="59620">1</cx:pt>
          <cx:pt idx="59621">1</cx:pt>
          <cx:pt idx="59622">0</cx:pt>
          <cx:pt idx="59623">0</cx:pt>
          <cx:pt idx="59624">1</cx:pt>
          <cx:pt idx="59625">1</cx:pt>
          <cx:pt idx="59626">0</cx:pt>
          <cx:pt idx="59627">0</cx:pt>
          <cx:pt idx="59628">0</cx:pt>
          <cx:pt idx="59629">1</cx:pt>
          <cx:pt idx="59630">0</cx:pt>
          <cx:pt idx="59631">0</cx:pt>
          <cx:pt idx="59632">0</cx:pt>
          <cx:pt idx="59633">0</cx:pt>
          <cx:pt idx="59634">1</cx:pt>
          <cx:pt idx="59635">1</cx:pt>
          <cx:pt idx="59636">0</cx:pt>
          <cx:pt idx="59637">0</cx:pt>
          <cx:pt idx="59638">0</cx:pt>
          <cx:pt idx="59639">0</cx:pt>
          <cx:pt idx="59640">1</cx:pt>
          <cx:pt idx="59641">1</cx:pt>
          <cx:pt idx="59642">1</cx:pt>
          <cx:pt idx="59643">0</cx:pt>
          <cx:pt idx="59644">0</cx:pt>
          <cx:pt idx="59645">0</cx:pt>
          <cx:pt idx="59646">0</cx:pt>
          <cx:pt idx="59647">0</cx:pt>
          <cx:pt idx="59648">0</cx:pt>
          <cx:pt idx="59649">1</cx:pt>
          <cx:pt idx="59650">1</cx:pt>
          <cx:pt idx="59651">1</cx:pt>
          <cx:pt idx="59652">0</cx:pt>
          <cx:pt idx="59653">1</cx:pt>
          <cx:pt idx="59654">0</cx:pt>
          <cx:pt idx="59655">1</cx:pt>
          <cx:pt idx="59656">0</cx:pt>
          <cx:pt idx="59657">0</cx:pt>
          <cx:pt idx="59658">0</cx:pt>
          <cx:pt idx="59659">1</cx:pt>
          <cx:pt idx="59660">0</cx:pt>
          <cx:pt idx="59661">0</cx:pt>
          <cx:pt idx="59662">1</cx:pt>
          <cx:pt idx="59663">0</cx:pt>
          <cx:pt idx="59664">0</cx:pt>
          <cx:pt idx="59665">0</cx:pt>
          <cx:pt idx="59666">1</cx:pt>
          <cx:pt idx="59667">1</cx:pt>
          <cx:pt idx="59668">0</cx:pt>
          <cx:pt idx="59669">0</cx:pt>
          <cx:pt idx="59670">0</cx:pt>
          <cx:pt idx="59671">0</cx:pt>
          <cx:pt idx="59672">1</cx:pt>
          <cx:pt idx="59673">0</cx:pt>
          <cx:pt idx="59674">1</cx:pt>
          <cx:pt idx="59675">0</cx:pt>
          <cx:pt idx="59676">0</cx:pt>
          <cx:pt idx="59677">1</cx:pt>
          <cx:pt idx="59678">1</cx:pt>
          <cx:pt idx="59679">1</cx:pt>
          <cx:pt idx="59680">1</cx:pt>
          <cx:pt idx="59681">0</cx:pt>
          <cx:pt idx="59682">0</cx:pt>
          <cx:pt idx="59683">0</cx:pt>
          <cx:pt idx="59684">0</cx:pt>
          <cx:pt idx="59685">1</cx:pt>
          <cx:pt idx="59686">0</cx:pt>
          <cx:pt idx="59687">0</cx:pt>
          <cx:pt idx="59688">0</cx:pt>
          <cx:pt idx="59689">0</cx:pt>
          <cx:pt idx="59690">1</cx:pt>
          <cx:pt idx="59691">0</cx:pt>
          <cx:pt idx="59692">1</cx:pt>
          <cx:pt idx="59693">0</cx:pt>
          <cx:pt idx="59694">0</cx:pt>
          <cx:pt idx="59695">1</cx:pt>
          <cx:pt idx="59696">0</cx:pt>
          <cx:pt idx="59697">0</cx:pt>
          <cx:pt idx="59698">0</cx:pt>
          <cx:pt idx="59699">0</cx:pt>
          <cx:pt idx="59700">0</cx:pt>
          <cx:pt idx="59701">1</cx:pt>
          <cx:pt idx="59702">0</cx:pt>
          <cx:pt idx="59703">0</cx:pt>
          <cx:pt idx="59704">0</cx:pt>
          <cx:pt idx="59705">0</cx:pt>
          <cx:pt idx="59706">1</cx:pt>
          <cx:pt idx="59707">0</cx:pt>
          <cx:pt idx="59708">1</cx:pt>
          <cx:pt idx="59709">0</cx:pt>
          <cx:pt idx="59710">1</cx:pt>
          <cx:pt idx="59711">0</cx:pt>
          <cx:pt idx="59712">0</cx:pt>
          <cx:pt idx="59713">0</cx:pt>
          <cx:pt idx="59714">0</cx:pt>
          <cx:pt idx="59715">1</cx:pt>
          <cx:pt idx="59716">0</cx:pt>
          <cx:pt idx="59717">0</cx:pt>
          <cx:pt idx="59718">0</cx:pt>
          <cx:pt idx="59719">0</cx:pt>
          <cx:pt idx="59720">1</cx:pt>
          <cx:pt idx="59721">1</cx:pt>
          <cx:pt idx="59722">1</cx:pt>
          <cx:pt idx="59723">0</cx:pt>
          <cx:pt idx="59724">0</cx:pt>
          <cx:pt idx="59725">1</cx:pt>
          <cx:pt idx="59726">0</cx:pt>
          <cx:pt idx="59727">0</cx:pt>
          <cx:pt idx="59728">0</cx:pt>
          <cx:pt idx="59729">0</cx:pt>
          <cx:pt idx="59730">1</cx:pt>
          <cx:pt idx="59731">0</cx:pt>
          <cx:pt idx="59732">1</cx:pt>
          <cx:pt idx="59733">1</cx:pt>
          <cx:pt idx="59734">1</cx:pt>
          <cx:pt idx="59735">1</cx:pt>
          <cx:pt idx="59736">0</cx:pt>
          <cx:pt idx="59737">0</cx:pt>
          <cx:pt idx="59738">0</cx:pt>
          <cx:pt idx="59739">1</cx:pt>
          <cx:pt idx="59740">1</cx:pt>
          <cx:pt idx="59741">1</cx:pt>
          <cx:pt idx="59742">1</cx:pt>
          <cx:pt idx="59743">0</cx:pt>
          <cx:pt idx="59744">0</cx:pt>
          <cx:pt idx="59745">1</cx:pt>
          <cx:pt idx="59746">1</cx:pt>
          <cx:pt idx="59747">1</cx:pt>
          <cx:pt idx="59748">1</cx:pt>
          <cx:pt idx="59749">0</cx:pt>
          <cx:pt idx="59750">1</cx:pt>
          <cx:pt idx="59751">0</cx:pt>
          <cx:pt idx="59752">1</cx:pt>
          <cx:pt idx="59753">0</cx:pt>
          <cx:pt idx="59754">1</cx:pt>
          <cx:pt idx="59755">1</cx:pt>
          <cx:pt idx="59756">0</cx:pt>
          <cx:pt idx="59757">0</cx:pt>
          <cx:pt idx="59758">0</cx:pt>
          <cx:pt idx="59759">0</cx:pt>
          <cx:pt idx="59760">1</cx:pt>
          <cx:pt idx="59761">0</cx:pt>
          <cx:pt idx="59762">1</cx:pt>
          <cx:pt idx="59763">1</cx:pt>
          <cx:pt idx="59764">1</cx:pt>
          <cx:pt idx="59765">1</cx:pt>
          <cx:pt idx="59766">0</cx:pt>
          <cx:pt idx="59767">1</cx:pt>
          <cx:pt idx="59768">0</cx:pt>
          <cx:pt idx="59769">1</cx:pt>
          <cx:pt idx="59770">0</cx:pt>
          <cx:pt idx="59771">1</cx:pt>
          <cx:pt idx="59772">0</cx:pt>
          <cx:pt idx="59773">0</cx:pt>
          <cx:pt idx="59774">0</cx:pt>
          <cx:pt idx="59775">1</cx:pt>
          <cx:pt idx="59776">0</cx:pt>
          <cx:pt idx="59777">0</cx:pt>
          <cx:pt idx="59778">1</cx:pt>
          <cx:pt idx="59779">0</cx:pt>
          <cx:pt idx="59780">1</cx:pt>
          <cx:pt idx="59781">1</cx:pt>
          <cx:pt idx="59782">0</cx:pt>
          <cx:pt idx="59783">0</cx:pt>
          <cx:pt idx="59784">1</cx:pt>
          <cx:pt idx="59785">1</cx:pt>
          <cx:pt idx="59786">0</cx:pt>
          <cx:pt idx="59787">0</cx:pt>
          <cx:pt idx="59788">0</cx:pt>
          <cx:pt idx="59789">0</cx:pt>
          <cx:pt idx="59790">0</cx:pt>
          <cx:pt idx="59791">1</cx:pt>
          <cx:pt idx="59792">0</cx:pt>
          <cx:pt idx="59793">0</cx:pt>
          <cx:pt idx="59794">0</cx:pt>
          <cx:pt idx="59795">1</cx:pt>
          <cx:pt idx="59796">0</cx:pt>
          <cx:pt idx="59797">0</cx:pt>
          <cx:pt idx="59798">0</cx:pt>
          <cx:pt idx="59799">0</cx:pt>
          <cx:pt idx="59800">0</cx:pt>
          <cx:pt idx="59801">0</cx:pt>
          <cx:pt idx="59802">1</cx:pt>
          <cx:pt idx="59803">0</cx:pt>
          <cx:pt idx="59804">1</cx:pt>
          <cx:pt idx="59805">0</cx:pt>
          <cx:pt idx="59806">0</cx:pt>
          <cx:pt idx="59807">1</cx:pt>
          <cx:pt idx="59808">0</cx:pt>
          <cx:pt idx="59809">0</cx:pt>
          <cx:pt idx="59810">0</cx:pt>
          <cx:pt idx="59811">0</cx:pt>
          <cx:pt idx="59812">1</cx:pt>
          <cx:pt idx="59813">0</cx:pt>
          <cx:pt idx="59814">0</cx:pt>
          <cx:pt idx="59815">0</cx:pt>
          <cx:pt idx="59816">0</cx:pt>
          <cx:pt idx="59817">1</cx:pt>
          <cx:pt idx="59818">0</cx:pt>
          <cx:pt idx="59819">1</cx:pt>
          <cx:pt idx="59820">0</cx:pt>
          <cx:pt idx="59821">0</cx:pt>
          <cx:pt idx="59822">0</cx:pt>
          <cx:pt idx="59823">1</cx:pt>
          <cx:pt idx="59824">1</cx:pt>
          <cx:pt idx="59825">1</cx:pt>
          <cx:pt idx="59826">1</cx:pt>
          <cx:pt idx="59827">1</cx:pt>
          <cx:pt idx="59828">1</cx:pt>
          <cx:pt idx="59829">0</cx:pt>
          <cx:pt idx="59830">0</cx:pt>
          <cx:pt idx="59831">1</cx:pt>
          <cx:pt idx="59832">0</cx:pt>
          <cx:pt idx="59833">0</cx:pt>
          <cx:pt idx="59834">1</cx:pt>
          <cx:pt idx="59835">1</cx:pt>
          <cx:pt idx="59836">1</cx:pt>
          <cx:pt idx="59837">1</cx:pt>
          <cx:pt idx="59838">1</cx:pt>
          <cx:pt idx="59839">0</cx:pt>
          <cx:pt idx="59840">0</cx:pt>
          <cx:pt idx="59841">0</cx:pt>
          <cx:pt idx="59842">1</cx:pt>
          <cx:pt idx="59843">0</cx:pt>
          <cx:pt idx="59844">0</cx:pt>
          <cx:pt idx="59845">0</cx:pt>
          <cx:pt idx="59846">0</cx:pt>
          <cx:pt idx="59847">1</cx:pt>
          <cx:pt idx="59848">0</cx:pt>
          <cx:pt idx="59849">1</cx:pt>
          <cx:pt idx="59850">1</cx:pt>
          <cx:pt idx="59851">1</cx:pt>
          <cx:pt idx="59852">0</cx:pt>
          <cx:pt idx="59853">0</cx:pt>
          <cx:pt idx="59854">1</cx:pt>
          <cx:pt idx="59855">0</cx:pt>
          <cx:pt idx="59856">0</cx:pt>
          <cx:pt idx="59857">1</cx:pt>
          <cx:pt idx="59858">0</cx:pt>
          <cx:pt idx="59859">0</cx:pt>
          <cx:pt idx="59860">1</cx:pt>
          <cx:pt idx="59861">0</cx:pt>
          <cx:pt idx="59862">1</cx:pt>
          <cx:pt idx="59863">0</cx:pt>
          <cx:pt idx="59864">1</cx:pt>
          <cx:pt idx="59865">1</cx:pt>
          <cx:pt idx="59866">0</cx:pt>
          <cx:pt idx="59867">1</cx:pt>
          <cx:pt idx="59868">0</cx:pt>
          <cx:pt idx="59869">0</cx:pt>
          <cx:pt idx="59870">0</cx:pt>
          <cx:pt idx="59871">0</cx:pt>
          <cx:pt idx="59872">0</cx:pt>
          <cx:pt idx="59873">0</cx:pt>
          <cx:pt idx="59874">0</cx:pt>
          <cx:pt idx="59875">1</cx:pt>
          <cx:pt idx="59876">1</cx:pt>
          <cx:pt idx="59877">0</cx:pt>
          <cx:pt idx="59878">1</cx:pt>
          <cx:pt idx="59879">0</cx:pt>
          <cx:pt idx="59880">0</cx:pt>
          <cx:pt idx="59881">0</cx:pt>
          <cx:pt idx="59882">0</cx:pt>
          <cx:pt idx="59883">0</cx:pt>
          <cx:pt idx="59884">0</cx:pt>
          <cx:pt idx="59885">1</cx:pt>
          <cx:pt idx="59886">0</cx:pt>
          <cx:pt idx="59887">1</cx:pt>
          <cx:pt idx="59888">0</cx:pt>
          <cx:pt idx="59889">0</cx:pt>
          <cx:pt idx="59890">1</cx:pt>
          <cx:pt idx="59891">1</cx:pt>
          <cx:pt idx="59892">0</cx:pt>
          <cx:pt idx="59893">0</cx:pt>
          <cx:pt idx="59894">0</cx:pt>
          <cx:pt idx="59895">0</cx:pt>
          <cx:pt idx="59896">0</cx:pt>
          <cx:pt idx="59897">1</cx:pt>
          <cx:pt idx="59898">1</cx:pt>
          <cx:pt idx="59899">0</cx:pt>
          <cx:pt idx="59900">1</cx:pt>
          <cx:pt idx="59901">0</cx:pt>
          <cx:pt idx="59902">1</cx:pt>
          <cx:pt idx="59903">0</cx:pt>
          <cx:pt idx="59904">1</cx:pt>
          <cx:pt idx="59905">0</cx:pt>
          <cx:pt idx="59906">1</cx:pt>
          <cx:pt idx="59907">1</cx:pt>
          <cx:pt idx="59908">1</cx:pt>
          <cx:pt idx="59909">1</cx:pt>
          <cx:pt idx="59910">1</cx:pt>
          <cx:pt idx="59911">1</cx:pt>
          <cx:pt idx="59912">0</cx:pt>
          <cx:pt idx="59913">1</cx:pt>
          <cx:pt idx="59914">1</cx:pt>
          <cx:pt idx="59915">0</cx:pt>
          <cx:pt idx="59916">0</cx:pt>
          <cx:pt idx="59917">0</cx:pt>
          <cx:pt idx="59918">0</cx:pt>
          <cx:pt idx="59919">0</cx:pt>
          <cx:pt idx="59920">1</cx:pt>
          <cx:pt idx="59921">0</cx:pt>
          <cx:pt idx="59922">0</cx:pt>
          <cx:pt idx="59923">0</cx:pt>
          <cx:pt idx="59924">1</cx:pt>
          <cx:pt idx="59925">1</cx:pt>
          <cx:pt idx="59926">1</cx:pt>
          <cx:pt idx="59927">0</cx:pt>
          <cx:pt idx="59928">1</cx:pt>
          <cx:pt idx="59929">0</cx:pt>
          <cx:pt idx="59930">0</cx:pt>
          <cx:pt idx="59931">0</cx:pt>
          <cx:pt idx="59932">0</cx:pt>
          <cx:pt idx="59933">0</cx:pt>
          <cx:pt idx="59934">1</cx:pt>
          <cx:pt idx="59935">1</cx:pt>
          <cx:pt idx="59936">0</cx:pt>
          <cx:pt idx="59937">0</cx:pt>
          <cx:pt idx="59938">1</cx:pt>
          <cx:pt idx="59939">0</cx:pt>
          <cx:pt idx="59940">1</cx:pt>
          <cx:pt idx="59941">1</cx:pt>
          <cx:pt idx="59942">0</cx:pt>
          <cx:pt idx="59943">1</cx:pt>
          <cx:pt idx="59944">1</cx:pt>
          <cx:pt idx="59945">1</cx:pt>
          <cx:pt idx="59946">1</cx:pt>
          <cx:pt idx="59947">1</cx:pt>
          <cx:pt idx="59948">1</cx:pt>
          <cx:pt idx="59949">1</cx:pt>
          <cx:pt idx="59950">0</cx:pt>
          <cx:pt idx="59951">0</cx:pt>
          <cx:pt idx="59952">1</cx:pt>
          <cx:pt idx="59953">0</cx:pt>
          <cx:pt idx="59954">1</cx:pt>
          <cx:pt idx="59955">1</cx:pt>
          <cx:pt idx="59956">0</cx:pt>
          <cx:pt idx="59957">0</cx:pt>
          <cx:pt idx="59958">0</cx:pt>
          <cx:pt idx="59959">0</cx:pt>
          <cx:pt idx="59960">1</cx:pt>
          <cx:pt idx="59961">0</cx:pt>
          <cx:pt idx="59962">0</cx:pt>
          <cx:pt idx="59963">0</cx:pt>
          <cx:pt idx="59964">1</cx:pt>
          <cx:pt idx="59965">0</cx:pt>
          <cx:pt idx="59966">0</cx:pt>
          <cx:pt idx="59967">1</cx:pt>
          <cx:pt idx="59968">1</cx:pt>
          <cx:pt idx="59969">1</cx:pt>
          <cx:pt idx="59970">0</cx:pt>
          <cx:pt idx="59971">0</cx:pt>
          <cx:pt idx="59972">1</cx:pt>
          <cx:pt idx="59973">1</cx:pt>
          <cx:pt idx="59974">1</cx:pt>
          <cx:pt idx="59975">1</cx:pt>
          <cx:pt idx="59976">0</cx:pt>
          <cx:pt idx="59977">0</cx:pt>
          <cx:pt idx="59978">0</cx:pt>
          <cx:pt idx="59979">1</cx:pt>
          <cx:pt idx="59980">1</cx:pt>
          <cx:pt idx="59981">0</cx:pt>
          <cx:pt idx="59982">1</cx:pt>
          <cx:pt idx="59983">1</cx:pt>
          <cx:pt idx="59984">0</cx:pt>
          <cx:pt idx="59985">0</cx:pt>
          <cx:pt idx="59986">1</cx:pt>
          <cx:pt idx="59987">0</cx:pt>
          <cx:pt idx="59988">1</cx:pt>
          <cx:pt idx="59989">0</cx:pt>
          <cx:pt idx="59990">1</cx:pt>
          <cx:pt idx="59991">0</cx:pt>
          <cx:pt idx="59992">0</cx:pt>
          <cx:pt idx="59993">0</cx:pt>
          <cx:pt idx="59994">0</cx:pt>
          <cx:pt idx="59995">0</cx:pt>
          <cx:pt idx="59996">0</cx:pt>
          <cx:pt idx="59997">0</cx:pt>
          <cx:pt idx="59998">1</cx:pt>
          <cx:pt idx="59999">1</cx:pt>
          <cx:pt idx="60000">1</cx:pt>
          <cx:pt idx="60001">1</cx:pt>
          <cx:pt idx="60002">0</cx:pt>
          <cx:pt idx="60003">1</cx:pt>
          <cx:pt idx="60004">1</cx:pt>
          <cx:pt idx="60005">1</cx:pt>
          <cx:pt idx="60006">1</cx:pt>
          <cx:pt idx="60007">1</cx:pt>
          <cx:pt idx="60008">1</cx:pt>
          <cx:pt idx="60009">1</cx:pt>
          <cx:pt idx="60010">1</cx:pt>
          <cx:pt idx="60011">1</cx:pt>
          <cx:pt idx="60012">1</cx:pt>
          <cx:pt idx="60013">1</cx:pt>
          <cx:pt idx="60014">1</cx:pt>
          <cx:pt idx="60015">1</cx:pt>
          <cx:pt idx="60016">0</cx:pt>
          <cx:pt idx="60017">0</cx:pt>
          <cx:pt idx="60018">0</cx:pt>
          <cx:pt idx="60019">0</cx:pt>
          <cx:pt idx="60020">0</cx:pt>
          <cx:pt idx="60021">0</cx:pt>
          <cx:pt idx="60022">1</cx:pt>
          <cx:pt idx="60023">0</cx:pt>
          <cx:pt idx="60024">1</cx:pt>
          <cx:pt idx="60025">1</cx:pt>
          <cx:pt idx="60026">1</cx:pt>
          <cx:pt idx="60027">0</cx:pt>
          <cx:pt idx="60028">0</cx:pt>
          <cx:pt idx="60029">1</cx:pt>
          <cx:pt idx="60030">1</cx:pt>
          <cx:pt idx="60031">1</cx:pt>
          <cx:pt idx="60032">1</cx:pt>
          <cx:pt idx="60033">0</cx:pt>
          <cx:pt idx="60034">1</cx:pt>
          <cx:pt idx="60035">0</cx:pt>
          <cx:pt idx="60036">0</cx:pt>
          <cx:pt idx="60037">0</cx:pt>
          <cx:pt idx="60038">0</cx:pt>
          <cx:pt idx="60039">0</cx:pt>
          <cx:pt idx="60040">0</cx:pt>
          <cx:pt idx="60041">1</cx:pt>
          <cx:pt idx="60042">1</cx:pt>
          <cx:pt idx="60043">0</cx:pt>
          <cx:pt idx="60044">0</cx:pt>
          <cx:pt idx="60045">0</cx:pt>
          <cx:pt idx="60046">1</cx:pt>
          <cx:pt idx="60047">0</cx:pt>
          <cx:pt idx="60048">1</cx:pt>
          <cx:pt idx="60049">0</cx:pt>
          <cx:pt idx="60050">0</cx:pt>
          <cx:pt idx="60051">0</cx:pt>
          <cx:pt idx="60052">0</cx:pt>
          <cx:pt idx="60053">0</cx:pt>
          <cx:pt idx="60054">1</cx:pt>
          <cx:pt idx="60055">0</cx:pt>
          <cx:pt idx="60056">0</cx:pt>
          <cx:pt idx="60057">0</cx:pt>
          <cx:pt idx="60058">0</cx:pt>
          <cx:pt idx="60059">1</cx:pt>
          <cx:pt idx="60060">0</cx:pt>
          <cx:pt idx="60061">1</cx:pt>
          <cx:pt idx="60062">1</cx:pt>
          <cx:pt idx="60063">1</cx:pt>
          <cx:pt idx="60064">0</cx:pt>
          <cx:pt idx="60065">0</cx:pt>
          <cx:pt idx="60066">0</cx:pt>
          <cx:pt idx="60067">1</cx:pt>
          <cx:pt idx="60068">1</cx:pt>
          <cx:pt idx="60069">1</cx:pt>
          <cx:pt idx="60070">0</cx:pt>
          <cx:pt idx="60071">0</cx:pt>
          <cx:pt idx="60072">0</cx:pt>
          <cx:pt idx="60073">1</cx:pt>
          <cx:pt idx="60074">0</cx:pt>
          <cx:pt idx="60075">0</cx:pt>
          <cx:pt idx="60076">1</cx:pt>
          <cx:pt idx="60077">1</cx:pt>
          <cx:pt idx="60078">1</cx:pt>
          <cx:pt idx="60079">1</cx:pt>
          <cx:pt idx="60080">1</cx:pt>
          <cx:pt idx="60081">0</cx:pt>
          <cx:pt idx="60082">0</cx:pt>
          <cx:pt idx="60083">0</cx:pt>
          <cx:pt idx="60084">1</cx:pt>
          <cx:pt idx="60085">1</cx:pt>
          <cx:pt idx="60086">0</cx:pt>
          <cx:pt idx="60087">0</cx:pt>
          <cx:pt idx="60088">0</cx:pt>
          <cx:pt idx="60089">0</cx:pt>
          <cx:pt idx="60090">0</cx:pt>
          <cx:pt idx="60091">0</cx:pt>
          <cx:pt idx="60092">0</cx:pt>
          <cx:pt idx="60093">0</cx:pt>
          <cx:pt idx="60094">1</cx:pt>
          <cx:pt idx="60095">1</cx:pt>
          <cx:pt idx="60096">1</cx:pt>
          <cx:pt idx="60097">0</cx:pt>
          <cx:pt idx="60098">1</cx:pt>
          <cx:pt idx="60099">0</cx:pt>
          <cx:pt idx="60100">0</cx:pt>
          <cx:pt idx="60101">1</cx:pt>
          <cx:pt idx="60102">1</cx:pt>
          <cx:pt idx="60103">0</cx:pt>
          <cx:pt idx="60104">1</cx:pt>
          <cx:pt idx="60105">0</cx:pt>
          <cx:pt idx="60106">0</cx:pt>
          <cx:pt idx="60107">1</cx:pt>
          <cx:pt idx="60108">0</cx:pt>
          <cx:pt idx="60109">0</cx:pt>
          <cx:pt idx="60110">0</cx:pt>
          <cx:pt idx="60111">0</cx:pt>
          <cx:pt idx="60112">1</cx:pt>
          <cx:pt idx="60113">1</cx:pt>
          <cx:pt idx="60114">0</cx:pt>
          <cx:pt idx="60115">0</cx:pt>
          <cx:pt idx="60116">1</cx:pt>
          <cx:pt idx="60117">0</cx:pt>
          <cx:pt idx="60118">0</cx:pt>
          <cx:pt idx="60119">1</cx:pt>
          <cx:pt idx="60120">0</cx:pt>
          <cx:pt idx="60121">1</cx:pt>
          <cx:pt idx="60122">0</cx:pt>
          <cx:pt idx="60123">0</cx:pt>
          <cx:pt idx="60124">1</cx:pt>
          <cx:pt idx="60125">1</cx:pt>
          <cx:pt idx="60126">0</cx:pt>
          <cx:pt idx="60127">1</cx:pt>
          <cx:pt idx="60128">1</cx:pt>
          <cx:pt idx="60129">0</cx:pt>
          <cx:pt idx="60130">1</cx:pt>
          <cx:pt idx="60131">0</cx:pt>
          <cx:pt idx="60132">0</cx:pt>
          <cx:pt idx="60133">0</cx:pt>
          <cx:pt idx="60134">0</cx:pt>
          <cx:pt idx="60135">0</cx:pt>
          <cx:pt idx="60136">1</cx:pt>
          <cx:pt idx="60137">1</cx:pt>
          <cx:pt idx="60138">1</cx:pt>
          <cx:pt idx="60139">0</cx:pt>
          <cx:pt idx="60140">1</cx:pt>
          <cx:pt idx="60141">1</cx:pt>
          <cx:pt idx="60142">0</cx:pt>
          <cx:pt idx="60143">1</cx:pt>
          <cx:pt idx="60144">0</cx:pt>
          <cx:pt idx="60145">1</cx:pt>
          <cx:pt idx="60146">0</cx:pt>
          <cx:pt idx="60147">0</cx:pt>
          <cx:pt idx="60148">0</cx:pt>
          <cx:pt idx="60149">1</cx:pt>
          <cx:pt idx="60150">0</cx:pt>
          <cx:pt idx="60151">1</cx:pt>
          <cx:pt idx="60152">0</cx:pt>
          <cx:pt idx="60153">1</cx:pt>
          <cx:pt idx="60154">1</cx:pt>
          <cx:pt idx="60155">1</cx:pt>
          <cx:pt idx="60156">1</cx:pt>
          <cx:pt idx="60157">0</cx:pt>
          <cx:pt idx="60158">0</cx:pt>
          <cx:pt idx="60159">0</cx:pt>
          <cx:pt idx="60160">1</cx:pt>
          <cx:pt idx="60161">0</cx:pt>
          <cx:pt idx="60162">0</cx:pt>
          <cx:pt idx="60163">0</cx:pt>
          <cx:pt idx="60164">0</cx:pt>
          <cx:pt idx="60165">1</cx:pt>
          <cx:pt idx="60166">1</cx:pt>
          <cx:pt idx="60167">0</cx:pt>
          <cx:pt idx="60168">0</cx:pt>
          <cx:pt idx="60169">0</cx:pt>
          <cx:pt idx="60170">1</cx:pt>
          <cx:pt idx="60171">0</cx:pt>
          <cx:pt idx="60172">0</cx:pt>
          <cx:pt idx="60173">0</cx:pt>
          <cx:pt idx="60174">1</cx:pt>
          <cx:pt idx="60175">0</cx:pt>
          <cx:pt idx="60176">1</cx:pt>
          <cx:pt idx="60177">0</cx:pt>
          <cx:pt idx="60178">0</cx:pt>
          <cx:pt idx="60179">0</cx:pt>
          <cx:pt idx="60180">0</cx:pt>
          <cx:pt idx="60181">0</cx:pt>
          <cx:pt idx="60182">1</cx:pt>
          <cx:pt idx="60183">0</cx:pt>
          <cx:pt idx="60184">1</cx:pt>
          <cx:pt idx="60185">1</cx:pt>
          <cx:pt idx="60186">0</cx:pt>
          <cx:pt idx="60187">0</cx:pt>
          <cx:pt idx="60188">1</cx:pt>
          <cx:pt idx="60189">1</cx:pt>
          <cx:pt idx="60190">0</cx:pt>
          <cx:pt idx="60191">1</cx:pt>
          <cx:pt idx="60192">0</cx:pt>
          <cx:pt idx="60193">0</cx:pt>
          <cx:pt idx="60194">1</cx:pt>
          <cx:pt idx="60195">1</cx:pt>
          <cx:pt idx="60196">0</cx:pt>
          <cx:pt idx="60197">1</cx:pt>
          <cx:pt idx="60198">0</cx:pt>
          <cx:pt idx="60199">1</cx:pt>
          <cx:pt idx="60200">0</cx:pt>
          <cx:pt idx="60201">0</cx:pt>
          <cx:pt idx="60202">0</cx:pt>
          <cx:pt idx="60203">1</cx:pt>
          <cx:pt idx="60204">1</cx:pt>
          <cx:pt idx="60205">0</cx:pt>
          <cx:pt idx="60206">0</cx:pt>
          <cx:pt idx="60207">1</cx:pt>
          <cx:pt idx="60208">0</cx:pt>
          <cx:pt idx="60209">0</cx:pt>
          <cx:pt idx="60210">1</cx:pt>
          <cx:pt idx="60211">0</cx:pt>
          <cx:pt idx="60212">1</cx:pt>
          <cx:pt idx="60213">0</cx:pt>
          <cx:pt idx="60214">0</cx:pt>
          <cx:pt idx="60215">0</cx:pt>
          <cx:pt idx="60216">0</cx:pt>
          <cx:pt idx="60217">1</cx:pt>
          <cx:pt idx="60218">1</cx:pt>
          <cx:pt idx="60219">1</cx:pt>
          <cx:pt idx="60220">1</cx:pt>
          <cx:pt idx="60221">0</cx:pt>
          <cx:pt idx="60222">0</cx:pt>
          <cx:pt idx="60223">0</cx:pt>
          <cx:pt idx="60224">1</cx:pt>
          <cx:pt idx="60225">0</cx:pt>
          <cx:pt idx="60226">1</cx:pt>
          <cx:pt idx="60227">1</cx:pt>
          <cx:pt idx="60228">0</cx:pt>
          <cx:pt idx="60229">1</cx:pt>
          <cx:pt idx="60230">1</cx:pt>
          <cx:pt idx="60231">0</cx:pt>
          <cx:pt idx="60232">0</cx:pt>
          <cx:pt idx="60233">1</cx:pt>
          <cx:pt idx="60234">0</cx:pt>
          <cx:pt idx="60235">1</cx:pt>
          <cx:pt idx="60236">1</cx:pt>
          <cx:pt idx="60237">1</cx:pt>
          <cx:pt idx="60238">0</cx:pt>
          <cx:pt idx="60239">0</cx:pt>
          <cx:pt idx="60240">1</cx:pt>
          <cx:pt idx="60241">1</cx:pt>
          <cx:pt idx="60242">1</cx:pt>
          <cx:pt idx="60243">0</cx:pt>
          <cx:pt idx="60244">0</cx:pt>
          <cx:pt idx="60245">1</cx:pt>
          <cx:pt idx="60246">1</cx:pt>
          <cx:pt idx="60247">1</cx:pt>
          <cx:pt idx="60248">1</cx:pt>
          <cx:pt idx="60249">1</cx:pt>
          <cx:pt idx="60250">1</cx:pt>
          <cx:pt idx="60251">0</cx:pt>
          <cx:pt idx="60252">1</cx:pt>
          <cx:pt idx="60253">0</cx:pt>
          <cx:pt idx="60254">0</cx:pt>
          <cx:pt idx="60255">1</cx:pt>
          <cx:pt idx="60256">0</cx:pt>
          <cx:pt idx="60257">0</cx:pt>
          <cx:pt idx="60258">0</cx:pt>
          <cx:pt idx="60259">1</cx:pt>
          <cx:pt idx="60260">0</cx:pt>
          <cx:pt idx="60261">1</cx:pt>
          <cx:pt idx="60262">0</cx:pt>
          <cx:pt idx="60263">0</cx:pt>
          <cx:pt idx="60264">0</cx:pt>
          <cx:pt idx="60265">1</cx:pt>
          <cx:pt idx="60266">1</cx:pt>
          <cx:pt idx="60267">0</cx:pt>
          <cx:pt idx="60268">0</cx:pt>
          <cx:pt idx="60269">0</cx:pt>
          <cx:pt idx="60270">1</cx:pt>
          <cx:pt idx="60271">0</cx:pt>
          <cx:pt idx="60272">1</cx:pt>
          <cx:pt idx="60273">0</cx:pt>
          <cx:pt idx="60274">1</cx:pt>
          <cx:pt idx="60275">1</cx:pt>
          <cx:pt idx="60276">1</cx:pt>
          <cx:pt idx="60277">0</cx:pt>
          <cx:pt idx="60278">1</cx:pt>
          <cx:pt idx="60279">1</cx:pt>
          <cx:pt idx="60280">0</cx:pt>
          <cx:pt idx="60281">0</cx:pt>
          <cx:pt idx="60282">0</cx:pt>
          <cx:pt idx="60283">0</cx:pt>
          <cx:pt idx="60284">0</cx:pt>
          <cx:pt idx="60285">1</cx:pt>
          <cx:pt idx="60286">0</cx:pt>
          <cx:pt idx="60287">0</cx:pt>
          <cx:pt idx="60288">0</cx:pt>
          <cx:pt idx="60289">0</cx:pt>
          <cx:pt idx="60290">1</cx:pt>
          <cx:pt idx="60291">0</cx:pt>
          <cx:pt idx="60292">0</cx:pt>
          <cx:pt idx="60293">1</cx:pt>
          <cx:pt idx="60294">0</cx:pt>
          <cx:pt idx="60295">1</cx:pt>
          <cx:pt idx="60296">1</cx:pt>
          <cx:pt idx="60297">0</cx:pt>
          <cx:pt idx="60298">1</cx:pt>
          <cx:pt idx="60299">0</cx:pt>
          <cx:pt idx="60300">0</cx:pt>
          <cx:pt idx="60301">1</cx:pt>
          <cx:pt idx="60302">0</cx:pt>
          <cx:pt idx="60303">1</cx:pt>
          <cx:pt idx="60304">0</cx:pt>
          <cx:pt idx="60305">0</cx:pt>
          <cx:pt idx="60306">0</cx:pt>
          <cx:pt idx="60307">0</cx:pt>
          <cx:pt idx="60308">0</cx:pt>
          <cx:pt idx="60309">0</cx:pt>
          <cx:pt idx="60310">0</cx:pt>
          <cx:pt idx="60311">0</cx:pt>
          <cx:pt idx="60312">0</cx:pt>
          <cx:pt idx="60313">0</cx:pt>
          <cx:pt idx="60314">0</cx:pt>
          <cx:pt idx="60315">1</cx:pt>
          <cx:pt idx="60316">0</cx:pt>
          <cx:pt idx="60317">0</cx:pt>
          <cx:pt idx="60318">0</cx:pt>
          <cx:pt idx="60319">1</cx:pt>
          <cx:pt idx="60320">0</cx:pt>
          <cx:pt idx="60321">0</cx:pt>
          <cx:pt idx="60322">0</cx:pt>
          <cx:pt idx="60323">1</cx:pt>
          <cx:pt idx="60324">1</cx:pt>
          <cx:pt idx="60325">1</cx:pt>
          <cx:pt idx="60326">0</cx:pt>
          <cx:pt idx="60327">0</cx:pt>
          <cx:pt idx="60328">0</cx:pt>
          <cx:pt idx="60329">0</cx:pt>
          <cx:pt idx="60330">0</cx:pt>
          <cx:pt idx="60331">1</cx:pt>
          <cx:pt idx="60332">1</cx:pt>
          <cx:pt idx="60333">0</cx:pt>
          <cx:pt idx="60334">1</cx:pt>
          <cx:pt idx="60335">0</cx:pt>
          <cx:pt idx="60336">0</cx:pt>
          <cx:pt idx="60337">0</cx:pt>
          <cx:pt idx="60338">0</cx:pt>
          <cx:pt idx="60339">1</cx:pt>
          <cx:pt idx="60340">1</cx:pt>
          <cx:pt idx="60341">1</cx:pt>
          <cx:pt idx="60342">0</cx:pt>
          <cx:pt idx="60343">0</cx:pt>
          <cx:pt idx="60344">0</cx:pt>
          <cx:pt idx="60345">0</cx:pt>
          <cx:pt idx="60346">0</cx:pt>
          <cx:pt idx="60347">1</cx:pt>
          <cx:pt idx="60348">0</cx:pt>
          <cx:pt idx="60349">0</cx:pt>
          <cx:pt idx="60350">0</cx:pt>
          <cx:pt idx="60351">1</cx:pt>
          <cx:pt idx="60352">1</cx:pt>
          <cx:pt idx="60353">0</cx:pt>
          <cx:pt idx="60354">1</cx:pt>
          <cx:pt idx="60355">0</cx:pt>
          <cx:pt idx="60356">0</cx:pt>
          <cx:pt idx="60357">0</cx:pt>
          <cx:pt idx="60358">0</cx:pt>
          <cx:pt idx="60359">1</cx:pt>
          <cx:pt idx="60360">0</cx:pt>
          <cx:pt idx="60361">0</cx:pt>
          <cx:pt idx="60362">1</cx:pt>
          <cx:pt idx="60363">0</cx:pt>
          <cx:pt idx="60364">0</cx:pt>
          <cx:pt idx="60365">0</cx:pt>
          <cx:pt idx="60366">1</cx:pt>
          <cx:pt idx="60367">0</cx:pt>
          <cx:pt idx="60368">1</cx:pt>
          <cx:pt idx="60369">1</cx:pt>
          <cx:pt idx="60370">0</cx:pt>
          <cx:pt idx="60371">1</cx:pt>
          <cx:pt idx="60372">1</cx:pt>
          <cx:pt idx="60373">0</cx:pt>
          <cx:pt idx="60374">0</cx:pt>
          <cx:pt idx="60375">0</cx:pt>
          <cx:pt idx="60376">0</cx:pt>
          <cx:pt idx="60377">0</cx:pt>
          <cx:pt idx="60378">0</cx:pt>
          <cx:pt idx="60379">0</cx:pt>
          <cx:pt idx="60380">1</cx:pt>
          <cx:pt idx="60381">0</cx:pt>
          <cx:pt idx="60382">0</cx:pt>
          <cx:pt idx="60383">0</cx:pt>
          <cx:pt idx="60384">1</cx:pt>
          <cx:pt idx="60385">0</cx:pt>
          <cx:pt idx="60386">1</cx:pt>
          <cx:pt idx="60387">0</cx:pt>
          <cx:pt idx="60388">1</cx:pt>
          <cx:pt idx="60389">1</cx:pt>
          <cx:pt idx="60390">0</cx:pt>
          <cx:pt idx="60391">0</cx:pt>
          <cx:pt idx="60392">0</cx:pt>
          <cx:pt idx="60393">0</cx:pt>
          <cx:pt idx="60394">0</cx:pt>
          <cx:pt idx="60395">1</cx:pt>
          <cx:pt idx="60396">0</cx:pt>
          <cx:pt idx="60397">0</cx:pt>
          <cx:pt idx="60398">0</cx:pt>
          <cx:pt idx="60399">1</cx:pt>
          <cx:pt idx="60400">1</cx:pt>
          <cx:pt idx="60401">0</cx:pt>
          <cx:pt idx="60402">0</cx:pt>
          <cx:pt idx="60403">0</cx:pt>
          <cx:pt idx="60404">0</cx:pt>
          <cx:pt idx="60405">1</cx:pt>
          <cx:pt idx="60406">0</cx:pt>
          <cx:pt idx="60407">1</cx:pt>
          <cx:pt idx="60408">0</cx:pt>
          <cx:pt idx="60409">0</cx:pt>
          <cx:pt idx="60410">1</cx:pt>
          <cx:pt idx="60411">1</cx:pt>
          <cx:pt idx="60412">0</cx:pt>
          <cx:pt idx="60413">0</cx:pt>
          <cx:pt idx="60414">0</cx:pt>
          <cx:pt idx="60415">0</cx:pt>
          <cx:pt idx="60416">1</cx:pt>
          <cx:pt idx="60417">0</cx:pt>
          <cx:pt idx="60418">1</cx:pt>
          <cx:pt idx="60419">1</cx:pt>
          <cx:pt idx="60420">0</cx:pt>
          <cx:pt idx="60421">1</cx:pt>
          <cx:pt idx="60422">1</cx:pt>
          <cx:pt idx="60423">0</cx:pt>
          <cx:pt idx="60424">1</cx:pt>
          <cx:pt idx="60425">0</cx:pt>
          <cx:pt idx="60426">0</cx:pt>
          <cx:pt idx="60427">0</cx:pt>
          <cx:pt idx="60428">0</cx:pt>
          <cx:pt idx="60429">0</cx:pt>
          <cx:pt idx="60430">1</cx:pt>
          <cx:pt idx="60431">0</cx:pt>
          <cx:pt idx="60432">0</cx:pt>
          <cx:pt idx="60433">0</cx:pt>
          <cx:pt idx="60434">1</cx:pt>
          <cx:pt idx="60435">1</cx:pt>
          <cx:pt idx="60436">0</cx:pt>
          <cx:pt idx="60437">0</cx:pt>
          <cx:pt idx="60438">0</cx:pt>
          <cx:pt idx="60439">1</cx:pt>
          <cx:pt idx="60440">1</cx:pt>
          <cx:pt idx="60441">0</cx:pt>
          <cx:pt idx="60442">0</cx:pt>
          <cx:pt idx="60443">0</cx:pt>
          <cx:pt idx="60444">0</cx:pt>
          <cx:pt idx="60445">1</cx:pt>
          <cx:pt idx="60446">1</cx:pt>
          <cx:pt idx="60447">1</cx:pt>
          <cx:pt idx="60448">0</cx:pt>
          <cx:pt idx="60449">1</cx:pt>
          <cx:pt idx="60450">1</cx:pt>
          <cx:pt idx="60451">1</cx:pt>
          <cx:pt idx="60452">0</cx:pt>
          <cx:pt idx="60453">0</cx:pt>
          <cx:pt idx="60454">0</cx:pt>
          <cx:pt idx="60455">1</cx:pt>
          <cx:pt idx="60456">0</cx:pt>
          <cx:pt idx="60457">1</cx:pt>
          <cx:pt idx="60458">0</cx:pt>
          <cx:pt idx="60459">1</cx:pt>
          <cx:pt idx="60460">0</cx:pt>
          <cx:pt idx="60461">0</cx:pt>
          <cx:pt idx="60462">0</cx:pt>
          <cx:pt idx="60463">1</cx:pt>
          <cx:pt idx="60464">0</cx:pt>
          <cx:pt idx="60465">0</cx:pt>
          <cx:pt idx="60466">1</cx:pt>
          <cx:pt idx="60467">1</cx:pt>
          <cx:pt idx="60468">1</cx:pt>
          <cx:pt idx="60469">1</cx:pt>
          <cx:pt idx="60470">0</cx:pt>
          <cx:pt idx="60471">1</cx:pt>
          <cx:pt idx="60472">0</cx:pt>
          <cx:pt idx="60473">1</cx:pt>
          <cx:pt idx="60474">1</cx:pt>
          <cx:pt idx="60475">0</cx:pt>
          <cx:pt idx="60476">1</cx:pt>
          <cx:pt idx="60477">0</cx:pt>
          <cx:pt idx="60478">1</cx:pt>
          <cx:pt idx="60479">0</cx:pt>
          <cx:pt idx="60480">0</cx:pt>
          <cx:pt idx="60481">0</cx:pt>
          <cx:pt idx="60482">1</cx:pt>
          <cx:pt idx="60483">1</cx:pt>
          <cx:pt idx="60484">0</cx:pt>
          <cx:pt idx="60485">0</cx:pt>
          <cx:pt idx="60486">0</cx:pt>
          <cx:pt idx="60487">0</cx:pt>
          <cx:pt idx="60488">0</cx:pt>
          <cx:pt idx="60489">1</cx:pt>
          <cx:pt idx="60490">1</cx:pt>
          <cx:pt idx="60491">1</cx:pt>
          <cx:pt idx="60492">1</cx:pt>
          <cx:pt idx="60493">0</cx:pt>
          <cx:pt idx="60494">1</cx:pt>
          <cx:pt idx="60495">0</cx:pt>
          <cx:pt idx="60496">0</cx:pt>
          <cx:pt idx="60497">0</cx:pt>
          <cx:pt idx="60498">0</cx:pt>
          <cx:pt idx="60499">0</cx:pt>
          <cx:pt idx="60500">0</cx:pt>
          <cx:pt idx="60501">1</cx:pt>
          <cx:pt idx="60502">1</cx:pt>
          <cx:pt idx="60503">0</cx:pt>
          <cx:pt idx="60504">1</cx:pt>
          <cx:pt idx="60505">1</cx:pt>
          <cx:pt idx="60506">1</cx:pt>
          <cx:pt idx="60507">0</cx:pt>
          <cx:pt idx="60508">0</cx:pt>
          <cx:pt idx="60509">1</cx:pt>
          <cx:pt idx="60510">0</cx:pt>
          <cx:pt idx="60511">0</cx:pt>
          <cx:pt idx="60512">0</cx:pt>
          <cx:pt idx="60513">0</cx:pt>
          <cx:pt idx="60514">1</cx:pt>
          <cx:pt idx="60515">0</cx:pt>
          <cx:pt idx="60516">0</cx:pt>
          <cx:pt idx="60517">1</cx:pt>
          <cx:pt idx="60518">1</cx:pt>
          <cx:pt idx="60519">1</cx:pt>
          <cx:pt idx="60520">0</cx:pt>
          <cx:pt idx="60521">0</cx:pt>
          <cx:pt idx="60522">1</cx:pt>
          <cx:pt idx="60523">0</cx:pt>
          <cx:pt idx="60524">1</cx:pt>
          <cx:pt idx="60525">1</cx:pt>
          <cx:pt idx="60526">0</cx:pt>
          <cx:pt idx="60527">1</cx:pt>
          <cx:pt idx="60528">1</cx:pt>
          <cx:pt idx="60529">0</cx:pt>
          <cx:pt idx="60530">1</cx:pt>
          <cx:pt idx="60531">1</cx:pt>
          <cx:pt idx="60532">1</cx:pt>
          <cx:pt idx="60533">0</cx:pt>
          <cx:pt idx="60534">0</cx:pt>
          <cx:pt idx="60535">1</cx:pt>
          <cx:pt idx="60536">0</cx:pt>
          <cx:pt idx="60537">1</cx:pt>
          <cx:pt idx="60538">0</cx:pt>
          <cx:pt idx="60539">1</cx:pt>
          <cx:pt idx="60540">0</cx:pt>
          <cx:pt idx="60541">1</cx:pt>
          <cx:pt idx="60542">1</cx:pt>
          <cx:pt idx="60543">0</cx:pt>
          <cx:pt idx="60544">1</cx:pt>
          <cx:pt idx="60545">1</cx:pt>
          <cx:pt idx="60546">0</cx:pt>
          <cx:pt idx="60547">0</cx:pt>
          <cx:pt idx="60548">0</cx:pt>
          <cx:pt idx="60549">0</cx:pt>
          <cx:pt idx="60550">0</cx:pt>
          <cx:pt idx="60551">0</cx:pt>
          <cx:pt idx="60552">1</cx:pt>
          <cx:pt idx="60553">0</cx:pt>
          <cx:pt idx="60554">0</cx:pt>
          <cx:pt idx="60555">0</cx:pt>
          <cx:pt idx="60556">0</cx:pt>
          <cx:pt idx="60557">1</cx:pt>
          <cx:pt idx="60558">0</cx:pt>
          <cx:pt idx="60559">0</cx:pt>
          <cx:pt idx="60560">0</cx:pt>
          <cx:pt idx="60561">1</cx:pt>
          <cx:pt idx="60562">0</cx:pt>
          <cx:pt idx="60563">0</cx:pt>
          <cx:pt idx="60564">1</cx:pt>
          <cx:pt idx="60565">0</cx:pt>
          <cx:pt idx="60566">0</cx:pt>
          <cx:pt idx="60567">1</cx:pt>
          <cx:pt idx="60568">0</cx:pt>
          <cx:pt idx="60569">1</cx:pt>
          <cx:pt idx="60570">0</cx:pt>
          <cx:pt idx="60571">1</cx:pt>
          <cx:pt idx="60572">1</cx:pt>
          <cx:pt idx="60573">0</cx:pt>
          <cx:pt idx="60574">1</cx:pt>
          <cx:pt idx="60575">0</cx:pt>
          <cx:pt idx="60576">0</cx:pt>
          <cx:pt idx="60577">0</cx:pt>
          <cx:pt idx="60578">1</cx:pt>
          <cx:pt idx="60579">0</cx:pt>
          <cx:pt idx="60580">0</cx:pt>
          <cx:pt idx="60581">0</cx:pt>
          <cx:pt idx="60582">0</cx:pt>
          <cx:pt idx="60583">0</cx:pt>
          <cx:pt idx="60584">0</cx:pt>
          <cx:pt idx="60585">0</cx:pt>
          <cx:pt idx="60586">0</cx:pt>
          <cx:pt idx="60587">0</cx:pt>
          <cx:pt idx="60588">0</cx:pt>
          <cx:pt idx="60589">0</cx:pt>
          <cx:pt idx="60590">1</cx:pt>
          <cx:pt idx="60591">0</cx:pt>
          <cx:pt idx="60592">1</cx:pt>
          <cx:pt idx="60593">1</cx:pt>
          <cx:pt idx="60594">0</cx:pt>
          <cx:pt idx="60595">0</cx:pt>
          <cx:pt idx="60596">1</cx:pt>
          <cx:pt idx="60597">1</cx:pt>
          <cx:pt idx="60598">0</cx:pt>
          <cx:pt idx="60599">1</cx:pt>
          <cx:pt idx="60600">0</cx:pt>
          <cx:pt idx="60601">0</cx:pt>
          <cx:pt idx="60602">1</cx:pt>
          <cx:pt idx="60603">0</cx:pt>
          <cx:pt idx="60604">0</cx:pt>
          <cx:pt idx="60605">0</cx:pt>
          <cx:pt idx="60606">0</cx:pt>
          <cx:pt idx="60607">0</cx:pt>
          <cx:pt idx="60608">0</cx:pt>
          <cx:pt idx="60609">1</cx:pt>
          <cx:pt idx="60610">0</cx:pt>
          <cx:pt idx="60611">1</cx:pt>
          <cx:pt idx="60612">1</cx:pt>
          <cx:pt idx="60613">0</cx:pt>
          <cx:pt idx="60614">1</cx:pt>
          <cx:pt idx="60615">1</cx:pt>
          <cx:pt idx="60616">0</cx:pt>
          <cx:pt idx="60617">0</cx:pt>
          <cx:pt idx="60618">0</cx:pt>
          <cx:pt idx="60619">0</cx:pt>
          <cx:pt idx="60620">0</cx:pt>
          <cx:pt idx="60621">1</cx:pt>
          <cx:pt idx="60622">1</cx:pt>
          <cx:pt idx="60623">0</cx:pt>
          <cx:pt idx="60624">0</cx:pt>
          <cx:pt idx="60625">0</cx:pt>
          <cx:pt idx="60626">0</cx:pt>
          <cx:pt idx="60627">1</cx:pt>
          <cx:pt idx="60628">0</cx:pt>
          <cx:pt idx="60629">0</cx:pt>
          <cx:pt idx="60630">1</cx:pt>
          <cx:pt idx="60631">0</cx:pt>
          <cx:pt idx="60632">1</cx:pt>
          <cx:pt idx="60633">0</cx:pt>
          <cx:pt idx="60634">0</cx:pt>
          <cx:pt idx="60635">0</cx:pt>
          <cx:pt idx="60636">1</cx:pt>
          <cx:pt idx="60637">0</cx:pt>
          <cx:pt idx="60638">0</cx:pt>
          <cx:pt idx="60639">1</cx:pt>
          <cx:pt idx="60640">0</cx:pt>
          <cx:pt idx="60641">0</cx:pt>
          <cx:pt idx="60642">0</cx:pt>
          <cx:pt idx="60643">0</cx:pt>
          <cx:pt idx="60644">0</cx:pt>
          <cx:pt idx="60645">0</cx:pt>
          <cx:pt idx="60646">1</cx:pt>
          <cx:pt idx="60647">1</cx:pt>
          <cx:pt idx="60648">0</cx:pt>
          <cx:pt idx="60649">1</cx:pt>
          <cx:pt idx="60650">0</cx:pt>
          <cx:pt idx="60651">1</cx:pt>
          <cx:pt idx="60652">1</cx:pt>
          <cx:pt idx="60653">0</cx:pt>
          <cx:pt idx="60654">1</cx:pt>
          <cx:pt idx="60655">1</cx:pt>
          <cx:pt idx="60656">1</cx:pt>
          <cx:pt idx="60657">1</cx:pt>
          <cx:pt idx="60658">0</cx:pt>
          <cx:pt idx="60659">1</cx:pt>
          <cx:pt idx="60660">0</cx:pt>
          <cx:pt idx="60661">1</cx:pt>
          <cx:pt idx="60662">1</cx:pt>
          <cx:pt idx="60663">0</cx:pt>
          <cx:pt idx="60664">0</cx:pt>
          <cx:pt idx="60665">1</cx:pt>
          <cx:pt idx="60666">0</cx:pt>
          <cx:pt idx="60667">0</cx:pt>
          <cx:pt idx="60668">0</cx:pt>
          <cx:pt idx="60669">0</cx:pt>
          <cx:pt idx="60670">0</cx:pt>
          <cx:pt idx="60671">0</cx:pt>
          <cx:pt idx="60672">1</cx:pt>
          <cx:pt idx="60673">1</cx:pt>
          <cx:pt idx="60674">0</cx:pt>
          <cx:pt idx="60675">1</cx:pt>
          <cx:pt idx="60676">1</cx:pt>
          <cx:pt idx="60677">1</cx:pt>
          <cx:pt idx="60678">0</cx:pt>
          <cx:pt idx="60679">1</cx:pt>
          <cx:pt idx="60680">0</cx:pt>
          <cx:pt idx="60681">0</cx:pt>
          <cx:pt idx="60682">0</cx:pt>
          <cx:pt idx="60683">0</cx:pt>
          <cx:pt idx="60684">1</cx:pt>
          <cx:pt idx="60685">0</cx:pt>
          <cx:pt idx="60686">0</cx:pt>
          <cx:pt idx="60687">0</cx:pt>
          <cx:pt idx="60688">0</cx:pt>
          <cx:pt idx="60689">0</cx:pt>
          <cx:pt idx="60690">0</cx:pt>
          <cx:pt idx="60691">0</cx:pt>
          <cx:pt idx="60692">0</cx:pt>
          <cx:pt idx="60693">0</cx:pt>
          <cx:pt idx="60694">0</cx:pt>
          <cx:pt idx="60695">0</cx:pt>
          <cx:pt idx="60696">1</cx:pt>
          <cx:pt idx="60697">0</cx:pt>
          <cx:pt idx="60698">1</cx:pt>
          <cx:pt idx="60699">1</cx:pt>
          <cx:pt idx="60700">0</cx:pt>
          <cx:pt idx="60701">1</cx:pt>
          <cx:pt idx="60702">0</cx:pt>
          <cx:pt idx="60703">1</cx:pt>
          <cx:pt idx="60704">1</cx:pt>
          <cx:pt idx="60705">1</cx:pt>
          <cx:pt idx="60706">0</cx:pt>
          <cx:pt idx="60707">0</cx:pt>
          <cx:pt idx="60708">0</cx:pt>
          <cx:pt idx="60709">1</cx:pt>
          <cx:pt idx="60710">1</cx:pt>
          <cx:pt idx="60711">1</cx:pt>
          <cx:pt idx="60712">1</cx:pt>
          <cx:pt idx="60713">0</cx:pt>
          <cx:pt idx="60714">0</cx:pt>
          <cx:pt idx="60715">0</cx:pt>
          <cx:pt idx="60716">0</cx:pt>
          <cx:pt idx="60717">0</cx:pt>
          <cx:pt idx="60718">0</cx:pt>
          <cx:pt idx="60719">1</cx:pt>
          <cx:pt idx="60720">0</cx:pt>
          <cx:pt idx="60721">1</cx:pt>
          <cx:pt idx="60722">1</cx:pt>
          <cx:pt idx="60723">0</cx:pt>
          <cx:pt idx="60724">1</cx:pt>
          <cx:pt idx="60725">1</cx:pt>
          <cx:pt idx="60726">1</cx:pt>
          <cx:pt idx="60727">1</cx:pt>
          <cx:pt idx="60728">1</cx:pt>
          <cx:pt idx="60729">1</cx:pt>
          <cx:pt idx="60730">0</cx:pt>
          <cx:pt idx="60731">1</cx:pt>
          <cx:pt idx="60732">1</cx:pt>
          <cx:pt idx="60733">0</cx:pt>
          <cx:pt idx="60734">0</cx:pt>
          <cx:pt idx="60735">0</cx:pt>
          <cx:pt idx="60736">0</cx:pt>
          <cx:pt idx="60737">0</cx:pt>
          <cx:pt idx="60738">0</cx:pt>
          <cx:pt idx="60739">0</cx:pt>
          <cx:pt idx="60740">0</cx:pt>
          <cx:pt idx="60741">1</cx:pt>
          <cx:pt idx="60742">1</cx:pt>
          <cx:pt idx="60743">1</cx:pt>
          <cx:pt idx="60744">1</cx:pt>
          <cx:pt idx="60745">1</cx:pt>
          <cx:pt idx="60746">0</cx:pt>
          <cx:pt idx="60747">0</cx:pt>
          <cx:pt idx="60748">0</cx:pt>
          <cx:pt idx="60749">1</cx:pt>
          <cx:pt idx="60750">0</cx:pt>
          <cx:pt idx="60751">1</cx:pt>
          <cx:pt idx="60752">1</cx:pt>
          <cx:pt idx="60753">0</cx:pt>
          <cx:pt idx="60754">0</cx:pt>
          <cx:pt idx="60755">1</cx:pt>
          <cx:pt idx="60756">1</cx:pt>
          <cx:pt idx="60757">1</cx:pt>
          <cx:pt idx="60758">0</cx:pt>
          <cx:pt idx="60759">0</cx:pt>
          <cx:pt idx="60760">1</cx:pt>
          <cx:pt idx="60761">0</cx:pt>
          <cx:pt idx="60762">1</cx:pt>
          <cx:pt idx="60763">1</cx:pt>
          <cx:pt idx="60764">0</cx:pt>
          <cx:pt idx="60765">1</cx:pt>
          <cx:pt idx="60766">0</cx:pt>
          <cx:pt idx="60767">0</cx:pt>
          <cx:pt idx="60768">0</cx:pt>
          <cx:pt idx="60769">1</cx:pt>
          <cx:pt idx="60770">1</cx:pt>
          <cx:pt idx="60771">0</cx:pt>
          <cx:pt idx="60772">1</cx:pt>
          <cx:pt idx="60773">1</cx:pt>
          <cx:pt idx="60774">0</cx:pt>
          <cx:pt idx="60775">0</cx:pt>
          <cx:pt idx="60776">0</cx:pt>
          <cx:pt idx="60777">1</cx:pt>
          <cx:pt idx="60778">0</cx:pt>
          <cx:pt idx="60779">1</cx:pt>
          <cx:pt idx="60780">1</cx:pt>
          <cx:pt idx="60781">0</cx:pt>
          <cx:pt idx="60782">1</cx:pt>
          <cx:pt idx="60783">0</cx:pt>
          <cx:pt idx="60784">0</cx:pt>
          <cx:pt idx="60785">1</cx:pt>
          <cx:pt idx="60786">0</cx:pt>
          <cx:pt idx="60787">0</cx:pt>
          <cx:pt idx="60788">1</cx:pt>
          <cx:pt idx="60789">0</cx:pt>
          <cx:pt idx="60790">1</cx:pt>
          <cx:pt idx="60791">1</cx:pt>
          <cx:pt idx="60792">0</cx:pt>
          <cx:pt idx="60793">1</cx:pt>
          <cx:pt idx="60794">0</cx:pt>
          <cx:pt idx="60795">0</cx:pt>
          <cx:pt idx="60796">1</cx:pt>
          <cx:pt idx="60797">0</cx:pt>
          <cx:pt idx="60798">1</cx:pt>
          <cx:pt idx="60799">0</cx:pt>
          <cx:pt idx="60800">0</cx:pt>
          <cx:pt idx="60801">1</cx:pt>
          <cx:pt idx="60802">0</cx:pt>
          <cx:pt idx="60803">1</cx:pt>
          <cx:pt idx="60804">0</cx:pt>
          <cx:pt idx="60805">1</cx:pt>
          <cx:pt idx="60806">1</cx:pt>
          <cx:pt idx="60807">0</cx:pt>
          <cx:pt idx="60808">0</cx:pt>
          <cx:pt idx="60809">1</cx:pt>
          <cx:pt idx="60810">0</cx:pt>
          <cx:pt idx="60811">0</cx:pt>
          <cx:pt idx="60812">0</cx:pt>
          <cx:pt idx="60813">0</cx:pt>
          <cx:pt idx="60814">1</cx:pt>
          <cx:pt idx="60815">1</cx:pt>
          <cx:pt idx="60816">0</cx:pt>
          <cx:pt idx="60817">1</cx:pt>
          <cx:pt idx="60818">0</cx:pt>
          <cx:pt idx="60819">0</cx:pt>
          <cx:pt idx="60820">0</cx:pt>
          <cx:pt idx="60821">0</cx:pt>
          <cx:pt idx="60822">1</cx:pt>
          <cx:pt idx="60823">1</cx:pt>
          <cx:pt idx="60824">1</cx:pt>
          <cx:pt idx="60825">1</cx:pt>
          <cx:pt idx="60826">1</cx:pt>
          <cx:pt idx="60827">1</cx:pt>
          <cx:pt idx="60828">1</cx:pt>
          <cx:pt idx="60829">0</cx:pt>
          <cx:pt idx="60830">0</cx:pt>
          <cx:pt idx="60831">1</cx:pt>
          <cx:pt idx="60832">0</cx:pt>
          <cx:pt idx="60833">1</cx:pt>
          <cx:pt idx="60834">1</cx:pt>
          <cx:pt idx="60835">1</cx:pt>
          <cx:pt idx="60836">1</cx:pt>
          <cx:pt idx="60837">0</cx:pt>
          <cx:pt idx="60838">0</cx:pt>
          <cx:pt idx="60839">0</cx:pt>
          <cx:pt idx="60840">0</cx:pt>
          <cx:pt idx="60841">0</cx:pt>
          <cx:pt idx="60842">0</cx:pt>
          <cx:pt idx="60843">1</cx:pt>
          <cx:pt idx="60844">0</cx:pt>
          <cx:pt idx="60845">0</cx:pt>
          <cx:pt idx="60846">0</cx:pt>
          <cx:pt idx="60847">1</cx:pt>
          <cx:pt idx="60848">1</cx:pt>
          <cx:pt idx="60849">1</cx:pt>
          <cx:pt idx="60850">1</cx:pt>
          <cx:pt idx="60851">0</cx:pt>
          <cx:pt idx="60852">1</cx:pt>
          <cx:pt idx="60853">1</cx:pt>
          <cx:pt idx="60854">0</cx:pt>
          <cx:pt idx="60855">0</cx:pt>
          <cx:pt idx="60856">0</cx:pt>
          <cx:pt idx="60857">1</cx:pt>
          <cx:pt idx="60858">0</cx:pt>
          <cx:pt idx="60859">0</cx:pt>
          <cx:pt idx="60860">1</cx:pt>
          <cx:pt idx="60861">0</cx:pt>
          <cx:pt idx="60862">0</cx:pt>
          <cx:pt idx="60863">0</cx:pt>
          <cx:pt idx="60864">0</cx:pt>
          <cx:pt idx="60865">0</cx:pt>
          <cx:pt idx="60866">0</cx:pt>
          <cx:pt idx="60867">0</cx:pt>
          <cx:pt idx="60868">1</cx:pt>
          <cx:pt idx="60869">1</cx:pt>
          <cx:pt idx="60870">1</cx:pt>
          <cx:pt idx="60871">0</cx:pt>
          <cx:pt idx="60872">0</cx:pt>
          <cx:pt idx="60873">1</cx:pt>
          <cx:pt idx="60874">1</cx:pt>
          <cx:pt idx="60875">1</cx:pt>
          <cx:pt idx="60876">0</cx:pt>
          <cx:pt idx="60877">0</cx:pt>
          <cx:pt idx="60878">0</cx:pt>
          <cx:pt idx="60879">0</cx:pt>
          <cx:pt idx="60880">1</cx:pt>
          <cx:pt idx="60881">1</cx:pt>
          <cx:pt idx="60882">0</cx:pt>
          <cx:pt idx="60883">1</cx:pt>
          <cx:pt idx="60884">1</cx:pt>
          <cx:pt idx="60885">1</cx:pt>
          <cx:pt idx="60886">1</cx:pt>
          <cx:pt idx="60887">0</cx:pt>
          <cx:pt idx="60888">0</cx:pt>
          <cx:pt idx="60889">0</cx:pt>
          <cx:pt idx="60890">0</cx:pt>
          <cx:pt idx="60891">0</cx:pt>
          <cx:pt idx="60892">0</cx:pt>
          <cx:pt idx="60893">1</cx:pt>
          <cx:pt idx="60894">0</cx:pt>
          <cx:pt idx="60895">1</cx:pt>
          <cx:pt idx="60896">1</cx:pt>
          <cx:pt idx="60897">1</cx:pt>
          <cx:pt idx="60898">0</cx:pt>
          <cx:pt idx="60899">0</cx:pt>
          <cx:pt idx="60900">0</cx:pt>
          <cx:pt idx="60901">0</cx:pt>
          <cx:pt idx="60902">1</cx:pt>
          <cx:pt idx="60903">1</cx:pt>
          <cx:pt idx="60904">0</cx:pt>
          <cx:pt idx="60905">0</cx:pt>
          <cx:pt idx="60906">1</cx:pt>
          <cx:pt idx="60907">1</cx:pt>
          <cx:pt idx="60908">1</cx:pt>
          <cx:pt idx="60909">0</cx:pt>
          <cx:pt idx="60910">1</cx:pt>
          <cx:pt idx="60911">1</cx:pt>
          <cx:pt idx="60912">1</cx:pt>
          <cx:pt idx="60913">1</cx:pt>
          <cx:pt idx="60914">0</cx:pt>
          <cx:pt idx="60915">1</cx:pt>
          <cx:pt idx="60916">0</cx:pt>
          <cx:pt idx="60917">0</cx:pt>
          <cx:pt idx="60918">1</cx:pt>
          <cx:pt idx="60919">1</cx:pt>
          <cx:pt idx="60920">0</cx:pt>
          <cx:pt idx="60921">1</cx:pt>
          <cx:pt idx="60922">0</cx:pt>
          <cx:pt idx="60923">1</cx:pt>
          <cx:pt idx="60924">1</cx:pt>
          <cx:pt idx="60925">0</cx:pt>
          <cx:pt idx="60926">1</cx:pt>
          <cx:pt idx="60927">1</cx:pt>
          <cx:pt idx="60928">0</cx:pt>
          <cx:pt idx="60929">0</cx:pt>
          <cx:pt idx="60930">0</cx:pt>
          <cx:pt idx="60931">1</cx:pt>
          <cx:pt idx="60932">0</cx:pt>
          <cx:pt idx="60933">1</cx:pt>
          <cx:pt idx="60934">1</cx:pt>
          <cx:pt idx="60935">0</cx:pt>
          <cx:pt idx="60936">1</cx:pt>
          <cx:pt idx="60937">1</cx:pt>
          <cx:pt idx="60938">0</cx:pt>
          <cx:pt idx="60939">0</cx:pt>
          <cx:pt idx="60940">0</cx:pt>
          <cx:pt idx="60941">0</cx:pt>
          <cx:pt idx="60942">0</cx:pt>
          <cx:pt idx="60943">1</cx:pt>
          <cx:pt idx="60944">0</cx:pt>
          <cx:pt idx="60945">0</cx:pt>
          <cx:pt idx="60946">1</cx:pt>
          <cx:pt idx="60947">1</cx:pt>
          <cx:pt idx="60948">0</cx:pt>
          <cx:pt idx="60949">0</cx:pt>
          <cx:pt idx="60950">0</cx:pt>
          <cx:pt idx="60951">1</cx:pt>
          <cx:pt idx="60952">1</cx:pt>
          <cx:pt idx="60953">0</cx:pt>
          <cx:pt idx="60954">1</cx:pt>
          <cx:pt idx="60955">0</cx:pt>
          <cx:pt idx="60956">1</cx:pt>
          <cx:pt idx="60957">0</cx:pt>
          <cx:pt idx="60958">0</cx:pt>
          <cx:pt idx="60959">1</cx:pt>
          <cx:pt idx="60960">1</cx:pt>
          <cx:pt idx="60961">0</cx:pt>
          <cx:pt idx="60962">1</cx:pt>
          <cx:pt idx="60963">0</cx:pt>
          <cx:pt idx="60964">0</cx:pt>
          <cx:pt idx="60965">0</cx:pt>
          <cx:pt idx="60966">1</cx:pt>
          <cx:pt idx="60967">0</cx:pt>
          <cx:pt idx="60968">0</cx:pt>
          <cx:pt idx="60969">0</cx:pt>
          <cx:pt idx="60970">1</cx:pt>
          <cx:pt idx="60971">1</cx:pt>
          <cx:pt idx="60972">0</cx:pt>
          <cx:pt idx="60973">0</cx:pt>
          <cx:pt idx="60974">0</cx:pt>
          <cx:pt idx="60975">1</cx:pt>
          <cx:pt idx="60976">0</cx:pt>
          <cx:pt idx="60977">1</cx:pt>
          <cx:pt idx="60978">0</cx:pt>
          <cx:pt idx="60979">1</cx:pt>
          <cx:pt idx="60980">0</cx:pt>
          <cx:pt idx="60981">1</cx:pt>
          <cx:pt idx="60982">0</cx:pt>
          <cx:pt idx="60983">0</cx:pt>
          <cx:pt idx="60984">0</cx:pt>
          <cx:pt idx="60985">1</cx:pt>
          <cx:pt idx="60986">0</cx:pt>
          <cx:pt idx="60987">1</cx:pt>
          <cx:pt idx="60988">0</cx:pt>
          <cx:pt idx="60989">0</cx:pt>
          <cx:pt idx="60990">1</cx:pt>
          <cx:pt idx="60991">0</cx:pt>
          <cx:pt idx="60992">0</cx:pt>
          <cx:pt idx="60993">0</cx:pt>
          <cx:pt idx="60994">1</cx:pt>
          <cx:pt idx="60995">1</cx:pt>
          <cx:pt idx="60996">0</cx:pt>
          <cx:pt idx="60997">0</cx:pt>
          <cx:pt idx="60998">0</cx:pt>
          <cx:pt idx="60999">0</cx:pt>
          <cx:pt idx="61000">0</cx:pt>
          <cx:pt idx="61001">0</cx:pt>
          <cx:pt idx="61002">0</cx:pt>
          <cx:pt idx="61003">1</cx:pt>
          <cx:pt idx="61004">0</cx:pt>
          <cx:pt idx="61005">1</cx:pt>
          <cx:pt idx="61006">1</cx:pt>
          <cx:pt idx="61007">1</cx:pt>
          <cx:pt idx="61008">1</cx:pt>
          <cx:pt idx="61009">1</cx:pt>
          <cx:pt idx="61010">1</cx:pt>
          <cx:pt idx="61011">1</cx:pt>
          <cx:pt idx="61012">0</cx:pt>
          <cx:pt idx="61013">0</cx:pt>
          <cx:pt idx="61014">0</cx:pt>
          <cx:pt idx="61015">1</cx:pt>
          <cx:pt idx="61016">0</cx:pt>
          <cx:pt idx="61017">1</cx:pt>
          <cx:pt idx="61018">1</cx:pt>
          <cx:pt idx="61019">0</cx:pt>
          <cx:pt idx="61020">0</cx:pt>
          <cx:pt idx="61021">0</cx:pt>
          <cx:pt idx="61022">0</cx:pt>
          <cx:pt idx="61023">0</cx:pt>
          <cx:pt idx="61024">0</cx:pt>
          <cx:pt idx="61025">0</cx:pt>
          <cx:pt idx="61026">0</cx:pt>
          <cx:pt idx="61027">0</cx:pt>
          <cx:pt idx="61028">0</cx:pt>
          <cx:pt idx="61029">1</cx:pt>
          <cx:pt idx="61030">1</cx:pt>
          <cx:pt idx="61031">1</cx:pt>
          <cx:pt idx="61032">0</cx:pt>
          <cx:pt idx="61033">1</cx:pt>
          <cx:pt idx="61034">1</cx:pt>
          <cx:pt idx="61035">0</cx:pt>
          <cx:pt idx="61036">0</cx:pt>
          <cx:pt idx="61037">1</cx:pt>
          <cx:pt idx="61038">0</cx:pt>
          <cx:pt idx="61039">0</cx:pt>
          <cx:pt idx="61040">0</cx:pt>
          <cx:pt idx="61041">1</cx:pt>
          <cx:pt idx="61042">0</cx:pt>
          <cx:pt idx="61043">1</cx:pt>
          <cx:pt idx="61044">1</cx:pt>
          <cx:pt idx="61045">1</cx:pt>
          <cx:pt idx="61046">0</cx:pt>
          <cx:pt idx="61047">0</cx:pt>
          <cx:pt idx="61048">0</cx:pt>
          <cx:pt idx="61049">1</cx:pt>
          <cx:pt idx="61050">0</cx:pt>
          <cx:pt idx="61051">1</cx:pt>
          <cx:pt idx="61052">1</cx:pt>
          <cx:pt idx="61053">1</cx:pt>
          <cx:pt idx="61054">0</cx:pt>
          <cx:pt idx="61055">0</cx:pt>
          <cx:pt idx="61056">1</cx:pt>
          <cx:pt idx="61057">1</cx:pt>
          <cx:pt idx="61058">1</cx:pt>
          <cx:pt idx="61059">1</cx:pt>
          <cx:pt idx="61060">1</cx:pt>
          <cx:pt idx="61061">0</cx:pt>
          <cx:pt idx="61062">0</cx:pt>
          <cx:pt idx="61063">0</cx:pt>
          <cx:pt idx="61064">0</cx:pt>
          <cx:pt idx="61065">0</cx:pt>
          <cx:pt idx="61066">0</cx:pt>
          <cx:pt idx="61067">0</cx:pt>
          <cx:pt idx="61068">1</cx:pt>
          <cx:pt idx="61069">0</cx:pt>
          <cx:pt idx="61070">1</cx:pt>
          <cx:pt idx="61071">0</cx:pt>
          <cx:pt idx="61072">1</cx:pt>
          <cx:pt idx="61073">0</cx:pt>
          <cx:pt idx="61074">0</cx:pt>
          <cx:pt idx="61075">0</cx:pt>
          <cx:pt idx="61076">0</cx:pt>
          <cx:pt idx="61077">0</cx:pt>
          <cx:pt idx="61078">0</cx:pt>
          <cx:pt idx="61079">1</cx:pt>
          <cx:pt idx="61080">0</cx:pt>
          <cx:pt idx="61081">0</cx:pt>
          <cx:pt idx="61082">1</cx:pt>
          <cx:pt idx="61083">1</cx:pt>
          <cx:pt idx="61084">1</cx:pt>
          <cx:pt idx="61085">0</cx:pt>
          <cx:pt idx="61086">1</cx:pt>
          <cx:pt idx="61087">1</cx:pt>
          <cx:pt idx="61088">0</cx:pt>
          <cx:pt idx="61089">0</cx:pt>
          <cx:pt idx="61090">1</cx:pt>
          <cx:pt idx="61091">1</cx:pt>
          <cx:pt idx="61092">0</cx:pt>
          <cx:pt idx="61093">0</cx:pt>
          <cx:pt idx="61094">1</cx:pt>
          <cx:pt idx="61095">1</cx:pt>
          <cx:pt idx="61096">1</cx:pt>
          <cx:pt idx="61097">1</cx:pt>
          <cx:pt idx="61098">1</cx:pt>
          <cx:pt idx="61099">0</cx:pt>
          <cx:pt idx="61100">0</cx:pt>
          <cx:pt idx="61101">1</cx:pt>
          <cx:pt idx="61102">1</cx:pt>
          <cx:pt idx="61103">0</cx:pt>
          <cx:pt idx="61104">1</cx:pt>
          <cx:pt idx="61105">0</cx:pt>
          <cx:pt idx="61106">1</cx:pt>
          <cx:pt idx="61107">0</cx:pt>
          <cx:pt idx="61108">0</cx:pt>
          <cx:pt idx="61109">1</cx:pt>
          <cx:pt idx="61110">0</cx:pt>
          <cx:pt idx="61111">0</cx:pt>
          <cx:pt idx="61112">0</cx:pt>
          <cx:pt idx="61113">1</cx:pt>
          <cx:pt idx="61114">1</cx:pt>
          <cx:pt idx="61115">1</cx:pt>
          <cx:pt idx="61116">0</cx:pt>
          <cx:pt idx="61117">0</cx:pt>
          <cx:pt idx="61118">0</cx:pt>
          <cx:pt idx="61119">0</cx:pt>
          <cx:pt idx="61120">0</cx:pt>
          <cx:pt idx="61121">0</cx:pt>
          <cx:pt idx="61122">0</cx:pt>
          <cx:pt idx="61123">0</cx:pt>
          <cx:pt idx="61124">0</cx:pt>
          <cx:pt idx="61125">0</cx:pt>
          <cx:pt idx="61126">1</cx:pt>
          <cx:pt idx="61127">0</cx:pt>
          <cx:pt idx="61128">0</cx:pt>
          <cx:pt idx="61129">0</cx:pt>
          <cx:pt idx="61130">0</cx:pt>
          <cx:pt idx="61131">0</cx:pt>
          <cx:pt idx="61132">1</cx:pt>
          <cx:pt idx="61133">0</cx:pt>
          <cx:pt idx="61134">1</cx:pt>
          <cx:pt idx="61135">0</cx:pt>
          <cx:pt idx="61136">1</cx:pt>
          <cx:pt idx="61137">0</cx:pt>
          <cx:pt idx="61138">1</cx:pt>
          <cx:pt idx="61139">0</cx:pt>
          <cx:pt idx="61140">0</cx:pt>
          <cx:pt idx="61141">1</cx:pt>
          <cx:pt idx="61142">1</cx:pt>
          <cx:pt idx="61143">0</cx:pt>
          <cx:pt idx="61144">0</cx:pt>
          <cx:pt idx="61145">0</cx:pt>
          <cx:pt idx="61146">1</cx:pt>
          <cx:pt idx="61147">0</cx:pt>
          <cx:pt idx="61148">1</cx:pt>
          <cx:pt idx="61149">0</cx:pt>
          <cx:pt idx="61150">0</cx:pt>
          <cx:pt idx="61151">1</cx:pt>
          <cx:pt idx="61152">1</cx:pt>
          <cx:pt idx="61153">0</cx:pt>
          <cx:pt idx="61154">0</cx:pt>
          <cx:pt idx="61155">0</cx:pt>
          <cx:pt idx="61156">0</cx:pt>
          <cx:pt idx="61157">0</cx:pt>
          <cx:pt idx="61158">0</cx:pt>
          <cx:pt idx="61159">1</cx:pt>
          <cx:pt idx="61160">0</cx:pt>
          <cx:pt idx="61161">0</cx:pt>
          <cx:pt idx="61162">0</cx:pt>
          <cx:pt idx="61163">0</cx:pt>
          <cx:pt idx="61164">1</cx:pt>
          <cx:pt idx="61165">1</cx:pt>
          <cx:pt idx="61166">0</cx:pt>
          <cx:pt idx="61167">1</cx:pt>
          <cx:pt idx="61168">0</cx:pt>
          <cx:pt idx="61169">1</cx:pt>
          <cx:pt idx="61170">1</cx:pt>
          <cx:pt idx="61171">0</cx:pt>
          <cx:pt idx="61172">0</cx:pt>
          <cx:pt idx="61173">0</cx:pt>
          <cx:pt idx="61174">1</cx:pt>
          <cx:pt idx="61175">0</cx:pt>
          <cx:pt idx="61176">0</cx:pt>
          <cx:pt idx="61177">0</cx:pt>
          <cx:pt idx="61178">0</cx:pt>
          <cx:pt idx="61179">0</cx:pt>
          <cx:pt idx="61180">1</cx:pt>
          <cx:pt idx="61181">0</cx:pt>
          <cx:pt idx="61182">0</cx:pt>
          <cx:pt idx="61183">0</cx:pt>
          <cx:pt idx="61184">0</cx:pt>
          <cx:pt idx="61185">0</cx:pt>
          <cx:pt idx="61186">0</cx:pt>
          <cx:pt idx="61187">1</cx:pt>
          <cx:pt idx="61188">0</cx:pt>
          <cx:pt idx="61189">0</cx:pt>
          <cx:pt idx="61190">0</cx:pt>
          <cx:pt idx="61191">0</cx:pt>
          <cx:pt idx="61192">0</cx:pt>
          <cx:pt idx="61193">0</cx:pt>
          <cx:pt idx="61194">0</cx:pt>
          <cx:pt idx="61195">0</cx:pt>
          <cx:pt idx="61196">0</cx:pt>
          <cx:pt idx="61197">0</cx:pt>
          <cx:pt idx="61198">1</cx:pt>
          <cx:pt idx="61199">1</cx:pt>
          <cx:pt idx="61200">0</cx:pt>
          <cx:pt idx="61201">0</cx:pt>
          <cx:pt idx="61202">1</cx:pt>
          <cx:pt idx="61203">1</cx:pt>
          <cx:pt idx="61204">1</cx:pt>
          <cx:pt idx="61205">1</cx:pt>
          <cx:pt idx="61206">0</cx:pt>
          <cx:pt idx="61207">0</cx:pt>
          <cx:pt idx="61208">1</cx:pt>
          <cx:pt idx="61209">0</cx:pt>
          <cx:pt idx="61210">0</cx:pt>
          <cx:pt idx="61211">1</cx:pt>
          <cx:pt idx="61212">1</cx:pt>
          <cx:pt idx="61213">1</cx:pt>
          <cx:pt idx="61214">0</cx:pt>
          <cx:pt idx="61215">1</cx:pt>
          <cx:pt idx="61216">0</cx:pt>
          <cx:pt idx="61217">0</cx:pt>
          <cx:pt idx="61218">1</cx:pt>
          <cx:pt idx="61219">0</cx:pt>
          <cx:pt idx="61220">0</cx:pt>
          <cx:pt idx="61221">1</cx:pt>
          <cx:pt idx="61222">1</cx:pt>
          <cx:pt idx="61223">1</cx:pt>
          <cx:pt idx="61224">0</cx:pt>
          <cx:pt idx="61225">0</cx:pt>
          <cx:pt idx="61226">0</cx:pt>
          <cx:pt idx="61227">0</cx:pt>
          <cx:pt idx="61228">1</cx:pt>
          <cx:pt idx="61229">0</cx:pt>
          <cx:pt idx="61230">1</cx:pt>
          <cx:pt idx="61231">1</cx:pt>
          <cx:pt idx="61232">1</cx:pt>
          <cx:pt idx="61233">1</cx:pt>
          <cx:pt idx="61234">1</cx:pt>
          <cx:pt idx="61235">1</cx:pt>
          <cx:pt idx="61236">0</cx:pt>
          <cx:pt idx="61237">1</cx:pt>
          <cx:pt idx="61238">0</cx:pt>
          <cx:pt idx="61239">1</cx:pt>
          <cx:pt idx="61240">0</cx:pt>
          <cx:pt idx="61241">1</cx:pt>
          <cx:pt idx="61242">0</cx:pt>
          <cx:pt idx="61243">0</cx:pt>
          <cx:pt idx="61244">0</cx:pt>
          <cx:pt idx="61245">0</cx:pt>
          <cx:pt idx="61246">0</cx:pt>
          <cx:pt idx="61247">0</cx:pt>
          <cx:pt idx="61248">1</cx:pt>
          <cx:pt idx="61249">1</cx:pt>
          <cx:pt idx="61250">0</cx:pt>
          <cx:pt idx="61251">0</cx:pt>
          <cx:pt idx="61252">0</cx:pt>
          <cx:pt idx="61253">0</cx:pt>
          <cx:pt idx="61254">1</cx:pt>
          <cx:pt idx="61255">0</cx:pt>
          <cx:pt idx="61256">0</cx:pt>
          <cx:pt idx="61257">1</cx:pt>
          <cx:pt idx="61258">0</cx:pt>
          <cx:pt idx="61259">0</cx:pt>
          <cx:pt idx="61260">0</cx:pt>
          <cx:pt idx="61261">0</cx:pt>
          <cx:pt idx="61262">0</cx:pt>
          <cx:pt idx="61263">0</cx:pt>
          <cx:pt idx="61264">0</cx:pt>
          <cx:pt idx="61265">0</cx:pt>
          <cx:pt idx="61266">0</cx:pt>
          <cx:pt idx="61267">1</cx:pt>
          <cx:pt idx="61268">1</cx:pt>
          <cx:pt idx="61269">0</cx:pt>
          <cx:pt idx="61270">0</cx:pt>
          <cx:pt idx="61271">0</cx:pt>
          <cx:pt idx="61272">1</cx:pt>
          <cx:pt idx="61273">0</cx:pt>
          <cx:pt idx="61274">0</cx:pt>
          <cx:pt idx="61275">1</cx:pt>
          <cx:pt idx="61276">1</cx:pt>
          <cx:pt idx="61277">0</cx:pt>
          <cx:pt idx="61278">0</cx:pt>
          <cx:pt idx="61279">1</cx:pt>
          <cx:pt idx="61280">1</cx:pt>
          <cx:pt idx="61281">1</cx:pt>
          <cx:pt idx="61282">0</cx:pt>
          <cx:pt idx="61283">1</cx:pt>
          <cx:pt idx="61284">0</cx:pt>
          <cx:pt idx="61285">1</cx:pt>
          <cx:pt idx="61286">1</cx:pt>
          <cx:pt idx="61287">0</cx:pt>
          <cx:pt idx="61288">0</cx:pt>
          <cx:pt idx="61289">0</cx:pt>
          <cx:pt idx="61290">0</cx:pt>
          <cx:pt idx="61291">1</cx:pt>
          <cx:pt idx="61292">0</cx:pt>
          <cx:pt idx="61293">1</cx:pt>
          <cx:pt idx="61294">1</cx:pt>
          <cx:pt idx="61295">1</cx:pt>
          <cx:pt idx="61296">1</cx:pt>
          <cx:pt idx="61297">0</cx:pt>
          <cx:pt idx="61298">0</cx:pt>
          <cx:pt idx="61299">1</cx:pt>
          <cx:pt idx="61300">1</cx:pt>
          <cx:pt idx="61301">0</cx:pt>
          <cx:pt idx="61302">0</cx:pt>
          <cx:pt idx="61303">0</cx:pt>
          <cx:pt idx="61304">0</cx:pt>
          <cx:pt idx="61305">0</cx:pt>
          <cx:pt idx="61306">1</cx:pt>
          <cx:pt idx="61307">1</cx:pt>
          <cx:pt idx="61308">1</cx:pt>
          <cx:pt idx="61309">0</cx:pt>
          <cx:pt idx="61310">1</cx:pt>
          <cx:pt idx="61311">0</cx:pt>
          <cx:pt idx="61312">0</cx:pt>
          <cx:pt idx="61313">0</cx:pt>
          <cx:pt idx="61314">0</cx:pt>
          <cx:pt idx="61315">1</cx:pt>
          <cx:pt idx="61316">1</cx:pt>
          <cx:pt idx="61317">0</cx:pt>
          <cx:pt idx="61318">0</cx:pt>
          <cx:pt idx="61319">1</cx:pt>
          <cx:pt idx="61320">0</cx:pt>
          <cx:pt idx="61321">0</cx:pt>
          <cx:pt idx="61322">1</cx:pt>
          <cx:pt idx="61323">0</cx:pt>
          <cx:pt idx="61324">1</cx:pt>
          <cx:pt idx="61325">0</cx:pt>
          <cx:pt idx="61326">1</cx:pt>
          <cx:pt idx="61327">0</cx:pt>
          <cx:pt idx="61328">0</cx:pt>
          <cx:pt idx="61329">1</cx:pt>
          <cx:pt idx="61330">1</cx:pt>
          <cx:pt idx="61331">1</cx:pt>
          <cx:pt idx="61332">1</cx:pt>
          <cx:pt idx="61333">1</cx:pt>
          <cx:pt idx="61334">1</cx:pt>
          <cx:pt idx="61335">1</cx:pt>
          <cx:pt idx="61336">0</cx:pt>
          <cx:pt idx="61337">1</cx:pt>
          <cx:pt idx="61338">0</cx:pt>
          <cx:pt idx="61339">0</cx:pt>
          <cx:pt idx="61340">1</cx:pt>
          <cx:pt idx="61341">1</cx:pt>
          <cx:pt idx="61342">1</cx:pt>
          <cx:pt idx="61343">1</cx:pt>
          <cx:pt idx="61344">0</cx:pt>
          <cx:pt idx="61345">1</cx:pt>
          <cx:pt idx="61346">1</cx:pt>
          <cx:pt idx="61347">0</cx:pt>
          <cx:pt idx="61348">1</cx:pt>
          <cx:pt idx="61349">0</cx:pt>
          <cx:pt idx="61350">0</cx:pt>
          <cx:pt idx="61351">0</cx:pt>
          <cx:pt idx="61352">1</cx:pt>
          <cx:pt idx="61353">1</cx:pt>
          <cx:pt idx="61354">0</cx:pt>
          <cx:pt idx="61355">1</cx:pt>
          <cx:pt idx="61356">1</cx:pt>
          <cx:pt idx="61357">1</cx:pt>
          <cx:pt idx="61358">0</cx:pt>
          <cx:pt idx="61359">1</cx:pt>
          <cx:pt idx="61360">1</cx:pt>
          <cx:pt idx="61361">0</cx:pt>
          <cx:pt idx="61362">1</cx:pt>
          <cx:pt idx="61363">1</cx:pt>
          <cx:pt idx="61364">0</cx:pt>
          <cx:pt idx="61365">1</cx:pt>
          <cx:pt idx="61366">0</cx:pt>
          <cx:pt idx="61367">0</cx:pt>
          <cx:pt idx="61368">0</cx:pt>
          <cx:pt idx="61369">1</cx:pt>
          <cx:pt idx="61370">0</cx:pt>
          <cx:pt idx="61371">1</cx:pt>
          <cx:pt idx="61372">1</cx:pt>
          <cx:pt idx="61373">0</cx:pt>
          <cx:pt idx="61374">0</cx:pt>
          <cx:pt idx="61375">0</cx:pt>
          <cx:pt idx="61376">1</cx:pt>
          <cx:pt idx="61377">0</cx:pt>
          <cx:pt idx="61378">0</cx:pt>
          <cx:pt idx="61379">1</cx:pt>
          <cx:pt idx="61380">0</cx:pt>
          <cx:pt idx="61381">1</cx:pt>
          <cx:pt idx="61382">0</cx:pt>
          <cx:pt idx="61383">0</cx:pt>
          <cx:pt idx="61384">0</cx:pt>
          <cx:pt idx="61385">0</cx:pt>
          <cx:pt idx="61386">0</cx:pt>
          <cx:pt idx="61387">1</cx:pt>
          <cx:pt idx="61388">0</cx:pt>
          <cx:pt idx="61389">1</cx:pt>
          <cx:pt idx="61390">0</cx:pt>
          <cx:pt idx="61391">1</cx:pt>
          <cx:pt idx="61392">1</cx:pt>
          <cx:pt idx="61393">0</cx:pt>
          <cx:pt idx="61394">1</cx:pt>
          <cx:pt idx="61395">1</cx:pt>
          <cx:pt idx="61396">1</cx:pt>
          <cx:pt idx="61397">1</cx:pt>
          <cx:pt idx="61398">0</cx:pt>
          <cx:pt idx="61399">0</cx:pt>
          <cx:pt idx="61400">0</cx:pt>
          <cx:pt idx="61401">0</cx:pt>
          <cx:pt idx="61402">1</cx:pt>
          <cx:pt idx="61403">0</cx:pt>
          <cx:pt idx="61404">1</cx:pt>
          <cx:pt idx="61405">1</cx:pt>
          <cx:pt idx="61406">1</cx:pt>
          <cx:pt idx="61407">0</cx:pt>
          <cx:pt idx="61408">0</cx:pt>
          <cx:pt idx="61409">0</cx:pt>
          <cx:pt idx="61410">0</cx:pt>
          <cx:pt idx="61411">0</cx:pt>
          <cx:pt idx="61412">1</cx:pt>
          <cx:pt idx="61413">1</cx:pt>
          <cx:pt idx="61414">0</cx:pt>
          <cx:pt idx="61415">0</cx:pt>
          <cx:pt idx="61416">0</cx:pt>
          <cx:pt idx="61417">1</cx:pt>
          <cx:pt idx="61418">0</cx:pt>
          <cx:pt idx="61419">1</cx:pt>
          <cx:pt idx="61420">1</cx:pt>
          <cx:pt idx="61421">0</cx:pt>
          <cx:pt idx="61422">1</cx:pt>
          <cx:pt idx="61423">1</cx:pt>
          <cx:pt idx="61424">0</cx:pt>
          <cx:pt idx="61425">0</cx:pt>
          <cx:pt idx="61426">0</cx:pt>
          <cx:pt idx="61427">0</cx:pt>
          <cx:pt idx="61428">0</cx:pt>
          <cx:pt idx="61429">0</cx:pt>
          <cx:pt idx="61430">1</cx:pt>
          <cx:pt idx="61431">1</cx:pt>
          <cx:pt idx="61432">0</cx:pt>
          <cx:pt idx="61433">0</cx:pt>
          <cx:pt idx="61434">0</cx:pt>
          <cx:pt idx="61435">1</cx:pt>
          <cx:pt idx="61436">1</cx:pt>
          <cx:pt idx="61437">0</cx:pt>
          <cx:pt idx="61438">0</cx:pt>
          <cx:pt idx="61439">1</cx:pt>
          <cx:pt idx="61440">1</cx:pt>
          <cx:pt idx="61441">1</cx:pt>
          <cx:pt idx="61442">1</cx:pt>
          <cx:pt idx="61443">1</cx:pt>
          <cx:pt idx="61444">0</cx:pt>
          <cx:pt idx="61445">0</cx:pt>
          <cx:pt idx="61446">0</cx:pt>
          <cx:pt idx="61447">0</cx:pt>
          <cx:pt idx="61448">0</cx:pt>
          <cx:pt idx="61449">0</cx:pt>
          <cx:pt idx="61450">0</cx:pt>
          <cx:pt idx="61451">0</cx:pt>
          <cx:pt idx="61452">0</cx:pt>
          <cx:pt idx="61453">1</cx:pt>
          <cx:pt idx="61454">1</cx:pt>
          <cx:pt idx="61455">0</cx:pt>
          <cx:pt idx="61456">0</cx:pt>
          <cx:pt idx="61457">1</cx:pt>
          <cx:pt idx="61458">1</cx:pt>
          <cx:pt idx="61459">0</cx:pt>
          <cx:pt idx="61460">0</cx:pt>
          <cx:pt idx="61461">1</cx:pt>
          <cx:pt idx="61462">0</cx:pt>
          <cx:pt idx="61463">1</cx:pt>
          <cx:pt idx="61464">0</cx:pt>
          <cx:pt idx="61465">0</cx:pt>
          <cx:pt idx="61466">0</cx:pt>
          <cx:pt idx="61467">0</cx:pt>
          <cx:pt idx="61468">0</cx:pt>
          <cx:pt idx="61469">1</cx:pt>
          <cx:pt idx="61470">1</cx:pt>
          <cx:pt idx="61471">0</cx:pt>
          <cx:pt idx="61472">0</cx:pt>
          <cx:pt idx="61473">0</cx:pt>
          <cx:pt idx="61474">0</cx:pt>
          <cx:pt idx="61475">0</cx:pt>
          <cx:pt idx="61476">1</cx:pt>
          <cx:pt idx="61477">0</cx:pt>
          <cx:pt idx="61478">1</cx:pt>
          <cx:pt idx="61479">1</cx:pt>
          <cx:pt idx="61480">0</cx:pt>
          <cx:pt idx="61481">0</cx:pt>
          <cx:pt idx="61482">0</cx:pt>
          <cx:pt idx="61483">0</cx:pt>
          <cx:pt idx="61484">0</cx:pt>
          <cx:pt idx="61485">0</cx:pt>
          <cx:pt idx="61486">0</cx:pt>
          <cx:pt idx="61487">0</cx:pt>
          <cx:pt idx="61488">0</cx:pt>
          <cx:pt idx="61489">1</cx:pt>
          <cx:pt idx="61490">1</cx:pt>
          <cx:pt idx="61491">1</cx:pt>
          <cx:pt idx="61492">0</cx:pt>
          <cx:pt idx="61493">1</cx:pt>
          <cx:pt idx="61494">0</cx:pt>
          <cx:pt idx="61495">0</cx:pt>
          <cx:pt idx="61496">1</cx:pt>
          <cx:pt idx="61497">0</cx:pt>
          <cx:pt idx="61498">1</cx:pt>
          <cx:pt idx="61499">0</cx:pt>
          <cx:pt idx="61500">0</cx:pt>
          <cx:pt idx="61501">0</cx:pt>
          <cx:pt idx="61502">0</cx:pt>
          <cx:pt idx="61503">0</cx:pt>
          <cx:pt idx="61504">0</cx:pt>
          <cx:pt idx="61505">0</cx:pt>
          <cx:pt idx="61506">0</cx:pt>
          <cx:pt idx="61507">0</cx:pt>
          <cx:pt idx="61508">0</cx:pt>
          <cx:pt idx="61509">1</cx:pt>
          <cx:pt idx="61510">1</cx:pt>
          <cx:pt idx="61511">1</cx:pt>
          <cx:pt idx="61512">0</cx:pt>
          <cx:pt idx="61513">1</cx:pt>
          <cx:pt idx="61514">1</cx:pt>
          <cx:pt idx="61515">1</cx:pt>
          <cx:pt idx="61516">0</cx:pt>
          <cx:pt idx="61517">1</cx:pt>
          <cx:pt idx="61518">0</cx:pt>
          <cx:pt idx="61519">0</cx:pt>
          <cx:pt idx="61520">0</cx:pt>
          <cx:pt idx="61521">0</cx:pt>
          <cx:pt idx="61522">1</cx:pt>
          <cx:pt idx="61523">0</cx:pt>
          <cx:pt idx="61524">1</cx:pt>
          <cx:pt idx="61525">1</cx:pt>
          <cx:pt idx="61526">0</cx:pt>
          <cx:pt idx="61527">0</cx:pt>
          <cx:pt idx="61528">0</cx:pt>
          <cx:pt idx="61529">0</cx:pt>
          <cx:pt idx="61530">1</cx:pt>
          <cx:pt idx="61531">0</cx:pt>
          <cx:pt idx="61532">0</cx:pt>
          <cx:pt idx="61533">1</cx:pt>
          <cx:pt idx="61534">0</cx:pt>
          <cx:pt idx="61535">1</cx:pt>
          <cx:pt idx="61536">1</cx:pt>
          <cx:pt idx="61537">1</cx:pt>
          <cx:pt idx="61538">0</cx:pt>
          <cx:pt idx="61539">0</cx:pt>
          <cx:pt idx="61540">0</cx:pt>
          <cx:pt idx="61541">0</cx:pt>
          <cx:pt idx="61542">0</cx:pt>
          <cx:pt idx="61543">1</cx:pt>
          <cx:pt idx="61544">1</cx:pt>
          <cx:pt idx="61545">1</cx:pt>
          <cx:pt idx="61546">1</cx:pt>
          <cx:pt idx="61547">1</cx:pt>
          <cx:pt idx="61548">0</cx:pt>
          <cx:pt idx="61549">1</cx:pt>
          <cx:pt idx="61550">1</cx:pt>
          <cx:pt idx="61551">1</cx:pt>
          <cx:pt idx="61552">0</cx:pt>
          <cx:pt idx="61553">1</cx:pt>
          <cx:pt idx="61554">0</cx:pt>
          <cx:pt idx="61555">0</cx:pt>
          <cx:pt idx="61556">0</cx:pt>
          <cx:pt idx="61557">1</cx:pt>
          <cx:pt idx="61558">0</cx:pt>
          <cx:pt idx="61559">0</cx:pt>
          <cx:pt idx="61560">0</cx:pt>
          <cx:pt idx="61561">0</cx:pt>
          <cx:pt idx="61562">0</cx:pt>
          <cx:pt idx="61563">1</cx:pt>
          <cx:pt idx="61564">0</cx:pt>
          <cx:pt idx="61565">0</cx:pt>
          <cx:pt idx="61566">1</cx:pt>
          <cx:pt idx="61567">0</cx:pt>
          <cx:pt idx="61568">0</cx:pt>
          <cx:pt idx="61569">0</cx:pt>
          <cx:pt idx="61570">1</cx:pt>
          <cx:pt idx="61571">0</cx:pt>
          <cx:pt idx="61572">0</cx:pt>
          <cx:pt idx="61573">1</cx:pt>
          <cx:pt idx="61574">1</cx:pt>
          <cx:pt idx="61575">1</cx:pt>
          <cx:pt idx="61576">1</cx:pt>
          <cx:pt idx="61577">1</cx:pt>
          <cx:pt idx="61578">1</cx:pt>
          <cx:pt idx="61579">0</cx:pt>
          <cx:pt idx="61580">0</cx:pt>
          <cx:pt idx="61581">0</cx:pt>
          <cx:pt idx="61582">1</cx:pt>
          <cx:pt idx="61583">1</cx:pt>
          <cx:pt idx="61584">0</cx:pt>
          <cx:pt idx="61585">0</cx:pt>
          <cx:pt idx="61586">0</cx:pt>
          <cx:pt idx="61587">0</cx:pt>
          <cx:pt idx="61588">0</cx:pt>
          <cx:pt idx="61589">0</cx:pt>
          <cx:pt idx="61590">1</cx:pt>
          <cx:pt idx="61591">1</cx:pt>
          <cx:pt idx="61592">0</cx:pt>
          <cx:pt idx="61593">1</cx:pt>
          <cx:pt idx="61594">0</cx:pt>
          <cx:pt idx="61595">0</cx:pt>
          <cx:pt idx="61596">0</cx:pt>
          <cx:pt idx="61597">1</cx:pt>
          <cx:pt idx="61598">1</cx:pt>
          <cx:pt idx="61599">0</cx:pt>
          <cx:pt idx="61600">1</cx:pt>
          <cx:pt idx="61601">1</cx:pt>
          <cx:pt idx="61602">0</cx:pt>
          <cx:pt idx="61603">0</cx:pt>
          <cx:pt idx="61604">1</cx:pt>
          <cx:pt idx="61605">0</cx:pt>
          <cx:pt idx="61606">1</cx:pt>
          <cx:pt idx="61607">0</cx:pt>
          <cx:pt idx="61608">1</cx:pt>
          <cx:pt idx="61609">0</cx:pt>
          <cx:pt idx="61610">1</cx:pt>
          <cx:pt idx="61611">1</cx:pt>
          <cx:pt idx="61612">1</cx:pt>
          <cx:pt idx="61613">0</cx:pt>
          <cx:pt idx="61614">0</cx:pt>
          <cx:pt idx="61615">1</cx:pt>
          <cx:pt idx="61616">1</cx:pt>
          <cx:pt idx="61617">0</cx:pt>
          <cx:pt idx="61618">1</cx:pt>
          <cx:pt idx="61619">0</cx:pt>
          <cx:pt idx="61620">0</cx:pt>
          <cx:pt idx="61621">1</cx:pt>
          <cx:pt idx="61622">1</cx:pt>
          <cx:pt idx="61623">1</cx:pt>
          <cx:pt idx="61624">1</cx:pt>
          <cx:pt idx="61625">0</cx:pt>
          <cx:pt idx="61626">0</cx:pt>
          <cx:pt idx="61627">0</cx:pt>
          <cx:pt idx="61628">0</cx:pt>
          <cx:pt idx="61629">0</cx:pt>
          <cx:pt idx="61630">0</cx:pt>
          <cx:pt idx="61631">1</cx:pt>
          <cx:pt idx="61632">0</cx:pt>
          <cx:pt idx="61633">1</cx:pt>
          <cx:pt idx="61634">0</cx:pt>
          <cx:pt idx="61635">1</cx:pt>
          <cx:pt idx="61636">0</cx:pt>
          <cx:pt idx="61637">0</cx:pt>
          <cx:pt idx="61638">0</cx:pt>
          <cx:pt idx="61639">0</cx:pt>
          <cx:pt idx="61640">0</cx:pt>
          <cx:pt idx="61641">1</cx:pt>
          <cx:pt idx="61642">0</cx:pt>
          <cx:pt idx="61643">1</cx:pt>
          <cx:pt idx="61644">0</cx:pt>
          <cx:pt idx="61645">0</cx:pt>
          <cx:pt idx="61646">0</cx:pt>
          <cx:pt idx="61647">1</cx:pt>
          <cx:pt idx="61648">1</cx:pt>
          <cx:pt idx="61649">0</cx:pt>
          <cx:pt idx="61650">1</cx:pt>
          <cx:pt idx="61651">0</cx:pt>
          <cx:pt idx="61652">0</cx:pt>
          <cx:pt idx="61653">1</cx:pt>
          <cx:pt idx="61654">1</cx:pt>
          <cx:pt idx="61655">0</cx:pt>
          <cx:pt idx="61656">1</cx:pt>
          <cx:pt idx="61657">1</cx:pt>
          <cx:pt idx="61658">1</cx:pt>
          <cx:pt idx="61659">0</cx:pt>
          <cx:pt idx="61660">0</cx:pt>
          <cx:pt idx="61661">1</cx:pt>
          <cx:pt idx="61662">1</cx:pt>
          <cx:pt idx="61663">1</cx:pt>
          <cx:pt idx="61664">1</cx:pt>
          <cx:pt idx="61665">0</cx:pt>
          <cx:pt idx="61666">1</cx:pt>
          <cx:pt idx="61667">1</cx:pt>
          <cx:pt idx="61668">0</cx:pt>
          <cx:pt idx="61669">1</cx:pt>
          <cx:pt idx="61670">0</cx:pt>
          <cx:pt idx="61671">0</cx:pt>
          <cx:pt idx="61672">1</cx:pt>
          <cx:pt idx="61673">1</cx:pt>
          <cx:pt idx="61674">0</cx:pt>
          <cx:pt idx="61675">0</cx:pt>
          <cx:pt idx="61676">0</cx:pt>
          <cx:pt idx="61677">1</cx:pt>
          <cx:pt idx="61678">0</cx:pt>
          <cx:pt idx="61679">0</cx:pt>
          <cx:pt idx="61680">0</cx:pt>
          <cx:pt idx="61681">0</cx:pt>
          <cx:pt idx="61682">1</cx:pt>
          <cx:pt idx="61683">0</cx:pt>
          <cx:pt idx="61684">0</cx:pt>
          <cx:pt idx="61685">1</cx:pt>
          <cx:pt idx="61686">1</cx:pt>
          <cx:pt idx="61687">1</cx:pt>
          <cx:pt idx="61688">0</cx:pt>
          <cx:pt idx="61689">0</cx:pt>
          <cx:pt idx="61690">0</cx:pt>
          <cx:pt idx="61691">0</cx:pt>
          <cx:pt idx="61692">1</cx:pt>
          <cx:pt idx="61693">0</cx:pt>
          <cx:pt idx="61694">1</cx:pt>
          <cx:pt idx="61695">1</cx:pt>
          <cx:pt idx="61696">0</cx:pt>
          <cx:pt idx="61697">1</cx:pt>
          <cx:pt idx="61698">0</cx:pt>
          <cx:pt idx="61699">0</cx:pt>
          <cx:pt idx="61700">0</cx:pt>
          <cx:pt idx="61701">0</cx:pt>
          <cx:pt idx="61702">1</cx:pt>
          <cx:pt idx="61703">0</cx:pt>
          <cx:pt idx="61704">0</cx:pt>
          <cx:pt idx="61705">0</cx:pt>
          <cx:pt idx="61706">0</cx:pt>
          <cx:pt idx="61707">0</cx:pt>
          <cx:pt idx="61708">1</cx:pt>
          <cx:pt idx="61709">0</cx:pt>
          <cx:pt idx="61710">0</cx:pt>
          <cx:pt idx="61711">0</cx:pt>
          <cx:pt idx="61712">1</cx:pt>
          <cx:pt idx="61713">1</cx:pt>
          <cx:pt idx="61714">1</cx:pt>
          <cx:pt idx="61715">0</cx:pt>
          <cx:pt idx="61716">1</cx:pt>
          <cx:pt idx="61717">0</cx:pt>
          <cx:pt idx="61718">1</cx:pt>
          <cx:pt idx="61719">1</cx:pt>
          <cx:pt idx="61720">0</cx:pt>
          <cx:pt idx="61721">0</cx:pt>
          <cx:pt idx="61722">1</cx:pt>
          <cx:pt idx="61723">1</cx:pt>
          <cx:pt idx="61724">0</cx:pt>
          <cx:pt idx="61725">0</cx:pt>
          <cx:pt idx="61726">0</cx:pt>
          <cx:pt idx="61727">1</cx:pt>
          <cx:pt idx="61728">0</cx:pt>
          <cx:pt idx="61729">1</cx:pt>
          <cx:pt idx="61730">0</cx:pt>
          <cx:pt idx="61731">0</cx:pt>
          <cx:pt idx="61732">0</cx:pt>
          <cx:pt idx="61733">0</cx:pt>
          <cx:pt idx="61734">1</cx:pt>
          <cx:pt idx="61735">1</cx:pt>
          <cx:pt idx="61736">0</cx:pt>
          <cx:pt idx="61737">1</cx:pt>
          <cx:pt idx="61738">0</cx:pt>
          <cx:pt idx="61739">0</cx:pt>
          <cx:pt idx="61740">0</cx:pt>
          <cx:pt idx="61741">0</cx:pt>
          <cx:pt idx="61742">1</cx:pt>
          <cx:pt idx="61743">1</cx:pt>
          <cx:pt idx="61744">0</cx:pt>
          <cx:pt idx="61745">0</cx:pt>
          <cx:pt idx="61746">0</cx:pt>
          <cx:pt idx="61747">1</cx:pt>
          <cx:pt idx="61748">0</cx:pt>
          <cx:pt idx="61749">0</cx:pt>
          <cx:pt idx="61750">0</cx:pt>
          <cx:pt idx="61751">0</cx:pt>
          <cx:pt idx="61752">0</cx:pt>
          <cx:pt idx="61753">0</cx:pt>
          <cx:pt idx="61754">0</cx:pt>
          <cx:pt idx="61755">0</cx:pt>
          <cx:pt idx="61756">0</cx:pt>
          <cx:pt idx="61757">0</cx:pt>
          <cx:pt idx="61758">0</cx:pt>
          <cx:pt idx="61759">0</cx:pt>
          <cx:pt idx="61760">1</cx:pt>
          <cx:pt idx="61761">1</cx:pt>
          <cx:pt idx="61762">0</cx:pt>
          <cx:pt idx="61763">0</cx:pt>
          <cx:pt idx="61764">1</cx:pt>
          <cx:pt idx="61765">1</cx:pt>
          <cx:pt idx="61766">1</cx:pt>
          <cx:pt idx="61767">1</cx:pt>
          <cx:pt idx="61768">1</cx:pt>
          <cx:pt idx="61769">1</cx:pt>
          <cx:pt idx="61770">0</cx:pt>
          <cx:pt idx="61771">0</cx:pt>
          <cx:pt idx="61772">1</cx:pt>
          <cx:pt idx="61773">1</cx:pt>
          <cx:pt idx="61774">1</cx:pt>
          <cx:pt idx="61775">1</cx:pt>
          <cx:pt idx="61776">1</cx:pt>
          <cx:pt idx="61777">0</cx:pt>
          <cx:pt idx="61778">0</cx:pt>
          <cx:pt idx="61779">1</cx:pt>
          <cx:pt idx="61780">0</cx:pt>
          <cx:pt idx="61781">0</cx:pt>
          <cx:pt idx="61782">1</cx:pt>
          <cx:pt idx="61783">1</cx:pt>
          <cx:pt idx="61784">0</cx:pt>
          <cx:pt idx="61785">1</cx:pt>
          <cx:pt idx="61786">1</cx:pt>
          <cx:pt idx="61787">1</cx:pt>
          <cx:pt idx="61788">0</cx:pt>
          <cx:pt idx="61789">0</cx:pt>
          <cx:pt idx="61790">0</cx:pt>
          <cx:pt idx="61791">1</cx:pt>
          <cx:pt idx="61792">0</cx:pt>
          <cx:pt idx="61793">1</cx:pt>
          <cx:pt idx="61794">1</cx:pt>
          <cx:pt idx="61795">1</cx:pt>
          <cx:pt idx="61796">1</cx:pt>
          <cx:pt idx="61797">0</cx:pt>
          <cx:pt idx="61798">1</cx:pt>
          <cx:pt idx="61799">1</cx:pt>
          <cx:pt idx="61800">0</cx:pt>
          <cx:pt idx="61801">0</cx:pt>
          <cx:pt idx="61802">1</cx:pt>
          <cx:pt idx="61803">1</cx:pt>
          <cx:pt idx="61804">0</cx:pt>
          <cx:pt idx="61805">0</cx:pt>
          <cx:pt idx="61806">1</cx:pt>
          <cx:pt idx="61807">0</cx:pt>
          <cx:pt idx="61808">0</cx:pt>
          <cx:pt idx="61809">0</cx:pt>
          <cx:pt idx="61810">0</cx:pt>
          <cx:pt idx="61811">0</cx:pt>
          <cx:pt idx="61812">1</cx:pt>
          <cx:pt idx="61813">1</cx:pt>
          <cx:pt idx="61814">0</cx:pt>
          <cx:pt idx="61815">1</cx:pt>
          <cx:pt idx="61816">1</cx:pt>
          <cx:pt idx="61817">1</cx:pt>
          <cx:pt idx="61818">1</cx:pt>
          <cx:pt idx="61819">1</cx:pt>
          <cx:pt idx="61820">0</cx:pt>
          <cx:pt idx="61821">0</cx:pt>
          <cx:pt idx="61822">0</cx:pt>
          <cx:pt idx="61823">1</cx:pt>
          <cx:pt idx="61824">0</cx:pt>
          <cx:pt idx="61825">0</cx:pt>
          <cx:pt idx="61826">1</cx:pt>
          <cx:pt idx="61827">1</cx:pt>
          <cx:pt idx="61828">1</cx:pt>
          <cx:pt idx="61829">0</cx:pt>
          <cx:pt idx="61830">0</cx:pt>
          <cx:pt idx="61831">1</cx:pt>
          <cx:pt idx="61832">1</cx:pt>
          <cx:pt idx="61833">0</cx:pt>
          <cx:pt idx="61834">0</cx:pt>
          <cx:pt idx="61835">1</cx:pt>
          <cx:pt idx="61836">0</cx:pt>
          <cx:pt idx="61837">0</cx:pt>
          <cx:pt idx="61838">0</cx:pt>
          <cx:pt idx="61839">0</cx:pt>
          <cx:pt idx="61840">1</cx:pt>
          <cx:pt idx="61841">1</cx:pt>
          <cx:pt idx="61842">0</cx:pt>
          <cx:pt idx="61843">0</cx:pt>
          <cx:pt idx="61844">0</cx:pt>
          <cx:pt idx="61845">0</cx:pt>
          <cx:pt idx="61846">0</cx:pt>
          <cx:pt idx="61847">0</cx:pt>
          <cx:pt idx="61848">0</cx:pt>
          <cx:pt idx="61849">0</cx:pt>
          <cx:pt idx="61850">0</cx:pt>
          <cx:pt idx="61851">1</cx:pt>
          <cx:pt idx="61852">0</cx:pt>
          <cx:pt idx="61853">0</cx:pt>
          <cx:pt idx="61854">1</cx:pt>
          <cx:pt idx="61855">0</cx:pt>
          <cx:pt idx="61856">1</cx:pt>
          <cx:pt idx="61857">0</cx:pt>
          <cx:pt idx="61858">0</cx:pt>
          <cx:pt idx="61859">0</cx:pt>
          <cx:pt idx="61860">0</cx:pt>
          <cx:pt idx="61861">1</cx:pt>
          <cx:pt idx="61862">0</cx:pt>
          <cx:pt idx="61863">0</cx:pt>
          <cx:pt idx="61864">1</cx:pt>
          <cx:pt idx="61865">1</cx:pt>
          <cx:pt idx="61866">0</cx:pt>
          <cx:pt idx="61867">0</cx:pt>
          <cx:pt idx="61868">0</cx:pt>
          <cx:pt idx="61869">0</cx:pt>
          <cx:pt idx="61870">0</cx:pt>
          <cx:pt idx="61871">0</cx:pt>
          <cx:pt idx="61872">0</cx:pt>
          <cx:pt idx="61873">0</cx:pt>
          <cx:pt idx="61874">1</cx:pt>
          <cx:pt idx="61875">0</cx:pt>
          <cx:pt idx="61876">0</cx:pt>
          <cx:pt idx="61877">0</cx:pt>
          <cx:pt idx="61878">1</cx:pt>
          <cx:pt idx="61879">1</cx:pt>
          <cx:pt idx="61880">1</cx:pt>
          <cx:pt idx="61881">1</cx:pt>
          <cx:pt idx="61882">0</cx:pt>
          <cx:pt idx="61883">0</cx:pt>
          <cx:pt idx="61884">1</cx:pt>
          <cx:pt idx="61885">0</cx:pt>
          <cx:pt idx="61886">0</cx:pt>
          <cx:pt idx="61887">0</cx:pt>
          <cx:pt idx="61888">1</cx:pt>
          <cx:pt idx="61889">0</cx:pt>
          <cx:pt idx="61890">1</cx:pt>
          <cx:pt idx="61891">1</cx:pt>
          <cx:pt idx="61892">0</cx:pt>
          <cx:pt idx="61893">1</cx:pt>
          <cx:pt idx="61894">0</cx:pt>
          <cx:pt idx="61895">1</cx:pt>
          <cx:pt idx="61896">1</cx:pt>
          <cx:pt idx="61897">1</cx:pt>
          <cx:pt idx="61898">0</cx:pt>
          <cx:pt idx="61899">0</cx:pt>
          <cx:pt idx="61900">1</cx:pt>
          <cx:pt idx="61901">1</cx:pt>
          <cx:pt idx="61902">0</cx:pt>
          <cx:pt idx="61903">0</cx:pt>
          <cx:pt idx="61904">1</cx:pt>
          <cx:pt idx="61905">1</cx:pt>
          <cx:pt idx="61906">0</cx:pt>
          <cx:pt idx="61907">0</cx:pt>
          <cx:pt idx="61908">1</cx:pt>
          <cx:pt idx="61909">0</cx:pt>
          <cx:pt idx="61910">1</cx:pt>
          <cx:pt idx="61911">0</cx:pt>
          <cx:pt idx="61912">0</cx:pt>
          <cx:pt idx="61913">0</cx:pt>
          <cx:pt idx="61914">1</cx:pt>
          <cx:pt idx="61915">1</cx:pt>
          <cx:pt idx="61916">0</cx:pt>
          <cx:pt idx="61917">1</cx:pt>
          <cx:pt idx="61918">0</cx:pt>
          <cx:pt idx="61919">0</cx:pt>
          <cx:pt idx="61920">0</cx:pt>
          <cx:pt idx="61921">1</cx:pt>
          <cx:pt idx="61922">0</cx:pt>
          <cx:pt idx="61923">1</cx:pt>
          <cx:pt idx="61924">1</cx:pt>
          <cx:pt idx="61925">1</cx:pt>
          <cx:pt idx="61926">0</cx:pt>
          <cx:pt idx="61927">1</cx:pt>
          <cx:pt idx="61928">0</cx:pt>
          <cx:pt idx="61929">1</cx:pt>
          <cx:pt idx="61930">1</cx:pt>
          <cx:pt idx="61931">0</cx:pt>
          <cx:pt idx="61932">0</cx:pt>
          <cx:pt idx="61933">0</cx:pt>
          <cx:pt idx="61934">0</cx:pt>
          <cx:pt idx="61935">1</cx:pt>
          <cx:pt idx="61936">1</cx:pt>
          <cx:pt idx="61937">0</cx:pt>
          <cx:pt idx="61938">0</cx:pt>
          <cx:pt idx="61939">0</cx:pt>
          <cx:pt idx="61940">1</cx:pt>
          <cx:pt idx="61941">0</cx:pt>
          <cx:pt idx="61942">0</cx:pt>
          <cx:pt idx="61943">1</cx:pt>
          <cx:pt idx="61944">0</cx:pt>
          <cx:pt idx="61945">0</cx:pt>
          <cx:pt idx="61946">0</cx:pt>
          <cx:pt idx="61947">0</cx:pt>
          <cx:pt idx="61948">0</cx:pt>
          <cx:pt idx="61949">0</cx:pt>
          <cx:pt idx="61950">0</cx:pt>
          <cx:pt idx="61951">0</cx:pt>
          <cx:pt idx="61952">0</cx:pt>
          <cx:pt idx="61953">1</cx:pt>
          <cx:pt idx="61954">0</cx:pt>
          <cx:pt idx="61955">0</cx:pt>
          <cx:pt idx="61956">1</cx:pt>
          <cx:pt idx="61957">1</cx:pt>
          <cx:pt idx="61958">0</cx:pt>
          <cx:pt idx="61959">0</cx:pt>
          <cx:pt idx="61960">0</cx:pt>
          <cx:pt idx="61961">0</cx:pt>
          <cx:pt idx="61962">0</cx:pt>
          <cx:pt idx="61963">0</cx:pt>
          <cx:pt idx="61964">0</cx:pt>
          <cx:pt idx="61965">0</cx:pt>
          <cx:pt idx="61966">1</cx:pt>
          <cx:pt idx="61967">0</cx:pt>
          <cx:pt idx="61968">0</cx:pt>
          <cx:pt idx="61969">1</cx:pt>
          <cx:pt idx="61970">1</cx:pt>
          <cx:pt idx="61971">0</cx:pt>
          <cx:pt idx="61972">1</cx:pt>
          <cx:pt idx="61973">0</cx:pt>
          <cx:pt idx="61974">0</cx:pt>
          <cx:pt idx="61975">1</cx:pt>
          <cx:pt idx="61976">0</cx:pt>
          <cx:pt idx="61977">0</cx:pt>
          <cx:pt idx="61978">0</cx:pt>
          <cx:pt idx="61979">1</cx:pt>
          <cx:pt idx="61980">0</cx:pt>
          <cx:pt idx="61981">1</cx:pt>
          <cx:pt idx="61982">0</cx:pt>
          <cx:pt idx="61983">1</cx:pt>
          <cx:pt idx="61984">0</cx:pt>
          <cx:pt idx="61985">1</cx:pt>
          <cx:pt idx="61986">0</cx:pt>
          <cx:pt idx="61987">1</cx:pt>
          <cx:pt idx="61988">0</cx:pt>
          <cx:pt idx="61989">0</cx:pt>
          <cx:pt idx="61990">0</cx:pt>
          <cx:pt idx="61991">1</cx:pt>
          <cx:pt idx="61992">1</cx:pt>
          <cx:pt idx="61993">1</cx:pt>
          <cx:pt idx="61994">1</cx:pt>
          <cx:pt idx="61995">0</cx:pt>
          <cx:pt idx="61996">1</cx:pt>
          <cx:pt idx="61997">1</cx:pt>
          <cx:pt idx="61998">1</cx:pt>
          <cx:pt idx="61999">1</cx:pt>
          <cx:pt idx="62000">0</cx:pt>
          <cx:pt idx="62001">0</cx:pt>
          <cx:pt idx="62002">0</cx:pt>
          <cx:pt idx="62003">1</cx:pt>
          <cx:pt idx="62004">0</cx:pt>
          <cx:pt idx="62005">1</cx:pt>
          <cx:pt idx="62006">0</cx:pt>
          <cx:pt idx="62007">1</cx:pt>
          <cx:pt idx="62008">1</cx:pt>
          <cx:pt idx="62009">0</cx:pt>
          <cx:pt idx="62010">1</cx:pt>
          <cx:pt idx="62011">1</cx:pt>
          <cx:pt idx="62012">0</cx:pt>
          <cx:pt idx="62013">0</cx:pt>
          <cx:pt idx="62014">0</cx:pt>
          <cx:pt idx="62015">0</cx:pt>
          <cx:pt idx="62016">0</cx:pt>
          <cx:pt idx="62017">1</cx:pt>
          <cx:pt idx="62018">0</cx:pt>
          <cx:pt idx="62019">0</cx:pt>
          <cx:pt idx="62020">0</cx:pt>
          <cx:pt idx="62021">1</cx:pt>
          <cx:pt idx="62022">0</cx:pt>
          <cx:pt idx="62023">1</cx:pt>
          <cx:pt idx="62024">0</cx:pt>
          <cx:pt idx="62025">0</cx:pt>
          <cx:pt idx="62026">0</cx:pt>
          <cx:pt idx="62027">0</cx:pt>
          <cx:pt idx="62028">0</cx:pt>
          <cx:pt idx="62029">0</cx:pt>
          <cx:pt idx="62030">0</cx:pt>
          <cx:pt idx="62031">0</cx:pt>
          <cx:pt idx="62032">0</cx:pt>
          <cx:pt idx="62033">0</cx:pt>
          <cx:pt idx="62034">1</cx:pt>
          <cx:pt idx="62035">0</cx:pt>
          <cx:pt idx="62036">0</cx:pt>
          <cx:pt idx="62037">0</cx:pt>
          <cx:pt idx="62038">1</cx:pt>
          <cx:pt idx="62039">0</cx:pt>
          <cx:pt idx="62040">0</cx:pt>
          <cx:pt idx="62041">1</cx:pt>
          <cx:pt idx="62042">0</cx:pt>
          <cx:pt idx="62043">1</cx:pt>
          <cx:pt idx="62044">0</cx:pt>
          <cx:pt idx="62045">0</cx:pt>
          <cx:pt idx="62046">0</cx:pt>
          <cx:pt idx="62047">0</cx:pt>
          <cx:pt idx="62048">1</cx:pt>
          <cx:pt idx="62049">0</cx:pt>
          <cx:pt idx="62050">1</cx:pt>
          <cx:pt idx="62051">0</cx:pt>
          <cx:pt idx="62052">0</cx:pt>
          <cx:pt idx="62053">1</cx:pt>
          <cx:pt idx="62054">1</cx:pt>
          <cx:pt idx="62055">0</cx:pt>
          <cx:pt idx="62056">1</cx:pt>
          <cx:pt idx="62057">0</cx:pt>
          <cx:pt idx="62058">0</cx:pt>
          <cx:pt idx="62059">1</cx:pt>
          <cx:pt idx="62060">1</cx:pt>
          <cx:pt idx="62061">0</cx:pt>
          <cx:pt idx="62062">1</cx:pt>
          <cx:pt idx="62063">0</cx:pt>
          <cx:pt idx="62064">1</cx:pt>
          <cx:pt idx="62065">0</cx:pt>
          <cx:pt idx="62066">1</cx:pt>
          <cx:pt idx="62067">1</cx:pt>
          <cx:pt idx="62068">1</cx:pt>
          <cx:pt idx="62069">0</cx:pt>
          <cx:pt idx="62070">1</cx:pt>
          <cx:pt idx="62071">0</cx:pt>
          <cx:pt idx="62072">0</cx:pt>
          <cx:pt idx="62073">0</cx:pt>
          <cx:pt idx="62074">0</cx:pt>
          <cx:pt idx="62075">0</cx:pt>
          <cx:pt idx="62076">0</cx:pt>
          <cx:pt idx="62077">0</cx:pt>
          <cx:pt idx="62078">1</cx:pt>
          <cx:pt idx="62079">0</cx:pt>
          <cx:pt idx="62080">1</cx:pt>
          <cx:pt idx="62081">0</cx:pt>
          <cx:pt idx="62082">0</cx:pt>
          <cx:pt idx="62083">0</cx:pt>
          <cx:pt idx="62084">0</cx:pt>
          <cx:pt idx="62085">0</cx:pt>
          <cx:pt idx="62086">1</cx:pt>
          <cx:pt idx="62087">1</cx:pt>
          <cx:pt idx="62088">1</cx:pt>
          <cx:pt idx="62089">0</cx:pt>
          <cx:pt idx="62090">1</cx:pt>
          <cx:pt idx="62091">1</cx:pt>
          <cx:pt idx="62092">1</cx:pt>
          <cx:pt idx="62093">0</cx:pt>
          <cx:pt idx="62094">0</cx:pt>
          <cx:pt idx="62095">1</cx:pt>
          <cx:pt idx="62096">0</cx:pt>
          <cx:pt idx="62097">1</cx:pt>
          <cx:pt idx="62098">0</cx:pt>
          <cx:pt idx="62099">1</cx:pt>
          <cx:pt idx="62100">0</cx:pt>
          <cx:pt idx="62101">1</cx:pt>
          <cx:pt idx="62102">0</cx:pt>
          <cx:pt idx="62103">0</cx:pt>
          <cx:pt idx="62104">0</cx:pt>
          <cx:pt idx="62105">1</cx:pt>
          <cx:pt idx="62106">0</cx:pt>
          <cx:pt idx="62107">1</cx:pt>
          <cx:pt idx="62108">0</cx:pt>
          <cx:pt idx="62109">0</cx:pt>
          <cx:pt idx="62110">1</cx:pt>
          <cx:pt idx="62111">1</cx:pt>
          <cx:pt idx="62112">1</cx:pt>
          <cx:pt idx="62113">1</cx:pt>
          <cx:pt idx="62114">1</cx:pt>
          <cx:pt idx="62115">1</cx:pt>
          <cx:pt idx="62116">0</cx:pt>
          <cx:pt idx="62117">0</cx:pt>
          <cx:pt idx="62118">0</cx:pt>
          <cx:pt idx="62119">0</cx:pt>
          <cx:pt idx="62120">1</cx:pt>
          <cx:pt idx="62121">1</cx:pt>
          <cx:pt idx="62122">1</cx:pt>
          <cx:pt idx="62123">1</cx:pt>
          <cx:pt idx="62124">1</cx:pt>
          <cx:pt idx="62125">1</cx:pt>
          <cx:pt idx="62126">0</cx:pt>
          <cx:pt idx="62127">0</cx:pt>
          <cx:pt idx="62128">0</cx:pt>
          <cx:pt idx="62129">1</cx:pt>
          <cx:pt idx="62130">1</cx:pt>
          <cx:pt idx="62131">0</cx:pt>
          <cx:pt idx="62132">0</cx:pt>
          <cx:pt idx="62133">1</cx:pt>
          <cx:pt idx="62134">0</cx:pt>
          <cx:pt idx="62135">0</cx:pt>
          <cx:pt idx="62136">0</cx:pt>
          <cx:pt idx="62137">0</cx:pt>
          <cx:pt idx="62138">0</cx:pt>
          <cx:pt idx="62139">1</cx:pt>
          <cx:pt idx="62140">0</cx:pt>
          <cx:pt idx="62141">1</cx:pt>
          <cx:pt idx="62142">1</cx:pt>
          <cx:pt idx="62143">1</cx:pt>
          <cx:pt idx="62144">1</cx:pt>
          <cx:pt idx="62145">0</cx:pt>
          <cx:pt idx="62146">1</cx:pt>
          <cx:pt idx="62147">0</cx:pt>
          <cx:pt idx="62148">1</cx:pt>
          <cx:pt idx="62149">0</cx:pt>
          <cx:pt idx="62150">0</cx:pt>
          <cx:pt idx="62151">0</cx:pt>
          <cx:pt idx="62152">0</cx:pt>
          <cx:pt idx="62153">0</cx:pt>
          <cx:pt idx="62154">0</cx:pt>
          <cx:pt idx="62155">0</cx:pt>
          <cx:pt idx="62156">0</cx:pt>
          <cx:pt idx="62157">0</cx:pt>
          <cx:pt idx="62158">0</cx:pt>
          <cx:pt idx="62159">0</cx:pt>
          <cx:pt idx="62160">1</cx:pt>
          <cx:pt idx="62161">1</cx:pt>
          <cx:pt idx="62162">1</cx:pt>
          <cx:pt idx="62163">0</cx:pt>
          <cx:pt idx="62164">1</cx:pt>
          <cx:pt idx="62165">0</cx:pt>
          <cx:pt idx="62166">1</cx:pt>
          <cx:pt idx="62167">1</cx:pt>
          <cx:pt idx="62168">1</cx:pt>
          <cx:pt idx="62169">1</cx:pt>
          <cx:pt idx="62170">1</cx:pt>
          <cx:pt idx="62171">1</cx:pt>
          <cx:pt idx="62172">0</cx:pt>
          <cx:pt idx="62173">1</cx:pt>
          <cx:pt idx="62174">0</cx:pt>
          <cx:pt idx="62175">1</cx:pt>
          <cx:pt idx="62176">0</cx:pt>
          <cx:pt idx="62177">0</cx:pt>
          <cx:pt idx="62178">1</cx:pt>
          <cx:pt idx="62179">0</cx:pt>
          <cx:pt idx="62180">0</cx:pt>
          <cx:pt idx="62181">1</cx:pt>
          <cx:pt idx="62182">1</cx:pt>
          <cx:pt idx="62183">0</cx:pt>
          <cx:pt idx="62184">1</cx:pt>
          <cx:pt idx="62185">0</cx:pt>
          <cx:pt idx="62186">0</cx:pt>
          <cx:pt idx="62187">0</cx:pt>
          <cx:pt idx="62188">0</cx:pt>
          <cx:pt idx="62189">1</cx:pt>
          <cx:pt idx="62190">0</cx:pt>
          <cx:pt idx="62191">0</cx:pt>
          <cx:pt idx="62192">1</cx:pt>
          <cx:pt idx="62193">1</cx:pt>
          <cx:pt idx="62194">0</cx:pt>
          <cx:pt idx="62195">0</cx:pt>
          <cx:pt idx="62196">1</cx:pt>
          <cx:pt idx="62197">0</cx:pt>
          <cx:pt idx="62198">1</cx:pt>
          <cx:pt idx="62199">0</cx:pt>
          <cx:pt idx="62200">0</cx:pt>
          <cx:pt idx="62201">1</cx:pt>
          <cx:pt idx="62202">0</cx:pt>
          <cx:pt idx="62203">0</cx:pt>
          <cx:pt idx="62204">0</cx:pt>
          <cx:pt idx="62205">1</cx:pt>
          <cx:pt idx="62206">0</cx:pt>
          <cx:pt idx="62207">1</cx:pt>
          <cx:pt idx="62208">1</cx:pt>
          <cx:pt idx="62209">0</cx:pt>
          <cx:pt idx="62210">0</cx:pt>
          <cx:pt idx="62211">0</cx:pt>
          <cx:pt idx="62212">1</cx:pt>
          <cx:pt idx="62213">0</cx:pt>
          <cx:pt idx="62214">0</cx:pt>
          <cx:pt idx="62215">0</cx:pt>
          <cx:pt idx="62216">1</cx:pt>
          <cx:pt idx="62217">1</cx:pt>
          <cx:pt idx="62218">1</cx:pt>
          <cx:pt idx="62219">0</cx:pt>
          <cx:pt idx="62220">0</cx:pt>
          <cx:pt idx="62221">0</cx:pt>
          <cx:pt idx="62222">0</cx:pt>
          <cx:pt idx="62223">0</cx:pt>
          <cx:pt idx="62224">0</cx:pt>
          <cx:pt idx="62225">0</cx:pt>
          <cx:pt idx="62226">0</cx:pt>
          <cx:pt idx="62227">1</cx:pt>
          <cx:pt idx="62228">0</cx:pt>
          <cx:pt idx="62229">1</cx:pt>
          <cx:pt idx="62230">0</cx:pt>
          <cx:pt idx="62231">1</cx:pt>
          <cx:pt idx="62232">0</cx:pt>
          <cx:pt idx="62233">1</cx:pt>
          <cx:pt idx="62234">0</cx:pt>
          <cx:pt idx="62235">0</cx:pt>
          <cx:pt idx="62236">1</cx:pt>
          <cx:pt idx="62237">0</cx:pt>
          <cx:pt idx="62238">1</cx:pt>
          <cx:pt idx="62239">1</cx:pt>
          <cx:pt idx="62240">0</cx:pt>
          <cx:pt idx="62241">0</cx:pt>
          <cx:pt idx="62242">0</cx:pt>
          <cx:pt idx="62243">1</cx:pt>
          <cx:pt idx="62244">1</cx:pt>
          <cx:pt idx="62245">0</cx:pt>
          <cx:pt idx="62246">0</cx:pt>
          <cx:pt idx="62247">0</cx:pt>
          <cx:pt idx="62248">0</cx:pt>
          <cx:pt idx="62249">0</cx:pt>
          <cx:pt idx="62250">0</cx:pt>
          <cx:pt idx="62251">0</cx:pt>
          <cx:pt idx="62252">0</cx:pt>
          <cx:pt idx="62253">0</cx:pt>
          <cx:pt idx="62254">0</cx:pt>
          <cx:pt idx="62255">0</cx:pt>
          <cx:pt idx="62256">0</cx:pt>
          <cx:pt idx="62257">0</cx:pt>
          <cx:pt idx="62258">0</cx:pt>
          <cx:pt idx="62259">0</cx:pt>
          <cx:pt idx="62260">0</cx:pt>
          <cx:pt idx="62261">1</cx:pt>
          <cx:pt idx="62262">0</cx:pt>
          <cx:pt idx="62263">0</cx:pt>
          <cx:pt idx="62264">1</cx:pt>
          <cx:pt idx="62265">1</cx:pt>
          <cx:pt idx="62266">0</cx:pt>
          <cx:pt idx="62267">1</cx:pt>
          <cx:pt idx="62268">0</cx:pt>
          <cx:pt idx="62269">1</cx:pt>
          <cx:pt idx="62270">1</cx:pt>
          <cx:pt idx="62271">1</cx:pt>
          <cx:pt idx="62272">1</cx:pt>
          <cx:pt idx="62273">0</cx:pt>
          <cx:pt idx="62274">1</cx:pt>
          <cx:pt idx="62275">0</cx:pt>
          <cx:pt idx="62276">0</cx:pt>
          <cx:pt idx="62277">0</cx:pt>
          <cx:pt idx="62278">1</cx:pt>
          <cx:pt idx="62279">1</cx:pt>
          <cx:pt idx="62280">1</cx:pt>
          <cx:pt idx="62281">1</cx:pt>
          <cx:pt idx="62282">0</cx:pt>
          <cx:pt idx="62283">0</cx:pt>
          <cx:pt idx="62284">0</cx:pt>
          <cx:pt idx="62285">1</cx:pt>
          <cx:pt idx="62286">1</cx:pt>
          <cx:pt idx="62287">0</cx:pt>
          <cx:pt idx="62288">1</cx:pt>
          <cx:pt idx="62289">0</cx:pt>
          <cx:pt idx="62290">0</cx:pt>
          <cx:pt idx="62291">0</cx:pt>
          <cx:pt idx="62292">0</cx:pt>
          <cx:pt idx="62293">0</cx:pt>
          <cx:pt idx="62294">1</cx:pt>
          <cx:pt idx="62295">0</cx:pt>
          <cx:pt idx="62296">1</cx:pt>
          <cx:pt idx="62297">0</cx:pt>
          <cx:pt idx="62298">0</cx:pt>
          <cx:pt idx="62299">0</cx:pt>
          <cx:pt idx="62300">1</cx:pt>
          <cx:pt idx="62301">0</cx:pt>
          <cx:pt idx="62302">0</cx:pt>
          <cx:pt idx="62303">0</cx:pt>
          <cx:pt idx="62304">1</cx:pt>
          <cx:pt idx="62305">1</cx:pt>
          <cx:pt idx="62306">0</cx:pt>
          <cx:pt idx="62307">0</cx:pt>
          <cx:pt idx="62308">1</cx:pt>
          <cx:pt idx="62309">0</cx:pt>
          <cx:pt idx="62310">1</cx:pt>
          <cx:pt idx="62311">0</cx:pt>
          <cx:pt idx="62312">0</cx:pt>
          <cx:pt idx="62313">0</cx:pt>
          <cx:pt idx="62314">0</cx:pt>
          <cx:pt idx="62315">1</cx:pt>
          <cx:pt idx="62316">1</cx:pt>
          <cx:pt idx="62317">0</cx:pt>
          <cx:pt idx="62318">1</cx:pt>
          <cx:pt idx="62319">0</cx:pt>
          <cx:pt idx="62320">1</cx:pt>
          <cx:pt idx="62321">0</cx:pt>
          <cx:pt idx="62322">1</cx:pt>
          <cx:pt idx="62323">1</cx:pt>
          <cx:pt idx="62324">1</cx:pt>
          <cx:pt idx="62325">0</cx:pt>
          <cx:pt idx="62326">0</cx:pt>
          <cx:pt idx="62327">1</cx:pt>
          <cx:pt idx="62328">0</cx:pt>
          <cx:pt idx="62329">0</cx:pt>
          <cx:pt idx="62330">0</cx:pt>
          <cx:pt idx="62331">0</cx:pt>
          <cx:pt idx="62332">0</cx:pt>
          <cx:pt idx="62333">1</cx:pt>
          <cx:pt idx="62334">1</cx:pt>
          <cx:pt idx="62335">1</cx:pt>
          <cx:pt idx="62336">1</cx:pt>
          <cx:pt idx="62337">0</cx:pt>
          <cx:pt idx="62338">0</cx:pt>
          <cx:pt idx="62339">0</cx:pt>
          <cx:pt idx="62340">0</cx:pt>
          <cx:pt idx="62341">0</cx:pt>
          <cx:pt idx="62342">0</cx:pt>
          <cx:pt idx="62343">0</cx:pt>
          <cx:pt idx="62344">0</cx:pt>
          <cx:pt idx="62345">0</cx:pt>
          <cx:pt idx="62346">0</cx:pt>
          <cx:pt idx="62347">1</cx:pt>
          <cx:pt idx="62348">0</cx:pt>
          <cx:pt idx="62349">0</cx:pt>
          <cx:pt idx="62350">1</cx:pt>
          <cx:pt idx="62351">1</cx:pt>
          <cx:pt idx="62352">1</cx:pt>
          <cx:pt idx="62353">0</cx:pt>
          <cx:pt idx="62354">0</cx:pt>
          <cx:pt idx="62355">1</cx:pt>
          <cx:pt idx="62356">1</cx:pt>
          <cx:pt idx="62357">1</cx:pt>
          <cx:pt idx="62358">0</cx:pt>
          <cx:pt idx="62359">0</cx:pt>
          <cx:pt idx="62360">1</cx:pt>
          <cx:pt idx="62361">1</cx:pt>
          <cx:pt idx="62362">1</cx:pt>
          <cx:pt idx="62363">0</cx:pt>
          <cx:pt idx="62364">1</cx:pt>
          <cx:pt idx="62365">0</cx:pt>
          <cx:pt idx="62366">0</cx:pt>
          <cx:pt idx="62367">0</cx:pt>
          <cx:pt idx="62368">1</cx:pt>
          <cx:pt idx="62369">1</cx:pt>
          <cx:pt idx="62370">0</cx:pt>
          <cx:pt idx="62371">0</cx:pt>
          <cx:pt idx="62372">1</cx:pt>
          <cx:pt idx="62373">1</cx:pt>
          <cx:pt idx="62374">0</cx:pt>
          <cx:pt idx="62375">0</cx:pt>
          <cx:pt idx="62376">0</cx:pt>
          <cx:pt idx="62377">0</cx:pt>
          <cx:pt idx="62378">1</cx:pt>
          <cx:pt idx="62379">1</cx:pt>
          <cx:pt idx="62380">0</cx:pt>
          <cx:pt idx="62381">0</cx:pt>
          <cx:pt idx="62382">0</cx:pt>
          <cx:pt idx="62383">1</cx:pt>
          <cx:pt idx="62384">1</cx:pt>
          <cx:pt idx="62385">1</cx:pt>
          <cx:pt idx="62386">1</cx:pt>
          <cx:pt idx="62387">0</cx:pt>
          <cx:pt idx="62388">0</cx:pt>
          <cx:pt idx="62389">0</cx:pt>
          <cx:pt idx="62390">0</cx:pt>
          <cx:pt idx="62391">1</cx:pt>
          <cx:pt idx="62392">0</cx:pt>
          <cx:pt idx="62393">1</cx:pt>
          <cx:pt idx="62394">0</cx:pt>
          <cx:pt idx="62395">1</cx:pt>
          <cx:pt idx="62396">0</cx:pt>
          <cx:pt idx="62397">1</cx:pt>
          <cx:pt idx="62398">0</cx:pt>
          <cx:pt idx="62399">1</cx:pt>
          <cx:pt idx="62400">1</cx:pt>
          <cx:pt idx="62401">0</cx:pt>
          <cx:pt idx="62402">0</cx:pt>
          <cx:pt idx="62403">1</cx:pt>
          <cx:pt idx="62404">1</cx:pt>
          <cx:pt idx="62405">1</cx:pt>
          <cx:pt idx="62406">0</cx:pt>
          <cx:pt idx="62407">0</cx:pt>
          <cx:pt idx="62408">0</cx:pt>
          <cx:pt idx="62409">0</cx:pt>
          <cx:pt idx="62410">1</cx:pt>
          <cx:pt idx="62411">1</cx:pt>
          <cx:pt idx="62412">1</cx:pt>
          <cx:pt idx="62413">0</cx:pt>
          <cx:pt idx="62414">1</cx:pt>
          <cx:pt idx="62415">0</cx:pt>
          <cx:pt idx="62416">0</cx:pt>
          <cx:pt idx="62417">0</cx:pt>
          <cx:pt idx="62418">1</cx:pt>
          <cx:pt idx="62419">0</cx:pt>
          <cx:pt idx="62420">0</cx:pt>
          <cx:pt idx="62421">0</cx:pt>
          <cx:pt idx="62422">1</cx:pt>
          <cx:pt idx="62423">1</cx:pt>
          <cx:pt idx="62424">1</cx:pt>
          <cx:pt idx="62425">0</cx:pt>
          <cx:pt idx="62426">0</cx:pt>
          <cx:pt idx="62427">0</cx:pt>
          <cx:pt idx="62428">0</cx:pt>
          <cx:pt idx="62429">1</cx:pt>
          <cx:pt idx="62430">1</cx:pt>
          <cx:pt idx="62431">0</cx:pt>
          <cx:pt idx="62432">0</cx:pt>
          <cx:pt idx="62433">1</cx:pt>
          <cx:pt idx="62434">0</cx:pt>
          <cx:pt idx="62435">1</cx:pt>
          <cx:pt idx="62436">0</cx:pt>
          <cx:pt idx="62437">0</cx:pt>
          <cx:pt idx="62438">0</cx:pt>
          <cx:pt idx="62439">1</cx:pt>
          <cx:pt idx="62440">0</cx:pt>
          <cx:pt idx="62441">1</cx:pt>
          <cx:pt idx="62442">0</cx:pt>
          <cx:pt idx="62443">0</cx:pt>
          <cx:pt idx="62444">0</cx:pt>
          <cx:pt idx="62445">0</cx:pt>
          <cx:pt idx="62446">1</cx:pt>
          <cx:pt idx="62447">0</cx:pt>
          <cx:pt idx="62448">1</cx:pt>
          <cx:pt idx="62449">0</cx:pt>
          <cx:pt idx="62450">1</cx:pt>
          <cx:pt idx="62451">1</cx:pt>
          <cx:pt idx="62452">0</cx:pt>
          <cx:pt idx="62453">1</cx:pt>
          <cx:pt idx="62454">0</cx:pt>
          <cx:pt idx="62455">0</cx:pt>
          <cx:pt idx="62456">1</cx:pt>
          <cx:pt idx="62457">1</cx:pt>
          <cx:pt idx="62458">0</cx:pt>
          <cx:pt idx="62459">1</cx:pt>
          <cx:pt idx="62460">0</cx:pt>
          <cx:pt idx="62461">0</cx:pt>
          <cx:pt idx="62462">0</cx:pt>
          <cx:pt idx="62463">1</cx:pt>
          <cx:pt idx="62464">0</cx:pt>
          <cx:pt idx="62465">0</cx:pt>
          <cx:pt idx="62466">0</cx:pt>
          <cx:pt idx="62467">0</cx:pt>
          <cx:pt idx="62468">0</cx:pt>
          <cx:pt idx="62469">0</cx:pt>
          <cx:pt idx="62470">1</cx:pt>
          <cx:pt idx="62471">0</cx:pt>
          <cx:pt idx="62472">1</cx:pt>
          <cx:pt idx="62473">0</cx:pt>
          <cx:pt idx="62474">0</cx:pt>
          <cx:pt idx="62475">0</cx:pt>
          <cx:pt idx="62476">1</cx:pt>
          <cx:pt idx="62477">1</cx:pt>
          <cx:pt idx="62478">0</cx:pt>
          <cx:pt idx="62479">0</cx:pt>
          <cx:pt idx="62480">0</cx:pt>
          <cx:pt idx="62481">0</cx:pt>
          <cx:pt idx="62482">1</cx:pt>
          <cx:pt idx="62483">0</cx:pt>
          <cx:pt idx="62484">1</cx:pt>
          <cx:pt idx="62485">1</cx:pt>
          <cx:pt idx="62486">0</cx:pt>
          <cx:pt idx="62487">1</cx:pt>
          <cx:pt idx="62488">0</cx:pt>
          <cx:pt idx="62489">1</cx:pt>
          <cx:pt idx="62490">0</cx:pt>
          <cx:pt idx="62491">0</cx:pt>
          <cx:pt idx="62492">0</cx:pt>
          <cx:pt idx="62493">0</cx:pt>
          <cx:pt idx="62494">0</cx:pt>
          <cx:pt idx="62495">0</cx:pt>
          <cx:pt idx="62496">1</cx:pt>
          <cx:pt idx="62497">0</cx:pt>
          <cx:pt idx="62498">1</cx:pt>
          <cx:pt idx="62499">1</cx:pt>
          <cx:pt idx="62500">1</cx:pt>
          <cx:pt idx="62501">0</cx:pt>
          <cx:pt idx="62502">0</cx:pt>
          <cx:pt idx="62503">0</cx:pt>
          <cx:pt idx="62504">1</cx:pt>
          <cx:pt idx="62505">0</cx:pt>
          <cx:pt idx="62506">1</cx:pt>
          <cx:pt idx="62507">0</cx:pt>
          <cx:pt idx="62508">0</cx:pt>
          <cx:pt idx="62509">1</cx:pt>
          <cx:pt idx="62510">0</cx:pt>
          <cx:pt idx="62511">0</cx:pt>
          <cx:pt idx="62512">0</cx:pt>
          <cx:pt idx="62513">1</cx:pt>
          <cx:pt idx="62514">0</cx:pt>
          <cx:pt idx="62515">1</cx:pt>
          <cx:pt idx="62516">0</cx:pt>
          <cx:pt idx="62517">0</cx:pt>
          <cx:pt idx="62518">1</cx:pt>
          <cx:pt idx="62519">1</cx:pt>
          <cx:pt idx="62520">0</cx:pt>
          <cx:pt idx="62521">1</cx:pt>
          <cx:pt idx="62522">1</cx:pt>
          <cx:pt idx="62523">1</cx:pt>
          <cx:pt idx="62524">1</cx:pt>
          <cx:pt idx="62525">1</cx:pt>
          <cx:pt idx="62526">0</cx:pt>
          <cx:pt idx="62527">1</cx:pt>
          <cx:pt idx="62528">0</cx:pt>
          <cx:pt idx="62529">0</cx:pt>
          <cx:pt idx="62530">0</cx:pt>
          <cx:pt idx="62531">0</cx:pt>
          <cx:pt idx="62532">0</cx:pt>
          <cx:pt idx="62533">1</cx:pt>
          <cx:pt idx="62534">1</cx:pt>
          <cx:pt idx="62535">0</cx:pt>
          <cx:pt idx="62536">1</cx:pt>
          <cx:pt idx="62537">1</cx:pt>
          <cx:pt idx="62538">1</cx:pt>
          <cx:pt idx="62539">0</cx:pt>
          <cx:pt idx="62540">0</cx:pt>
          <cx:pt idx="62541">0</cx:pt>
          <cx:pt idx="62542">1</cx:pt>
          <cx:pt idx="62543">1</cx:pt>
          <cx:pt idx="62544">0</cx:pt>
          <cx:pt idx="62545">0</cx:pt>
          <cx:pt idx="62546">0</cx:pt>
          <cx:pt idx="62547">0</cx:pt>
          <cx:pt idx="62548">0</cx:pt>
          <cx:pt idx="62549">0</cx:pt>
          <cx:pt idx="62550">0</cx:pt>
          <cx:pt idx="62551">0</cx:pt>
          <cx:pt idx="62552">0</cx:pt>
          <cx:pt idx="62553">1</cx:pt>
          <cx:pt idx="62554">1</cx:pt>
          <cx:pt idx="62555">1</cx:pt>
          <cx:pt idx="62556">1</cx:pt>
          <cx:pt idx="62557">0</cx:pt>
          <cx:pt idx="62558">0</cx:pt>
          <cx:pt idx="62559">0</cx:pt>
          <cx:pt idx="62560">0</cx:pt>
          <cx:pt idx="62561">0</cx:pt>
          <cx:pt idx="62562">0</cx:pt>
          <cx:pt idx="62563">1</cx:pt>
          <cx:pt idx="62564">0</cx:pt>
          <cx:pt idx="62565">0</cx:pt>
          <cx:pt idx="62566">0</cx:pt>
          <cx:pt idx="62567">0</cx:pt>
          <cx:pt idx="62568">0</cx:pt>
          <cx:pt idx="62569">1</cx:pt>
          <cx:pt idx="62570">0</cx:pt>
          <cx:pt idx="62571">1</cx:pt>
          <cx:pt idx="62572">1</cx:pt>
          <cx:pt idx="62573">0</cx:pt>
          <cx:pt idx="62574">0</cx:pt>
          <cx:pt idx="62575">0</cx:pt>
          <cx:pt idx="62576">0</cx:pt>
          <cx:pt idx="62577">0</cx:pt>
          <cx:pt idx="62578">0</cx:pt>
          <cx:pt idx="62579">1</cx:pt>
          <cx:pt idx="62580">1</cx:pt>
          <cx:pt idx="62581">1</cx:pt>
          <cx:pt idx="62582">1</cx:pt>
          <cx:pt idx="62583">1</cx:pt>
          <cx:pt idx="62584">0</cx:pt>
          <cx:pt idx="62585">0</cx:pt>
          <cx:pt idx="62586">0</cx:pt>
          <cx:pt idx="62587">1</cx:pt>
          <cx:pt idx="62588">0</cx:pt>
          <cx:pt idx="62589">0</cx:pt>
          <cx:pt idx="62590">0</cx:pt>
          <cx:pt idx="62591">0</cx:pt>
          <cx:pt idx="62592">0</cx:pt>
          <cx:pt idx="62593">0</cx:pt>
          <cx:pt idx="62594">0</cx:pt>
          <cx:pt idx="62595">1</cx:pt>
          <cx:pt idx="62596">0</cx:pt>
          <cx:pt idx="62597">1</cx:pt>
          <cx:pt idx="62598">1</cx:pt>
          <cx:pt idx="62599">0</cx:pt>
          <cx:pt idx="62600">0</cx:pt>
          <cx:pt idx="62601">1</cx:pt>
          <cx:pt idx="62602">0</cx:pt>
          <cx:pt idx="62603">1</cx:pt>
          <cx:pt idx="62604">1</cx:pt>
          <cx:pt idx="62605">0</cx:pt>
          <cx:pt idx="62606">0</cx:pt>
          <cx:pt idx="62607">1</cx:pt>
          <cx:pt idx="62608">1</cx:pt>
          <cx:pt idx="62609">0</cx:pt>
          <cx:pt idx="62610">0</cx:pt>
          <cx:pt idx="62611">0</cx:pt>
          <cx:pt idx="62612">1</cx:pt>
          <cx:pt idx="62613">0</cx:pt>
          <cx:pt idx="62614">1</cx:pt>
          <cx:pt idx="62615">1</cx:pt>
          <cx:pt idx="62616">1</cx:pt>
          <cx:pt idx="62617">0</cx:pt>
          <cx:pt idx="62618">1</cx:pt>
          <cx:pt idx="62619">1</cx:pt>
          <cx:pt idx="62620">0</cx:pt>
          <cx:pt idx="62621">0</cx:pt>
          <cx:pt idx="62622">0</cx:pt>
          <cx:pt idx="62623">1</cx:pt>
          <cx:pt idx="62624">0</cx:pt>
          <cx:pt idx="62625">1</cx:pt>
          <cx:pt idx="62626">1</cx:pt>
          <cx:pt idx="62627">0</cx:pt>
          <cx:pt idx="62628">1</cx:pt>
          <cx:pt idx="62629">0</cx:pt>
          <cx:pt idx="62630">1</cx:pt>
          <cx:pt idx="62631">0</cx:pt>
          <cx:pt idx="62632">0</cx:pt>
          <cx:pt idx="62633">1</cx:pt>
          <cx:pt idx="62634">1</cx:pt>
          <cx:pt idx="62635">1</cx:pt>
          <cx:pt idx="62636">0</cx:pt>
          <cx:pt idx="62637">0</cx:pt>
          <cx:pt idx="62638">0</cx:pt>
          <cx:pt idx="62639">1</cx:pt>
          <cx:pt idx="62640">0</cx:pt>
          <cx:pt idx="62641">0</cx:pt>
          <cx:pt idx="62642">0</cx:pt>
          <cx:pt idx="62643">0</cx:pt>
          <cx:pt idx="62644">1</cx:pt>
          <cx:pt idx="62645">0</cx:pt>
          <cx:pt idx="62646">0</cx:pt>
          <cx:pt idx="62647">0</cx:pt>
          <cx:pt idx="62648">1</cx:pt>
          <cx:pt idx="62649">0</cx:pt>
          <cx:pt idx="62650">0</cx:pt>
          <cx:pt idx="62651">1</cx:pt>
          <cx:pt idx="62652">1</cx:pt>
          <cx:pt idx="62653">0</cx:pt>
          <cx:pt idx="62654">1</cx:pt>
          <cx:pt idx="62655">1</cx:pt>
          <cx:pt idx="62656">1</cx:pt>
          <cx:pt idx="62657">1</cx:pt>
          <cx:pt idx="62658">0</cx:pt>
          <cx:pt idx="62659">0</cx:pt>
          <cx:pt idx="62660">1</cx:pt>
          <cx:pt idx="62661">0</cx:pt>
          <cx:pt idx="62662">1</cx:pt>
          <cx:pt idx="62663">1</cx:pt>
          <cx:pt idx="62664">0</cx:pt>
          <cx:pt idx="62665">0</cx:pt>
          <cx:pt idx="62666">1</cx:pt>
          <cx:pt idx="62667">0</cx:pt>
          <cx:pt idx="62668">1</cx:pt>
          <cx:pt idx="62669">0</cx:pt>
          <cx:pt idx="62670">0</cx:pt>
          <cx:pt idx="62671">0</cx:pt>
          <cx:pt idx="62672">0</cx:pt>
          <cx:pt idx="62673">1</cx:pt>
          <cx:pt idx="62674">1</cx:pt>
          <cx:pt idx="62675">1</cx:pt>
          <cx:pt idx="62676">0</cx:pt>
          <cx:pt idx="62677">0</cx:pt>
          <cx:pt idx="62678">0</cx:pt>
          <cx:pt idx="62679">0</cx:pt>
          <cx:pt idx="62680">1</cx:pt>
          <cx:pt idx="62681">1</cx:pt>
          <cx:pt idx="62682">0</cx:pt>
          <cx:pt idx="62683">0</cx:pt>
          <cx:pt idx="62684">0</cx:pt>
          <cx:pt idx="62685">1</cx:pt>
          <cx:pt idx="62686">1</cx:pt>
          <cx:pt idx="62687">0</cx:pt>
          <cx:pt idx="62688">1</cx:pt>
          <cx:pt idx="62689">1</cx:pt>
          <cx:pt idx="62690">0</cx:pt>
          <cx:pt idx="62691">1</cx:pt>
          <cx:pt idx="62692">0</cx:pt>
          <cx:pt idx="62693">0</cx:pt>
          <cx:pt idx="62694">0</cx:pt>
          <cx:pt idx="62695">1</cx:pt>
          <cx:pt idx="62696">0</cx:pt>
          <cx:pt idx="62697">1</cx:pt>
          <cx:pt idx="62698">0</cx:pt>
          <cx:pt idx="62699">0</cx:pt>
          <cx:pt idx="62700">0</cx:pt>
          <cx:pt idx="62701">0</cx:pt>
          <cx:pt idx="62702">1</cx:pt>
          <cx:pt idx="62703">1</cx:pt>
          <cx:pt idx="62704">1</cx:pt>
          <cx:pt idx="62705">0</cx:pt>
          <cx:pt idx="62706">1</cx:pt>
          <cx:pt idx="62707">1</cx:pt>
          <cx:pt idx="62708">0</cx:pt>
          <cx:pt idx="62709">1</cx:pt>
          <cx:pt idx="62710">0</cx:pt>
          <cx:pt idx="62711">1</cx:pt>
          <cx:pt idx="62712">1</cx:pt>
          <cx:pt idx="62713">1</cx:pt>
          <cx:pt idx="62714">0</cx:pt>
          <cx:pt idx="62715">1</cx:pt>
          <cx:pt idx="62716">0</cx:pt>
          <cx:pt idx="62717">1</cx:pt>
          <cx:pt idx="62718">0</cx:pt>
          <cx:pt idx="62719">0</cx:pt>
          <cx:pt idx="62720">1</cx:pt>
          <cx:pt idx="62721">1</cx:pt>
          <cx:pt idx="62722">0</cx:pt>
          <cx:pt idx="62723">1</cx:pt>
          <cx:pt idx="62724">1</cx:pt>
          <cx:pt idx="62725">1</cx:pt>
          <cx:pt idx="62726">1</cx:pt>
          <cx:pt idx="62727">0</cx:pt>
          <cx:pt idx="62728">0</cx:pt>
          <cx:pt idx="62729">1</cx:pt>
          <cx:pt idx="62730">0</cx:pt>
          <cx:pt idx="62731">1</cx:pt>
          <cx:pt idx="62732">1</cx:pt>
          <cx:pt idx="62733">1</cx:pt>
          <cx:pt idx="62734">1</cx:pt>
          <cx:pt idx="62735">0</cx:pt>
          <cx:pt idx="62736">1</cx:pt>
          <cx:pt idx="62737">0</cx:pt>
          <cx:pt idx="62738">0</cx:pt>
          <cx:pt idx="62739">1</cx:pt>
          <cx:pt idx="62740">1</cx:pt>
          <cx:pt idx="62741">1</cx:pt>
          <cx:pt idx="62742">0</cx:pt>
          <cx:pt idx="62743">1</cx:pt>
          <cx:pt idx="62744">1</cx:pt>
          <cx:pt idx="62745">0</cx:pt>
          <cx:pt idx="62746">1</cx:pt>
          <cx:pt idx="62747">0</cx:pt>
          <cx:pt idx="62748">1</cx:pt>
          <cx:pt idx="62749">0</cx:pt>
          <cx:pt idx="62750">1</cx:pt>
          <cx:pt idx="62751">0</cx:pt>
          <cx:pt idx="62752">0</cx:pt>
          <cx:pt idx="62753">0</cx:pt>
          <cx:pt idx="62754">0</cx:pt>
          <cx:pt idx="62755">0</cx:pt>
          <cx:pt idx="62756">1</cx:pt>
          <cx:pt idx="62757">1</cx:pt>
          <cx:pt idx="62758">1</cx:pt>
          <cx:pt idx="62759">1</cx:pt>
          <cx:pt idx="62760">1</cx:pt>
          <cx:pt idx="62761">1</cx:pt>
          <cx:pt idx="62762">0</cx:pt>
          <cx:pt idx="62763">1</cx:pt>
          <cx:pt idx="62764">0</cx:pt>
          <cx:pt idx="62765">1</cx:pt>
          <cx:pt idx="62766">0</cx:pt>
          <cx:pt idx="62767">1</cx:pt>
          <cx:pt idx="62768">0</cx:pt>
          <cx:pt idx="62769">1</cx:pt>
          <cx:pt idx="62770">1</cx:pt>
          <cx:pt idx="62771">0</cx:pt>
          <cx:pt idx="62772">1</cx:pt>
          <cx:pt idx="62773">0</cx:pt>
          <cx:pt idx="62774">1</cx:pt>
          <cx:pt idx="62775">0</cx:pt>
          <cx:pt idx="62776">1</cx:pt>
          <cx:pt idx="62777">0</cx:pt>
          <cx:pt idx="62778">0</cx:pt>
          <cx:pt idx="62779">0</cx:pt>
          <cx:pt idx="62780">0</cx:pt>
          <cx:pt idx="62781">1</cx:pt>
          <cx:pt idx="62782">1</cx:pt>
          <cx:pt idx="62783">1</cx:pt>
          <cx:pt idx="62784">0</cx:pt>
          <cx:pt idx="62785">0</cx:pt>
          <cx:pt idx="62786">1</cx:pt>
          <cx:pt idx="62787">0</cx:pt>
          <cx:pt idx="62788">0</cx:pt>
          <cx:pt idx="62789">1</cx:pt>
          <cx:pt idx="62790">0</cx:pt>
          <cx:pt idx="62791">0</cx:pt>
          <cx:pt idx="62792">0</cx:pt>
          <cx:pt idx="62793">0</cx:pt>
          <cx:pt idx="62794">1</cx:pt>
          <cx:pt idx="62795">0</cx:pt>
          <cx:pt idx="62796">0</cx:pt>
          <cx:pt idx="62797">0</cx:pt>
          <cx:pt idx="62798">1</cx:pt>
          <cx:pt idx="62799">0</cx:pt>
          <cx:pt idx="62800">0</cx:pt>
          <cx:pt idx="62801">1</cx:pt>
          <cx:pt idx="62802">0</cx:pt>
          <cx:pt idx="62803">1</cx:pt>
          <cx:pt idx="62804">0</cx:pt>
          <cx:pt idx="62805">0</cx:pt>
          <cx:pt idx="62806">0</cx:pt>
          <cx:pt idx="62807">0</cx:pt>
          <cx:pt idx="62808">1</cx:pt>
          <cx:pt idx="62809">1</cx:pt>
          <cx:pt idx="62810">0</cx:pt>
          <cx:pt idx="62811">0</cx:pt>
          <cx:pt idx="62812">0</cx:pt>
          <cx:pt idx="62813">0</cx:pt>
          <cx:pt idx="62814">1</cx:pt>
          <cx:pt idx="62815">0</cx:pt>
          <cx:pt idx="62816">1</cx:pt>
          <cx:pt idx="62817">1</cx:pt>
          <cx:pt idx="62818">1</cx:pt>
          <cx:pt idx="62819">1</cx:pt>
          <cx:pt idx="62820">1</cx:pt>
          <cx:pt idx="62821">1</cx:pt>
          <cx:pt idx="62822">0</cx:pt>
          <cx:pt idx="62823">0</cx:pt>
          <cx:pt idx="62824">1</cx:pt>
          <cx:pt idx="62825">0</cx:pt>
          <cx:pt idx="62826">1</cx:pt>
          <cx:pt idx="62827">0</cx:pt>
          <cx:pt idx="62828">1</cx:pt>
          <cx:pt idx="62829">0</cx:pt>
          <cx:pt idx="62830">0</cx:pt>
          <cx:pt idx="62831">1</cx:pt>
          <cx:pt idx="62832">0</cx:pt>
          <cx:pt idx="62833">1</cx:pt>
          <cx:pt idx="62834">1</cx:pt>
          <cx:pt idx="62835">1</cx:pt>
          <cx:pt idx="62836">0</cx:pt>
          <cx:pt idx="62837">0</cx:pt>
          <cx:pt idx="62838">0</cx:pt>
          <cx:pt idx="62839">0</cx:pt>
          <cx:pt idx="62840">1</cx:pt>
          <cx:pt idx="62841">1</cx:pt>
          <cx:pt idx="62842">0</cx:pt>
          <cx:pt idx="62843">0</cx:pt>
          <cx:pt idx="62844">0</cx:pt>
          <cx:pt idx="62845">0</cx:pt>
          <cx:pt idx="62846">0</cx:pt>
          <cx:pt idx="62847">0</cx:pt>
          <cx:pt idx="62848">0</cx:pt>
          <cx:pt idx="62849">0</cx:pt>
          <cx:pt idx="62850">0</cx:pt>
          <cx:pt idx="62851">1</cx:pt>
          <cx:pt idx="62852">0</cx:pt>
          <cx:pt idx="62853">1</cx:pt>
          <cx:pt idx="62854">0</cx:pt>
          <cx:pt idx="62855">0</cx:pt>
          <cx:pt idx="62856">0</cx:pt>
          <cx:pt idx="62857">0</cx:pt>
          <cx:pt idx="62858">0</cx:pt>
          <cx:pt idx="62859">0</cx:pt>
          <cx:pt idx="62860">0</cx:pt>
          <cx:pt idx="62861">0</cx:pt>
          <cx:pt idx="62862">1</cx:pt>
          <cx:pt idx="62863">0</cx:pt>
          <cx:pt idx="62864">1</cx:pt>
          <cx:pt idx="62865">1</cx:pt>
          <cx:pt idx="62866">1</cx:pt>
          <cx:pt idx="62867">0</cx:pt>
          <cx:pt idx="62868">1</cx:pt>
          <cx:pt idx="62869">1</cx:pt>
          <cx:pt idx="62870">0</cx:pt>
          <cx:pt idx="62871">0</cx:pt>
          <cx:pt idx="62872">1</cx:pt>
          <cx:pt idx="62873">0</cx:pt>
          <cx:pt idx="62874">0</cx:pt>
          <cx:pt idx="62875">0</cx:pt>
          <cx:pt idx="62876">1</cx:pt>
          <cx:pt idx="62877">0</cx:pt>
          <cx:pt idx="62878">1</cx:pt>
          <cx:pt idx="62879">0</cx:pt>
          <cx:pt idx="62880">1</cx:pt>
          <cx:pt idx="62881">0</cx:pt>
          <cx:pt idx="62882">0</cx:pt>
          <cx:pt idx="62883">0</cx:pt>
          <cx:pt idx="62884">0</cx:pt>
          <cx:pt idx="62885">0</cx:pt>
          <cx:pt idx="62886">0</cx:pt>
          <cx:pt idx="62887">1</cx:pt>
          <cx:pt idx="62888">1</cx:pt>
          <cx:pt idx="62889">0</cx:pt>
          <cx:pt idx="62890">0</cx:pt>
          <cx:pt idx="62891">0</cx:pt>
          <cx:pt idx="62892">1</cx:pt>
          <cx:pt idx="62893">0</cx:pt>
          <cx:pt idx="62894">1</cx:pt>
          <cx:pt idx="62895">0</cx:pt>
          <cx:pt idx="62896">0</cx:pt>
          <cx:pt idx="62897">0</cx:pt>
          <cx:pt idx="62898">0</cx:pt>
          <cx:pt idx="62899">0</cx:pt>
          <cx:pt idx="62900">0</cx:pt>
          <cx:pt idx="62901">0</cx:pt>
          <cx:pt idx="62902">0</cx:pt>
          <cx:pt idx="62903">0</cx:pt>
          <cx:pt idx="62904">0</cx:pt>
          <cx:pt idx="62905">1</cx:pt>
          <cx:pt idx="62906">1</cx:pt>
          <cx:pt idx="62907">0</cx:pt>
          <cx:pt idx="62908">0</cx:pt>
          <cx:pt idx="62909">0</cx:pt>
          <cx:pt idx="62910">1</cx:pt>
          <cx:pt idx="62911">1</cx:pt>
          <cx:pt idx="62912">1</cx:pt>
          <cx:pt idx="62913">1</cx:pt>
          <cx:pt idx="62914">1</cx:pt>
          <cx:pt idx="62915">0</cx:pt>
          <cx:pt idx="62916">1</cx:pt>
          <cx:pt idx="62917">0</cx:pt>
          <cx:pt idx="62918">0</cx:pt>
          <cx:pt idx="62919">0</cx:pt>
          <cx:pt idx="62920">0</cx:pt>
          <cx:pt idx="62921">0</cx:pt>
          <cx:pt idx="62922">1</cx:pt>
          <cx:pt idx="62923">0</cx:pt>
          <cx:pt idx="62924">1</cx:pt>
          <cx:pt idx="62925">1</cx:pt>
          <cx:pt idx="62926">0</cx:pt>
          <cx:pt idx="62927">0</cx:pt>
          <cx:pt idx="62928">0</cx:pt>
          <cx:pt idx="62929">0</cx:pt>
          <cx:pt idx="62930">1</cx:pt>
          <cx:pt idx="62931">0</cx:pt>
          <cx:pt idx="62932">1</cx:pt>
          <cx:pt idx="62933">0</cx:pt>
          <cx:pt idx="62934">0</cx:pt>
          <cx:pt idx="62935">0</cx:pt>
          <cx:pt idx="62936">0</cx:pt>
          <cx:pt idx="62937">1</cx:pt>
          <cx:pt idx="62938">0</cx:pt>
          <cx:pt idx="62939">0</cx:pt>
          <cx:pt idx="62940">0</cx:pt>
          <cx:pt idx="62941">0</cx:pt>
          <cx:pt idx="62942">1</cx:pt>
          <cx:pt idx="62943">1</cx:pt>
          <cx:pt idx="62944">1</cx:pt>
          <cx:pt idx="62945">0</cx:pt>
          <cx:pt idx="62946">0</cx:pt>
          <cx:pt idx="62947">1</cx:pt>
          <cx:pt idx="62948">0</cx:pt>
          <cx:pt idx="62949">0</cx:pt>
          <cx:pt idx="62950">0</cx:pt>
          <cx:pt idx="62951">1</cx:pt>
          <cx:pt idx="62952">0</cx:pt>
          <cx:pt idx="62953">0</cx:pt>
          <cx:pt idx="62954">0</cx:pt>
          <cx:pt idx="62955">0</cx:pt>
          <cx:pt idx="62956">1</cx:pt>
          <cx:pt idx="62957">0</cx:pt>
          <cx:pt idx="62958">1</cx:pt>
          <cx:pt idx="62959">1</cx:pt>
          <cx:pt idx="62960">0</cx:pt>
          <cx:pt idx="62961">0</cx:pt>
          <cx:pt idx="62962">1</cx:pt>
          <cx:pt idx="62963">1</cx:pt>
          <cx:pt idx="62964">0</cx:pt>
          <cx:pt idx="62965">0</cx:pt>
          <cx:pt idx="62966">0</cx:pt>
          <cx:pt idx="62967">1</cx:pt>
          <cx:pt idx="62968">1</cx:pt>
          <cx:pt idx="62969">0</cx:pt>
          <cx:pt idx="62970">1</cx:pt>
          <cx:pt idx="62971">1</cx:pt>
          <cx:pt idx="62972">0</cx:pt>
          <cx:pt idx="62973">0</cx:pt>
          <cx:pt idx="62974">0</cx:pt>
          <cx:pt idx="62975">1</cx:pt>
          <cx:pt idx="62976">1</cx:pt>
          <cx:pt idx="62977">0</cx:pt>
          <cx:pt idx="62978">0</cx:pt>
          <cx:pt idx="62979">0</cx:pt>
          <cx:pt idx="62980">1</cx:pt>
          <cx:pt idx="62981">0</cx:pt>
          <cx:pt idx="62982">1</cx:pt>
          <cx:pt idx="62983">0</cx:pt>
          <cx:pt idx="62984">1</cx:pt>
          <cx:pt idx="62985">0</cx:pt>
          <cx:pt idx="62986">0</cx:pt>
          <cx:pt idx="62987">0</cx:pt>
          <cx:pt idx="62988">0</cx:pt>
          <cx:pt idx="62989">0</cx:pt>
          <cx:pt idx="62990">0</cx:pt>
          <cx:pt idx="62991">0</cx:pt>
          <cx:pt idx="62992">1</cx:pt>
          <cx:pt idx="62993">1</cx:pt>
          <cx:pt idx="62994">1</cx:pt>
          <cx:pt idx="62995">0</cx:pt>
          <cx:pt idx="62996">1</cx:pt>
          <cx:pt idx="62997">1</cx:pt>
          <cx:pt idx="62998">1</cx:pt>
          <cx:pt idx="62999">0</cx:pt>
          <cx:pt idx="63000">0</cx:pt>
          <cx:pt idx="63001">0</cx:pt>
          <cx:pt idx="63002">1</cx:pt>
          <cx:pt idx="63003">1</cx:pt>
          <cx:pt idx="63004">0</cx:pt>
          <cx:pt idx="63005">0</cx:pt>
          <cx:pt idx="63006">0</cx:pt>
          <cx:pt idx="63007">0</cx:pt>
          <cx:pt idx="63008">0</cx:pt>
          <cx:pt idx="63009">1</cx:pt>
          <cx:pt idx="63010">1</cx:pt>
          <cx:pt idx="63011">0</cx:pt>
          <cx:pt idx="63012">1</cx:pt>
          <cx:pt idx="63013">0</cx:pt>
          <cx:pt idx="63014">1</cx:pt>
          <cx:pt idx="63015">0</cx:pt>
          <cx:pt idx="63016">0</cx:pt>
          <cx:pt idx="63017">0</cx:pt>
          <cx:pt idx="63018">1</cx:pt>
          <cx:pt idx="63019">0</cx:pt>
          <cx:pt idx="63020">1</cx:pt>
          <cx:pt idx="63021">0</cx:pt>
          <cx:pt idx="63022">0</cx:pt>
          <cx:pt idx="63023">0</cx:pt>
          <cx:pt idx="63024">0</cx:pt>
          <cx:pt idx="63025">0</cx:pt>
          <cx:pt idx="63026">0</cx:pt>
          <cx:pt idx="63027">0</cx:pt>
          <cx:pt idx="63028">1</cx:pt>
          <cx:pt idx="63029">0</cx:pt>
          <cx:pt idx="63030">1</cx:pt>
          <cx:pt idx="63031">0</cx:pt>
          <cx:pt idx="63032">0</cx:pt>
          <cx:pt idx="63033">1</cx:pt>
          <cx:pt idx="63034">1</cx:pt>
          <cx:pt idx="63035">0</cx:pt>
          <cx:pt idx="63036">1</cx:pt>
          <cx:pt idx="63037">1</cx:pt>
          <cx:pt idx="63038">1</cx:pt>
          <cx:pt idx="63039">1</cx:pt>
          <cx:pt idx="63040">0</cx:pt>
          <cx:pt idx="63041">0</cx:pt>
          <cx:pt idx="63042">0</cx:pt>
          <cx:pt idx="63043">1</cx:pt>
          <cx:pt idx="63044">1</cx:pt>
          <cx:pt idx="63045">0</cx:pt>
          <cx:pt idx="63046">0</cx:pt>
          <cx:pt idx="63047">0</cx:pt>
          <cx:pt idx="63048">0</cx:pt>
          <cx:pt idx="63049">0</cx:pt>
          <cx:pt idx="63050">1</cx:pt>
          <cx:pt idx="63051">1</cx:pt>
          <cx:pt idx="63052">1</cx:pt>
          <cx:pt idx="63053">1</cx:pt>
          <cx:pt idx="63054">1</cx:pt>
          <cx:pt idx="63055">0</cx:pt>
          <cx:pt idx="63056">0</cx:pt>
          <cx:pt idx="63057">1</cx:pt>
          <cx:pt idx="63058">0</cx:pt>
          <cx:pt idx="63059">0</cx:pt>
          <cx:pt idx="63060">1</cx:pt>
          <cx:pt idx="63061">0</cx:pt>
          <cx:pt idx="63062">1</cx:pt>
          <cx:pt idx="63063">0</cx:pt>
          <cx:pt idx="63064">1</cx:pt>
          <cx:pt idx="63065">1</cx:pt>
          <cx:pt idx="63066">1</cx:pt>
          <cx:pt idx="63067">1</cx:pt>
          <cx:pt idx="63068">0</cx:pt>
          <cx:pt idx="63069">0</cx:pt>
          <cx:pt idx="63070">1</cx:pt>
          <cx:pt idx="63071">0</cx:pt>
          <cx:pt idx="63072">1</cx:pt>
          <cx:pt idx="63073">1</cx:pt>
          <cx:pt idx="63074">0</cx:pt>
          <cx:pt idx="63075">1</cx:pt>
          <cx:pt idx="63076">1</cx:pt>
          <cx:pt idx="63077">1</cx:pt>
          <cx:pt idx="63078">1</cx:pt>
          <cx:pt idx="63079">0</cx:pt>
          <cx:pt idx="63080">1</cx:pt>
          <cx:pt idx="63081">0</cx:pt>
          <cx:pt idx="63082">1</cx:pt>
          <cx:pt idx="63083">0</cx:pt>
          <cx:pt idx="63084">1</cx:pt>
          <cx:pt idx="63085">0</cx:pt>
          <cx:pt idx="63086">0</cx:pt>
          <cx:pt idx="63087">0</cx:pt>
          <cx:pt idx="63088">0</cx:pt>
          <cx:pt idx="63089">0</cx:pt>
          <cx:pt idx="63090">1</cx:pt>
          <cx:pt idx="63091">1</cx:pt>
          <cx:pt idx="63092">1</cx:pt>
          <cx:pt idx="63093">1</cx:pt>
          <cx:pt idx="63094">0</cx:pt>
          <cx:pt idx="63095">1</cx:pt>
          <cx:pt idx="63096">1</cx:pt>
          <cx:pt idx="63097">0</cx:pt>
          <cx:pt idx="63098">0</cx:pt>
          <cx:pt idx="63099">1</cx:pt>
          <cx:pt idx="63100">0</cx:pt>
          <cx:pt idx="63101">0</cx:pt>
          <cx:pt idx="63102">0</cx:pt>
          <cx:pt idx="63103">1</cx:pt>
          <cx:pt idx="63104">1</cx:pt>
          <cx:pt idx="63105">0</cx:pt>
          <cx:pt idx="63106">0</cx:pt>
          <cx:pt idx="63107">0</cx:pt>
          <cx:pt idx="63108">0</cx:pt>
          <cx:pt idx="63109">1</cx:pt>
          <cx:pt idx="63110">1</cx:pt>
          <cx:pt idx="63111">0</cx:pt>
          <cx:pt idx="63112">0</cx:pt>
          <cx:pt idx="63113">0</cx:pt>
          <cx:pt idx="63114">0</cx:pt>
          <cx:pt idx="63115">0</cx:pt>
          <cx:pt idx="63116">1</cx:pt>
          <cx:pt idx="63117">1</cx:pt>
          <cx:pt idx="63118">0</cx:pt>
          <cx:pt idx="63119">0</cx:pt>
          <cx:pt idx="63120">0</cx:pt>
          <cx:pt idx="63121">0</cx:pt>
          <cx:pt idx="63122">0</cx:pt>
          <cx:pt idx="63123">1</cx:pt>
          <cx:pt idx="63124">0</cx:pt>
          <cx:pt idx="63125">0</cx:pt>
          <cx:pt idx="63126">0</cx:pt>
          <cx:pt idx="63127">0</cx:pt>
          <cx:pt idx="63128">1</cx:pt>
          <cx:pt idx="63129">0</cx:pt>
          <cx:pt idx="63130">1</cx:pt>
          <cx:pt idx="63131">1</cx:pt>
          <cx:pt idx="63132">0</cx:pt>
          <cx:pt idx="63133">1</cx:pt>
          <cx:pt idx="63134">0</cx:pt>
          <cx:pt idx="63135">1</cx:pt>
          <cx:pt idx="63136">1</cx:pt>
          <cx:pt idx="63137">1</cx:pt>
          <cx:pt idx="63138">1</cx:pt>
          <cx:pt idx="63139">0</cx:pt>
          <cx:pt idx="63140">1</cx:pt>
          <cx:pt idx="63141">1</cx:pt>
          <cx:pt idx="63142">0</cx:pt>
          <cx:pt idx="63143">0</cx:pt>
          <cx:pt idx="63144">1</cx:pt>
          <cx:pt idx="63145">1</cx:pt>
          <cx:pt idx="63146">0</cx:pt>
          <cx:pt idx="63147">0</cx:pt>
          <cx:pt idx="63148">1</cx:pt>
          <cx:pt idx="63149">0</cx:pt>
          <cx:pt idx="63150">0</cx:pt>
          <cx:pt idx="63151">1</cx:pt>
          <cx:pt idx="63152">0</cx:pt>
          <cx:pt idx="63153">0</cx:pt>
          <cx:pt idx="63154">1</cx:pt>
          <cx:pt idx="63155">1</cx:pt>
          <cx:pt idx="63156">1</cx:pt>
          <cx:pt idx="63157">1</cx:pt>
          <cx:pt idx="63158">0</cx:pt>
          <cx:pt idx="63159">0</cx:pt>
          <cx:pt idx="63160">0</cx:pt>
          <cx:pt idx="63161">0</cx:pt>
          <cx:pt idx="63162">1</cx:pt>
          <cx:pt idx="63163">0</cx:pt>
          <cx:pt idx="63164">1</cx:pt>
          <cx:pt idx="63165">1</cx:pt>
          <cx:pt idx="63166">1</cx:pt>
          <cx:pt idx="63167">0</cx:pt>
          <cx:pt idx="63168">1</cx:pt>
          <cx:pt idx="63169">0</cx:pt>
          <cx:pt idx="63170">0</cx:pt>
          <cx:pt idx="63171">0</cx:pt>
          <cx:pt idx="63172">1</cx:pt>
          <cx:pt idx="63173">1</cx:pt>
          <cx:pt idx="63174">0</cx:pt>
          <cx:pt idx="63175">1</cx:pt>
          <cx:pt idx="63176">0</cx:pt>
          <cx:pt idx="63177">1</cx:pt>
          <cx:pt idx="63178">1</cx:pt>
          <cx:pt idx="63179">0</cx:pt>
          <cx:pt idx="63180">0</cx:pt>
          <cx:pt idx="63181">1</cx:pt>
          <cx:pt idx="63182">0</cx:pt>
          <cx:pt idx="63183">0</cx:pt>
          <cx:pt idx="63184">1</cx:pt>
          <cx:pt idx="63185">0</cx:pt>
          <cx:pt idx="63186">0</cx:pt>
          <cx:pt idx="63187">0</cx:pt>
          <cx:pt idx="63188">0</cx:pt>
          <cx:pt idx="63189">1</cx:pt>
          <cx:pt idx="63190">1</cx:pt>
          <cx:pt idx="63191">0</cx:pt>
          <cx:pt idx="63192">0</cx:pt>
          <cx:pt idx="63193">0</cx:pt>
          <cx:pt idx="63194">1</cx:pt>
          <cx:pt idx="63195">1</cx:pt>
          <cx:pt idx="63196">0</cx:pt>
          <cx:pt idx="63197">0</cx:pt>
          <cx:pt idx="63198">0</cx:pt>
          <cx:pt idx="63199">0</cx:pt>
          <cx:pt idx="63200">1</cx:pt>
          <cx:pt idx="63201">0</cx:pt>
          <cx:pt idx="63202">0</cx:pt>
          <cx:pt idx="63203">0</cx:pt>
          <cx:pt idx="63204">0</cx:pt>
          <cx:pt idx="63205">1</cx:pt>
          <cx:pt idx="63206">1</cx:pt>
          <cx:pt idx="63207">1</cx:pt>
          <cx:pt idx="63208">0</cx:pt>
          <cx:pt idx="63209">0</cx:pt>
          <cx:pt idx="63210">0</cx:pt>
          <cx:pt idx="63211">0</cx:pt>
          <cx:pt idx="63212">1</cx:pt>
          <cx:pt idx="63213">1</cx:pt>
          <cx:pt idx="63214">1</cx:pt>
          <cx:pt idx="63215">0</cx:pt>
          <cx:pt idx="63216">0</cx:pt>
          <cx:pt idx="63217">0</cx:pt>
          <cx:pt idx="63218">0</cx:pt>
          <cx:pt idx="63219">0</cx:pt>
          <cx:pt idx="63220">0</cx:pt>
          <cx:pt idx="63221">0</cx:pt>
          <cx:pt idx="63222">1</cx:pt>
          <cx:pt idx="63223">0</cx:pt>
          <cx:pt idx="63224">0</cx:pt>
          <cx:pt idx="63225">1</cx:pt>
          <cx:pt idx="63226">0</cx:pt>
          <cx:pt idx="63227">0</cx:pt>
          <cx:pt idx="63228">0</cx:pt>
          <cx:pt idx="63229">0</cx:pt>
          <cx:pt idx="63230">0</cx:pt>
          <cx:pt idx="63231">0</cx:pt>
          <cx:pt idx="63232">0</cx:pt>
          <cx:pt idx="63233">0</cx:pt>
          <cx:pt idx="63234">0</cx:pt>
          <cx:pt idx="63235">0</cx:pt>
          <cx:pt idx="63236">1</cx:pt>
          <cx:pt idx="63237">1</cx:pt>
          <cx:pt idx="63238">0</cx:pt>
          <cx:pt idx="63239">0</cx:pt>
          <cx:pt idx="63240">1</cx:pt>
          <cx:pt idx="63241">0</cx:pt>
          <cx:pt idx="63242">1</cx:pt>
          <cx:pt idx="63243">0</cx:pt>
          <cx:pt idx="63244">0</cx:pt>
          <cx:pt idx="63245">0</cx:pt>
          <cx:pt idx="63246">0</cx:pt>
          <cx:pt idx="63247">0</cx:pt>
          <cx:pt idx="63248">0</cx:pt>
          <cx:pt idx="63249">1</cx:pt>
          <cx:pt idx="63250">1</cx:pt>
          <cx:pt idx="63251">0</cx:pt>
          <cx:pt idx="63252">1</cx:pt>
          <cx:pt idx="63253">0</cx:pt>
          <cx:pt idx="63254">1</cx:pt>
          <cx:pt idx="63255">0</cx:pt>
          <cx:pt idx="63256">0</cx:pt>
          <cx:pt idx="63257">0</cx:pt>
          <cx:pt idx="63258">0</cx:pt>
          <cx:pt idx="63259">1</cx:pt>
          <cx:pt idx="63260">0</cx:pt>
          <cx:pt idx="63261">0</cx:pt>
          <cx:pt idx="63262">0</cx:pt>
          <cx:pt idx="63263">0</cx:pt>
          <cx:pt idx="63264">1</cx:pt>
          <cx:pt idx="63265">1</cx:pt>
          <cx:pt idx="63266">0</cx:pt>
          <cx:pt idx="63267">0</cx:pt>
          <cx:pt idx="63268">0</cx:pt>
          <cx:pt idx="63269">1</cx:pt>
          <cx:pt idx="63270">0</cx:pt>
          <cx:pt idx="63271">0</cx:pt>
          <cx:pt idx="63272">0</cx:pt>
          <cx:pt idx="63273">1</cx:pt>
          <cx:pt idx="63274">1</cx:pt>
          <cx:pt idx="63275">1</cx:pt>
          <cx:pt idx="63276">1</cx:pt>
          <cx:pt idx="63277">1</cx:pt>
          <cx:pt idx="63278">0</cx:pt>
          <cx:pt idx="63279">0</cx:pt>
          <cx:pt idx="63280">0</cx:pt>
          <cx:pt idx="63281">0</cx:pt>
          <cx:pt idx="63282">1</cx:pt>
          <cx:pt idx="63283">1</cx:pt>
          <cx:pt idx="63284">1</cx:pt>
          <cx:pt idx="63285">1</cx:pt>
          <cx:pt idx="63286">0</cx:pt>
          <cx:pt idx="63287">0</cx:pt>
          <cx:pt idx="63288">0</cx:pt>
          <cx:pt idx="63289">1</cx:pt>
          <cx:pt idx="63290">0</cx:pt>
          <cx:pt idx="63291">0</cx:pt>
          <cx:pt idx="63292">1</cx:pt>
          <cx:pt idx="63293">0</cx:pt>
          <cx:pt idx="63294">0</cx:pt>
          <cx:pt idx="63295">1</cx:pt>
          <cx:pt idx="63296">1</cx:pt>
          <cx:pt idx="63297">1</cx:pt>
          <cx:pt idx="63298">0</cx:pt>
          <cx:pt idx="63299">1</cx:pt>
          <cx:pt idx="63300">1</cx:pt>
          <cx:pt idx="63301">0</cx:pt>
          <cx:pt idx="63302">0</cx:pt>
          <cx:pt idx="63303">1</cx:pt>
          <cx:pt idx="63304">0</cx:pt>
          <cx:pt idx="63305">0</cx:pt>
          <cx:pt idx="63306">0</cx:pt>
          <cx:pt idx="63307">1</cx:pt>
          <cx:pt idx="63308">0</cx:pt>
          <cx:pt idx="63309">0</cx:pt>
          <cx:pt idx="63310">0</cx:pt>
          <cx:pt idx="63311">1</cx:pt>
          <cx:pt idx="63312">0</cx:pt>
          <cx:pt idx="63313">1</cx:pt>
          <cx:pt idx="63314">1</cx:pt>
          <cx:pt idx="63315">1</cx:pt>
          <cx:pt idx="63316">0</cx:pt>
          <cx:pt idx="63317">0</cx:pt>
          <cx:pt idx="63318">0</cx:pt>
          <cx:pt idx="63319">1</cx:pt>
          <cx:pt idx="63320">1</cx:pt>
          <cx:pt idx="63321">1</cx:pt>
          <cx:pt idx="63322">1</cx:pt>
          <cx:pt idx="63323">0</cx:pt>
          <cx:pt idx="63324">1</cx:pt>
          <cx:pt idx="63325">1</cx:pt>
          <cx:pt idx="63326">1</cx:pt>
          <cx:pt idx="63327">0</cx:pt>
          <cx:pt idx="63328">0</cx:pt>
          <cx:pt idx="63329">0</cx:pt>
          <cx:pt idx="63330">1</cx:pt>
          <cx:pt idx="63331">1</cx:pt>
          <cx:pt idx="63332">0</cx:pt>
          <cx:pt idx="63333">0</cx:pt>
          <cx:pt idx="63334">0</cx:pt>
          <cx:pt idx="63335">0</cx:pt>
          <cx:pt idx="63336">0</cx:pt>
          <cx:pt idx="63337">0</cx:pt>
          <cx:pt idx="63338">1</cx:pt>
          <cx:pt idx="63339">1</cx:pt>
          <cx:pt idx="63340">0</cx:pt>
          <cx:pt idx="63341">1</cx:pt>
          <cx:pt idx="63342">1</cx:pt>
          <cx:pt idx="63343">0</cx:pt>
          <cx:pt idx="63344">0</cx:pt>
          <cx:pt idx="63345">0</cx:pt>
          <cx:pt idx="63346">0</cx:pt>
          <cx:pt idx="63347">0</cx:pt>
          <cx:pt idx="63348">0</cx:pt>
          <cx:pt idx="63349">0</cx:pt>
          <cx:pt idx="63350">1</cx:pt>
          <cx:pt idx="63351">1</cx:pt>
          <cx:pt idx="63352">0</cx:pt>
          <cx:pt idx="63353">0</cx:pt>
          <cx:pt idx="63354">1</cx:pt>
          <cx:pt idx="63355">1</cx:pt>
          <cx:pt idx="63356">0</cx:pt>
          <cx:pt idx="63357">0</cx:pt>
          <cx:pt idx="63358">0</cx:pt>
          <cx:pt idx="63359">1</cx:pt>
          <cx:pt idx="63360">1</cx:pt>
          <cx:pt idx="63361">1</cx:pt>
          <cx:pt idx="63362">1</cx:pt>
          <cx:pt idx="63363">0</cx:pt>
          <cx:pt idx="63364">1</cx:pt>
          <cx:pt idx="63365">0</cx:pt>
          <cx:pt idx="63366">1</cx:pt>
          <cx:pt idx="63367">1</cx:pt>
          <cx:pt idx="63368">0</cx:pt>
          <cx:pt idx="63369">0</cx:pt>
          <cx:pt idx="63370">1</cx:pt>
          <cx:pt idx="63371">0</cx:pt>
          <cx:pt idx="63372">1</cx:pt>
          <cx:pt idx="63373">0</cx:pt>
          <cx:pt idx="63374">0</cx:pt>
          <cx:pt idx="63375">0</cx:pt>
          <cx:pt idx="63376">0</cx:pt>
          <cx:pt idx="63377">1</cx:pt>
          <cx:pt idx="63378">0</cx:pt>
          <cx:pt idx="63379">1</cx:pt>
          <cx:pt idx="63380">0</cx:pt>
          <cx:pt idx="63381">1</cx:pt>
          <cx:pt idx="63382">0</cx:pt>
          <cx:pt idx="63383">1</cx:pt>
          <cx:pt idx="63384">1</cx:pt>
          <cx:pt idx="63385">0</cx:pt>
          <cx:pt idx="63386">0</cx:pt>
          <cx:pt idx="63387">1</cx:pt>
          <cx:pt idx="63388">0</cx:pt>
          <cx:pt idx="63389">1</cx:pt>
          <cx:pt idx="63390">1</cx:pt>
          <cx:pt idx="63391">1</cx:pt>
          <cx:pt idx="63392">1</cx:pt>
          <cx:pt idx="63393">0</cx:pt>
          <cx:pt idx="63394">0</cx:pt>
          <cx:pt idx="63395">0</cx:pt>
          <cx:pt idx="63396">0</cx:pt>
          <cx:pt idx="63397">1</cx:pt>
          <cx:pt idx="63398">0</cx:pt>
          <cx:pt idx="63399">1</cx:pt>
          <cx:pt idx="63400">0</cx:pt>
          <cx:pt idx="63401">1</cx:pt>
          <cx:pt idx="63402">0</cx:pt>
          <cx:pt idx="63403">1</cx:pt>
          <cx:pt idx="63404">1</cx:pt>
          <cx:pt idx="63405">0</cx:pt>
          <cx:pt idx="63406">1</cx:pt>
          <cx:pt idx="63407">1</cx:pt>
          <cx:pt idx="63408">1</cx:pt>
          <cx:pt idx="63409">0</cx:pt>
          <cx:pt idx="63410">0</cx:pt>
          <cx:pt idx="63411">0</cx:pt>
          <cx:pt idx="63412">1</cx:pt>
          <cx:pt idx="63413">1</cx:pt>
          <cx:pt idx="63414">0</cx:pt>
          <cx:pt idx="63415">1</cx:pt>
          <cx:pt idx="63416">1</cx:pt>
          <cx:pt idx="63417">1</cx:pt>
          <cx:pt idx="63418">0</cx:pt>
          <cx:pt idx="63419">0</cx:pt>
          <cx:pt idx="63420">1</cx:pt>
          <cx:pt idx="63421">0</cx:pt>
          <cx:pt idx="63422">1</cx:pt>
          <cx:pt idx="63423">0</cx:pt>
          <cx:pt idx="63424">0</cx:pt>
          <cx:pt idx="63425">0</cx:pt>
          <cx:pt idx="63426">1</cx:pt>
          <cx:pt idx="63427">0</cx:pt>
          <cx:pt idx="63428">0</cx:pt>
          <cx:pt idx="63429">0</cx:pt>
          <cx:pt idx="63430">1</cx:pt>
          <cx:pt idx="63431">1</cx:pt>
          <cx:pt idx="63432">0</cx:pt>
          <cx:pt idx="63433">1</cx:pt>
          <cx:pt idx="63434">0</cx:pt>
          <cx:pt idx="63435">0</cx:pt>
          <cx:pt idx="63436">0</cx:pt>
          <cx:pt idx="63437">0</cx:pt>
          <cx:pt idx="63438">0</cx:pt>
          <cx:pt idx="63439">0</cx:pt>
          <cx:pt idx="63440">1</cx:pt>
          <cx:pt idx="63441">1</cx:pt>
          <cx:pt idx="63442">1</cx:pt>
          <cx:pt idx="63443">1</cx:pt>
          <cx:pt idx="63444">0</cx:pt>
          <cx:pt idx="63445">1</cx:pt>
          <cx:pt idx="63446">0</cx:pt>
          <cx:pt idx="63447">0</cx:pt>
          <cx:pt idx="63448">1</cx:pt>
          <cx:pt idx="63449">0</cx:pt>
          <cx:pt idx="63450">1</cx:pt>
          <cx:pt idx="63451">0</cx:pt>
          <cx:pt idx="63452">0</cx:pt>
          <cx:pt idx="63453">0</cx:pt>
          <cx:pt idx="63454">0</cx:pt>
          <cx:pt idx="63455">0</cx:pt>
          <cx:pt idx="63456">0</cx:pt>
          <cx:pt idx="63457">0</cx:pt>
          <cx:pt idx="63458">0</cx:pt>
          <cx:pt idx="63459">0</cx:pt>
          <cx:pt idx="63460">1</cx:pt>
          <cx:pt idx="63461">1</cx:pt>
          <cx:pt idx="63462">1</cx:pt>
          <cx:pt idx="63463">1</cx:pt>
          <cx:pt idx="63464">0</cx:pt>
          <cx:pt idx="63465">1</cx:pt>
          <cx:pt idx="63466">0</cx:pt>
          <cx:pt idx="63467">1</cx:pt>
          <cx:pt idx="63468">0</cx:pt>
          <cx:pt idx="63469">1</cx:pt>
          <cx:pt idx="63470">1</cx:pt>
          <cx:pt idx="63471">1</cx:pt>
          <cx:pt idx="63472">1</cx:pt>
          <cx:pt idx="63473">1</cx:pt>
          <cx:pt idx="63474">0</cx:pt>
          <cx:pt idx="63475">0</cx:pt>
          <cx:pt idx="63476">0</cx:pt>
          <cx:pt idx="63477">0</cx:pt>
          <cx:pt idx="63478">0</cx:pt>
          <cx:pt idx="63479">1</cx:pt>
          <cx:pt idx="63480">0</cx:pt>
          <cx:pt idx="63481">1</cx:pt>
          <cx:pt idx="63482">1</cx:pt>
          <cx:pt idx="63483">0</cx:pt>
          <cx:pt idx="63484">0</cx:pt>
          <cx:pt idx="63485">0</cx:pt>
          <cx:pt idx="63486">1</cx:pt>
          <cx:pt idx="63487">1</cx:pt>
          <cx:pt idx="63488">1</cx:pt>
          <cx:pt idx="63489">0</cx:pt>
          <cx:pt idx="63490">1</cx:pt>
          <cx:pt idx="63491">0</cx:pt>
          <cx:pt idx="63492">0</cx:pt>
          <cx:pt idx="63493">1</cx:pt>
          <cx:pt idx="63494">1</cx:pt>
          <cx:pt idx="63495">1</cx:pt>
          <cx:pt idx="63496">1</cx:pt>
          <cx:pt idx="63497">0</cx:pt>
          <cx:pt idx="63498">1</cx:pt>
          <cx:pt idx="63499">0</cx:pt>
          <cx:pt idx="63500">1</cx:pt>
          <cx:pt idx="63501">0</cx:pt>
          <cx:pt idx="63502">0</cx:pt>
          <cx:pt idx="63503">1</cx:pt>
          <cx:pt idx="63504">0</cx:pt>
          <cx:pt idx="63505">0</cx:pt>
          <cx:pt idx="63506">0</cx:pt>
          <cx:pt idx="63507">1</cx:pt>
          <cx:pt idx="63508">0</cx:pt>
          <cx:pt idx="63509">0</cx:pt>
          <cx:pt idx="63510">0</cx:pt>
          <cx:pt idx="63511">0</cx:pt>
          <cx:pt idx="63512">0</cx:pt>
          <cx:pt idx="63513">0</cx:pt>
          <cx:pt idx="63514">0</cx:pt>
          <cx:pt idx="63515">0</cx:pt>
          <cx:pt idx="63516">0</cx:pt>
          <cx:pt idx="63517">0</cx:pt>
          <cx:pt idx="63518">1</cx:pt>
          <cx:pt idx="63519">0</cx:pt>
          <cx:pt idx="63520">0</cx:pt>
          <cx:pt idx="63521">0</cx:pt>
          <cx:pt idx="63522">0</cx:pt>
          <cx:pt idx="63523">0</cx:pt>
          <cx:pt idx="63524">0</cx:pt>
          <cx:pt idx="63525">1</cx:pt>
          <cx:pt idx="63526">0</cx:pt>
          <cx:pt idx="63527">0</cx:pt>
          <cx:pt idx="63528">0</cx:pt>
          <cx:pt idx="63529">1</cx:pt>
          <cx:pt idx="63530">0</cx:pt>
          <cx:pt idx="63531">1</cx:pt>
          <cx:pt idx="63532">1</cx:pt>
          <cx:pt idx="63533">0</cx:pt>
          <cx:pt idx="63534">0</cx:pt>
          <cx:pt idx="63535">1</cx:pt>
          <cx:pt idx="63536">1</cx:pt>
          <cx:pt idx="63537">0</cx:pt>
          <cx:pt idx="63538">1</cx:pt>
          <cx:pt idx="63539">1</cx:pt>
          <cx:pt idx="63540">0</cx:pt>
          <cx:pt idx="63541">0</cx:pt>
          <cx:pt idx="63542">0</cx:pt>
          <cx:pt idx="63543">1</cx:pt>
          <cx:pt idx="63544">0</cx:pt>
          <cx:pt idx="63545">1</cx:pt>
          <cx:pt idx="63546">0</cx:pt>
          <cx:pt idx="63547">0</cx:pt>
          <cx:pt idx="63548">0</cx:pt>
          <cx:pt idx="63549">1</cx:pt>
          <cx:pt idx="63550">0</cx:pt>
          <cx:pt idx="63551">0</cx:pt>
          <cx:pt idx="63552">0</cx:pt>
          <cx:pt idx="63553">0</cx:pt>
          <cx:pt idx="63554">0</cx:pt>
          <cx:pt idx="63555">0</cx:pt>
          <cx:pt idx="63556">1</cx:pt>
          <cx:pt idx="63557">0</cx:pt>
          <cx:pt idx="63558">1</cx:pt>
          <cx:pt idx="63559">1</cx:pt>
          <cx:pt idx="63560">0</cx:pt>
          <cx:pt idx="63561">0</cx:pt>
          <cx:pt idx="63562">1</cx:pt>
          <cx:pt idx="63563">0</cx:pt>
          <cx:pt idx="63564">0</cx:pt>
          <cx:pt idx="63565">1</cx:pt>
          <cx:pt idx="63566">1</cx:pt>
          <cx:pt idx="63567">1</cx:pt>
          <cx:pt idx="63568">0</cx:pt>
          <cx:pt idx="63569">0</cx:pt>
          <cx:pt idx="63570">0</cx:pt>
          <cx:pt idx="63571">0</cx:pt>
          <cx:pt idx="63572">1</cx:pt>
          <cx:pt idx="63573">0</cx:pt>
          <cx:pt idx="63574">0</cx:pt>
          <cx:pt idx="63575">0</cx:pt>
          <cx:pt idx="63576">1</cx:pt>
          <cx:pt idx="63577">0</cx:pt>
          <cx:pt idx="63578">1</cx:pt>
          <cx:pt idx="63579">0</cx:pt>
          <cx:pt idx="63580">1</cx:pt>
          <cx:pt idx="63581">0</cx:pt>
          <cx:pt idx="63582">1</cx:pt>
          <cx:pt idx="63583">0</cx:pt>
          <cx:pt idx="63584">0</cx:pt>
          <cx:pt idx="63585">0</cx:pt>
          <cx:pt idx="63586">0</cx:pt>
          <cx:pt idx="63587">0</cx:pt>
          <cx:pt idx="63588">1</cx:pt>
          <cx:pt idx="63589">1</cx:pt>
          <cx:pt idx="63590">1</cx:pt>
          <cx:pt idx="63591">1</cx:pt>
          <cx:pt idx="63592">0</cx:pt>
          <cx:pt idx="63593">0</cx:pt>
          <cx:pt idx="63594">1</cx:pt>
          <cx:pt idx="63595">0</cx:pt>
          <cx:pt idx="63596">0</cx:pt>
          <cx:pt idx="63597">0</cx:pt>
          <cx:pt idx="63598">1</cx:pt>
          <cx:pt idx="63599">0</cx:pt>
          <cx:pt idx="63600">0</cx:pt>
          <cx:pt idx="63601">0</cx:pt>
          <cx:pt idx="63602">0</cx:pt>
          <cx:pt idx="63603">0</cx:pt>
          <cx:pt idx="63604">1</cx:pt>
          <cx:pt idx="63605">0</cx:pt>
          <cx:pt idx="63606">1</cx:pt>
          <cx:pt idx="63607">1</cx:pt>
          <cx:pt idx="63608">0</cx:pt>
          <cx:pt idx="63609">0</cx:pt>
          <cx:pt idx="63610">1</cx:pt>
          <cx:pt idx="63611">0</cx:pt>
          <cx:pt idx="63612">0</cx:pt>
          <cx:pt idx="63613">0</cx:pt>
          <cx:pt idx="63614">0</cx:pt>
          <cx:pt idx="63615">1</cx:pt>
          <cx:pt idx="63616">0</cx:pt>
          <cx:pt idx="63617">0</cx:pt>
          <cx:pt idx="63618">1</cx:pt>
          <cx:pt idx="63619">0</cx:pt>
          <cx:pt idx="63620">0</cx:pt>
          <cx:pt idx="63621">1</cx:pt>
          <cx:pt idx="63622">0</cx:pt>
          <cx:pt idx="63623">0</cx:pt>
          <cx:pt idx="63624">1</cx:pt>
          <cx:pt idx="63625">0</cx:pt>
          <cx:pt idx="63626">1</cx:pt>
          <cx:pt idx="63627">0</cx:pt>
          <cx:pt idx="63628">0</cx:pt>
          <cx:pt idx="63629">1</cx:pt>
          <cx:pt idx="63630">0</cx:pt>
          <cx:pt idx="63631">1</cx:pt>
          <cx:pt idx="63632">0</cx:pt>
          <cx:pt idx="63633">0</cx:pt>
          <cx:pt idx="63634">1</cx:pt>
          <cx:pt idx="63635">0</cx:pt>
          <cx:pt idx="63636">0</cx:pt>
          <cx:pt idx="63637">1</cx:pt>
          <cx:pt idx="63638">1</cx:pt>
          <cx:pt idx="63639">0</cx:pt>
          <cx:pt idx="63640">0</cx:pt>
          <cx:pt idx="63641">0</cx:pt>
          <cx:pt idx="63642">0</cx:pt>
          <cx:pt idx="63643">0</cx:pt>
          <cx:pt idx="63644">0</cx:pt>
          <cx:pt idx="63645">0</cx:pt>
          <cx:pt idx="63646">1</cx:pt>
          <cx:pt idx="63647">0</cx:pt>
          <cx:pt idx="63648">0</cx:pt>
          <cx:pt idx="63649">0</cx:pt>
          <cx:pt idx="63650">0</cx:pt>
          <cx:pt idx="63651">1</cx:pt>
          <cx:pt idx="63652">1</cx:pt>
          <cx:pt idx="63653">1</cx:pt>
          <cx:pt idx="63654">0</cx:pt>
          <cx:pt idx="63655">0</cx:pt>
          <cx:pt idx="63656">0</cx:pt>
          <cx:pt idx="63657">1</cx:pt>
          <cx:pt idx="63658">0</cx:pt>
          <cx:pt idx="63659">0</cx:pt>
          <cx:pt idx="63660">1</cx:pt>
          <cx:pt idx="63661">1</cx:pt>
          <cx:pt idx="63662">0</cx:pt>
          <cx:pt idx="63663">1</cx:pt>
          <cx:pt idx="63664">1</cx:pt>
          <cx:pt idx="63665">0</cx:pt>
          <cx:pt idx="63666">1</cx:pt>
          <cx:pt idx="63667">0</cx:pt>
          <cx:pt idx="63668">0</cx:pt>
          <cx:pt idx="63669">1</cx:pt>
          <cx:pt idx="63670">1</cx:pt>
          <cx:pt idx="63671">1</cx:pt>
          <cx:pt idx="63672">1</cx:pt>
          <cx:pt idx="63673">0</cx:pt>
          <cx:pt idx="63674">0</cx:pt>
          <cx:pt idx="63675">0</cx:pt>
          <cx:pt idx="63676">1</cx:pt>
          <cx:pt idx="63677">0</cx:pt>
          <cx:pt idx="63678">0</cx:pt>
          <cx:pt idx="63679">1</cx:pt>
          <cx:pt idx="63680">0</cx:pt>
          <cx:pt idx="63681">0</cx:pt>
          <cx:pt idx="63682">1</cx:pt>
          <cx:pt idx="63683">1</cx:pt>
          <cx:pt idx="63684">0</cx:pt>
          <cx:pt idx="63685">1</cx:pt>
          <cx:pt idx="63686">1</cx:pt>
          <cx:pt idx="63687">1</cx:pt>
          <cx:pt idx="63688">1</cx:pt>
          <cx:pt idx="63689">1</cx:pt>
          <cx:pt idx="63690">0</cx:pt>
          <cx:pt idx="63691">0</cx:pt>
          <cx:pt idx="63692">0</cx:pt>
          <cx:pt idx="63693">0</cx:pt>
          <cx:pt idx="63694">1</cx:pt>
          <cx:pt idx="63695">0</cx:pt>
          <cx:pt idx="63696">0</cx:pt>
          <cx:pt idx="63697">0</cx:pt>
          <cx:pt idx="63698">1</cx:pt>
          <cx:pt idx="63699">0</cx:pt>
          <cx:pt idx="63700">1</cx:pt>
          <cx:pt idx="63701">1</cx:pt>
          <cx:pt idx="63702">1</cx:pt>
          <cx:pt idx="63703">0</cx:pt>
          <cx:pt idx="63704">0</cx:pt>
          <cx:pt idx="63705">1</cx:pt>
          <cx:pt idx="63706">0</cx:pt>
          <cx:pt idx="63707">0</cx:pt>
          <cx:pt idx="63708">1</cx:pt>
          <cx:pt idx="63709">0</cx:pt>
          <cx:pt idx="63710">1</cx:pt>
          <cx:pt idx="63711">1</cx:pt>
          <cx:pt idx="63712">1</cx:pt>
          <cx:pt idx="63713">1</cx:pt>
          <cx:pt idx="63714">0</cx:pt>
          <cx:pt idx="63715">1</cx:pt>
          <cx:pt idx="63716">1</cx:pt>
          <cx:pt idx="63717">0</cx:pt>
          <cx:pt idx="63718">0</cx:pt>
          <cx:pt idx="63719">0</cx:pt>
          <cx:pt idx="63720">0</cx:pt>
          <cx:pt idx="63721">0</cx:pt>
          <cx:pt idx="63722">1</cx:pt>
          <cx:pt idx="63723">0</cx:pt>
          <cx:pt idx="63724">1</cx:pt>
          <cx:pt idx="63725">0</cx:pt>
          <cx:pt idx="63726">0</cx:pt>
          <cx:pt idx="63727">1</cx:pt>
          <cx:pt idx="63728">1</cx:pt>
          <cx:pt idx="63729">1</cx:pt>
          <cx:pt idx="63730">0</cx:pt>
          <cx:pt idx="63731">1</cx:pt>
          <cx:pt idx="63732">0</cx:pt>
          <cx:pt idx="63733">1</cx:pt>
          <cx:pt idx="63734">0</cx:pt>
          <cx:pt idx="63735">0</cx:pt>
          <cx:pt idx="63736">0</cx:pt>
          <cx:pt idx="63737">0</cx:pt>
          <cx:pt idx="63738">0</cx:pt>
          <cx:pt idx="63739">1</cx:pt>
          <cx:pt idx="63740">0</cx:pt>
          <cx:pt idx="63741">1</cx:pt>
          <cx:pt idx="63742">1</cx:pt>
          <cx:pt idx="63743">1</cx:pt>
          <cx:pt idx="63744">0</cx:pt>
          <cx:pt idx="63745">1</cx:pt>
          <cx:pt idx="63746">1</cx:pt>
          <cx:pt idx="63747">0</cx:pt>
          <cx:pt idx="63748">1</cx:pt>
          <cx:pt idx="63749">1</cx:pt>
          <cx:pt idx="63750">0</cx:pt>
          <cx:pt idx="63751">0</cx:pt>
          <cx:pt idx="63752">1</cx:pt>
          <cx:pt idx="63753">0</cx:pt>
          <cx:pt idx="63754">0</cx:pt>
          <cx:pt idx="63755">0</cx:pt>
          <cx:pt idx="63756">1</cx:pt>
          <cx:pt idx="63757">1</cx:pt>
          <cx:pt idx="63758">0</cx:pt>
          <cx:pt idx="63759">0</cx:pt>
          <cx:pt idx="63760">1</cx:pt>
          <cx:pt idx="63761">0</cx:pt>
          <cx:pt idx="63762">1</cx:pt>
          <cx:pt idx="63763">0</cx:pt>
          <cx:pt idx="63764">1</cx:pt>
          <cx:pt idx="63765">0</cx:pt>
          <cx:pt idx="63766">1</cx:pt>
          <cx:pt idx="63767">1</cx:pt>
          <cx:pt idx="63768">0</cx:pt>
          <cx:pt idx="63769">0</cx:pt>
          <cx:pt idx="63770">0</cx:pt>
          <cx:pt idx="63771">1</cx:pt>
          <cx:pt idx="63772">0</cx:pt>
          <cx:pt idx="63773">0</cx:pt>
          <cx:pt idx="63774">1</cx:pt>
          <cx:pt idx="63775">0</cx:pt>
          <cx:pt idx="63776">0</cx:pt>
          <cx:pt idx="63777">0</cx:pt>
          <cx:pt idx="63778">0</cx:pt>
          <cx:pt idx="63779">0</cx:pt>
          <cx:pt idx="63780">0</cx:pt>
          <cx:pt idx="63781">0</cx:pt>
          <cx:pt idx="63782">1</cx:pt>
          <cx:pt idx="63783">0</cx:pt>
          <cx:pt idx="63784">0</cx:pt>
          <cx:pt idx="63785">0</cx:pt>
          <cx:pt idx="63786">0</cx:pt>
          <cx:pt idx="63787">0</cx:pt>
          <cx:pt idx="63788">1</cx:pt>
          <cx:pt idx="63789">1</cx:pt>
          <cx:pt idx="63790">0</cx:pt>
          <cx:pt idx="63791">0</cx:pt>
          <cx:pt idx="63792">0</cx:pt>
          <cx:pt idx="63793">0</cx:pt>
          <cx:pt idx="63794">1</cx:pt>
          <cx:pt idx="63795">1</cx:pt>
          <cx:pt idx="63796">0</cx:pt>
          <cx:pt idx="63797">1</cx:pt>
          <cx:pt idx="63798">1</cx:pt>
          <cx:pt idx="63799">1</cx:pt>
          <cx:pt idx="63800">0</cx:pt>
          <cx:pt idx="63801">0</cx:pt>
          <cx:pt idx="63802">1</cx:pt>
          <cx:pt idx="63803">0</cx:pt>
          <cx:pt idx="63804">1</cx:pt>
          <cx:pt idx="63805">1</cx:pt>
          <cx:pt idx="63806">1</cx:pt>
          <cx:pt idx="63807">1</cx:pt>
          <cx:pt idx="63808">1</cx:pt>
          <cx:pt idx="63809">0</cx:pt>
          <cx:pt idx="63810">1</cx:pt>
          <cx:pt idx="63811">0</cx:pt>
          <cx:pt idx="63812">0</cx:pt>
          <cx:pt idx="63813">0</cx:pt>
          <cx:pt idx="63814">0</cx:pt>
          <cx:pt idx="63815">1</cx:pt>
          <cx:pt idx="63816">0</cx:pt>
          <cx:pt idx="63817">0</cx:pt>
          <cx:pt idx="63818">1</cx:pt>
          <cx:pt idx="63819">0</cx:pt>
          <cx:pt idx="63820">0</cx:pt>
          <cx:pt idx="63821">1</cx:pt>
          <cx:pt idx="63822">1</cx:pt>
          <cx:pt idx="63823">0</cx:pt>
          <cx:pt idx="63824">0</cx:pt>
          <cx:pt idx="63825">0</cx:pt>
          <cx:pt idx="63826">1</cx:pt>
          <cx:pt idx="63827">0</cx:pt>
          <cx:pt idx="63828">1</cx:pt>
          <cx:pt idx="63829">1</cx:pt>
          <cx:pt idx="63830">1</cx:pt>
          <cx:pt idx="63831">1</cx:pt>
          <cx:pt idx="63832">0</cx:pt>
          <cx:pt idx="63833">1</cx:pt>
          <cx:pt idx="63834">0</cx:pt>
          <cx:pt idx="63835">1</cx:pt>
          <cx:pt idx="63836">1</cx:pt>
          <cx:pt idx="63837">0</cx:pt>
          <cx:pt idx="63838">1</cx:pt>
          <cx:pt idx="63839">0</cx:pt>
          <cx:pt idx="63840">0</cx:pt>
          <cx:pt idx="63841">0</cx:pt>
          <cx:pt idx="63842">1</cx:pt>
          <cx:pt idx="63843">1</cx:pt>
          <cx:pt idx="63844">0</cx:pt>
          <cx:pt idx="63845">0</cx:pt>
          <cx:pt idx="63846">1</cx:pt>
          <cx:pt idx="63847">0</cx:pt>
          <cx:pt idx="63848">1</cx:pt>
          <cx:pt idx="63849">0</cx:pt>
          <cx:pt idx="63850">1</cx:pt>
          <cx:pt idx="63851">1</cx:pt>
          <cx:pt idx="63852">0</cx:pt>
          <cx:pt idx="63853">0</cx:pt>
          <cx:pt idx="63854">0</cx:pt>
          <cx:pt idx="63855">1</cx:pt>
          <cx:pt idx="63856">0</cx:pt>
          <cx:pt idx="63857">1</cx:pt>
          <cx:pt idx="63858">1</cx:pt>
          <cx:pt idx="63859">0</cx:pt>
          <cx:pt idx="63860">0</cx:pt>
          <cx:pt idx="63861">1</cx:pt>
          <cx:pt idx="63862">0</cx:pt>
          <cx:pt idx="63863">1</cx:pt>
          <cx:pt idx="63864">0</cx:pt>
          <cx:pt idx="63865">1</cx:pt>
          <cx:pt idx="63866">0</cx:pt>
          <cx:pt idx="63867">0</cx:pt>
          <cx:pt idx="63868">1</cx:pt>
          <cx:pt idx="63869">0</cx:pt>
          <cx:pt idx="63870">0</cx:pt>
          <cx:pt idx="63871">0</cx:pt>
          <cx:pt idx="63872">0</cx:pt>
          <cx:pt idx="63873">0</cx:pt>
          <cx:pt idx="63874">1</cx:pt>
          <cx:pt idx="63875">1</cx:pt>
          <cx:pt idx="63876">1</cx:pt>
          <cx:pt idx="63877">0</cx:pt>
          <cx:pt idx="63878">0</cx:pt>
          <cx:pt idx="63879">0</cx:pt>
          <cx:pt idx="63880">1</cx:pt>
          <cx:pt idx="63881">1</cx:pt>
          <cx:pt idx="63882">0</cx:pt>
          <cx:pt idx="63883">1</cx:pt>
          <cx:pt idx="63884">1</cx:pt>
          <cx:pt idx="63885">1</cx:pt>
          <cx:pt idx="63886">1</cx:pt>
          <cx:pt idx="63887">0</cx:pt>
          <cx:pt idx="63888">1</cx:pt>
          <cx:pt idx="63889">1</cx:pt>
          <cx:pt idx="63890">0</cx:pt>
          <cx:pt idx="63891">1</cx:pt>
          <cx:pt idx="63892">0</cx:pt>
          <cx:pt idx="63893">0</cx:pt>
          <cx:pt idx="63894">1</cx:pt>
          <cx:pt idx="63895">0</cx:pt>
          <cx:pt idx="63896">0</cx:pt>
          <cx:pt idx="63897">1</cx:pt>
          <cx:pt idx="63898">0</cx:pt>
          <cx:pt idx="63899">0</cx:pt>
          <cx:pt idx="63900">1</cx:pt>
          <cx:pt idx="63901">0</cx:pt>
          <cx:pt idx="63902">0</cx:pt>
          <cx:pt idx="63903">0</cx:pt>
          <cx:pt idx="63904">0</cx:pt>
          <cx:pt idx="63905">0</cx:pt>
          <cx:pt idx="63906">1</cx:pt>
          <cx:pt idx="63907">0</cx:pt>
          <cx:pt idx="63908">1</cx:pt>
          <cx:pt idx="63909">1</cx:pt>
          <cx:pt idx="63910">0</cx:pt>
          <cx:pt idx="63911">1</cx:pt>
          <cx:pt idx="63912">1</cx:pt>
          <cx:pt idx="63913">0</cx:pt>
          <cx:pt idx="63914">0</cx:pt>
          <cx:pt idx="63915">1</cx:pt>
          <cx:pt idx="63916">1</cx:pt>
          <cx:pt idx="63917">1</cx:pt>
          <cx:pt idx="63918">0</cx:pt>
          <cx:pt idx="63919">0</cx:pt>
          <cx:pt idx="63920">1</cx:pt>
          <cx:pt idx="63921">1</cx:pt>
          <cx:pt idx="63922">1</cx:pt>
          <cx:pt idx="63923">0</cx:pt>
          <cx:pt idx="63924">0</cx:pt>
          <cx:pt idx="63925">0</cx:pt>
          <cx:pt idx="63926">1</cx:pt>
          <cx:pt idx="63927">1</cx:pt>
          <cx:pt idx="63928">1</cx:pt>
          <cx:pt idx="63929">0</cx:pt>
          <cx:pt idx="63930">1</cx:pt>
          <cx:pt idx="63931">0</cx:pt>
          <cx:pt idx="63932">0</cx:pt>
          <cx:pt idx="63933">0</cx:pt>
          <cx:pt idx="63934">0</cx:pt>
          <cx:pt idx="63935">1</cx:pt>
          <cx:pt idx="63936">1</cx:pt>
          <cx:pt idx="63937">1</cx:pt>
          <cx:pt idx="63938">1</cx:pt>
          <cx:pt idx="63939">0</cx:pt>
          <cx:pt idx="63940">1</cx:pt>
          <cx:pt idx="63941">0</cx:pt>
          <cx:pt idx="63942">0</cx:pt>
          <cx:pt idx="63943">1</cx:pt>
          <cx:pt idx="63944">1</cx:pt>
          <cx:pt idx="63945">1</cx:pt>
          <cx:pt idx="63946">0</cx:pt>
          <cx:pt idx="63947">0</cx:pt>
          <cx:pt idx="63948">1</cx:pt>
          <cx:pt idx="63949">0</cx:pt>
          <cx:pt idx="63950">0</cx:pt>
          <cx:pt idx="63951">1</cx:pt>
          <cx:pt idx="63952">0</cx:pt>
          <cx:pt idx="63953">0</cx:pt>
          <cx:pt idx="63954">1</cx:pt>
          <cx:pt idx="63955">1</cx:pt>
          <cx:pt idx="63956">1</cx:pt>
          <cx:pt idx="63957">0</cx:pt>
          <cx:pt idx="63958">0</cx:pt>
          <cx:pt idx="63959">0</cx:pt>
          <cx:pt idx="63960">1</cx:pt>
          <cx:pt idx="63961">1</cx:pt>
          <cx:pt idx="63962">0</cx:pt>
          <cx:pt idx="63963">0</cx:pt>
          <cx:pt idx="63964">0</cx:pt>
          <cx:pt idx="63965">1</cx:pt>
          <cx:pt idx="63966">1</cx:pt>
          <cx:pt idx="63967">0</cx:pt>
          <cx:pt idx="63968">1</cx:pt>
          <cx:pt idx="63969">1</cx:pt>
          <cx:pt idx="63970">1</cx:pt>
          <cx:pt idx="63971">0</cx:pt>
          <cx:pt idx="63972">0</cx:pt>
          <cx:pt idx="63973">0</cx:pt>
          <cx:pt idx="63974">0</cx:pt>
          <cx:pt idx="63975">1</cx:pt>
          <cx:pt idx="63976">1</cx:pt>
          <cx:pt idx="63977">0</cx:pt>
          <cx:pt idx="63978">0</cx:pt>
          <cx:pt idx="63979">0</cx:pt>
          <cx:pt idx="63980">1</cx:pt>
          <cx:pt idx="63981">1</cx:pt>
          <cx:pt idx="63982">0</cx:pt>
          <cx:pt idx="63983">1</cx:pt>
          <cx:pt idx="63984">0</cx:pt>
          <cx:pt idx="63985">0</cx:pt>
          <cx:pt idx="63986">0</cx:pt>
          <cx:pt idx="63987">1</cx:pt>
          <cx:pt idx="63988">1</cx:pt>
          <cx:pt idx="63989">0</cx:pt>
          <cx:pt idx="63990">1</cx:pt>
          <cx:pt idx="63991">0</cx:pt>
          <cx:pt idx="63992">1</cx:pt>
          <cx:pt idx="63993">0</cx:pt>
          <cx:pt idx="63994">1</cx:pt>
          <cx:pt idx="63995">1</cx:pt>
          <cx:pt idx="63996">0</cx:pt>
          <cx:pt idx="63997">1</cx:pt>
          <cx:pt idx="63998">0</cx:pt>
          <cx:pt idx="63999">0</cx:pt>
          <cx:pt idx="64000">1</cx:pt>
          <cx:pt idx="64001">1</cx:pt>
          <cx:pt idx="64002">0</cx:pt>
          <cx:pt idx="64003">0</cx:pt>
          <cx:pt idx="64004">0</cx:pt>
          <cx:pt idx="64005">0</cx:pt>
          <cx:pt idx="64006">0</cx:pt>
          <cx:pt idx="64007">1</cx:pt>
          <cx:pt idx="64008">0</cx:pt>
          <cx:pt idx="64009">0</cx:pt>
          <cx:pt idx="64010">0</cx:pt>
          <cx:pt idx="64011">0</cx:pt>
          <cx:pt idx="64012">1</cx:pt>
          <cx:pt idx="64013">1</cx:pt>
          <cx:pt idx="64014">0</cx:pt>
          <cx:pt idx="64015">0</cx:pt>
          <cx:pt idx="64016">0</cx:pt>
          <cx:pt idx="64017">0</cx:pt>
          <cx:pt idx="64018">1</cx:pt>
          <cx:pt idx="64019">0</cx:pt>
          <cx:pt idx="64020">0</cx:pt>
          <cx:pt idx="64021">0</cx:pt>
          <cx:pt idx="64022">1</cx:pt>
          <cx:pt idx="64023">1</cx:pt>
          <cx:pt idx="64024">0</cx:pt>
          <cx:pt idx="64025">1</cx:pt>
          <cx:pt idx="64026">1</cx:pt>
          <cx:pt idx="64027">1</cx:pt>
          <cx:pt idx="64028">1</cx:pt>
          <cx:pt idx="64029">0</cx:pt>
          <cx:pt idx="64030">0</cx:pt>
          <cx:pt idx="64031">1</cx:pt>
          <cx:pt idx="64032">0</cx:pt>
          <cx:pt idx="64033">0</cx:pt>
          <cx:pt idx="64034">1</cx:pt>
          <cx:pt idx="64035">0</cx:pt>
          <cx:pt idx="64036">1</cx:pt>
          <cx:pt idx="64037">0</cx:pt>
          <cx:pt idx="64038">1</cx:pt>
          <cx:pt idx="64039">0</cx:pt>
          <cx:pt idx="64040">0</cx:pt>
          <cx:pt idx="64041">0</cx:pt>
          <cx:pt idx="64042">0</cx:pt>
          <cx:pt idx="64043">1</cx:pt>
          <cx:pt idx="64044">1</cx:pt>
          <cx:pt idx="64045">0</cx:pt>
          <cx:pt idx="64046">0</cx:pt>
          <cx:pt idx="64047">1</cx:pt>
          <cx:pt idx="64048">0</cx:pt>
          <cx:pt idx="64049">0</cx:pt>
          <cx:pt idx="64050">1</cx:pt>
          <cx:pt idx="64051">1</cx:pt>
          <cx:pt idx="64052">1</cx:pt>
          <cx:pt idx="64053">1</cx:pt>
          <cx:pt idx="64054">0</cx:pt>
          <cx:pt idx="64055">1</cx:pt>
          <cx:pt idx="64056">0</cx:pt>
          <cx:pt idx="64057">0</cx:pt>
          <cx:pt idx="64058">1</cx:pt>
          <cx:pt idx="64059">1</cx:pt>
          <cx:pt idx="64060">1</cx:pt>
          <cx:pt idx="64061">0</cx:pt>
          <cx:pt idx="64062">0</cx:pt>
          <cx:pt idx="64063">1</cx:pt>
          <cx:pt idx="64064">0</cx:pt>
          <cx:pt idx="64065">1</cx:pt>
          <cx:pt idx="64066">1</cx:pt>
          <cx:pt idx="64067">0</cx:pt>
          <cx:pt idx="64068">1</cx:pt>
          <cx:pt idx="64069">0</cx:pt>
          <cx:pt idx="64070">1</cx:pt>
          <cx:pt idx="64071">0</cx:pt>
          <cx:pt idx="64072">1</cx:pt>
          <cx:pt idx="64073">1</cx:pt>
          <cx:pt idx="64074">1</cx:pt>
          <cx:pt idx="64075">1</cx:pt>
          <cx:pt idx="64076">1</cx:pt>
          <cx:pt idx="64077">1</cx:pt>
          <cx:pt idx="64078">1</cx:pt>
          <cx:pt idx="64079">0</cx:pt>
          <cx:pt idx="64080">1</cx:pt>
          <cx:pt idx="64081">1</cx:pt>
          <cx:pt idx="64082">1</cx:pt>
          <cx:pt idx="64083">1</cx:pt>
          <cx:pt idx="64084">1</cx:pt>
          <cx:pt idx="64085">1</cx:pt>
          <cx:pt idx="64086">1</cx:pt>
          <cx:pt idx="64087">1</cx:pt>
          <cx:pt idx="64088">0</cx:pt>
          <cx:pt idx="64089">1</cx:pt>
          <cx:pt idx="64090">1</cx:pt>
          <cx:pt idx="64091">0</cx:pt>
          <cx:pt idx="64092">0</cx:pt>
          <cx:pt idx="64093">0</cx:pt>
          <cx:pt idx="64094">0</cx:pt>
          <cx:pt idx="64095">0</cx:pt>
          <cx:pt idx="64096">0</cx:pt>
          <cx:pt idx="64097">0</cx:pt>
          <cx:pt idx="64098">1</cx:pt>
          <cx:pt idx="64099">1</cx:pt>
          <cx:pt idx="64100">0</cx:pt>
          <cx:pt idx="64101">1</cx:pt>
          <cx:pt idx="64102">0</cx:pt>
          <cx:pt idx="64103">0</cx:pt>
          <cx:pt idx="64104">0</cx:pt>
          <cx:pt idx="64105">1</cx:pt>
          <cx:pt idx="64106">0</cx:pt>
          <cx:pt idx="64107">0</cx:pt>
          <cx:pt idx="64108">1</cx:pt>
          <cx:pt idx="64109">0</cx:pt>
          <cx:pt idx="64110">0</cx:pt>
          <cx:pt idx="64111">0</cx:pt>
          <cx:pt idx="64112">0</cx:pt>
          <cx:pt idx="64113">0</cx:pt>
          <cx:pt idx="64114">0</cx:pt>
          <cx:pt idx="64115">0</cx:pt>
          <cx:pt idx="64116">0</cx:pt>
          <cx:pt idx="64117">0</cx:pt>
          <cx:pt idx="64118">1</cx:pt>
          <cx:pt idx="64119">0</cx:pt>
          <cx:pt idx="64120">0</cx:pt>
          <cx:pt idx="64121">0</cx:pt>
          <cx:pt idx="64122">1</cx:pt>
          <cx:pt idx="64123">1</cx:pt>
          <cx:pt idx="64124">0</cx:pt>
          <cx:pt idx="64125">0</cx:pt>
          <cx:pt idx="64126">1</cx:pt>
          <cx:pt idx="64127">1</cx:pt>
          <cx:pt idx="64128">1</cx:pt>
          <cx:pt idx="64129">0</cx:pt>
          <cx:pt idx="64130">1</cx:pt>
          <cx:pt idx="64131">1</cx:pt>
          <cx:pt idx="64132">0</cx:pt>
          <cx:pt idx="64133">0</cx:pt>
          <cx:pt idx="64134">1</cx:pt>
          <cx:pt idx="64135">1</cx:pt>
          <cx:pt idx="64136">0</cx:pt>
          <cx:pt idx="64137">1</cx:pt>
          <cx:pt idx="64138">0</cx:pt>
          <cx:pt idx="64139">1</cx:pt>
          <cx:pt idx="64140">0</cx:pt>
          <cx:pt idx="64141">0</cx:pt>
          <cx:pt idx="64142">0</cx:pt>
          <cx:pt idx="64143">0</cx:pt>
          <cx:pt idx="64144">1</cx:pt>
          <cx:pt idx="64145">0</cx:pt>
          <cx:pt idx="64146">0</cx:pt>
          <cx:pt idx="64147">0</cx:pt>
          <cx:pt idx="64148">0</cx:pt>
          <cx:pt idx="64149">0</cx:pt>
          <cx:pt idx="64150">0</cx:pt>
          <cx:pt idx="64151">0</cx:pt>
          <cx:pt idx="64152">0</cx:pt>
          <cx:pt idx="64153">1</cx:pt>
          <cx:pt idx="64154">0</cx:pt>
          <cx:pt idx="64155">0</cx:pt>
          <cx:pt idx="64156">1</cx:pt>
          <cx:pt idx="64157">0</cx:pt>
          <cx:pt idx="64158">0</cx:pt>
          <cx:pt idx="64159">0</cx:pt>
          <cx:pt idx="64160">0</cx:pt>
          <cx:pt idx="64161">0</cx:pt>
          <cx:pt idx="64162">1</cx:pt>
          <cx:pt idx="64163">0</cx:pt>
          <cx:pt idx="64164">0</cx:pt>
          <cx:pt idx="64165">0</cx:pt>
          <cx:pt idx="64166">1</cx:pt>
          <cx:pt idx="64167">0</cx:pt>
          <cx:pt idx="64168">0</cx:pt>
          <cx:pt idx="64169">1</cx:pt>
          <cx:pt idx="64170">0</cx:pt>
          <cx:pt idx="64171">0</cx:pt>
          <cx:pt idx="64172">0</cx:pt>
          <cx:pt idx="64173">0</cx:pt>
          <cx:pt idx="64174">1</cx:pt>
          <cx:pt idx="64175">0</cx:pt>
          <cx:pt idx="64176">0</cx:pt>
          <cx:pt idx="64177">0</cx:pt>
          <cx:pt idx="64178">1</cx:pt>
          <cx:pt idx="64179">0</cx:pt>
          <cx:pt idx="64180">1</cx:pt>
          <cx:pt idx="64181">0</cx:pt>
          <cx:pt idx="64182">0</cx:pt>
          <cx:pt idx="64183">1</cx:pt>
          <cx:pt idx="64184">1</cx:pt>
          <cx:pt idx="64185">0</cx:pt>
          <cx:pt idx="64186">0</cx:pt>
          <cx:pt idx="64187">0</cx:pt>
          <cx:pt idx="64188">1</cx:pt>
          <cx:pt idx="64189">0</cx:pt>
          <cx:pt idx="64190">0</cx:pt>
          <cx:pt idx="64191">0</cx:pt>
          <cx:pt idx="64192">1</cx:pt>
          <cx:pt idx="64193">1</cx:pt>
          <cx:pt idx="64194">1</cx:pt>
          <cx:pt idx="64195">1</cx:pt>
          <cx:pt idx="64196">0</cx:pt>
          <cx:pt idx="64197">1</cx:pt>
          <cx:pt idx="64198">1</cx:pt>
          <cx:pt idx="64199">0</cx:pt>
          <cx:pt idx="64200">0</cx:pt>
          <cx:pt idx="64201">1</cx:pt>
          <cx:pt idx="64202">1</cx:pt>
          <cx:pt idx="64203">1</cx:pt>
          <cx:pt idx="64204">1</cx:pt>
          <cx:pt idx="64205">0</cx:pt>
          <cx:pt idx="64206">1</cx:pt>
          <cx:pt idx="64207">1</cx:pt>
          <cx:pt idx="64208">1</cx:pt>
          <cx:pt idx="64209">0</cx:pt>
          <cx:pt idx="64210">1</cx:pt>
          <cx:pt idx="64211">1</cx:pt>
          <cx:pt idx="64212">0</cx:pt>
          <cx:pt idx="64213">1</cx:pt>
          <cx:pt idx="64214">0</cx:pt>
          <cx:pt idx="64215">1</cx:pt>
          <cx:pt idx="64216">1</cx:pt>
          <cx:pt idx="64217">0</cx:pt>
          <cx:pt idx="64218">1</cx:pt>
          <cx:pt idx="64219">0</cx:pt>
          <cx:pt idx="64220">1</cx:pt>
          <cx:pt idx="64221">1</cx:pt>
          <cx:pt idx="64222">1</cx:pt>
          <cx:pt idx="64223">0</cx:pt>
          <cx:pt idx="64224">1</cx:pt>
          <cx:pt idx="64225">0</cx:pt>
          <cx:pt idx="64226">0</cx:pt>
          <cx:pt idx="64227">0</cx:pt>
          <cx:pt idx="64228">0</cx:pt>
          <cx:pt idx="64229">0</cx:pt>
          <cx:pt idx="64230">1</cx:pt>
          <cx:pt idx="64231">0</cx:pt>
          <cx:pt idx="64232">1</cx:pt>
          <cx:pt idx="64233">0</cx:pt>
          <cx:pt idx="64234">0</cx:pt>
          <cx:pt idx="64235">1</cx:pt>
          <cx:pt idx="64236">0</cx:pt>
          <cx:pt idx="64237">0</cx:pt>
          <cx:pt idx="64238">0</cx:pt>
          <cx:pt idx="64239">1</cx:pt>
          <cx:pt idx="64240">1</cx:pt>
          <cx:pt idx="64241">1</cx:pt>
          <cx:pt idx="64242">1</cx:pt>
          <cx:pt idx="64243">1</cx:pt>
          <cx:pt idx="64244">1</cx:pt>
          <cx:pt idx="64245">1</cx:pt>
          <cx:pt idx="64246">1</cx:pt>
          <cx:pt idx="64247">0</cx:pt>
          <cx:pt idx="64248">1</cx:pt>
          <cx:pt idx="64249">0</cx:pt>
          <cx:pt idx="64250">1</cx:pt>
          <cx:pt idx="64251">0</cx:pt>
          <cx:pt idx="64252">0</cx:pt>
          <cx:pt idx="64253">0</cx:pt>
          <cx:pt idx="64254">1</cx:pt>
          <cx:pt idx="64255">1</cx:pt>
          <cx:pt idx="64256">1</cx:pt>
          <cx:pt idx="64257">0</cx:pt>
          <cx:pt idx="64258">1</cx:pt>
          <cx:pt idx="64259">1</cx:pt>
          <cx:pt idx="64260">1</cx:pt>
          <cx:pt idx="64261">0</cx:pt>
          <cx:pt idx="64262">0</cx:pt>
          <cx:pt idx="64263">0</cx:pt>
          <cx:pt idx="64264">1</cx:pt>
          <cx:pt idx="64265">1</cx:pt>
          <cx:pt idx="64266">0</cx:pt>
          <cx:pt idx="64267">1</cx:pt>
          <cx:pt idx="64268">1</cx:pt>
          <cx:pt idx="64269">0</cx:pt>
          <cx:pt idx="64270">0</cx:pt>
          <cx:pt idx="64271">1</cx:pt>
          <cx:pt idx="64272">1</cx:pt>
          <cx:pt idx="64273">0</cx:pt>
          <cx:pt idx="64274">0</cx:pt>
          <cx:pt idx="64275">0</cx:pt>
          <cx:pt idx="64276">0</cx:pt>
          <cx:pt idx="64277">0</cx:pt>
          <cx:pt idx="64278">0</cx:pt>
          <cx:pt idx="64279">0</cx:pt>
          <cx:pt idx="64280">0</cx:pt>
          <cx:pt idx="64281">1</cx:pt>
          <cx:pt idx="64282">1</cx:pt>
          <cx:pt idx="64283">0</cx:pt>
          <cx:pt idx="64284">1</cx:pt>
          <cx:pt idx="64285">1</cx:pt>
          <cx:pt idx="64286">0</cx:pt>
          <cx:pt idx="64287">0</cx:pt>
          <cx:pt idx="64288">1</cx:pt>
          <cx:pt idx="64289">1</cx:pt>
          <cx:pt idx="64290">0</cx:pt>
          <cx:pt idx="64291">0</cx:pt>
          <cx:pt idx="64292">1</cx:pt>
          <cx:pt idx="64293">0</cx:pt>
          <cx:pt idx="64294">0</cx:pt>
          <cx:pt idx="64295">1</cx:pt>
          <cx:pt idx="64296">1</cx:pt>
          <cx:pt idx="64297">0</cx:pt>
          <cx:pt idx="64298">0</cx:pt>
          <cx:pt idx="64299">1</cx:pt>
          <cx:pt idx="64300">1</cx:pt>
          <cx:pt idx="64301">1</cx:pt>
          <cx:pt idx="64302">0</cx:pt>
          <cx:pt idx="64303">0</cx:pt>
          <cx:pt idx="64304">0</cx:pt>
          <cx:pt idx="64305">0</cx:pt>
          <cx:pt idx="64306">0</cx:pt>
          <cx:pt idx="64307">0</cx:pt>
          <cx:pt idx="64308">1</cx:pt>
          <cx:pt idx="64309">0</cx:pt>
          <cx:pt idx="64310">1</cx:pt>
          <cx:pt idx="64311">0</cx:pt>
          <cx:pt idx="64312">0</cx:pt>
          <cx:pt idx="64313">1</cx:pt>
          <cx:pt idx="64314">0</cx:pt>
          <cx:pt idx="64315">1</cx:pt>
          <cx:pt idx="64316">0</cx:pt>
          <cx:pt idx="64317">0</cx:pt>
          <cx:pt idx="64318">0</cx:pt>
          <cx:pt idx="64319">1</cx:pt>
          <cx:pt idx="64320">1</cx:pt>
          <cx:pt idx="64321">0</cx:pt>
          <cx:pt idx="64322">0</cx:pt>
          <cx:pt idx="64323">1</cx:pt>
          <cx:pt idx="64324">1</cx:pt>
          <cx:pt idx="64325">0</cx:pt>
          <cx:pt idx="64326">0</cx:pt>
          <cx:pt idx="64327">1</cx:pt>
          <cx:pt idx="64328">0</cx:pt>
          <cx:pt idx="64329">1</cx:pt>
          <cx:pt idx="64330">1</cx:pt>
          <cx:pt idx="64331">0</cx:pt>
          <cx:pt idx="64332">1</cx:pt>
          <cx:pt idx="64333">0</cx:pt>
          <cx:pt idx="64334">1</cx:pt>
          <cx:pt idx="64335">1</cx:pt>
          <cx:pt idx="64336">0</cx:pt>
          <cx:pt idx="64337">1</cx:pt>
          <cx:pt idx="64338">1</cx:pt>
          <cx:pt idx="64339">0</cx:pt>
          <cx:pt idx="64340">1</cx:pt>
          <cx:pt idx="64341">0</cx:pt>
          <cx:pt idx="64342">1</cx:pt>
          <cx:pt idx="64343">1</cx:pt>
          <cx:pt idx="64344">1</cx:pt>
          <cx:pt idx="64345">1</cx:pt>
          <cx:pt idx="64346">1</cx:pt>
          <cx:pt idx="64347">1</cx:pt>
          <cx:pt idx="64348">0</cx:pt>
          <cx:pt idx="64349">0</cx:pt>
          <cx:pt idx="64350">0</cx:pt>
          <cx:pt idx="64351">1</cx:pt>
          <cx:pt idx="64352">0</cx:pt>
          <cx:pt idx="64353">0</cx:pt>
          <cx:pt idx="64354">0</cx:pt>
          <cx:pt idx="64355">1</cx:pt>
          <cx:pt idx="64356">1</cx:pt>
          <cx:pt idx="64357">1</cx:pt>
          <cx:pt idx="64358">0</cx:pt>
          <cx:pt idx="64359">1</cx:pt>
          <cx:pt idx="64360">0</cx:pt>
          <cx:pt idx="64361">1</cx:pt>
          <cx:pt idx="64362">0</cx:pt>
          <cx:pt idx="64363">0</cx:pt>
          <cx:pt idx="64364">0</cx:pt>
          <cx:pt idx="64365">1</cx:pt>
          <cx:pt idx="64366">1</cx:pt>
          <cx:pt idx="64367">0</cx:pt>
          <cx:pt idx="64368">1</cx:pt>
          <cx:pt idx="64369">1</cx:pt>
          <cx:pt idx="64370">0</cx:pt>
          <cx:pt idx="64371">1</cx:pt>
          <cx:pt idx="64372">1</cx:pt>
          <cx:pt idx="64373">1</cx:pt>
          <cx:pt idx="64374">0</cx:pt>
          <cx:pt idx="64375">1</cx:pt>
          <cx:pt idx="64376">0</cx:pt>
          <cx:pt idx="64377">1</cx:pt>
          <cx:pt idx="64378">1</cx:pt>
          <cx:pt idx="64379">0</cx:pt>
          <cx:pt idx="64380">0</cx:pt>
          <cx:pt idx="64381">0</cx:pt>
          <cx:pt idx="64382">0</cx:pt>
          <cx:pt idx="64383">0</cx:pt>
          <cx:pt idx="64384">0</cx:pt>
          <cx:pt idx="64385">1</cx:pt>
          <cx:pt idx="64386">0</cx:pt>
          <cx:pt idx="64387">1</cx:pt>
          <cx:pt idx="64388">1</cx:pt>
          <cx:pt idx="64389">0</cx:pt>
          <cx:pt idx="64390">1</cx:pt>
          <cx:pt idx="64391">1</cx:pt>
          <cx:pt idx="64392">0</cx:pt>
          <cx:pt idx="64393">1</cx:pt>
          <cx:pt idx="64394">0</cx:pt>
          <cx:pt idx="64395">0</cx:pt>
          <cx:pt idx="64396">0</cx:pt>
          <cx:pt idx="64397">0</cx:pt>
          <cx:pt idx="64398">0</cx:pt>
          <cx:pt idx="64399">1</cx:pt>
          <cx:pt idx="64400">0</cx:pt>
          <cx:pt idx="64401">0</cx:pt>
          <cx:pt idx="64402">0</cx:pt>
          <cx:pt idx="64403">0</cx:pt>
          <cx:pt idx="64404">0</cx:pt>
          <cx:pt idx="64405">0</cx:pt>
          <cx:pt idx="64406">0</cx:pt>
          <cx:pt idx="64407">1</cx:pt>
          <cx:pt idx="64408">0</cx:pt>
          <cx:pt idx="64409">1</cx:pt>
          <cx:pt idx="64410">0</cx:pt>
          <cx:pt idx="64411">1</cx:pt>
          <cx:pt idx="64412">1</cx:pt>
          <cx:pt idx="64413">1</cx:pt>
          <cx:pt idx="64414">0</cx:pt>
          <cx:pt idx="64415">1</cx:pt>
          <cx:pt idx="64416">1</cx:pt>
          <cx:pt idx="64417">0</cx:pt>
          <cx:pt idx="64418">0</cx:pt>
          <cx:pt idx="64419">1</cx:pt>
          <cx:pt idx="64420">1</cx:pt>
          <cx:pt idx="64421">0</cx:pt>
          <cx:pt idx="64422">0</cx:pt>
          <cx:pt idx="64423">1</cx:pt>
          <cx:pt idx="64424">0</cx:pt>
          <cx:pt idx="64425">0</cx:pt>
          <cx:pt idx="64426">0</cx:pt>
          <cx:pt idx="64427">1</cx:pt>
          <cx:pt idx="64428">1</cx:pt>
          <cx:pt idx="64429">1</cx:pt>
          <cx:pt idx="64430">0</cx:pt>
          <cx:pt idx="64431">1</cx:pt>
          <cx:pt idx="64432">0</cx:pt>
          <cx:pt idx="64433">0</cx:pt>
          <cx:pt idx="64434">1</cx:pt>
          <cx:pt idx="64435">0</cx:pt>
          <cx:pt idx="64436">0</cx:pt>
          <cx:pt idx="64437">1</cx:pt>
          <cx:pt idx="64438">1</cx:pt>
          <cx:pt idx="64439">0</cx:pt>
          <cx:pt idx="64440">0</cx:pt>
          <cx:pt idx="64441">0</cx:pt>
          <cx:pt idx="64442">0</cx:pt>
          <cx:pt idx="64443">1</cx:pt>
          <cx:pt idx="64444">1</cx:pt>
          <cx:pt idx="64445">0</cx:pt>
          <cx:pt idx="64446">0</cx:pt>
          <cx:pt idx="64447">0</cx:pt>
          <cx:pt idx="64448">1</cx:pt>
          <cx:pt idx="64449">0</cx:pt>
          <cx:pt idx="64450">1</cx:pt>
          <cx:pt idx="64451">1</cx:pt>
          <cx:pt idx="64452">1</cx:pt>
          <cx:pt idx="64453">1</cx:pt>
          <cx:pt idx="64454">0</cx:pt>
          <cx:pt idx="64455">0</cx:pt>
          <cx:pt idx="64456">0</cx:pt>
          <cx:pt idx="64457">1</cx:pt>
          <cx:pt idx="64458">1</cx:pt>
          <cx:pt idx="64459">1</cx:pt>
          <cx:pt idx="64460">1</cx:pt>
          <cx:pt idx="64461">0</cx:pt>
          <cx:pt idx="64462">1</cx:pt>
          <cx:pt idx="64463">1</cx:pt>
          <cx:pt idx="64464">0</cx:pt>
          <cx:pt idx="64465">0</cx:pt>
          <cx:pt idx="64466">0</cx:pt>
          <cx:pt idx="64467">0</cx:pt>
          <cx:pt idx="64468">1</cx:pt>
          <cx:pt idx="64469">1</cx:pt>
          <cx:pt idx="64470">0</cx:pt>
          <cx:pt idx="64471">1</cx:pt>
          <cx:pt idx="64472">1</cx:pt>
          <cx:pt idx="64473">1</cx:pt>
          <cx:pt idx="64474">0</cx:pt>
          <cx:pt idx="64475">1</cx:pt>
          <cx:pt idx="64476">0</cx:pt>
          <cx:pt idx="64477">0</cx:pt>
          <cx:pt idx="64478">0</cx:pt>
          <cx:pt idx="64479">1</cx:pt>
          <cx:pt idx="64480">1</cx:pt>
          <cx:pt idx="64481">0</cx:pt>
          <cx:pt idx="64482">0</cx:pt>
          <cx:pt idx="64483">1</cx:pt>
          <cx:pt idx="64484">1</cx:pt>
          <cx:pt idx="64485">1</cx:pt>
          <cx:pt idx="64486">1</cx:pt>
          <cx:pt idx="64487">1</cx:pt>
          <cx:pt idx="64488">1</cx:pt>
          <cx:pt idx="64489">0</cx:pt>
          <cx:pt idx="64490">0</cx:pt>
          <cx:pt idx="64491">1</cx:pt>
          <cx:pt idx="64492">1</cx:pt>
          <cx:pt idx="64493">0</cx:pt>
          <cx:pt idx="64494">1</cx:pt>
          <cx:pt idx="64495">0</cx:pt>
          <cx:pt idx="64496">0</cx:pt>
          <cx:pt idx="64497">1</cx:pt>
          <cx:pt idx="64498">0</cx:pt>
          <cx:pt idx="64499">1</cx:pt>
          <cx:pt idx="64500">1</cx:pt>
          <cx:pt idx="64501">0</cx:pt>
          <cx:pt idx="64502">0</cx:pt>
          <cx:pt idx="64503">0</cx:pt>
          <cx:pt idx="64504">1</cx:pt>
          <cx:pt idx="64505">0</cx:pt>
          <cx:pt idx="64506">0</cx:pt>
          <cx:pt idx="64507">1</cx:pt>
          <cx:pt idx="64508">0</cx:pt>
          <cx:pt idx="64509">1</cx:pt>
          <cx:pt idx="64510">0</cx:pt>
          <cx:pt idx="64511">0</cx:pt>
          <cx:pt idx="64512">1</cx:pt>
          <cx:pt idx="64513">1</cx:pt>
          <cx:pt idx="64514">0</cx:pt>
          <cx:pt idx="64515">1</cx:pt>
          <cx:pt idx="64516">0</cx:pt>
          <cx:pt idx="64517">1</cx:pt>
          <cx:pt idx="64518">0</cx:pt>
          <cx:pt idx="64519">1</cx:pt>
          <cx:pt idx="64520">1</cx:pt>
          <cx:pt idx="64521">0</cx:pt>
          <cx:pt idx="64522">0</cx:pt>
          <cx:pt idx="64523">1</cx:pt>
          <cx:pt idx="64524">0</cx:pt>
          <cx:pt idx="64525">1</cx:pt>
          <cx:pt idx="64526">1</cx:pt>
          <cx:pt idx="64527">0</cx:pt>
          <cx:pt idx="64528">1</cx:pt>
          <cx:pt idx="64529">1</cx:pt>
          <cx:pt idx="64530">1</cx:pt>
          <cx:pt idx="64531">0</cx:pt>
          <cx:pt idx="64532">0</cx:pt>
          <cx:pt idx="64533">0</cx:pt>
          <cx:pt idx="64534">1</cx:pt>
          <cx:pt idx="64535">0</cx:pt>
          <cx:pt idx="64536">0</cx:pt>
          <cx:pt idx="64537">0</cx:pt>
          <cx:pt idx="64538">1</cx:pt>
          <cx:pt idx="64539">1</cx:pt>
          <cx:pt idx="64540">1</cx:pt>
          <cx:pt idx="64541">1</cx:pt>
          <cx:pt idx="64542">0</cx:pt>
          <cx:pt idx="64543">0</cx:pt>
          <cx:pt idx="64544">1</cx:pt>
          <cx:pt idx="64545">1</cx:pt>
          <cx:pt idx="64546">0</cx:pt>
          <cx:pt idx="64547">0</cx:pt>
          <cx:pt idx="64548">1</cx:pt>
          <cx:pt idx="64549">1</cx:pt>
          <cx:pt idx="64550">1</cx:pt>
          <cx:pt idx="64551">0</cx:pt>
          <cx:pt idx="64552">0</cx:pt>
          <cx:pt idx="64553">1</cx:pt>
          <cx:pt idx="64554">1</cx:pt>
          <cx:pt idx="64555">0</cx:pt>
          <cx:pt idx="64556">0</cx:pt>
          <cx:pt idx="64557">0</cx:pt>
          <cx:pt idx="64558">0</cx:pt>
          <cx:pt idx="64559">0</cx:pt>
          <cx:pt idx="64560">0</cx:pt>
          <cx:pt idx="64561">1</cx:pt>
          <cx:pt idx="64562">0</cx:pt>
          <cx:pt idx="64563">1</cx:pt>
          <cx:pt idx="64564">1</cx:pt>
          <cx:pt idx="64565">1</cx:pt>
          <cx:pt idx="64566">0</cx:pt>
          <cx:pt idx="64567">1</cx:pt>
          <cx:pt idx="64568">0</cx:pt>
          <cx:pt idx="64569">0</cx:pt>
          <cx:pt idx="64570">1</cx:pt>
          <cx:pt idx="64571">1</cx:pt>
          <cx:pt idx="64572">0</cx:pt>
          <cx:pt idx="64573">0</cx:pt>
          <cx:pt idx="64574">1</cx:pt>
          <cx:pt idx="64575">1</cx:pt>
          <cx:pt idx="64576">0</cx:pt>
          <cx:pt idx="64577">0</cx:pt>
          <cx:pt idx="64578">0</cx:pt>
          <cx:pt idx="64579">0</cx:pt>
          <cx:pt idx="64580">0</cx:pt>
          <cx:pt idx="64581">0</cx:pt>
          <cx:pt idx="64582">0</cx:pt>
          <cx:pt idx="64583">1</cx:pt>
          <cx:pt idx="64584">0</cx:pt>
          <cx:pt idx="64585">0</cx:pt>
          <cx:pt idx="64586">0</cx:pt>
          <cx:pt idx="64587">0</cx:pt>
          <cx:pt idx="64588">0</cx:pt>
          <cx:pt idx="64589">0</cx:pt>
          <cx:pt idx="64590">0</cx:pt>
          <cx:pt idx="64591">1</cx:pt>
          <cx:pt idx="64592">0</cx:pt>
          <cx:pt idx="64593">0</cx:pt>
          <cx:pt idx="64594">1</cx:pt>
          <cx:pt idx="64595">1</cx:pt>
          <cx:pt idx="64596">1</cx:pt>
          <cx:pt idx="64597">1</cx:pt>
          <cx:pt idx="64598">1</cx:pt>
          <cx:pt idx="64599">0</cx:pt>
          <cx:pt idx="64600">1</cx:pt>
          <cx:pt idx="64601">0</cx:pt>
          <cx:pt idx="64602">0</cx:pt>
          <cx:pt idx="64603">1</cx:pt>
          <cx:pt idx="64604">0</cx:pt>
          <cx:pt idx="64605">0</cx:pt>
          <cx:pt idx="64606">1</cx:pt>
          <cx:pt idx="64607">1</cx:pt>
          <cx:pt idx="64608">0</cx:pt>
          <cx:pt idx="64609">0</cx:pt>
          <cx:pt idx="64610">1</cx:pt>
          <cx:pt idx="64611">0</cx:pt>
          <cx:pt idx="64612">0</cx:pt>
          <cx:pt idx="64613">1</cx:pt>
          <cx:pt idx="64614">1</cx:pt>
          <cx:pt idx="64615">0</cx:pt>
          <cx:pt idx="64616">0</cx:pt>
          <cx:pt idx="64617">1</cx:pt>
          <cx:pt idx="64618">0</cx:pt>
          <cx:pt idx="64619">0</cx:pt>
          <cx:pt idx="64620">0</cx:pt>
          <cx:pt idx="64621">0</cx:pt>
          <cx:pt idx="64622">0</cx:pt>
          <cx:pt idx="64623">1</cx:pt>
          <cx:pt idx="64624">1</cx:pt>
          <cx:pt idx="64625">0</cx:pt>
          <cx:pt idx="64626">1</cx:pt>
          <cx:pt idx="64627">0</cx:pt>
          <cx:pt idx="64628">1</cx:pt>
          <cx:pt idx="64629">1</cx:pt>
          <cx:pt idx="64630">1</cx:pt>
          <cx:pt idx="64631">1</cx:pt>
          <cx:pt idx="64632">0</cx:pt>
          <cx:pt idx="64633">0</cx:pt>
          <cx:pt idx="64634">0</cx:pt>
          <cx:pt idx="64635">1</cx:pt>
          <cx:pt idx="64636">0</cx:pt>
          <cx:pt idx="64637">1</cx:pt>
          <cx:pt idx="64638">1</cx:pt>
          <cx:pt idx="64639">1</cx:pt>
          <cx:pt idx="64640">1</cx:pt>
          <cx:pt idx="64641">0</cx:pt>
          <cx:pt idx="64642">1</cx:pt>
          <cx:pt idx="64643">0</cx:pt>
          <cx:pt idx="64644">1</cx:pt>
          <cx:pt idx="64645">0</cx:pt>
          <cx:pt idx="64646">0</cx:pt>
          <cx:pt idx="64647">0</cx:pt>
          <cx:pt idx="64648">0</cx:pt>
          <cx:pt idx="64649">1</cx:pt>
          <cx:pt idx="64650">0</cx:pt>
          <cx:pt idx="64651">0</cx:pt>
          <cx:pt idx="64652">1</cx:pt>
          <cx:pt idx="64653">1</cx:pt>
          <cx:pt idx="64654">0</cx:pt>
          <cx:pt idx="64655">0</cx:pt>
          <cx:pt idx="64656">1</cx:pt>
          <cx:pt idx="64657">0</cx:pt>
          <cx:pt idx="64658">1</cx:pt>
          <cx:pt idx="64659">1</cx:pt>
          <cx:pt idx="64660">1</cx:pt>
          <cx:pt idx="64661">0</cx:pt>
          <cx:pt idx="64662">1</cx:pt>
          <cx:pt idx="64663">1</cx:pt>
          <cx:pt idx="64664">0</cx:pt>
          <cx:pt idx="64665">1</cx:pt>
          <cx:pt idx="64666">0</cx:pt>
          <cx:pt idx="64667">1</cx:pt>
          <cx:pt idx="64668">1</cx:pt>
          <cx:pt idx="64669">0</cx:pt>
          <cx:pt idx="64670">0</cx:pt>
          <cx:pt idx="64671">1</cx:pt>
          <cx:pt idx="64672">0</cx:pt>
          <cx:pt idx="64673">1</cx:pt>
          <cx:pt idx="64674">0</cx:pt>
          <cx:pt idx="64675">1</cx:pt>
          <cx:pt idx="64676">0</cx:pt>
          <cx:pt idx="64677">0</cx:pt>
          <cx:pt idx="64678">0</cx:pt>
          <cx:pt idx="64679">0</cx:pt>
          <cx:pt idx="64680">0</cx:pt>
          <cx:pt idx="64681">1</cx:pt>
          <cx:pt idx="64682">0</cx:pt>
          <cx:pt idx="64683">1</cx:pt>
          <cx:pt idx="64684">1</cx:pt>
          <cx:pt idx="64685">1</cx:pt>
          <cx:pt idx="64686">0</cx:pt>
          <cx:pt idx="64687">1</cx:pt>
          <cx:pt idx="64688">0</cx:pt>
          <cx:pt idx="64689">0</cx:pt>
          <cx:pt idx="64690">1</cx:pt>
          <cx:pt idx="64691">0</cx:pt>
          <cx:pt idx="64692">1</cx:pt>
          <cx:pt idx="64693">1</cx:pt>
          <cx:pt idx="64694">1</cx:pt>
          <cx:pt idx="64695">1</cx:pt>
          <cx:pt idx="64696">1</cx:pt>
          <cx:pt idx="64697">0</cx:pt>
          <cx:pt idx="64698">1</cx:pt>
          <cx:pt idx="64699">1</cx:pt>
          <cx:pt idx="64700">0</cx:pt>
          <cx:pt idx="64701">0</cx:pt>
          <cx:pt idx="64702">0</cx:pt>
          <cx:pt idx="64703">1</cx:pt>
          <cx:pt idx="64704">1</cx:pt>
          <cx:pt idx="64705">0</cx:pt>
          <cx:pt idx="64706">1</cx:pt>
          <cx:pt idx="64707">0</cx:pt>
          <cx:pt idx="64708">0</cx:pt>
          <cx:pt idx="64709">1</cx:pt>
          <cx:pt idx="64710">1</cx:pt>
          <cx:pt idx="64711">1</cx:pt>
          <cx:pt idx="64712">1</cx:pt>
          <cx:pt idx="64713">0</cx:pt>
          <cx:pt idx="64714">1</cx:pt>
          <cx:pt idx="64715">0</cx:pt>
          <cx:pt idx="64716">1</cx:pt>
          <cx:pt idx="64717">0</cx:pt>
          <cx:pt idx="64718">0</cx:pt>
          <cx:pt idx="64719">1</cx:pt>
          <cx:pt idx="64720">0</cx:pt>
          <cx:pt idx="64721">1</cx:pt>
          <cx:pt idx="64722">1</cx:pt>
          <cx:pt idx="64723">1</cx:pt>
          <cx:pt idx="64724">1</cx:pt>
          <cx:pt idx="64725">0</cx:pt>
          <cx:pt idx="64726">0</cx:pt>
          <cx:pt idx="64727">1</cx:pt>
          <cx:pt idx="64728">1</cx:pt>
          <cx:pt idx="64729">1</cx:pt>
          <cx:pt idx="64730">0</cx:pt>
          <cx:pt idx="64731">1</cx:pt>
          <cx:pt idx="64732">0</cx:pt>
          <cx:pt idx="64733">0</cx:pt>
          <cx:pt idx="64734">0</cx:pt>
          <cx:pt idx="64735">1</cx:pt>
          <cx:pt idx="64736">0</cx:pt>
          <cx:pt idx="64737">1</cx:pt>
          <cx:pt idx="64738">1</cx:pt>
          <cx:pt idx="64739">1</cx:pt>
          <cx:pt idx="64740">1</cx:pt>
          <cx:pt idx="64741">1</cx:pt>
          <cx:pt idx="64742">1</cx:pt>
          <cx:pt idx="64743">0</cx:pt>
          <cx:pt idx="64744">1</cx:pt>
          <cx:pt idx="64745">0</cx:pt>
          <cx:pt idx="64746">1</cx:pt>
          <cx:pt idx="64747">1</cx:pt>
          <cx:pt idx="64748">1</cx:pt>
          <cx:pt idx="64749">0</cx:pt>
          <cx:pt idx="64750">1</cx:pt>
          <cx:pt idx="64751">1</cx:pt>
          <cx:pt idx="64752">0</cx:pt>
          <cx:pt idx="64753">1</cx:pt>
          <cx:pt idx="64754">1</cx:pt>
          <cx:pt idx="64755">0</cx:pt>
          <cx:pt idx="64756">0</cx:pt>
          <cx:pt idx="64757">1</cx:pt>
          <cx:pt idx="64758">0</cx:pt>
          <cx:pt idx="64759">1</cx:pt>
          <cx:pt idx="64760">0</cx:pt>
          <cx:pt idx="64761">1</cx:pt>
          <cx:pt idx="64762">1</cx:pt>
          <cx:pt idx="64763">0</cx:pt>
          <cx:pt idx="64764">1</cx:pt>
          <cx:pt idx="64765">0</cx:pt>
          <cx:pt idx="64766">0</cx:pt>
          <cx:pt idx="64767">1</cx:pt>
          <cx:pt idx="64768">1</cx:pt>
          <cx:pt idx="64769">0</cx:pt>
          <cx:pt idx="64770">0</cx:pt>
          <cx:pt idx="64771">0</cx:pt>
          <cx:pt idx="64772">0</cx:pt>
          <cx:pt idx="64773">1</cx:pt>
          <cx:pt idx="64774">1</cx:pt>
          <cx:pt idx="64775">0</cx:pt>
          <cx:pt idx="64776">1</cx:pt>
          <cx:pt idx="64777">1</cx:pt>
          <cx:pt idx="64778">0</cx:pt>
          <cx:pt idx="64779">1</cx:pt>
          <cx:pt idx="64780">0</cx:pt>
          <cx:pt idx="64781">1</cx:pt>
          <cx:pt idx="64782">0</cx:pt>
          <cx:pt idx="64783">1</cx:pt>
          <cx:pt idx="64784">0</cx:pt>
          <cx:pt idx="64785">0</cx:pt>
          <cx:pt idx="64786">0</cx:pt>
          <cx:pt idx="64787">0</cx:pt>
          <cx:pt idx="64788">0</cx:pt>
          <cx:pt idx="64789">1</cx:pt>
          <cx:pt idx="64790">0</cx:pt>
          <cx:pt idx="64791">1</cx:pt>
          <cx:pt idx="64792">0</cx:pt>
          <cx:pt idx="64793">0</cx:pt>
          <cx:pt idx="64794">1</cx:pt>
          <cx:pt idx="64795">1</cx:pt>
          <cx:pt idx="64796">1</cx:pt>
          <cx:pt idx="64797">1</cx:pt>
          <cx:pt idx="64798">1</cx:pt>
          <cx:pt idx="64799">1</cx:pt>
          <cx:pt idx="64800">0</cx:pt>
          <cx:pt idx="64801">0</cx:pt>
          <cx:pt idx="64802">0</cx:pt>
          <cx:pt idx="64803">1</cx:pt>
          <cx:pt idx="64804">1</cx:pt>
          <cx:pt idx="64805">1</cx:pt>
          <cx:pt idx="64806">0</cx:pt>
          <cx:pt idx="64807">0</cx:pt>
          <cx:pt idx="64808">0</cx:pt>
          <cx:pt idx="64809">0</cx:pt>
          <cx:pt idx="64810">0</cx:pt>
          <cx:pt idx="64811">1</cx:pt>
          <cx:pt idx="64812">0</cx:pt>
          <cx:pt idx="64813">0</cx:pt>
          <cx:pt idx="64814">1</cx:pt>
          <cx:pt idx="64815">0</cx:pt>
          <cx:pt idx="64816">0</cx:pt>
          <cx:pt idx="64817">0</cx:pt>
          <cx:pt idx="64818">0</cx:pt>
          <cx:pt idx="64819">0</cx:pt>
          <cx:pt idx="64820">0</cx:pt>
          <cx:pt idx="64821">1</cx:pt>
          <cx:pt idx="64822">1</cx:pt>
          <cx:pt idx="64823">0</cx:pt>
          <cx:pt idx="64824">1</cx:pt>
          <cx:pt idx="64825">0</cx:pt>
          <cx:pt idx="64826">0</cx:pt>
          <cx:pt idx="64827">0</cx:pt>
          <cx:pt idx="64828">1</cx:pt>
          <cx:pt idx="64829">0</cx:pt>
          <cx:pt idx="64830">1</cx:pt>
          <cx:pt idx="64831">0</cx:pt>
          <cx:pt idx="64832">0</cx:pt>
          <cx:pt idx="64833">0</cx:pt>
          <cx:pt idx="64834">0</cx:pt>
          <cx:pt idx="64835">1</cx:pt>
          <cx:pt idx="64836">1</cx:pt>
          <cx:pt idx="64837">0</cx:pt>
          <cx:pt idx="64838">0</cx:pt>
          <cx:pt idx="64839">0</cx:pt>
          <cx:pt idx="64840">1</cx:pt>
          <cx:pt idx="64841">1</cx:pt>
          <cx:pt idx="64842">1</cx:pt>
          <cx:pt idx="64843">0</cx:pt>
          <cx:pt idx="64844">0</cx:pt>
          <cx:pt idx="64845">1</cx:pt>
          <cx:pt idx="64846">0</cx:pt>
          <cx:pt idx="64847">1</cx:pt>
          <cx:pt idx="64848">0</cx:pt>
          <cx:pt idx="64849">0</cx:pt>
          <cx:pt idx="64850">0</cx:pt>
          <cx:pt idx="64851">0</cx:pt>
          <cx:pt idx="64852">0</cx:pt>
          <cx:pt idx="64853">1</cx:pt>
          <cx:pt idx="64854">0</cx:pt>
          <cx:pt idx="64855">1</cx:pt>
          <cx:pt idx="64856">1</cx:pt>
          <cx:pt idx="64857">0</cx:pt>
          <cx:pt idx="64858">1</cx:pt>
          <cx:pt idx="64859">0</cx:pt>
          <cx:pt idx="64860">1</cx:pt>
          <cx:pt idx="64861">1</cx:pt>
          <cx:pt idx="64862">1</cx:pt>
          <cx:pt idx="64863">1</cx:pt>
          <cx:pt idx="64864">1</cx:pt>
          <cx:pt idx="64865">1</cx:pt>
          <cx:pt idx="64866">0</cx:pt>
          <cx:pt idx="64867">0</cx:pt>
          <cx:pt idx="64868">1</cx:pt>
          <cx:pt idx="64869">1</cx:pt>
          <cx:pt idx="64870">1</cx:pt>
          <cx:pt idx="64871">0</cx:pt>
          <cx:pt idx="64872">1</cx:pt>
          <cx:pt idx="64873">0</cx:pt>
          <cx:pt idx="64874">0</cx:pt>
          <cx:pt idx="64875">1</cx:pt>
          <cx:pt idx="64876">0</cx:pt>
          <cx:pt idx="64877">0</cx:pt>
          <cx:pt idx="64878">0</cx:pt>
          <cx:pt idx="64879">1</cx:pt>
          <cx:pt idx="64880">1</cx:pt>
          <cx:pt idx="64881">0</cx:pt>
          <cx:pt idx="64882">0</cx:pt>
          <cx:pt idx="64883">0</cx:pt>
          <cx:pt idx="64884">0</cx:pt>
          <cx:pt idx="64885">1</cx:pt>
          <cx:pt idx="64886">0</cx:pt>
          <cx:pt idx="64887">0</cx:pt>
          <cx:pt idx="64888">0</cx:pt>
          <cx:pt idx="64889">1</cx:pt>
          <cx:pt idx="64890">0</cx:pt>
          <cx:pt idx="64891">0</cx:pt>
          <cx:pt idx="64892">0</cx:pt>
          <cx:pt idx="64893">1</cx:pt>
          <cx:pt idx="64894">0</cx:pt>
          <cx:pt idx="64895">0</cx:pt>
          <cx:pt idx="64896">0</cx:pt>
          <cx:pt idx="64897">1</cx:pt>
          <cx:pt idx="64898">1</cx:pt>
          <cx:pt idx="64899">1</cx:pt>
          <cx:pt idx="64900">1</cx:pt>
          <cx:pt idx="64901">1</cx:pt>
          <cx:pt idx="64902">1</cx:pt>
          <cx:pt idx="64903">0</cx:pt>
          <cx:pt idx="64904">0</cx:pt>
          <cx:pt idx="64905">1</cx:pt>
          <cx:pt idx="64906">1</cx:pt>
          <cx:pt idx="64907">1</cx:pt>
          <cx:pt idx="64908">1</cx:pt>
          <cx:pt idx="64909">1</cx:pt>
          <cx:pt idx="64910">1</cx:pt>
          <cx:pt idx="64911">0</cx:pt>
          <cx:pt idx="64912">1</cx:pt>
          <cx:pt idx="64913">0</cx:pt>
          <cx:pt idx="64914">0</cx:pt>
          <cx:pt idx="64915">0</cx:pt>
          <cx:pt idx="64916">1</cx:pt>
          <cx:pt idx="64917">1</cx:pt>
          <cx:pt idx="64918">0</cx:pt>
          <cx:pt idx="64919">0</cx:pt>
          <cx:pt idx="64920">0</cx:pt>
          <cx:pt idx="64921">0</cx:pt>
          <cx:pt idx="64922">1</cx:pt>
          <cx:pt idx="64923">0</cx:pt>
          <cx:pt idx="64924">0</cx:pt>
          <cx:pt idx="64925">0</cx:pt>
          <cx:pt idx="64926">1</cx:pt>
          <cx:pt idx="64927">1</cx:pt>
          <cx:pt idx="64928">0</cx:pt>
          <cx:pt idx="64929">1</cx:pt>
          <cx:pt idx="64930">0</cx:pt>
          <cx:pt idx="64931">1</cx:pt>
          <cx:pt idx="64932">1</cx:pt>
          <cx:pt idx="64933">1</cx:pt>
          <cx:pt idx="64934">1</cx:pt>
          <cx:pt idx="64935">1</cx:pt>
          <cx:pt idx="64936">0</cx:pt>
          <cx:pt idx="64937">0</cx:pt>
          <cx:pt idx="64938">0</cx:pt>
          <cx:pt idx="64939">0</cx:pt>
          <cx:pt idx="64940">1</cx:pt>
          <cx:pt idx="64941">1</cx:pt>
          <cx:pt idx="64942">0</cx:pt>
          <cx:pt idx="64943">1</cx:pt>
          <cx:pt idx="64944">0</cx:pt>
          <cx:pt idx="64945">1</cx:pt>
          <cx:pt idx="64946">1</cx:pt>
          <cx:pt idx="64947">0</cx:pt>
          <cx:pt idx="64948">0</cx:pt>
          <cx:pt idx="64949">0</cx:pt>
          <cx:pt idx="64950">1</cx:pt>
          <cx:pt idx="64951">0</cx:pt>
          <cx:pt idx="64952">0</cx:pt>
          <cx:pt idx="64953">1</cx:pt>
          <cx:pt idx="64954">1</cx:pt>
          <cx:pt idx="64955">0</cx:pt>
          <cx:pt idx="64956">1</cx:pt>
          <cx:pt idx="64957">1</cx:pt>
          <cx:pt idx="64958">1</cx:pt>
          <cx:pt idx="64959">0</cx:pt>
          <cx:pt idx="64960">0</cx:pt>
          <cx:pt idx="64961">0</cx:pt>
          <cx:pt idx="64962">0</cx:pt>
          <cx:pt idx="64963">0</cx:pt>
          <cx:pt idx="64964">1</cx:pt>
          <cx:pt idx="64965">0</cx:pt>
          <cx:pt idx="64966">1</cx:pt>
          <cx:pt idx="64967">0</cx:pt>
          <cx:pt idx="64968">1</cx:pt>
          <cx:pt idx="64969">0</cx:pt>
          <cx:pt idx="64970">0</cx:pt>
          <cx:pt idx="64971">0</cx:pt>
          <cx:pt idx="64972">1</cx:pt>
          <cx:pt idx="64973">0</cx:pt>
          <cx:pt idx="64974">1</cx:pt>
          <cx:pt idx="64975">1</cx:pt>
          <cx:pt idx="64976">1</cx:pt>
          <cx:pt idx="64977">1</cx:pt>
          <cx:pt idx="64978">0</cx:pt>
          <cx:pt idx="64979">0</cx:pt>
          <cx:pt idx="64980">0</cx:pt>
          <cx:pt idx="64981">1</cx:pt>
          <cx:pt idx="64982">1</cx:pt>
          <cx:pt idx="64983">0</cx:pt>
          <cx:pt idx="64984">1</cx:pt>
          <cx:pt idx="64985">0</cx:pt>
          <cx:pt idx="64986">0</cx:pt>
          <cx:pt idx="64987">0</cx:pt>
          <cx:pt idx="64988">0</cx:pt>
          <cx:pt idx="64989">0</cx:pt>
          <cx:pt idx="64990">0</cx:pt>
          <cx:pt idx="64991">1</cx:pt>
          <cx:pt idx="64992">0</cx:pt>
          <cx:pt idx="64993">0</cx:pt>
          <cx:pt idx="64994">1</cx:pt>
          <cx:pt idx="64995">0</cx:pt>
          <cx:pt idx="64996">0</cx:pt>
          <cx:pt idx="64997">0</cx:pt>
          <cx:pt idx="64998">0</cx:pt>
          <cx:pt idx="64999">0</cx:pt>
          <cx:pt idx="65000">0</cx:pt>
          <cx:pt idx="65001">0</cx:pt>
          <cx:pt idx="65002">0</cx:pt>
          <cx:pt idx="65003">0</cx:pt>
          <cx:pt idx="65004">0</cx:pt>
          <cx:pt idx="65005">0</cx:pt>
          <cx:pt idx="65006">0</cx:pt>
          <cx:pt idx="65007">1</cx:pt>
          <cx:pt idx="65008">1</cx:pt>
          <cx:pt idx="65009">1</cx:pt>
          <cx:pt idx="65010">0</cx:pt>
          <cx:pt idx="65011">1</cx:pt>
          <cx:pt idx="65012">0</cx:pt>
          <cx:pt idx="65013">0</cx:pt>
          <cx:pt idx="65014">1</cx:pt>
          <cx:pt idx="65015">1</cx:pt>
          <cx:pt idx="65016">0</cx:pt>
          <cx:pt idx="65017">0</cx:pt>
          <cx:pt idx="65018">0</cx:pt>
          <cx:pt idx="65019">0</cx:pt>
          <cx:pt idx="65020">0</cx:pt>
          <cx:pt idx="65021">0</cx:pt>
          <cx:pt idx="65022">0</cx:pt>
          <cx:pt idx="65023">0</cx:pt>
          <cx:pt idx="65024">0</cx:pt>
          <cx:pt idx="65025">0</cx:pt>
          <cx:pt idx="65026">0</cx:pt>
          <cx:pt idx="65027">0</cx:pt>
          <cx:pt idx="65028">0</cx:pt>
          <cx:pt idx="65029">1</cx:pt>
          <cx:pt idx="65030">1</cx:pt>
          <cx:pt idx="65031">1</cx:pt>
          <cx:pt idx="65032">0</cx:pt>
          <cx:pt idx="65033">0</cx:pt>
          <cx:pt idx="65034">0</cx:pt>
          <cx:pt idx="65035">0</cx:pt>
          <cx:pt idx="65036">0</cx:pt>
          <cx:pt idx="65037">1</cx:pt>
          <cx:pt idx="65038">0</cx:pt>
          <cx:pt idx="65039">0</cx:pt>
          <cx:pt idx="65040">0</cx:pt>
          <cx:pt idx="65041">1</cx:pt>
          <cx:pt idx="65042">1</cx:pt>
          <cx:pt idx="65043">0</cx:pt>
          <cx:pt idx="65044">1</cx:pt>
          <cx:pt idx="65045">0</cx:pt>
          <cx:pt idx="65046">1</cx:pt>
          <cx:pt idx="65047">1</cx:pt>
          <cx:pt idx="65048">0</cx:pt>
          <cx:pt idx="65049">1</cx:pt>
          <cx:pt idx="65050">1</cx:pt>
          <cx:pt idx="65051">0</cx:pt>
          <cx:pt idx="65052">1</cx:pt>
          <cx:pt idx="65053">0</cx:pt>
          <cx:pt idx="65054">1</cx:pt>
          <cx:pt idx="65055">0</cx:pt>
          <cx:pt idx="65056">1</cx:pt>
          <cx:pt idx="65057">0</cx:pt>
          <cx:pt idx="65058">1</cx:pt>
          <cx:pt idx="65059">0</cx:pt>
          <cx:pt idx="65060">0</cx:pt>
          <cx:pt idx="65061">0</cx:pt>
          <cx:pt idx="65062">1</cx:pt>
          <cx:pt idx="65063">1</cx:pt>
          <cx:pt idx="65064">0</cx:pt>
          <cx:pt idx="65065">0</cx:pt>
          <cx:pt idx="65066">0</cx:pt>
          <cx:pt idx="65067">0</cx:pt>
          <cx:pt idx="65068">1</cx:pt>
          <cx:pt idx="65069">1</cx:pt>
          <cx:pt idx="65070">0</cx:pt>
          <cx:pt idx="65071">1</cx:pt>
          <cx:pt idx="65072">0</cx:pt>
          <cx:pt idx="65073">1</cx:pt>
          <cx:pt idx="65074">1</cx:pt>
          <cx:pt idx="65075">1</cx:pt>
          <cx:pt idx="65076">1</cx:pt>
          <cx:pt idx="65077">0</cx:pt>
          <cx:pt idx="65078">0</cx:pt>
          <cx:pt idx="65079">0</cx:pt>
          <cx:pt idx="65080">1</cx:pt>
          <cx:pt idx="65081">0</cx:pt>
          <cx:pt idx="65082">0</cx:pt>
          <cx:pt idx="65083">0</cx:pt>
          <cx:pt idx="65084">0</cx:pt>
          <cx:pt idx="65085">1</cx:pt>
          <cx:pt idx="65086">0</cx:pt>
          <cx:pt idx="65087">0</cx:pt>
          <cx:pt idx="65088">0</cx:pt>
          <cx:pt idx="65089">1</cx:pt>
          <cx:pt idx="65090">1</cx:pt>
          <cx:pt idx="65091">0</cx:pt>
          <cx:pt idx="65092">0</cx:pt>
          <cx:pt idx="65093">1</cx:pt>
          <cx:pt idx="65094">1</cx:pt>
          <cx:pt idx="65095">1</cx:pt>
          <cx:pt idx="65096">0</cx:pt>
          <cx:pt idx="65097">1</cx:pt>
          <cx:pt idx="65098">0</cx:pt>
          <cx:pt idx="65099">1</cx:pt>
          <cx:pt idx="65100">0</cx:pt>
          <cx:pt idx="65101">0</cx:pt>
          <cx:pt idx="65102">0</cx:pt>
          <cx:pt idx="65103">0</cx:pt>
          <cx:pt idx="65104">0</cx:pt>
          <cx:pt idx="65105">1</cx:pt>
          <cx:pt idx="65106">1</cx:pt>
          <cx:pt idx="65107">1</cx:pt>
          <cx:pt idx="65108">0</cx:pt>
          <cx:pt idx="65109">0</cx:pt>
          <cx:pt idx="65110">0</cx:pt>
          <cx:pt idx="65111">0</cx:pt>
          <cx:pt idx="65112">1</cx:pt>
          <cx:pt idx="65113">1</cx:pt>
          <cx:pt idx="65114">1</cx:pt>
          <cx:pt idx="65115">0</cx:pt>
          <cx:pt idx="65116">1</cx:pt>
          <cx:pt idx="65117">1</cx:pt>
          <cx:pt idx="65118">0</cx:pt>
          <cx:pt idx="65119">1</cx:pt>
          <cx:pt idx="65120">0</cx:pt>
          <cx:pt idx="65121">0</cx:pt>
          <cx:pt idx="65122">0</cx:pt>
          <cx:pt idx="65123">1</cx:pt>
          <cx:pt idx="65124">1</cx:pt>
          <cx:pt idx="65125">0</cx:pt>
          <cx:pt idx="65126">0</cx:pt>
          <cx:pt idx="65127">1</cx:pt>
          <cx:pt idx="65128">0</cx:pt>
          <cx:pt idx="65129">0</cx:pt>
          <cx:pt idx="65130">1</cx:pt>
          <cx:pt idx="65131">1</cx:pt>
          <cx:pt idx="65132">0</cx:pt>
          <cx:pt idx="65133">1</cx:pt>
          <cx:pt idx="65134">0</cx:pt>
          <cx:pt idx="65135">0</cx:pt>
          <cx:pt idx="65136">1</cx:pt>
          <cx:pt idx="65137">1</cx:pt>
          <cx:pt idx="65138">0</cx:pt>
          <cx:pt idx="65139">0</cx:pt>
          <cx:pt idx="65140">0</cx:pt>
          <cx:pt idx="65141">1</cx:pt>
          <cx:pt idx="65142">0</cx:pt>
          <cx:pt idx="65143">0</cx:pt>
          <cx:pt idx="65144">1</cx:pt>
          <cx:pt idx="65145">0</cx:pt>
          <cx:pt idx="65146">1</cx:pt>
          <cx:pt idx="65147">0</cx:pt>
          <cx:pt idx="65148">0</cx:pt>
          <cx:pt idx="65149">0</cx:pt>
          <cx:pt idx="65150">0</cx:pt>
          <cx:pt idx="65151">1</cx:pt>
          <cx:pt idx="65152">0</cx:pt>
          <cx:pt idx="65153">1</cx:pt>
          <cx:pt idx="65154">1</cx:pt>
          <cx:pt idx="65155">1</cx:pt>
          <cx:pt idx="65156">1</cx:pt>
          <cx:pt idx="65157">0</cx:pt>
          <cx:pt idx="65158">0</cx:pt>
          <cx:pt idx="65159">1</cx:pt>
          <cx:pt idx="65160">0</cx:pt>
          <cx:pt idx="65161">1</cx:pt>
          <cx:pt idx="65162">0</cx:pt>
          <cx:pt idx="65163">1</cx:pt>
          <cx:pt idx="65164">1</cx:pt>
          <cx:pt idx="65165">0</cx:pt>
          <cx:pt idx="65166">1</cx:pt>
          <cx:pt idx="65167">0</cx:pt>
          <cx:pt idx="65168">0</cx:pt>
          <cx:pt idx="65169">1</cx:pt>
          <cx:pt idx="65170">1</cx:pt>
          <cx:pt idx="65171">0</cx:pt>
          <cx:pt idx="65172">0</cx:pt>
          <cx:pt idx="65173">0</cx:pt>
          <cx:pt idx="65174">1</cx:pt>
          <cx:pt idx="65175">0</cx:pt>
          <cx:pt idx="65176">0</cx:pt>
          <cx:pt idx="65177">0</cx:pt>
          <cx:pt idx="65178">1</cx:pt>
          <cx:pt idx="65179">0</cx:pt>
          <cx:pt idx="65180">1</cx:pt>
          <cx:pt idx="65181">1</cx:pt>
          <cx:pt idx="65182">1</cx:pt>
          <cx:pt idx="65183">0</cx:pt>
          <cx:pt idx="65184">1</cx:pt>
          <cx:pt idx="65185">0</cx:pt>
          <cx:pt idx="65186">1</cx:pt>
          <cx:pt idx="65187">0</cx:pt>
          <cx:pt idx="65188">1</cx:pt>
          <cx:pt idx="65189">0</cx:pt>
          <cx:pt idx="65190">0</cx:pt>
          <cx:pt idx="65191">0</cx:pt>
          <cx:pt idx="65192">0</cx:pt>
          <cx:pt idx="65193">0</cx:pt>
          <cx:pt idx="65194">1</cx:pt>
          <cx:pt idx="65195">0</cx:pt>
          <cx:pt idx="65196">1</cx:pt>
          <cx:pt idx="65197">1</cx:pt>
          <cx:pt idx="65198">1</cx:pt>
          <cx:pt idx="65199">0</cx:pt>
          <cx:pt idx="65200">0</cx:pt>
          <cx:pt idx="65201">0</cx:pt>
          <cx:pt idx="65202">0</cx:pt>
          <cx:pt idx="65203">1</cx:pt>
          <cx:pt idx="65204">0</cx:pt>
          <cx:pt idx="65205">1</cx:pt>
          <cx:pt idx="65206">1</cx:pt>
          <cx:pt idx="65207">1</cx:pt>
          <cx:pt idx="65208">1</cx:pt>
          <cx:pt idx="65209">0</cx:pt>
          <cx:pt idx="65210">0</cx:pt>
          <cx:pt idx="65211">0</cx:pt>
          <cx:pt idx="65212">1</cx:pt>
          <cx:pt idx="65213">0</cx:pt>
          <cx:pt idx="65214">0</cx:pt>
          <cx:pt idx="65215">0</cx:pt>
          <cx:pt idx="65216">1</cx:pt>
          <cx:pt idx="65217">1</cx:pt>
          <cx:pt idx="65218">0</cx:pt>
          <cx:pt idx="65219">1</cx:pt>
          <cx:pt idx="65220">0</cx:pt>
          <cx:pt idx="65221">1</cx:pt>
          <cx:pt idx="65222">0</cx:pt>
          <cx:pt idx="65223">0</cx:pt>
          <cx:pt idx="65224">1</cx:pt>
          <cx:pt idx="65225">1</cx:pt>
          <cx:pt idx="65226">1</cx:pt>
          <cx:pt idx="65227">1</cx:pt>
          <cx:pt idx="65228">1</cx:pt>
          <cx:pt idx="65229">1</cx:pt>
          <cx:pt idx="65230">0</cx:pt>
          <cx:pt idx="65231">0</cx:pt>
          <cx:pt idx="65232">1</cx:pt>
          <cx:pt idx="65233">1</cx:pt>
          <cx:pt idx="65234">0</cx:pt>
          <cx:pt idx="65235">0</cx:pt>
          <cx:pt idx="65236">1</cx:pt>
          <cx:pt idx="65237">0</cx:pt>
          <cx:pt idx="65238">1</cx:pt>
          <cx:pt idx="65239">0</cx:pt>
          <cx:pt idx="65240">0</cx:pt>
          <cx:pt idx="65241">0</cx:pt>
          <cx:pt idx="65242">1</cx:pt>
          <cx:pt idx="65243">0</cx:pt>
          <cx:pt idx="65244">0</cx:pt>
          <cx:pt idx="65245">0</cx:pt>
          <cx:pt idx="65246">1</cx:pt>
          <cx:pt idx="65247">1</cx:pt>
          <cx:pt idx="65248">0</cx:pt>
          <cx:pt idx="65249">1</cx:pt>
          <cx:pt idx="65250">0</cx:pt>
          <cx:pt idx="65251">1</cx:pt>
          <cx:pt idx="65252">1</cx:pt>
          <cx:pt idx="65253">1</cx:pt>
          <cx:pt idx="65254">0</cx:pt>
          <cx:pt idx="65255">1</cx:pt>
          <cx:pt idx="65256">0</cx:pt>
          <cx:pt idx="65257">0</cx:pt>
          <cx:pt idx="65258">0</cx:pt>
          <cx:pt idx="65259">0</cx:pt>
          <cx:pt idx="65260">0</cx:pt>
          <cx:pt idx="65261">0</cx:pt>
          <cx:pt idx="65262">0</cx:pt>
          <cx:pt idx="65263">0</cx:pt>
          <cx:pt idx="65264">0</cx:pt>
          <cx:pt idx="65265">0</cx:pt>
          <cx:pt idx="65266">1</cx:pt>
          <cx:pt idx="65267">1</cx:pt>
          <cx:pt idx="65268">0</cx:pt>
          <cx:pt idx="65269">0</cx:pt>
          <cx:pt idx="65270">0</cx:pt>
          <cx:pt idx="65271">0</cx:pt>
          <cx:pt idx="65272">0</cx:pt>
          <cx:pt idx="65273">1</cx:pt>
          <cx:pt idx="65274">0</cx:pt>
          <cx:pt idx="65275">0</cx:pt>
          <cx:pt idx="65276">1</cx:pt>
          <cx:pt idx="65277">1</cx:pt>
          <cx:pt idx="65278">1</cx:pt>
          <cx:pt idx="65279">1</cx:pt>
          <cx:pt idx="65280">0</cx:pt>
          <cx:pt idx="65281">1</cx:pt>
          <cx:pt idx="65282">0</cx:pt>
          <cx:pt idx="65283">0</cx:pt>
          <cx:pt idx="65284">0</cx:pt>
          <cx:pt idx="65285">1</cx:pt>
          <cx:pt idx="65286">1</cx:pt>
          <cx:pt idx="65287">0</cx:pt>
          <cx:pt idx="65288">0</cx:pt>
          <cx:pt idx="65289">0</cx:pt>
          <cx:pt idx="65290">1</cx:pt>
          <cx:pt idx="65291">0</cx:pt>
          <cx:pt idx="65292">1</cx:pt>
          <cx:pt idx="65293">1</cx:pt>
          <cx:pt idx="65294">1</cx:pt>
          <cx:pt idx="65295">1</cx:pt>
          <cx:pt idx="65296">0</cx:pt>
          <cx:pt idx="65297">1</cx:pt>
          <cx:pt idx="65298">0</cx:pt>
          <cx:pt idx="65299">1</cx:pt>
          <cx:pt idx="65300">0</cx:pt>
          <cx:pt idx="65301">1</cx:pt>
          <cx:pt idx="65302">1</cx:pt>
          <cx:pt idx="65303">1</cx:pt>
          <cx:pt idx="65304">1</cx:pt>
          <cx:pt idx="65305">1</cx:pt>
          <cx:pt idx="65306">0</cx:pt>
          <cx:pt idx="65307">0</cx:pt>
          <cx:pt idx="65308">0</cx:pt>
          <cx:pt idx="65309">0</cx:pt>
          <cx:pt idx="65310">1</cx:pt>
          <cx:pt idx="65311">1</cx:pt>
          <cx:pt idx="65312">0</cx:pt>
          <cx:pt idx="65313">0</cx:pt>
          <cx:pt idx="65314">0</cx:pt>
          <cx:pt idx="65315">1</cx:pt>
          <cx:pt idx="65316">0</cx:pt>
          <cx:pt idx="65317">1</cx:pt>
          <cx:pt idx="65318">1</cx:pt>
          <cx:pt idx="65319">0</cx:pt>
          <cx:pt idx="65320">0</cx:pt>
          <cx:pt idx="65321">1</cx:pt>
          <cx:pt idx="65322">1</cx:pt>
          <cx:pt idx="65323">0</cx:pt>
          <cx:pt idx="65324">0</cx:pt>
          <cx:pt idx="65325">1</cx:pt>
          <cx:pt idx="65326">0</cx:pt>
          <cx:pt idx="65327">1</cx:pt>
          <cx:pt idx="65328">0</cx:pt>
          <cx:pt idx="65329">1</cx:pt>
          <cx:pt idx="65330">0</cx:pt>
          <cx:pt idx="65331">1</cx:pt>
          <cx:pt idx="65332">1</cx:pt>
          <cx:pt idx="65333">0</cx:pt>
          <cx:pt idx="65334">0</cx:pt>
          <cx:pt idx="65335">0</cx:pt>
          <cx:pt idx="65336">1</cx:pt>
          <cx:pt idx="65337">1</cx:pt>
          <cx:pt idx="65338">1</cx:pt>
          <cx:pt idx="65339">0</cx:pt>
          <cx:pt idx="65340">1</cx:pt>
          <cx:pt idx="65341">1</cx:pt>
          <cx:pt idx="65342">0</cx:pt>
          <cx:pt idx="65343">1</cx:pt>
          <cx:pt idx="65344">0</cx:pt>
          <cx:pt idx="65345">1</cx:pt>
          <cx:pt idx="65346">1</cx:pt>
          <cx:pt idx="65347">0</cx:pt>
          <cx:pt idx="65348">1</cx:pt>
          <cx:pt idx="65349">1</cx:pt>
          <cx:pt idx="65350">1</cx:pt>
          <cx:pt idx="65351">1</cx:pt>
          <cx:pt idx="65352">1</cx:pt>
          <cx:pt idx="65353">0</cx:pt>
          <cx:pt idx="65354">0</cx:pt>
          <cx:pt idx="65355">0</cx:pt>
          <cx:pt idx="65356">0</cx:pt>
          <cx:pt idx="65357">0</cx:pt>
          <cx:pt idx="65358">0</cx:pt>
          <cx:pt idx="65359">1</cx:pt>
          <cx:pt idx="65360">1</cx:pt>
          <cx:pt idx="65361">1</cx:pt>
          <cx:pt idx="65362">1</cx:pt>
          <cx:pt idx="65363">1</cx:pt>
          <cx:pt idx="65364">0</cx:pt>
          <cx:pt idx="65365">0</cx:pt>
          <cx:pt idx="65366">1</cx:pt>
          <cx:pt idx="65367">0</cx:pt>
          <cx:pt idx="65368">1</cx:pt>
          <cx:pt idx="65369">1</cx:pt>
          <cx:pt idx="65370">0</cx:pt>
          <cx:pt idx="65371">1</cx:pt>
          <cx:pt idx="65372">1</cx:pt>
          <cx:pt idx="65373">0</cx:pt>
          <cx:pt idx="65374">1</cx:pt>
          <cx:pt idx="65375">1</cx:pt>
          <cx:pt idx="65376">0</cx:pt>
          <cx:pt idx="65377">1</cx:pt>
          <cx:pt idx="65378">0</cx:pt>
          <cx:pt idx="65379">0</cx:pt>
          <cx:pt idx="65380">0</cx:pt>
          <cx:pt idx="65381">0</cx:pt>
          <cx:pt idx="65382">0</cx:pt>
          <cx:pt idx="65383">0</cx:pt>
          <cx:pt idx="65384">0</cx:pt>
          <cx:pt idx="65385">1</cx:pt>
          <cx:pt idx="65386">0</cx:pt>
          <cx:pt idx="65387">0</cx:pt>
          <cx:pt idx="65388">1</cx:pt>
          <cx:pt idx="65389">1</cx:pt>
          <cx:pt idx="65390">0</cx:pt>
          <cx:pt idx="65391">1</cx:pt>
          <cx:pt idx="65392">0</cx:pt>
          <cx:pt idx="65393">0</cx:pt>
          <cx:pt idx="65394">0</cx:pt>
          <cx:pt idx="65395">1</cx:pt>
          <cx:pt idx="65396">1</cx:pt>
          <cx:pt idx="65397">1</cx:pt>
          <cx:pt idx="65398">0</cx:pt>
          <cx:pt idx="65399">1</cx:pt>
          <cx:pt idx="65400">1</cx:pt>
          <cx:pt idx="65401">0</cx:pt>
          <cx:pt idx="65402">0</cx:pt>
          <cx:pt idx="65403">0</cx:pt>
          <cx:pt idx="65404">0</cx:pt>
          <cx:pt idx="65405">1</cx:pt>
          <cx:pt idx="65406">0</cx:pt>
          <cx:pt idx="65407">0</cx:pt>
          <cx:pt idx="65408">1</cx:pt>
          <cx:pt idx="65409">1</cx:pt>
          <cx:pt idx="65410">1</cx:pt>
          <cx:pt idx="65411">1</cx:pt>
          <cx:pt idx="65412">1</cx:pt>
          <cx:pt idx="65413">0</cx:pt>
          <cx:pt idx="65414">1</cx:pt>
          <cx:pt idx="65415">0</cx:pt>
          <cx:pt idx="65416">1</cx:pt>
          <cx:pt idx="65417">0</cx:pt>
          <cx:pt idx="65418">0</cx:pt>
          <cx:pt idx="65419">0</cx:pt>
          <cx:pt idx="65420">0</cx:pt>
          <cx:pt idx="65421">1</cx:pt>
          <cx:pt idx="65422">0</cx:pt>
          <cx:pt idx="65423">1</cx:pt>
          <cx:pt idx="65424">0</cx:pt>
          <cx:pt idx="65425">0</cx:pt>
          <cx:pt idx="65426">0</cx:pt>
          <cx:pt idx="65427">1</cx:pt>
          <cx:pt idx="65428">0</cx:pt>
          <cx:pt idx="65429">1</cx:pt>
          <cx:pt idx="65430">0</cx:pt>
          <cx:pt idx="65431">1</cx:pt>
          <cx:pt idx="65432">1</cx:pt>
          <cx:pt idx="65433">1</cx:pt>
          <cx:pt idx="65434">0</cx:pt>
          <cx:pt idx="65435">0</cx:pt>
          <cx:pt idx="65436">1</cx:pt>
          <cx:pt idx="65437">0</cx:pt>
          <cx:pt idx="65438">0</cx:pt>
          <cx:pt idx="65439">1</cx:pt>
          <cx:pt idx="65440">0</cx:pt>
          <cx:pt idx="65441">1</cx:pt>
          <cx:pt idx="65442">1</cx:pt>
          <cx:pt idx="65443">1</cx:pt>
          <cx:pt idx="65444">0</cx:pt>
          <cx:pt idx="65445">0</cx:pt>
          <cx:pt idx="65446">1</cx:pt>
          <cx:pt idx="65447">1</cx:pt>
          <cx:pt idx="65448">0</cx:pt>
          <cx:pt idx="65449">0</cx:pt>
          <cx:pt idx="65450">1</cx:pt>
          <cx:pt idx="65451">1</cx:pt>
          <cx:pt idx="65452">0</cx:pt>
          <cx:pt idx="65453">1</cx:pt>
          <cx:pt idx="65454">1</cx:pt>
          <cx:pt idx="65455">0</cx:pt>
          <cx:pt idx="65456">1</cx:pt>
          <cx:pt idx="65457">1</cx:pt>
          <cx:pt idx="65458">1</cx:pt>
          <cx:pt idx="65459">0</cx:pt>
          <cx:pt idx="65460">0</cx:pt>
          <cx:pt idx="65461">1</cx:pt>
          <cx:pt idx="65462">1</cx:pt>
          <cx:pt idx="65463">0</cx:pt>
          <cx:pt idx="65464">0</cx:pt>
          <cx:pt idx="65465">1</cx:pt>
          <cx:pt idx="65466">1</cx:pt>
          <cx:pt idx="65467">0</cx:pt>
          <cx:pt idx="65468">0</cx:pt>
          <cx:pt idx="65469">0</cx:pt>
          <cx:pt idx="65470">1</cx:pt>
          <cx:pt idx="65471">1</cx:pt>
          <cx:pt idx="65472">0</cx:pt>
          <cx:pt idx="65473">1</cx:pt>
          <cx:pt idx="65474">1</cx:pt>
          <cx:pt idx="65475">1</cx:pt>
          <cx:pt idx="65476">0</cx:pt>
          <cx:pt idx="65477">0</cx:pt>
          <cx:pt idx="65478">1</cx:pt>
          <cx:pt idx="65479">1</cx:pt>
          <cx:pt idx="65480">0</cx:pt>
          <cx:pt idx="65481">0</cx:pt>
          <cx:pt idx="65482">1</cx:pt>
          <cx:pt idx="65483">1</cx:pt>
          <cx:pt idx="65484">1</cx:pt>
          <cx:pt idx="65485">0</cx:pt>
          <cx:pt idx="65486">0</cx:pt>
          <cx:pt idx="65487">1</cx:pt>
          <cx:pt idx="65488">1</cx:pt>
          <cx:pt idx="65489">1</cx:pt>
          <cx:pt idx="65490">0</cx:pt>
          <cx:pt idx="65491">0</cx:pt>
          <cx:pt idx="65492">1</cx:pt>
          <cx:pt idx="65493">1</cx:pt>
          <cx:pt idx="65494">0</cx:pt>
          <cx:pt idx="65495">0</cx:pt>
          <cx:pt idx="65496">0</cx:pt>
          <cx:pt idx="65497">1</cx:pt>
          <cx:pt idx="65498">0</cx:pt>
          <cx:pt idx="65499">1</cx:pt>
          <cx:pt idx="65500">0</cx:pt>
          <cx:pt idx="65501">0</cx:pt>
          <cx:pt idx="65502">1</cx:pt>
          <cx:pt idx="65503">1</cx:pt>
          <cx:pt idx="65504">1</cx:pt>
          <cx:pt idx="65505">0</cx:pt>
          <cx:pt idx="65506">0</cx:pt>
          <cx:pt idx="65507">0</cx:pt>
          <cx:pt idx="65508">1</cx:pt>
          <cx:pt idx="65509">0</cx:pt>
          <cx:pt idx="65510">1</cx:pt>
          <cx:pt idx="65511">0</cx:pt>
          <cx:pt idx="65512">1</cx:pt>
          <cx:pt idx="65513">0</cx:pt>
          <cx:pt idx="65514">1</cx:pt>
          <cx:pt idx="65515">1</cx:pt>
          <cx:pt idx="65516">0</cx:pt>
          <cx:pt idx="65517">0</cx:pt>
          <cx:pt idx="65518">0</cx:pt>
          <cx:pt idx="65519">0</cx:pt>
          <cx:pt idx="65520">1</cx:pt>
          <cx:pt idx="65521">0</cx:pt>
          <cx:pt idx="65522">0</cx:pt>
          <cx:pt idx="65523">1</cx:pt>
          <cx:pt idx="65524">1</cx:pt>
          <cx:pt idx="65525">0</cx:pt>
          <cx:pt idx="65526">1</cx:pt>
          <cx:pt idx="65527">0</cx:pt>
          <cx:pt idx="65528">0</cx:pt>
          <cx:pt idx="65529">0</cx:pt>
          <cx:pt idx="65530">0</cx:pt>
          <cx:pt idx="65531">1</cx:pt>
          <cx:pt idx="65532">0</cx:pt>
          <cx:pt idx="65533">1</cx:pt>
          <cx:pt idx="65534">0</cx:pt>
          <cx:pt idx="65535">1</cx:pt>
          <cx:pt idx="65536">1</cx:pt>
          <cx:pt idx="65537">1</cx:pt>
          <cx:pt idx="65538">1</cx:pt>
          <cx:pt idx="65539">1</cx:pt>
          <cx:pt idx="65540">0</cx:pt>
          <cx:pt idx="65541">0</cx:pt>
          <cx:pt idx="65542">0</cx:pt>
          <cx:pt idx="65543">0</cx:pt>
          <cx:pt idx="65544">0</cx:pt>
          <cx:pt idx="65545">1</cx:pt>
          <cx:pt idx="65546">0</cx:pt>
          <cx:pt idx="65547">0</cx:pt>
          <cx:pt idx="65548">0</cx:pt>
          <cx:pt idx="65549">0</cx:pt>
          <cx:pt idx="65550">0</cx:pt>
          <cx:pt idx="65551">1</cx:pt>
          <cx:pt idx="65552">1</cx:pt>
          <cx:pt idx="65553">0</cx:pt>
          <cx:pt idx="65554">0</cx:pt>
          <cx:pt idx="65555">0</cx:pt>
          <cx:pt idx="65556">0</cx:pt>
          <cx:pt idx="65557">1</cx:pt>
          <cx:pt idx="65558">0</cx:pt>
          <cx:pt idx="65559">1</cx:pt>
          <cx:pt idx="65560">1</cx:pt>
          <cx:pt idx="65561">0</cx:pt>
          <cx:pt idx="65562">0</cx:pt>
          <cx:pt idx="65563">0</cx:pt>
          <cx:pt idx="65564">1</cx:pt>
          <cx:pt idx="65565">0</cx:pt>
          <cx:pt idx="65566">1</cx:pt>
          <cx:pt idx="65567">0</cx:pt>
          <cx:pt idx="65568">0</cx:pt>
          <cx:pt idx="65569">1</cx:pt>
          <cx:pt idx="65570">1</cx:pt>
          <cx:pt idx="65571">0</cx:pt>
          <cx:pt idx="65572">0</cx:pt>
          <cx:pt idx="65573">0</cx:pt>
          <cx:pt idx="65574">1</cx:pt>
          <cx:pt idx="65575">1</cx:pt>
          <cx:pt idx="65576">1</cx:pt>
          <cx:pt idx="65577">1</cx:pt>
          <cx:pt idx="65578">1</cx:pt>
          <cx:pt idx="65579">0</cx:pt>
          <cx:pt idx="65580">1</cx:pt>
          <cx:pt idx="65581">0</cx:pt>
          <cx:pt idx="65582">0</cx:pt>
          <cx:pt idx="65583">1</cx:pt>
          <cx:pt idx="65584">0</cx:pt>
          <cx:pt idx="65585">0</cx:pt>
          <cx:pt idx="65586">0</cx:pt>
          <cx:pt idx="65587">0</cx:pt>
          <cx:pt idx="65588">0</cx:pt>
          <cx:pt idx="65589">0</cx:pt>
          <cx:pt idx="65590">0</cx:pt>
          <cx:pt idx="65591">0</cx:pt>
          <cx:pt idx="65592">0</cx:pt>
          <cx:pt idx="65593">1</cx:pt>
          <cx:pt idx="65594">1</cx:pt>
          <cx:pt idx="65595">1</cx:pt>
          <cx:pt idx="65596">0</cx:pt>
          <cx:pt idx="65597">0</cx:pt>
          <cx:pt idx="65598">1</cx:pt>
          <cx:pt idx="65599">0</cx:pt>
          <cx:pt idx="65600">1</cx:pt>
          <cx:pt idx="65601">0</cx:pt>
          <cx:pt idx="65602">1</cx:pt>
          <cx:pt idx="65603">0</cx:pt>
          <cx:pt idx="65604">1</cx:pt>
          <cx:pt idx="65605">1</cx:pt>
          <cx:pt idx="65606">1</cx:pt>
          <cx:pt idx="65607">0</cx:pt>
          <cx:pt idx="65608">0</cx:pt>
          <cx:pt idx="65609">0</cx:pt>
          <cx:pt idx="65610">0</cx:pt>
          <cx:pt idx="65611">1</cx:pt>
          <cx:pt idx="65612">1</cx:pt>
          <cx:pt idx="65613">0</cx:pt>
          <cx:pt idx="65614">1</cx:pt>
          <cx:pt idx="65615">1</cx:pt>
          <cx:pt idx="65616">1</cx:pt>
          <cx:pt idx="65617">1</cx:pt>
          <cx:pt idx="65618">0</cx:pt>
          <cx:pt idx="65619">1</cx:pt>
          <cx:pt idx="65620">1</cx:pt>
          <cx:pt idx="65621">0</cx:pt>
          <cx:pt idx="65622">0</cx:pt>
          <cx:pt idx="65623">1</cx:pt>
          <cx:pt idx="65624">0</cx:pt>
          <cx:pt idx="65625">0</cx:pt>
          <cx:pt idx="65626">0</cx:pt>
          <cx:pt idx="65627">0</cx:pt>
          <cx:pt idx="65628">0</cx:pt>
          <cx:pt idx="65629">0</cx:pt>
          <cx:pt idx="65630">0</cx:pt>
          <cx:pt idx="65631">1</cx:pt>
          <cx:pt idx="65632">0</cx:pt>
          <cx:pt idx="65633">0</cx:pt>
          <cx:pt idx="65634">0</cx:pt>
          <cx:pt idx="65635">1</cx:pt>
          <cx:pt idx="65636">0</cx:pt>
          <cx:pt idx="65637">0</cx:pt>
          <cx:pt idx="65638">1</cx:pt>
          <cx:pt idx="65639">0</cx:pt>
          <cx:pt idx="65640">1</cx:pt>
          <cx:pt idx="65641">1</cx:pt>
          <cx:pt idx="65642">0</cx:pt>
          <cx:pt idx="65643">1</cx:pt>
          <cx:pt idx="65644">0</cx:pt>
          <cx:pt idx="65645">0</cx:pt>
          <cx:pt idx="65646">1</cx:pt>
          <cx:pt idx="65647">1</cx:pt>
          <cx:pt idx="65648">0</cx:pt>
          <cx:pt idx="65649">1</cx:pt>
          <cx:pt idx="65650">0</cx:pt>
          <cx:pt idx="65651">1</cx:pt>
          <cx:pt idx="65652">1</cx:pt>
          <cx:pt idx="65653">1</cx:pt>
          <cx:pt idx="65654">1</cx:pt>
          <cx:pt idx="65655">1</cx:pt>
          <cx:pt idx="65656">1</cx:pt>
          <cx:pt idx="65657">1</cx:pt>
          <cx:pt idx="65658">0</cx:pt>
          <cx:pt idx="65659">0</cx:pt>
          <cx:pt idx="65660">0</cx:pt>
          <cx:pt idx="65661">1</cx:pt>
          <cx:pt idx="65662">0</cx:pt>
          <cx:pt idx="65663">0</cx:pt>
          <cx:pt idx="65664">0</cx:pt>
          <cx:pt idx="65665">0</cx:pt>
          <cx:pt idx="65666">1</cx:pt>
          <cx:pt idx="65667">1</cx:pt>
          <cx:pt idx="65668">0</cx:pt>
          <cx:pt idx="65669">1</cx:pt>
          <cx:pt idx="65670">1</cx:pt>
          <cx:pt idx="65671">0</cx:pt>
          <cx:pt idx="65672">0</cx:pt>
          <cx:pt idx="65673">0</cx:pt>
          <cx:pt idx="65674">0</cx:pt>
          <cx:pt idx="65675">1</cx:pt>
          <cx:pt idx="65676">0</cx:pt>
          <cx:pt idx="65677">0</cx:pt>
          <cx:pt idx="65678">1</cx:pt>
          <cx:pt idx="65679">1</cx:pt>
          <cx:pt idx="65680">0</cx:pt>
          <cx:pt idx="65681">0</cx:pt>
          <cx:pt idx="65682">0</cx:pt>
          <cx:pt idx="65683">1</cx:pt>
          <cx:pt idx="65684">1</cx:pt>
          <cx:pt idx="65685">0</cx:pt>
          <cx:pt idx="65686">1</cx:pt>
          <cx:pt idx="65687">1</cx:pt>
          <cx:pt idx="65688">0</cx:pt>
          <cx:pt idx="65689">1</cx:pt>
          <cx:pt idx="65690">1</cx:pt>
          <cx:pt idx="65691">0</cx:pt>
          <cx:pt idx="65692">1</cx:pt>
          <cx:pt idx="65693">0</cx:pt>
          <cx:pt idx="65694">1</cx:pt>
          <cx:pt idx="65695">0</cx:pt>
          <cx:pt idx="65696">0</cx:pt>
          <cx:pt idx="65697">1</cx:pt>
          <cx:pt idx="65698">0</cx:pt>
          <cx:pt idx="65699">0</cx:pt>
          <cx:pt idx="65700">1</cx:pt>
          <cx:pt idx="65701">1</cx:pt>
          <cx:pt idx="65702">0</cx:pt>
          <cx:pt idx="65703">0</cx:pt>
          <cx:pt idx="65704">0</cx:pt>
          <cx:pt idx="65705">1</cx:pt>
          <cx:pt idx="65706">0</cx:pt>
          <cx:pt idx="65707">1</cx:pt>
          <cx:pt idx="65708">1</cx:pt>
          <cx:pt idx="65709">1</cx:pt>
          <cx:pt idx="65710">0</cx:pt>
          <cx:pt idx="65711">0</cx:pt>
          <cx:pt idx="65712">0</cx:pt>
          <cx:pt idx="65713">1</cx:pt>
          <cx:pt idx="65714">0</cx:pt>
          <cx:pt idx="65715">1</cx:pt>
          <cx:pt idx="65716">1</cx:pt>
          <cx:pt idx="65717">1</cx:pt>
          <cx:pt idx="65718">0</cx:pt>
          <cx:pt idx="65719">0</cx:pt>
          <cx:pt idx="65720">1</cx:pt>
          <cx:pt idx="65721">1</cx:pt>
          <cx:pt idx="65722">1</cx:pt>
          <cx:pt idx="65723">1</cx:pt>
          <cx:pt idx="65724">0</cx:pt>
          <cx:pt idx="65725">0</cx:pt>
          <cx:pt idx="65726">0</cx:pt>
          <cx:pt idx="65727">0</cx:pt>
          <cx:pt idx="65728">1</cx:pt>
          <cx:pt idx="65729">0</cx:pt>
          <cx:pt idx="65730">0</cx:pt>
          <cx:pt idx="65731">0</cx:pt>
          <cx:pt idx="65732">1</cx:pt>
          <cx:pt idx="65733">0</cx:pt>
          <cx:pt idx="65734">0</cx:pt>
          <cx:pt idx="65735">1</cx:pt>
          <cx:pt idx="65736">0</cx:pt>
          <cx:pt idx="65737">0</cx:pt>
          <cx:pt idx="65738">1</cx:pt>
          <cx:pt idx="65739">0</cx:pt>
          <cx:pt idx="65740">0</cx:pt>
          <cx:pt idx="65741">0</cx:pt>
          <cx:pt idx="65742">1</cx:pt>
          <cx:pt idx="65743">0</cx:pt>
          <cx:pt idx="65744">0</cx:pt>
          <cx:pt idx="65745">1</cx:pt>
          <cx:pt idx="65746">0</cx:pt>
          <cx:pt idx="65747">1</cx:pt>
          <cx:pt idx="65748">1</cx:pt>
          <cx:pt idx="65749">1</cx:pt>
          <cx:pt idx="65750">1</cx:pt>
          <cx:pt idx="65751">0</cx:pt>
          <cx:pt idx="65752">0</cx:pt>
          <cx:pt idx="65753">0</cx:pt>
          <cx:pt idx="65754">1</cx:pt>
          <cx:pt idx="65755">0</cx:pt>
          <cx:pt idx="65756">1</cx:pt>
          <cx:pt idx="65757">1</cx:pt>
          <cx:pt idx="65758">0</cx:pt>
          <cx:pt idx="65759">1</cx:pt>
          <cx:pt idx="65760">1</cx:pt>
          <cx:pt idx="65761">1</cx:pt>
          <cx:pt idx="65762">0</cx:pt>
          <cx:pt idx="65763">1</cx:pt>
          <cx:pt idx="65764">0</cx:pt>
          <cx:pt idx="65765">1</cx:pt>
          <cx:pt idx="65766">0</cx:pt>
          <cx:pt idx="65767">1</cx:pt>
          <cx:pt idx="65768">0</cx:pt>
          <cx:pt idx="65769">0</cx:pt>
          <cx:pt idx="65770">0</cx:pt>
          <cx:pt idx="65771">1</cx:pt>
          <cx:pt idx="65772">0</cx:pt>
          <cx:pt idx="65773">1</cx:pt>
          <cx:pt idx="65774">0</cx:pt>
          <cx:pt idx="65775">0</cx:pt>
          <cx:pt idx="65776">0</cx:pt>
          <cx:pt idx="65777">1</cx:pt>
          <cx:pt idx="65778">0</cx:pt>
          <cx:pt idx="65779">0</cx:pt>
          <cx:pt idx="65780">0</cx:pt>
          <cx:pt idx="65781">1</cx:pt>
          <cx:pt idx="65782">1</cx:pt>
          <cx:pt idx="65783">0</cx:pt>
          <cx:pt idx="65784">1</cx:pt>
          <cx:pt idx="65785">0</cx:pt>
          <cx:pt idx="65786">1</cx:pt>
          <cx:pt idx="65787">1</cx:pt>
          <cx:pt idx="65788">0</cx:pt>
          <cx:pt idx="65789">1</cx:pt>
          <cx:pt idx="65790">1</cx:pt>
          <cx:pt idx="65791">0</cx:pt>
          <cx:pt idx="65792">1</cx:pt>
          <cx:pt idx="65793">0</cx:pt>
          <cx:pt idx="65794">0</cx:pt>
          <cx:pt idx="65795">0</cx:pt>
          <cx:pt idx="65796">0</cx:pt>
          <cx:pt idx="65797">1</cx:pt>
          <cx:pt idx="65798">0</cx:pt>
          <cx:pt idx="65799">0</cx:pt>
          <cx:pt idx="65800">1</cx:pt>
          <cx:pt idx="65801">0</cx:pt>
          <cx:pt idx="65802">0</cx:pt>
          <cx:pt idx="65803">0</cx:pt>
          <cx:pt idx="65804">0</cx:pt>
          <cx:pt idx="65805">0</cx:pt>
          <cx:pt idx="65806">0</cx:pt>
          <cx:pt idx="65807">1</cx:pt>
          <cx:pt idx="65808">0</cx:pt>
          <cx:pt idx="65809">0</cx:pt>
          <cx:pt idx="65810">1</cx:pt>
          <cx:pt idx="65811">0</cx:pt>
          <cx:pt idx="65812">0</cx:pt>
          <cx:pt idx="65813">0</cx:pt>
          <cx:pt idx="65814">0</cx:pt>
          <cx:pt idx="65815">1</cx:pt>
          <cx:pt idx="65816">1</cx:pt>
          <cx:pt idx="65817">1</cx:pt>
          <cx:pt idx="65818">0</cx:pt>
          <cx:pt idx="65819">1</cx:pt>
          <cx:pt idx="65820">1</cx:pt>
          <cx:pt idx="65821">0</cx:pt>
          <cx:pt idx="65822">1</cx:pt>
          <cx:pt idx="65823">1</cx:pt>
          <cx:pt idx="65824">1</cx:pt>
          <cx:pt idx="65825">1</cx:pt>
          <cx:pt idx="65826">0</cx:pt>
          <cx:pt idx="65827">1</cx:pt>
          <cx:pt idx="65828">1</cx:pt>
          <cx:pt idx="65829">1</cx:pt>
          <cx:pt idx="65830">1</cx:pt>
          <cx:pt idx="65831">0</cx:pt>
          <cx:pt idx="65832">1</cx:pt>
          <cx:pt idx="65833">0</cx:pt>
          <cx:pt idx="65834">1</cx:pt>
          <cx:pt idx="65835">0</cx:pt>
          <cx:pt idx="65836">0</cx:pt>
          <cx:pt idx="65837">1</cx:pt>
          <cx:pt idx="65838">0</cx:pt>
          <cx:pt idx="65839">1</cx:pt>
          <cx:pt idx="65840">0</cx:pt>
          <cx:pt idx="65841">0</cx:pt>
          <cx:pt idx="65842">1</cx:pt>
          <cx:pt idx="65843">1</cx:pt>
          <cx:pt idx="65844">1</cx:pt>
          <cx:pt idx="65845">0</cx:pt>
          <cx:pt idx="65846">0</cx:pt>
          <cx:pt idx="65847">1</cx:pt>
          <cx:pt idx="65848">1</cx:pt>
          <cx:pt idx="65849">1</cx:pt>
          <cx:pt idx="65850">1</cx:pt>
          <cx:pt idx="65851">1</cx:pt>
          <cx:pt idx="65852">0</cx:pt>
          <cx:pt idx="65853">0</cx:pt>
          <cx:pt idx="65854">0</cx:pt>
          <cx:pt idx="65855">0</cx:pt>
          <cx:pt idx="65856">1</cx:pt>
          <cx:pt idx="65857">0</cx:pt>
          <cx:pt idx="65858">0</cx:pt>
          <cx:pt idx="65859">0</cx:pt>
          <cx:pt idx="65860">0</cx:pt>
          <cx:pt idx="65861">0</cx:pt>
          <cx:pt idx="65862">0</cx:pt>
          <cx:pt idx="65863">1</cx:pt>
          <cx:pt idx="65864">1</cx:pt>
          <cx:pt idx="65865">0</cx:pt>
          <cx:pt idx="65866">0</cx:pt>
          <cx:pt idx="65867">0</cx:pt>
          <cx:pt idx="65868">0</cx:pt>
          <cx:pt idx="65869">0</cx:pt>
          <cx:pt idx="65870">1</cx:pt>
          <cx:pt idx="65871">0</cx:pt>
          <cx:pt idx="65872">1</cx:pt>
          <cx:pt idx="65873">0</cx:pt>
          <cx:pt idx="65874">0</cx:pt>
          <cx:pt idx="65875">1</cx:pt>
          <cx:pt idx="65876">0</cx:pt>
          <cx:pt idx="65877">0</cx:pt>
          <cx:pt idx="65878">1</cx:pt>
          <cx:pt idx="65879">1</cx:pt>
          <cx:pt idx="65880">0</cx:pt>
          <cx:pt idx="65881">1</cx:pt>
          <cx:pt idx="65882">0</cx:pt>
          <cx:pt idx="65883">1</cx:pt>
          <cx:pt idx="65884">0</cx:pt>
          <cx:pt idx="65885">0</cx:pt>
          <cx:pt idx="65886">1</cx:pt>
          <cx:pt idx="65887">1</cx:pt>
          <cx:pt idx="65888">1</cx:pt>
          <cx:pt idx="65889">1</cx:pt>
          <cx:pt idx="65890">0</cx:pt>
          <cx:pt idx="65891">0</cx:pt>
          <cx:pt idx="65892">0</cx:pt>
          <cx:pt idx="65893">1</cx:pt>
          <cx:pt idx="65894">0</cx:pt>
          <cx:pt idx="65895">1</cx:pt>
          <cx:pt idx="65896">0</cx:pt>
          <cx:pt idx="65897">0</cx:pt>
          <cx:pt idx="65898">0</cx:pt>
          <cx:pt idx="65899">1</cx:pt>
          <cx:pt idx="65900">1</cx:pt>
          <cx:pt idx="65901">1</cx:pt>
          <cx:pt idx="65902">1</cx:pt>
          <cx:pt idx="65903">1</cx:pt>
          <cx:pt idx="65904">1</cx:pt>
          <cx:pt idx="65905">0</cx:pt>
          <cx:pt idx="65906">0</cx:pt>
          <cx:pt idx="65907">0</cx:pt>
          <cx:pt idx="65908">1</cx:pt>
          <cx:pt idx="65909">0</cx:pt>
          <cx:pt idx="65910">1</cx:pt>
          <cx:pt idx="65911">0</cx:pt>
          <cx:pt idx="65912">0</cx:pt>
          <cx:pt idx="65913">0</cx:pt>
          <cx:pt idx="65914">0</cx:pt>
          <cx:pt idx="65915">0</cx:pt>
          <cx:pt idx="65916">1</cx:pt>
          <cx:pt idx="65917">1</cx:pt>
          <cx:pt idx="65918">1</cx:pt>
          <cx:pt idx="65919">0</cx:pt>
          <cx:pt idx="65920">0</cx:pt>
          <cx:pt idx="65921">0</cx:pt>
          <cx:pt idx="65922">1</cx:pt>
          <cx:pt idx="65923">1</cx:pt>
          <cx:pt idx="65924">0</cx:pt>
          <cx:pt idx="65925">1</cx:pt>
          <cx:pt idx="65926">0</cx:pt>
          <cx:pt idx="65927">1</cx:pt>
          <cx:pt idx="65928">0</cx:pt>
          <cx:pt idx="65929">0</cx:pt>
          <cx:pt idx="65930">1</cx:pt>
          <cx:pt idx="65931">1</cx:pt>
          <cx:pt idx="65932">0</cx:pt>
          <cx:pt idx="65933">1</cx:pt>
          <cx:pt idx="65934">1</cx:pt>
          <cx:pt idx="65935">0</cx:pt>
          <cx:pt idx="65936">1</cx:pt>
          <cx:pt idx="65937">0</cx:pt>
          <cx:pt idx="65938">0</cx:pt>
          <cx:pt idx="65939">1</cx:pt>
          <cx:pt idx="65940">1</cx:pt>
          <cx:pt idx="65941">1</cx:pt>
          <cx:pt idx="65942">0</cx:pt>
          <cx:pt idx="65943">1</cx:pt>
          <cx:pt idx="65944">0</cx:pt>
          <cx:pt idx="65945">1</cx:pt>
          <cx:pt idx="65946">0</cx:pt>
          <cx:pt idx="65947">1</cx:pt>
          <cx:pt idx="65948">0</cx:pt>
          <cx:pt idx="65949">1</cx:pt>
          <cx:pt idx="65950">1</cx:pt>
          <cx:pt idx="65951">0</cx:pt>
          <cx:pt idx="65952">0</cx:pt>
          <cx:pt idx="65953">0</cx:pt>
          <cx:pt idx="65954">1</cx:pt>
          <cx:pt idx="65955">0</cx:pt>
          <cx:pt idx="65956">0</cx:pt>
          <cx:pt idx="65957">1</cx:pt>
          <cx:pt idx="65958">1</cx:pt>
          <cx:pt idx="65959">1</cx:pt>
          <cx:pt idx="65960">0</cx:pt>
          <cx:pt idx="65961">0</cx:pt>
          <cx:pt idx="65962">0</cx:pt>
          <cx:pt idx="65963">0</cx:pt>
          <cx:pt idx="65964">0</cx:pt>
          <cx:pt idx="65965">1</cx:pt>
          <cx:pt idx="65966">1</cx:pt>
          <cx:pt idx="65967">1</cx:pt>
          <cx:pt idx="65968">1</cx:pt>
          <cx:pt idx="65969">0</cx:pt>
          <cx:pt idx="65970">0</cx:pt>
          <cx:pt idx="65971">1</cx:pt>
          <cx:pt idx="65972">0</cx:pt>
          <cx:pt idx="65973">0</cx:pt>
          <cx:pt idx="65974">1</cx:pt>
          <cx:pt idx="65975">0</cx:pt>
          <cx:pt idx="65976">1</cx:pt>
          <cx:pt idx="65977">1</cx:pt>
          <cx:pt idx="65978">1</cx:pt>
          <cx:pt idx="65979">1</cx:pt>
          <cx:pt idx="65980">0</cx:pt>
          <cx:pt idx="65981">0</cx:pt>
          <cx:pt idx="65982">1</cx:pt>
          <cx:pt idx="65983">1</cx:pt>
          <cx:pt idx="65984">1</cx:pt>
          <cx:pt idx="65985">0</cx:pt>
          <cx:pt idx="65986">1</cx:pt>
          <cx:pt idx="65987">1</cx:pt>
          <cx:pt idx="65988">1</cx:pt>
          <cx:pt idx="65989">1</cx:pt>
          <cx:pt idx="65990">0</cx:pt>
          <cx:pt idx="65991">1</cx:pt>
          <cx:pt idx="65992">0</cx:pt>
          <cx:pt idx="65993">0</cx:pt>
          <cx:pt idx="65994">0</cx:pt>
          <cx:pt idx="65995">0</cx:pt>
          <cx:pt idx="65996">0</cx:pt>
          <cx:pt idx="65997">1</cx:pt>
          <cx:pt idx="65998">0</cx:pt>
          <cx:pt idx="65999">1</cx:pt>
          <cx:pt idx="66000">0</cx:pt>
          <cx:pt idx="66001">0</cx:pt>
          <cx:pt idx="66002">0</cx:pt>
          <cx:pt idx="66003">0</cx:pt>
          <cx:pt idx="66004">0</cx:pt>
          <cx:pt idx="66005">1</cx:pt>
          <cx:pt idx="66006">0</cx:pt>
          <cx:pt idx="66007">0</cx:pt>
          <cx:pt idx="66008">1</cx:pt>
          <cx:pt idx="66009">0</cx:pt>
          <cx:pt idx="66010">1</cx:pt>
          <cx:pt idx="66011">1</cx:pt>
          <cx:pt idx="66012">1</cx:pt>
          <cx:pt idx="66013">1</cx:pt>
          <cx:pt idx="66014">0</cx:pt>
          <cx:pt idx="66015">0</cx:pt>
          <cx:pt idx="66016">1</cx:pt>
          <cx:pt idx="66017">1</cx:pt>
          <cx:pt idx="66018">0</cx:pt>
          <cx:pt idx="66019">0</cx:pt>
          <cx:pt idx="66020">1</cx:pt>
          <cx:pt idx="66021">1</cx:pt>
          <cx:pt idx="66022">1</cx:pt>
          <cx:pt idx="66023">1</cx:pt>
          <cx:pt idx="66024">0</cx:pt>
          <cx:pt idx="66025">0</cx:pt>
          <cx:pt idx="66026">1</cx:pt>
          <cx:pt idx="66027">0</cx:pt>
          <cx:pt idx="66028">0</cx:pt>
          <cx:pt idx="66029">0</cx:pt>
          <cx:pt idx="66030">0</cx:pt>
          <cx:pt idx="66031">0</cx:pt>
          <cx:pt idx="66032">1</cx:pt>
          <cx:pt idx="66033">1</cx:pt>
          <cx:pt idx="66034">1</cx:pt>
          <cx:pt idx="66035">1</cx:pt>
          <cx:pt idx="66036">0</cx:pt>
          <cx:pt idx="66037">0</cx:pt>
          <cx:pt idx="66038">0</cx:pt>
          <cx:pt idx="66039">1</cx:pt>
          <cx:pt idx="66040">0</cx:pt>
          <cx:pt idx="66041">0</cx:pt>
          <cx:pt idx="66042">1</cx:pt>
          <cx:pt idx="66043">0</cx:pt>
          <cx:pt idx="66044">1</cx:pt>
          <cx:pt idx="66045">0</cx:pt>
          <cx:pt idx="66046">0</cx:pt>
          <cx:pt idx="66047">1</cx:pt>
          <cx:pt idx="66048">0</cx:pt>
          <cx:pt idx="66049">0</cx:pt>
          <cx:pt idx="66050">1</cx:pt>
          <cx:pt idx="66051">0</cx:pt>
          <cx:pt idx="66052">1</cx:pt>
          <cx:pt idx="66053">0</cx:pt>
          <cx:pt idx="66054">1</cx:pt>
          <cx:pt idx="66055">0</cx:pt>
          <cx:pt idx="66056">0</cx:pt>
          <cx:pt idx="66057">0</cx:pt>
          <cx:pt idx="66058">0</cx:pt>
          <cx:pt idx="66059">0</cx:pt>
          <cx:pt idx="66060">0</cx:pt>
          <cx:pt idx="66061">1</cx:pt>
          <cx:pt idx="66062">1</cx:pt>
          <cx:pt idx="66063">0</cx:pt>
          <cx:pt idx="66064">0</cx:pt>
          <cx:pt idx="66065">1</cx:pt>
          <cx:pt idx="66066">0</cx:pt>
          <cx:pt idx="66067">1</cx:pt>
          <cx:pt idx="66068">0</cx:pt>
          <cx:pt idx="66069">0</cx:pt>
          <cx:pt idx="66070">1</cx:pt>
          <cx:pt idx="66071">0</cx:pt>
          <cx:pt idx="66072">0</cx:pt>
          <cx:pt idx="66073">0</cx:pt>
          <cx:pt idx="66074">0</cx:pt>
          <cx:pt idx="66075">1</cx:pt>
          <cx:pt idx="66076">0</cx:pt>
          <cx:pt idx="66077">0</cx:pt>
          <cx:pt idx="66078">1</cx:pt>
          <cx:pt idx="66079">0</cx:pt>
          <cx:pt idx="66080">0</cx:pt>
          <cx:pt idx="66081">1</cx:pt>
          <cx:pt idx="66082">1</cx:pt>
          <cx:pt idx="66083">1</cx:pt>
          <cx:pt idx="66084">0</cx:pt>
          <cx:pt idx="66085">0</cx:pt>
          <cx:pt idx="66086">0</cx:pt>
          <cx:pt idx="66087">1</cx:pt>
          <cx:pt idx="66088">1</cx:pt>
          <cx:pt idx="66089">1</cx:pt>
          <cx:pt idx="66090">1</cx:pt>
          <cx:pt idx="66091">0</cx:pt>
          <cx:pt idx="66092">1</cx:pt>
          <cx:pt idx="66093">0</cx:pt>
          <cx:pt idx="66094">0</cx:pt>
          <cx:pt idx="66095">1</cx:pt>
          <cx:pt idx="66096">0</cx:pt>
          <cx:pt idx="66097">0</cx:pt>
          <cx:pt idx="66098">1</cx:pt>
          <cx:pt idx="66099">0</cx:pt>
          <cx:pt idx="66100">0</cx:pt>
          <cx:pt idx="66101">1</cx:pt>
          <cx:pt idx="66102">0</cx:pt>
          <cx:pt idx="66103">1</cx:pt>
          <cx:pt idx="66104">0</cx:pt>
          <cx:pt idx="66105">0</cx:pt>
          <cx:pt idx="66106">1</cx:pt>
          <cx:pt idx="66107">1</cx:pt>
          <cx:pt idx="66108">0</cx:pt>
          <cx:pt idx="66109">1</cx:pt>
          <cx:pt idx="66110">1</cx:pt>
          <cx:pt idx="66111">0</cx:pt>
          <cx:pt idx="66112">1</cx:pt>
          <cx:pt idx="66113">0</cx:pt>
          <cx:pt idx="66114">1</cx:pt>
          <cx:pt idx="66115">0</cx:pt>
          <cx:pt idx="66116">0</cx:pt>
          <cx:pt idx="66117">1</cx:pt>
          <cx:pt idx="66118">1</cx:pt>
          <cx:pt idx="66119">0</cx:pt>
          <cx:pt idx="66120">1</cx:pt>
          <cx:pt idx="66121">0</cx:pt>
          <cx:pt idx="66122">1</cx:pt>
          <cx:pt idx="66123">1</cx:pt>
          <cx:pt idx="66124">1</cx:pt>
          <cx:pt idx="66125">1</cx:pt>
          <cx:pt idx="66126">1</cx:pt>
          <cx:pt idx="66127">1</cx:pt>
          <cx:pt idx="66128">1</cx:pt>
          <cx:pt idx="66129">1</cx:pt>
          <cx:pt idx="66130">1</cx:pt>
          <cx:pt idx="66131">0</cx:pt>
          <cx:pt idx="66132">1</cx:pt>
          <cx:pt idx="66133">1</cx:pt>
          <cx:pt idx="66134">1</cx:pt>
          <cx:pt idx="66135">1</cx:pt>
          <cx:pt idx="66136">1</cx:pt>
          <cx:pt idx="66137">1</cx:pt>
          <cx:pt idx="66138">1</cx:pt>
          <cx:pt idx="66139">0</cx:pt>
          <cx:pt idx="66140">0</cx:pt>
          <cx:pt idx="66141">1</cx:pt>
          <cx:pt idx="66142">0</cx:pt>
          <cx:pt idx="66143">1</cx:pt>
          <cx:pt idx="66144">1</cx:pt>
          <cx:pt idx="66145">1</cx:pt>
          <cx:pt idx="66146">0</cx:pt>
          <cx:pt idx="66147">0</cx:pt>
          <cx:pt idx="66148">1</cx:pt>
          <cx:pt idx="66149">1</cx:pt>
          <cx:pt idx="66150">1</cx:pt>
          <cx:pt idx="66151">0</cx:pt>
          <cx:pt idx="66152">0</cx:pt>
          <cx:pt idx="66153">1</cx:pt>
          <cx:pt idx="66154">1</cx:pt>
          <cx:pt idx="66155">1</cx:pt>
          <cx:pt idx="66156">0</cx:pt>
          <cx:pt idx="66157">0</cx:pt>
          <cx:pt idx="66158">1</cx:pt>
          <cx:pt idx="66159">0</cx:pt>
          <cx:pt idx="66160">1</cx:pt>
          <cx:pt idx="66161">0</cx:pt>
          <cx:pt idx="66162">1</cx:pt>
          <cx:pt idx="66163">1</cx:pt>
          <cx:pt idx="66164">0</cx:pt>
          <cx:pt idx="66165">0</cx:pt>
          <cx:pt idx="66166">0</cx:pt>
          <cx:pt idx="66167">0</cx:pt>
          <cx:pt idx="66168">1</cx:pt>
          <cx:pt idx="66169">0</cx:pt>
          <cx:pt idx="66170">0</cx:pt>
          <cx:pt idx="66171">0</cx:pt>
          <cx:pt idx="66172">1</cx:pt>
          <cx:pt idx="66173">0</cx:pt>
          <cx:pt idx="66174">1</cx:pt>
          <cx:pt idx="66175">0</cx:pt>
          <cx:pt idx="66176">0</cx:pt>
          <cx:pt idx="66177">1</cx:pt>
          <cx:pt idx="66178">0</cx:pt>
          <cx:pt idx="66179">1</cx:pt>
          <cx:pt idx="66180">0</cx:pt>
          <cx:pt idx="66181">0</cx:pt>
          <cx:pt idx="66182">0</cx:pt>
          <cx:pt idx="66183">1</cx:pt>
          <cx:pt idx="66184">1</cx:pt>
          <cx:pt idx="66185">0</cx:pt>
          <cx:pt idx="66186">1</cx:pt>
          <cx:pt idx="66187">1</cx:pt>
          <cx:pt idx="66188">1</cx:pt>
          <cx:pt idx="66189">0</cx:pt>
          <cx:pt idx="66190">0</cx:pt>
          <cx:pt idx="66191">1</cx:pt>
          <cx:pt idx="66192">0</cx:pt>
          <cx:pt idx="66193">1</cx:pt>
          <cx:pt idx="66194">0</cx:pt>
          <cx:pt idx="66195">0</cx:pt>
          <cx:pt idx="66196">0</cx:pt>
          <cx:pt idx="66197">0</cx:pt>
          <cx:pt idx="66198">0</cx:pt>
          <cx:pt idx="66199">1</cx:pt>
          <cx:pt idx="66200">1</cx:pt>
          <cx:pt idx="66201">1</cx:pt>
          <cx:pt idx="66202">1</cx:pt>
          <cx:pt idx="66203">0</cx:pt>
          <cx:pt idx="66204">1</cx:pt>
          <cx:pt idx="66205">0</cx:pt>
          <cx:pt idx="66206">1</cx:pt>
          <cx:pt idx="66207">0</cx:pt>
          <cx:pt idx="66208">1</cx:pt>
          <cx:pt idx="66209">0</cx:pt>
          <cx:pt idx="66210">1</cx:pt>
          <cx:pt idx="66211">0</cx:pt>
          <cx:pt idx="66212">1</cx:pt>
          <cx:pt idx="66213">0</cx:pt>
          <cx:pt idx="66214">0</cx:pt>
          <cx:pt idx="66215">0</cx:pt>
          <cx:pt idx="66216">0</cx:pt>
          <cx:pt idx="66217">1</cx:pt>
          <cx:pt idx="66218">1</cx:pt>
          <cx:pt idx="66219">1</cx:pt>
          <cx:pt idx="66220">0</cx:pt>
          <cx:pt idx="66221">1</cx:pt>
          <cx:pt idx="66222">0</cx:pt>
          <cx:pt idx="66223">0</cx:pt>
          <cx:pt idx="66224">1</cx:pt>
          <cx:pt idx="66225">0</cx:pt>
          <cx:pt idx="66226">0</cx:pt>
          <cx:pt idx="66227">0</cx:pt>
          <cx:pt idx="66228">0</cx:pt>
          <cx:pt idx="66229">1</cx:pt>
          <cx:pt idx="66230">1</cx:pt>
          <cx:pt idx="66231">1</cx:pt>
          <cx:pt idx="66232">0</cx:pt>
          <cx:pt idx="66233">1</cx:pt>
          <cx:pt idx="66234">1</cx:pt>
          <cx:pt idx="66235">1</cx:pt>
          <cx:pt idx="66236">0</cx:pt>
          <cx:pt idx="66237">0</cx:pt>
          <cx:pt idx="66238">1</cx:pt>
          <cx:pt idx="66239">1</cx:pt>
          <cx:pt idx="66240">0</cx:pt>
          <cx:pt idx="66241">1</cx:pt>
          <cx:pt idx="66242">1</cx:pt>
          <cx:pt idx="66243">0</cx:pt>
          <cx:pt idx="66244">0</cx:pt>
          <cx:pt idx="66245">1</cx:pt>
          <cx:pt idx="66246">1</cx:pt>
          <cx:pt idx="66247">1</cx:pt>
          <cx:pt idx="66248">1</cx:pt>
          <cx:pt idx="66249">1</cx:pt>
          <cx:pt idx="66250">1</cx:pt>
          <cx:pt idx="66251">0</cx:pt>
          <cx:pt idx="66252">1</cx:pt>
          <cx:pt idx="66253">0</cx:pt>
          <cx:pt idx="66254">0</cx:pt>
          <cx:pt idx="66255">0</cx:pt>
          <cx:pt idx="66256">0</cx:pt>
          <cx:pt idx="66257">1</cx:pt>
          <cx:pt idx="66258">0</cx:pt>
          <cx:pt idx="66259">0</cx:pt>
          <cx:pt idx="66260">0</cx:pt>
          <cx:pt idx="66261">1</cx:pt>
          <cx:pt idx="66262">0</cx:pt>
          <cx:pt idx="66263">0</cx:pt>
          <cx:pt idx="66264">1</cx:pt>
          <cx:pt idx="66265">0</cx:pt>
          <cx:pt idx="66266">0</cx:pt>
          <cx:pt idx="66267">0</cx:pt>
          <cx:pt idx="66268">0</cx:pt>
          <cx:pt idx="66269">1</cx:pt>
          <cx:pt idx="66270">0</cx:pt>
          <cx:pt idx="66271">0</cx:pt>
          <cx:pt idx="66272">0</cx:pt>
          <cx:pt idx="66273">1</cx:pt>
          <cx:pt idx="66274">0</cx:pt>
          <cx:pt idx="66275">1</cx:pt>
          <cx:pt idx="66276">0</cx:pt>
          <cx:pt idx="66277">0</cx:pt>
          <cx:pt idx="66278">1</cx:pt>
          <cx:pt idx="66279">1</cx:pt>
          <cx:pt idx="66280">1</cx:pt>
          <cx:pt idx="66281">1</cx:pt>
          <cx:pt idx="66282">1</cx:pt>
          <cx:pt idx="66283">0</cx:pt>
          <cx:pt idx="66284">0</cx:pt>
          <cx:pt idx="66285">1</cx:pt>
          <cx:pt idx="66286">1</cx:pt>
          <cx:pt idx="66287">0</cx:pt>
          <cx:pt idx="66288">0</cx:pt>
          <cx:pt idx="66289">1</cx:pt>
          <cx:pt idx="66290">1</cx:pt>
          <cx:pt idx="66291">0</cx:pt>
          <cx:pt idx="66292">0</cx:pt>
          <cx:pt idx="66293">1</cx:pt>
          <cx:pt idx="66294">1</cx:pt>
          <cx:pt idx="66295">0</cx:pt>
          <cx:pt idx="66296">0</cx:pt>
          <cx:pt idx="66297">1</cx:pt>
          <cx:pt idx="66298">1</cx:pt>
          <cx:pt idx="66299">1</cx:pt>
          <cx:pt idx="66300">0</cx:pt>
          <cx:pt idx="66301">0</cx:pt>
          <cx:pt idx="66302">0</cx:pt>
          <cx:pt idx="66303">1</cx:pt>
          <cx:pt idx="66304">1</cx:pt>
          <cx:pt idx="66305">1</cx:pt>
          <cx:pt idx="66306">0</cx:pt>
          <cx:pt idx="66307">1</cx:pt>
          <cx:pt idx="66308">1</cx:pt>
          <cx:pt idx="66309">1</cx:pt>
          <cx:pt idx="66310">0</cx:pt>
          <cx:pt idx="66311">1</cx:pt>
          <cx:pt idx="66312">0</cx:pt>
          <cx:pt idx="66313">0</cx:pt>
          <cx:pt idx="66314">0</cx:pt>
          <cx:pt idx="66315">0</cx:pt>
          <cx:pt idx="66316">0</cx:pt>
          <cx:pt idx="66317">0</cx:pt>
          <cx:pt idx="66318">1</cx:pt>
          <cx:pt idx="66319">0</cx:pt>
          <cx:pt idx="66320">0</cx:pt>
          <cx:pt idx="66321">0</cx:pt>
          <cx:pt idx="66322">0</cx:pt>
          <cx:pt idx="66323">1</cx:pt>
          <cx:pt idx="66324">0</cx:pt>
          <cx:pt idx="66325">0</cx:pt>
          <cx:pt idx="66326">1</cx:pt>
          <cx:pt idx="66327">0</cx:pt>
          <cx:pt idx="66328">1</cx:pt>
          <cx:pt idx="66329">0</cx:pt>
          <cx:pt idx="66330">0</cx:pt>
          <cx:pt idx="66331">1</cx:pt>
          <cx:pt idx="66332">0</cx:pt>
          <cx:pt idx="66333">0</cx:pt>
          <cx:pt idx="66334">1</cx:pt>
          <cx:pt idx="66335">1</cx:pt>
          <cx:pt idx="66336">0</cx:pt>
          <cx:pt idx="66337">0</cx:pt>
          <cx:pt idx="66338">0</cx:pt>
          <cx:pt idx="66339">0</cx:pt>
          <cx:pt idx="66340">0</cx:pt>
          <cx:pt idx="66341">0</cx:pt>
          <cx:pt idx="66342">1</cx:pt>
          <cx:pt idx="66343">0</cx:pt>
          <cx:pt idx="66344">1</cx:pt>
          <cx:pt idx="66345">0</cx:pt>
          <cx:pt idx="66346">0</cx:pt>
          <cx:pt idx="66347">0</cx:pt>
          <cx:pt idx="66348">1</cx:pt>
          <cx:pt idx="66349">0</cx:pt>
          <cx:pt idx="66350">0</cx:pt>
          <cx:pt idx="66351">1</cx:pt>
          <cx:pt idx="66352">0</cx:pt>
          <cx:pt idx="66353">1</cx:pt>
          <cx:pt idx="66354">1</cx:pt>
          <cx:pt idx="66355">0</cx:pt>
          <cx:pt idx="66356">0</cx:pt>
          <cx:pt idx="66357">0</cx:pt>
          <cx:pt idx="66358">0</cx:pt>
          <cx:pt idx="66359">0</cx:pt>
          <cx:pt idx="66360">0</cx:pt>
          <cx:pt idx="66361">1</cx:pt>
          <cx:pt idx="66362">0</cx:pt>
          <cx:pt idx="66363">0</cx:pt>
          <cx:pt idx="66364">0</cx:pt>
          <cx:pt idx="66365">0</cx:pt>
          <cx:pt idx="66366">0</cx:pt>
          <cx:pt idx="66367">1</cx:pt>
          <cx:pt idx="66368">1</cx:pt>
          <cx:pt idx="66369">1</cx:pt>
          <cx:pt idx="66370">1</cx:pt>
          <cx:pt idx="66371">1</cx:pt>
          <cx:pt idx="66372">0</cx:pt>
          <cx:pt idx="66373">0</cx:pt>
          <cx:pt idx="66374">1</cx:pt>
          <cx:pt idx="66375">1</cx:pt>
          <cx:pt idx="66376">1</cx:pt>
          <cx:pt idx="66377">1</cx:pt>
          <cx:pt idx="66378">0</cx:pt>
          <cx:pt idx="66379">1</cx:pt>
          <cx:pt idx="66380">1</cx:pt>
          <cx:pt idx="66381">1</cx:pt>
          <cx:pt idx="66382">1</cx:pt>
          <cx:pt idx="66383">1</cx:pt>
          <cx:pt idx="66384">0</cx:pt>
          <cx:pt idx="66385">1</cx:pt>
          <cx:pt idx="66386">0</cx:pt>
          <cx:pt idx="66387">0</cx:pt>
          <cx:pt idx="66388">0</cx:pt>
          <cx:pt idx="66389">0</cx:pt>
          <cx:pt idx="66390">1</cx:pt>
          <cx:pt idx="66391">1</cx:pt>
          <cx:pt idx="66392">0</cx:pt>
          <cx:pt idx="66393">0</cx:pt>
          <cx:pt idx="66394">0</cx:pt>
          <cx:pt idx="66395">0</cx:pt>
          <cx:pt idx="66396">1</cx:pt>
          <cx:pt idx="66397">0</cx:pt>
          <cx:pt idx="66398">1</cx:pt>
          <cx:pt idx="66399">0</cx:pt>
          <cx:pt idx="66400">0</cx:pt>
          <cx:pt idx="66401">1</cx:pt>
          <cx:pt idx="66402">1</cx:pt>
          <cx:pt idx="66403">0</cx:pt>
          <cx:pt idx="66404">0</cx:pt>
          <cx:pt idx="66405">0</cx:pt>
          <cx:pt idx="66406">0</cx:pt>
          <cx:pt idx="66407">1</cx:pt>
          <cx:pt idx="66408">1</cx:pt>
          <cx:pt idx="66409">0</cx:pt>
          <cx:pt idx="66410">0</cx:pt>
          <cx:pt idx="66411">1</cx:pt>
          <cx:pt idx="66412">1</cx:pt>
          <cx:pt idx="66413">0</cx:pt>
          <cx:pt idx="66414">0</cx:pt>
          <cx:pt idx="66415">1</cx:pt>
          <cx:pt idx="66416">0</cx:pt>
          <cx:pt idx="66417">1</cx:pt>
          <cx:pt idx="66418">0</cx:pt>
          <cx:pt idx="66419">0</cx:pt>
          <cx:pt idx="66420">1</cx:pt>
          <cx:pt idx="66421">0</cx:pt>
          <cx:pt idx="66422">1</cx:pt>
          <cx:pt idx="66423">1</cx:pt>
          <cx:pt idx="66424">0</cx:pt>
          <cx:pt idx="66425">0</cx:pt>
          <cx:pt idx="66426">1</cx:pt>
          <cx:pt idx="66427">0</cx:pt>
          <cx:pt idx="66428">0</cx:pt>
          <cx:pt idx="66429">0</cx:pt>
          <cx:pt idx="66430">1</cx:pt>
          <cx:pt idx="66431">1</cx:pt>
          <cx:pt idx="66432">0</cx:pt>
          <cx:pt idx="66433">1</cx:pt>
          <cx:pt idx="66434">0</cx:pt>
          <cx:pt idx="66435">1</cx:pt>
          <cx:pt idx="66436">0</cx:pt>
          <cx:pt idx="66437">0</cx:pt>
          <cx:pt idx="66438">1</cx:pt>
          <cx:pt idx="66439">1</cx:pt>
          <cx:pt idx="66440">0</cx:pt>
          <cx:pt idx="66441">0</cx:pt>
          <cx:pt idx="66442">0</cx:pt>
          <cx:pt idx="66443">1</cx:pt>
          <cx:pt idx="66444">1</cx:pt>
          <cx:pt idx="66445">0</cx:pt>
          <cx:pt idx="66446">1</cx:pt>
          <cx:pt idx="66447">0</cx:pt>
          <cx:pt idx="66448">0</cx:pt>
          <cx:pt idx="66449">0</cx:pt>
          <cx:pt idx="66450">0</cx:pt>
          <cx:pt idx="66451">0</cx:pt>
          <cx:pt idx="66452">0</cx:pt>
          <cx:pt idx="66453">0</cx:pt>
          <cx:pt idx="66454">0</cx:pt>
          <cx:pt idx="66455">0</cx:pt>
          <cx:pt idx="66456">0</cx:pt>
          <cx:pt idx="66457">1</cx:pt>
          <cx:pt idx="66458">1</cx:pt>
          <cx:pt idx="66459">0</cx:pt>
          <cx:pt idx="66460">0</cx:pt>
          <cx:pt idx="66461">1</cx:pt>
          <cx:pt idx="66462">0</cx:pt>
          <cx:pt idx="66463">0</cx:pt>
          <cx:pt idx="66464">0</cx:pt>
          <cx:pt idx="66465">1</cx:pt>
          <cx:pt idx="66466">1</cx:pt>
          <cx:pt idx="66467">0</cx:pt>
          <cx:pt idx="66468">0</cx:pt>
          <cx:pt idx="66469">0</cx:pt>
          <cx:pt idx="66470">1</cx:pt>
          <cx:pt idx="66471">1</cx:pt>
          <cx:pt idx="66472">1</cx:pt>
          <cx:pt idx="66473">1</cx:pt>
          <cx:pt idx="66474">1</cx:pt>
          <cx:pt idx="66475">0</cx:pt>
          <cx:pt idx="66476">1</cx:pt>
          <cx:pt idx="66477">0</cx:pt>
          <cx:pt idx="66478">1</cx:pt>
          <cx:pt idx="66479">0</cx:pt>
          <cx:pt idx="66480">1</cx:pt>
          <cx:pt idx="66481">0</cx:pt>
          <cx:pt idx="66482">0</cx:pt>
          <cx:pt idx="66483">1</cx:pt>
          <cx:pt idx="66484">0</cx:pt>
          <cx:pt idx="66485">0</cx:pt>
          <cx:pt idx="66486">1</cx:pt>
          <cx:pt idx="66487">1</cx:pt>
          <cx:pt idx="66488">0</cx:pt>
          <cx:pt idx="66489">0</cx:pt>
          <cx:pt idx="66490">1</cx:pt>
          <cx:pt idx="66491">0</cx:pt>
          <cx:pt idx="66492">0</cx:pt>
          <cx:pt idx="66493">1</cx:pt>
          <cx:pt idx="66494">1</cx:pt>
          <cx:pt idx="66495">0</cx:pt>
          <cx:pt idx="66496">0</cx:pt>
          <cx:pt idx="66497">0</cx:pt>
          <cx:pt idx="66498">0</cx:pt>
          <cx:pt idx="66499">1</cx:pt>
          <cx:pt idx="66500">0</cx:pt>
          <cx:pt idx="66501">0</cx:pt>
          <cx:pt idx="66502">0</cx:pt>
          <cx:pt idx="66503">1</cx:pt>
          <cx:pt idx="66504">1</cx:pt>
          <cx:pt idx="66505">0</cx:pt>
          <cx:pt idx="66506">1</cx:pt>
          <cx:pt idx="66507">1</cx:pt>
          <cx:pt idx="66508">1</cx:pt>
          <cx:pt idx="66509">0</cx:pt>
          <cx:pt idx="66510">1</cx:pt>
          <cx:pt idx="66511">1</cx:pt>
          <cx:pt idx="66512">1</cx:pt>
          <cx:pt idx="66513">1</cx:pt>
          <cx:pt idx="66514">0</cx:pt>
          <cx:pt idx="66515">0</cx:pt>
          <cx:pt idx="66516">0</cx:pt>
          <cx:pt idx="66517">0</cx:pt>
          <cx:pt idx="66518">0</cx:pt>
          <cx:pt idx="66519">1</cx:pt>
          <cx:pt idx="66520">0</cx:pt>
          <cx:pt idx="66521">1</cx:pt>
          <cx:pt idx="66522">1</cx:pt>
          <cx:pt idx="66523">0</cx:pt>
          <cx:pt idx="66524">1</cx:pt>
          <cx:pt idx="66525">0</cx:pt>
          <cx:pt idx="66526">0</cx:pt>
          <cx:pt idx="66527">1</cx:pt>
          <cx:pt idx="66528">0</cx:pt>
          <cx:pt idx="66529">0</cx:pt>
          <cx:pt idx="66530">1</cx:pt>
          <cx:pt idx="66531">0</cx:pt>
          <cx:pt idx="66532">1</cx:pt>
          <cx:pt idx="66533">1</cx:pt>
          <cx:pt idx="66534">1</cx:pt>
          <cx:pt idx="66535">1</cx:pt>
          <cx:pt idx="66536">1</cx:pt>
          <cx:pt idx="66537">0</cx:pt>
          <cx:pt idx="66538">0</cx:pt>
          <cx:pt idx="66539">1</cx:pt>
          <cx:pt idx="66540">0</cx:pt>
          <cx:pt idx="66541">0</cx:pt>
          <cx:pt idx="66542">1</cx:pt>
          <cx:pt idx="66543">1</cx:pt>
          <cx:pt idx="66544">1</cx:pt>
          <cx:pt idx="66545">1</cx:pt>
          <cx:pt idx="66546">1</cx:pt>
          <cx:pt idx="66547">1</cx:pt>
          <cx:pt idx="66548">1</cx:pt>
          <cx:pt idx="66549">0</cx:pt>
          <cx:pt idx="66550">1</cx:pt>
          <cx:pt idx="66551">0</cx:pt>
          <cx:pt idx="66552">1</cx:pt>
          <cx:pt idx="66553">0</cx:pt>
          <cx:pt idx="66554">0</cx:pt>
          <cx:pt idx="66555">1</cx:pt>
          <cx:pt idx="66556">0</cx:pt>
          <cx:pt idx="66557">0</cx:pt>
          <cx:pt idx="66558">1</cx:pt>
          <cx:pt idx="66559">0</cx:pt>
          <cx:pt idx="66560">1</cx:pt>
          <cx:pt idx="66561">0</cx:pt>
          <cx:pt idx="66562">1</cx:pt>
          <cx:pt idx="66563">1</cx:pt>
          <cx:pt idx="66564">0</cx:pt>
          <cx:pt idx="66565">0</cx:pt>
          <cx:pt idx="66566">0</cx:pt>
          <cx:pt idx="66567">1</cx:pt>
          <cx:pt idx="66568">0</cx:pt>
          <cx:pt idx="66569">0</cx:pt>
          <cx:pt idx="66570">0</cx:pt>
          <cx:pt idx="66571">0</cx:pt>
          <cx:pt idx="66572">1</cx:pt>
          <cx:pt idx="66573">0</cx:pt>
          <cx:pt idx="66574">1</cx:pt>
          <cx:pt idx="66575">1</cx:pt>
          <cx:pt idx="66576">1</cx:pt>
          <cx:pt idx="66577">0</cx:pt>
          <cx:pt idx="66578">0</cx:pt>
          <cx:pt idx="66579">1</cx:pt>
          <cx:pt idx="66580">1</cx:pt>
          <cx:pt idx="66581">0</cx:pt>
          <cx:pt idx="66582">0</cx:pt>
          <cx:pt idx="66583">1</cx:pt>
          <cx:pt idx="66584">1</cx:pt>
          <cx:pt idx="66585">1</cx:pt>
          <cx:pt idx="66586">0</cx:pt>
          <cx:pt idx="66587">1</cx:pt>
          <cx:pt idx="66588">1</cx:pt>
          <cx:pt idx="66589">0</cx:pt>
          <cx:pt idx="66590">1</cx:pt>
          <cx:pt idx="66591">0</cx:pt>
          <cx:pt idx="66592">1</cx:pt>
          <cx:pt idx="66593">1</cx:pt>
          <cx:pt idx="66594">0</cx:pt>
          <cx:pt idx="66595">1</cx:pt>
          <cx:pt idx="66596">1</cx:pt>
          <cx:pt idx="66597">0</cx:pt>
          <cx:pt idx="66598">0</cx:pt>
          <cx:pt idx="66599">0</cx:pt>
          <cx:pt idx="66600">1</cx:pt>
          <cx:pt idx="66601">0</cx:pt>
          <cx:pt idx="66602">0</cx:pt>
          <cx:pt idx="66603">1</cx:pt>
          <cx:pt idx="66604">0</cx:pt>
          <cx:pt idx="66605">1</cx:pt>
          <cx:pt idx="66606">0</cx:pt>
          <cx:pt idx="66607">1</cx:pt>
          <cx:pt idx="66608">1</cx:pt>
          <cx:pt idx="66609">1</cx:pt>
          <cx:pt idx="66610">0</cx:pt>
          <cx:pt idx="66611">1</cx:pt>
          <cx:pt idx="66612">0</cx:pt>
          <cx:pt idx="66613">0</cx:pt>
          <cx:pt idx="66614">1</cx:pt>
          <cx:pt idx="66615">0</cx:pt>
          <cx:pt idx="66616">1</cx:pt>
          <cx:pt idx="66617">0</cx:pt>
          <cx:pt idx="66618">1</cx:pt>
          <cx:pt idx="66619">0</cx:pt>
          <cx:pt idx="66620">0</cx:pt>
          <cx:pt idx="66621">1</cx:pt>
          <cx:pt idx="66622">1</cx:pt>
          <cx:pt idx="66623">0</cx:pt>
          <cx:pt idx="66624">1</cx:pt>
          <cx:pt idx="66625">1</cx:pt>
          <cx:pt idx="66626">0</cx:pt>
          <cx:pt idx="66627">0</cx:pt>
          <cx:pt idx="66628">0</cx:pt>
          <cx:pt idx="66629">1</cx:pt>
          <cx:pt idx="66630">0</cx:pt>
          <cx:pt idx="66631">1</cx:pt>
          <cx:pt idx="66632">0</cx:pt>
          <cx:pt idx="66633">0</cx:pt>
          <cx:pt idx="66634">0</cx:pt>
          <cx:pt idx="66635">1</cx:pt>
          <cx:pt idx="66636">0</cx:pt>
          <cx:pt idx="66637">0</cx:pt>
          <cx:pt idx="66638">1</cx:pt>
          <cx:pt idx="66639">1</cx:pt>
          <cx:pt idx="66640">1</cx:pt>
          <cx:pt idx="66641">0</cx:pt>
          <cx:pt idx="66642">0</cx:pt>
          <cx:pt idx="66643">1</cx:pt>
          <cx:pt idx="66644">0</cx:pt>
          <cx:pt idx="66645">0</cx:pt>
          <cx:pt idx="66646">1</cx:pt>
          <cx:pt idx="66647">1</cx:pt>
          <cx:pt idx="66648">0</cx:pt>
          <cx:pt idx="66649">1</cx:pt>
          <cx:pt idx="66650">0</cx:pt>
          <cx:pt idx="66651">1</cx:pt>
          <cx:pt idx="66652">0</cx:pt>
          <cx:pt idx="66653">0</cx:pt>
          <cx:pt idx="66654">0</cx:pt>
          <cx:pt idx="66655">0</cx:pt>
          <cx:pt idx="66656">0</cx:pt>
          <cx:pt idx="66657">1</cx:pt>
          <cx:pt idx="66658">0</cx:pt>
          <cx:pt idx="66659">0</cx:pt>
          <cx:pt idx="66660">1</cx:pt>
          <cx:pt idx="66661">0</cx:pt>
          <cx:pt idx="66662">0</cx:pt>
          <cx:pt idx="66663">0</cx:pt>
          <cx:pt idx="66664">0</cx:pt>
          <cx:pt idx="66665">1</cx:pt>
          <cx:pt idx="66666">0</cx:pt>
          <cx:pt idx="66667">1</cx:pt>
          <cx:pt idx="66668">0</cx:pt>
          <cx:pt idx="66669">1</cx:pt>
          <cx:pt idx="66670">1</cx:pt>
          <cx:pt idx="66671">1</cx:pt>
          <cx:pt idx="66672">1</cx:pt>
          <cx:pt idx="66673">1</cx:pt>
          <cx:pt idx="66674">0</cx:pt>
          <cx:pt idx="66675">0</cx:pt>
          <cx:pt idx="66676">0</cx:pt>
          <cx:pt idx="66677">0</cx:pt>
          <cx:pt idx="66678">1</cx:pt>
          <cx:pt idx="66679">1</cx:pt>
          <cx:pt idx="66680">1</cx:pt>
          <cx:pt idx="66681">0</cx:pt>
          <cx:pt idx="66682">0</cx:pt>
          <cx:pt idx="66683">0</cx:pt>
          <cx:pt idx="66684">1</cx:pt>
          <cx:pt idx="66685">0</cx:pt>
          <cx:pt idx="66686">0</cx:pt>
          <cx:pt idx="66687">0</cx:pt>
          <cx:pt idx="66688">1</cx:pt>
          <cx:pt idx="66689">1</cx:pt>
          <cx:pt idx="66690">0</cx:pt>
          <cx:pt idx="66691">0</cx:pt>
          <cx:pt idx="66692">1</cx:pt>
          <cx:pt idx="66693">1</cx:pt>
          <cx:pt idx="66694">0</cx:pt>
          <cx:pt idx="66695">1</cx:pt>
          <cx:pt idx="66696">1</cx:pt>
          <cx:pt idx="66697">1</cx:pt>
          <cx:pt idx="66698">1</cx:pt>
          <cx:pt idx="66699">1</cx:pt>
          <cx:pt idx="66700">0</cx:pt>
          <cx:pt idx="66701">0</cx:pt>
          <cx:pt idx="66702">0</cx:pt>
          <cx:pt idx="66703">1</cx:pt>
          <cx:pt idx="66704">0</cx:pt>
          <cx:pt idx="66705">0</cx:pt>
          <cx:pt idx="66706">0</cx:pt>
          <cx:pt idx="66707">0</cx:pt>
          <cx:pt idx="66708">1</cx:pt>
          <cx:pt idx="66709">0</cx:pt>
          <cx:pt idx="66710">0</cx:pt>
          <cx:pt idx="66711">0</cx:pt>
          <cx:pt idx="66712">0</cx:pt>
          <cx:pt idx="66713">0</cx:pt>
          <cx:pt idx="66714">1</cx:pt>
          <cx:pt idx="66715">1</cx:pt>
          <cx:pt idx="66716">0</cx:pt>
          <cx:pt idx="66717">0</cx:pt>
          <cx:pt idx="66718">1</cx:pt>
          <cx:pt idx="66719">1</cx:pt>
          <cx:pt idx="66720">0</cx:pt>
          <cx:pt idx="66721">0</cx:pt>
          <cx:pt idx="66722">0</cx:pt>
          <cx:pt idx="66723">0</cx:pt>
          <cx:pt idx="66724">1</cx:pt>
          <cx:pt idx="66725">1</cx:pt>
          <cx:pt idx="66726">0</cx:pt>
          <cx:pt idx="66727">1</cx:pt>
          <cx:pt idx="66728">0</cx:pt>
          <cx:pt idx="66729">1</cx:pt>
          <cx:pt idx="66730">0</cx:pt>
          <cx:pt idx="66731">0</cx:pt>
          <cx:pt idx="66732">0</cx:pt>
          <cx:pt idx="66733">0</cx:pt>
          <cx:pt idx="66734">1</cx:pt>
          <cx:pt idx="66735">0</cx:pt>
          <cx:pt idx="66736">0</cx:pt>
          <cx:pt idx="66737">0</cx:pt>
          <cx:pt idx="66738">0</cx:pt>
          <cx:pt idx="66739">0</cx:pt>
          <cx:pt idx="66740">0</cx:pt>
          <cx:pt idx="66741">1</cx:pt>
          <cx:pt idx="66742">0</cx:pt>
          <cx:pt idx="66743">0</cx:pt>
          <cx:pt idx="66744">0</cx:pt>
          <cx:pt idx="66745">1</cx:pt>
          <cx:pt idx="66746">0</cx:pt>
          <cx:pt idx="66747">0</cx:pt>
          <cx:pt idx="66748">1</cx:pt>
          <cx:pt idx="66749">1</cx:pt>
          <cx:pt idx="66750">0</cx:pt>
          <cx:pt idx="66751">0</cx:pt>
          <cx:pt idx="66752">0</cx:pt>
          <cx:pt idx="66753">1</cx:pt>
          <cx:pt idx="66754">1</cx:pt>
          <cx:pt idx="66755">0</cx:pt>
          <cx:pt idx="66756">0</cx:pt>
          <cx:pt idx="66757">1</cx:pt>
          <cx:pt idx="66758">1</cx:pt>
          <cx:pt idx="66759">0</cx:pt>
          <cx:pt idx="66760">0</cx:pt>
          <cx:pt idx="66761">1</cx:pt>
          <cx:pt idx="66762">0</cx:pt>
          <cx:pt idx="66763">1</cx:pt>
          <cx:pt idx="66764">0</cx:pt>
          <cx:pt idx="66765">0</cx:pt>
          <cx:pt idx="66766">0</cx:pt>
          <cx:pt idx="66767">0</cx:pt>
          <cx:pt idx="66768">1</cx:pt>
          <cx:pt idx="66769">0</cx:pt>
          <cx:pt idx="66770">0</cx:pt>
          <cx:pt idx="66771">0</cx:pt>
          <cx:pt idx="66772">0</cx:pt>
          <cx:pt idx="66773">0</cx:pt>
          <cx:pt idx="66774">0</cx:pt>
          <cx:pt idx="66775">1</cx:pt>
          <cx:pt idx="66776">1</cx:pt>
          <cx:pt idx="66777">1</cx:pt>
          <cx:pt idx="66778">0</cx:pt>
          <cx:pt idx="66779">1</cx:pt>
          <cx:pt idx="66780">1</cx:pt>
          <cx:pt idx="66781">1</cx:pt>
          <cx:pt idx="66782">1</cx:pt>
          <cx:pt idx="66783">0</cx:pt>
          <cx:pt idx="66784">0</cx:pt>
          <cx:pt idx="66785">0</cx:pt>
          <cx:pt idx="66786">1</cx:pt>
          <cx:pt idx="66787">0</cx:pt>
          <cx:pt idx="66788">0</cx:pt>
          <cx:pt idx="66789">0</cx:pt>
          <cx:pt idx="66790">0</cx:pt>
          <cx:pt idx="66791">0</cx:pt>
          <cx:pt idx="66792">0</cx:pt>
          <cx:pt idx="66793">0</cx:pt>
          <cx:pt idx="66794">1</cx:pt>
          <cx:pt idx="66795">0</cx:pt>
          <cx:pt idx="66796">0</cx:pt>
          <cx:pt idx="66797">1</cx:pt>
          <cx:pt idx="66798">1</cx:pt>
          <cx:pt idx="66799">0</cx:pt>
          <cx:pt idx="66800">0</cx:pt>
          <cx:pt idx="66801">1</cx:pt>
          <cx:pt idx="66802">1</cx:pt>
          <cx:pt idx="66803">1</cx:pt>
          <cx:pt idx="66804">1</cx:pt>
          <cx:pt idx="66805">0</cx:pt>
          <cx:pt idx="66806">0</cx:pt>
          <cx:pt idx="66807">0</cx:pt>
          <cx:pt idx="66808">1</cx:pt>
          <cx:pt idx="66809">1</cx:pt>
          <cx:pt idx="66810">0</cx:pt>
          <cx:pt idx="66811">1</cx:pt>
          <cx:pt idx="66812">0</cx:pt>
          <cx:pt idx="66813">0</cx:pt>
          <cx:pt idx="66814">1</cx:pt>
          <cx:pt idx="66815">1</cx:pt>
          <cx:pt idx="66816">1</cx:pt>
          <cx:pt idx="66817">0</cx:pt>
          <cx:pt idx="66818">0</cx:pt>
          <cx:pt idx="66819">0</cx:pt>
          <cx:pt idx="66820">0</cx:pt>
          <cx:pt idx="66821">1</cx:pt>
          <cx:pt idx="66822">0</cx:pt>
          <cx:pt idx="66823">0</cx:pt>
          <cx:pt idx="66824">1</cx:pt>
          <cx:pt idx="66825">0</cx:pt>
          <cx:pt idx="66826">0</cx:pt>
          <cx:pt idx="66827">0</cx:pt>
          <cx:pt idx="66828">0</cx:pt>
          <cx:pt idx="66829">1</cx:pt>
          <cx:pt idx="66830">1</cx:pt>
          <cx:pt idx="66831">0</cx:pt>
          <cx:pt idx="66832">1</cx:pt>
          <cx:pt idx="66833">0</cx:pt>
          <cx:pt idx="66834">1</cx:pt>
          <cx:pt idx="66835">1</cx:pt>
          <cx:pt idx="66836">0</cx:pt>
          <cx:pt idx="66837">0</cx:pt>
          <cx:pt idx="66838">1</cx:pt>
          <cx:pt idx="66839">0</cx:pt>
          <cx:pt idx="66840">0</cx:pt>
          <cx:pt idx="66841">1</cx:pt>
          <cx:pt idx="66842">1</cx:pt>
          <cx:pt idx="66843">0</cx:pt>
          <cx:pt idx="66844">0</cx:pt>
          <cx:pt idx="66845">1</cx:pt>
          <cx:pt idx="66846">1</cx:pt>
          <cx:pt idx="66847">1</cx:pt>
          <cx:pt idx="66848">1</cx:pt>
          <cx:pt idx="66849">0</cx:pt>
          <cx:pt idx="66850">1</cx:pt>
          <cx:pt idx="66851">0</cx:pt>
          <cx:pt idx="66852">1</cx:pt>
          <cx:pt idx="66853">1</cx:pt>
          <cx:pt idx="66854">0</cx:pt>
          <cx:pt idx="66855">1</cx:pt>
          <cx:pt idx="66856">0</cx:pt>
          <cx:pt idx="66857">1</cx:pt>
          <cx:pt idx="66858">0</cx:pt>
          <cx:pt idx="66859">1</cx:pt>
          <cx:pt idx="66860">0</cx:pt>
          <cx:pt idx="66861">1</cx:pt>
          <cx:pt idx="66862">0</cx:pt>
          <cx:pt idx="66863">1</cx:pt>
          <cx:pt idx="66864">1</cx:pt>
          <cx:pt idx="66865">0</cx:pt>
          <cx:pt idx="66866">1</cx:pt>
          <cx:pt idx="66867">0</cx:pt>
          <cx:pt idx="66868">0</cx:pt>
          <cx:pt idx="66869">0</cx:pt>
          <cx:pt idx="66870">0</cx:pt>
          <cx:pt idx="66871">0</cx:pt>
          <cx:pt idx="66872">1</cx:pt>
          <cx:pt idx="66873">0</cx:pt>
          <cx:pt idx="66874">1</cx:pt>
          <cx:pt idx="66875">0</cx:pt>
          <cx:pt idx="66876">1</cx:pt>
          <cx:pt idx="66877">0</cx:pt>
          <cx:pt idx="66878">1</cx:pt>
          <cx:pt idx="66879">0</cx:pt>
          <cx:pt idx="66880">0</cx:pt>
          <cx:pt idx="66881">0</cx:pt>
          <cx:pt idx="66882">0</cx:pt>
          <cx:pt idx="66883">0</cx:pt>
          <cx:pt idx="66884">1</cx:pt>
          <cx:pt idx="66885">1</cx:pt>
          <cx:pt idx="66886">0</cx:pt>
          <cx:pt idx="66887">1</cx:pt>
          <cx:pt idx="66888">0</cx:pt>
          <cx:pt idx="66889">1</cx:pt>
          <cx:pt idx="66890">0</cx:pt>
          <cx:pt idx="66891">0</cx:pt>
          <cx:pt idx="66892">1</cx:pt>
          <cx:pt idx="66893">0</cx:pt>
          <cx:pt idx="66894">0</cx:pt>
          <cx:pt idx="66895">0</cx:pt>
          <cx:pt idx="66896">1</cx:pt>
          <cx:pt idx="66897">0</cx:pt>
          <cx:pt idx="66898">0</cx:pt>
          <cx:pt idx="66899">1</cx:pt>
          <cx:pt idx="66900">0</cx:pt>
          <cx:pt idx="66901">1</cx:pt>
          <cx:pt idx="66902">1</cx:pt>
          <cx:pt idx="66903">0</cx:pt>
          <cx:pt idx="66904">0</cx:pt>
          <cx:pt idx="66905">1</cx:pt>
          <cx:pt idx="66906">0</cx:pt>
          <cx:pt idx="66907">0</cx:pt>
          <cx:pt idx="66908">1</cx:pt>
          <cx:pt idx="66909">1</cx:pt>
          <cx:pt idx="66910">1</cx:pt>
          <cx:pt idx="66911">0</cx:pt>
          <cx:pt idx="66912">0</cx:pt>
          <cx:pt idx="66913">0</cx:pt>
          <cx:pt idx="66914">1</cx:pt>
          <cx:pt idx="66915">0</cx:pt>
          <cx:pt idx="66916">1</cx:pt>
          <cx:pt idx="66917">0</cx:pt>
          <cx:pt idx="66918">0</cx:pt>
          <cx:pt idx="66919">0</cx:pt>
          <cx:pt idx="66920">1</cx:pt>
          <cx:pt idx="66921">1</cx:pt>
          <cx:pt idx="66922">1</cx:pt>
          <cx:pt idx="66923">1</cx:pt>
          <cx:pt idx="66924">0</cx:pt>
          <cx:pt idx="66925">1</cx:pt>
          <cx:pt idx="66926">0</cx:pt>
          <cx:pt idx="66927">1</cx:pt>
          <cx:pt idx="66928">0</cx:pt>
          <cx:pt idx="66929">1</cx:pt>
          <cx:pt idx="66930">0</cx:pt>
          <cx:pt idx="66931">1</cx:pt>
          <cx:pt idx="66932">0</cx:pt>
          <cx:pt idx="66933">1</cx:pt>
          <cx:pt idx="66934">0</cx:pt>
          <cx:pt idx="66935">0</cx:pt>
          <cx:pt idx="66936">0</cx:pt>
          <cx:pt idx="66937">0</cx:pt>
          <cx:pt idx="66938">1</cx:pt>
          <cx:pt idx="66939">1</cx:pt>
          <cx:pt idx="66940">1</cx:pt>
          <cx:pt idx="66941">1</cx:pt>
          <cx:pt idx="66942">0</cx:pt>
          <cx:pt idx="66943">0</cx:pt>
          <cx:pt idx="66944">1</cx:pt>
          <cx:pt idx="66945">0</cx:pt>
          <cx:pt idx="66946">0</cx:pt>
          <cx:pt idx="66947">1</cx:pt>
          <cx:pt idx="66948">0</cx:pt>
          <cx:pt idx="66949">1</cx:pt>
          <cx:pt idx="66950">0</cx:pt>
          <cx:pt idx="66951">0</cx:pt>
          <cx:pt idx="66952">0</cx:pt>
          <cx:pt idx="66953">0</cx:pt>
          <cx:pt idx="66954">1</cx:pt>
          <cx:pt idx="66955">0</cx:pt>
          <cx:pt idx="66956">1</cx:pt>
          <cx:pt idx="66957">1</cx:pt>
          <cx:pt idx="66958">1</cx:pt>
          <cx:pt idx="66959">1</cx:pt>
          <cx:pt idx="66960">1</cx:pt>
          <cx:pt idx="66961">0</cx:pt>
          <cx:pt idx="66962">0</cx:pt>
          <cx:pt idx="66963">0</cx:pt>
          <cx:pt idx="66964">1</cx:pt>
          <cx:pt idx="66965">1</cx:pt>
          <cx:pt idx="66966">1</cx:pt>
          <cx:pt idx="66967">1</cx:pt>
          <cx:pt idx="66968">0</cx:pt>
          <cx:pt idx="66969">0</cx:pt>
          <cx:pt idx="66970">0</cx:pt>
          <cx:pt idx="66971">1</cx:pt>
          <cx:pt idx="66972">0</cx:pt>
          <cx:pt idx="66973">1</cx:pt>
          <cx:pt idx="66974">1</cx:pt>
          <cx:pt idx="66975">0</cx:pt>
          <cx:pt idx="66976">0</cx:pt>
          <cx:pt idx="66977">1</cx:pt>
          <cx:pt idx="66978">1</cx:pt>
          <cx:pt idx="66979">0</cx:pt>
          <cx:pt idx="66980">1</cx:pt>
          <cx:pt idx="66981">0</cx:pt>
          <cx:pt idx="66982">0</cx:pt>
          <cx:pt idx="66983">1</cx:pt>
          <cx:pt idx="66984">1</cx:pt>
          <cx:pt idx="66985">0</cx:pt>
          <cx:pt idx="66986">0</cx:pt>
          <cx:pt idx="66987">1</cx:pt>
          <cx:pt idx="66988">0</cx:pt>
          <cx:pt idx="66989">0</cx:pt>
          <cx:pt idx="66990">1</cx:pt>
          <cx:pt idx="66991">1</cx:pt>
          <cx:pt idx="66992">1</cx:pt>
          <cx:pt idx="66993">1</cx:pt>
          <cx:pt idx="66994">0</cx:pt>
          <cx:pt idx="66995">1</cx:pt>
          <cx:pt idx="66996">0</cx:pt>
          <cx:pt idx="66997">0</cx:pt>
          <cx:pt idx="66998">0</cx:pt>
          <cx:pt idx="66999">1</cx:pt>
          <cx:pt idx="67000">0</cx:pt>
          <cx:pt idx="67001">0</cx:pt>
          <cx:pt idx="67002">0</cx:pt>
          <cx:pt idx="67003">1</cx:pt>
          <cx:pt idx="67004">0</cx:pt>
          <cx:pt idx="67005">0</cx:pt>
          <cx:pt idx="67006">0</cx:pt>
          <cx:pt idx="67007">0</cx:pt>
          <cx:pt idx="67008">0</cx:pt>
          <cx:pt idx="67009">1</cx:pt>
          <cx:pt idx="67010">1</cx:pt>
          <cx:pt idx="67011">0</cx:pt>
          <cx:pt idx="67012">0</cx:pt>
          <cx:pt idx="67013">1</cx:pt>
          <cx:pt idx="67014">1</cx:pt>
          <cx:pt idx="67015">0</cx:pt>
          <cx:pt idx="67016">1</cx:pt>
          <cx:pt idx="67017">0</cx:pt>
          <cx:pt idx="67018">0</cx:pt>
          <cx:pt idx="67019">1</cx:pt>
          <cx:pt idx="67020">0</cx:pt>
          <cx:pt idx="67021">1</cx:pt>
          <cx:pt idx="67022">0</cx:pt>
          <cx:pt idx="67023">1</cx:pt>
          <cx:pt idx="67024">0</cx:pt>
          <cx:pt idx="67025">1</cx:pt>
          <cx:pt idx="67026">1</cx:pt>
          <cx:pt idx="67027">0</cx:pt>
          <cx:pt idx="67028">0</cx:pt>
          <cx:pt idx="67029">1</cx:pt>
          <cx:pt idx="67030">1</cx:pt>
          <cx:pt idx="67031">1</cx:pt>
          <cx:pt idx="67032">0</cx:pt>
          <cx:pt idx="67033">0</cx:pt>
          <cx:pt idx="67034">0</cx:pt>
          <cx:pt idx="67035">1</cx:pt>
          <cx:pt idx="67036">0</cx:pt>
          <cx:pt idx="67037">0</cx:pt>
          <cx:pt idx="67038">1</cx:pt>
          <cx:pt idx="67039">1</cx:pt>
          <cx:pt idx="67040">1</cx:pt>
          <cx:pt idx="67041">0</cx:pt>
          <cx:pt idx="67042">1</cx:pt>
          <cx:pt idx="67043">0</cx:pt>
          <cx:pt idx="67044">1</cx:pt>
          <cx:pt idx="67045">0</cx:pt>
          <cx:pt idx="67046">0</cx:pt>
          <cx:pt idx="67047">1</cx:pt>
          <cx:pt idx="67048">0</cx:pt>
          <cx:pt idx="67049">1</cx:pt>
          <cx:pt idx="67050">0</cx:pt>
          <cx:pt idx="67051">0</cx:pt>
          <cx:pt idx="67052">0</cx:pt>
          <cx:pt idx="67053">0</cx:pt>
          <cx:pt idx="67054">1</cx:pt>
          <cx:pt idx="67055">0</cx:pt>
          <cx:pt idx="67056">0</cx:pt>
          <cx:pt idx="67057">0</cx:pt>
          <cx:pt idx="67058">0</cx:pt>
          <cx:pt idx="67059">0</cx:pt>
          <cx:pt idx="67060">1</cx:pt>
          <cx:pt idx="67061">1</cx:pt>
          <cx:pt idx="67062">1</cx:pt>
          <cx:pt idx="67063">1</cx:pt>
          <cx:pt idx="67064">0</cx:pt>
          <cx:pt idx="67065">1</cx:pt>
          <cx:pt idx="67066">1</cx:pt>
          <cx:pt idx="67067">1</cx:pt>
          <cx:pt idx="67068">0</cx:pt>
          <cx:pt idx="67069">0</cx:pt>
          <cx:pt idx="67070">1</cx:pt>
          <cx:pt idx="67071">0</cx:pt>
          <cx:pt idx="67072">0</cx:pt>
          <cx:pt idx="67073">1</cx:pt>
          <cx:pt idx="67074">0</cx:pt>
          <cx:pt idx="67075">1</cx:pt>
          <cx:pt idx="67076">1</cx:pt>
          <cx:pt idx="67077">1</cx:pt>
          <cx:pt idx="67078">0</cx:pt>
          <cx:pt idx="67079">1</cx:pt>
          <cx:pt idx="67080">0</cx:pt>
          <cx:pt idx="67081">0</cx:pt>
          <cx:pt idx="67082">0</cx:pt>
          <cx:pt idx="67083">1</cx:pt>
          <cx:pt idx="67084">1</cx:pt>
          <cx:pt idx="67085">1</cx:pt>
          <cx:pt idx="67086">1</cx:pt>
          <cx:pt idx="67087">1</cx:pt>
          <cx:pt idx="67088">1</cx:pt>
          <cx:pt idx="67089">0</cx:pt>
          <cx:pt idx="67090">1</cx:pt>
          <cx:pt idx="67091">0</cx:pt>
          <cx:pt idx="67092">0</cx:pt>
          <cx:pt idx="67093">0</cx:pt>
          <cx:pt idx="67094">1</cx:pt>
          <cx:pt idx="67095">0</cx:pt>
          <cx:pt idx="67096">1</cx:pt>
          <cx:pt idx="67097">0</cx:pt>
          <cx:pt idx="67098">1</cx:pt>
          <cx:pt idx="67099">0</cx:pt>
          <cx:pt idx="67100">0</cx:pt>
          <cx:pt idx="67101">0</cx:pt>
          <cx:pt idx="67102">0</cx:pt>
          <cx:pt idx="67103">0</cx:pt>
          <cx:pt idx="67104">1</cx:pt>
          <cx:pt idx="67105">1</cx:pt>
          <cx:pt idx="67106">1</cx:pt>
          <cx:pt idx="67107">1</cx:pt>
          <cx:pt idx="67108">0</cx:pt>
          <cx:pt idx="67109">0</cx:pt>
          <cx:pt idx="67110">1</cx:pt>
          <cx:pt idx="67111">1</cx:pt>
          <cx:pt idx="67112">0</cx:pt>
          <cx:pt idx="67113">0</cx:pt>
          <cx:pt idx="67114">0</cx:pt>
          <cx:pt idx="67115">1</cx:pt>
          <cx:pt idx="67116">1</cx:pt>
          <cx:pt idx="67117">0</cx:pt>
          <cx:pt idx="67118">0</cx:pt>
          <cx:pt idx="67119">1</cx:pt>
          <cx:pt idx="67120">0</cx:pt>
          <cx:pt idx="67121">1</cx:pt>
          <cx:pt idx="67122">0</cx:pt>
          <cx:pt idx="67123">1</cx:pt>
          <cx:pt idx="67124">0</cx:pt>
          <cx:pt idx="67125">0</cx:pt>
          <cx:pt idx="67126">0</cx:pt>
          <cx:pt idx="67127">0</cx:pt>
          <cx:pt idx="67128">0</cx:pt>
          <cx:pt idx="67129">0</cx:pt>
          <cx:pt idx="67130">1</cx:pt>
          <cx:pt idx="67131">0</cx:pt>
          <cx:pt idx="67132">0</cx:pt>
          <cx:pt idx="67133">0</cx:pt>
          <cx:pt idx="67134">1</cx:pt>
          <cx:pt idx="67135">0</cx:pt>
          <cx:pt idx="67136">1</cx:pt>
          <cx:pt idx="67137">0</cx:pt>
          <cx:pt idx="67138">1</cx:pt>
          <cx:pt idx="67139">1</cx:pt>
          <cx:pt idx="67140">1</cx:pt>
          <cx:pt idx="67141">0</cx:pt>
          <cx:pt idx="67142">0</cx:pt>
          <cx:pt idx="67143">0</cx:pt>
          <cx:pt idx="67144">1</cx:pt>
          <cx:pt idx="67145">0</cx:pt>
          <cx:pt idx="67146">0</cx:pt>
          <cx:pt idx="67147">0</cx:pt>
          <cx:pt idx="67148">1</cx:pt>
          <cx:pt idx="67149">1</cx:pt>
          <cx:pt idx="67150">0</cx:pt>
          <cx:pt idx="67151">0</cx:pt>
          <cx:pt idx="67152">0</cx:pt>
          <cx:pt idx="67153">1</cx:pt>
          <cx:pt idx="67154">1</cx:pt>
          <cx:pt idx="67155">1</cx:pt>
          <cx:pt idx="67156">1</cx:pt>
          <cx:pt idx="67157">1</cx:pt>
          <cx:pt idx="67158">0</cx:pt>
          <cx:pt idx="67159">1</cx:pt>
          <cx:pt idx="67160">0</cx:pt>
          <cx:pt idx="67161">0</cx:pt>
          <cx:pt idx="67162">0</cx:pt>
          <cx:pt idx="67163">1</cx:pt>
          <cx:pt idx="67164">1</cx:pt>
          <cx:pt idx="67165">0</cx:pt>
          <cx:pt idx="67166">1</cx:pt>
          <cx:pt idx="67167">1</cx:pt>
          <cx:pt idx="67168">1</cx:pt>
          <cx:pt idx="67169">1</cx:pt>
          <cx:pt idx="67170">0</cx:pt>
          <cx:pt idx="67171">1</cx:pt>
          <cx:pt idx="67172">0</cx:pt>
          <cx:pt idx="67173">0</cx:pt>
          <cx:pt idx="67174">1</cx:pt>
          <cx:pt idx="67175">0</cx:pt>
          <cx:pt idx="67176">1</cx:pt>
          <cx:pt idx="67177">0</cx:pt>
          <cx:pt idx="67178">0</cx:pt>
          <cx:pt idx="67179">0</cx:pt>
          <cx:pt idx="67180">0</cx:pt>
          <cx:pt idx="67181">0</cx:pt>
          <cx:pt idx="67182">0</cx:pt>
          <cx:pt idx="67183">1</cx:pt>
          <cx:pt idx="67184">0</cx:pt>
          <cx:pt idx="67185">0</cx:pt>
          <cx:pt idx="67186">0</cx:pt>
          <cx:pt idx="67187">1</cx:pt>
          <cx:pt idx="67188">0</cx:pt>
          <cx:pt idx="67189">0</cx:pt>
          <cx:pt idx="67190">0</cx:pt>
          <cx:pt idx="67191">1</cx:pt>
          <cx:pt idx="67192">0</cx:pt>
          <cx:pt idx="67193">1</cx:pt>
          <cx:pt idx="67194">0</cx:pt>
          <cx:pt idx="67195">0</cx:pt>
          <cx:pt idx="67196">0</cx:pt>
          <cx:pt idx="67197">0</cx:pt>
          <cx:pt idx="67198">1</cx:pt>
          <cx:pt idx="67199">0</cx:pt>
          <cx:pt idx="67200">1</cx:pt>
          <cx:pt idx="67201">0</cx:pt>
          <cx:pt idx="67202">0</cx:pt>
          <cx:pt idx="67203">0</cx:pt>
          <cx:pt idx="67204">0</cx:pt>
          <cx:pt idx="67205">0</cx:pt>
          <cx:pt idx="67206">1</cx:pt>
          <cx:pt idx="67207">0</cx:pt>
          <cx:pt idx="67208">1</cx:pt>
          <cx:pt idx="67209">0</cx:pt>
          <cx:pt idx="67210">0</cx:pt>
          <cx:pt idx="67211">1</cx:pt>
          <cx:pt idx="67212">0</cx:pt>
          <cx:pt idx="67213">0</cx:pt>
          <cx:pt idx="67214">1</cx:pt>
          <cx:pt idx="67215">0</cx:pt>
          <cx:pt idx="67216">0</cx:pt>
          <cx:pt idx="67217">1</cx:pt>
          <cx:pt idx="67218">1</cx:pt>
          <cx:pt idx="67219">0</cx:pt>
          <cx:pt idx="67220">0</cx:pt>
          <cx:pt idx="67221">0</cx:pt>
          <cx:pt idx="67222">1</cx:pt>
          <cx:pt idx="67223">0</cx:pt>
          <cx:pt idx="67224">1</cx:pt>
          <cx:pt idx="67225">1</cx:pt>
          <cx:pt idx="67226">0</cx:pt>
          <cx:pt idx="67227">0</cx:pt>
          <cx:pt idx="67228">1</cx:pt>
          <cx:pt idx="67229">0</cx:pt>
          <cx:pt idx="67230">1</cx:pt>
          <cx:pt idx="67231">0</cx:pt>
          <cx:pt idx="67232">1</cx:pt>
          <cx:pt idx="67233">0</cx:pt>
          <cx:pt idx="67234">0</cx:pt>
          <cx:pt idx="67235">1</cx:pt>
          <cx:pt idx="67236">1</cx:pt>
          <cx:pt idx="67237">0</cx:pt>
          <cx:pt idx="67238">0</cx:pt>
          <cx:pt idx="67239">0</cx:pt>
          <cx:pt idx="67240">1</cx:pt>
          <cx:pt idx="67241">0</cx:pt>
          <cx:pt idx="67242">1</cx:pt>
          <cx:pt idx="67243">1</cx:pt>
          <cx:pt idx="67244">0</cx:pt>
          <cx:pt idx="67245">1</cx:pt>
          <cx:pt idx="67246">0</cx:pt>
          <cx:pt idx="67247">0</cx:pt>
          <cx:pt idx="67248">0</cx:pt>
          <cx:pt idx="67249">0</cx:pt>
          <cx:pt idx="67250">0</cx:pt>
          <cx:pt idx="67251">0</cx:pt>
          <cx:pt idx="67252">0</cx:pt>
          <cx:pt idx="67253">0</cx:pt>
          <cx:pt idx="67254">1</cx:pt>
          <cx:pt idx="67255">1</cx:pt>
          <cx:pt idx="67256">0</cx:pt>
          <cx:pt idx="67257">1</cx:pt>
          <cx:pt idx="67258">0</cx:pt>
          <cx:pt idx="67259">1</cx:pt>
          <cx:pt idx="67260">1</cx:pt>
          <cx:pt idx="67261">0</cx:pt>
          <cx:pt idx="67262">0</cx:pt>
          <cx:pt idx="67263">0</cx:pt>
          <cx:pt idx="67264">0</cx:pt>
          <cx:pt idx="67265">0</cx:pt>
          <cx:pt idx="67266">1</cx:pt>
          <cx:pt idx="67267">0</cx:pt>
          <cx:pt idx="67268">1</cx:pt>
          <cx:pt idx="67269">0</cx:pt>
          <cx:pt idx="67270">1</cx:pt>
          <cx:pt idx="67271">0</cx:pt>
          <cx:pt idx="67272">1</cx:pt>
          <cx:pt idx="67273">0</cx:pt>
          <cx:pt idx="67274">0</cx:pt>
          <cx:pt idx="67275">0</cx:pt>
          <cx:pt idx="67276">1</cx:pt>
          <cx:pt idx="67277">0</cx:pt>
          <cx:pt idx="67278">0</cx:pt>
          <cx:pt idx="67279">1</cx:pt>
          <cx:pt idx="67280">0</cx:pt>
          <cx:pt idx="67281">1</cx:pt>
          <cx:pt idx="67282">0</cx:pt>
          <cx:pt idx="67283">0</cx:pt>
          <cx:pt idx="67284">0</cx:pt>
          <cx:pt idx="67285">0</cx:pt>
          <cx:pt idx="67286">1</cx:pt>
          <cx:pt idx="67287">0</cx:pt>
          <cx:pt idx="67288">1</cx:pt>
          <cx:pt idx="67289">1</cx:pt>
          <cx:pt idx="67290">0</cx:pt>
          <cx:pt idx="67291">0</cx:pt>
          <cx:pt idx="67292">1</cx:pt>
          <cx:pt idx="67293">0</cx:pt>
          <cx:pt idx="67294">0</cx:pt>
          <cx:pt idx="67295">0</cx:pt>
          <cx:pt idx="67296">0</cx:pt>
          <cx:pt idx="67297">0</cx:pt>
          <cx:pt idx="67298">1</cx:pt>
          <cx:pt idx="67299">1</cx:pt>
          <cx:pt idx="67300">0</cx:pt>
          <cx:pt idx="67301">0</cx:pt>
          <cx:pt idx="67302">1</cx:pt>
          <cx:pt idx="67303">1</cx:pt>
          <cx:pt idx="67304">0</cx:pt>
          <cx:pt idx="67305">0</cx:pt>
          <cx:pt idx="67306">1</cx:pt>
          <cx:pt idx="67307">1</cx:pt>
          <cx:pt idx="67308">1</cx:pt>
          <cx:pt idx="67309">1</cx:pt>
          <cx:pt idx="67310">0</cx:pt>
          <cx:pt idx="67311">0</cx:pt>
          <cx:pt idx="67312">1</cx:pt>
          <cx:pt idx="67313">1</cx:pt>
          <cx:pt idx="67314">1</cx:pt>
          <cx:pt idx="67315">0</cx:pt>
          <cx:pt idx="67316">0</cx:pt>
          <cx:pt idx="67317">0</cx:pt>
          <cx:pt idx="67318">0</cx:pt>
          <cx:pt idx="67319">0</cx:pt>
          <cx:pt idx="67320">0</cx:pt>
          <cx:pt idx="67321">0</cx:pt>
          <cx:pt idx="67322">0</cx:pt>
          <cx:pt idx="67323">1</cx:pt>
          <cx:pt idx="67324">0</cx:pt>
          <cx:pt idx="67325">0</cx:pt>
          <cx:pt idx="67326">1</cx:pt>
          <cx:pt idx="67327">1</cx:pt>
          <cx:pt idx="67328">1</cx:pt>
          <cx:pt idx="67329">0</cx:pt>
          <cx:pt idx="67330">1</cx:pt>
          <cx:pt idx="67331">1</cx:pt>
          <cx:pt idx="67332">0</cx:pt>
          <cx:pt idx="67333">1</cx:pt>
          <cx:pt idx="67334">1</cx:pt>
          <cx:pt idx="67335">0</cx:pt>
          <cx:pt idx="67336">1</cx:pt>
          <cx:pt idx="67337">0</cx:pt>
          <cx:pt idx="67338">1</cx:pt>
          <cx:pt idx="67339">1</cx:pt>
          <cx:pt idx="67340">0</cx:pt>
          <cx:pt idx="67341">0</cx:pt>
          <cx:pt idx="67342">0</cx:pt>
          <cx:pt idx="67343">0</cx:pt>
          <cx:pt idx="67344">1</cx:pt>
          <cx:pt idx="67345">0</cx:pt>
          <cx:pt idx="67346">1</cx:pt>
          <cx:pt idx="67347">1</cx:pt>
          <cx:pt idx="67348">1</cx:pt>
          <cx:pt idx="67349">0</cx:pt>
          <cx:pt idx="67350">1</cx:pt>
          <cx:pt idx="67351">0</cx:pt>
          <cx:pt idx="67352">1</cx:pt>
          <cx:pt idx="67353">1</cx:pt>
          <cx:pt idx="67354">1</cx:pt>
          <cx:pt idx="67355">1</cx:pt>
          <cx:pt idx="67356">0</cx:pt>
          <cx:pt idx="67357">0</cx:pt>
          <cx:pt idx="67358">1</cx:pt>
          <cx:pt idx="67359">0</cx:pt>
          <cx:pt idx="67360">0</cx:pt>
          <cx:pt idx="67361">0</cx:pt>
          <cx:pt idx="67362">0</cx:pt>
          <cx:pt idx="67363">0</cx:pt>
          <cx:pt idx="67364">0</cx:pt>
          <cx:pt idx="67365">1</cx:pt>
          <cx:pt idx="67366">1</cx:pt>
          <cx:pt idx="67367">0</cx:pt>
          <cx:pt idx="67368">0</cx:pt>
          <cx:pt idx="67369">0</cx:pt>
          <cx:pt idx="67370">1</cx:pt>
          <cx:pt idx="67371">0</cx:pt>
          <cx:pt idx="67372">0</cx:pt>
          <cx:pt idx="67373">0</cx:pt>
          <cx:pt idx="67374">0</cx:pt>
          <cx:pt idx="67375">1</cx:pt>
          <cx:pt idx="67376">0</cx:pt>
          <cx:pt idx="67377">0</cx:pt>
          <cx:pt idx="67378">0</cx:pt>
          <cx:pt idx="67379">1</cx:pt>
          <cx:pt idx="67380">1</cx:pt>
          <cx:pt idx="67381">1</cx:pt>
          <cx:pt idx="67382">0</cx:pt>
          <cx:pt idx="67383">0</cx:pt>
          <cx:pt idx="67384">0</cx:pt>
          <cx:pt idx="67385">1</cx:pt>
          <cx:pt idx="67386">0</cx:pt>
          <cx:pt idx="67387">0</cx:pt>
          <cx:pt idx="67388">0</cx:pt>
          <cx:pt idx="67389">0</cx:pt>
          <cx:pt idx="67390">0</cx:pt>
          <cx:pt idx="67391">0</cx:pt>
          <cx:pt idx="67392">1</cx:pt>
          <cx:pt idx="67393">0</cx:pt>
          <cx:pt idx="67394">0</cx:pt>
          <cx:pt idx="67395">0</cx:pt>
          <cx:pt idx="67396">1</cx:pt>
          <cx:pt idx="67397">1</cx:pt>
          <cx:pt idx="67398">0</cx:pt>
          <cx:pt idx="67399">0</cx:pt>
          <cx:pt idx="67400">0</cx:pt>
          <cx:pt idx="67401">0</cx:pt>
          <cx:pt idx="67402">1</cx:pt>
          <cx:pt idx="67403">1</cx:pt>
          <cx:pt idx="67404">0</cx:pt>
          <cx:pt idx="67405">0</cx:pt>
          <cx:pt idx="67406">0</cx:pt>
          <cx:pt idx="67407">0</cx:pt>
          <cx:pt idx="67408">1</cx:pt>
          <cx:pt idx="67409">1</cx:pt>
          <cx:pt idx="67410">1</cx:pt>
          <cx:pt idx="67411">0</cx:pt>
          <cx:pt idx="67412">0</cx:pt>
          <cx:pt idx="67413">1</cx:pt>
          <cx:pt idx="67414">0</cx:pt>
          <cx:pt idx="67415">0</cx:pt>
          <cx:pt idx="67416">0</cx:pt>
          <cx:pt idx="67417">0</cx:pt>
          <cx:pt idx="67418">1</cx:pt>
          <cx:pt idx="67419">0</cx:pt>
          <cx:pt idx="67420">1</cx:pt>
          <cx:pt idx="67421">0</cx:pt>
          <cx:pt idx="67422">0</cx:pt>
          <cx:pt idx="67423">1</cx:pt>
          <cx:pt idx="67424">1</cx:pt>
          <cx:pt idx="67425">0</cx:pt>
          <cx:pt idx="67426">0</cx:pt>
          <cx:pt idx="67427">1</cx:pt>
          <cx:pt idx="67428">0</cx:pt>
          <cx:pt idx="67429">0</cx:pt>
          <cx:pt idx="67430">1</cx:pt>
          <cx:pt idx="67431">0</cx:pt>
          <cx:pt idx="67432">0</cx:pt>
          <cx:pt idx="67433">0</cx:pt>
          <cx:pt idx="67434">1</cx:pt>
          <cx:pt idx="67435">1</cx:pt>
          <cx:pt idx="67436">0</cx:pt>
          <cx:pt idx="67437">1</cx:pt>
          <cx:pt idx="67438">1</cx:pt>
          <cx:pt idx="67439">1</cx:pt>
          <cx:pt idx="67440">1</cx:pt>
          <cx:pt idx="67441">1</cx:pt>
          <cx:pt idx="67442">0</cx:pt>
          <cx:pt idx="67443">1</cx:pt>
          <cx:pt idx="67444">0</cx:pt>
          <cx:pt idx="67445">1</cx:pt>
          <cx:pt idx="67446">0</cx:pt>
          <cx:pt idx="67447">1</cx:pt>
          <cx:pt idx="67448">1</cx:pt>
          <cx:pt idx="67449">1</cx:pt>
          <cx:pt idx="67450">1</cx:pt>
          <cx:pt idx="67451">0</cx:pt>
          <cx:pt idx="67452">0</cx:pt>
          <cx:pt idx="67453">0</cx:pt>
          <cx:pt idx="67454">0</cx:pt>
          <cx:pt idx="67455">0</cx:pt>
          <cx:pt idx="67456">0</cx:pt>
          <cx:pt idx="67457">1</cx:pt>
          <cx:pt idx="67458">0</cx:pt>
          <cx:pt idx="67459">1</cx:pt>
          <cx:pt idx="67460">1</cx:pt>
          <cx:pt idx="67461">0</cx:pt>
          <cx:pt idx="67462">1</cx:pt>
          <cx:pt idx="67463">0</cx:pt>
          <cx:pt idx="67464">0</cx:pt>
          <cx:pt idx="67465">0</cx:pt>
          <cx:pt idx="67466">1</cx:pt>
          <cx:pt idx="67467">1</cx:pt>
          <cx:pt idx="67468">0</cx:pt>
          <cx:pt idx="67469">0</cx:pt>
          <cx:pt idx="67470">0</cx:pt>
          <cx:pt idx="67471">0</cx:pt>
          <cx:pt idx="67472">1</cx:pt>
          <cx:pt idx="67473">0</cx:pt>
          <cx:pt idx="67474">1</cx:pt>
          <cx:pt idx="67475">0</cx:pt>
          <cx:pt idx="67476">1</cx:pt>
          <cx:pt idx="67477">1</cx:pt>
          <cx:pt idx="67478">0</cx:pt>
          <cx:pt idx="67479">1</cx:pt>
          <cx:pt idx="67480">1</cx:pt>
          <cx:pt idx="67481">0</cx:pt>
          <cx:pt idx="67482">0</cx:pt>
          <cx:pt idx="67483">0</cx:pt>
          <cx:pt idx="67484">1</cx:pt>
          <cx:pt idx="67485">1</cx:pt>
          <cx:pt idx="67486">0</cx:pt>
          <cx:pt idx="67487">0</cx:pt>
          <cx:pt idx="67488">1</cx:pt>
          <cx:pt idx="67489">1</cx:pt>
          <cx:pt idx="67490">0</cx:pt>
          <cx:pt idx="67491">0</cx:pt>
          <cx:pt idx="67492">0</cx:pt>
          <cx:pt idx="67493">0</cx:pt>
          <cx:pt idx="67494">0</cx:pt>
          <cx:pt idx="67495">1</cx:pt>
          <cx:pt idx="67496">1</cx:pt>
          <cx:pt idx="67497">1</cx:pt>
          <cx:pt idx="67498">0</cx:pt>
          <cx:pt idx="67499">0</cx:pt>
          <cx:pt idx="67500">0</cx:pt>
          <cx:pt idx="67501">1</cx:pt>
          <cx:pt idx="67502">1</cx:pt>
          <cx:pt idx="67503">1</cx:pt>
          <cx:pt idx="67504">1</cx:pt>
          <cx:pt idx="67505">1</cx:pt>
          <cx:pt idx="67506">1</cx:pt>
          <cx:pt idx="67507">0</cx:pt>
          <cx:pt idx="67508">1</cx:pt>
          <cx:pt idx="67509">1</cx:pt>
          <cx:pt idx="67510">1</cx:pt>
          <cx:pt idx="67511">0</cx:pt>
          <cx:pt idx="67512">1</cx:pt>
          <cx:pt idx="67513">0</cx:pt>
          <cx:pt idx="67514">0</cx:pt>
          <cx:pt idx="67515">0</cx:pt>
          <cx:pt idx="67516">0</cx:pt>
          <cx:pt idx="67517">1</cx:pt>
          <cx:pt idx="67518">0</cx:pt>
          <cx:pt idx="67519">1</cx:pt>
          <cx:pt idx="67520">0</cx:pt>
          <cx:pt idx="67521">0</cx:pt>
          <cx:pt idx="67522">0</cx:pt>
          <cx:pt idx="67523">0</cx:pt>
          <cx:pt idx="67524">0</cx:pt>
          <cx:pt idx="67525">0</cx:pt>
          <cx:pt idx="67526">0</cx:pt>
          <cx:pt idx="67527">0</cx:pt>
          <cx:pt idx="67528">0</cx:pt>
          <cx:pt idx="67529">0</cx:pt>
          <cx:pt idx="67530">0</cx:pt>
          <cx:pt idx="67531">1</cx:pt>
          <cx:pt idx="67532">0</cx:pt>
          <cx:pt idx="67533">1</cx:pt>
          <cx:pt idx="67534">0</cx:pt>
          <cx:pt idx="67535">1</cx:pt>
          <cx:pt idx="67536">1</cx:pt>
          <cx:pt idx="67537">0</cx:pt>
          <cx:pt idx="67538">0</cx:pt>
          <cx:pt idx="67539">0</cx:pt>
          <cx:pt idx="67540">0</cx:pt>
          <cx:pt idx="67541">1</cx:pt>
          <cx:pt idx="67542">0</cx:pt>
          <cx:pt idx="67543">0</cx:pt>
          <cx:pt idx="67544">1</cx:pt>
          <cx:pt idx="67545">0</cx:pt>
          <cx:pt idx="67546">0</cx:pt>
          <cx:pt idx="67547">0</cx:pt>
          <cx:pt idx="67548">0</cx:pt>
          <cx:pt idx="67549">0</cx:pt>
          <cx:pt idx="67550">0</cx:pt>
          <cx:pt idx="67551">0</cx:pt>
          <cx:pt idx="67552">0</cx:pt>
          <cx:pt idx="67553">0</cx:pt>
          <cx:pt idx="67554">1</cx:pt>
          <cx:pt idx="67555">1</cx:pt>
          <cx:pt idx="67556">1</cx:pt>
          <cx:pt idx="67557">0</cx:pt>
          <cx:pt idx="67558">0</cx:pt>
          <cx:pt idx="67559">1</cx:pt>
          <cx:pt idx="67560">1</cx:pt>
          <cx:pt idx="67561">1</cx:pt>
          <cx:pt idx="67562">0</cx:pt>
          <cx:pt idx="67563">0</cx:pt>
          <cx:pt idx="67564">0</cx:pt>
          <cx:pt idx="67565">1</cx:pt>
          <cx:pt idx="67566">1</cx:pt>
          <cx:pt idx="67567">0</cx:pt>
          <cx:pt idx="67568">0</cx:pt>
          <cx:pt idx="67569">1</cx:pt>
          <cx:pt idx="67570">0</cx:pt>
          <cx:pt idx="67571">0</cx:pt>
          <cx:pt idx="67572">1</cx:pt>
          <cx:pt idx="67573">0</cx:pt>
          <cx:pt idx="67574">1</cx:pt>
          <cx:pt idx="67575">1</cx:pt>
          <cx:pt idx="67576">0</cx:pt>
          <cx:pt idx="67577">0</cx:pt>
          <cx:pt idx="67578">1</cx:pt>
          <cx:pt idx="67579">1</cx:pt>
          <cx:pt idx="67580">0</cx:pt>
          <cx:pt idx="67581">1</cx:pt>
          <cx:pt idx="67582">0</cx:pt>
          <cx:pt idx="67583">0</cx:pt>
          <cx:pt idx="67584">0</cx:pt>
          <cx:pt idx="67585">1</cx:pt>
          <cx:pt idx="67586">0</cx:pt>
          <cx:pt idx="67587">0</cx:pt>
          <cx:pt idx="67588">1</cx:pt>
          <cx:pt idx="67589">0</cx:pt>
          <cx:pt idx="67590">0</cx:pt>
          <cx:pt idx="67591">1</cx:pt>
          <cx:pt idx="67592">0</cx:pt>
          <cx:pt idx="67593">0</cx:pt>
          <cx:pt idx="67594">1</cx:pt>
          <cx:pt idx="67595">1</cx:pt>
          <cx:pt idx="67596">1</cx:pt>
          <cx:pt idx="67597">0</cx:pt>
          <cx:pt idx="67598">0</cx:pt>
          <cx:pt idx="67599">0</cx:pt>
          <cx:pt idx="67600">1</cx:pt>
          <cx:pt idx="67601">0</cx:pt>
          <cx:pt idx="67602">1</cx:pt>
          <cx:pt idx="67603">0</cx:pt>
          <cx:pt idx="67604">1</cx:pt>
          <cx:pt idx="67605">1</cx:pt>
          <cx:pt idx="67606">0</cx:pt>
          <cx:pt idx="67607">0</cx:pt>
          <cx:pt idx="67608">1</cx:pt>
          <cx:pt idx="67609">0</cx:pt>
          <cx:pt idx="67610">0</cx:pt>
          <cx:pt idx="67611">1</cx:pt>
          <cx:pt idx="67612">0</cx:pt>
          <cx:pt idx="67613">1</cx:pt>
          <cx:pt idx="67614">0</cx:pt>
          <cx:pt idx="67615">0</cx:pt>
          <cx:pt idx="67616">0</cx:pt>
          <cx:pt idx="67617">1</cx:pt>
          <cx:pt idx="67618">1</cx:pt>
          <cx:pt idx="67619">0</cx:pt>
          <cx:pt idx="67620">0</cx:pt>
          <cx:pt idx="67621">1</cx:pt>
          <cx:pt idx="67622">1</cx:pt>
          <cx:pt idx="67623">1</cx:pt>
          <cx:pt idx="67624">1</cx:pt>
          <cx:pt idx="67625">0</cx:pt>
          <cx:pt idx="67626">0</cx:pt>
          <cx:pt idx="67627">0</cx:pt>
          <cx:pt idx="67628">0</cx:pt>
          <cx:pt idx="67629">0</cx:pt>
          <cx:pt idx="67630">0</cx:pt>
          <cx:pt idx="67631">1</cx:pt>
          <cx:pt idx="67632">0</cx:pt>
          <cx:pt idx="67633">0</cx:pt>
          <cx:pt idx="67634">0</cx:pt>
          <cx:pt idx="67635">0</cx:pt>
          <cx:pt idx="67636">0</cx:pt>
          <cx:pt idx="67637">1</cx:pt>
          <cx:pt idx="67638">0</cx:pt>
          <cx:pt idx="67639">0</cx:pt>
          <cx:pt idx="67640">0</cx:pt>
          <cx:pt idx="67641">0</cx:pt>
          <cx:pt idx="67642">1</cx:pt>
          <cx:pt idx="67643">0</cx:pt>
          <cx:pt idx="67644">1</cx:pt>
          <cx:pt idx="67645">0</cx:pt>
          <cx:pt idx="67646">0</cx:pt>
          <cx:pt idx="67647">0</cx:pt>
          <cx:pt idx="67648">1</cx:pt>
          <cx:pt idx="67649">0</cx:pt>
          <cx:pt idx="67650">1</cx:pt>
          <cx:pt idx="67651">0</cx:pt>
          <cx:pt idx="67652">0</cx:pt>
          <cx:pt idx="67653">0</cx:pt>
          <cx:pt idx="67654">1</cx:pt>
          <cx:pt idx="67655">1</cx:pt>
          <cx:pt idx="67656">1</cx:pt>
          <cx:pt idx="67657">0</cx:pt>
          <cx:pt idx="67658">0</cx:pt>
          <cx:pt idx="67659">1</cx:pt>
          <cx:pt idx="67660">1</cx:pt>
          <cx:pt idx="67661">0</cx:pt>
          <cx:pt idx="67662">0</cx:pt>
          <cx:pt idx="67663">1</cx:pt>
          <cx:pt idx="67664">1</cx:pt>
          <cx:pt idx="67665">0</cx:pt>
          <cx:pt idx="67666">0</cx:pt>
          <cx:pt idx="67667">1</cx:pt>
          <cx:pt idx="67668">1</cx:pt>
          <cx:pt idx="67669">0</cx:pt>
          <cx:pt idx="67670">1</cx:pt>
          <cx:pt idx="67671">1</cx:pt>
          <cx:pt idx="67672">0</cx:pt>
          <cx:pt idx="67673">0</cx:pt>
          <cx:pt idx="67674">1</cx:pt>
          <cx:pt idx="67675">1</cx:pt>
          <cx:pt idx="67676">1</cx:pt>
          <cx:pt idx="67677">1</cx:pt>
          <cx:pt idx="67678">0</cx:pt>
          <cx:pt idx="67679">1</cx:pt>
          <cx:pt idx="67680">1</cx:pt>
          <cx:pt idx="67681">0</cx:pt>
          <cx:pt idx="67682">0</cx:pt>
          <cx:pt idx="67683">1</cx:pt>
          <cx:pt idx="67684">0</cx:pt>
          <cx:pt idx="67685">0</cx:pt>
          <cx:pt idx="67686">0</cx:pt>
          <cx:pt idx="67687">0</cx:pt>
          <cx:pt idx="67688">0</cx:pt>
          <cx:pt idx="67689">0</cx:pt>
          <cx:pt idx="67690">0</cx:pt>
          <cx:pt idx="67691">0</cx:pt>
          <cx:pt idx="67692">0</cx:pt>
          <cx:pt idx="67693">0</cx:pt>
          <cx:pt idx="67694">0</cx:pt>
          <cx:pt idx="67695">0</cx:pt>
          <cx:pt idx="67696">1</cx:pt>
          <cx:pt idx="67697">0</cx:pt>
          <cx:pt idx="67698">1</cx:pt>
          <cx:pt idx="67699">1</cx:pt>
          <cx:pt idx="67700">0</cx:pt>
          <cx:pt idx="67701">1</cx:pt>
          <cx:pt idx="67702">0</cx:pt>
          <cx:pt idx="67703">1</cx:pt>
          <cx:pt idx="67704">0</cx:pt>
          <cx:pt idx="67705">0</cx:pt>
          <cx:pt idx="67706">0</cx:pt>
          <cx:pt idx="67707">0</cx:pt>
          <cx:pt idx="67708">0</cx:pt>
          <cx:pt idx="67709">0</cx:pt>
          <cx:pt idx="67710">0</cx:pt>
          <cx:pt idx="67711">0</cx:pt>
          <cx:pt idx="67712">1</cx:pt>
          <cx:pt idx="67713">0</cx:pt>
          <cx:pt idx="67714">0</cx:pt>
          <cx:pt idx="67715">0</cx:pt>
          <cx:pt idx="67716">0</cx:pt>
          <cx:pt idx="67717">1</cx:pt>
          <cx:pt idx="67718">1</cx:pt>
          <cx:pt idx="67719">1</cx:pt>
          <cx:pt idx="67720">0</cx:pt>
          <cx:pt idx="67721">0</cx:pt>
          <cx:pt idx="67722">0</cx:pt>
          <cx:pt idx="67723">1</cx:pt>
          <cx:pt idx="67724">1</cx:pt>
          <cx:pt idx="67725">1</cx:pt>
          <cx:pt idx="67726">0</cx:pt>
          <cx:pt idx="67727">0</cx:pt>
          <cx:pt idx="67728">0</cx:pt>
          <cx:pt idx="67729">0</cx:pt>
          <cx:pt idx="67730">1</cx:pt>
          <cx:pt idx="67731">1</cx:pt>
          <cx:pt idx="67732">0</cx:pt>
          <cx:pt idx="67733">1</cx:pt>
          <cx:pt idx="67734">1</cx:pt>
          <cx:pt idx="67735">0</cx:pt>
          <cx:pt idx="67736">1</cx:pt>
          <cx:pt idx="67737">0</cx:pt>
          <cx:pt idx="67738">0</cx:pt>
          <cx:pt idx="67739">1</cx:pt>
          <cx:pt idx="67740">0</cx:pt>
          <cx:pt idx="67741">1</cx:pt>
          <cx:pt idx="67742">1</cx:pt>
          <cx:pt idx="67743">0</cx:pt>
          <cx:pt idx="67744">1</cx:pt>
          <cx:pt idx="67745">1</cx:pt>
          <cx:pt idx="67746">0</cx:pt>
          <cx:pt idx="67747">0</cx:pt>
          <cx:pt idx="67748">0</cx:pt>
          <cx:pt idx="67749">1</cx:pt>
          <cx:pt idx="67750">1</cx:pt>
          <cx:pt idx="67751">1</cx:pt>
          <cx:pt idx="67752">0</cx:pt>
          <cx:pt idx="67753">0</cx:pt>
          <cx:pt idx="67754">1</cx:pt>
          <cx:pt idx="67755">0</cx:pt>
          <cx:pt idx="67756">0</cx:pt>
          <cx:pt idx="67757">1</cx:pt>
          <cx:pt idx="67758">0</cx:pt>
          <cx:pt idx="67759">1</cx:pt>
          <cx:pt idx="67760">0</cx:pt>
          <cx:pt idx="67761">0</cx:pt>
          <cx:pt idx="67762">0</cx:pt>
          <cx:pt idx="67763">0</cx:pt>
          <cx:pt idx="67764">0</cx:pt>
          <cx:pt idx="67765">0</cx:pt>
          <cx:pt idx="67766">0</cx:pt>
          <cx:pt idx="67767">1</cx:pt>
          <cx:pt idx="67768">1</cx:pt>
          <cx:pt idx="67769">1</cx:pt>
          <cx:pt idx="67770">0</cx:pt>
          <cx:pt idx="67771">0</cx:pt>
          <cx:pt idx="67772">0</cx:pt>
          <cx:pt idx="67773">0</cx:pt>
          <cx:pt idx="67774">1</cx:pt>
          <cx:pt idx="67775">1</cx:pt>
          <cx:pt idx="67776">1</cx:pt>
          <cx:pt idx="67777">1</cx:pt>
          <cx:pt idx="67778">1</cx:pt>
          <cx:pt idx="67779">0</cx:pt>
          <cx:pt idx="67780">1</cx:pt>
          <cx:pt idx="67781">0</cx:pt>
          <cx:pt idx="67782">0</cx:pt>
          <cx:pt idx="67783">0</cx:pt>
          <cx:pt idx="67784">1</cx:pt>
          <cx:pt idx="67785">0</cx:pt>
          <cx:pt idx="67786">0</cx:pt>
          <cx:pt idx="67787">1</cx:pt>
          <cx:pt idx="67788">1</cx:pt>
          <cx:pt idx="67789">0</cx:pt>
          <cx:pt idx="67790">0</cx:pt>
          <cx:pt idx="67791">0</cx:pt>
          <cx:pt idx="67792">0</cx:pt>
          <cx:pt idx="67793">0</cx:pt>
          <cx:pt idx="67794">0</cx:pt>
          <cx:pt idx="67795">1</cx:pt>
          <cx:pt idx="67796">0</cx:pt>
          <cx:pt idx="67797">0</cx:pt>
          <cx:pt idx="67798">1</cx:pt>
          <cx:pt idx="67799">1</cx:pt>
          <cx:pt idx="67800">0</cx:pt>
          <cx:pt idx="67801">1</cx:pt>
          <cx:pt idx="67802">1</cx:pt>
          <cx:pt idx="67803">1</cx:pt>
          <cx:pt idx="67804">0</cx:pt>
          <cx:pt idx="67805">0</cx:pt>
          <cx:pt idx="67806">1</cx:pt>
          <cx:pt idx="67807">0</cx:pt>
          <cx:pt idx="67808">1</cx:pt>
          <cx:pt idx="67809">1</cx:pt>
          <cx:pt idx="67810">1</cx:pt>
          <cx:pt idx="67811">1</cx:pt>
          <cx:pt idx="67812">1</cx:pt>
          <cx:pt idx="67813">1</cx:pt>
          <cx:pt idx="67814">1</cx:pt>
          <cx:pt idx="67815">0</cx:pt>
          <cx:pt idx="67816">0</cx:pt>
          <cx:pt idx="67817">0</cx:pt>
          <cx:pt idx="67818">1</cx:pt>
          <cx:pt idx="67819">0</cx:pt>
          <cx:pt idx="67820">0</cx:pt>
          <cx:pt idx="67821">0</cx:pt>
          <cx:pt idx="67822">0</cx:pt>
          <cx:pt idx="67823">0</cx:pt>
          <cx:pt idx="67824">1</cx:pt>
          <cx:pt idx="67825">0</cx:pt>
          <cx:pt idx="67826">1</cx:pt>
          <cx:pt idx="67827">0</cx:pt>
          <cx:pt idx="67828">1</cx:pt>
          <cx:pt idx="67829">0</cx:pt>
          <cx:pt idx="67830">0</cx:pt>
          <cx:pt idx="67831">1</cx:pt>
          <cx:pt idx="67832">0</cx:pt>
          <cx:pt idx="67833">0</cx:pt>
          <cx:pt idx="67834">1</cx:pt>
          <cx:pt idx="67835">1</cx:pt>
          <cx:pt idx="67836">1</cx:pt>
          <cx:pt idx="67837">0</cx:pt>
          <cx:pt idx="67838">0</cx:pt>
          <cx:pt idx="67839">0</cx:pt>
          <cx:pt idx="67840">0</cx:pt>
          <cx:pt idx="67841">0</cx:pt>
          <cx:pt idx="67842">1</cx:pt>
          <cx:pt idx="67843">0</cx:pt>
          <cx:pt idx="67844">0</cx:pt>
          <cx:pt idx="67845">1</cx:pt>
          <cx:pt idx="67846">1</cx:pt>
          <cx:pt idx="67847">0</cx:pt>
          <cx:pt idx="67848">0</cx:pt>
          <cx:pt idx="67849">0</cx:pt>
          <cx:pt idx="67850">0</cx:pt>
          <cx:pt idx="67851">0</cx:pt>
          <cx:pt idx="67852">1</cx:pt>
          <cx:pt idx="67853">1</cx:pt>
          <cx:pt idx="67854">1</cx:pt>
          <cx:pt idx="67855">1</cx:pt>
          <cx:pt idx="67856">0</cx:pt>
          <cx:pt idx="67857">0</cx:pt>
          <cx:pt idx="67858">0</cx:pt>
          <cx:pt idx="67859">1</cx:pt>
          <cx:pt idx="67860">1</cx:pt>
          <cx:pt idx="67861">0</cx:pt>
          <cx:pt idx="67862">0</cx:pt>
          <cx:pt idx="67863">0</cx:pt>
          <cx:pt idx="67864">0</cx:pt>
          <cx:pt idx="67865">1</cx:pt>
          <cx:pt idx="67866">0</cx:pt>
          <cx:pt idx="67867">0</cx:pt>
          <cx:pt idx="67868">1</cx:pt>
          <cx:pt idx="67869">1</cx:pt>
          <cx:pt idx="67870">0</cx:pt>
          <cx:pt idx="67871">0</cx:pt>
          <cx:pt idx="67872">1</cx:pt>
          <cx:pt idx="67873">1</cx:pt>
          <cx:pt idx="67874">0</cx:pt>
          <cx:pt idx="67875">0</cx:pt>
          <cx:pt idx="67876">0</cx:pt>
          <cx:pt idx="67877">1</cx:pt>
          <cx:pt idx="67878">0</cx:pt>
          <cx:pt idx="67879">0</cx:pt>
          <cx:pt idx="67880">1</cx:pt>
          <cx:pt idx="67881">1</cx:pt>
          <cx:pt idx="67882">0</cx:pt>
          <cx:pt idx="67883">1</cx:pt>
          <cx:pt idx="67884">0</cx:pt>
          <cx:pt idx="67885">1</cx:pt>
          <cx:pt idx="67886">0</cx:pt>
          <cx:pt idx="67887">1</cx:pt>
          <cx:pt idx="67888">0</cx:pt>
          <cx:pt idx="67889">0</cx:pt>
          <cx:pt idx="67890">0</cx:pt>
          <cx:pt idx="67891">1</cx:pt>
          <cx:pt idx="67892">0</cx:pt>
          <cx:pt idx="67893">1</cx:pt>
          <cx:pt idx="67894">0</cx:pt>
          <cx:pt idx="67895">0</cx:pt>
          <cx:pt idx="67896">1</cx:pt>
          <cx:pt idx="67897">1</cx:pt>
          <cx:pt idx="67898">1</cx:pt>
          <cx:pt idx="67899">0</cx:pt>
          <cx:pt idx="67900">0</cx:pt>
          <cx:pt idx="67901">0</cx:pt>
          <cx:pt idx="67902">0</cx:pt>
          <cx:pt idx="67903">0</cx:pt>
          <cx:pt idx="67904">0</cx:pt>
          <cx:pt idx="67905">1</cx:pt>
          <cx:pt idx="67906">0</cx:pt>
          <cx:pt idx="67907">0</cx:pt>
          <cx:pt idx="67908">0</cx:pt>
          <cx:pt idx="67909">0</cx:pt>
          <cx:pt idx="67910">1</cx:pt>
          <cx:pt idx="67911">1</cx:pt>
          <cx:pt idx="67912">1</cx:pt>
          <cx:pt idx="67913">0</cx:pt>
          <cx:pt idx="67914">0</cx:pt>
          <cx:pt idx="67915">0</cx:pt>
          <cx:pt idx="67916">1</cx:pt>
          <cx:pt idx="67917">1</cx:pt>
          <cx:pt idx="67918">0</cx:pt>
          <cx:pt idx="67919">1</cx:pt>
          <cx:pt idx="67920">0</cx:pt>
          <cx:pt idx="67921">0</cx:pt>
          <cx:pt idx="67922">0</cx:pt>
          <cx:pt idx="67923">1</cx:pt>
          <cx:pt idx="67924">1</cx:pt>
          <cx:pt idx="67925">0</cx:pt>
          <cx:pt idx="67926">1</cx:pt>
          <cx:pt idx="67927">0</cx:pt>
          <cx:pt idx="67928">1</cx:pt>
          <cx:pt idx="67929">1</cx:pt>
          <cx:pt idx="67930">1</cx:pt>
          <cx:pt idx="67931">1</cx:pt>
          <cx:pt idx="67932">1</cx:pt>
          <cx:pt idx="67933">0</cx:pt>
          <cx:pt idx="67934">0</cx:pt>
          <cx:pt idx="67935">1</cx:pt>
          <cx:pt idx="67936">0</cx:pt>
          <cx:pt idx="67937">0</cx:pt>
          <cx:pt idx="67938">0</cx:pt>
          <cx:pt idx="67939">1</cx:pt>
          <cx:pt idx="67940">0</cx:pt>
          <cx:pt idx="67941">0</cx:pt>
          <cx:pt idx="67942">1</cx:pt>
          <cx:pt idx="67943">1</cx:pt>
          <cx:pt idx="67944">0</cx:pt>
          <cx:pt idx="67945">0</cx:pt>
          <cx:pt idx="67946">0</cx:pt>
          <cx:pt idx="67947">1</cx:pt>
          <cx:pt idx="67948">0</cx:pt>
          <cx:pt idx="67949">1</cx:pt>
          <cx:pt idx="67950">0</cx:pt>
          <cx:pt idx="67951">0</cx:pt>
          <cx:pt idx="67952">0</cx:pt>
          <cx:pt idx="67953">0</cx:pt>
          <cx:pt idx="67954">1</cx:pt>
          <cx:pt idx="67955">1</cx:pt>
          <cx:pt idx="67956">0</cx:pt>
          <cx:pt idx="67957">0</cx:pt>
          <cx:pt idx="67958">0</cx:pt>
          <cx:pt idx="67959">1</cx:pt>
          <cx:pt idx="67960">0</cx:pt>
          <cx:pt idx="67961">0</cx:pt>
          <cx:pt idx="67962">1</cx:pt>
          <cx:pt idx="67963">1</cx:pt>
          <cx:pt idx="67964">0</cx:pt>
          <cx:pt idx="67965">1</cx:pt>
          <cx:pt idx="67966">0</cx:pt>
          <cx:pt idx="67967">0</cx:pt>
          <cx:pt idx="67968">0</cx:pt>
          <cx:pt idx="67969">0</cx:pt>
          <cx:pt idx="67970">1</cx:pt>
          <cx:pt idx="67971">0</cx:pt>
          <cx:pt idx="67972">1</cx:pt>
          <cx:pt idx="67973">0</cx:pt>
          <cx:pt idx="67974">0</cx:pt>
          <cx:pt idx="67975">1</cx:pt>
          <cx:pt idx="67976">0</cx:pt>
          <cx:pt idx="67977">0</cx:pt>
          <cx:pt idx="67978">0</cx:pt>
          <cx:pt idx="67979">1</cx:pt>
          <cx:pt idx="67980">0</cx:pt>
          <cx:pt idx="67981">0</cx:pt>
          <cx:pt idx="67982">0</cx:pt>
          <cx:pt idx="67983">1</cx:pt>
          <cx:pt idx="67984">1</cx:pt>
          <cx:pt idx="67985">1</cx:pt>
          <cx:pt idx="67986">0</cx:pt>
          <cx:pt idx="67987">1</cx:pt>
          <cx:pt idx="67988">0</cx:pt>
          <cx:pt idx="67989">0</cx:pt>
          <cx:pt idx="67990">0</cx:pt>
          <cx:pt idx="67991">1</cx:pt>
          <cx:pt idx="67992">0</cx:pt>
          <cx:pt idx="67993">0</cx:pt>
          <cx:pt idx="67994">0</cx:pt>
          <cx:pt idx="67995">0</cx:pt>
          <cx:pt idx="67996">0</cx:pt>
          <cx:pt idx="67997">0</cx:pt>
          <cx:pt idx="67998">0</cx:pt>
          <cx:pt idx="67999">0</cx:pt>
          <cx:pt idx="68000">1</cx:pt>
          <cx:pt idx="68001">0</cx:pt>
          <cx:pt idx="68002">1</cx:pt>
          <cx:pt idx="68003">0</cx:pt>
          <cx:pt idx="68004">1</cx:pt>
          <cx:pt idx="68005">1</cx:pt>
          <cx:pt idx="68006">1</cx:pt>
          <cx:pt idx="68007">1</cx:pt>
          <cx:pt idx="68008">0</cx:pt>
          <cx:pt idx="68009">0</cx:pt>
          <cx:pt idx="68010">1</cx:pt>
          <cx:pt idx="68011">1</cx:pt>
          <cx:pt idx="68012">0</cx:pt>
          <cx:pt idx="68013">0</cx:pt>
          <cx:pt idx="68014">1</cx:pt>
          <cx:pt idx="68015">1</cx:pt>
          <cx:pt idx="68016">0</cx:pt>
          <cx:pt idx="68017">1</cx:pt>
          <cx:pt idx="68018">0</cx:pt>
          <cx:pt idx="68019">0</cx:pt>
          <cx:pt idx="68020">0</cx:pt>
          <cx:pt idx="68021">1</cx:pt>
          <cx:pt idx="68022">1</cx:pt>
          <cx:pt idx="68023">0</cx:pt>
          <cx:pt idx="68024">1</cx:pt>
          <cx:pt idx="68025">1</cx:pt>
          <cx:pt idx="68026">1</cx:pt>
          <cx:pt idx="68027">1</cx:pt>
          <cx:pt idx="68028">0</cx:pt>
          <cx:pt idx="68029">0</cx:pt>
          <cx:pt idx="68030">0</cx:pt>
          <cx:pt idx="68031">1</cx:pt>
          <cx:pt idx="68032">1</cx:pt>
          <cx:pt idx="68033">1</cx:pt>
          <cx:pt idx="68034">0</cx:pt>
          <cx:pt idx="68035">0</cx:pt>
          <cx:pt idx="68036">1</cx:pt>
          <cx:pt idx="68037">1</cx:pt>
          <cx:pt idx="68038">1</cx:pt>
          <cx:pt idx="68039">1</cx:pt>
          <cx:pt idx="68040">0</cx:pt>
          <cx:pt idx="68041">1</cx:pt>
          <cx:pt idx="68042">0</cx:pt>
          <cx:pt idx="68043">1</cx:pt>
          <cx:pt idx="68044">1</cx:pt>
          <cx:pt idx="68045">0</cx:pt>
          <cx:pt idx="68046">0</cx:pt>
          <cx:pt idx="68047">0</cx:pt>
          <cx:pt idx="68048">1</cx:pt>
          <cx:pt idx="68049">1</cx:pt>
          <cx:pt idx="68050">1</cx:pt>
          <cx:pt idx="68051">0</cx:pt>
          <cx:pt idx="68052">0</cx:pt>
          <cx:pt idx="68053">1</cx:pt>
          <cx:pt idx="68054">0</cx:pt>
          <cx:pt idx="68055">0</cx:pt>
          <cx:pt idx="68056">0</cx:pt>
          <cx:pt idx="68057">1</cx:pt>
          <cx:pt idx="68058">1</cx:pt>
          <cx:pt idx="68059">1</cx:pt>
          <cx:pt idx="68060">0</cx:pt>
          <cx:pt idx="68061">1</cx:pt>
          <cx:pt idx="68062">1</cx:pt>
          <cx:pt idx="68063">1</cx:pt>
          <cx:pt idx="68064">0</cx:pt>
          <cx:pt idx="68065">0</cx:pt>
          <cx:pt idx="68066">0</cx:pt>
          <cx:pt idx="68067">1</cx:pt>
          <cx:pt idx="68068">1</cx:pt>
          <cx:pt idx="68069">0</cx:pt>
          <cx:pt idx="68070">1</cx:pt>
          <cx:pt idx="68071">0</cx:pt>
          <cx:pt idx="68072">0</cx:pt>
          <cx:pt idx="68073">0</cx:pt>
          <cx:pt idx="68074">0</cx:pt>
          <cx:pt idx="68075">1</cx:pt>
          <cx:pt idx="68076">0</cx:pt>
          <cx:pt idx="68077">1</cx:pt>
          <cx:pt idx="68078">1</cx:pt>
          <cx:pt idx="68079">0</cx:pt>
          <cx:pt idx="68080">1</cx:pt>
          <cx:pt idx="68081">0</cx:pt>
          <cx:pt idx="68082">1</cx:pt>
          <cx:pt idx="68083">0</cx:pt>
          <cx:pt idx="68084">0</cx:pt>
          <cx:pt idx="68085">0</cx:pt>
          <cx:pt idx="68086">0</cx:pt>
          <cx:pt idx="68087">1</cx:pt>
          <cx:pt idx="68088">0</cx:pt>
          <cx:pt idx="68089">1</cx:pt>
          <cx:pt idx="68090">1</cx:pt>
          <cx:pt idx="68091">0</cx:pt>
          <cx:pt idx="68092">1</cx:pt>
          <cx:pt idx="68093">0</cx:pt>
          <cx:pt idx="68094">1</cx:pt>
          <cx:pt idx="68095">0</cx:pt>
          <cx:pt idx="68096">0</cx:pt>
          <cx:pt idx="68097">0</cx:pt>
          <cx:pt idx="68098">0</cx:pt>
          <cx:pt idx="68099">0</cx:pt>
          <cx:pt idx="68100">0</cx:pt>
          <cx:pt idx="68101">1</cx:pt>
          <cx:pt idx="68102">0</cx:pt>
          <cx:pt idx="68103">0</cx:pt>
          <cx:pt idx="68104">0</cx:pt>
          <cx:pt idx="68105">1</cx:pt>
          <cx:pt idx="68106">1</cx:pt>
          <cx:pt idx="68107">0</cx:pt>
          <cx:pt idx="68108">0</cx:pt>
          <cx:pt idx="68109">1</cx:pt>
          <cx:pt idx="68110">0</cx:pt>
          <cx:pt idx="68111">1</cx:pt>
          <cx:pt idx="68112">1</cx:pt>
          <cx:pt idx="68113">0</cx:pt>
          <cx:pt idx="68114">1</cx:pt>
          <cx:pt idx="68115">1</cx:pt>
          <cx:pt idx="68116">0</cx:pt>
          <cx:pt idx="68117">1</cx:pt>
          <cx:pt idx="68118">0</cx:pt>
          <cx:pt idx="68119">1</cx:pt>
          <cx:pt idx="68120">0</cx:pt>
          <cx:pt idx="68121">0</cx:pt>
          <cx:pt idx="68122">1</cx:pt>
          <cx:pt idx="68123">0</cx:pt>
          <cx:pt idx="68124">0</cx:pt>
          <cx:pt idx="68125">0</cx:pt>
          <cx:pt idx="68126">1</cx:pt>
          <cx:pt idx="68127">0</cx:pt>
          <cx:pt idx="68128">0</cx:pt>
          <cx:pt idx="68129">0</cx:pt>
          <cx:pt idx="68130">1</cx:pt>
          <cx:pt idx="68131">0</cx:pt>
          <cx:pt idx="68132">0</cx:pt>
          <cx:pt idx="68133">1</cx:pt>
          <cx:pt idx="68134">0</cx:pt>
          <cx:pt idx="68135">0</cx:pt>
          <cx:pt idx="68136">0</cx:pt>
          <cx:pt idx="68137">0</cx:pt>
          <cx:pt idx="68138">0</cx:pt>
          <cx:pt idx="68139">0</cx:pt>
          <cx:pt idx="68140">0</cx:pt>
          <cx:pt idx="68141">0</cx:pt>
          <cx:pt idx="68142">0</cx:pt>
          <cx:pt idx="68143">0</cx:pt>
          <cx:pt idx="68144">0</cx:pt>
          <cx:pt idx="68145">0</cx:pt>
          <cx:pt idx="68146">0</cx:pt>
          <cx:pt idx="68147">0</cx:pt>
          <cx:pt idx="68148">0</cx:pt>
          <cx:pt idx="68149">0</cx:pt>
          <cx:pt idx="68150">1</cx:pt>
          <cx:pt idx="68151">1</cx:pt>
          <cx:pt idx="68152">1</cx:pt>
          <cx:pt idx="68153">1</cx:pt>
          <cx:pt idx="68154">0</cx:pt>
          <cx:pt idx="68155">1</cx:pt>
          <cx:pt idx="68156">0</cx:pt>
          <cx:pt idx="68157">0</cx:pt>
          <cx:pt idx="68158">0</cx:pt>
          <cx:pt idx="68159">0</cx:pt>
          <cx:pt idx="68160">1</cx:pt>
          <cx:pt idx="68161">1</cx:pt>
          <cx:pt idx="68162">1</cx:pt>
          <cx:pt idx="68163">1</cx:pt>
          <cx:pt idx="68164">1</cx:pt>
          <cx:pt idx="68165">0</cx:pt>
          <cx:pt idx="68166">0</cx:pt>
          <cx:pt idx="68167">1</cx:pt>
          <cx:pt idx="68168">1</cx:pt>
          <cx:pt idx="68169">0</cx:pt>
          <cx:pt idx="68170">0</cx:pt>
          <cx:pt idx="68171">1</cx:pt>
          <cx:pt idx="68172">1</cx:pt>
          <cx:pt idx="68173">0</cx:pt>
          <cx:pt idx="68174">0</cx:pt>
          <cx:pt idx="68175">1</cx:pt>
          <cx:pt idx="68176">1</cx:pt>
          <cx:pt idx="68177">0</cx:pt>
          <cx:pt idx="68178">0</cx:pt>
          <cx:pt idx="68179">1</cx:pt>
          <cx:pt idx="68180">0</cx:pt>
          <cx:pt idx="68181">1</cx:pt>
          <cx:pt idx="68182">0</cx:pt>
          <cx:pt idx="68183">0</cx:pt>
          <cx:pt idx="68184">1</cx:pt>
          <cx:pt idx="68185">1</cx:pt>
          <cx:pt idx="68186">1</cx:pt>
          <cx:pt idx="68187">0</cx:pt>
          <cx:pt idx="68188">0</cx:pt>
          <cx:pt idx="68189">1</cx:pt>
          <cx:pt idx="68190">0</cx:pt>
          <cx:pt idx="68191">1</cx:pt>
          <cx:pt idx="68192">1</cx:pt>
          <cx:pt idx="68193">0</cx:pt>
          <cx:pt idx="68194">0</cx:pt>
          <cx:pt idx="68195">0</cx:pt>
          <cx:pt idx="68196">1</cx:pt>
          <cx:pt idx="68197">0</cx:pt>
          <cx:pt idx="68198">0</cx:pt>
          <cx:pt idx="68199">1</cx:pt>
          <cx:pt idx="68200">0</cx:pt>
          <cx:pt idx="68201">0</cx:pt>
          <cx:pt idx="68202">0</cx:pt>
          <cx:pt idx="68203">1</cx:pt>
          <cx:pt idx="68204">0</cx:pt>
          <cx:pt idx="68205">0</cx:pt>
          <cx:pt idx="68206">0</cx:pt>
          <cx:pt idx="68207">0</cx:pt>
          <cx:pt idx="68208">1</cx:pt>
          <cx:pt idx="68209">1</cx:pt>
          <cx:pt idx="68210">1</cx:pt>
          <cx:pt idx="68211">0</cx:pt>
          <cx:pt idx="68212">0</cx:pt>
          <cx:pt idx="68213">0</cx:pt>
          <cx:pt idx="68214">1</cx:pt>
          <cx:pt idx="68215">0</cx:pt>
          <cx:pt idx="68216">0</cx:pt>
          <cx:pt idx="68217">0</cx:pt>
          <cx:pt idx="68218">0</cx:pt>
          <cx:pt idx="68219">1</cx:pt>
          <cx:pt idx="68220">0</cx:pt>
          <cx:pt idx="68221">1</cx:pt>
          <cx:pt idx="68222">0</cx:pt>
          <cx:pt idx="68223">0</cx:pt>
          <cx:pt idx="68224">0</cx:pt>
          <cx:pt idx="68225">1</cx:pt>
          <cx:pt idx="68226">1</cx:pt>
          <cx:pt idx="68227">1</cx:pt>
          <cx:pt idx="68228">0</cx:pt>
          <cx:pt idx="68229">1</cx:pt>
          <cx:pt idx="68230">0</cx:pt>
          <cx:pt idx="68231">0</cx:pt>
          <cx:pt idx="68232">1</cx:pt>
          <cx:pt idx="68233">1</cx:pt>
          <cx:pt idx="68234">1</cx:pt>
          <cx:pt idx="68235">0</cx:pt>
          <cx:pt idx="68236">0</cx:pt>
          <cx:pt idx="68237">1</cx:pt>
          <cx:pt idx="68238">1</cx:pt>
          <cx:pt idx="68239">0</cx:pt>
          <cx:pt idx="68240">1</cx:pt>
          <cx:pt idx="68241">0</cx:pt>
          <cx:pt idx="68242">1</cx:pt>
          <cx:pt idx="68243">0</cx:pt>
          <cx:pt idx="68244">1</cx:pt>
          <cx:pt idx="68245">0</cx:pt>
          <cx:pt idx="68246">1</cx:pt>
          <cx:pt idx="68247">1</cx:pt>
          <cx:pt idx="68248">0</cx:pt>
          <cx:pt idx="68249">0</cx:pt>
          <cx:pt idx="68250">0</cx:pt>
          <cx:pt idx="68251">0</cx:pt>
          <cx:pt idx="68252">0</cx:pt>
          <cx:pt idx="68253">1</cx:pt>
          <cx:pt idx="68254">1</cx:pt>
          <cx:pt idx="68255">0</cx:pt>
          <cx:pt idx="68256">1</cx:pt>
          <cx:pt idx="68257">1</cx:pt>
          <cx:pt idx="68258">0</cx:pt>
          <cx:pt idx="68259">1</cx:pt>
          <cx:pt idx="68260">0</cx:pt>
          <cx:pt idx="68261">1</cx:pt>
          <cx:pt idx="68262">0</cx:pt>
          <cx:pt idx="68263">1</cx:pt>
          <cx:pt idx="68264">0</cx:pt>
          <cx:pt idx="68265">0</cx:pt>
          <cx:pt idx="68266">0</cx:pt>
          <cx:pt idx="68267">0</cx:pt>
          <cx:pt idx="68268">0</cx:pt>
          <cx:pt idx="68269">1</cx:pt>
          <cx:pt idx="68270">0</cx:pt>
          <cx:pt idx="68271">0</cx:pt>
          <cx:pt idx="68272">0</cx:pt>
          <cx:pt idx="68273">1</cx:pt>
          <cx:pt idx="68274">0</cx:pt>
          <cx:pt idx="68275">1</cx:pt>
          <cx:pt idx="68276">0</cx:pt>
          <cx:pt idx="68277">1</cx:pt>
          <cx:pt idx="68278">0</cx:pt>
          <cx:pt idx="68279">0</cx:pt>
          <cx:pt idx="68280">0</cx:pt>
          <cx:pt idx="68281">1</cx:pt>
          <cx:pt idx="68282">0</cx:pt>
          <cx:pt idx="68283">0</cx:pt>
          <cx:pt idx="68284">1</cx:pt>
          <cx:pt idx="68285">1</cx:pt>
          <cx:pt idx="68286">1</cx:pt>
          <cx:pt idx="68287">0</cx:pt>
          <cx:pt idx="68288">0</cx:pt>
          <cx:pt idx="68289">0</cx:pt>
          <cx:pt idx="68290">1</cx:pt>
          <cx:pt idx="68291">1</cx:pt>
          <cx:pt idx="68292">0</cx:pt>
          <cx:pt idx="68293">0</cx:pt>
          <cx:pt idx="68294">0</cx:pt>
          <cx:pt idx="68295">0</cx:pt>
          <cx:pt idx="68296">0</cx:pt>
          <cx:pt idx="68297">0</cx:pt>
          <cx:pt idx="68298">1</cx:pt>
          <cx:pt idx="68299">0</cx:pt>
          <cx:pt idx="68300">0</cx:pt>
          <cx:pt idx="68301">0</cx:pt>
          <cx:pt idx="68302">0</cx:pt>
          <cx:pt idx="68303">1</cx:pt>
          <cx:pt idx="68304">0</cx:pt>
          <cx:pt idx="68305">1</cx:pt>
          <cx:pt idx="68306">1</cx:pt>
          <cx:pt idx="68307">1</cx:pt>
          <cx:pt idx="68308">1</cx:pt>
          <cx:pt idx="68309">1</cx:pt>
          <cx:pt idx="68310">0</cx:pt>
          <cx:pt idx="68311">0</cx:pt>
          <cx:pt idx="68312">0</cx:pt>
          <cx:pt idx="68313">1</cx:pt>
          <cx:pt idx="68314">1</cx:pt>
          <cx:pt idx="68315">0</cx:pt>
          <cx:pt idx="68316">0</cx:pt>
          <cx:pt idx="68317">1</cx:pt>
          <cx:pt idx="68318">0</cx:pt>
          <cx:pt idx="68319">0</cx:pt>
          <cx:pt idx="68320">1</cx:pt>
          <cx:pt idx="68321">1</cx:pt>
          <cx:pt idx="68322">1</cx:pt>
          <cx:pt idx="68323">1</cx:pt>
          <cx:pt idx="68324">1</cx:pt>
          <cx:pt idx="68325">1</cx:pt>
          <cx:pt idx="68326">0</cx:pt>
          <cx:pt idx="68327">0</cx:pt>
          <cx:pt idx="68328">1</cx:pt>
          <cx:pt idx="68329">0</cx:pt>
          <cx:pt idx="68330">0</cx:pt>
          <cx:pt idx="68331">0</cx:pt>
          <cx:pt idx="68332">0</cx:pt>
          <cx:pt idx="68333">0</cx:pt>
          <cx:pt idx="68334">0</cx:pt>
          <cx:pt idx="68335">0</cx:pt>
          <cx:pt idx="68336">0</cx:pt>
          <cx:pt idx="68337">1</cx:pt>
          <cx:pt idx="68338">0</cx:pt>
          <cx:pt idx="68339">0</cx:pt>
          <cx:pt idx="68340">0</cx:pt>
          <cx:pt idx="68341">0</cx:pt>
          <cx:pt idx="68342">1</cx:pt>
          <cx:pt idx="68343">1</cx:pt>
          <cx:pt idx="68344">0</cx:pt>
          <cx:pt idx="68345">0</cx:pt>
          <cx:pt idx="68346">1</cx:pt>
          <cx:pt idx="68347">0</cx:pt>
          <cx:pt idx="68348">1</cx:pt>
          <cx:pt idx="68349">0</cx:pt>
          <cx:pt idx="68350">0</cx:pt>
          <cx:pt idx="68351">0</cx:pt>
          <cx:pt idx="68352">0</cx:pt>
          <cx:pt idx="68353">0</cx:pt>
          <cx:pt idx="68354">0</cx:pt>
          <cx:pt idx="68355">0</cx:pt>
          <cx:pt idx="68356">0</cx:pt>
          <cx:pt idx="68357">1</cx:pt>
          <cx:pt idx="68358">0</cx:pt>
          <cx:pt idx="68359">1</cx:pt>
          <cx:pt idx="68360">1</cx:pt>
          <cx:pt idx="68361">0</cx:pt>
          <cx:pt idx="68362">1</cx:pt>
          <cx:pt idx="68363">0</cx:pt>
          <cx:pt idx="68364">1</cx:pt>
          <cx:pt idx="68365">1</cx:pt>
          <cx:pt idx="68366">1</cx:pt>
          <cx:pt idx="68367">1</cx:pt>
          <cx:pt idx="68368">0</cx:pt>
          <cx:pt idx="68369">1</cx:pt>
          <cx:pt idx="68370">0</cx:pt>
          <cx:pt idx="68371">0</cx:pt>
          <cx:pt idx="68372">0</cx:pt>
          <cx:pt idx="68373">0</cx:pt>
          <cx:pt idx="68374">1</cx:pt>
          <cx:pt idx="68375">0</cx:pt>
          <cx:pt idx="68376">0</cx:pt>
          <cx:pt idx="68377">1</cx:pt>
          <cx:pt idx="68378">1</cx:pt>
          <cx:pt idx="68379">0</cx:pt>
          <cx:pt idx="68380">1</cx:pt>
          <cx:pt idx="68381">0</cx:pt>
          <cx:pt idx="68382">0</cx:pt>
          <cx:pt idx="68383">0</cx:pt>
          <cx:pt idx="68384">0</cx:pt>
          <cx:pt idx="68385">0</cx:pt>
          <cx:pt idx="68386">0</cx:pt>
          <cx:pt idx="68387">1</cx:pt>
          <cx:pt idx="68388">0</cx:pt>
          <cx:pt idx="68389">0</cx:pt>
          <cx:pt idx="68390">0</cx:pt>
          <cx:pt idx="68391">0</cx:pt>
          <cx:pt idx="68392">1</cx:pt>
          <cx:pt idx="68393">1</cx:pt>
          <cx:pt idx="68394">1</cx:pt>
          <cx:pt idx="68395">1</cx:pt>
          <cx:pt idx="68396">0</cx:pt>
          <cx:pt idx="68397">0</cx:pt>
          <cx:pt idx="68398">0</cx:pt>
          <cx:pt idx="68399">0</cx:pt>
          <cx:pt idx="68400">1</cx:pt>
          <cx:pt idx="68401">0</cx:pt>
          <cx:pt idx="68402">0</cx:pt>
          <cx:pt idx="68403">1</cx:pt>
          <cx:pt idx="68404">1</cx:pt>
          <cx:pt idx="68405">1</cx:pt>
          <cx:pt idx="68406">0</cx:pt>
          <cx:pt idx="68407">1</cx:pt>
          <cx:pt idx="68408">0</cx:pt>
          <cx:pt idx="68409">1</cx:pt>
          <cx:pt idx="68410">0</cx:pt>
          <cx:pt idx="68411">0</cx:pt>
          <cx:pt idx="68412">1</cx:pt>
          <cx:pt idx="68413">0</cx:pt>
          <cx:pt idx="68414">1</cx:pt>
          <cx:pt idx="68415">0</cx:pt>
          <cx:pt idx="68416">1</cx:pt>
          <cx:pt idx="68417">0</cx:pt>
          <cx:pt idx="68418">1</cx:pt>
          <cx:pt idx="68419">1</cx:pt>
          <cx:pt idx="68420">0</cx:pt>
          <cx:pt idx="68421">1</cx:pt>
          <cx:pt idx="68422">1</cx:pt>
          <cx:pt idx="68423">1</cx:pt>
          <cx:pt idx="68424">0</cx:pt>
          <cx:pt idx="68425">1</cx:pt>
          <cx:pt idx="68426">0</cx:pt>
          <cx:pt idx="68427">0</cx:pt>
          <cx:pt idx="68428">0</cx:pt>
          <cx:pt idx="68429">0</cx:pt>
          <cx:pt idx="68430">0</cx:pt>
          <cx:pt idx="68431">0</cx:pt>
          <cx:pt idx="68432">1</cx:pt>
          <cx:pt idx="68433">1</cx:pt>
          <cx:pt idx="68434">0</cx:pt>
          <cx:pt idx="68435">0</cx:pt>
          <cx:pt idx="68436">0</cx:pt>
          <cx:pt idx="68437">1</cx:pt>
          <cx:pt idx="68438">0</cx:pt>
          <cx:pt idx="68439">0</cx:pt>
          <cx:pt idx="68440">0</cx:pt>
          <cx:pt idx="68441">0</cx:pt>
          <cx:pt idx="68442">1</cx:pt>
          <cx:pt idx="68443">0</cx:pt>
          <cx:pt idx="68444">1</cx:pt>
          <cx:pt idx="68445">1</cx:pt>
          <cx:pt idx="68446">0</cx:pt>
          <cx:pt idx="68447">0</cx:pt>
          <cx:pt idx="68448">0</cx:pt>
          <cx:pt idx="68449">1</cx:pt>
          <cx:pt idx="68450">0</cx:pt>
          <cx:pt idx="68451">1</cx:pt>
          <cx:pt idx="68452">0</cx:pt>
          <cx:pt idx="68453">0</cx:pt>
          <cx:pt idx="68454">0</cx:pt>
          <cx:pt idx="68455">1</cx:pt>
          <cx:pt idx="68456">1</cx:pt>
          <cx:pt idx="68457">1</cx:pt>
          <cx:pt idx="68458">0</cx:pt>
          <cx:pt idx="68459">1</cx:pt>
          <cx:pt idx="68460">0</cx:pt>
          <cx:pt idx="68461">0</cx:pt>
          <cx:pt idx="68462">1</cx:pt>
          <cx:pt idx="68463">0</cx:pt>
          <cx:pt idx="68464">0</cx:pt>
          <cx:pt idx="68465">0</cx:pt>
          <cx:pt idx="68466">0</cx:pt>
          <cx:pt idx="68467">1</cx:pt>
          <cx:pt idx="68468">1</cx:pt>
          <cx:pt idx="68469">0</cx:pt>
          <cx:pt idx="68470">1</cx:pt>
          <cx:pt idx="68471">1</cx:pt>
          <cx:pt idx="68472">0</cx:pt>
          <cx:pt idx="68473">0</cx:pt>
          <cx:pt idx="68474">1</cx:pt>
          <cx:pt idx="68475">1</cx:pt>
          <cx:pt idx="68476">0</cx:pt>
          <cx:pt idx="68477">0</cx:pt>
          <cx:pt idx="68478">1</cx:pt>
          <cx:pt idx="68479">1</cx:pt>
          <cx:pt idx="68480">0</cx:pt>
          <cx:pt idx="68481">0</cx:pt>
          <cx:pt idx="68482">0</cx:pt>
          <cx:pt idx="68483">1</cx:pt>
          <cx:pt idx="68484">1</cx:pt>
          <cx:pt idx="68485">0</cx:pt>
          <cx:pt idx="68486">1</cx:pt>
          <cx:pt idx="68487">1</cx:pt>
          <cx:pt idx="68488">0</cx:pt>
          <cx:pt idx="68489">0</cx:pt>
          <cx:pt idx="68490">1</cx:pt>
          <cx:pt idx="68491">1</cx:pt>
          <cx:pt idx="68492">1</cx:pt>
          <cx:pt idx="68493">1</cx:pt>
          <cx:pt idx="68494">0</cx:pt>
          <cx:pt idx="68495">0</cx:pt>
          <cx:pt idx="68496">1</cx:pt>
          <cx:pt idx="68497">0</cx:pt>
          <cx:pt idx="68498">1</cx:pt>
          <cx:pt idx="68499">0</cx:pt>
          <cx:pt idx="68500">0</cx:pt>
          <cx:pt idx="68501">0</cx:pt>
          <cx:pt idx="68502">0</cx:pt>
          <cx:pt idx="68503">0</cx:pt>
          <cx:pt idx="68504">0</cx:pt>
          <cx:pt idx="68505">1</cx:pt>
          <cx:pt idx="68506">1</cx:pt>
          <cx:pt idx="68507">0</cx:pt>
          <cx:pt idx="68508">1</cx:pt>
          <cx:pt idx="68509">1</cx:pt>
          <cx:pt idx="68510">0</cx:pt>
          <cx:pt idx="68511">1</cx:pt>
          <cx:pt idx="68512">0</cx:pt>
          <cx:pt idx="68513">0</cx:pt>
          <cx:pt idx="68514">0</cx:pt>
          <cx:pt idx="68515">1</cx:pt>
          <cx:pt idx="68516">0</cx:pt>
          <cx:pt idx="68517">0</cx:pt>
          <cx:pt idx="68518">0</cx:pt>
          <cx:pt idx="68519">0</cx:pt>
          <cx:pt idx="68520">1</cx:pt>
          <cx:pt idx="68521">1</cx:pt>
          <cx:pt idx="68522">1</cx:pt>
          <cx:pt idx="68523">0</cx:pt>
          <cx:pt idx="68524">1</cx:pt>
          <cx:pt idx="68525">0</cx:pt>
          <cx:pt idx="68526">1</cx:pt>
          <cx:pt idx="68527">0</cx:pt>
          <cx:pt idx="68528">0</cx:pt>
          <cx:pt idx="68529">0</cx:pt>
          <cx:pt idx="68530">0</cx:pt>
          <cx:pt idx="68531">0</cx:pt>
          <cx:pt idx="68532">1</cx:pt>
          <cx:pt idx="68533">1</cx:pt>
          <cx:pt idx="68534">1</cx:pt>
          <cx:pt idx="68535">1</cx:pt>
          <cx:pt idx="68536">0</cx:pt>
          <cx:pt idx="68537">1</cx:pt>
          <cx:pt idx="68538">0</cx:pt>
          <cx:pt idx="68539">0</cx:pt>
          <cx:pt idx="68540">0</cx:pt>
          <cx:pt idx="68541">1</cx:pt>
          <cx:pt idx="68542">0</cx:pt>
          <cx:pt idx="68543">0</cx:pt>
          <cx:pt idx="68544">0</cx:pt>
          <cx:pt idx="68545">1</cx:pt>
          <cx:pt idx="68546">0</cx:pt>
          <cx:pt idx="68547">1</cx:pt>
          <cx:pt idx="68548">1</cx:pt>
          <cx:pt idx="68549">1</cx:pt>
          <cx:pt idx="68550">1</cx:pt>
          <cx:pt idx="68551">0</cx:pt>
          <cx:pt idx="68552">1</cx:pt>
          <cx:pt idx="68553">0</cx:pt>
          <cx:pt idx="68554">1</cx:pt>
          <cx:pt idx="68555">0</cx:pt>
          <cx:pt idx="68556">0</cx:pt>
          <cx:pt idx="68557">0</cx:pt>
          <cx:pt idx="68558">0</cx:pt>
          <cx:pt idx="68559">0</cx:pt>
          <cx:pt idx="68560">1</cx:pt>
          <cx:pt idx="68561">0</cx:pt>
          <cx:pt idx="68562">0</cx:pt>
          <cx:pt idx="68563">0</cx:pt>
          <cx:pt idx="68564">1</cx:pt>
          <cx:pt idx="68565">0</cx:pt>
          <cx:pt idx="68566">0</cx:pt>
          <cx:pt idx="68567">0</cx:pt>
          <cx:pt idx="68568">0</cx:pt>
          <cx:pt idx="68569">0</cx:pt>
          <cx:pt idx="68570">0</cx:pt>
          <cx:pt idx="68571">1</cx:pt>
          <cx:pt idx="68572">1</cx:pt>
          <cx:pt idx="68573">0</cx:pt>
          <cx:pt idx="68574">0</cx:pt>
          <cx:pt idx="68575">1</cx:pt>
          <cx:pt idx="68576">0</cx:pt>
          <cx:pt idx="68577">1</cx:pt>
          <cx:pt idx="68578">1</cx:pt>
          <cx:pt idx="68579">1</cx:pt>
          <cx:pt idx="68580">0</cx:pt>
          <cx:pt idx="68581">1</cx:pt>
          <cx:pt idx="68582">0</cx:pt>
          <cx:pt idx="68583">1</cx:pt>
          <cx:pt idx="68584">0</cx:pt>
          <cx:pt idx="68585">0</cx:pt>
          <cx:pt idx="68586">0</cx:pt>
          <cx:pt idx="68587">0</cx:pt>
          <cx:pt idx="68588">1</cx:pt>
          <cx:pt idx="68589">1</cx:pt>
          <cx:pt idx="68590">1</cx:pt>
          <cx:pt idx="68591">1</cx:pt>
          <cx:pt idx="68592">0</cx:pt>
          <cx:pt idx="68593">0</cx:pt>
          <cx:pt idx="68594">1</cx:pt>
          <cx:pt idx="68595">1</cx:pt>
          <cx:pt idx="68596">0</cx:pt>
          <cx:pt idx="68597">0</cx:pt>
          <cx:pt idx="68598">1</cx:pt>
          <cx:pt idx="68599">1</cx:pt>
          <cx:pt idx="68600">0</cx:pt>
          <cx:pt idx="68601">1</cx:pt>
          <cx:pt idx="68602">0</cx:pt>
          <cx:pt idx="68603">0</cx:pt>
          <cx:pt idx="68604">0</cx:pt>
          <cx:pt idx="68605">1</cx:pt>
          <cx:pt idx="68606">0</cx:pt>
          <cx:pt idx="68607">0</cx:pt>
          <cx:pt idx="68608">1</cx:pt>
          <cx:pt idx="68609">0</cx:pt>
          <cx:pt idx="68610">1</cx:pt>
          <cx:pt idx="68611">0</cx:pt>
          <cx:pt idx="68612">1</cx:pt>
          <cx:pt idx="68613">0</cx:pt>
          <cx:pt idx="68614">0</cx:pt>
          <cx:pt idx="68615">0</cx:pt>
          <cx:pt idx="68616">0</cx:pt>
          <cx:pt idx="68617">0</cx:pt>
          <cx:pt idx="68618">0</cx:pt>
          <cx:pt idx="68619">0</cx:pt>
          <cx:pt idx="68620">1</cx:pt>
          <cx:pt idx="68621">1</cx:pt>
          <cx:pt idx="68622">1</cx:pt>
          <cx:pt idx="68623">1</cx:pt>
          <cx:pt idx="68624">1</cx:pt>
          <cx:pt idx="68625">1</cx:pt>
          <cx:pt idx="68626">0</cx:pt>
          <cx:pt idx="68627">0</cx:pt>
          <cx:pt idx="68628">0</cx:pt>
          <cx:pt idx="68629">1</cx:pt>
          <cx:pt idx="68630">1</cx:pt>
          <cx:pt idx="68631">0</cx:pt>
          <cx:pt idx="68632">0</cx:pt>
          <cx:pt idx="68633">0</cx:pt>
          <cx:pt idx="68634">0</cx:pt>
          <cx:pt idx="68635">0</cx:pt>
          <cx:pt idx="68636">0</cx:pt>
          <cx:pt idx="68637">0</cx:pt>
          <cx:pt idx="68638">0</cx:pt>
          <cx:pt idx="68639">1</cx:pt>
          <cx:pt idx="68640">0</cx:pt>
          <cx:pt idx="68641">0</cx:pt>
          <cx:pt idx="68642">0</cx:pt>
          <cx:pt idx="68643">0</cx:pt>
          <cx:pt idx="68644">1</cx:pt>
          <cx:pt idx="68645">1</cx:pt>
          <cx:pt idx="68646">0</cx:pt>
          <cx:pt idx="68647">0</cx:pt>
          <cx:pt idx="68648">1</cx:pt>
          <cx:pt idx="68649">0</cx:pt>
          <cx:pt idx="68650">0</cx:pt>
          <cx:pt idx="68651">0</cx:pt>
          <cx:pt idx="68652">1</cx:pt>
          <cx:pt idx="68653">0</cx:pt>
          <cx:pt idx="68654">0</cx:pt>
          <cx:pt idx="68655">1</cx:pt>
          <cx:pt idx="68656">0</cx:pt>
          <cx:pt idx="68657">0</cx:pt>
          <cx:pt idx="68658">1</cx:pt>
          <cx:pt idx="68659">1</cx:pt>
          <cx:pt idx="68660">0</cx:pt>
          <cx:pt idx="68661">0</cx:pt>
          <cx:pt idx="68662">0</cx:pt>
          <cx:pt idx="68663">1</cx:pt>
          <cx:pt idx="68664">1</cx:pt>
          <cx:pt idx="68665">1</cx:pt>
          <cx:pt idx="68666">1</cx:pt>
          <cx:pt idx="68667">1</cx:pt>
          <cx:pt idx="68668">1</cx:pt>
          <cx:pt idx="68669">1</cx:pt>
          <cx:pt idx="68670">1</cx:pt>
          <cx:pt idx="68671">0</cx:pt>
          <cx:pt idx="68672">0</cx:pt>
          <cx:pt idx="68673">0</cx:pt>
          <cx:pt idx="68674">0</cx:pt>
          <cx:pt idx="68675">1</cx:pt>
          <cx:pt idx="68676">1</cx:pt>
          <cx:pt idx="68677">0</cx:pt>
          <cx:pt idx="68678">1</cx:pt>
          <cx:pt idx="68679">0</cx:pt>
          <cx:pt idx="68680">0</cx:pt>
          <cx:pt idx="68681">1</cx:pt>
          <cx:pt idx="68682">1</cx:pt>
          <cx:pt idx="68683">0</cx:pt>
          <cx:pt idx="68684">0</cx:pt>
          <cx:pt idx="68685">1</cx:pt>
          <cx:pt idx="68686">1</cx:pt>
          <cx:pt idx="68687">1</cx:pt>
          <cx:pt idx="68688">1</cx:pt>
          <cx:pt idx="68689">1</cx:pt>
          <cx:pt idx="68690">0</cx:pt>
          <cx:pt idx="68691">0</cx:pt>
          <cx:pt idx="68692">0</cx:pt>
          <cx:pt idx="68693">0</cx:pt>
          <cx:pt idx="68694">1</cx:pt>
          <cx:pt idx="68695">0</cx:pt>
          <cx:pt idx="68696">0</cx:pt>
          <cx:pt idx="68697">1</cx:pt>
          <cx:pt idx="68698">1</cx:pt>
          <cx:pt idx="68699">0</cx:pt>
          <cx:pt idx="68700">0</cx:pt>
          <cx:pt idx="68701">0</cx:pt>
          <cx:pt idx="68702">0</cx:pt>
          <cx:pt idx="68703">1</cx:pt>
          <cx:pt idx="68704">1</cx:pt>
          <cx:pt idx="68705">0</cx:pt>
          <cx:pt idx="68706">0</cx:pt>
          <cx:pt idx="68707">0</cx:pt>
          <cx:pt idx="68708">1</cx:pt>
          <cx:pt idx="68709">0</cx:pt>
          <cx:pt idx="68710">1</cx:pt>
          <cx:pt idx="68711">0</cx:pt>
          <cx:pt idx="68712">1</cx:pt>
          <cx:pt idx="68713">0</cx:pt>
          <cx:pt idx="68714">0</cx:pt>
          <cx:pt idx="68715">0</cx:pt>
          <cx:pt idx="68716">1</cx:pt>
          <cx:pt idx="68717">0</cx:pt>
          <cx:pt idx="68718">0</cx:pt>
          <cx:pt idx="68719">0</cx:pt>
          <cx:pt idx="68720">0</cx:pt>
          <cx:pt idx="68721">0</cx:pt>
          <cx:pt idx="68722">1</cx:pt>
          <cx:pt idx="68723">1</cx:pt>
          <cx:pt idx="68724">0</cx:pt>
          <cx:pt idx="68725">0</cx:pt>
          <cx:pt idx="68726">1</cx:pt>
          <cx:pt idx="68727">1</cx:pt>
          <cx:pt idx="68728">0</cx:pt>
          <cx:pt idx="68729">1</cx:pt>
          <cx:pt idx="68730">1</cx:pt>
          <cx:pt idx="68731">0</cx:pt>
          <cx:pt idx="68732">0</cx:pt>
          <cx:pt idx="68733">0</cx:pt>
          <cx:pt idx="68734">0</cx:pt>
          <cx:pt idx="68735">1</cx:pt>
          <cx:pt idx="68736">1</cx:pt>
          <cx:pt idx="68737">0</cx:pt>
          <cx:pt idx="68738">1</cx:pt>
          <cx:pt idx="68739">0</cx:pt>
          <cx:pt idx="68740">0</cx:pt>
          <cx:pt idx="68741">0</cx:pt>
          <cx:pt idx="68742">1</cx:pt>
          <cx:pt idx="68743">0</cx:pt>
          <cx:pt idx="68744">1</cx:pt>
          <cx:pt idx="68745">0</cx:pt>
          <cx:pt idx="68746">1</cx:pt>
          <cx:pt idx="68747">0</cx:pt>
          <cx:pt idx="68748">0</cx:pt>
          <cx:pt idx="68749">0</cx:pt>
          <cx:pt idx="68750">0</cx:pt>
          <cx:pt idx="68751">0</cx:pt>
          <cx:pt idx="68752">0</cx:pt>
          <cx:pt idx="68753">0</cx:pt>
          <cx:pt idx="68754">1</cx:pt>
          <cx:pt idx="68755">1</cx:pt>
          <cx:pt idx="68756">0</cx:pt>
          <cx:pt idx="68757">0</cx:pt>
          <cx:pt idx="68758">1</cx:pt>
          <cx:pt idx="68759">0</cx:pt>
          <cx:pt idx="68760">0</cx:pt>
          <cx:pt idx="68761">1</cx:pt>
          <cx:pt idx="68762">1</cx:pt>
          <cx:pt idx="68763">1</cx:pt>
          <cx:pt idx="68764">1</cx:pt>
          <cx:pt idx="68765">0</cx:pt>
          <cx:pt idx="68766">0</cx:pt>
          <cx:pt idx="68767">0</cx:pt>
          <cx:pt idx="68768">1</cx:pt>
          <cx:pt idx="68769">0</cx:pt>
          <cx:pt idx="68770">1</cx:pt>
          <cx:pt idx="68771">1</cx:pt>
          <cx:pt idx="68772">1</cx:pt>
          <cx:pt idx="68773">0</cx:pt>
          <cx:pt idx="68774">1</cx:pt>
          <cx:pt idx="68775">0</cx:pt>
          <cx:pt idx="68776">0</cx:pt>
          <cx:pt idx="68777">0</cx:pt>
          <cx:pt idx="68778">1</cx:pt>
          <cx:pt idx="68779">0</cx:pt>
          <cx:pt idx="68780">1</cx:pt>
          <cx:pt idx="68781">0</cx:pt>
          <cx:pt idx="68782">0</cx:pt>
          <cx:pt idx="68783">0</cx:pt>
          <cx:pt idx="68784">0</cx:pt>
          <cx:pt idx="68785">1</cx:pt>
          <cx:pt idx="68786">0</cx:pt>
          <cx:pt idx="68787">0</cx:pt>
          <cx:pt idx="68788">1</cx:pt>
          <cx:pt idx="68789">1</cx:pt>
          <cx:pt idx="68790">1</cx:pt>
          <cx:pt idx="68791">0</cx:pt>
          <cx:pt idx="68792">0</cx:pt>
          <cx:pt idx="68793">0</cx:pt>
          <cx:pt idx="68794">1</cx:pt>
          <cx:pt idx="68795">1</cx:pt>
          <cx:pt idx="68796">0</cx:pt>
          <cx:pt idx="68797">1</cx:pt>
          <cx:pt idx="68798">1</cx:pt>
          <cx:pt idx="68799">0</cx:pt>
          <cx:pt idx="68800">1</cx:pt>
          <cx:pt idx="68801">1</cx:pt>
          <cx:pt idx="68802">0</cx:pt>
          <cx:pt idx="68803">1</cx:pt>
          <cx:pt idx="68804">1</cx:pt>
          <cx:pt idx="68805">1</cx:pt>
          <cx:pt idx="68806">0</cx:pt>
          <cx:pt idx="68807">0</cx:pt>
          <cx:pt idx="68808">1</cx:pt>
          <cx:pt idx="68809">0</cx:pt>
          <cx:pt idx="68810">0</cx:pt>
          <cx:pt idx="68811">1</cx:pt>
          <cx:pt idx="68812">1</cx:pt>
          <cx:pt idx="68813">0</cx:pt>
          <cx:pt idx="68814">0</cx:pt>
          <cx:pt idx="68815">1</cx:pt>
          <cx:pt idx="68816">1</cx:pt>
          <cx:pt idx="68817">0</cx:pt>
          <cx:pt idx="68818">1</cx:pt>
          <cx:pt idx="68819">1</cx:pt>
          <cx:pt idx="68820">0</cx:pt>
          <cx:pt idx="68821">0</cx:pt>
          <cx:pt idx="68822">0</cx:pt>
          <cx:pt idx="68823">0</cx:pt>
          <cx:pt idx="68824">0</cx:pt>
          <cx:pt idx="68825">1</cx:pt>
          <cx:pt idx="68826">1</cx:pt>
          <cx:pt idx="68827">0</cx:pt>
          <cx:pt idx="68828">1</cx:pt>
          <cx:pt idx="68829">0</cx:pt>
          <cx:pt idx="68830">1</cx:pt>
          <cx:pt idx="68831">1</cx:pt>
          <cx:pt idx="68832">1</cx:pt>
          <cx:pt idx="68833">0</cx:pt>
          <cx:pt idx="68834">0</cx:pt>
          <cx:pt idx="68835">0</cx:pt>
          <cx:pt idx="68836">1</cx:pt>
          <cx:pt idx="68837">1</cx:pt>
          <cx:pt idx="68838">1</cx:pt>
          <cx:pt idx="68839">1</cx:pt>
          <cx:pt idx="68840">1</cx:pt>
          <cx:pt idx="68841">0</cx:pt>
          <cx:pt idx="68842">1</cx:pt>
          <cx:pt idx="68843">1</cx:pt>
          <cx:pt idx="68844">0</cx:pt>
          <cx:pt idx="68845">0</cx:pt>
          <cx:pt idx="68846">1</cx:pt>
          <cx:pt idx="68847">1</cx:pt>
          <cx:pt idx="68848">0</cx:pt>
          <cx:pt idx="68849">0</cx:pt>
          <cx:pt idx="68850">1</cx:pt>
          <cx:pt idx="68851">1</cx:pt>
          <cx:pt idx="68852">0</cx:pt>
          <cx:pt idx="68853">1</cx:pt>
          <cx:pt idx="68854">0</cx:pt>
          <cx:pt idx="68855">0</cx:pt>
          <cx:pt idx="68856">0</cx:pt>
          <cx:pt idx="68857">1</cx:pt>
          <cx:pt idx="68858">0</cx:pt>
          <cx:pt idx="68859">0</cx:pt>
          <cx:pt idx="68860">0</cx:pt>
          <cx:pt idx="68861">0</cx:pt>
          <cx:pt idx="68862">0</cx:pt>
          <cx:pt idx="68863">0</cx:pt>
          <cx:pt idx="68864">0</cx:pt>
          <cx:pt idx="68865">0</cx:pt>
          <cx:pt idx="68866">1</cx:pt>
          <cx:pt idx="68867">1</cx:pt>
          <cx:pt idx="68868">0</cx:pt>
          <cx:pt idx="68869">0</cx:pt>
          <cx:pt idx="68870">0</cx:pt>
          <cx:pt idx="68871">1</cx:pt>
          <cx:pt idx="68872">1</cx:pt>
          <cx:pt idx="68873">0</cx:pt>
          <cx:pt idx="68874">0</cx:pt>
          <cx:pt idx="68875">1</cx:pt>
          <cx:pt idx="68876">0</cx:pt>
          <cx:pt idx="68877">0</cx:pt>
          <cx:pt idx="68878">1</cx:pt>
          <cx:pt idx="68879">0</cx:pt>
          <cx:pt idx="68880">1</cx:pt>
          <cx:pt idx="68881">1</cx:pt>
          <cx:pt idx="68882">0</cx:pt>
          <cx:pt idx="68883">0</cx:pt>
          <cx:pt idx="68884">1</cx:pt>
          <cx:pt idx="68885">1</cx:pt>
          <cx:pt idx="68886">0</cx:pt>
          <cx:pt idx="68887">1</cx:pt>
          <cx:pt idx="68888">1</cx:pt>
          <cx:pt idx="68889">1</cx:pt>
          <cx:pt idx="68890">1</cx:pt>
          <cx:pt idx="68891">1</cx:pt>
          <cx:pt idx="68892">1</cx:pt>
          <cx:pt idx="68893">0</cx:pt>
          <cx:pt idx="68894">1</cx:pt>
          <cx:pt idx="68895">0</cx:pt>
          <cx:pt idx="68896">1</cx:pt>
          <cx:pt idx="68897">0</cx:pt>
          <cx:pt idx="68898">0</cx:pt>
          <cx:pt idx="68899">0</cx:pt>
          <cx:pt idx="68900">0</cx:pt>
          <cx:pt idx="68901">1</cx:pt>
          <cx:pt idx="68902">0</cx:pt>
          <cx:pt idx="68903">1</cx:pt>
          <cx:pt idx="68904">0</cx:pt>
          <cx:pt idx="68905">1</cx:pt>
          <cx:pt idx="68906">0</cx:pt>
          <cx:pt idx="68907">0</cx:pt>
          <cx:pt idx="68908">0</cx:pt>
          <cx:pt idx="68909">0</cx:pt>
          <cx:pt idx="68910">0</cx:pt>
          <cx:pt idx="68911">1</cx:pt>
          <cx:pt idx="68912">1</cx:pt>
          <cx:pt idx="68913">0</cx:pt>
          <cx:pt idx="68914">1</cx:pt>
          <cx:pt idx="68915">1</cx:pt>
          <cx:pt idx="68916">0</cx:pt>
          <cx:pt idx="68917">0</cx:pt>
          <cx:pt idx="68918">1</cx:pt>
          <cx:pt idx="68919">0</cx:pt>
          <cx:pt idx="68920">1</cx:pt>
          <cx:pt idx="68921">0</cx:pt>
          <cx:pt idx="68922">1</cx:pt>
          <cx:pt idx="68923">1</cx:pt>
          <cx:pt idx="68924">0</cx:pt>
          <cx:pt idx="68925">1</cx:pt>
          <cx:pt idx="68926">0</cx:pt>
          <cx:pt idx="68927">0</cx:pt>
          <cx:pt idx="68928">0</cx:pt>
          <cx:pt idx="68929">1</cx:pt>
          <cx:pt idx="68930">0</cx:pt>
          <cx:pt idx="68931">1</cx:pt>
          <cx:pt idx="68932">1</cx:pt>
          <cx:pt idx="68933">1</cx:pt>
          <cx:pt idx="68934">1</cx:pt>
          <cx:pt idx="68935">0</cx:pt>
          <cx:pt idx="68936">1</cx:pt>
          <cx:pt idx="68937">1</cx:pt>
          <cx:pt idx="68938">1</cx:pt>
          <cx:pt idx="68939">1</cx:pt>
          <cx:pt idx="68940">0</cx:pt>
          <cx:pt idx="68941">1</cx:pt>
          <cx:pt idx="68942">1</cx:pt>
          <cx:pt idx="68943">1</cx:pt>
          <cx:pt idx="68944">0</cx:pt>
          <cx:pt idx="68945">1</cx:pt>
          <cx:pt idx="68946">0</cx:pt>
          <cx:pt idx="68947">0</cx:pt>
          <cx:pt idx="68948">1</cx:pt>
          <cx:pt idx="68949">0</cx:pt>
          <cx:pt idx="68950">0</cx:pt>
          <cx:pt idx="68951">1</cx:pt>
          <cx:pt idx="68952">0</cx:pt>
          <cx:pt idx="68953">0</cx:pt>
          <cx:pt idx="68954">0</cx:pt>
          <cx:pt idx="68955">0</cx:pt>
          <cx:pt idx="68956">0</cx:pt>
          <cx:pt idx="68957">1</cx:pt>
          <cx:pt idx="68958">0</cx:pt>
          <cx:pt idx="68959">1</cx:pt>
          <cx:pt idx="68960">1</cx:pt>
          <cx:pt idx="68961">1</cx:pt>
          <cx:pt idx="68962">1</cx:pt>
          <cx:pt idx="68963">1</cx:pt>
          <cx:pt idx="68964">1</cx:pt>
          <cx:pt idx="68965">0</cx:pt>
          <cx:pt idx="68966">0</cx:pt>
          <cx:pt idx="68967">1</cx:pt>
          <cx:pt idx="68968">0</cx:pt>
          <cx:pt idx="68969">1</cx:pt>
          <cx:pt idx="68970">1</cx:pt>
          <cx:pt idx="68971">0</cx:pt>
          <cx:pt idx="68972">0</cx:pt>
          <cx:pt idx="68973">1</cx:pt>
          <cx:pt idx="68974">0</cx:pt>
          <cx:pt idx="68975">1</cx:pt>
          <cx:pt idx="68976">1</cx:pt>
          <cx:pt idx="68977">1</cx:pt>
          <cx:pt idx="68978">1</cx:pt>
          <cx:pt idx="68979">0</cx:pt>
          <cx:pt idx="68980">0</cx:pt>
          <cx:pt idx="68981">0</cx:pt>
          <cx:pt idx="68982">0</cx:pt>
          <cx:pt idx="68983">1</cx:pt>
          <cx:pt idx="68984">0</cx:pt>
          <cx:pt idx="68985">1</cx:pt>
          <cx:pt idx="68986">0</cx:pt>
          <cx:pt idx="68987">1</cx:pt>
          <cx:pt idx="68988">1</cx:pt>
          <cx:pt idx="68989">0</cx:pt>
          <cx:pt idx="68990">1</cx:pt>
          <cx:pt idx="68991">1</cx:pt>
          <cx:pt idx="68992">1</cx:pt>
          <cx:pt idx="68993">0</cx:pt>
          <cx:pt idx="68994">0</cx:pt>
          <cx:pt idx="68995">1</cx:pt>
          <cx:pt idx="68996">0</cx:pt>
          <cx:pt idx="68997">0</cx:pt>
          <cx:pt idx="68998">1</cx:pt>
          <cx:pt idx="68999">0</cx:pt>
          <cx:pt idx="69000">1</cx:pt>
          <cx:pt idx="69001">1</cx:pt>
          <cx:pt idx="69002">0</cx:pt>
          <cx:pt idx="69003">0</cx:pt>
          <cx:pt idx="69004">1</cx:pt>
          <cx:pt idx="69005">0</cx:pt>
          <cx:pt idx="69006">1</cx:pt>
          <cx:pt idx="69007">0</cx:pt>
          <cx:pt idx="69008">0</cx:pt>
          <cx:pt idx="69009">0</cx:pt>
          <cx:pt idx="69010">1</cx:pt>
          <cx:pt idx="69011">0</cx:pt>
          <cx:pt idx="69012">1</cx:pt>
          <cx:pt idx="69013">1</cx:pt>
          <cx:pt idx="69014">0</cx:pt>
          <cx:pt idx="69015">0</cx:pt>
          <cx:pt idx="69016">0</cx:pt>
          <cx:pt idx="69017">1</cx:pt>
          <cx:pt idx="69018">1</cx:pt>
          <cx:pt idx="69019">1</cx:pt>
          <cx:pt idx="69020">0</cx:pt>
          <cx:pt idx="69021">1</cx:pt>
          <cx:pt idx="69022">0</cx:pt>
          <cx:pt idx="69023">1</cx:pt>
          <cx:pt idx="69024">0</cx:pt>
          <cx:pt idx="69025">0</cx:pt>
          <cx:pt idx="69026">0</cx:pt>
          <cx:pt idx="69027">0</cx:pt>
          <cx:pt idx="69028">0</cx:pt>
          <cx:pt idx="69029">1</cx:pt>
          <cx:pt idx="69030">1</cx:pt>
          <cx:pt idx="69031">0</cx:pt>
          <cx:pt idx="69032">0</cx:pt>
          <cx:pt idx="69033">1</cx:pt>
          <cx:pt idx="69034">0</cx:pt>
          <cx:pt idx="69035">1</cx:pt>
          <cx:pt idx="69036">0</cx:pt>
          <cx:pt idx="69037">1</cx:pt>
          <cx:pt idx="69038">0</cx:pt>
          <cx:pt idx="69039">0</cx:pt>
          <cx:pt idx="69040">0</cx:pt>
          <cx:pt idx="69041">1</cx:pt>
          <cx:pt idx="69042">1</cx:pt>
          <cx:pt idx="69043">0</cx:pt>
          <cx:pt idx="69044">1</cx:pt>
          <cx:pt idx="69045">1</cx:pt>
          <cx:pt idx="69046">0</cx:pt>
          <cx:pt idx="69047">1</cx:pt>
          <cx:pt idx="69048">0</cx:pt>
          <cx:pt idx="69049">1</cx:pt>
          <cx:pt idx="69050">1</cx:pt>
          <cx:pt idx="69051">1</cx:pt>
          <cx:pt idx="69052">0</cx:pt>
          <cx:pt idx="69053">1</cx:pt>
          <cx:pt idx="69054">1</cx:pt>
          <cx:pt idx="69055">0</cx:pt>
          <cx:pt idx="69056">0</cx:pt>
          <cx:pt idx="69057">0</cx:pt>
          <cx:pt idx="69058">0</cx:pt>
          <cx:pt idx="69059">0</cx:pt>
          <cx:pt idx="69060">0</cx:pt>
          <cx:pt idx="69061">1</cx:pt>
          <cx:pt idx="69062">1</cx:pt>
          <cx:pt idx="69063">1</cx:pt>
          <cx:pt idx="69064">1</cx:pt>
          <cx:pt idx="69065">1</cx:pt>
          <cx:pt idx="69066">0</cx:pt>
          <cx:pt idx="69067">0</cx:pt>
          <cx:pt idx="69068">0</cx:pt>
          <cx:pt idx="69069">0</cx:pt>
          <cx:pt idx="69070">0</cx:pt>
          <cx:pt idx="69071">1</cx:pt>
          <cx:pt idx="69072">1</cx:pt>
          <cx:pt idx="69073">1</cx:pt>
          <cx:pt idx="69074">0</cx:pt>
          <cx:pt idx="69075">1</cx:pt>
          <cx:pt idx="69076">0</cx:pt>
          <cx:pt idx="69077">1</cx:pt>
          <cx:pt idx="69078">1</cx:pt>
          <cx:pt idx="69079">0</cx:pt>
          <cx:pt idx="69080">1</cx:pt>
          <cx:pt idx="69081">1</cx:pt>
          <cx:pt idx="69082">1</cx:pt>
          <cx:pt idx="69083">0</cx:pt>
          <cx:pt idx="69084">0</cx:pt>
          <cx:pt idx="69085">0</cx:pt>
          <cx:pt idx="69086">0</cx:pt>
          <cx:pt idx="69087">1</cx:pt>
          <cx:pt idx="69088">0</cx:pt>
          <cx:pt idx="69089">0</cx:pt>
          <cx:pt idx="69090">0</cx:pt>
          <cx:pt idx="69091">1</cx:pt>
          <cx:pt idx="69092">0</cx:pt>
          <cx:pt idx="69093">0</cx:pt>
          <cx:pt idx="69094">1</cx:pt>
          <cx:pt idx="69095">1</cx:pt>
          <cx:pt idx="69096">0</cx:pt>
          <cx:pt idx="69097">1</cx:pt>
          <cx:pt idx="69098">0</cx:pt>
          <cx:pt idx="69099">0</cx:pt>
          <cx:pt idx="69100">1</cx:pt>
          <cx:pt idx="69101">0</cx:pt>
          <cx:pt idx="69102">0</cx:pt>
          <cx:pt idx="69103">0</cx:pt>
          <cx:pt idx="69104">1</cx:pt>
          <cx:pt idx="69105">1</cx:pt>
          <cx:pt idx="69106">0</cx:pt>
          <cx:pt idx="69107">0</cx:pt>
          <cx:pt idx="69108">1</cx:pt>
          <cx:pt idx="69109">1</cx:pt>
          <cx:pt idx="69110">1</cx:pt>
          <cx:pt idx="69111">1</cx:pt>
          <cx:pt idx="69112">0</cx:pt>
          <cx:pt idx="69113">0</cx:pt>
          <cx:pt idx="69114">1</cx:pt>
          <cx:pt idx="69115">0</cx:pt>
          <cx:pt idx="69116">0</cx:pt>
          <cx:pt idx="69117">0</cx:pt>
          <cx:pt idx="69118">1</cx:pt>
          <cx:pt idx="69119">1</cx:pt>
          <cx:pt idx="69120">1</cx:pt>
          <cx:pt idx="69121">0</cx:pt>
          <cx:pt idx="69122">1</cx:pt>
          <cx:pt idx="69123">0</cx:pt>
          <cx:pt idx="69124">1</cx:pt>
          <cx:pt idx="69125">1</cx:pt>
          <cx:pt idx="69126">1</cx:pt>
          <cx:pt idx="69127">1</cx:pt>
          <cx:pt idx="69128">1</cx:pt>
          <cx:pt idx="69129">1</cx:pt>
          <cx:pt idx="69130">0</cx:pt>
          <cx:pt idx="69131">1</cx:pt>
          <cx:pt idx="69132">1</cx:pt>
          <cx:pt idx="69133">1</cx:pt>
          <cx:pt idx="69134">1</cx:pt>
          <cx:pt idx="69135">0</cx:pt>
          <cx:pt idx="69136">0</cx:pt>
          <cx:pt idx="69137">0</cx:pt>
          <cx:pt idx="69138">1</cx:pt>
          <cx:pt idx="69139">1</cx:pt>
          <cx:pt idx="69140">0</cx:pt>
          <cx:pt idx="69141">1</cx:pt>
          <cx:pt idx="69142">1</cx:pt>
          <cx:pt idx="69143">1</cx:pt>
          <cx:pt idx="69144">1</cx:pt>
          <cx:pt idx="69145">0</cx:pt>
          <cx:pt idx="69146">0</cx:pt>
          <cx:pt idx="69147">0</cx:pt>
          <cx:pt idx="69148">0</cx:pt>
          <cx:pt idx="69149">0</cx:pt>
          <cx:pt idx="69150">0</cx:pt>
          <cx:pt idx="69151">1</cx:pt>
          <cx:pt idx="69152">1</cx:pt>
          <cx:pt idx="69153">1</cx:pt>
          <cx:pt idx="69154">1</cx:pt>
          <cx:pt idx="69155">1</cx:pt>
          <cx:pt idx="69156">1</cx:pt>
          <cx:pt idx="69157">1</cx:pt>
          <cx:pt idx="69158">1</cx:pt>
          <cx:pt idx="69159">0</cx:pt>
          <cx:pt idx="69160">0</cx:pt>
          <cx:pt idx="69161">1</cx:pt>
          <cx:pt idx="69162">1</cx:pt>
          <cx:pt idx="69163">1</cx:pt>
          <cx:pt idx="69164">0</cx:pt>
          <cx:pt idx="69165">1</cx:pt>
          <cx:pt idx="69166">0</cx:pt>
          <cx:pt idx="69167">0</cx:pt>
          <cx:pt idx="69168">0</cx:pt>
          <cx:pt idx="69169">0</cx:pt>
          <cx:pt idx="69170">1</cx:pt>
          <cx:pt idx="69171">0</cx:pt>
          <cx:pt idx="69172">0</cx:pt>
          <cx:pt idx="69173">0</cx:pt>
          <cx:pt idx="69174">1</cx:pt>
          <cx:pt idx="69175">1</cx:pt>
          <cx:pt idx="69176">0</cx:pt>
          <cx:pt idx="69177">1</cx:pt>
          <cx:pt idx="69178">1</cx:pt>
          <cx:pt idx="69179">1</cx:pt>
          <cx:pt idx="69180">0</cx:pt>
          <cx:pt idx="69181">0</cx:pt>
          <cx:pt idx="69182">0</cx:pt>
          <cx:pt idx="69183">0</cx:pt>
          <cx:pt idx="69184">0</cx:pt>
          <cx:pt idx="69185">1</cx:pt>
          <cx:pt idx="69186">0</cx:pt>
          <cx:pt idx="69187">0</cx:pt>
          <cx:pt idx="69188">0</cx:pt>
          <cx:pt idx="69189">1</cx:pt>
          <cx:pt idx="69190">1</cx:pt>
          <cx:pt idx="69191">0</cx:pt>
          <cx:pt idx="69192">0</cx:pt>
          <cx:pt idx="69193">1</cx:pt>
          <cx:pt idx="69194">1</cx:pt>
          <cx:pt idx="69195">1</cx:pt>
          <cx:pt idx="69196">0</cx:pt>
          <cx:pt idx="69197">0</cx:pt>
          <cx:pt idx="69198">1</cx:pt>
          <cx:pt idx="69199">1</cx:pt>
          <cx:pt idx="69200">0</cx:pt>
          <cx:pt idx="69201">1</cx:pt>
          <cx:pt idx="69202">0</cx:pt>
          <cx:pt idx="69203">0</cx:pt>
          <cx:pt idx="69204">0</cx:pt>
          <cx:pt idx="69205">1</cx:pt>
          <cx:pt idx="69206">0</cx:pt>
          <cx:pt idx="69207">1</cx:pt>
          <cx:pt idx="69208">0</cx:pt>
          <cx:pt idx="69209">1</cx:pt>
          <cx:pt idx="69210">1</cx:pt>
          <cx:pt idx="69211">0</cx:pt>
          <cx:pt idx="69212">0</cx:pt>
          <cx:pt idx="69213">1</cx:pt>
          <cx:pt idx="69214">1</cx:pt>
          <cx:pt idx="69215">1</cx:pt>
          <cx:pt idx="69216">0</cx:pt>
          <cx:pt idx="69217">0</cx:pt>
          <cx:pt idx="69218">0</cx:pt>
          <cx:pt idx="69219">1</cx:pt>
          <cx:pt idx="69220">1</cx:pt>
          <cx:pt idx="69221">0</cx:pt>
          <cx:pt idx="69222">1</cx:pt>
          <cx:pt idx="69223">0</cx:pt>
          <cx:pt idx="69224">1</cx:pt>
          <cx:pt idx="69225">1</cx:pt>
          <cx:pt idx="69226">0</cx:pt>
          <cx:pt idx="69227">1</cx:pt>
          <cx:pt idx="69228">1</cx:pt>
          <cx:pt idx="69229">1</cx:pt>
          <cx:pt idx="69230">0</cx:pt>
          <cx:pt idx="69231">1</cx:pt>
          <cx:pt idx="69232">1</cx:pt>
          <cx:pt idx="69233">0</cx:pt>
          <cx:pt idx="69234">1</cx:pt>
          <cx:pt idx="69235">0</cx:pt>
          <cx:pt idx="69236">0</cx:pt>
          <cx:pt idx="69237">0</cx:pt>
          <cx:pt idx="69238">1</cx:pt>
          <cx:pt idx="69239">1</cx:pt>
          <cx:pt idx="69240">0</cx:pt>
          <cx:pt idx="69241">1</cx:pt>
          <cx:pt idx="69242">1</cx:pt>
          <cx:pt idx="69243">0</cx:pt>
          <cx:pt idx="69244">0</cx:pt>
          <cx:pt idx="69245">1</cx:pt>
          <cx:pt idx="69246">0</cx:pt>
          <cx:pt idx="69247">1</cx:pt>
          <cx:pt idx="69248">0</cx:pt>
          <cx:pt idx="69249">0</cx:pt>
          <cx:pt idx="69250">1</cx:pt>
          <cx:pt idx="69251">0</cx:pt>
          <cx:pt idx="69252">0</cx:pt>
          <cx:pt idx="69253">0</cx:pt>
          <cx:pt idx="69254">0</cx:pt>
          <cx:pt idx="69255">0</cx:pt>
          <cx:pt idx="69256">1</cx:pt>
          <cx:pt idx="69257">1</cx:pt>
          <cx:pt idx="69258">1</cx:pt>
          <cx:pt idx="69259">1</cx:pt>
          <cx:pt idx="69260">0</cx:pt>
          <cx:pt idx="69261">0</cx:pt>
          <cx:pt idx="69262">1</cx:pt>
          <cx:pt idx="69263">0</cx:pt>
          <cx:pt idx="69264">0</cx:pt>
          <cx:pt idx="69265">1</cx:pt>
          <cx:pt idx="69266">1</cx:pt>
          <cx:pt idx="69267">0</cx:pt>
          <cx:pt idx="69268">1</cx:pt>
          <cx:pt idx="69269">1</cx:pt>
          <cx:pt idx="69270">0</cx:pt>
          <cx:pt idx="69271">0</cx:pt>
          <cx:pt idx="69272">0</cx:pt>
          <cx:pt idx="69273">1</cx:pt>
          <cx:pt idx="69274">0</cx:pt>
          <cx:pt idx="69275">0</cx:pt>
          <cx:pt idx="69276">1</cx:pt>
          <cx:pt idx="69277">0</cx:pt>
          <cx:pt idx="69278">0</cx:pt>
          <cx:pt idx="69279">0</cx:pt>
          <cx:pt idx="69280">1</cx:pt>
          <cx:pt idx="69281">0</cx:pt>
          <cx:pt idx="69282">1</cx:pt>
          <cx:pt idx="69283">1</cx:pt>
          <cx:pt idx="69284">1</cx:pt>
          <cx:pt idx="69285">0</cx:pt>
          <cx:pt idx="69286">0</cx:pt>
          <cx:pt idx="69287">0</cx:pt>
          <cx:pt idx="69288">1</cx:pt>
          <cx:pt idx="69289">1</cx:pt>
          <cx:pt idx="69290">0</cx:pt>
          <cx:pt idx="69291">0</cx:pt>
          <cx:pt idx="69292">0</cx:pt>
          <cx:pt idx="69293">1</cx:pt>
          <cx:pt idx="69294">1</cx:pt>
          <cx:pt idx="69295">0</cx:pt>
          <cx:pt idx="69296">0</cx:pt>
          <cx:pt idx="69297">1</cx:pt>
          <cx:pt idx="69298">1</cx:pt>
          <cx:pt idx="69299">0</cx:pt>
          <cx:pt idx="69300">1</cx:pt>
          <cx:pt idx="69301">0</cx:pt>
          <cx:pt idx="69302">0</cx:pt>
          <cx:pt idx="69303">1</cx:pt>
          <cx:pt idx="69304">1</cx:pt>
          <cx:pt idx="69305">1</cx:pt>
          <cx:pt idx="69306">0</cx:pt>
          <cx:pt idx="69307">0</cx:pt>
          <cx:pt idx="69308">1</cx:pt>
          <cx:pt idx="69309">1</cx:pt>
          <cx:pt idx="69310">0</cx:pt>
          <cx:pt idx="69311">0</cx:pt>
          <cx:pt idx="69312">1</cx:pt>
          <cx:pt idx="69313">0</cx:pt>
          <cx:pt idx="69314">1</cx:pt>
          <cx:pt idx="69315">0</cx:pt>
          <cx:pt idx="69316">1</cx:pt>
          <cx:pt idx="69317">1</cx:pt>
          <cx:pt idx="69318">0</cx:pt>
          <cx:pt idx="69319">1</cx:pt>
          <cx:pt idx="69320">0</cx:pt>
          <cx:pt idx="69321">0</cx:pt>
          <cx:pt idx="69322">1</cx:pt>
          <cx:pt idx="69323">1</cx:pt>
          <cx:pt idx="69324">1</cx:pt>
          <cx:pt idx="69325">0</cx:pt>
          <cx:pt idx="69326">0</cx:pt>
          <cx:pt idx="69327">1</cx:pt>
          <cx:pt idx="69328">0</cx:pt>
          <cx:pt idx="69329">1</cx:pt>
          <cx:pt idx="69330">0</cx:pt>
          <cx:pt idx="69331">0</cx:pt>
          <cx:pt idx="69332">1</cx:pt>
          <cx:pt idx="69333">1</cx:pt>
          <cx:pt idx="69334">1</cx:pt>
          <cx:pt idx="69335">1</cx:pt>
          <cx:pt idx="69336">0</cx:pt>
          <cx:pt idx="69337">1</cx:pt>
          <cx:pt idx="69338">1</cx:pt>
          <cx:pt idx="69339">1</cx:pt>
          <cx:pt idx="69340">0</cx:pt>
          <cx:pt idx="69341">1</cx:pt>
          <cx:pt idx="69342">0</cx:pt>
          <cx:pt idx="69343">0</cx:pt>
          <cx:pt idx="69344">0</cx:pt>
          <cx:pt idx="69345">0</cx:pt>
          <cx:pt idx="69346">1</cx:pt>
          <cx:pt idx="69347">0</cx:pt>
          <cx:pt idx="69348">1</cx:pt>
          <cx:pt idx="69349">0</cx:pt>
          <cx:pt idx="69350">0</cx:pt>
          <cx:pt idx="69351">1</cx:pt>
          <cx:pt idx="69352">0</cx:pt>
          <cx:pt idx="69353">0</cx:pt>
          <cx:pt idx="69354">0</cx:pt>
          <cx:pt idx="69355">1</cx:pt>
          <cx:pt idx="69356">0</cx:pt>
          <cx:pt idx="69357">1</cx:pt>
          <cx:pt idx="69358">0</cx:pt>
          <cx:pt idx="69359">0</cx:pt>
          <cx:pt idx="69360">0</cx:pt>
          <cx:pt idx="69361">0</cx:pt>
          <cx:pt idx="69362">0</cx:pt>
          <cx:pt idx="69363">1</cx:pt>
          <cx:pt idx="69364">0</cx:pt>
          <cx:pt idx="69365">0</cx:pt>
          <cx:pt idx="69366">1</cx:pt>
          <cx:pt idx="69367">0</cx:pt>
          <cx:pt idx="69368">1</cx:pt>
          <cx:pt idx="69369">1</cx:pt>
          <cx:pt idx="69370">1</cx:pt>
          <cx:pt idx="69371">1</cx:pt>
          <cx:pt idx="69372">0</cx:pt>
          <cx:pt idx="69373">1</cx:pt>
          <cx:pt idx="69374">1</cx:pt>
          <cx:pt idx="69375">1</cx:pt>
          <cx:pt idx="69376">0</cx:pt>
          <cx:pt idx="69377">0</cx:pt>
          <cx:pt idx="69378">0</cx:pt>
          <cx:pt idx="69379">1</cx:pt>
          <cx:pt idx="69380">0</cx:pt>
          <cx:pt idx="69381">1</cx:pt>
          <cx:pt idx="69382">0</cx:pt>
          <cx:pt idx="69383">0</cx:pt>
          <cx:pt idx="69384">1</cx:pt>
          <cx:pt idx="69385">1</cx:pt>
          <cx:pt idx="69386">1</cx:pt>
          <cx:pt idx="69387">0</cx:pt>
          <cx:pt idx="69388">0</cx:pt>
          <cx:pt idx="69389">0</cx:pt>
          <cx:pt idx="69390">1</cx:pt>
          <cx:pt idx="69391">1</cx:pt>
          <cx:pt idx="69392">0</cx:pt>
          <cx:pt idx="69393">0</cx:pt>
          <cx:pt idx="69394">1</cx:pt>
          <cx:pt idx="69395">0</cx:pt>
          <cx:pt idx="69396">1</cx:pt>
          <cx:pt idx="69397">0</cx:pt>
          <cx:pt idx="69398">1</cx:pt>
          <cx:pt idx="69399">1</cx:pt>
          <cx:pt idx="69400">0</cx:pt>
          <cx:pt idx="69401">0</cx:pt>
          <cx:pt idx="69402">0</cx:pt>
          <cx:pt idx="69403">0</cx:pt>
          <cx:pt idx="69404">0</cx:pt>
          <cx:pt idx="69405">1</cx:pt>
          <cx:pt idx="69406">1</cx:pt>
          <cx:pt idx="69407">0</cx:pt>
          <cx:pt idx="69408">1</cx:pt>
          <cx:pt idx="69409">0</cx:pt>
          <cx:pt idx="69410">1</cx:pt>
          <cx:pt idx="69411">1</cx:pt>
          <cx:pt idx="69412">0</cx:pt>
          <cx:pt idx="69413">1</cx:pt>
          <cx:pt idx="69414">0</cx:pt>
          <cx:pt idx="69415">0</cx:pt>
          <cx:pt idx="69416">0</cx:pt>
          <cx:pt idx="69417">0</cx:pt>
          <cx:pt idx="69418">1</cx:pt>
          <cx:pt idx="69419">1</cx:pt>
          <cx:pt idx="69420">0</cx:pt>
          <cx:pt idx="69421">1</cx:pt>
          <cx:pt idx="69422">0</cx:pt>
          <cx:pt idx="69423">0</cx:pt>
          <cx:pt idx="69424">1</cx:pt>
          <cx:pt idx="69425">1</cx:pt>
          <cx:pt idx="69426">0</cx:pt>
          <cx:pt idx="69427">0</cx:pt>
          <cx:pt idx="69428">1</cx:pt>
          <cx:pt idx="69429">0</cx:pt>
          <cx:pt idx="69430">0</cx:pt>
          <cx:pt idx="69431">0</cx:pt>
          <cx:pt idx="69432">1</cx:pt>
          <cx:pt idx="69433">1</cx:pt>
          <cx:pt idx="69434">0</cx:pt>
          <cx:pt idx="69435">1</cx:pt>
          <cx:pt idx="69436">0</cx:pt>
          <cx:pt idx="69437">1</cx:pt>
          <cx:pt idx="69438">1</cx:pt>
          <cx:pt idx="69439">1</cx:pt>
          <cx:pt idx="69440">1</cx:pt>
          <cx:pt idx="69441">0</cx:pt>
          <cx:pt idx="69442">1</cx:pt>
          <cx:pt idx="69443">0</cx:pt>
          <cx:pt idx="69444">1</cx:pt>
          <cx:pt idx="69445">0</cx:pt>
          <cx:pt idx="69446">0</cx:pt>
          <cx:pt idx="69447">1</cx:pt>
          <cx:pt idx="69448">0</cx:pt>
          <cx:pt idx="69449">1</cx:pt>
          <cx:pt idx="69450">0</cx:pt>
          <cx:pt idx="69451">0</cx:pt>
          <cx:pt idx="69452">0</cx:pt>
          <cx:pt idx="69453">0</cx:pt>
          <cx:pt idx="69454">0</cx:pt>
          <cx:pt idx="69455">1</cx:pt>
          <cx:pt idx="69456">0</cx:pt>
          <cx:pt idx="69457">0</cx:pt>
          <cx:pt idx="69458">1</cx:pt>
          <cx:pt idx="69459">1</cx:pt>
          <cx:pt idx="69460">0</cx:pt>
          <cx:pt idx="69461">0</cx:pt>
          <cx:pt idx="69462">1</cx:pt>
          <cx:pt idx="69463">1</cx:pt>
          <cx:pt idx="69464">1</cx:pt>
          <cx:pt idx="69465">0</cx:pt>
          <cx:pt idx="69466">1</cx:pt>
          <cx:pt idx="69467">1</cx:pt>
          <cx:pt idx="69468">0</cx:pt>
          <cx:pt idx="69469">0</cx:pt>
          <cx:pt idx="69470">0</cx:pt>
          <cx:pt idx="69471">0</cx:pt>
          <cx:pt idx="69472">1</cx:pt>
          <cx:pt idx="69473">0</cx:pt>
          <cx:pt idx="69474">1</cx:pt>
          <cx:pt idx="69475">1</cx:pt>
          <cx:pt idx="69476">0</cx:pt>
          <cx:pt idx="69477">1</cx:pt>
          <cx:pt idx="69478">1</cx:pt>
          <cx:pt idx="69479">0</cx:pt>
          <cx:pt idx="69480">1</cx:pt>
          <cx:pt idx="69481">1</cx:pt>
          <cx:pt idx="69482">0</cx:pt>
          <cx:pt idx="69483">0</cx:pt>
          <cx:pt idx="69484">0</cx:pt>
          <cx:pt idx="69485">0</cx:pt>
          <cx:pt idx="69486">0</cx:pt>
          <cx:pt idx="69487">1</cx:pt>
          <cx:pt idx="69488">1</cx:pt>
          <cx:pt idx="69489">0</cx:pt>
          <cx:pt idx="69490">0</cx:pt>
          <cx:pt idx="69491">0</cx:pt>
          <cx:pt idx="69492">1</cx:pt>
          <cx:pt idx="69493">1</cx:pt>
          <cx:pt idx="69494">1</cx:pt>
          <cx:pt idx="69495">0</cx:pt>
          <cx:pt idx="69496">1</cx:pt>
          <cx:pt idx="69497">0</cx:pt>
          <cx:pt idx="69498">0</cx:pt>
          <cx:pt idx="69499">1</cx:pt>
          <cx:pt idx="69500">0</cx:pt>
          <cx:pt idx="69501">1</cx:pt>
          <cx:pt idx="69502">1</cx:pt>
          <cx:pt idx="69503">1</cx:pt>
          <cx:pt idx="69504">0</cx:pt>
          <cx:pt idx="69505">1</cx:pt>
          <cx:pt idx="69506">0</cx:pt>
          <cx:pt idx="69507">0</cx:pt>
          <cx:pt idx="69508">0</cx:pt>
          <cx:pt idx="69509">1</cx:pt>
          <cx:pt idx="69510">0</cx:pt>
          <cx:pt idx="69511">1</cx:pt>
          <cx:pt idx="69512">0</cx:pt>
          <cx:pt idx="69513">0</cx:pt>
          <cx:pt idx="69514">0</cx:pt>
          <cx:pt idx="69515">0</cx:pt>
          <cx:pt idx="69516">0</cx:pt>
          <cx:pt idx="69517">0</cx:pt>
          <cx:pt idx="69518">0</cx:pt>
          <cx:pt idx="69519">0</cx:pt>
          <cx:pt idx="69520">1</cx:pt>
          <cx:pt idx="69521">0</cx:pt>
          <cx:pt idx="69522">0</cx:pt>
          <cx:pt idx="69523">1</cx:pt>
          <cx:pt idx="69524">0</cx:pt>
          <cx:pt idx="69525">0</cx:pt>
          <cx:pt idx="69526">0</cx:pt>
          <cx:pt idx="69527">0</cx:pt>
          <cx:pt idx="69528">0</cx:pt>
          <cx:pt idx="69529">1</cx:pt>
          <cx:pt idx="69530">1</cx:pt>
          <cx:pt idx="69531">0</cx:pt>
          <cx:pt idx="69532">0</cx:pt>
          <cx:pt idx="69533">0</cx:pt>
          <cx:pt idx="69534">0</cx:pt>
          <cx:pt idx="69535">0</cx:pt>
          <cx:pt idx="69536">1</cx:pt>
          <cx:pt idx="69537">0</cx:pt>
          <cx:pt idx="69538">1</cx:pt>
          <cx:pt idx="69539">1</cx:pt>
          <cx:pt idx="69540">0</cx:pt>
          <cx:pt idx="69541">0</cx:pt>
          <cx:pt idx="69542">0</cx:pt>
          <cx:pt idx="69543">1</cx:pt>
          <cx:pt idx="69544">1</cx:pt>
          <cx:pt idx="69545">0</cx:pt>
          <cx:pt idx="69546">0</cx:pt>
          <cx:pt idx="69547">1</cx:pt>
          <cx:pt idx="69548">0</cx:pt>
          <cx:pt idx="69549">0</cx:pt>
          <cx:pt idx="69550">0</cx:pt>
          <cx:pt idx="69551">0</cx:pt>
          <cx:pt idx="69552">1</cx:pt>
          <cx:pt idx="69553">0</cx:pt>
          <cx:pt idx="69554">0</cx:pt>
          <cx:pt idx="69555">0</cx:pt>
          <cx:pt idx="69556">0</cx:pt>
          <cx:pt idx="69557">0</cx:pt>
          <cx:pt idx="69558">0</cx:pt>
          <cx:pt idx="69559">0</cx:pt>
          <cx:pt idx="69560">1</cx:pt>
          <cx:pt idx="69561">0</cx:pt>
          <cx:pt idx="69562">0</cx:pt>
          <cx:pt idx="69563">0</cx:pt>
          <cx:pt idx="69564">0</cx:pt>
          <cx:pt idx="69565">1</cx:pt>
          <cx:pt idx="69566">0</cx:pt>
          <cx:pt idx="69567">0</cx:pt>
          <cx:pt idx="69568">0</cx:pt>
          <cx:pt idx="69569">1</cx:pt>
          <cx:pt idx="69570">0</cx:pt>
          <cx:pt idx="69571">1</cx:pt>
          <cx:pt idx="69572">0</cx:pt>
          <cx:pt idx="69573">0</cx:pt>
          <cx:pt idx="69574">0</cx:pt>
          <cx:pt idx="69575">0</cx:pt>
          <cx:pt idx="69576">0</cx:pt>
          <cx:pt idx="69577">0</cx:pt>
          <cx:pt idx="69578">1</cx:pt>
          <cx:pt idx="69579">0</cx:pt>
          <cx:pt idx="69580">0</cx:pt>
          <cx:pt idx="69581">0</cx:pt>
          <cx:pt idx="69582">1</cx:pt>
          <cx:pt idx="69583">0</cx:pt>
          <cx:pt idx="69584">1</cx:pt>
          <cx:pt idx="69585">0</cx:pt>
          <cx:pt idx="69586">1</cx:pt>
          <cx:pt idx="69587">0</cx:pt>
          <cx:pt idx="69588">0</cx:pt>
          <cx:pt idx="69589">1</cx:pt>
          <cx:pt idx="69590">1</cx:pt>
          <cx:pt idx="69591">1</cx:pt>
          <cx:pt idx="69592">1</cx:pt>
          <cx:pt idx="69593">1</cx:pt>
          <cx:pt idx="69594">0</cx:pt>
          <cx:pt idx="69595">1</cx:pt>
          <cx:pt idx="69596">0</cx:pt>
          <cx:pt idx="69597">0</cx:pt>
          <cx:pt idx="69598">1</cx:pt>
          <cx:pt idx="69599">0</cx:pt>
          <cx:pt idx="69600">0</cx:pt>
          <cx:pt idx="69601">0</cx:pt>
          <cx:pt idx="69602">0</cx:pt>
          <cx:pt idx="69603">1</cx:pt>
          <cx:pt idx="69604">1</cx:pt>
          <cx:pt idx="69605">0</cx:pt>
          <cx:pt idx="69606">0</cx:pt>
          <cx:pt idx="69607">0</cx:pt>
          <cx:pt idx="69608">1</cx:pt>
          <cx:pt idx="69609">0</cx:pt>
          <cx:pt idx="69610">1</cx:pt>
          <cx:pt idx="69611">0</cx:pt>
          <cx:pt idx="69612">1</cx:pt>
          <cx:pt idx="69613">1</cx:pt>
          <cx:pt idx="69614">0</cx:pt>
          <cx:pt idx="69615">1</cx:pt>
          <cx:pt idx="69616">1</cx:pt>
          <cx:pt idx="69617">0</cx:pt>
          <cx:pt idx="69618">1</cx:pt>
          <cx:pt idx="69619">0</cx:pt>
          <cx:pt idx="69620">1</cx:pt>
          <cx:pt idx="69621">1</cx:pt>
          <cx:pt idx="69622">0</cx:pt>
          <cx:pt idx="69623">0</cx:pt>
          <cx:pt idx="69624">1</cx:pt>
          <cx:pt idx="69625">1</cx:pt>
          <cx:pt idx="69626">0</cx:pt>
          <cx:pt idx="69627">1</cx:pt>
          <cx:pt idx="69628">0</cx:pt>
          <cx:pt idx="69629">0</cx:pt>
          <cx:pt idx="69630">0</cx:pt>
          <cx:pt idx="69631">1</cx:pt>
          <cx:pt idx="69632">0</cx:pt>
          <cx:pt idx="69633">0</cx:pt>
          <cx:pt idx="69634">0</cx:pt>
          <cx:pt idx="69635">0</cx:pt>
          <cx:pt idx="69636">0</cx:pt>
          <cx:pt idx="69637">0</cx:pt>
          <cx:pt idx="69638">1</cx:pt>
          <cx:pt idx="69639">1</cx:pt>
          <cx:pt idx="69640">1</cx:pt>
          <cx:pt idx="69641">0</cx:pt>
          <cx:pt idx="69642">1</cx:pt>
          <cx:pt idx="69643">1</cx:pt>
          <cx:pt idx="69644">1</cx:pt>
          <cx:pt idx="69645">0</cx:pt>
          <cx:pt idx="69646">1</cx:pt>
          <cx:pt idx="69647">1</cx:pt>
          <cx:pt idx="69648">0</cx:pt>
          <cx:pt idx="69649">1</cx:pt>
          <cx:pt idx="69650">0</cx:pt>
          <cx:pt idx="69651">0</cx:pt>
          <cx:pt idx="69652">0</cx:pt>
          <cx:pt idx="69653">1</cx:pt>
          <cx:pt idx="69654">0</cx:pt>
          <cx:pt idx="69655">0</cx:pt>
          <cx:pt idx="69656">1</cx:pt>
          <cx:pt idx="69657">0</cx:pt>
          <cx:pt idx="69658">0</cx:pt>
          <cx:pt idx="69659">1</cx:pt>
          <cx:pt idx="69660">0</cx:pt>
          <cx:pt idx="69661">0</cx:pt>
          <cx:pt idx="69662">0</cx:pt>
          <cx:pt idx="69663">1</cx:pt>
          <cx:pt idx="69664">0</cx:pt>
          <cx:pt idx="69665">1</cx:pt>
          <cx:pt idx="69666">0</cx:pt>
          <cx:pt idx="69667">1</cx:pt>
          <cx:pt idx="69668">1</cx:pt>
          <cx:pt idx="69669">0</cx:pt>
          <cx:pt idx="69670">0</cx:pt>
          <cx:pt idx="69671">0</cx:pt>
          <cx:pt idx="69672">0</cx:pt>
          <cx:pt idx="69673">0</cx:pt>
          <cx:pt idx="69674">0</cx:pt>
          <cx:pt idx="69675">1</cx:pt>
          <cx:pt idx="69676">0</cx:pt>
          <cx:pt idx="69677">0</cx:pt>
          <cx:pt idx="69678">0</cx:pt>
          <cx:pt idx="69679">0</cx:pt>
          <cx:pt idx="69680">0</cx:pt>
          <cx:pt idx="69681">0</cx:pt>
          <cx:pt idx="69682">0</cx:pt>
          <cx:pt idx="69683">1</cx:pt>
          <cx:pt idx="69684">0</cx:pt>
          <cx:pt idx="69685">1</cx:pt>
          <cx:pt idx="69686">0</cx:pt>
          <cx:pt idx="69687">1</cx:pt>
          <cx:pt idx="69688">1</cx:pt>
          <cx:pt idx="69689">0</cx:pt>
          <cx:pt idx="69690">1</cx:pt>
          <cx:pt idx="69691">0</cx:pt>
          <cx:pt idx="69692">0</cx:pt>
          <cx:pt idx="69693">0</cx:pt>
          <cx:pt idx="69694">1</cx:pt>
          <cx:pt idx="69695">0</cx:pt>
          <cx:pt idx="69696">0</cx:pt>
          <cx:pt idx="69697">1</cx:pt>
          <cx:pt idx="69698">1</cx:pt>
          <cx:pt idx="69699">1</cx:pt>
          <cx:pt idx="69700">0</cx:pt>
          <cx:pt idx="69701">1</cx:pt>
          <cx:pt idx="69702">0</cx:pt>
          <cx:pt idx="69703">0</cx:pt>
          <cx:pt idx="69704">1</cx:pt>
          <cx:pt idx="69705">1</cx:pt>
          <cx:pt idx="69706">1</cx:pt>
          <cx:pt idx="69707">1</cx:pt>
          <cx:pt idx="69708">1</cx:pt>
          <cx:pt idx="69709">0</cx:pt>
          <cx:pt idx="69710">0</cx:pt>
          <cx:pt idx="69711">1</cx:pt>
          <cx:pt idx="69712">0</cx:pt>
          <cx:pt idx="69713">1</cx:pt>
          <cx:pt idx="69714">0</cx:pt>
          <cx:pt idx="69715">1</cx:pt>
          <cx:pt idx="69716">1</cx:pt>
          <cx:pt idx="69717">0</cx:pt>
          <cx:pt idx="69718">0</cx:pt>
          <cx:pt idx="69719">1</cx:pt>
          <cx:pt idx="69720">1</cx:pt>
          <cx:pt idx="69721">1</cx:pt>
          <cx:pt idx="69722">1</cx:pt>
          <cx:pt idx="69723">0</cx:pt>
          <cx:pt idx="69724">0</cx:pt>
          <cx:pt idx="69725">1</cx:pt>
          <cx:pt idx="69726">0</cx:pt>
          <cx:pt idx="69727">0</cx:pt>
          <cx:pt idx="69728">1</cx:pt>
          <cx:pt idx="69729">1</cx:pt>
          <cx:pt idx="69730">0</cx:pt>
          <cx:pt idx="69731">1</cx:pt>
          <cx:pt idx="69732">1</cx:pt>
          <cx:pt idx="69733">0</cx:pt>
          <cx:pt idx="69734">0</cx:pt>
          <cx:pt idx="69735">0</cx:pt>
          <cx:pt idx="69736">0</cx:pt>
          <cx:pt idx="69737">0</cx:pt>
          <cx:pt idx="69738">1</cx:pt>
          <cx:pt idx="69739">1</cx:pt>
          <cx:pt idx="69740">1</cx:pt>
          <cx:pt idx="69741">1</cx:pt>
          <cx:pt idx="69742">0</cx:pt>
          <cx:pt idx="69743">0</cx:pt>
          <cx:pt idx="69744">0</cx:pt>
          <cx:pt idx="69745">0</cx:pt>
          <cx:pt idx="69746">0</cx:pt>
          <cx:pt idx="69747">0</cx:pt>
          <cx:pt idx="69748">0</cx:pt>
          <cx:pt idx="69749">0</cx:pt>
          <cx:pt idx="69750">1</cx:pt>
          <cx:pt idx="69751">1</cx:pt>
          <cx:pt idx="69752">0</cx:pt>
          <cx:pt idx="69753">0</cx:pt>
          <cx:pt idx="69754">1</cx:pt>
          <cx:pt idx="69755">1</cx:pt>
          <cx:pt idx="69756">1</cx:pt>
          <cx:pt idx="69757">1</cx:pt>
          <cx:pt idx="69758">1</cx:pt>
          <cx:pt idx="69759">0</cx:pt>
          <cx:pt idx="69760">0</cx:pt>
          <cx:pt idx="69761">1</cx:pt>
          <cx:pt idx="69762">1</cx:pt>
          <cx:pt idx="69763">1</cx:pt>
          <cx:pt idx="69764">1</cx:pt>
          <cx:pt idx="69765">0</cx:pt>
          <cx:pt idx="69766">1</cx:pt>
          <cx:pt idx="69767">0</cx:pt>
          <cx:pt idx="69768">1</cx:pt>
          <cx:pt idx="69769">0</cx:pt>
          <cx:pt idx="69770">1</cx:pt>
          <cx:pt idx="69771">1</cx:pt>
          <cx:pt idx="69772">0</cx:pt>
          <cx:pt idx="69773">0</cx:pt>
          <cx:pt idx="69774">1</cx:pt>
          <cx:pt idx="69775">1</cx:pt>
          <cx:pt idx="69776">0</cx:pt>
          <cx:pt idx="69777">0</cx:pt>
          <cx:pt idx="69778">1</cx:pt>
          <cx:pt idx="69779">1</cx:pt>
          <cx:pt idx="69780">1</cx:pt>
          <cx:pt idx="69781">1</cx:pt>
          <cx:pt idx="69782">0</cx:pt>
          <cx:pt idx="69783">1</cx:pt>
          <cx:pt idx="69784">1</cx:pt>
          <cx:pt idx="69785">1</cx:pt>
          <cx:pt idx="69786">1</cx:pt>
          <cx:pt idx="69787">1</cx:pt>
          <cx:pt idx="69788">1</cx:pt>
          <cx:pt idx="69789">0</cx:pt>
          <cx:pt idx="69790">1</cx:pt>
          <cx:pt idx="69791">1</cx:pt>
          <cx:pt idx="69792">0</cx:pt>
          <cx:pt idx="69793">0</cx:pt>
          <cx:pt idx="69794">0</cx:pt>
          <cx:pt idx="69795">0</cx:pt>
          <cx:pt idx="69796">1</cx:pt>
          <cx:pt idx="69797">0</cx:pt>
          <cx:pt idx="69798">0</cx:pt>
          <cx:pt idx="69799">1</cx:pt>
          <cx:pt idx="69800">0</cx:pt>
          <cx:pt idx="69801">0</cx:pt>
          <cx:pt idx="69802">0</cx:pt>
          <cx:pt idx="69803">1</cx:pt>
          <cx:pt idx="69804">0</cx:pt>
          <cx:pt idx="69805">1</cx:pt>
          <cx:pt idx="69806">0</cx:pt>
          <cx:pt idx="69807">1</cx:pt>
          <cx:pt idx="69808">1</cx:pt>
          <cx:pt idx="69809">0</cx:pt>
          <cx:pt idx="69810">0</cx:pt>
          <cx:pt idx="69811">0</cx:pt>
          <cx:pt idx="69812">0</cx:pt>
          <cx:pt idx="69813">0</cx:pt>
          <cx:pt idx="69814">0</cx:pt>
          <cx:pt idx="69815">1</cx:pt>
          <cx:pt idx="69816">0</cx:pt>
          <cx:pt idx="69817">1</cx:pt>
          <cx:pt idx="69818">1</cx:pt>
          <cx:pt idx="69819">1</cx:pt>
          <cx:pt idx="69820">0</cx:pt>
          <cx:pt idx="69821">1</cx:pt>
          <cx:pt idx="69822">1</cx:pt>
          <cx:pt idx="69823">0</cx:pt>
          <cx:pt idx="69824">0</cx:pt>
          <cx:pt idx="69825">0</cx:pt>
          <cx:pt idx="69826">0</cx:pt>
          <cx:pt idx="69827">1</cx:pt>
          <cx:pt idx="69828">0</cx:pt>
          <cx:pt idx="69829">1</cx:pt>
          <cx:pt idx="69830">0</cx:pt>
          <cx:pt idx="69831">0</cx:pt>
          <cx:pt idx="69832">0</cx:pt>
          <cx:pt idx="69833">1</cx:pt>
          <cx:pt idx="69834">0</cx:pt>
          <cx:pt idx="69835">0</cx:pt>
          <cx:pt idx="69836">0</cx:pt>
          <cx:pt idx="69837">0</cx:pt>
          <cx:pt idx="69838">1</cx:pt>
          <cx:pt idx="69839">1</cx:pt>
          <cx:pt idx="69840">1</cx:pt>
          <cx:pt idx="69841">1</cx:pt>
          <cx:pt idx="69842">1</cx:pt>
          <cx:pt idx="69843">0</cx:pt>
          <cx:pt idx="69844">1</cx:pt>
          <cx:pt idx="69845">1</cx:pt>
          <cx:pt idx="69846">1</cx:pt>
          <cx:pt idx="69847">0</cx:pt>
          <cx:pt idx="69848">0</cx:pt>
          <cx:pt idx="69849">0</cx:pt>
          <cx:pt idx="69850">0</cx:pt>
          <cx:pt idx="69851">0</cx:pt>
          <cx:pt idx="69852">1</cx:pt>
          <cx:pt idx="69853">1</cx:pt>
          <cx:pt idx="69854">1</cx:pt>
          <cx:pt idx="69855">1</cx:pt>
          <cx:pt idx="69856">1</cx:pt>
          <cx:pt idx="69857">1</cx:pt>
          <cx:pt idx="69858">1</cx:pt>
          <cx:pt idx="69859">1</cx:pt>
          <cx:pt idx="69860">0</cx:pt>
          <cx:pt idx="69861">1</cx:pt>
          <cx:pt idx="69862">0</cx:pt>
          <cx:pt idx="69863">0</cx:pt>
          <cx:pt idx="69864">0</cx:pt>
          <cx:pt idx="69865">1</cx:pt>
          <cx:pt idx="69866">0</cx:pt>
          <cx:pt idx="69867">1</cx:pt>
          <cx:pt idx="69868">1</cx:pt>
          <cx:pt idx="69869">0</cx:pt>
          <cx:pt idx="69870">0</cx:pt>
          <cx:pt idx="69871">1</cx:pt>
          <cx:pt idx="69872">0</cx:pt>
          <cx:pt idx="69873">0</cx:pt>
          <cx:pt idx="69874">0</cx:pt>
          <cx:pt idx="69875">0</cx:pt>
          <cx:pt idx="69876">1</cx:pt>
          <cx:pt idx="69877">0</cx:pt>
          <cx:pt idx="69878">1</cx:pt>
          <cx:pt idx="69879">1</cx:pt>
          <cx:pt idx="69880">1</cx:pt>
          <cx:pt idx="69881">1</cx:pt>
          <cx:pt idx="69882">0</cx:pt>
          <cx:pt idx="69883">1</cx:pt>
          <cx:pt idx="69884">0</cx:pt>
          <cx:pt idx="69885">0</cx:pt>
          <cx:pt idx="69886">0</cx:pt>
          <cx:pt idx="69887">1</cx:pt>
          <cx:pt idx="69888">0</cx:pt>
          <cx:pt idx="69889">0</cx:pt>
          <cx:pt idx="69890">1</cx:pt>
          <cx:pt idx="69891">0</cx:pt>
          <cx:pt idx="69892">0</cx:pt>
          <cx:pt idx="69893">1</cx:pt>
          <cx:pt idx="69894">0</cx:pt>
          <cx:pt idx="69895">0</cx:pt>
          <cx:pt idx="69896">1</cx:pt>
          <cx:pt idx="69897">0</cx:pt>
          <cx:pt idx="69898">0</cx:pt>
          <cx:pt idx="69899">0</cx:pt>
          <cx:pt idx="69900">0</cx:pt>
          <cx:pt idx="69901">1</cx:pt>
          <cx:pt idx="69902">1</cx:pt>
          <cx:pt idx="69903">1</cx:pt>
          <cx:pt idx="69904">0</cx:pt>
          <cx:pt idx="69905">0</cx:pt>
          <cx:pt idx="69906">1</cx:pt>
          <cx:pt idx="69907">0</cx:pt>
          <cx:pt idx="69908">0</cx:pt>
          <cx:pt idx="69909">0</cx:pt>
          <cx:pt idx="69910">1</cx:pt>
          <cx:pt idx="69911">0</cx:pt>
          <cx:pt idx="69912">0</cx:pt>
          <cx:pt idx="69913">0</cx:pt>
          <cx:pt idx="69914">1</cx:pt>
          <cx:pt idx="69915">1</cx:pt>
          <cx:pt idx="69916">0</cx:pt>
          <cx:pt idx="69917">1</cx:pt>
          <cx:pt idx="69918">1</cx:pt>
          <cx:pt idx="69919">1</cx:pt>
          <cx:pt idx="69920">0</cx:pt>
          <cx:pt idx="69921">1</cx:pt>
          <cx:pt idx="69922">1</cx:pt>
          <cx:pt idx="69923">1</cx:pt>
          <cx:pt idx="69924">1</cx:pt>
          <cx:pt idx="69925">1</cx:pt>
          <cx:pt idx="69926">1</cx:pt>
          <cx:pt idx="69927">0</cx:pt>
          <cx:pt idx="69928">0</cx:pt>
          <cx:pt idx="69929">1</cx:pt>
          <cx:pt idx="69930">0</cx:pt>
          <cx:pt idx="69931">1</cx:pt>
          <cx:pt idx="69932">0</cx:pt>
          <cx:pt idx="69933">1</cx:pt>
          <cx:pt idx="69934">0</cx:pt>
          <cx:pt idx="69935">1</cx:pt>
          <cx:pt idx="69936">1</cx:pt>
          <cx:pt idx="69937">1</cx:pt>
          <cx:pt idx="69938">0</cx:pt>
          <cx:pt idx="69939">0</cx:pt>
          <cx:pt idx="69940">0</cx:pt>
          <cx:pt idx="69941">0</cx:pt>
          <cx:pt idx="69942">0</cx:pt>
          <cx:pt idx="69943">1</cx:pt>
          <cx:pt idx="69944">0</cx:pt>
          <cx:pt idx="69945">0</cx:pt>
          <cx:pt idx="69946">1</cx:pt>
          <cx:pt idx="69947">1</cx:pt>
          <cx:pt idx="69948">1</cx:pt>
          <cx:pt idx="69949">1</cx:pt>
          <cx:pt idx="69950">0</cx:pt>
          <cx:pt idx="69951">1</cx:pt>
          <cx:pt idx="69952">0</cx:pt>
          <cx:pt idx="69953">0</cx:pt>
          <cx:pt idx="69954">0</cx:pt>
          <cx:pt idx="69955">0</cx:pt>
          <cx:pt idx="69956">1</cx:pt>
          <cx:pt idx="69957">0</cx:pt>
          <cx:pt idx="69958">0</cx:pt>
          <cx:pt idx="69959">1</cx:pt>
          <cx:pt idx="69960">0</cx:pt>
          <cx:pt idx="69961">0</cx:pt>
          <cx:pt idx="69962">0</cx:pt>
          <cx:pt idx="69963">0</cx:pt>
          <cx:pt idx="69964">1</cx:pt>
          <cx:pt idx="69965">0</cx:pt>
          <cx:pt idx="69966">0</cx:pt>
          <cx:pt idx="69967">1</cx:pt>
          <cx:pt idx="69968">0</cx:pt>
          <cx:pt idx="69969">1</cx:pt>
          <cx:pt idx="69970">0</cx:pt>
          <cx:pt idx="69971">1</cx:pt>
          <cx:pt idx="69972">0</cx:pt>
          <cx:pt idx="69973">0</cx:pt>
          <cx:pt idx="69974">0</cx:pt>
          <cx:pt idx="69975">1</cx:pt>
          <cx:pt idx="69976">0</cx:pt>
          <cx:pt idx="69977">0</cx:pt>
          <cx:pt idx="69978">0</cx:pt>
          <cx:pt idx="69979">0</cx:pt>
          <cx:pt idx="69980">0</cx:pt>
          <cx:pt idx="69981">1</cx:pt>
          <cx:pt idx="69982">0</cx:pt>
          <cx:pt idx="69983">1</cx:pt>
          <cx:pt idx="69984">0</cx:pt>
          <cx:pt idx="69985">1</cx:pt>
          <cx:pt idx="69986">1</cx:pt>
          <cx:pt idx="69987">0</cx:pt>
          <cx:pt idx="69988">0</cx:pt>
          <cx:pt idx="69989">1</cx:pt>
          <cx:pt idx="69990">1</cx:pt>
          <cx:pt idx="69991">0</cx:pt>
          <cx:pt idx="69992">0</cx:pt>
          <cx:pt idx="69993">0</cx:pt>
          <cx:pt idx="69994">1</cx:pt>
          <cx:pt idx="69995">0</cx:pt>
          <cx:pt idx="69996">1</cx:pt>
          <cx:pt idx="69997">0</cx:pt>
          <cx:pt idx="69998">0</cx:pt>
          <cx:pt idx="69999">1</cx:pt>
          <cx:pt idx="70000">0</cx:pt>
          <cx:pt idx="70001">0</cx:pt>
          <cx:pt idx="70002">1</cx:pt>
          <cx:pt idx="70003">1</cx:pt>
          <cx:pt idx="70004">1</cx:pt>
          <cx:pt idx="70005">0</cx:pt>
          <cx:pt idx="70006">0</cx:pt>
          <cx:pt idx="70007">0</cx:pt>
          <cx:pt idx="70008">1</cx:pt>
          <cx:pt idx="70009">0</cx:pt>
          <cx:pt idx="70010">0</cx:pt>
          <cx:pt idx="70011">1</cx:pt>
          <cx:pt idx="70012">0</cx:pt>
          <cx:pt idx="70013">1</cx:pt>
          <cx:pt idx="70014">1</cx:pt>
          <cx:pt idx="70015">0</cx:pt>
          <cx:pt idx="70016">0</cx:pt>
          <cx:pt idx="70017">0</cx:pt>
          <cx:pt idx="70018">0</cx:pt>
          <cx:pt idx="70019">1</cx:pt>
          <cx:pt idx="70020">0</cx:pt>
          <cx:pt idx="70021">0</cx:pt>
          <cx:pt idx="70022">0</cx:pt>
          <cx:pt idx="70023">1</cx:pt>
          <cx:pt idx="70024">1</cx:pt>
          <cx:pt idx="70025">1</cx:pt>
          <cx:pt idx="70026">1</cx:pt>
          <cx:pt idx="70027">1</cx:pt>
          <cx:pt idx="70028">0</cx:pt>
          <cx:pt idx="70029">1</cx:pt>
          <cx:pt idx="70030">0</cx:pt>
          <cx:pt idx="70031">0</cx:pt>
          <cx:pt idx="70032">0</cx:pt>
          <cx:pt idx="70033">1</cx:pt>
          <cx:pt idx="70034">0</cx:pt>
          <cx:pt idx="70035">0</cx:pt>
          <cx:pt idx="70036">0</cx:pt>
          <cx:pt idx="70037">0</cx:pt>
          <cx:pt idx="70038">1</cx:pt>
          <cx:pt idx="70039">0</cx:pt>
          <cx:pt idx="70040">0</cx:pt>
          <cx:pt idx="70041">0</cx:pt>
          <cx:pt idx="70042">0</cx:pt>
          <cx:pt idx="70043">1</cx:pt>
          <cx:pt idx="70044">0</cx:pt>
          <cx:pt idx="70045">0</cx:pt>
          <cx:pt idx="70046">0</cx:pt>
          <cx:pt idx="70047">0</cx:pt>
          <cx:pt idx="70048">0</cx:pt>
          <cx:pt idx="70049">0</cx:pt>
          <cx:pt idx="70050">1</cx:pt>
          <cx:pt idx="70051">1</cx:pt>
          <cx:pt idx="70052">1</cx:pt>
          <cx:pt idx="70053">0</cx:pt>
          <cx:pt idx="70054">1</cx:pt>
          <cx:pt idx="70055">1</cx:pt>
          <cx:pt idx="70056">1</cx:pt>
          <cx:pt idx="70057">0</cx:pt>
          <cx:pt idx="70058">0</cx:pt>
          <cx:pt idx="70059">0</cx:pt>
          <cx:pt idx="70060">1</cx:pt>
          <cx:pt idx="70061">0</cx:pt>
          <cx:pt idx="70062">1</cx:pt>
          <cx:pt idx="70063">1</cx:pt>
          <cx:pt idx="70064">0</cx:pt>
          <cx:pt idx="70065">0</cx:pt>
          <cx:pt idx="70066">1</cx:pt>
          <cx:pt idx="70067">0</cx:pt>
          <cx:pt idx="70068">0</cx:pt>
          <cx:pt idx="70069">1</cx:pt>
          <cx:pt idx="70070">1</cx:pt>
          <cx:pt idx="70071">1</cx:pt>
          <cx:pt idx="70072">1</cx:pt>
          <cx:pt idx="70073">1</cx:pt>
          <cx:pt idx="70074">0</cx:pt>
          <cx:pt idx="70075">0</cx:pt>
          <cx:pt idx="70076">0</cx:pt>
          <cx:pt idx="70077">0</cx:pt>
          <cx:pt idx="70078">1</cx:pt>
          <cx:pt idx="70079">0</cx:pt>
          <cx:pt idx="70080">1</cx:pt>
          <cx:pt idx="70081">1</cx:pt>
          <cx:pt idx="70082">1</cx:pt>
          <cx:pt idx="70083">1</cx:pt>
          <cx:pt idx="70084">0</cx:pt>
          <cx:pt idx="70085">1</cx:pt>
          <cx:pt idx="70086">1</cx:pt>
          <cx:pt idx="70087">1</cx:pt>
          <cx:pt idx="70088">0</cx:pt>
          <cx:pt idx="70089">0</cx:pt>
          <cx:pt idx="70090">0</cx:pt>
          <cx:pt idx="70091">0</cx:pt>
          <cx:pt idx="70092">0</cx:pt>
          <cx:pt idx="70093">1</cx:pt>
          <cx:pt idx="70094">1</cx:pt>
          <cx:pt idx="70095">0</cx:pt>
          <cx:pt idx="70096">0</cx:pt>
          <cx:pt idx="70097">0</cx:pt>
          <cx:pt idx="70098">0</cx:pt>
          <cx:pt idx="70099">0</cx:pt>
          <cx:pt idx="70100">1</cx:pt>
          <cx:pt idx="70101">0</cx:pt>
          <cx:pt idx="70102">1</cx:pt>
          <cx:pt idx="70103">0</cx:pt>
          <cx:pt idx="70104">0</cx:pt>
          <cx:pt idx="70105">1</cx:pt>
          <cx:pt idx="70106">1</cx:pt>
          <cx:pt idx="70107">0</cx:pt>
          <cx:pt idx="70108">0</cx:pt>
          <cx:pt idx="70109">1</cx:pt>
          <cx:pt idx="70110">0</cx:pt>
          <cx:pt idx="70111">0</cx:pt>
          <cx:pt idx="70112">0</cx:pt>
          <cx:pt idx="70113">0</cx:pt>
          <cx:pt idx="70114">1</cx:pt>
          <cx:pt idx="70115">0</cx:pt>
          <cx:pt idx="70116">0</cx:pt>
          <cx:pt idx="70117">0</cx:pt>
          <cx:pt idx="70118">0</cx:pt>
          <cx:pt idx="70119">1</cx:pt>
          <cx:pt idx="70120">0</cx:pt>
          <cx:pt idx="70121">0</cx:pt>
          <cx:pt idx="70122">1</cx:pt>
          <cx:pt idx="70123">1</cx:pt>
          <cx:pt idx="70124">0</cx:pt>
          <cx:pt idx="70125">1</cx:pt>
          <cx:pt idx="70126">1</cx:pt>
          <cx:pt idx="70127">1</cx:pt>
          <cx:pt idx="70128">0</cx:pt>
          <cx:pt idx="70129">0</cx:pt>
          <cx:pt idx="70130">0</cx:pt>
          <cx:pt idx="70131">1</cx:pt>
          <cx:pt idx="70132">1</cx:pt>
          <cx:pt idx="70133">0</cx:pt>
          <cx:pt idx="70134">0</cx:pt>
          <cx:pt idx="70135">1</cx:pt>
          <cx:pt idx="70136">1</cx:pt>
          <cx:pt idx="70137">0</cx:pt>
          <cx:pt idx="70138">0</cx:pt>
          <cx:pt idx="70139">0</cx:pt>
          <cx:pt idx="70140">0</cx:pt>
          <cx:pt idx="70141">0</cx:pt>
          <cx:pt idx="70142">0</cx:pt>
          <cx:pt idx="70143">1</cx:pt>
          <cx:pt idx="70144">1</cx:pt>
          <cx:pt idx="70145">0</cx:pt>
          <cx:pt idx="70146">1</cx:pt>
          <cx:pt idx="70147">1</cx:pt>
          <cx:pt idx="70148">1</cx:pt>
          <cx:pt idx="70149">1</cx:pt>
          <cx:pt idx="70150">0</cx:pt>
          <cx:pt idx="70151">0</cx:pt>
          <cx:pt idx="70152">0</cx:pt>
          <cx:pt idx="70153">1</cx:pt>
          <cx:pt idx="70154">0</cx:pt>
          <cx:pt idx="70155">1</cx:pt>
          <cx:pt idx="70156">1</cx:pt>
          <cx:pt idx="70157">0</cx:pt>
          <cx:pt idx="70158">0</cx:pt>
          <cx:pt idx="70159">1</cx:pt>
          <cx:pt idx="70160">1</cx:pt>
          <cx:pt idx="70161">0</cx:pt>
          <cx:pt idx="70162">0</cx:pt>
          <cx:pt idx="70163">1</cx:pt>
          <cx:pt idx="70164">1</cx:pt>
          <cx:pt idx="70165">1</cx:pt>
          <cx:pt idx="70166">1</cx:pt>
          <cx:pt idx="70167">0</cx:pt>
          <cx:pt idx="70168">0</cx:pt>
          <cx:pt idx="70169">1</cx:pt>
          <cx:pt idx="70170">0</cx:pt>
          <cx:pt idx="70171">0</cx:pt>
          <cx:pt idx="70172">0</cx:pt>
          <cx:pt idx="70173">1</cx:pt>
          <cx:pt idx="70174">0</cx:pt>
          <cx:pt idx="70175">1</cx:pt>
          <cx:pt idx="70176">1</cx:pt>
          <cx:pt idx="70177">0</cx:pt>
          <cx:pt idx="70178">0</cx:pt>
          <cx:pt idx="70179">0</cx:pt>
          <cx:pt idx="70180">0</cx:pt>
          <cx:pt idx="70181">0</cx:pt>
          <cx:pt idx="70182">1</cx:pt>
          <cx:pt idx="70183">0</cx:pt>
          <cx:pt idx="70184">1</cx:pt>
          <cx:pt idx="70185">1</cx:pt>
          <cx:pt idx="70186">0</cx:pt>
          <cx:pt idx="70187">0</cx:pt>
          <cx:pt idx="70188">0</cx:pt>
          <cx:pt idx="70189">1</cx:pt>
          <cx:pt idx="70190">0</cx:pt>
          <cx:pt idx="70191">1</cx:pt>
          <cx:pt idx="70192">0</cx:pt>
          <cx:pt idx="70193">1</cx:pt>
          <cx:pt idx="70194">0</cx:pt>
          <cx:pt idx="70195">1</cx:pt>
          <cx:pt idx="70196">0</cx:pt>
          <cx:pt idx="70197">1</cx:pt>
          <cx:pt idx="70198">0</cx:pt>
          <cx:pt idx="70199">1</cx:pt>
          <cx:pt idx="70200">0</cx:pt>
          <cx:pt idx="70201">0</cx:pt>
          <cx:pt idx="70202">1</cx:pt>
          <cx:pt idx="70203">1</cx:pt>
          <cx:pt idx="70204">1</cx:pt>
          <cx:pt idx="70205">0</cx:pt>
          <cx:pt idx="70206">1</cx:pt>
          <cx:pt idx="70207">0</cx:pt>
          <cx:pt idx="70208">1</cx:pt>
          <cx:pt idx="70209">0</cx:pt>
          <cx:pt idx="70210">1</cx:pt>
          <cx:pt idx="70211">0</cx:pt>
          <cx:pt idx="70212">0</cx:pt>
          <cx:pt idx="70213">0</cx:pt>
          <cx:pt idx="70214">0</cx:pt>
          <cx:pt idx="70215">1</cx:pt>
          <cx:pt idx="70216">0</cx:pt>
          <cx:pt idx="70217">1</cx:pt>
          <cx:pt idx="70218">0</cx:pt>
          <cx:pt idx="70219">0</cx:pt>
          <cx:pt idx="70220">0</cx:pt>
          <cx:pt idx="70221">0</cx:pt>
          <cx:pt idx="70222">0</cx:pt>
          <cx:pt idx="70223">0</cx:pt>
          <cx:pt idx="70224">1</cx:pt>
          <cx:pt idx="70225">0</cx:pt>
          <cx:pt idx="70226">0</cx:pt>
          <cx:pt idx="70227">1</cx:pt>
          <cx:pt idx="70228">0</cx:pt>
          <cx:pt idx="70229">0</cx:pt>
          <cx:pt idx="70230">1</cx:pt>
          <cx:pt idx="70231">0</cx:pt>
          <cx:pt idx="70232">0</cx:pt>
          <cx:pt idx="70233">1</cx:pt>
          <cx:pt idx="70234">0</cx:pt>
          <cx:pt idx="70235">0</cx:pt>
          <cx:pt idx="70236">0</cx:pt>
          <cx:pt idx="70237">1</cx:pt>
          <cx:pt idx="70238">1</cx:pt>
          <cx:pt idx="70239">1</cx:pt>
          <cx:pt idx="70240">1</cx:pt>
          <cx:pt idx="70241">0</cx:pt>
          <cx:pt idx="70242">0</cx:pt>
          <cx:pt idx="70243">0</cx:pt>
          <cx:pt idx="70244">1</cx:pt>
          <cx:pt idx="70245">0</cx:pt>
          <cx:pt idx="70246">1</cx:pt>
          <cx:pt idx="70247">1</cx:pt>
          <cx:pt idx="70248">1</cx:pt>
          <cx:pt idx="70249">1</cx:pt>
          <cx:pt idx="70250">1</cx:pt>
          <cx:pt idx="70251">1</cx:pt>
          <cx:pt idx="70252">0</cx:pt>
          <cx:pt idx="70253">1</cx:pt>
          <cx:pt idx="70254">1</cx:pt>
          <cx:pt idx="70255">1</cx:pt>
          <cx:pt idx="70256">1</cx:pt>
          <cx:pt idx="70257">0</cx:pt>
          <cx:pt idx="70258">0</cx:pt>
          <cx:pt idx="70259">0</cx:pt>
          <cx:pt idx="70260">0</cx:pt>
          <cx:pt idx="70261">1</cx:pt>
          <cx:pt idx="70262">0</cx:pt>
          <cx:pt idx="70263">0</cx:pt>
          <cx:pt idx="70264">1</cx:pt>
          <cx:pt idx="70265">1</cx:pt>
          <cx:pt idx="70266">1</cx:pt>
          <cx:pt idx="70267">0</cx:pt>
          <cx:pt idx="70268">1</cx:pt>
          <cx:pt idx="70269">1</cx:pt>
          <cx:pt idx="70270">0</cx:pt>
          <cx:pt idx="70271">1</cx:pt>
          <cx:pt idx="70272">0</cx:pt>
          <cx:pt idx="70273">0</cx:pt>
          <cx:pt idx="70274">0</cx:pt>
          <cx:pt idx="70275">1</cx:pt>
          <cx:pt idx="70276">0</cx:pt>
          <cx:pt idx="70277">0</cx:pt>
          <cx:pt idx="70278">1</cx:pt>
          <cx:pt idx="70279">0</cx:pt>
          <cx:pt idx="70280">1</cx:pt>
          <cx:pt idx="70281">1</cx:pt>
          <cx:pt idx="70282">1</cx:pt>
          <cx:pt idx="70283">0</cx:pt>
          <cx:pt idx="70284">0</cx:pt>
          <cx:pt idx="70285">1</cx:pt>
          <cx:pt idx="70286">1</cx:pt>
          <cx:pt idx="70287">1</cx:pt>
          <cx:pt idx="70288">1</cx:pt>
          <cx:pt idx="70289">0</cx:pt>
          <cx:pt idx="70290">1</cx:pt>
          <cx:pt idx="70291">1</cx:pt>
          <cx:pt idx="70292">0</cx:pt>
          <cx:pt idx="70293">0</cx:pt>
          <cx:pt idx="70294">1</cx:pt>
          <cx:pt idx="70295">0</cx:pt>
          <cx:pt idx="70296">1</cx:pt>
          <cx:pt idx="70297">1</cx:pt>
          <cx:pt idx="70298">0</cx:pt>
          <cx:pt idx="70299">1</cx:pt>
          <cx:pt idx="70300">0</cx:pt>
          <cx:pt idx="70301">0</cx:pt>
          <cx:pt idx="70302">1</cx:pt>
          <cx:pt idx="70303">0</cx:pt>
          <cx:pt idx="70304">0</cx:pt>
          <cx:pt idx="70305">0</cx:pt>
          <cx:pt idx="70306">0</cx:pt>
          <cx:pt idx="70307">0</cx:pt>
          <cx:pt idx="70308">0</cx:pt>
          <cx:pt idx="70309">1</cx:pt>
          <cx:pt idx="70310">0</cx:pt>
          <cx:pt idx="70311">0</cx:pt>
          <cx:pt idx="70312">0</cx:pt>
          <cx:pt idx="70313">1</cx:pt>
          <cx:pt idx="70314">1</cx:pt>
          <cx:pt idx="70315">0</cx:pt>
          <cx:pt idx="70316">0</cx:pt>
          <cx:pt idx="70317">1</cx:pt>
          <cx:pt idx="70318">0</cx:pt>
          <cx:pt idx="70319">1</cx:pt>
          <cx:pt idx="70320">1</cx:pt>
          <cx:pt idx="70321">1</cx:pt>
          <cx:pt idx="70322">1</cx:pt>
          <cx:pt idx="70323">1</cx:pt>
          <cx:pt idx="70324">1</cx:pt>
          <cx:pt idx="70325">0</cx:pt>
          <cx:pt idx="70326">1</cx:pt>
          <cx:pt idx="70327">1</cx:pt>
          <cx:pt idx="70328">0</cx:pt>
          <cx:pt idx="70329">0</cx:pt>
          <cx:pt idx="70330">0</cx:pt>
          <cx:pt idx="70331">0</cx:pt>
          <cx:pt idx="70332">1</cx:pt>
          <cx:pt idx="70333">0</cx:pt>
          <cx:pt idx="70334">1</cx:pt>
          <cx:pt idx="70335">1</cx:pt>
          <cx:pt idx="70336">0</cx:pt>
          <cx:pt idx="70337">0</cx:pt>
          <cx:pt idx="70338">1</cx:pt>
          <cx:pt idx="70339">1</cx:pt>
          <cx:pt idx="70340">0</cx:pt>
          <cx:pt idx="70341">1</cx:pt>
          <cx:pt idx="70342">0</cx:pt>
          <cx:pt idx="70343">1</cx:pt>
          <cx:pt idx="70344">1</cx:pt>
          <cx:pt idx="70345">1</cx:pt>
          <cx:pt idx="70346">1</cx:pt>
          <cx:pt idx="70347">0</cx:pt>
          <cx:pt idx="70348">0</cx:pt>
          <cx:pt idx="70349">1</cx:pt>
          <cx:pt idx="70350">0</cx:pt>
          <cx:pt idx="70351">1</cx:pt>
          <cx:pt idx="70352">0</cx:pt>
          <cx:pt idx="70353">0</cx:pt>
          <cx:pt idx="70354">1</cx:pt>
          <cx:pt idx="70355">1</cx:pt>
          <cx:pt idx="70356">0</cx:pt>
          <cx:pt idx="70357">0</cx:pt>
          <cx:pt idx="70358">1</cx:pt>
          <cx:pt idx="70359">1</cx:pt>
          <cx:pt idx="70360">1</cx:pt>
          <cx:pt idx="70361">1</cx:pt>
          <cx:pt idx="70362">0</cx:pt>
          <cx:pt idx="70363">1</cx:pt>
          <cx:pt idx="70364">0</cx:pt>
          <cx:pt idx="70365">0</cx:pt>
          <cx:pt idx="70366">1</cx:pt>
          <cx:pt idx="70367">0</cx:pt>
          <cx:pt idx="70368">0</cx:pt>
          <cx:pt idx="70369">1</cx:pt>
          <cx:pt idx="70370">1</cx:pt>
          <cx:pt idx="70371">1</cx:pt>
          <cx:pt idx="70372">0</cx:pt>
          <cx:pt idx="70373">1</cx:pt>
          <cx:pt idx="70374">0</cx:pt>
          <cx:pt idx="70375">0</cx:pt>
          <cx:pt idx="70376">0</cx:pt>
          <cx:pt idx="70377">0</cx:pt>
          <cx:pt idx="70378">0</cx:pt>
          <cx:pt idx="70379">0</cx:pt>
          <cx:pt idx="70380">1</cx:pt>
          <cx:pt idx="70381">0</cx:pt>
          <cx:pt idx="70382">0</cx:pt>
          <cx:pt idx="70383">0</cx:pt>
          <cx:pt idx="70384">1</cx:pt>
          <cx:pt idx="70385">0</cx:pt>
          <cx:pt idx="70386">0</cx:pt>
          <cx:pt idx="70387">0</cx:pt>
          <cx:pt idx="70388">1</cx:pt>
          <cx:pt idx="70389">0</cx:pt>
          <cx:pt idx="70390">1</cx:pt>
          <cx:pt idx="70391">0</cx:pt>
          <cx:pt idx="70392">1</cx:pt>
          <cx:pt idx="70393">0</cx:pt>
          <cx:pt idx="70394">0</cx:pt>
          <cx:pt idx="70395">0</cx:pt>
          <cx:pt idx="70396">0</cx:pt>
          <cx:pt idx="70397">0</cx:pt>
          <cx:pt idx="70398">0</cx:pt>
          <cx:pt idx="70399">0</cx:pt>
          <cx:pt idx="70400">0</cx:pt>
          <cx:pt idx="70401">1</cx:pt>
          <cx:pt idx="70402">0</cx:pt>
          <cx:pt idx="70403">0</cx:pt>
          <cx:pt idx="70404">0</cx:pt>
          <cx:pt idx="70405">0</cx:pt>
          <cx:pt idx="70406">0</cx:pt>
          <cx:pt idx="70407">1</cx:pt>
          <cx:pt idx="70408">1</cx:pt>
          <cx:pt idx="70409">0</cx:pt>
          <cx:pt idx="70410">0</cx:pt>
          <cx:pt idx="70411">1</cx:pt>
          <cx:pt idx="70412">0</cx:pt>
          <cx:pt idx="70413">0</cx:pt>
          <cx:pt idx="70414">0</cx:pt>
          <cx:pt idx="70415">1</cx:pt>
          <cx:pt idx="70416">1</cx:pt>
          <cx:pt idx="70417">0</cx:pt>
          <cx:pt idx="70418">1</cx:pt>
          <cx:pt idx="70419">0</cx:pt>
          <cx:pt idx="70420">0</cx:pt>
          <cx:pt idx="70421">1</cx:pt>
          <cx:pt idx="70422">0</cx:pt>
          <cx:pt idx="70423">0</cx:pt>
          <cx:pt idx="70424">0</cx:pt>
          <cx:pt idx="70425">0</cx:pt>
          <cx:pt idx="70426">1</cx:pt>
          <cx:pt idx="70427">1</cx:pt>
          <cx:pt idx="70428">0</cx:pt>
          <cx:pt idx="70429">1</cx:pt>
          <cx:pt idx="70430">1</cx:pt>
          <cx:pt idx="70431">0</cx:pt>
          <cx:pt idx="70432">0</cx:pt>
          <cx:pt idx="70433">1</cx:pt>
          <cx:pt idx="70434">0</cx:pt>
          <cx:pt idx="70435">0</cx:pt>
          <cx:pt idx="70436">1</cx:pt>
          <cx:pt idx="70437">1</cx:pt>
          <cx:pt idx="70438">1</cx:pt>
          <cx:pt idx="70439">0</cx:pt>
          <cx:pt idx="70440">1</cx:pt>
          <cx:pt idx="70441">1</cx:pt>
          <cx:pt idx="70442">0</cx:pt>
          <cx:pt idx="70443">0</cx:pt>
          <cx:pt idx="70444">0</cx:pt>
          <cx:pt idx="70445">1</cx:pt>
          <cx:pt idx="70446">0</cx:pt>
          <cx:pt idx="70447">1</cx:pt>
          <cx:pt idx="70448">1</cx:pt>
          <cx:pt idx="70449">0</cx:pt>
          <cx:pt idx="70450">0</cx:pt>
          <cx:pt idx="70451">1</cx:pt>
          <cx:pt idx="70452">1</cx:pt>
          <cx:pt idx="70453">0</cx:pt>
          <cx:pt idx="70454">0</cx:pt>
          <cx:pt idx="70455">1</cx:pt>
          <cx:pt idx="70456">1</cx:pt>
          <cx:pt idx="70457">0</cx:pt>
          <cx:pt idx="70458">0</cx:pt>
          <cx:pt idx="70459">1</cx:pt>
          <cx:pt idx="70460">0</cx:pt>
          <cx:pt idx="70461">1</cx:pt>
          <cx:pt idx="70462">1</cx:pt>
          <cx:pt idx="70463">0</cx:pt>
          <cx:pt idx="70464">1</cx:pt>
          <cx:pt idx="70465">0</cx:pt>
          <cx:pt idx="70466">1</cx:pt>
          <cx:pt idx="70467">1</cx:pt>
          <cx:pt idx="70468">1</cx:pt>
          <cx:pt idx="70469">0</cx:pt>
          <cx:pt idx="70470">0</cx:pt>
          <cx:pt idx="70471">0</cx:pt>
          <cx:pt idx="70472">0</cx:pt>
          <cx:pt idx="70473">1</cx:pt>
          <cx:pt idx="70474">0</cx:pt>
          <cx:pt idx="70475">1</cx:pt>
          <cx:pt idx="70476">0</cx:pt>
          <cx:pt idx="70477">0</cx:pt>
          <cx:pt idx="70478">1</cx:pt>
          <cx:pt idx="70479">1</cx:pt>
          <cx:pt idx="70480">0</cx:pt>
          <cx:pt idx="70481">1</cx:pt>
          <cx:pt idx="70482">1</cx:pt>
          <cx:pt idx="70483">0</cx:pt>
          <cx:pt idx="70484">0</cx:pt>
          <cx:pt idx="70485">0</cx:pt>
          <cx:pt idx="70486">0</cx:pt>
          <cx:pt idx="70487">1</cx:pt>
          <cx:pt idx="70488">1</cx:pt>
          <cx:pt idx="70489">0</cx:pt>
          <cx:pt idx="70490">1</cx:pt>
          <cx:pt idx="70491">1</cx:pt>
          <cx:pt idx="70492">1</cx:pt>
          <cx:pt idx="70493">1</cx:pt>
          <cx:pt idx="70494">0</cx:pt>
          <cx:pt idx="70495">0</cx:pt>
          <cx:pt idx="70496">1</cx:pt>
          <cx:pt idx="70497">0</cx:pt>
          <cx:pt idx="70498">0</cx:pt>
          <cx:pt idx="70499">0</cx:pt>
          <cx:pt idx="70500">1</cx:pt>
          <cx:pt idx="70501">0</cx:pt>
          <cx:pt idx="70502">1</cx:pt>
          <cx:pt idx="70503">0</cx:pt>
          <cx:pt idx="70504">1</cx:pt>
          <cx:pt idx="70505">0</cx:pt>
          <cx:pt idx="70506">1</cx:pt>
          <cx:pt idx="70507">0</cx:pt>
          <cx:pt idx="70508">0</cx:pt>
          <cx:pt idx="70509">1</cx:pt>
          <cx:pt idx="70510">0</cx:pt>
          <cx:pt idx="70511">0</cx:pt>
          <cx:pt idx="70512">0</cx:pt>
          <cx:pt idx="70513">0</cx:pt>
          <cx:pt idx="70514">0</cx:pt>
          <cx:pt idx="70515">0</cx:pt>
          <cx:pt idx="70516">1</cx:pt>
          <cx:pt idx="70517">0</cx:pt>
          <cx:pt idx="70518">0</cx:pt>
          <cx:pt idx="70519">1</cx:pt>
          <cx:pt idx="70520">0</cx:pt>
          <cx:pt idx="70521">0</cx:pt>
          <cx:pt idx="70522">0</cx:pt>
          <cx:pt idx="70523">1</cx:pt>
          <cx:pt idx="70524">1</cx:pt>
          <cx:pt idx="70525">0</cx:pt>
          <cx:pt idx="70526">0</cx:pt>
          <cx:pt idx="70527">0</cx:pt>
          <cx:pt idx="70528">0</cx:pt>
          <cx:pt idx="70529">1</cx:pt>
          <cx:pt idx="70530">1</cx:pt>
          <cx:pt idx="70531">0</cx:pt>
          <cx:pt idx="70532">0</cx:pt>
          <cx:pt idx="70533">1</cx:pt>
          <cx:pt idx="70534">0</cx:pt>
          <cx:pt idx="70535">1</cx:pt>
          <cx:pt idx="70536">0</cx:pt>
          <cx:pt idx="70537">1</cx:pt>
          <cx:pt idx="70538">0</cx:pt>
          <cx:pt idx="70539">1</cx:pt>
          <cx:pt idx="70540">1</cx:pt>
          <cx:pt idx="70541">1</cx:pt>
          <cx:pt idx="70542">1</cx:pt>
          <cx:pt idx="70543">1</cx:pt>
          <cx:pt idx="70544">0</cx:pt>
          <cx:pt idx="70545">0</cx:pt>
          <cx:pt idx="70546">0</cx:pt>
          <cx:pt idx="70547">0</cx:pt>
          <cx:pt idx="70548">1</cx:pt>
          <cx:pt idx="70549">1</cx:pt>
          <cx:pt idx="70550">1</cx:pt>
          <cx:pt idx="70551">0</cx:pt>
          <cx:pt idx="70552">0</cx:pt>
          <cx:pt idx="70553">1</cx:pt>
          <cx:pt idx="70554">1</cx:pt>
          <cx:pt idx="70555">0</cx:pt>
          <cx:pt idx="70556">0</cx:pt>
          <cx:pt idx="70557">0</cx:pt>
          <cx:pt idx="70558">1</cx:pt>
          <cx:pt idx="70559">0</cx:pt>
          <cx:pt idx="70560">1</cx:pt>
          <cx:pt idx="70561">0</cx:pt>
          <cx:pt idx="70562">0</cx:pt>
          <cx:pt idx="70563">0</cx:pt>
          <cx:pt idx="70564">0</cx:pt>
          <cx:pt idx="70565">0</cx:pt>
          <cx:pt idx="70566">0</cx:pt>
          <cx:pt idx="70567">1</cx:pt>
          <cx:pt idx="70568">1</cx:pt>
          <cx:pt idx="70569">0</cx:pt>
          <cx:pt idx="70570">0</cx:pt>
          <cx:pt idx="70571">0</cx:pt>
          <cx:pt idx="70572">1</cx:pt>
          <cx:pt idx="70573">1</cx:pt>
          <cx:pt idx="70574">0</cx:pt>
          <cx:pt idx="70575">1</cx:pt>
          <cx:pt idx="70576">1</cx:pt>
          <cx:pt idx="70577">1</cx:pt>
          <cx:pt idx="70578">0</cx:pt>
          <cx:pt idx="70579">0</cx:pt>
          <cx:pt idx="70580">1</cx:pt>
          <cx:pt idx="70581">0</cx:pt>
          <cx:pt idx="70582">0</cx:pt>
          <cx:pt idx="70583">1</cx:pt>
          <cx:pt idx="70584">1</cx:pt>
          <cx:pt idx="70585">0</cx:pt>
          <cx:pt idx="70586">0</cx:pt>
          <cx:pt idx="70587">0</cx:pt>
          <cx:pt idx="70588">0</cx:pt>
          <cx:pt idx="70589">1</cx:pt>
          <cx:pt idx="70590">0</cx:pt>
          <cx:pt idx="70591">0</cx:pt>
          <cx:pt idx="70592">1</cx:pt>
          <cx:pt idx="70593">1</cx:pt>
          <cx:pt idx="70594">1</cx:pt>
          <cx:pt idx="70595">1</cx:pt>
          <cx:pt idx="70596">0</cx:pt>
          <cx:pt idx="70597">0</cx:pt>
          <cx:pt idx="70598">0</cx:pt>
          <cx:pt idx="70599">1</cx:pt>
          <cx:pt idx="70600">0</cx:pt>
          <cx:pt idx="70601">1</cx:pt>
          <cx:pt idx="70602">1</cx:pt>
          <cx:pt idx="70603">1</cx:pt>
          <cx:pt idx="70604">0</cx:pt>
          <cx:pt idx="70605">1</cx:pt>
          <cx:pt idx="70606">0</cx:pt>
          <cx:pt idx="70607">1</cx:pt>
          <cx:pt idx="70608">0</cx:pt>
          <cx:pt idx="70609">0</cx:pt>
          <cx:pt idx="70610">1</cx:pt>
          <cx:pt idx="70611">1</cx:pt>
          <cx:pt idx="70612">1</cx:pt>
          <cx:pt idx="70613">0</cx:pt>
          <cx:pt idx="70614">0</cx:pt>
          <cx:pt idx="70615">0</cx:pt>
          <cx:pt idx="70616">0</cx:pt>
          <cx:pt idx="70617">1</cx:pt>
          <cx:pt idx="70618">1</cx:pt>
          <cx:pt idx="70619">0</cx:pt>
          <cx:pt idx="70620">1</cx:pt>
          <cx:pt idx="70621">0</cx:pt>
          <cx:pt idx="70622">0</cx:pt>
          <cx:pt idx="70623">1</cx:pt>
          <cx:pt idx="70624">0</cx:pt>
          <cx:pt idx="70625">0</cx:pt>
          <cx:pt idx="70626">1</cx:pt>
          <cx:pt idx="70627">1</cx:pt>
          <cx:pt idx="70628">0</cx:pt>
          <cx:pt idx="70629">0</cx:pt>
          <cx:pt idx="70630">1</cx:pt>
          <cx:pt idx="70631">1</cx:pt>
          <cx:pt idx="70632">1</cx:pt>
          <cx:pt idx="70633">0</cx:pt>
          <cx:pt idx="70634">0</cx:pt>
          <cx:pt idx="70635">1</cx:pt>
          <cx:pt idx="70636">0</cx:pt>
          <cx:pt idx="70637">1</cx:pt>
          <cx:pt idx="70638">0</cx:pt>
          <cx:pt idx="70639">0</cx:pt>
          <cx:pt idx="70640">0</cx:pt>
          <cx:pt idx="70641">1</cx:pt>
          <cx:pt idx="70642">1</cx:pt>
          <cx:pt idx="70643">1</cx:pt>
          <cx:pt idx="70644">1</cx:pt>
          <cx:pt idx="70645">0</cx:pt>
          <cx:pt idx="70646">1</cx:pt>
          <cx:pt idx="70647">0</cx:pt>
          <cx:pt idx="70648">1</cx:pt>
          <cx:pt idx="70649">0</cx:pt>
          <cx:pt idx="70650">0</cx:pt>
          <cx:pt idx="70651">0</cx:pt>
          <cx:pt idx="70652">0</cx:pt>
          <cx:pt idx="70653">1</cx:pt>
          <cx:pt idx="70654">0</cx:pt>
          <cx:pt idx="70655">1</cx:pt>
          <cx:pt idx="70656">1</cx:pt>
          <cx:pt idx="70657">0</cx:pt>
          <cx:pt idx="70658">0</cx:pt>
          <cx:pt idx="70659">1</cx:pt>
          <cx:pt idx="70660">0</cx:pt>
          <cx:pt idx="70661">1</cx:pt>
          <cx:pt idx="70662">0</cx:pt>
          <cx:pt idx="70663">1</cx:pt>
          <cx:pt idx="70664">1</cx:pt>
          <cx:pt idx="70665">0</cx:pt>
          <cx:pt idx="70666">1</cx:pt>
          <cx:pt idx="70667">1</cx:pt>
          <cx:pt idx="70668">1</cx:pt>
          <cx:pt idx="70669">0</cx:pt>
          <cx:pt idx="70670">0</cx:pt>
          <cx:pt idx="70671">0</cx:pt>
          <cx:pt idx="70672">0</cx:pt>
          <cx:pt idx="70673">1</cx:pt>
          <cx:pt idx="70674">1</cx:pt>
          <cx:pt idx="70675">0</cx:pt>
          <cx:pt idx="70676">1</cx:pt>
          <cx:pt idx="70677">0</cx:pt>
          <cx:pt idx="70678">0</cx:pt>
          <cx:pt idx="70679">0</cx:pt>
          <cx:pt idx="70680">1</cx:pt>
          <cx:pt idx="70681">1</cx:pt>
          <cx:pt idx="70682">0</cx:pt>
          <cx:pt idx="70683">0</cx:pt>
          <cx:pt idx="70684">0</cx:pt>
          <cx:pt idx="70685">1</cx:pt>
          <cx:pt idx="70686">0</cx:pt>
          <cx:pt idx="70687">0</cx:pt>
          <cx:pt idx="70688">1</cx:pt>
          <cx:pt idx="70689">1</cx:pt>
          <cx:pt idx="70690">0</cx:pt>
          <cx:pt idx="70691">1</cx:pt>
          <cx:pt idx="70692">0</cx:pt>
          <cx:pt idx="70693">1</cx:pt>
          <cx:pt idx="70694">0</cx:pt>
          <cx:pt idx="70695">0</cx:pt>
          <cx:pt idx="70696">1</cx:pt>
          <cx:pt idx="70697">0</cx:pt>
          <cx:pt idx="70698">0</cx:pt>
          <cx:pt idx="70699">0</cx:pt>
          <cx:pt idx="70700">1</cx:pt>
          <cx:pt idx="70701">1</cx:pt>
          <cx:pt idx="70702">0</cx:pt>
          <cx:pt idx="70703">0</cx:pt>
          <cx:pt idx="70704">0</cx:pt>
          <cx:pt idx="70705">0</cx:pt>
          <cx:pt idx="70706">0</cx:pt>
          <cx:pt idx="70707">1</cx:pt>
          <cx:pt idx="70708">1</cx:pt>
          <cx:pt idx="70709">1</cx:pt>
          <cx:pt idx="70710">1</cx:pt>
          <cx:pt idx="70711">0</cx:pt>
          <cx:pt idx="70712">1</cx:pt>
          <cx:pt idx="70713">0</cx:pt>
          <cx:pt idx="70714">0</cx:pt>
          <cx:pt idx="70715">1</cx:pt>
          <cx:pt idx="70716">0</cx:pt>
          <cx:pt idx="70717">0</cx:pt>
          <cx:pt idx="70718">0</cx:pt>
          <cx:pt idx="70719">1</cx:pt>
          <cx:pt idx="70720">0</cx:pt>
          <cx:pt idx="70721">0</cx:pt>
          <cx:pt idx="70722">0</cx:pt>
          <cx:pt idx="70723">1</cx:pt>
          <cx:pt idx="70724">1</cx:pt>
          <cx:pt idx="70725">0</cx:pt>
          <cx:pt idx="70726">0</cx:pt>
          <cx:pt idx="70727">1</cx:pt>
          <cx:pt idx="70728">0</cx:pt>
          <cx:pt idx="70729">0</cx:pt>
          <cx:pt idx="70730">0</cx:pt>
          <cx:pt idx="70731">1</cx:pt>
          <cx:pt idx="70732">0</cx:pt>
          <cx:pt idx="70733">1</cx:pt>
          <cx:pt idx="70734">0</cx:pt>
          <cx:pt idx="70735">1</cx:pt>
          <cx:pt idx="70736">0</cx:pt>
          <cx:pt idx="70737">1</cx:pt>
          <cx:pt idx="70738">0</cx:pt>
          <cx:pt idx="70739">0</cx:pt>
          <cx:pt idx="70740">0</cx:pt>
          <cx:pt idx="70741">0</cx:pt>
          <cx:pt idx="70742">0</cx:pt>
          <cx:pt idx="70743">1</cx:pt>
          <cx:pt idx="70744">1</cx:pt>
          <cx:pt idx="70745">1</cx:pt>
          <cx:pt idx="70746">1</cx:pt>
          <cx:pt idx="70747">0</cx:pt>
          <cx:pt idx="70748">0</cx:pt>
          <cx:pt idx="70749">0</cx:pt>
          <cx:pt idx="70750">0</cx:pt>
          <cx:pt idx="70751">1</cx:pt>
          <cx:pt idx="70752">0</cx:pt>
          <cx:pt idx="70753">1</cx:pt>
          <cx:pt idx="70754">1</cx:pt>
          <cx:pt idx="70755">0</cx:pt>
          <cx:pt idx="70756">1</cx:pt>
          <cx:pt idx="70757">0</cx:pt>
          <cx:pt idx="70758">1</cx:pt>
          <cx:pt idx="70759">1</cx:pt>
          <cx:pt idx="70760">0</cx:pt>
          <cx:pt idx="70761">0</cx:pt>
          <cx:pt idx="70762">0</cx:pt>
          <cx:pt idx="70763">1</cx:pt>
          <cx:pt idx="70764">1</cx:pt>
          <cx:pt idx="70765">1</cx:pt>
          <cx:pt idx="70766">1</cx:pt>
          <cx:pt idx="70767">1</cx:pt>
          <cx:pt idx="70768">0</cx:pt>
          <cx:pt idx="70769">1</cx:pt>
          <cx:pt idx="70770">0</cx:pt>
          <cx:pt idx="70771">0</cx:pt>
          <cx:pt idx="70772">0</cx:pt>
          <cx:pt idx="70773">0</cx:pt>
          <cx:pt idx="70774">1</cx:pt>
          <cx:pt idx="70775">0</cx:pt>
          <cx:pt idx="70776">1</cx:pt>
          <cx:pt idx="70777">0</cx:pt>
          <cx:pt idx="70778">0</cx:pt>
          <cx:pt idx="70779">1</cx:pt>
          <cx:pt idx="70780">1</cx:pt>
          <cx:pt idx="70781">0</cx:pt>
          <cx:pt idx="70782">1</cx:pt>
          <cx:pt idx="70783">0</cx:pt>
          <cx:pt idx="70784">1</cx:pt>
          <cx:pt idx="70785">0</cx:pt>
          <cx:pt idx="70786">1</cx:pt>
          <cx:pt idx="70787">0</cx:pt>
          <cx:pt idx="70788">1</cx:pt>
          <cx:pt idx="70789">0</cx:pt>
          <cx:pt idx="70790">1</cx:pt>
          <cx:pt idx="70791">0</cx:pt>
          <cx:pt idx="70792">0</cx:pt>
          <cx:pt idx="70793">1</cx:pt>
          <cx:pt idx="70794">0</cx:pt>
          <cx:pt idx="70795">1</cx:pt>
          <cx:pt idx="70796">0</cx:pt>
          <cx:pt idx="70797">0</cx:pt>
          <cx:pt idx="70798">0</cx:pt>
          <cx:pt idx="70799">0</cx:pt>
          <cx:pt idx="70800">1</cx:pt>
          <cx:pt idx="70801">1</cx:pt>
          <cx:pt idx="70802">0</cx:pt>
          <cx:pt idx="70803">0</cx:pt>
          <cx:pt idx="70804">0</cx:pt>
          <cx:pt idx="70805">0</cx:pt>
          <cx:pt idx="70806">0</cx:pt>
          <cx:pt idx="70807">0</cx:pt>
          <cx:pt idx="70808">0</cx:pt>
          <cx:pt idx="70809">1</cx:pt>
          <cx:pt idx="70810">0</cx:pt>
          <cx:pt idx="70811">1</cx:pt>
          <cx:pt idx="70812">0</cx:pt>
          <cx:pt idx="70813">1</cx:pt>
          <cx:pt idx="70814">1</cx:pt>
          <cx:pt idx="70815">1</cx:pt>
          <cx:pt idx="70816">0</cx:pt>
          <cx:pt idx="70817">0</cx:pt>
          <cx:pt idx="70818">1</cx:pt>
          <cx:pt idx="70819">1</cx:pt>
          <cx:pt idx="70820">0</cx:pt>
          <cx:pt idx="70821">0</cx:pt>
          <cx:pt idx="70822">1</cx:pt>
          <cx:pt idx="70823">0</cx:pt>
          <cx:pt idx="70824">1</cx:pt>
          <cx:pt idx="70825">1</cx:pt>
          <cx:pt idx="70826">0</cx:pt>
          <cx:pt idx="70827">0</cx:pt>
          <cx:pt idx="70828">0</cx:pt>
          <cx:pt idx="70829">0</cx:pt>
          <cx:pt idx="70830">1</cx:pt>
          <cx:pt idx="70831">0</cx:pt>
          <cx:pt idx="70832">0</cx:pt>
          <cx:pt idx="70833">1</cx:pt>
          <cx:pt idx="70834">1</cx:pt>
          <cx:pt idx="70835">1</cx:pt>
          <cx:pt idx="70836">0</cx:pt>
          <cx:pt idx="70837">0</cx:pt>
          <cx:pt idx="70838">0</cx:pt>
          <cx:pt idx="70839">0</cx:pt>
          <cx:pt idx="70840">0</cx:pt>
          <cx:pt idx="70841">1</cx:pt>
          <cx:pt idx="70842">1</cx:pt>
          <cx:pt idx="70843">1</cx:pt>
          <cx:pt idx="70844">0</cx:pt>
          <cx:pt idx="70845">0</cx:pt>
          <cx:pt idx="70846">1</cx:pt>
          <cx:pt idx="70847">0</cx:pt>
          <cx:pt idx="70848">1</cx:pt>
          <cx:pt idx="70849">0</cx:pt>
          <cx:pt idx="70850">1</cx:pt>
          <cx:pt idx="70851">0</cx:pt>
          <cx:pt idx="70852">0</cx:pt>
          <cx:pt idx="70853">1</cx:pt>
          <cx:pt idx="70854">0</cx:pt>
          <cx:pt idx="70855">0</cx:pt>
          <cx:pt idx="70856">0</cx:pt>
          <cx:pt idx="70857">0</cx:pt>
          <cx:pt idx="70858">0</cx:pt>
          <cx:pt idx="70859">1</cx:pt>
          <cx:pt idx="70860">0</cx:pt>
          <cx:pt idx="70861">0</cx:pt>
          <cx:pt idx="70862">0</cx:pt>
          <cx:pt idx="70863">1</cx:pt>
          <cx:pt idx="70864">0</cx:pt>
          <cx:pt idx="70865">0</cx:pt>
          <cx:pt idx="70866">1</cx:pt>
          <cx:pt idx="70867">1</cx:pt>
          <cx:pt idx="70868">1</cx:pt>
          <cx:pt idx="70869">0</cx:pt>
          <cx:pt idx="70870">1</cx:pt>
          <cx:pt idx="70871">1</cx:pt>
          <cx:pt idx="70872">1</cx:pt>
          <cx:pt idx="70873">0</cx:pt>
          <cx:pt idx="70874">0</cx:pt>
          <cx:pt idx="70875">0</cx:pt>
          <cx:pt idx="70876">0</cx:pt>
          <cx:pt idx="70877">0</cx:pt>
          <cx:pt idx="70878">1</cx:pt>
          <cx:pt idx="70879">1</cx:pt>
          <cx:pt idx="70880">0</cx:pt>
          <cx:pt idx="70881">0</cx:pt>
          <cx:pt idx="70882">0</cx:pt>
          <cx:pt idx="70883">1</cx:pt>
          <cx:pt idx="70884">1</cx:pt>
          <cx:pt idx="70885">1</cx:pt>
          <cx:pt idx="70886">0</cx:pt>
          <cx:pt idx="70887">1</cx:pt>
          <cx:pt idx="70888">0</cx:pt>
          <cx:pt idx="70889">1</cx:pt>
          <cx:pt idx="70890">1</cx:pt>
          <cx:pt idx="70891">0</cx:pt>
          <cx:pt idx="70892">0</cx:pt>
          <cx:pt idx="70893">1</cx:pt>
          <cx:pt idx="70894">0</cx:pt>
          <cx:pt idx="70895">0</cx:pt>
          <cx:pt idx="70896">0</cx:pt>
          <cx:pt idx="70897">1</cx:pt>
          <cx:pt idx="70898">0</cx:pt>
          <cx:pt idx="70899">0</cx:pt>
          <cx:pt idx="70900">0</cx:pt>
          <cx:pt idx="70901">1</cx:pt>
          <cx:pt idx="70902">0</cx:pt>
          <cx:pt idx="70903">1</cx:pt>
          <cx:pt idx="70904">1</cx:pt>
          <cx:pt idx="70905">0</cx:pt>
          <cx:pt idx="70906">0</cx:pt>
          <cx:pt idx="70907">1</cx:pt>
          <cx:pt idx="70908">0</cx:pt>
          <cx:pt idx="70909">0</cx:pt>
          <cx:pt idx="70910">0</cx:pt>
          <cx:pt idx="70911">0</cx:pt>
          <cx:pt idx="70912">0</cx:pt>
          <cx:pt idx="70913">0</cx:pt>
          <cx:pt idx="70914">0</cx:pt>
          <cx:pt idx="70915">0</cx:pt>
          <cx:pt idx="70916">0</cx:pt>
          <cx:pt idx="70917">0</cx:pt>
          <cx:pt idx="70918">0</cx:pt>
          <cx:pt idx="70919">0</cx:pt>
          <cx:pt idx="70920">0</cx:pt>
          <cx:pt idx="70921">0</cx:pt>
          <cx:pt idx="70922">0</cx:pt>
          <cx:pt idx="70923">0</cx:pt>
          <cx:pt idx="70924">1</cx:pt>
          <cx:pt idx="70925">0</cx:pt>
          <cx:pt idx="70926">1</cx:pt>
          <cx:pt idx="70927">0</cx:pt>
          <cx:pt idx="70928">1</cx:pt>
          <cx:pt idx="70929">0</cx:pt>
          <cx:pt idx="70930">0</cx:pt>
          <cx:pt idx="70931">1</cx:pt>
          <cx:pt idx="70932">0</cx:pt>
          <cx:pt idx="70933">1</cx:pt>
          <cx:pt idx="70934">1</cx:pt>
          <cx:pt idx="70935">0</cx:pt>
          <cx:pt idx="70936">0</cx:pt>
          <cx:pt idx="70937">1</cx:pt>
          <cx:pt idx="70938">1</cx:pt>
          <cx:pt idx="70939">1</cx:pt>
          <cx:pt idx="70940">1</cx:pt>
          <cx:pt idx="70941">1</cx:pt>
          <cx:pt idx="70942">0</cx:pt>
          <cx:pt idx="70943">0</cx:pt>
          <cx:pt idx="70944">1</cx:pt>
          <cx:pt idx="70945">0</cx:pt>
          <cx:pt idx="70946">0</cx:pt>
          <cx:pt idx="70947">1</cx:pt>
          <cx:pt idx="70948">0</cx:pt>
          <cx:pt idx="70949">1</cx:pt>
          <cx:pt idx="70950">0</cx:pt>
          <cx:pt idx="70951">1</cx:pt>
          <cx:pt idx="70952">0</cx:pt>
          <cx:pt idx="70953">0</cx:pt>
          <cx:pt idx="70954">0</cx:pt>
          <cx:pt idx="70955">0</cx:pt>
          <cx:pt idx="70956">1</cx:pt>
          <cx:pt idx="70957">0</cx:pt>
          <cx:pt idx="70958">0</cx:pt>
          <cx:pt idx="70959">0</cx:pt>
          <cx:pt idx="70960">1</cx:pt>
          <cx:pt idx="70961">1</cx:pt>
          <cx:pt idx="70962">1</cx:pt>
          <cx:pt idx="70963">1</cx:pt>
          <cx:pt idx="70964">1</cx:pt>
          <cx:pt idx="70965">1</cx:pt>
          <cx:pt idx="70966">1</cx:pt>
          <cx:pt idx="70967">0</cx:pt>
          <cx:pt idx="70968">1</cx:pt>
          <cx:pt idx="70969">0</cx:pt>
          <cx:pt idx="70970">1</cx:pt>
          <cx:pt idx="70971">0</cx:pt>
          <cx:pt idx="70972">1</cx:pt>
          <cx:pt idx="70973">1</cx:pt>
          <cx:pt idx="70974">0</cx:pt>
          <cx:pt idx="70975">0</cx:pt>
          <cx:pt idx="70976">0</cx:pt>
          <cx:pt idx="70977">0</cx:pt>
          <cx:pt idx="70978">1</cx:pt>
          <cx:pt idx="70979">1</cx:pt>
          <cx:pt idx="70980">0</cx:pt>
          <cx:pt idx="70981">1</cx:pt>
          <cx:pt idx="70982">1</cx:pt>
          <cx:pt idx="70983">0</cx:pt>
          <cx:pt idx="70984">1</cx:pt>
          <cx:pt idx="70985">0</cx:pt>
          <cx:pt idx="70986">0</cx:pt>
          <cx:pt idx="70987">0</cx:pt>
          <cx:pt idx="70988">0</cx:pt>
          <cx:pt idx="70989">0</cx:pt>
          <cx:pt idx="70990">1</cx:pt>
          <cx:pt idx="70991">1</cx:pt>
          <cx:pt idx="70992">0</cx:pt>
          <cx:pt idx="70993">1</cx:pt>
          <cx:pt idx="70994">0</cx:pt>
          <cx:pt idx="70995">0</cx:pt>
          <cx:pt idx="70996">0</cx:pt>
          <cx:pt idx="70997">1</cx:pt>
          <cx:pt idx="70998">1</cx:pt>
          <cx:pt idx="70999">0</cx:pt>
          <cx:pt idx="71000">1</cx:pt>
          <cx:pt idx="71001">1</cx:pt>
          <cx:pt idx="71002">0</cx:pt>
          <cx:pt idx="71003">1</cx:pt>
          <cx:pt idx="71004">1</cx:pt>
          <cx:pt idx="71005">1</cx:pt>
          <cx:pt idx="71006">1</cx:pt>
          <cx:pt idx="71007">1</cx:pt>
          <cx:pt idx="71008">0</cx:pt>
          <cx:pt idx="71009">1</cx:pt>
          <cx:pt idx="71010">0</cx:pt>
          <cx:pt idx="71011">1</cx:pt>
          <cx:pt idx="71012">1</cx:pt>
          <cx:pt idx="71013">1</cx:pt>
          <cx:pt idx="71014">0</cx:pt>
          <cx:pt idx="71015">0</cx:pt>
          <cx:pt idx="71016">0</cx:pt>
          <cx:pt idx="71017">1</cx:pt>
          <cx:pt idx="71018">0</cx:pt>
          <cx:pt idx="71019">0</cx:pt>
          <cx:pt idx="71020">1</cx:pt>
          <cx:pt idx="71021">0</cx:pt>
          <cx:pt idx="71022">1</cx:pt>
          <cx:pt idx="71023">1</cx:pt>
          <cx:pt idx="71024">0</cx:pt>
          <cx:pt idx="71025">1</cx:pt>
          <cx:pt idx="71026">1</cx:pt>
          <cx:pt idx="71027">1</cx:pt>
          <cx:pt idx="71028">1</cx:pt>
          <cx:pt idx="71029">0</cx:pt>
          <cx:pt idx="71030">1</cx:pt>
          <cx:pt idx="71031">0</cx:pt>
          <cx:pt idx="71032">1</cx:pt>
          <cx:pt idx="71033">0</cx:pt>
          <cx:pt idx="71034">1</cx:pt>
          <cx:pt idx="71035">0</cx:pt>
          <cx:pt idx="71036">0</cx:pt>
          <cx:pt idx="71037">0</cx:pt>
          <cx:pt idx="71038">0</cx:pt>
          <cx:pt idx="71039">1</cx:pt>
          <cx:pt idx="71040">0</cx:pt>
          <cx:pt idx="71041">1</cx:pt>
          <cx:pt idx="71042">1</cx:pt>
          <cx:pt idx="71043">0</cx:pt>
          <cx:pt idx="71044">0</cx:pt>
          <cx:pt idx="71045">1</cx:pt>
          <cx:pt idx="71046">0</cx:pt>
          <cx:pt idx="71047">1</cx:pt>
          <cx:pt idx="71048">1</cx:pt>
          <cx:pt idx="71049">0</cx:pt>
          <cx:pt idx="71050">1</cx:pt>
          <cx:pt idx="71051">1</cx:pt>
          <cx:pt idx="71052">1</cx:pt>
          <cx:pt idx="71053">1</cx:pt>
          <cx:pt idx="71054">0</cx:pt>
          <cx:pt idx="71055">0</cx:pt>
          <cx:pt idx="71056">0</cx:pt>
          <cx:pt idx="71057">0</cx:pt>
          <cx:pt idx="71058">0</cx:pt>
          <cx:pt idx="71059">0</cx:pt>
          <cx:pt idx="71060">0</cx:pt>
          <cx:pt idx="71061">1</cx:pt>
          <cx:pt idx="71062">1</cx:pt>
          <cx:pt idx="71063">0</cx:pt>
          <cx:pt idx="71064">0</cx:pt>
          <cx:pt idx="71065">1</cx:pt>
          <cx:pt idx="71066">0</cx:pt>
          <cx:pt idx="71067">0</cx:pt>
          <cx:pt idx="71068">1</cx:pt>
          <cx:pt idx="71069">0</cx:pt>
          <cx:pt idx="71070">0</cx:pt>
          <cx:pt idx="71071">1</cx:pt>
          <cx:pt idx="71072">1</cx:pt>
          <cx:pt idx="71073">1</cx:pt>
          <cx:pt idx="71074">0</cx:pt>
          <cx:pt idx="71075">0</cx:pt>
          <cx:pt idx="71076">1</cx:pt>
          <cx:pt idx="71077">0</cx:pt>
          <cx:pt idx="71078">0</cx:pt>
          <cx:pt idx="71079">1</cx:pt>
          <cx:pt idx="71080">0</cx:pt>
          <cx:pt idx="71081">0</cx:pt>
          <cx:pt idx="71082">1</cx:pt>
          <cx:pt idx="71083">1</cx:pt>
          <cx:pt idx="71084">0</cx:pt>
          <cx:pt idx="71085">1</cx:pt>
          <cx:pt idx="71086">1</cx:pt>
          <cx:pt idx="71087">0</cx:pt>
          <cx:pt idx="71088">0</cx:pt>
          <cx:pt idx="71089">0</cx:pt>
          <cx:pt idx="71090">0</cx:pt>
          <cx:pt idx="71091">1</cx:pt>
          <cx:pt idx="71092">0</cx:pt>
          <cx:pt idx="71093">1</cx:pt>
          <cx:pt idx="71094">1</cx:pt>
          <cx:pt idx="71095">1</cx:pt>
          <cx:pt idx="71096">1</cx:pt>
          <cx:pt idx="71097">0</cx:pt>
          <cx:pt idx="71098">0</cx:pt>
          <cx:pt idx="71099">1</cx:pt>
          <cx:pt idx="71100">0</cx:pt>
          <cx:pt idx="71101">0</cx:pt>
          <cx:pt idx="71102">0</cx:pt>
          <cx:pt idx="71103">0</cx:pt>
          <cx:pt idx="71104">1</cx:pt>
          <cx:pt idx="71105">0</cx:pt>
          <cx:pt idx="71106">1</cx:pt>
          <cx:pt idx="71107">0</cx:pt>
          <cx:pt idx="71108">1</cx:pt>
          <cx:pt idx="71109">0</cx:pt>
          <cx:pt idx="71110">1</cx:pt>
          <cx:pt idx="71111">1</cx:pt>
          <cx:pt idx="71112">0</cx:pt>
          <cx:pt idx="71113">1</cx:pt>
          <cx:pt idx="71114">0</cx:pt>
          <cx:pt idx="71115">1</cx:pt>
          <cx:pt idx="71116">0</cx:pt>
          <cx:pt idx="71117">1</cx:pt>
          <cx:pt idx="71118">1</cx:pt>
          <cx:pt idx="71119">0</cx:pt>
          <cx:pt idx="71120">1</cx:pt>
          <cx:pt idx="71121">1</cx:pt>
          <cx:pt idx="71122">0</cx:pt>
          <cx:pt idx="71123">1</cx:pt>
          <cx:pt idx="71124">1</cx:pt>
          <cx:pt idx="71125">0</cx:pt>
          <cx:pt idx="71126">1</cx:pt>
          <cx:pt idx="71127">1</cx:pt>
          <cx:pt idx="71128">1</cx:pt>
          <cx:pt idx="71129">0</cx:pt>
          <cx:pt idx="71130">1</cx:pt>
          <cx:pt idx="71131">0</cx:pt>
          <cx:pt idx="71132">1</cx:pt>
          <cx:pt idx="71133">1</cx:pt>
          <cx:pt idx="71134">0</cx:pt>
          <cx:pt idx="71135">1</cx:pt>
          <cx:pt idx="71136">1</cx:pt>
          <cx:pt idx="71137">1</cx:pt>
          <cx:pt idx="71138">0</cx:pt>
          <cx:pt idx="71139">1</cx:pt>
          <cx:pt idx="71140">1</cx:pt>
          <cx:pt idx="71141">1</cx:pt>
          <cx:pt idx="71142">1</cx:pt>
          <cx:pt idx="71143">1</cx:pt>
          <cx:pt idx="71144">1</cx:pt>
          <cx:pt idx="71145">1</cx:pt>
          <cx:pt idx="71146">0</cx:pt>
          <cx:pt idx="71147">0</cx:pt>
          <cx:pt idx="71148">1</cx:pt>
          <cx:pt idx="71149">0</cx:pt>
          <cx:pt idx="71150">1</cx:pt>
          <cx:pt idx="71151">1</cx:pt>
          <cx:pt idx="71152">0</cx:pt>
          <cx:pt idx="71153">0</cx:pt>
          <cx:pt idx="71154">1</cx:pt>
          <cx:pt idx="71155">1</cx:pt>
          <cx:pt idx="71156">1</cx:pt>
          <cx:pt idx="71157">0</cx:pt>
          <cx:pt idx="71158">0</cx:pt>
          <cx:pt idx="71159">0</cx:pt>
          <cx:pt idx="71160">1</cx:pt>
          <cx:pt idx="71161">1</cx:pt>
          <cx:pt idx="71162">1</cx:pt>
          <cx:pt idx="71163">0</cx:pt>
          <cx:pt idx="71164">1</cx:pt>
          <cx:pt idx="71165">0</cx:pt>
          <cx:pt idx="71166">0</cx:pt>
          <cx:pt idx="71167">0</cx:pt>
          <cx:pt idx="71168">1</cx:pt>
          <cx:pt idx="71169">1</cx:pt>
          <cx:pt idx="71170">0</cx:pt>
          <cx:pt idx="71171">1</cx:pt>
          <cx:pt idx="71172">1</cx:pt>
          <cx:pt idx="71173">0</cx:pt>
          <cx:pt idx="71174">1</cx:pt>
          <cx:pt idx="71175">0</cx:pt>
          <cx:pt idx="71176">0</cx:pt>
          <cx:pt idx="71177">1</cx:pt>
          <cx:pt idx="71178">1</cx:pt>
          <cx:pt idx="71179">0</cx:pt>
          <cx:pt idx="71180">0</cx:pt>
          <cx:pt idx="71181">1</cx:pt>
          <cx:pt idx="71182">0</cx:pt>
          <cx:pt idx="71183">1</cx:pt>
          <cx:pt idx="71184">1</cx:pt>
          <cx:pt idx="71185">0</cx:pt>
          <cx:pt idx="71186">1</cx:pt>
          <cx:pt idx="71187">1</cx:pt>
          <cx:pt idx="71188">1</cx:pt>
          <cx:pt idx="71189">1</cx:pt>
          <cx:pt idx="71190">1</cx:pt>
          <cx:pt idx="71191">0</cx:pt>
          <cx:pt idx="71192">0</cx:pt>
          <cx:pt idx="71193">0</cx:pt>
          <cx:pt idx="71194">1</cx:pt>
          <cx:pt idx="71195">1</cx:pt>
          <cx:pt idx="71196">1</cx:pt>
          <cx:pt idx="71197">0</cx:pt>
          <cx:pt idx="71198">0</cx:pt>
          <cx:pt idx="71199">0</cx:pt>
          <cx:pt idx="71200">1</cx:pt>
          <cx:pt idx="71201">0</cx:pt>
          <cx:pt idx="71202">0</cx:pt>
          <cx:pt idx="71203">1</cx:pt>
          <cx:pt idx="71204">1</cx:pt>
          <cx:pt idx="71205">0</cx:pt>
          <cx:pt idx="71206">1</cx:pt>
          <cx:pt idx="71207">1</cx:pt>
          <cx:pt idx="71208">1</cx:pt>
          <cx:pt idx="71209">1</cx:pt>
          <cx:pt idx="71210">0</cx:pt>
          <cx:pt idx="71211">1</cx:pt>
          <cx:pt idx="71212">0</cx:pt>
          <cx:pt idx="71213">1</cx:pt>
          <cx:pt idx="71214">0</cx:pt>
          <cx:pt idx="71215">0</cx:pt>
          <cx:pt idx="71216">0</cx:pt>
          <cx:pt idx="71217">0</cx:pt>
          <cx:pt idx="71218">1</cx:pt>
          <cx:pt idx="71219">1</cx:pt>
          <cx:pt idx="71220">1</cx:pt>
          <cx:pt idx="71221">1</cx:pt>
          <cx:pt idx="71222">0</cx:pt>
          <cx:pt idx="71223">1</cx:pt>
          <cx:pt idx="71224">1</cx:pt>
          <cx:pt idx="71225">0</cx:pt>
          <cx:pt idx="71226">0</cx:pt>
          <cx:pt idx="71227">1</cx:pt>
          <cx:pt idx="71228">0</cx:pt>
          <cx:pt idx="71229">1</cx:pt>
          <cx:pt idx="71230">0</cx:pt>
          <cx:pt idx="71231">0</cx:pt>
          <cx:pt idx="71232">0</cx:pt>
          <cx:pt idx="71233">1</cx:pt>
          <cx:pt idx="71234">1</cx:pt>
          <cx:pt idx="71235">0</cx:pt>
          <cx:pt idx="71236">0</cx:pt>
          <cx:pt idx="71237">1</cx:pt>
          <cx:pt idx="71238">1</cx:pt>
          <cx:pt idx="71239">1</cx:pt>
          <cx:pt idx="71240">1</cx:pt>
          <cx:pt idx="71241">0</cx:pt>
          <cx:pt idx="71242">0</cx:pt>
          <cx:pt idx="71243">1</cx:pt>
          <cx:pt idx="71244">0</cx:pt>
          <cx:pt idx="71245">1</cx:pt>
          <cx:pt idx="71246">1</cx:pt>
          <cx:pt idx="71247">1</cx:pt>
          <cx:pt idx="71248">1</cx:pt>
          <cx:pt idx="71249">0</cx:pt>
          <cx:pt idx="71250">1</cx:pt>
          <cx:pt idx="71251">1</cx:pt>
          <cx:pt idx="71252">0</cx:pt>
          <cx:pt idx="71253">0</cx:pt>
          <cx:pt idx="71254">1</cx:pt>
          <cx:pt idx="71255">1</cx:pt>
          <cx:pt idx="71256">0</cx:pt>
          <cx:pt idx="71257">1</cx:pt>
          <cx:pt idx="71258">1</cx:pt>
          <cx:pt idx="71259">1</cx:pt>
          <cx:pt idx="71260">1</cx:pt>
          <cx:pt idx="71261">0</cx:pt>
          <cx:pt idx="71262">1</cx:pt>
          <cx:pt idx="71263">0</cx:pt>
          <cx:pt idx="71264">0</cx:pt>
          <cx:pt idx="71265">1</cx:pt>
          <cx:pt idx="71266">1</cx:pt>
          <cx:pt idx="71267">0</cx:pt>
          <cx:pt idx="71268">1</cx:pt>
          <cx:pt idx="71269">0</cx:pt>
          <cx:pt idx="71270">0</cx:pt>
          <cx:pt idx="71271">0</cx:pt>
          <cx:pt idx="71272">0</cx:pt>
          <cx:pt idx="71273">0</cx:pt>
          <cx:pt idx="71274">1</cx:pt>
          <cx:pt idx="71275">1</cx:pt>
          <cx:pt idx="71276">0</cx:pt>
          <cx:pt idx="71277">0</cx:pt>
          <cx:pt idx="71278">1</cx:pt>
          <cx:pt idx="71279">1</cx:pt>
          <cx:pt idx="71280">1</cx:pt>
          <cx:pt idx="71281">0</cx:pt>
          <cx:pt idx="71282">0</cx:pt>
          <cx:pt idx="71283">0</cx:pt>
          <cx:pt idx="71284">0</cx:pt>
          <cx:pt idx="71285">0</cx:pt>
          <cx:pt idx="71286">1</cx:pt>
          <cx:pt idx="71287">0</cx:pt>
          <cx:pt idx="71288">0</cx:pt>
          <cx:pt idx="71289">0</cx:pt>
          <cx:pt idx="71290">1</cx:pt>
          <cx:pt idx="71291">0</cx:pt>
          <cx:pt idx="71292">1</cx:pt>
          <cx:pt idx="71293">0</cx:pt>
          <cx:pt idx="71294">1</cx:pt>
          <cx:pt idx="71295">0</cx:pt>
          <cx:pt idx="71296">1</cx:pt>
          <cx:pt idx="71297">1</cx:pt>
          <cx:pt idx="71298">0</cx:pt>
          <cx:pt idx="71299">0</cx:pt>
          <cx:pt idx="71300">0</cx:pt>
          <cx:pt idx="71301">1</cx:pt>
          <cx:pt idx="71302">0</cx:pt>
          <cx:pt idx="71303">0</cx:pt>
          <cx:pt idx="71304">0</cx:pt>
          <cx:pt idx="71305">1</cx:pt>
          <cx:pt idx="71306">1</cx:pt>
          <cx:pt idx="71307">1</cx:pt>
          <cx:pt idx="71308">1</cx:pt>
          <cx:pt idx="71309">1</cx:pt>
          <cx:pt idx="71310">0</cx:pt>
          <cx:pt idx="71311">0</cx:pt>
          <cx:pt idx="71312">0</cx:pt>
          <cx:pt idx="71313">0</cx:pt>
          <cx:pt idx="71314">1</cx:pt>
          <cx:pt idx="71315">0</cx:pt>
          <cx:pt idx="71316">0</cx:pt>
          <cx:pt idx="71317">1</cx:pt>
          <cx:pt idx="71318">1</cx:pt>
          <cx:pt idx="71319">0</cx:pt>
          <cx:pt idx="71320">1</cx:pt>
          <cx:pt idx="71321">0</cx:pt>
          <cx:pt idx="71322">1</cx:pt>
          <cx:pt idx="71323">0</cx:pt>
          <cx:pt idx="71324">0</cx:pt>
          <cx:pt idx="71325">1</cx:pt>
          <cx:pt idx="71326">0</cx:pt>
          <cx:pt idx="71327">0</cx:pt>
          <cx:pt idx="71328">0</cx:pt>
          <cx:pt idx="71329">0</cx:pt>
          <cx:pt idx="71330">0</cx:pt>
          <cx:pt idx="71331">1</cx:pt>
          <cx:pt idx="71332">0</cx:pt>
          <cx:pt idx="71333">1</cx:pt>
          <cx:pt idx="71334">1</cx:pt>
          <cx:pt idx="71335">0</cx:pt>
          <cx:pt idx="71336">1</cx:pt>
          <cx:pt idx="71337">1</cx:pt>
          <cx:pt idx="71338">0</cx:pt>
          <cx:pt idx="71339">0</cx:pt>
          <cx:pt idx="71340">0</cx:pt>
          <cx:pt idx="71341">0</cx:pt>
          <cx:pt idx="71342">1</cx:pt>
          <cx:pt idx="71343">0</cx:pt>
          <cx:pt idx="71344">1</cx:pt>
          <cx:pt idx="71345">0</cx:pt>
          <cx:pt idx="71346">0</cx:pt>
          <cx:pt idx="71347">1</cx:pt>
          <cx:pt idx="71348">0</cx:pt>
          <cx:pt idx="71349">0</cx:pt>
          <cx:pt idx="71350">0</cx:pt>
          <cx:pt idx="71351">1</cx:pt>
          <cx:pt idx="71352">0</cx:pt>
          <cx:pt idx="71353">0</cx:pt>
          <cx:pt idx="71354">1</cx:pt>
          <cx:pt idx="71355">1</cx:pt>
          <cx:pt idx="71356">1</cx:pt>
          <cx:pt idx="71357">1</cx:pt>
          <cx:pt idx="71358">1</cx:pt>
          <cx:pt idx="71359">0</cx:pt>
          <cx:pt idx="71360">0</cx:pt>
          <cx:pt idx="71361">1</cx:pt>
          <cx:pt idx="71362">1</cx:pt>
          <cx:pt idx="71363">0</cx:pt>
          <cx:pt idx="71364">0</cx:pt>
          <cx:pt idx="71365">1</cx:pt>
          <cx:pt idx="71366">1</cx:pt>
          <cx:pt idx="71367">1</cx:pt>
          <cx:pt idx="71368">1</cx:pt>
          <cx:pt idx="71369">0</cx:pt>
          <cx:pt idx="71370">0</cx:pt>
          <cx:pt idx="71371">1</cx:pt>
          <cx:pt idx="71372">1</cx:pt>
          <cx:pt idx="71373">0</cx:pt>
          <cx:pt idx="71374">0</cx:pt>
          <cx:pt idx="71375">0</cx:pt>
          <cx:pt idx="71376">0</cx:pt>
          <cx:pt idx="71377">0</cx:pt>
          <cx:pt idx="71378">0</cx:pt>
          <cx:pt idx="71379">1</cx:pt>
          <cx:pt idx="71380">0</cx:pt>
          <cx:pt idx="71381">1</cx:pt>
          <cx:pt idx="71382">1</cx:pt>
          <cx:pt idx="71383">0</cx:pt>
          <cx:pt idx="71384">1</cx:pt>
          <cx:pt idx="71385">0</cx:pt>
          <cx:pt idx="71386">0</cx:pt>
          <cx:pt idx="71387">0</cx:pt>
          <cx:pt idx="71388">1</cx:pt>
          <cx:pt idx="71389">0</cx:pt>
          <cx:pt idx="71390">1</cx:pt>
          <cx:pt idx="71391">1</cx:pt>
          <cx:pt idx="71392">0</cx:pt>
          <cx:pt idx="71393">1</cx:pt>
          <cx:pt idx="71394">0</cx:pt>
          <cx:pt idx="71395">0</cx:pt>
          <cx:pt idx="71396">0</cx:pt>
          <cx:pt idx="71397">0</cx:pt>
          <cx:pt idx="71398">1</cx:pt>
          <cx:pt idx="71399">1</cx:pt>
          <cx:pt idx="71400">1</cx:pt>
          <cx:pt idx="71401">0</cx:pt>
          <cx:pt idx="71402">1</cx:pt>
          <cx:pt idx="71403">1</cx:pt>
          <cx:pt idx="71404">1</cx:pt>
          <cx:pt idx="71405">0</cx:pt>
          <cx:pt idx="71406">0</cx:pt>
          <cx:pt idx="71407">1</cx:pt>
          <cx:pt idx="71408">0</cx:pt>
          <cx:pt idx="71409">0</cx:pt>
          <cx:pt idx="71410">0</cx:pt>
          <cx:pt idx="71411">1</cx:pt>
          <cx:pt idx="71412">1</cx:pt>
          <cx:pt idx="71413">1</cx:pt>
          <cx:pt idx="71414">0</cx:pt>
          <cx:pt idx="71415">1</cx:pt>
          <cx:pt idx="71416">0</cx:pt>
          <cx:pt idx="71417">1</cx:pt>
          <cx:pt idx="71418">1</cx:pt>
          <cx:pt idx="71419">0</cx:pt>
          <cx:pt idx="71420">0</cx:pt>
          <cx:pt idx="71421">0</cx:pt>
          <cx:pt idx="71422">0</cx:pt>
          <cx:pt idx="71423">0</cx:pt>
          <cx:pt idx="71424">1</cx:pt>
          <cx:pt idx="71425">0</cx:pt>
          <cx:pt idx="71426">1</cx:pt>
          <cx:pt idx="71427">0</cx:pt>
          <cx:pt idx="71428">1</cx:pt>
          <cx:pt idx="71429">1</cx:pt>
          <cx:pt idx="71430">1</cx:pt>
          <cx:pt idx="71431">0</cx:pt>
          <cx:pt idx="71432">0</cx:pt>
          <cx:pt idx="71433">1</cx:pt>
          <cx:pt idx="71434">0</cx:pt>
          <cx:pt idx="71435">1</cx:pt>
          <cx:pt idx="71436">0</cx:pt>
          <cx:pt idx="71437">0</cx:pt>
          <cx:pt idx="71438">1</cx:pt>
          <cx:pt idx="71439">1</cx:pt>
          <cx:pt idx="71440">0</cx:pt>
          <cx:pt idx="71441">0</cx:pt>
          <cx:pt idx="71442">0</cx:pt>
          <cx:pt idx="71443">0</cx:pt>
          <cx:pt idx="71444">0</cx:pt>
          <cx:pt idx="71445">0</cx:pt>
          <cx:pt idx="71446">0</cx:pt>
          <cx:pt idx="71447">1</cx:pt>
          <cx:pt idx="71448">1</cx:pt>
          <cx:pt idx="71449">0</cx:pt>
          <cx:pt idx="71450">0</cx:pt>
          <cx:pt idx="71451">0</cx:pt>
          <cx:pt idx="71452">0</cx:pt>
          <cx:pt idx="71453">1</cx:pt>
          <cx:pt idx="71454">1</cx:pt>
          <cx:pt idx="71455">0</cx:pt>
          <cx:pt idx="71456">0</cx:pt>
          <cx:pt idx="71457">1</cx:pt>
          <cx:pt idx="71458">0</cx:pt>
          <cx:pt idx="71459">1</cx:pt>
          <cx:pt idx="71460">0</cx:pt>
          <cx:pt idx="71461">1</cx:pt>
          <cx:pt idx="71462">1</cx:pt>
          <cx:pt idx="71463">0</cx:pt>
          <cx:pt idx="71464">0</cx:pt>
          <cx:pt idx="71465">0</cx:pt>
          <cx:pt idx="71466">1</cx:pt>
          <cx:pt idx="71467">0</cx:pt>
          <cx:pt idx="71468">1</cx:pt>
          <cx:pt idx="71469">1</cx:pt>
          <cx:pt idx="71470">1</cx:pt>
          <cx:pt idx="71471">0</cx:pt>
          <cx:pt idx="71472">1</cx:pt>
          <cx:pt idx="71473">1</cx:pt>
          <cx:pt idx="71474">0</cx:pt>
          <cx:pt idx="71475">0</cx:pt>
          <cx:pt idx="71476">0</cx:pt>
          <cx:pt idx="71477">0</cx:pt>
          <cx:pt idx="71478">1</cx:pt>
          <cx:pt idx="71479">0</cx:pt>
          <cx:pt idx="71480">1</cx:pt>
          <cx:pt idx="71481">1</cx:pt>
          <cx:pt idx="71482">1</cx:pt>
          <cx:pt idx="71483">0</cx:pt>
          <cx:pt idx="71484">1</cx:pt>
          <cx:pt idx="71485">1</cx:pt>
          <cx:pt idx="71486">1</cx:pt>
          <cx:pt idx="71487">0</cx:pt>
          <cx:pt idx="71488">0</cx:pt>
          <cx:pt idx="71489">0</cx:pt>
          <cx:pt idx="71490">1</cx:pt>
          <cx:pt idx="71491">1</cx:pt>
          <cx:pt idx="71492">1</cx:pt>
          <cx:pt idx="71493">0</cx:pt>
          <cx:pt idx="71494">1</cx:pt>
          <cx:pt idx="71495">0</cx:pt>
          <cx:pt idx="71496">1</cx:pt>
          <cx:pt idx="71497">1</cx:pt>
          <cx:pt idx="71498">0</cx:pt>
          <cx:pt idx="71499">0</cx:pt>
          <cx:pt idx="71500">0</cx:pt>
          <cx:pt idx="71501">1</cx:pt>
          <cx:pt idx="71502">0</cx:pt>
          <cx:pt idx="71503">0</cx:pt>
          <cx:pt idx="71504">0</cx:pt>
          <cx:pt idx="71505">0</cx:pt>
          <cx:pt idx="71506">1</cx:pt>
          <cx:pt idx="71507">1</cx:pt>
          <cx:pt idx="71508">1</cx:pt>
          <cx:pt idx="71509">1</cx:pt>
          <cx:pt idx="71510">1</cx:pt>
          <cx:pt idx="71511">0</cx:pt>
          <cx:pt idx="71512">0</cx:pt>
          <cx:pt idx="71513">1</cx:pt>
          <cx:pt idx="71514">0</cx:pt>
          <cx:pt idx="71515">1</cx:pt>
          <cx:pt idx="71516">0</cx:pt>
          <cx:pt idx="71517">0</cx:pt>
          <cx:pt idx="71518">1</cx:pt>
          <cx:pt idx="71519">1</cx:pt>
          <cx:pt idx="71520">0</cx:pt>
          <cx:pt idx="71521">0</cx:pt>
          <cx:pt idx="71522">0</cx:pt>
          <cx:pt idx="71523">1</cx:pt>
          <cx:pt idx="71524">0</cx:pt>
          <cx:pt idx="71525">0</cx:pt>
          <cx:pt idx="71526">0</cx:pt>
          <cx:pt idx="71527">0</cx:pt>
          <cx:pt idx="71528">1</cx:pt>
          <cx:pt idx="71529">0</cx:pt>
          <cx:pt idx="71530">0</cx:pt>
          <cx:pt idx="71531">1</cx:pt>
          <cx:pt idx="71532">0</cx:pt>
          <cx:pt idx="71533">1</cx:pt>
          <cx:pt idx="71534">0</cx:pt>
          <cx:pt idx="71535">1</cx:pt>
          <cx:pt idx="71536">1</cx:pt>
          <cx:pt idx="71537">1</cx:pt>
          <cx:pt idx="71538">0</cx:pt>
          <cx:pt idx="71539">0</cx:pt>
          <cx:pt idx="71540">1</cx:pt>
          <cx:pt idx="71541">0</cx:pt>
          <cx:pt idx="71542">0</cx:pt>
          <cx:pt idx="71543">0</cx:pt>
          <cx:pt idx="71544">1</cx:pt>
          <cx:pt idx="71545">1</cx:pt>
          <cx:pt idx="71546">1</cx:pt>
          <cx:pt idx="71547">1</cx:pt>
          <cx:pt idx="71548">0</cx:pt>
          <cx:pt idx="71549">0</cx:pt>
          <cx:pt idx="71550">0</cx:pt>
          <cx:pt idx="71551">1</cx:pt>
          <cx:pt idx="71552">1</cx:pt>
          <cx:pt idx="71553">1</cx:pt>
          <cx:pt idx="71554">1</cx:pt>
          <cx:pt idx="71555">0</cx:pt>
          <cx:pt idx="71556">1</cx:pt>
          <cx:pt idx="71557">0</cx:pt>
          <cx:pt idx="71558">0</cx:pt>
          <cx:pt idx="71559">1</cx:pt>
          <cx:pt idx="71560">1</cx:pt>
          <cx:pt idx="71561">0</cx:pt>
          <cx:pt idx="71562">0</cx:pt>
          <cx:pt idx="71563">0</cx:pt>
          <cx:pt idx="71564">0</cx:pt>
          <cx:pt idx="71565">1</cx:pt>
          <cx:pt idx="71566">1</cx:pt>
          <cx:pt idx="71567">1</cx:pt>
          <cx:pt idx="71568">0</cx:pt>
          <cx:pt idx="71569">1</cx:pt>
          <cx:pt idx="71570">0</cx:pt>
          <cx:pt idx="71571">1</cx:pt>
          <cx:pt idx="71572">1</cx:pt>
          <cx:pt idx="71573">1</cx:pt>
          <cx:pt idx="71574">1</cx:pt>
          <cx:pt idx="71575">0</cx:pt>
          <cx:pt idx="71576">1</cx:pt>
          <cx:pt idx="71577">0</cx:pt>
          <cx:pt idx="71578">0</cx:pt>
          <cx:pt idx="71579">0</cx:pt>
          <cx:pt idx="71580">0</cx:pt>
          <cx:pt idx="71581">0</cx:pt>
          <cx:pt idx="71582">0</cx:pt>
          <cx:pt idx="71583">0</cx:pt>
          <cx:pt idx="71584">0</cx:pt>
          <cx:pt idx="71585">0</cx:pt>
          <cx:pt idx="71586">0</cx:pt>
          <cx:pt idx="71587">0</cx:pt>
          <cx:pt idx="71588">0</cx:pt>
          <cx:pt idx="71589">0</cx:pt>
          <cx:pt idx="71590">0</cx:pt>
          <cx:pt idx="71591">0</cx:pt>
          <cx:pt idx="71592">0</cx:pt>
          <cx:pt idx="71593">0</cx:pt>
          <cx:pt idx="71594">0</cx:pt>
          <cx:pt idx="71595">1</cx:pt>
          <cx:pt idx="71596">0</cx:pt>
          <cx:pt idx="71597">0</cx:pt>
          <cx:pt idx="71598">0</cx:pt>
          <cx:pt idx="71599">0</cx:pt>
          <cx:pt idx="71600">0</cx:pt>
          <cx:pt idx="71601">0</cx:pt>
          <cx:pt idx="71602">0</cx:pt>
          <cx:pt idx="71603">0</cx:pt>
          <cx:pt idx="71604">0</cx:pt>
          <cx:pt idx="71605">0</cx:pt>
          <cx:pt idx="71606">1</cx:pt>
          <cx:pt idx="71607">1</cx:pt>
          <cx:pt idx="71608">1</cx:pt>
          <cx:pt idx="71609">1</cx:pt>
          <cx:pt idx="71610">0</cx:pt>
          <cx:pt idx="71611">1</cx:pt>
          <cx:pt idx="71612">0</cx:pt>
          <cx:pt idx="71613">0</cx:pt>
          <cx:pt idx="71614">0</cx:pt>
          <cx:pt idx="71615">0</cx:pt>
          <cx:pt idx="71616">1</cx:pt>
          <cx:pt idx="71617">0</cx:pt>
          <cx:pt idx="71618">1</cx:pt>
          <cx:pt idx="71619">0</cx:pt>
          <cx:pt idx="71620">0</cx:pt>
          <cx:pt idx="71621">1</cx:pt>
          <cx:pt idx="71622">0</cx:pt>
          <cx:pt idx="71623">0</cx:pt>
          <cx:pt idx="71624">0</cx:pt>
          <cx:pt idx="71625">1</cx:pt>
          <cx:pt idx="71626">0</cx:pt>
          <cx:pt idx="71627">1</cx:pt>
          <cx:pt idx="71628">0</cx:pt>
          <cx:pt idx="71629">0</cx:pt>
          <cx:pt idx="71630">0</cx:pt>
          <cx:pt idx="71631">0</cx:pt>
          <cx:pt idx="71632">0</cx:pt>
          <cx:pt idx="71633">0</cx:pt>
          <cx:pt idx="71634">0</cx:pt>
          <cx:pt idx="71635">1</cx:pt>
          <cx:pt idx="71636">0</cx:pt>
          <cx:pt idx="71637">0</cx:pt>
          <cx:pt idx="71638">0</cx:pt>
          <cx:pt idx="71639">0</cx:pt>
          <cx:pt idx="71640">1</cx:pt>
          <cx:pt idx="71641">0</cx:pt>
          <cx:pt idx="71642">0</cx:pt>
          <cx:pt idx="71643">1</cx:pt>
          <cx:pt idx="71644">1</cx:pt>
          <cx:pt idx="71645">1</cx:pt>
          <cx:pt idx="71646">0</cx:pt>
          <cx:pt idx="71647">1</cx:pt>
          <cx:pt idx="71648">1</cx:pt>
          <cx:pt idx="71649">0</cx:pt>
          <cx:pt idx="71650">0</cx:pt>
          <cx:pt idx="71651">1</cx:pt>
          <cx:pt idx="71652">1</cx:pt>
          <cx:pt idx="71653">0</cx:pt>
          <cx:pt idx="71654">1</cx:pt>
          <cx:pt idx="71655">0</cx:pt>
          <cx:pt idx="71656">1</cx:pt>
          <cx:pt idx="71657">1</cx:pt>
          <cx:pt idx="71658">0</cx:pt>
          <cx:pt idx="71659">1</cx:pt>
          <cx:pt idx="71660">0</cx:pt>
          <cx:pt idx="71661">0</cx:pt>
          <cx:pt idx="71662">1</cx:pt>
          <cx:pt idx="71663">1</cx:pt>
          <cx:pt idx="71664">1</cx:pt>
          <cx:pt idx="71665">0</cx:pt>
          <cx:pt idx="71666">0</cx:pt>
          <cx:pt idx="71667">0</cx:pt>
          <cx:pt idx="71668">1</cx:pt>
          <cx:pt idx="71669">1</cx:pt>
          <cx:pt idx="71670">0</cx:pt>
          <cx:pt idx="71671">1</cx:pt>
          <cx:pt idx="71672">1</cx:pt>
          <cx:pt idx="71673">1</cx:pt>
          <cx:pt idx="71674">0</cx:pt>
          <cx:pt idx="71675">0</cx:pt>
          <cx:pt idx="71676">1</cx:pt>
          <cx:pt idx="71677">0</cx:pt>
          <cx:pt idx="71678">0</cx:pt>
          <cx:pt idx="71679">1</cx:pt>
          <cx:pt idx="71680">0</cx:pt>
          <cx:pt idx="71681">1</cx:pt>
          <cx:pt idx="71682">1</cx:pt>
          <cx:pt idx="71683">0</cx:pt>
          <cx:pt idx="71684">0</cx:pt>
          <cx:pt idx="71685">0</cx:pt>
          <cx:pt idx="71686">0</cx:pt>
          <cx:pt idx="71687">0</cx:pt>
          <cx:pt idx="71688">0</cx:pt>
          <cx:pt idx="71689">1</cx:pt>
          <cx:pt idx="71690">1</cx:pt>
          <cx:pt idx="71691">1</cx:pt>
          <cx:pt idx="71692">0</cx:pt>
          <cx:pt idx="71693">0</cx:pt>
          <cx:pt idx="71694">0</cx:pt>
          <cx:pt idx="71695">0</cx:pt>
          <cx:pt idx="71696">0</cx:pt>
          <cx:pt idx="71697">0</cx:pt>
          <cx:pt idx="71698">0</cx:pt>
          <cx:pt idx="71699">0</cx:pt>
          <cx:pt idx="71700">0</cx:pt>
          <cx:pt idx="71701">1</cx:pt>
          <cx:pt idx="71702">1</cx:pt>
          <cx:pt idx="71703">1</cx:pt>
          <cx:pt idx="71704">1</cx:pt>
          <cx:pt idx="71705">1</cx:pt>
          <cx:pt idx="71706">1</cx:pt>
          <cx:pt idx="71707">0</cx:pt>
          <cx:pt idx="71708">1</cx:pt>
          <cx:pt idx="71709">0</cx:pt>
          <cx:pt idx="71710">1</cx:pt>
          <cx:pt idx="71711">0</cx:pt>
          <cx:pt idx="71712">1</cx:pt>
          <cx:pt idx="71713">0</cx:pt>
          <cx:pt idx="71714">1</cx:pt>
          <cx:pt idx="71715">0</cx:pt>
          <cx:pt idx="71716">1</cx:pt>
          <cx:pt idx="71717">0</cx:pt>
          <cx:pt idx="71718">0</cx:pt>
          <cx:pt idx="71719">0</cx:pt>
          <cx:pt idx="71720">0</cx:pt>
          <cx:pt idx="71721">0</cx:pt>
          <cx:pt idx="71722">1</cx:pt>
          <cx:pt idx="71723">1</cx:pt>
          <cx:pt idx="71724">1</cx:pt>
          <cx:pt idx="71725">1</cx:pt>
          <cx:pt idx="71726">1</cx:pt>
          <cx:pt idx="71727">1</cx:pt>
          <cx:pt idx="71728">0</cx:pt>
          <cx:pt idx="71729">0</cx:pt>
          <cx:pt idx="71730">0</cx:pt>
          <cx:pt idx="71731">0</cx:pt>
          <cx:pt idx="71732">1</cx:pt>
          <cx:pt idx="71733">0</cx:pt>
          <cx:pt idx="71734">0</cx:pt>
          <cx:pt idx="71735">1</cx:pt>
          <cx:pt idx="71736">1</cx:pt>
          <cx:pt idx="71737">0</cx:pt>
          <cx:pt idx="71738">1</cx:pt>
          <cx:pt idx="71739">1</cx:pt>
          <cx:pt idx="71740">1</cx:pt>
          <cx:pt idx="71741">1</cx:pt>
          <cx:pt idx="71742">1</cx:pt>
          <cx:pt idx="71743">1</cx:pt>
          <cx:pt idx="71744">1</cx:pt>
          <cx:pt idx="71745">1</cx:pt>
          <cx:pt idx="71746">1</cx:pt>
          <cx:pt idx="71747">0</cx:pt>
          <cx:pt idx="71748">0</cx:pt>
          <cx:pt idx="71749">1</cx:pt>
          <cx:pt idx="71750">1</cx:pt>
          <cx:pt idx="71751">0</cx:pt>
          <cx:pt idx="71752">0</cx:pt>
          <cx:pt idx="71753">0</cx:pt>
          <cx:pt idx="71754">0</cx:pt>
          <cx:pt idx="71755">0</cx:pt>
          <cx:pt idx="71756">1</cx:pt>
          <cx:pt idx="71757">0</cx:pt>
          <cx:pt idx="71758">0</cx:pt>
          <cx:pt idx="71759">0</cx:pt>
          <cx:pt idx="71760">1</cx:pt>
          <cx:pt idx="71761">0</cx:pt>
          <cx:pt idx="71762">1</cx:pt>
          <cx:pt idx="71763">1</cx:pt>
          <cx:pt idx="71764">0</cx:pt>
          <cx:pt idx="71765">0</cx:pt>
          <cx:pt idx="71766">1</cx:pt>
          <cx:pt idx="71767">0</cx:pt>
          <cx:pt idx="71768">0</cx:pt>
          <cx:pt idx="71769">0</cx:pt>
          <cx:pt idx="71770">0</cx:pt>
          <cx:pt idx="71771">1</cx:pt>
          <cx:pt idx="71772">0</cx:pt>
          <cx:pt idx="71773">1</cx:pt>
          <cx:pt idx="71774">0</cx:pt>
          <cx:pt idx="71775">0</cx:pt>
          <cx:pt idx="71776">1</cx:pt>
          <cx:pt idx="71777">0</cx:pt>
          <cx:pt idx="71778">0</cx:pt>
          <cx:pt idx="71779">0</cx:pt>
          <cx:pt idx="71780">0</cx:pt>
          <cx:pt idx="71781">0</cx:pt>
          <cx:pt idx="71782">0</cx:pt>
          <cx:pt idx="71783">0</cx:pt>
          <cx:pt idx="71784">0</cx:pt>
          <cx:pt idx="71785">0</cx:pt>
          <cx:pt idx="71786">0</cx:pt>
          <cx:pt idx="71787">0</cx:pt>
          <cx:pt idx="71788">1</cx:pt>
          <cx:pt idx="71789">1</cx:pt>
          <cx:pt idx="71790">0</cx:pt>
          <cx:pt idx="71791">0</cx:pt>
          <cx:pt idx="71792">0</cx:pt>
          <cx:pt idx="71793">0</cx:pt>
          <cx:pt idx="71794">0</cx:pt>
          <cx:pt idx="71795">1</cx:pt>
          <cx:pt idx="71796">0</cx:pt>
          <cx:pt idx="71797">0</cx:pt>
          <cx:pt idx="71798">0</cx:pt>
          <cx:pt idx="71799">0</cx:pt>
          <cx:pt idx="71800">0</cx:pt>
          <cx:pt idx="71801">0</cx:pt>
          <cx:pt idx="71802">1</cx:pt>
          <cx:pt idx="71803">0</cx:pt>
          <cx:pt idx="71804">1</cx:pt>
          <cx:pt idx="71805">1</cx:pt>
          <cx:pt idx="71806">0</cx:pt>
          <cx:pt idx="71807">0</cx:pt>
          <cx:pt idx="71808">1</cx:pt>
          <cx:pt idx="71809">1</cx:pt>
          <cx:pt idx="71810">1</cx:pt>
          <cx:pt idx="71811">0</cx:pt>
          <cx:pt idx="71812">0</cx:pt>
          <cx:pt idx="71813">0</cx:pt>
          <cx:pt idx="71814">0</cx:pt>
          <cx:pt idx="71815">0</cx:pt>
          <cx:pt idx="71816">0</cx:pt>
          <cx:pt idx="71817">0</cx:pt>
          <cx:pt idx="71818">0</cx:pt>
          <cx:pt idx="71819">0</cx:pt>
          <cx:pt idx="71820">1</cx:pt>
          <cx:pt idx="71821">1</cx:pt>
          <cx:pt idx="71822">0</cx:pt>
          <cx:pt idx="71823">0</cx:pt>
          <cx:pt idx="71824">1</cx:pt>
          <cx:pt idx="71825">0</cx:pt>
          <cx:pt idx="71826">0</cx:pt>
          <cx:pt idx="71827">1</cx:pt>
          <cx:pt idx="71828">1</cx:pt>
          <cx:pt idx="71829">0</cx:pt>
          <cx:pt idx="71830">1</cx:pt>
          <cx:pt idx="71831">1</cx:pt>
          <cx:pt idx="71832">0</cx:pt>
          <cx:pt idx="71833">0</cx:pt>
          <cx:pt idx="71834">0</cx:pt>
          <cx:pt idx="71835">0</cx:pt>
          <cx:pt idx="71836">1</cx:pt>
          <cx:pt idx="71837">0</cx:pt>
          <cx:pt idx="71838">1</cx:pt>
          <cx:pt idx="71839">1</cx:pt>
          <cx:pt idx="71840">0</cx:pt>
          <cx:pt idx="71841">0</cx:pt>
          <cx:pt idx="71842">1</cx:pt>
          <cx:pt idx="71843">1</cx:pt>
          <cx:pt idx="71844">1</cx:pt>
          <cx:pt idx="71845">0</cx:pt>
          <cx:pt idx="71846">0</cx:pt>
          <cx:pt idx="71847">0</cx:pt>
          <cx:pt idx="71848">1</cx:pt>
          <cx:pt idx="71849">0</cx:pt>
          <cx:pt idx="71850">1</cx:pt>
          <cx:pt idx="71851">1</cx:pt>
          <cx:pt idx="71852">1</cx:pt>
          <cx:pt idx="71853">0</cx:pt>
          <cx:pt idx="71854">1</cx:pt>
          <cx:pt idx="71855">0</cx:pt>
          <cx:pt idx="71856">0</cx:pt>
          <cx:pt idx="71857">0</cx:pt>
          <cx:pt idx="71858">1</cx:pt>
          <cx:pt idx="71859">0</cx:pt>
          <cx:pt idx="71860">0</cx:pt>
          <cx:pt idx="71861">1</cx:pt>
          <cx:pt idx="71862">1</cx:pt>
          <cx:pt idx="71863">0</cx:pt>
          <cx:pt idx="71864">1</cx:pt>
          <cx:pt idx="71865">0</cx:pt>
          <cx:pt idx="71866">0</cx:pt>
          <cx:pt idx="71867">0</cx:pt>
          <cx:pt idx="71868">0</cx:pt>
          <cx:pt idx="71869">0</cx:pt>
          <cx:pt idx="71870">0</cx:pt>
          <cx:pt idx="71871">1</cx:pt>
          <cx:pt idx="71872">0</cx:pt>
          <cx:pt idx="71873">1</cx:pt>
          <cx:pt idx="71874">1</cx:pt>
          <cx:pt idx="71875">0</cx:pt>
          <cx:pt idx="71876">0</cx:pt>
          <cx:pt idx="71877">0</cx:pt>
          <cx:pt idx="71878">1</cx:pt>
          <cx:pt idx="71879">0</cx:pt>
          <cx:pt idx="71880">1</cx:pt>
          <cx:pt idx="71881">0</cx:pt>
          <cx:pt idx="71882">0</cx:pt>
          <cx:pt idx="71883">0</cx:pt>
          <cx:pt idx="71884">0</cx:pt>
          <cx:pt idx="71885">0</cx:pt>
          <cx:pt idx="71886">0</cx:pt>
          <cx:pt idx="71887">1</cx:pt>
          <cx:pt idx="71888">1</cx:pt>
          <cx:pt idx="71889">0</cx:pt>
          <cx:pt idx="71890">0</cx:pt>
          <cx:pt idx="71891">0</cx:pt>
          <cx:pt idx="71892">0</cx:pt>
          <cx:pt idx="71893">0</cx:pt>
          <cx:pt idx="71894">0</cx:pt>
          <cx:pt idx="71895">1</cx:pt>
          <cx:pt idx="71896">0</cx:pt>
          <cx:pt idx="71897">0</cx:pt>
          <cx:pt idx="71898">1</cx:pt>
          <cx:pt idx="71899">0</cx:pt>
          <cx:pt idx="71900">1</cx:pt>
          <cx:pt idx="71901">0</cx:pt>
          <cx:pt idx="71902">0</cx:pt>
          <cx:pt idx="71903">0</cx:pt>
          <cx:pt idx="71904">0</cx:pt>
          <cx:pt idx="71905">1</cx:pt>
          <cx:pt idx="71906">0</cx:pt>
          <cx:pt idx="71907">0</cx:pt>
          <cx:pt idx="71908">0</cx:pt>
          <cx:pt idx="71909">0</cx:pt>
          <cx:pt idx="71910">0</cx:pt>
          <cx:pt idx="71911">0</cx:pt>
          <cx:pt idx="71912">0</cx:pt>
          <cx:pt idx="71913">1</cx:pt>
          <cx:pt idx="71914">0</cx:pt>
          <cx:pt idx="71915">0</cx:pt>
          <cx:pt idx="71916">0</cx:pt>
          <cx:pt idx="71917">1</cx:pt>
          <cx:pt idx="71918">1</cx:pt>
          <cx:pt idx="71919">0</cx:pt>
          <cx:pt idx="71920">0</cx:pt>
          <cx:pt idx="71921">0</cx:pt>
          <cx:pt idx="71922">0</cx:pt>
          <cx:pt idx="71923">1</cx:pt>
          <cx:pt idx="71924">0</cx:pt>
          <cx:pt idx="71925">1</cx:pt>
          <cx:pt idx="71926">0</cx:pt>
          <cx:pt idx="71927">1</cx:pt>
          <cx:pt idx="71928">0</cx:pt>
          <cx:pt idx="71929">1</cx:pt>
          <cx:pt idx="71930">1</cx:pt>
          <cx:pt idx="71931">0</cx:pt>
          <cx:pt idx="71932">0</cx:pt>
          <cx:pt idx="71933">0</cx:pt>
          <cx:pt idx="71934">0</cx:pt>
          <cx:pt idx="71935">1</cx:pt>
          <cx:pt idx="71936">1</cx:pt>
          <cx:pt idx="71937">0</cx:pt>
          <cx:pt idx="71938">0</cx:pt>
          <cx:pt idx="71939">0</cx:pt>
          <cx:pt idx="71940">0</cx:pt>
          <cx:pt idx="71941">1</cx:pt>
          <cx:pt idx="71942">0</cx:pt>
          <cx:pt idx="71943">1</cx:pt>
          <cx:pt idx="71944">1</cx:pt>
          <cx:pt idx="71945">0</cx:pt>
          <cx:pt idx="71946">0</cx:pt>
          <cx:pt idx="71947">0</cx:pt>
          <cx:pt idx="71948">0</cx:pt>
          <cx:pt idx="71949">0</cx:pt>
          <cx:pt idx="71950">1</cx:pt>
          <cx:pt idx="71951">1</cx:pt>
          <cx:pt idx="71952">1</cx:pt>
          <cx:pt idx="71953">0</cx:pt>
          <cx:pt idx="71954">0</cx:pt>
          <cx:pt idx="71955">0</cx:pt>
          <cx:pt idx="71956">1</cx:pt>
          <cx:pt idx="71957">0</cx:pt>
          <cx:pt idx="71958">0</cx:pt>
          <cx:pt idx="71959">0</cx:pt>
          <cx:pt idx="71960">1</cx:pt>
          <cx:pt idx="71961">1</cx:pt>
          <cx:pt idx="71962">0</cx:pt>
          <cx:pt idx="71963">0</cx:pt>
          <cx:pt idx="71964">0</cx:pt>
          <cx:pt idx="71965">1</cx:pt>
          <cx:pt idx="71966">1</cx:pt>
          <cx:pt idx="71967">0</cx:pt>
          <cx:pt idx="71968">0</cx:pt>
          <cx:pt idx="71969">1</cx:pt>
          <cx:pt idx="71970">0</cx:pt>
          <cx:pt idx="71971">0</cx:pt>
          <cx:pt idx="71972">0</cx:pt>
          <cx:pt idx="71973">0</cx:pt>
          <cx:pt idx="71974">0</cx:pt>
          <cx:pt idx="71975">0</cx:pt>
          <cx:pt idx="71976">0</cx:pt>
          <cx:pt idx="71977">1</cx:pt>
          <cx:pt idx="71978">0</cx:pt>
          <cx:pt idx="71979">0</cx:pt>
          <cx:pt idx="71980">1</cx:pt>
          <cx:pt idx="71981">0</cx:pt>
          <cx:pt idx="71982">1</cx:pt>
          <cx:pt idx="71983">0</cx:pt>
          <cx:pt idx="71984">1</cx:pt>
          <cx:pt idx="71985">0</cx:pt>
          <cx:pt idx="71986">1</cx:pt>
          <cx:pt idx="71987">1</cx:pt>
          <cx:pt idx="71988">1</cx:pt>
          <cx:pt idx="71989">1</cx:pt>
          <cx:pt idx="71990">1</cx:pt>
          <cx:pt idx="71991">0</cx:pt>
          <cx:pt idx="71992">1</cx:pt>
          <cx:pt idx="71993">1</cx:pt>
          <cx:pt idx="71994">1</cx:pt>
          <cx:pt idx="71995">1</cx:pt>
          <cx:pt idx="71996">1</cx:pt>
          <cx:pt idx="71997">1</cx:pt>
          <cx:pt idx="71998">0</cx:pt>
          <cx:pt idx="71999">1</cx:pt>
          <cx:pt idx="72000">0</cx:pt>
          <cx:pt idx="72001">1</cx:pt>
          <cx:pt idx="72002">1</cx:pt>
          <cx:pt idx="72003">1</cx:pt>
          <cx:pt idx="72004">0</cx:pt>
          <cx:pt idx="72005">0</cx:pt>
          <cx:pt idx="72006">1</cx:pt>
          <cx:pt idx="72007">0</cx:pt>
          <cx:pt idx="72008">0</cx:pt>
          <cx:pt idx="72009">1</cx:pt>
          <cx:pt idx="72010">1</cx:pt>
          <cx:pt idx="72011">0</cx:pt>
          <cx:pt idx="72012">1</cx:pt>
          <cx:pt idx="72013">0</cx:pt>
          <cx:pt idx="72014">0</cx:pt>
          <cx:pt idx="72015">1</cx:pt>
          <cx:pt idx="72016">0</cx:pt>
          <cx:pt idx="72017">0</cx:pt>
          <cx:pt idx="72018">0</cx:pt>
          <cx:pt idx="72019">0</cx:pt>
          <cx:pt idx="72020">0</cx:pt>
          <cx:pt idx="72021">0</cx:pt>
          <cx:pt idx="72022">0</cx:pt>
          <cx:pt idx="72023">0</cx:pt>
          <cx:pt idx="72024">0</cx:pt>
          <cx:pt idx="72025">0</cx:pt>
          <cx:pt idx="72026">1</cx:pt>
          <cx:pt idx="72027">0</cx:pt>
          <cx:pt idx="72028">0</cx:pt>
          <cx:pt idx="72029">1</cx:pt>
          <cx:pt idx="72030">1</cx:pt>
          <cx:pt idx="72031">0</cx:pt>
          <cx:pt idx="72032">0</cx:pt>
          <cx:pt idx="72033">1</cx:pt>
          <cx:pt idx="72034">0</cx:pt>
          <cx:pt idx="72035">0</cx:pt>
          <cx:pt idx="72036">0</cx:pt>
          <cx:pt idx="72037">0</cx:pt>
          <cx:pt idx="72038">0</cx:pt>
          <cx:pt idx="72039">0</cx:pt>
          <cx:pt idx="72040">1</cx:pt>
          <cx:pt idx="72041">1</cx:pt>
          <cx:pt idx="72042">1</cx:pt>
          <cx:pt idx="72043">0</cx:pt>
          <cx:pt idx="72044">1</cx:pt>
          <cx:pt idx="72045">1</cx:pt>
          <cx:pt idx="72046">0</cx:pt>
          <cx:pt idx="72047">1</cx:pt>
          <cx:pt idx="72048">0</cx:pt>
          <cx:pt idx="72049">0</cx:pt>
          <cx:pt idx="72050">1</cx:pt>
          <cx:pt idx="72051">0</cx:pt>
          <cx:pt idx="72052">0</cx:pt>
          <cx:pt idx="72053">1</cx:pt>
          <cx:pt idx="72054">1</cx:pt>
          <cx:pt idx="72055">0</cx:pt>
          <cx:pt idx="72056">0</cx:pt>
          <cx:pt idx="72057">0</cx:pt>
          <cx:pt idx="72058">1</cx:pt>
          <cx:pt idx="72059">0</cx:pt>
          <cx:pt idx="72060">1</cx:pt>
          <cx:pt idx="72061">1</cx:pt>
          <cx:pt idx="72062">0</cx:pt>
          <cx:pt idx="72063">1</cx:pt>
          <cx:pt idx="72064">0</cx:pt>
          <cx:pt idx="72065">0</cx:pt>
          <cx:pt idx="72066">0</cx:pt>
          <cx:pt idx="72067">1</cx:pt>
          <cx:pt idx="72068">1</cx:pt>
          <cx:pt idx="72069">0</cx:pt>
          <cx:pt idx="72070">0</cx:pt>
          <cx:pt idx="72071">1</cx:pt>
          <cx:pt idx="72072">0</cx:pt>
          <cx:pt idx="72073">0</cx:pt>
          <cx:pt idx="72074">1</cx:pt>
          <cx:pt idx="72075">0</cx:pt>
          <cx:pt idx="72076">0</cx:pt>
          <cx:pt idx="72077">0</cx:pt>
          <cx:pt idx="72078">1</cx:pt>
          <cx:pt idx="72079">1</cx:pt>
          <cx:pt idx="72080">1</cx:pt>
          <cx:pt idx="72081">0</cx:pt>
          <cx:pt idx="72082">0</cx:pt>
          <cx:pt idx="72083">0</cx:pt>
          <cx:pt idx="72084">0</cx:pt>
          <cx:pt idx="72085">0</cx:pt>
          <cx:pt idx="72086">0</cx:pt>
          <cx:pt idx="72087">1</cx:pt>
          <cx:pt idx="72088">0</cx:pt>
          <cx:pt idx="72089">0</cx:pt>
          <cx:pt idx="72090">1</cx:pt>
          <cx:pt idx="72091">0</cx:pt>
          <cx:pt idx="72092">0</cx:pt>
          <cx:pt idx="72093">0</cx:pt>
          <cx:pt idx="72094">1</cx:pt>
          <cx:pt idx="72095">0</cx:pt>
          <cx:pt idx="72096">0</cx:pt>
          <cx:pt idx="72097">0</cx:pt>
          <cx:pt idx="72098">0</cx:pt>
          <cx:pt idx="72099">0</cx:pt>
          <cx:pt idx="72100">0</cx:pt>
          <cx:pt idx="72101">1</cx:pt>
          <cx:pt idx="72102">1</cx:pt>
          <cx:pt idx="72103">0</cx:pt>
          <cx:pt idx="72104">0</cx:pt>
          <cx:pt idx="72105">0</cx:pt>
          <cx:pt idx="72106">1</cx:pt>
          <cx:pt idx="72107">0</cx:pt>
          <cx:pt idx="72108">1</cx:pt>
          <cx:pt idx="72109">0</cx:pt>
          <cx:pt idx="72110">1</cx:pt>
          <cx:pt idx="72111">1</cx:pt>
          <cx:pt idx="72112">1</cx:pt>
          <cx:pt idx="72113">0</cx:pt>
          <cx:pt idx="72114">1</cx:pt>
          <cx:pt idx="72115">0</cx:pt>
          <cx:pt idx="72116">0</cx:pt>
          <cx:pt idx="72117">0</cx:pt>
          <cx:pt idx="72118">0</cx:pt>
          <cx:pt idx="72119">0</cx:pt>
          <cx:pt idx="72120">0</cx:pt>
          <cx:pt idx="72121">1</cx:pt>
          <cx:pt idx="72122">0</cx:pt>
          <cx:pt idx="72123">0</cx:pt>
          <cx:pt idx="72124">0</cx:pt>
          <cx:pt idx="72125">0</cx:pt>
          <cx:pt idx="72126">1</cx:pt>
          <cx:pt idx="72127">0</cx:pt>
          <cx:pt idx="72128">0</cx:pt>
          <cx:pt idx="72129">0</cx:pt>
          <cx:pt idx="72130">1</cx:pt>
          <cx:pt idx="72131">0</cx:pt>
          <cx:pt idx="72132">1</cx:pt>
          <cx:pt idx="72133">1</cx:pt>
          <cx:pt idx="72134">0</cx:pt>
          <cx:pt idx="72135">0</cx:pt>
          <cx:pt idx="72136">0</cx:pt>
          <cx:pt idx="72137">1</cx:pt>
          <cx:pt idx="72138">1</cx:pt>
          <cx:pt idx="72139">1</cx:pt>
          <cx:pt idx="72140">0</cx:pt>
          <cx:pt idx="72141">0</cx:pt>
          <cx:pt idx="72142">1</cx:pt>
          <cx:pt idx="72143">0</cx:pt>
          <cx:pt idx="72144">0</cx:pt>
          <cx:pt idx="72145">0</cx:pt>
          <cx:pt idx="72146">0</cx:pt>
          <cx:pt idx="72147">0</cx:pt>
          <cx:pt idx="72148">0</cx:pt>
          <cx:pt idx="72149">0</cx:pt>
          <cx:pt idx="72150">1</cx:pt>
          <cx:pt idx="72151">0</cx:pt>
          <cx:pt idx="72152">1</cx:pt>
          <cx:pt idx="72153">1</cx:pt>
          <cx:pt idx="72154">1</cx:pt>
          <cx:pt idx="72155">1</cx:pt>
          <cx:pt idx="72156">0</cx:pt>
          <cx:pt idx="72157">0</cx:pt>
          <cx:pt idx="72158">1</cx:pt>
          <cx:pt idx="72159">0</cx:pt>
          <cx:pt idx="72160">0</cx:pt>
          <cx:pt idx="72161">0</cx:pt>
          <cx:pt idx="72162">0</cx:pt>
          <cx:pt idx="72163">0</cx:pt>
          <cx:pt idx="72164">0</cx:pt>
          <cx:pt idx="72165">1</cx:pt>
          <cx:pt idx="72166">0</cx:pt>
          <cx:pt idx="72167">0</cx:pt>
          <cx:pt idx="72168">0</cx:pt>
          <cx:pt idx="72169">1</cx:pt>
          <cx:pt idx="72170">1</cx:pt>
          <cx:pt idx="72171">0</cx:pt>
          <cx:pt idx="72172">1</cx:pt>
          <cx:pt idx="72173">1</cx:pt>
          <cx:pt idx="72174">1</cx:pt>
          <cx:pt idx="72175">1</cx:pt>
          <cx:pt idx="72176">1</cx:pt>
          <cx:pt idx="72177">0</cx:pt>
          <cx:pt idx="72178">0</cx:pt>
          <cx:pt idx="72179">1</cx:pt>
          <cx:pt idx="72180">0</cx:pt>
          <cx:pt idx="72181">0</cx:pt>
          <cx:pt idx="72182">0</cx:pt>
          <cx:pt idx="72183">1</cx:pt>
          <cx:pt idx="72184">0</cx:pt>
          <cx:pt idx="72185">1</cx:pt>
          <cx:pt idx="72186">0</cx:pt>
          <cx:pt idx="72187">0</cx:pt>
          <cx:pt idx="72188">0</cx:pt>
          <cx:pt idx="72189">0</cx:pt>
          <cx:pt idx="72190">0</cx:pt>
          <cx:pt idx="72191">0</cx:pt>
          <cx:pt idx="72192">1</cx:pt>
          <cx:pt idx="72193">0</cx:pt>
          <cx:pt idx="72194">0</cx:pt>
          <cx:pt idx="72195">0</cx:pt>
          <cx:pt idx="72196">0</cx:pt>
          <cx:pt idx="72197">0</cx:pt>
          <cx:pt idx="72198">0</cx:pt>
          <cx:pt idx="72199">1</cx:pt>
          <cx:pt idx="72200">0</cx:pt>
          <cx:pt idx="72201">0</cx:pt>
          <cx:pt idx="72202">0</cx:pt>
          <cx:pt idx="72203">1</cx:pt>
          <cx:pt idx="72204">0</cx:pt>
          <cx:pt idx="72205">0</cx:pt>
          <cx:pt idx="72206">0</cx:pt>
          <cx:pt idx="72207">0</cx:pt>
          <cx:pt idx="72208">1</cx:pt>
          <cx:pt idx="72209">0</cx:pt>
          <cx:pt idx="72210">1</cx:pt>
          <cx:pt idx="72211">1</cx:pt>
          <cx:pt idx="72212">0</cx:pt>
          <cx:pt idx="72213">0</cx:pt>
          <cx:pt idx="72214">1</cx:pt>
          <cx:pt idx="72215">0</cx:pt>
          <cx:pt idx="72216">1</cx:pt>
          <cx:pt idx="72217">1</cx:pt>
          <cx:pt idx="72218">0</cx:pt>
          <cx:pt idx="72219">0</cx:pt>
          <cx:pt idx="72220">1</cx:pt>
          <cx:pt idx="72221">1</cx:pt>
          <cx:pt idx="72222">0</cx:pt>
          <cx:pt idx="72223">1</cx:pt>
          <cx:pt idx="72224">1</cx:pt>
          <cx:pt idx="72225">1</cx:pt>
          <cx:pt idx="72226">1</cx:pt>
          <cx:pt idx="72227">0</cx:pt>
          <cx:pt idx="72228">1</cx:pt>
          <cx:pt idx="72229">0</cx:pt>
          <cx:pt idx="72230">0</cx:pt>
          <cx:pt idx="72231">1</cx:pt>
          <cx:pt idx="72232">0</cx:pt>
          <cx:pt idx="72233">1</cx:pt>
          <cx:pt idx="72234">0</cx:pt>
          <cx:pt idx="72235">0</cx:pt>
          <cx:pt idx="72236">0</cx:pt>
          <cx:pt idx="72237">0</cx:pt>
          <cx:pt idx="72238">1</cx:pt>
          <cx:pt idx="72239">1</cx:pt>
          <cx:pt idx="72240">1</cx:pt>
          <cx:pt idx="72241">1</cx:pt>
          <cx:pt idx="72242">1</cx:pt>
          <cx:pt idx="72243">1</cx:pt>
          <cx:pt idx="72244">1</cx:pt>
          <cx:pt idx="72245">0</cx:pt>
          <cx:pt idx="72246">0</cx:pt>
          <cx:pt idx="72247">0</cx:pt>
          <cx:pt idx="72248">0</cx:pt>
          <cx:pt idx="72249">0</cx:pt>
          <cx:pt idx="72250">1</cx:pt>
          <cx:pt idx="72251">0</cx:pt>
          <cx:pt idx="72252">1</cx:pt>
          <cx:pt idx="72253">1</cx:pt>
          <cx:pt idx="72254">0</cx:pt>
          <cx:pt idx="72255">0</cx:pt>
          <cx:pt idx="72256">1</cx:pt>
          <cx:pt idx="72257">0</cx:pt>
          <cx:pt idx="72258">0</cx:pt>
          <cx:pt idx="72259">0</cx:pt>
          <cx:pt idx="72260">1</cx:pt>
          <cx:pt idx="72261">0</cx:pt>
          <cx:pt idx="72262">0</cx:pt>
          <cx:pt idx="72263">0</cx:pt>
          <cx:pt idx="72264">1</cx:pt>
          <cx:pt idx="72265">1</cx:pt>
          <cx:pt idx="72266">1</cx:pt>
          <cx:pt idx="72267">0</cx:pt>
          <cx:pt idx="72268">1</cx:pt>
          <cx:pt idx="72269">1</cx:pt>
          <cx:pt idx="72270">1</cx:pt>
          <cx:pt idx="72271">1</cx:pt>
          <cx:pt idx="72272">0</cx:pt>
          <cx:pt idx="72273">0</cx:pt>
          <cx:pt idx="72274">0</cx:pt>
          <cx:pt idx="72275">1</cx:pt>
          <cx:pt idx="72276">0</cx:pt>
          <cx:pt idx="72277">0</cx:pt>
          <cx:pt idx="72278">0</cx:pt>
          <cx:pt idx="72279">1</cx:pt>
          <cx:pt idx="72280">0</cx:pt>
          <cx:pt idx="72281">0</cx:pt>
          <cx:pt idx="72282">1</cx:pt>
          <cx:pt idx="72283">1</cx:pt>
          <cx:pt idx="72284">1</cx:pt>
          <cx:pt idx="72285">1</cx:pt>
          <cx:pt idx="72286">1</cx:pt>
          <cx:pt idx="72287">0</cx:pt>
          <cx:pt idx="72288">0</cx:pt>
          <cx:pt idx="72289">1</cx:pt>
          <cx:pt idx="72290">0</cx:pt>
          <cx:pt idx="72291">1</cx:pt>
          <cx:pt idx="72292">1</cx:pt>
          <cx:pt idx="72293">1</cx:pt>
          <cx:pt idx="72294">0</cx:pt>
          <cx:pt idx="72295">0</cx:pt>
          <cx:pt idx="72296">1</cx:pt>
          <cx:pt idx="72297">0</cx:pt>
          <cx:pt idx="72298">0</cx:pt>
          <cx:pt idx="72299">0</cx:pt>
          <cx:pt idx="72300">1</cx:pt>
          <cx:pt idx="72301">0</cx:pt>
          <cx:pt idx="72302">1</cx:pt>
          <cx:pt idx="72303">1</cx:pt>
          <cx:pt idx="72304">0</cx:pt>
          <cx:pt idx="72305">1</cx:pt>
          <cx:pt idx="72306">0</cx:pt>
          <cx:pt idx="72307">1</cx:pt>
          <cx:pt idx="72308">0</cx:pt>
          <cx:pt idx="72309">1</cx:pt>
          <cx:pt idx="72310">1</cx:pt>
          <cx:pt idx="72311">0</cx:pt>
          <cx:pt idx="72312">0</cx:pt>
          <cx:pt idx="72313">0</cx:pt>
          <cx:pt idx="72314">1</cx:pt>
          <cx:pt idx="72315">0</cx:pt>
          <cx:pt idx="72316">0</cx:pt>
          <cx:pt idx="72317">0</cx:pt>
          <cx:pt idx="72318">0</cx:pt>
          <cx:pt idx="72319">1</cx:pt>
          <cx:pt idx="72320">0</cx:pt>
          <cx:pt idx="72321">0</cx:pt>
          <cx:pt idx="72322">1</cx:pt>
          <cx:pt idx="72323">1</cx:pt>
          <cx:pt idx="72324">0</cx:pt>
          <cx:pt idx="72325">0</cx:pt>
          <cx:pt idx="72326">1</cx:pt>
          <cx:pt idx="72327">0</cx:pt>
          <cx:pt idx="72328">0</cx:pt>
          <cx:pt idx="72329">0</cx:pt>
          <cx:pt idx="72330">0</cx:pt>
          <cx:pt idx="72331">0</cx:pt>
          <cx:pt idx="72332">1</cx:pt>
          <cx:pt idx="72333">1</cx:pt>
          <cx:pt idx="72334">0</cx:pt>
          <cx:pt idx="72335">0</cx:pt>
          <cx:pt idx="72336">0</cx:pt>
          <cx:pt idx="72337">1</cx:pt>
          <cx:pt idx="72338">1</cx:pt>
          <cx:pt idx="72339">1</cx:pt>
          <cx:pt idx="72340">0</cx:pt>
          <cx:pt idx="72341">1</cx:pt>
          <cx:pt idx="72342">1</cx:pt>
          <cx:pt idx="72343">1</cx:pt>
          <cx:pt idx="72344">0</cx:pt>
          <cx:pt idx="72345">0</cx:pt>
          <cx:pt idx="72346">1</cx:pt>
          <cx:pt idx="72347">0</cx:pt>
          <cx:pt idx="72348">0</cx:pt>
          <cx:pt idx="72349">0</cx:pt>
          <cx:pt idx="72350">1</cx:pt>
          <cx:pt idx="72351">0</cx:pt>
          <cx:pt idx="72352">1</cx:pt>
          <cx:pt idx="72353">0</cx:pt>
          <cx:pt idx="72354">0</cx:pt>
          <cx:pt idx="72355">1</cx:pt>
          <cx:pt idx="72356">1</cx:pt>
          <cx:pt idx="72357">0</cx:pt>
          <cx:pt idx="72358">1</cx:pt>
          <cx:pt idx="72359">0</cx:pt>
          <cx:pt idx="72360">0</cx:pt>
          <cx:pt idx="72361">0</cx:pt>
          <cx:pt idx="72362">0</cx:pt>
          <cx:pt idx="72363">0</cx:pt>
          <cx:pt idx="72364">0</cx:pt>
          <cx:pt idx="72365">0</cx:pt>
          <cx:pt idx="72366">1</cx:pt>
          <cx:pt idx="72367">0</cx:pt>
          <cx:pt idx="72368">0</cx:pt>
          <cx:pt idx="72369">0</cx:pt>
          <cx:pt idx="72370">1</cx:pt>
          <cx:pt idx="72371">1</cx:pt>
          <cx:pt idx="72372">1</cx:pt>
          <cx:pt idx="72373">0</cx:pt>
          <cx:pt idx="72374">1</cx:pt>
          <cx:pt idx="72375">0</cx:pt>
          <cx:pt idx="72376">0</cx:pt>
          <cx:pt idx="72377">0</cx:pt>
          <cx:pt idx="72378">0</cx:pt>
          <cx:pt idx="72379">0</cx:pt>
          <cx:pt idx="72380">0</cx:pt>
          <cx:pt idx="72381">0</cx:pt>
          <cx:pt idx="72382">0</cx:pt>
          <cx:pt idx="72383">1</cx:pt>
          <cx:pt idx="72384">1</cx:pt>
          <cx:pt idx="72385">0</cx:pt>
          <cx:pt idx="72386">1</cx:pt>
          <cx:pt idx="72387">1</cx:pt>
          <cx:pt idx="72388">0</cx:pt>
          <cx:pt idx="72389">0</cx:pt>
          <cx:pt idx="72390">1</cx:pt>
          <cx:pt idx="72391">0</cx:pt>
          <cx:pt idx="72392">0</cx:pt>
          <cx:pt idx="72393">0</cx:pt>
          <cx:pt idx="72394">1</cx:pt>
          <cx:pt idx="72395">0</cx:pt>
          <cx:pt idx="72396">0</cx:pt>
          <cx:pt idx="72397">1</cx:pt>
          <cx:pt idx="72398">0</cx:pt>
          <cx:pt idx="72399">0</cx:pt>
          <cx:pt idx="72400">1</cx:pt>
          <cx:pt idx="72401">1</cx:pt>
          <cx:pt idx="72402">0</cx:pt>
          <cx:pt idx="72403">1</cx:pt>
          <cx:pt idx="72404">1</cx:pt>
          <cx:pt idx="72405">0</cx:pt>
          <cx:pt idx="72406">0</cx:pt>
          <cx:pt idx="72407">1</cx:pt>
          <cx:pt idx="72408">1</cx:pt>
          <cx:pt idx="72409">0</cx:pt>
          <cx:pt idx="72410">1</cx:pt>
          <cx:pt idx="72411">1</cx:pt>
          <cx:pt idx="72412">1</cx:pt>
          <cx:pt idx="72413">0</cx:pt>
          <cx:pt idx="72414">1</cx:pt>
          <cx:pt idx="72415">0</cx:pt>
          <cx:pt idx="72416">0</cx:pt>
          <cx:pt idx="72417">1</cx:pt>
          <cx:pt idx="72418">1</cx:pt>
          <cx:pt idx="72419">0</cx:pt>
          <cx:pt idx="72420">0</cx:pt>
          <cx:pt idx="72421">1</cx:pt>
          <cx:pt idx="72422">0</cx:pt>
          <cx:pt idx="72423">0</cx:pt>
          <cx:pt idx="72424">1</cx:pt>
          <cx:pt idx="72425">1</cx:pt>
          <cx:pt idx="72426">1</cx:pt>
          <cx:pt idx="72427">1</cx:pt>
          <cx:pt idx="72428">0</cx:pt>
          <cx:pt idx="72429">0</cx:pt>
          <cx:pt idx="72430">0</cx:pt>
          <cx:pt idx="72431">1</cx:pt>
          <cx:pt idx="72432">0</cx:pt>
          <cx:pt idx="72433">0</cx:pt>
          <cx:pt idx="72434">1</cx:pt>
          <cx:pt idx="72435">1</cx:pt>
          <cx:pt idx="72436">1</cx:pt>
          <cx:pt idx="72437">0</cx:pt>
          <cx:pt idx="72438">1</cx:pt>
          <cx:pt idx="72439">0</cx:pt>
          <cx:pt idx="72440">0</cx:pt>
          <cx:pt idx="72441">0</cx:pt>
          <cx:pt idx="72442">1</cx:pt>
          <cx:pt idx="72443">0</cx:pt>
          <cx:pt idx="72444">1</cx:pt>
          <cx:pt idx="72445">0</cx:pt>
          <cx:pt idx="72446">1</cx:pt>
          <cx:pt idx="72447">0</cx:pt>
          <cx:pt idx="72448">0</cx:pt>
          <cx:pt idx="72449">1</cx:pt>
          <cx:pt idx="72450">0</cx:pt>
          <cx:pt idx="72451">1</cx:pt>
          <cx:pt idx="72452">0</cx:pt>
          <cx:pt idx="72453">0</cx:pt>
          <cx:pt idx="72454">1</cx:pt>
          <cx:pt idx="72455">0</cx:pt>
          <cx:pt idx="72456">0</cx:pt>
          <cx:pt idx="72457">1</cx:pt>
          <cx:pt idx="72458">1</cx:pt>
          <cx:pt idx="72459">0</cx:pt>
          <cx:pt idx="72460">0</cx:pt>
          <cx:pt idx="72461">1</cx:pt>
          <cx:pt idx="72462">0</cx:pt>
          <cx:pt idx="72463">1</cx:pt>
          <cx:pt idx="72464">1</cx:pt>
          <cx:pt idx="72465">0</cx:pt>
          <cx:pt idx="72466">0</cx:pt>
          <cx:pt idx="72467">0</cx:pt>
          <cx:pt idx="72468">1</cx:pt>
          <cx:pt idx="72469">0</cx:pt>
          <cx:pt idx="72470">1</cx:pt>
          <cx:pt idx="72471">0</cx:pt>
          <cx:pt idx="72472">1</cx:pt>
          <cx:pt idx="72473">0</cx:pt>
          <cx:pt idx="72474">0</cx:pt>
          <cx:pt idx="72475">1</cx:pt>
          <cx:pt idx="72476">0</cx:pt>
          <cx:pt idx="72477">0</cx:pt>
          <cx:pt idx="72478">0</cx:pt>
          <cx:pt idx="72479">0</cx:pt>
          <cx:pt idx="72480">1</cx:pt>
          <cx:pt idx="72481">0</cx:pt>
          <cx:pt idx="72482">0</cx:pt>
          <cx:pt idx="72483">1</cx:pt>
          <cx:pt idx="72484">0</cx:pt>
          <cx:pt idx="72485">0</cx:pt>
          <cx:pt idx="72486">1</cx:pt>
          <cx:pt idx="72487">1</cx:pt>
          <cx:pt idx="72488">0</cx:pt>
          <cx:pt idx="72489">0</cx:pt>
          <cx:pt idx="72490">1</cx:pt>
          <cx:pt idx="72491">0</cx:pt>
          <cx:pt idx="72492">0</cx:pt>
          <cx:pt idx="72493">0</cx:pt>
          <cx:pt idx="72494">0</cx:pt>
          <cx:pt idx="72495">0</cx:pt>
          <cx:pt idx="72496">0</cx:pt>
          <cx:pt idx="72497">0</cx:pt>
          <cx:pt idx="72498">0</cx:pt>
          <cx:pt idx="72499">1</cx:pt>
          <cx:pt idx="72500">0</cx:pt>
          <cx:pt idx="72501">0</cx:pt>
          <cx:pt idx="72502">0</cx:pt>
          <cx:pt idx="72503">0</cx:pt>
          <cx:pt idx="72504">0</cx:pt>
          <cx:pt idx="72505">0</cx:pt>
          <cx:pt idx="72506">1</cx:pt>
          <cx:pt idx="72507">1</cx:pt>
          <cx:pt idx="72508">0</cx:pt>
          <cx:pt idx="72509">1</cx:pt>
          <cx:pt idx="72510">0</cx:pt>
          <cx:pt idx="72511">0</cx:pt>
          <cx:pt idx="72512">1</cx:pt>
          <cx:pt idx="72513">1</cx:pt>
          <cx:pt idx="72514">0</cx:pt>
          <cx:pt idx="72515">1</cx:pt>
          <cx:pt idx="72516">0</cx:pt>
          <cx:pt idx="72517">0</cx:pt>
          <cx:pt idx="72518">0</cx:pt>
          <cx:pt idx="72519">0</cx:pt>
          <cx:pt idx="72520">0</cx:pt>
          <cx:pt idx="72521">1</cx:pt>
          <cx:pt idx="72522">0</cx:pt>
          <cx:pt idx="72523">0</cx:pt>
          <cx:pt idx="72524">1</cx:pt>
          <cx:pt idx="72525">0</cx:pt>
          <cx:pt idx="72526">1</cx:pt>
          <cx:pt idx="72527">1</cx:pt>
          <cx:pt idx="72528">0</cx:pt>
          <cx:pt idx="72529">0</cx:pt>
          <cx:pt idx="72530">1</cx:pt>
          <cx:pt idx="72531">1</cx:pt>
          <cx:pt idx="72532">0</cx:pt>
          <cx:pt idx="72533">0</cx:pt>
          <cx:pt idx="72534">1</cx:pt>
          <cx:pt idx="72535">1</cx:pt>
          <cx:pt idx="72536">0</cx:pt>
          <cx:pt idx="72537">1</cx:pt>
          <cx:pt idx="72538">1</cx:pt>
          <cx:pt idx="72539">0</cx:pt>
          <cx:pt idx="72540">0</cx:pt>
          <cx:pt idx="72541">0</cx:pt>
          <cx:pt idx="72542">1</cx:pt>
          <cx:pt idx="72543">1</cx:pt>
          <cx:pt idx="72544">0</cx:pt>
          <cx:pt idx="72545">0</cx:pt>
          <cx:pt idx="72546">1</cx:pt>
          <cx:pt idx="72547">0</cx:pt>
          <cx:pt idx="72548">1</cx:pt>
          <cx:pt idx="72549">0</cx:pt>
          <cx:pt idx="72550">1</cx:pt>
          <cx:pt idx="72551">0</cx:pt>
          <cx:pt idx="72552">1</cx:pt>
          <cx:pt idx="72553">1</cx:pt>
          <cx:pt idx="72554">0</cx:pt>
          <cx:pt idx="72555">1</cx:pt>
          <cx:pt idx="72556">1</cx:pt>
          <cx:pt idx="72557">0</cx:pt>
          <cx:pt idx="72558">1</cx:pt>
          <cx:pt idx="72559">0</cx:pt>
          <cx:pt idx="72560">0</cx:pt>
          <cx:pt idx="72561">1</cx:pt>
          <cx:pt idx="72562">0</cx:pt>
          <cx:pt idx="72563">1</cx:pt>
          <cx:pt idx="72564">1</cx:pt>
          <cx:pt idx="72565">0</cx:pt>
          <cx:pt idx="72566">1</cx:pt>
          <cx:pt idx="72567">0</cx:pt>
          <cx:pt idx="72568">1</cx:pt>
          <cx:pt idx="72569">1</cx:pt>
          <cx:pt idx="72570">0</cx:pt>
          <cx:pt idx="72571">1</cx:pt>
          <cx:pt idx="72572">1</cx:pt>
          <cx:pt idx="72573">0</cx:pt>
          <cx:pt idx="72574">1</cx:pt>
          <cx:pt idx="72575">1</cx:pt>
          <cx:pt idx="72576">0</cx:pt>
          <cx:pt idx="72577">1</cx:pt>
          <cx:pt idx="72578">1</cx:pt>
          <cx:pt idx="72579">0</cx:pt>
          <cx:pt idx="72580">1</cx:pt>
          <cx:pt idx="72581">1</cx:pt>
          <cx:pt idx="72582">1</cx:pt>
          <cx:pt idx="72583">0</cx:pt>
          <cx:pt idx="72584">0</cx:pt>
          <cx:pt idx="72585">1</cx:pt>
          <cx:pt idx="72586">1</cx:pt>
          <cx:pt idx="72587">1</cx:pt>
          <cx:pt idx="72588">1</cx:pt>
          <cx:pt idx="72589">0</cx:pt>
          <cx:pt idx="72590">1</cx:pt>
          <cx:pt idx="72591">0</cx:pt>
          <cx:pt idx="72592">0</cx:pt>
          <cx:pt idx="72593">0</cx:pt>
          <cx:pt idx="72594">0</cx:pt>
          <cx:pt idx="72595">1</cx:pt>
          <cx:pt idx="72596">1</cx:pt>
          <cx:pt idx="72597">0</cx:pt>
          <cx:pt idx="72598">0</cx:pt>
          <cx:pt idx="72599">0</cx:pt>
          <cx:pt idx="72600">0</cx:pt>
          <cx:pt idx="72601">0</cx:pt>
          <cx:pt idx="72602">0</cx:pt>
          <cx:pt idx="72603">0</cx:pt>
          <cx:pt idx="72604">0</cx:pt>
          <cx:pt idx="72605">1</cx:pt>
          <cx:pt idx="72606">0</cx:pt>
          <cx:pt idx="72607">1</cx:pt>
          <cx:pt idx="72608">1</cx:pt>
          <cx:pt idx="72609">1</cx:pt>
          <cx:pt idx="72610">0</cx:pt>
          <cx:pt idx="72611">1</cx:pt>
          <cx:pt idx="72612">1</cx:pt>
          <cx:pt idx="72613">0</cx:pt>
          <cx:pt idx="72614">0</cx:pt>
          <cx:pt idx="72615">0</cx:pt>
          <cx:pt idx="72616">1</cx:pt>
          <cx:pt idx="72617">1</cx:pt>
          <cx:pt idx="72618">1</cx:pt>
          <cx:pt idx="72619">0</cx:pt>
          <cx:pt idx="72620">0</cx:pt>
          <cx:pt idx="72621">1</cx:pt>
          <cx:pt idx="72622">1</cx:pt>
          <cx:pt idx="72623">0</cx:pt>
          <cx:pt idx="72624">1</cx:pt>
          <cx:pt idx="72625">0</cx:pt>
          <cx:pt idx="72626">0</cx:pt>
          <cx:pt idx="72627">0</cx:pt>
          <cx:pt idx="72628">1</cx:pt>
          <cx:pt idx="72629">1</cx:pt>
          <cx:pt idx="72630">1</cx:pt>
          <cx:pt idx="72631">1</cx:pt>
          <cx:pt idx="72632">0</cx:pt>
          <cx:pt idx="72633">1</cx:pt>
          <cx:pt idx="72634">0</cx:pt>
          <cx:pt idx="72635">1</cx:pt>
          <cx:pt idx="72636">0</cx:pt>
          <cx:pt idx="72637">1</cx:pt>
          <cx:pt idx="72638">1</cx:pt>
          <cx:pt idx="72639">0</cx:pt>
          <cx:pt idx="72640">1</cx:pt>
          <cx:pt idx="72641">0</cx:pt>
          <cx:pt idx="72642">0</cx:pt>
          <cx:pt idx="72643">1</cx:pt>
          <cx:pt idx="72644">0</cx:pt>
          <cx:pt idx="72645">1</cx:pt>
          <cx:pt idx="72646">0</cx:pt>
          <cx:pt idx="72647">0</cx:pt>
          <cx:pt idx="72648">1</cx:pt>
          <cx:pt idx="72649">0</cx:pt>
          <cx:pt idx="72650">0</cx:pt>
          <cx:pt idx="72651">1</cx:pt>
          <cx:pt idx="72652">0</cx:pt>
          <cx:pt idx="72653">1</cx:pt>
          <cx:pt idx="72654">0</cx:pt>
          <cx:pt idx="72655">0</cx:pt>
          <cx:pt idx="72656">1</cx:pt>
          <cx:pt idx="72657">0</cx:pt>
          <cx:pt idx="72658">0</cx:pt>
          <cx:pt idx="72659">0</cx:pt>
          <cx:pt idx="72660">0</cx:pt>
          <cx:pt idx="72661">0</cx:pt>
          <cx:pt idx="72662">0</cx:pt>
          <cx:pt idx="72663">1</cx:pt>
          <cx:pt idx="72664">0</cx:pt>
          <cx:pt idx="72665">0</cx:pt>
          <cx:pt idx="72666">1</cx:pt>
          <cx:pt idx="72667">0</cx:pt>
          <cx:pt idx="72668">1</cx:pt>
          <cx:pt idx="72669">0</cx:pt>
          <cx:pt idx="72670">1</cx:pt>
          <cx:pt idx="72671">1</cx:pt>
          <cx:pt idx="72672">1</cx:pt>
          <cx:pt idx="72673">1</cx:pt>
          <cx:pt idx="72674">1</cx:pt>
          <cx:pt idx="72675">0</cx:pt>
          <cx:pt idx="72676">0</cx:pt>
          <cx:pt idx="72677">1</cx:pt>
          <cx:pt idx="72678">0</cx:pt>
          <cx:pt idx="72679">0</cx:pt>
          <cx:pt idx="72680">0</cx:pt>
          <cx:pt idx="72681">0</cx:pt>
          <cx:pt idx="72682">1</cx:pt>
          <cx:pt idx="72683">1</cx:pt>
          <cx:pt idx="72684">0</cx:pt>
          <cx:pt idx="72685">0</cx:pt>
          <cx:pt idx="72686">0</cx:pt>
          <cx:pt idx="72687">0</cx:pt>
          <cx:pt idx="72688">1</cx:pt>
          <cx:pt idx="72689">1</cx:pt>
          <cx:pt idx="72690">1</cx:pt>
          <cx:pt idx="72691">0</cx:pt>
          <cx:pt idx="72692">1</cx:pt>
          <cx:pt idx="72693">0</cx:pt>
          <cx:pt idx="72694">1</cx:pt>
          <cx:pt idx="72695">0</cx:pt>
          <cx:pt idx="72696">0</cx:pt>
          <cx:pt idx="72697">1</cx:pt>
          <cx:pt idx="72698">0</cx:pt>
          <cx:pt idx="72699">1</cx:pt>
          <cx:pt idx="72700">0</cx:pt>
          <cx:pt idx="72701">1</cx:pt>
          <cx:pt idx="72702">1</cx:pt>
          <cx:pt idx="72703">1</cx:pt>
          <cx:pt idx="72704">0</cx:pt>
          <cx:pt idx="72705">0</cx:pt>
          <cx:pt idx="72706">1</cx:pt>
          <cx:pt idx="72707">1</cx:pt>
          <cx:pt idx="72708">1</cx:pt>
          <cx:pt idx="72709">0</cx:pt>
          <cx:pt idx="72710">1</cx:pt>
          <cx:pt idx="72711">0</cx:pt>
          <cx:pt idx="72712">0</cx:pt>
          <cx:pt idx="72713">1</cx:pt>
          <cx:pt idx="72714">1</cx:pt>
          <cx:pt idx="72715">0</cx:pt>
          <cx:pt idx="72716">1</cx:pt>
          <cx:pt idx="72717">0</cx:pt>
          <cx:pt idx="72718">0</cx:pt>
          <cx:pt idx="72719">0</cx:pt>
          <cx:pt idx="72720">1</cx:pt>
          <cx:pt idx="72721">0</cx:pt>
          <cx:pt idx="72722">0</cx:pt>
          <cx:pt idx="72723">1</cx:pt>
          <cx:pt idx="72724">1</cx:pt>
          <cx:pt idx="72725">1</cx:pt>
          <cx:pt idx="72726">1</cx:pt>
          <cx:pt idx="72727">0</cx:pt>
          <cx:pt idx="72728">0</cx:pt>
          <cx:pt idx="72729">0</cx:pt>
          <cx:pt idx="72730">1</cx:pt>
          <cx:pt idx="72731">0</cx:pt>
          <cx:pt idx="72732">0</cx:pt>
          <cx:pt idx="72733">1</cx:pt>
          <cx:pt idx="72734">0</cx:pt>
          <cx:pt idx="72735">0</cx:pt>
          <cx:pt idx="72736">0</cx:pt>
          <cx:pt idx="72737">1</cx:pt>
          <cx:pt idx="72738">0</cx:pt>
          <cx:pt idx="72739">0</cx:pt>
          <cx:pt idx="72740">1</cx:pt>
          <cx:pt idx="72741">0</cx:pt>
          <cx:pt idx="72742">1</cx:pt>
          <cx:pt idx="72743">0</cx:pt>
          <cx:pt idx="72744">0</cx:pt>
          <cx:pt idx="72745">0</cx:pt>
          <cx:pt idx="72746">0</cx:pt>
          <cx:pt idx="72747">1</cx:pt>
          <cx:pt idx="72748">1</cx:pt>
          <cx:pt idx="72749">0</cx:pt>
          <cx:pt idx="72750">1</cx:pt>
          <cx:pt idx="72751">0</cx:pt>
          <cx:pt idx="72752">1</cx:pt>
          <cx:pt idx="72753">1</cx:pt>
          <cx:pt idx="72754">0</cx:pt>
          <cx:pt idx="72755">1</cx:pt>
          <cx:pt idx="72756">0</cx:pt>
          <cx:pt idx="72757">0</cx:pt>
          <cx:pt idx="72758">1</cx:pt>
          <cx:pt idx="72759">0</cx:pt>
          <cx:pt idx="72760">0</cx:pt>
          <cx:pt idx="72761">0</cx:pt>
          <cx:pt idx="72762">0</cx:pt>
          <cx:pt idx="72763">0</cx:pt>
          <cx:pt idx="72764">0</cx:pt>
          <cx:pt idx="72765">1</cx:pt>
          <cx:pt idx="72766">0</cx:pt>
          <cx:pt idx="72767">0</cx:pt>
          <cx:pt idx="72768">0</cx:pt>
          <cx:pt idx="72769">0</cx:pt>
          <cx:pt idx="72770">0</cx:pt>
          <cx:pt idx="72771">1</cx:pt>
          <cx:pt idx="72772">0</cx:pt>
          <cx:pt idx="72773">0</cx:pt>
          <cx:pt idx="72774">0</cx:pt>
          <cx:pt idx="72775">1</cx:pt>
          <cx:pt idx="72776">1</cx:pt>
          <cx:pt idx="72777">1</cx:pt>
          <cx:pt idx="72778">0</cx:pt>
          <cx:pt idx="72779">0</cx:pt>
          <cx:pt idx="72780">0</cx:pt>
          <cx:pt idx="72781">0</cx:pt>
          <cx:pt idx="72782">1</cx:pt>
          <cx:pt idx="72783">0</cx:pt>
          <cx:pt idx="72784">0</cx:pt>
          <cx:pt idx="72785">1</cx:pt>
          <cx:pt idx="72786">0</cx:pt>
          <cx:pt idx="72787">1</cx:pt>
          <cx:pt idx="72788">0</cx:pt>
          <cx:pt idx="72789">1</cx:pt>
          <cx:pt idx="72790">1</cx:pt>
          <cx:pt idx="72791">1</cx:pt>
          <cx:pt idx="72792">1</cx:pt>
          <cx:pt idx="72793">0</cx:pt>
          <cx:pt idx="72794">1</cx:pt>
          <cx:pt idx="72795">0</cx:pt>
          <cx:pt idx="72796">0</cx:pt>
          <cx:pt idx="72797">1</cx:pt>
          <cx:pt idx="72798">1</cx:pt>
          <cx:pt idx="72799">0</cx:pt>
          <cx:pt idx="72800">1</cx:pt>
          <cx:pt idx="72801">0</cx:pt>
          <cx:pt idx="72802">0</cx:pt>
          <cx:pt idx="72803">1</cx:pt>
          <cx:pt idx="72804">0</cx:pt>
          <cx:pt idx="72805">0</cx:pt>
          <cx:pt idx="72806">0</cx:pt>
          <cx:pt idx="72807">0</cx:pt>
          <cx:pt idx="72808">0</cx:pt>
          <cx:pt idx="72809">0</cx:pt>
          <cx:pt idx="72810">0</cx:pt>
          <cx:pt idx="72811">0</cx:pt>
          <cx:pt idx="72812">0</cx:pt>
          <cx:pt idx="72813">0</cx:pt>
          <cx:pt idx="72814">1</cx:pt>
          <cx:pt idx="72815">1</cx:pt>
          <cx:pt idx="72816">1</cx:pt>
          <cx:pt idx="72817">1</cx:pt>
          <cx:pt idx="72818">0</cx:pt>
          <cx:pt idx="72819">0</cx:pt>
          <cx:pt idx="72820">0</cx:pt>
          <cx:pt idx="72821">1</cx:pt>
          <cx:pt idx="72822">0</cx:pt>
          <cx:pt idx="72823">0</cx:pt>
          <cx:pt idx="72824">1</cx:pt>
          <cx:pt idx="72825">0</cx:pt>
          <cx:pt idx="72826">1</cx:pt>
          <cx:pt idx="72827">0</cx:pt>
          <cx:pt idx="72828">0</cx:pt>
          <cx:pt idx="72829">1</cx:pt>
          <cx:pt idx="72830">0</cx:pt>
          <cx:pt idx="72831">1</cx:pt>
          <cx:pt idx="72832">0</cx:pt>
          <cx:pt idx="72833">1</cx:pt>
          <cx:pt idx="72834">1</cx:pt>
          <cx:pt idx="72835">0</cx:pt>
          <cx:pt idx="72836">1</cx:pt>
          <cx:pt idx="72837">1</cx:pt>
          <cx:pt idx="72838">1</cx:pt>
          <cx:pt idx="72839">0</cx:pt>
          <cx:pt idx="72840">1</cx:pt>
          <cx:pt idx="72841">0</cx:pt>
          <cx:pt idx="72842">0</cx:pt>
          <cx:pt idx="72843">0</cx:pt>
          <cx:pt idx="72844">1</cx:pt>
          <cx:pt idx="72845">1</cx:pt>
          <cx:pt idx="72846">1</cx:pt>
          <cx:pt idx="72847">0</cx:pt>
          <cx:pt idx="72848">1</cx:pt>
          <cx:pt idx="72849">1</cx:pt>
          <cx:pt idx="72850">0</cx:pt>
          <cx:pt idx="72851">0</cx:pt>
          <cx:pt idx="72852">0</cx:pt>
          <cx:pt idx="72853">0</cx:pt>
          <cx:pt idx="72854">1</cx:pt>
          <cx:pt idx="72855">0</cx:pt>
          <cx:pt idx="72856">1</cx:pt>
          <cx:pt idx="72857">0</cx:pt>
          <cx:pt idx="72858">0</cx:pt>
          <cx:pt idx="72859">0</cx:pt>
          <cx:pt idx="72860">0</cx:pt>
          <cx:pt idx="72861">1</cx:pt>
          <cx:pt idx="72862">0</cx:pt>
          <cx:pt idx="72863">0</cx:pt>
          <cx:pt idx="72864">1</cx:pt>
          <cx:pt idx="72865">1</cx:pt>
          <cx:pt idx="72866">1</cx:pt>
          <cx:pt idx="72867">0</cx:pt>
          <cx:pt idx="72868">1</cx:pt>
          <cx:pt idx="72869">0</cx:pt>
          <cx:pt idx="72870">1</cx:pt>
          <cx:pt idx="72871">1</cx:pt>
          <cx:pt idx="72872">0</cx:pt>
          <cx:pt idx="72873">1</cx:pt>
          <cx:pt idx="72874">0</cx:pt>
          <cx:pt idx="72875">1</cx:pt>
          <cx:pt idx="72876">0</cx:pt>
          <cx:pt idx="72877">0</cx:pt>
          <cx:pt idx="72878">1</cx:pt>
          <cx:pt idx="72879">1</cx:pt>
          <cx:pt idx="72880">0</cx:pt>
          <cx:pt idx="72881">1</cx:pt>
          <cx:pt idx="72882">1</cx:pt>
          <cx:pt idx="72883">1</cx:pt>
          <cx:pt idx="72884">0</cx:pt>
          <cx:pt idx="72885">1</cx:pt>
          <cx:pt idx="72886">1</cx:pt>
          <cx:pt idx="72887">0</cx:pt>
          <cx:pt idx="72888">0</cx:pt>
          <cx:pt idx="72889">1</cx:pt>
          <cx:pt idx="72890">1</cx:pt>
          <cx:pt idx="72891">1</cx:pt>
          <cx:pt idx="72892">0</cx:pt>
          <cx:pt idx="72893">1</cx:pt>
          <cx:pt idx="72894">0</cx:pt>
          <cx:pt idx="72895">0</cx:pt>
          <cx:pt idx="72896">0</cx:pt>
          <cx:pt idx="72897">0</cx:pt>
          <cx:pt idx="72898">0</cx:pt>
          <cx:pt idx="72899">0</cx:pt>
          <cx:pt idx="72900">1</cx:pt>
          <cx:pt idx="72901">1</cx:pt>
          <cx:pt idx="72902">1</cx:pt>
          <cx:pt idx="72903">1</cx:pt>
          <cx:pt idx="72904">0</cx:pt>
          <cx:pt idx="72905">1</cx:pt>
          <cx:pt idx="72906">1</cx:pt>
          <cx:pt idx="72907">0</cx:pt>
          <cx:pt idx="72908">1</cx:pt>
          <cx:pt idx="72909">0</cx:pt>
          <cx:pt idx="72910">1</cx:pt>
          <cx:pt idx="72911">1</cx:pt>
          <cx:pt idx="72912">0</cx:pt>
          <cx:pt idx="72913">1</cx:pt>
          <cx:pt idx="72914">0</cx:pt>
          <cx:pt idx="72915">1</cx:pt>
          <cx:pt idx="72916">1</cx:pt>
          <cx:pt idx="72917">0</cx:pt>
          <cx:pt idx="72918">1</cx:pt>
          <cx:pt idx="72919">0</cx:pt>
          <cx:pt idx="72920">1</cx:pt>
          <cx:pt idx="72921">1</cx:pt>
          <cx:pt idx="72922">0</cx:pt>
          <cx:pt idx="72923">0</cx:pt>
          <cx:pt idx="72924">0</cx:pt>
          <cx:pt idx="72925">0</cx:pt>
          <cx:pt idx="72926">1</cx:pt>
          <cx:pt idx="72927">1</cx:pt>
          <cx:pt idx="72928">0</cx:pt>
          <cx:pt idx="72929">0</cx:pt>
          <cx:pt idx="72930">1</cx:pt>
          <cx:pt idx="72931">1</cx:pt>
          <cx:pt idx="72932">0</cx:pt>
          <cx:pt idx="72933">1</cx:pt>
          <cx:pt idx="72934">1</cx:pt>
          <cx:pt idx="72935">0</cx:pt>
          <cx:pt idx="72936">0</cx:pt>
          <cx:pt idx="72937">0</cx:pt>
          <cx:pt idx="72938">1</cx:pt>
          <cx:pt idx="72939">0</cx:pt>
          <cx:pt idx="72940">0</cx:pt>
          <cx:pt idx="72941">0</cx:pt>
          <cx:pt idx="72942">0</cx:pt>
          <cx:pt idx="72943">1</cx:pt>
          <cx:pt idx="72944">0</cx:pt>
          <cx:pt idx="72945">0</cx:pt>
          <cx:pt idx="72946">1</cx:pt>
          <cx:pt idx="72947">0</cx:pt>
          <cx:pt idx="72948">0</cx:pt>
          <cx:pt idx="72949">1</cx:pt>
          <cx:pt idx="72950">1</cx:pt>
          <cx:pt idx="72951">0</cx:pt>
          <cx:pt idx="72952">0</cx:pt>
          <cx:pt idx="72953">0</cx:pt>
          <cx:pt idx="72954">1</cx:pt>
          <cx:pt idx="72955">1</cx:pt>
          <cx:pt idx="72956">1</cx:pt>
          <cx:pt idx="72957">1</cx:pt>
          <cx:pt idx="72958">0</cx:pt>
          <cx:pt idx="72959">1</cx:pt>
          <cx:pt idx="72960">0</cx:pt>
          <cx:pt idx="72961">0</cx:pt>
          <cx:pt idx="72962">0</cx:pt>
          <cx:pt idx="72963">1</cx:pt>
          <cx:pt idx="72964">1</cx:pt>
          <cx:pt idx="72965">0</cx:pt>
          <cx:pt idx="72966">1</cx:pt>
          <cx:pt idx="72967">0</cx:pt>
          <cx:pt idx="72968">1</cx:pt>
          <cx:pt idx="72969">1</cx:pt>
          <cx:pt idx="72970">1</cx:pt>
          <cx:pt idx="72971">1</cx:pt>
          <cx:pt idx="72972">1</cx:pt>
          <cx:pt idx="72973">0</cx:pt>
          <cx:pt idx="72974">1</cx:pt>
          <cx:pt idx="72975">0</cx:pt>
          <cx:pt idx="72976">0</cx:pt>
          <cx:pt idx="72977">1</cx:pt>
          <cx:pt idx="72978">0</cx:pt>
          <cx:pt idx="72979">0</cx:pt>
          <cx:pt idx="72980">1</cx:pt>
          <cx:pt idx="72981">0</cx:pt>
          <cx:pt idx="72982">1</cx:pt>
          <cx:pt idx="72983">0</cx:pt>
          <cx:pt idx="72984">1</cx:pt>
          <cx:pt idx="72985">1</cx:pt>
          <cx:pt idx="72986">1</cx:pt>
          <cx:pt idx="72987">0</cx:pt>
          <cx:pt idx="72988">1</cx:pt>
          <cx:pt idx="72989">1</cx:pt>
          <cx:pt idx="72990">0</cx:pt>
          <cx:pt idx="72991">0</cx:pt>
          <cx:pt idx="72992">0</cx:pt>
          <cx:pt idx="72993">0</cx:pt>
          <cx:pt idx="72994">1</cx:pt>
          <cx:pt idx="72995">0</cx:pt>
          <cx:pt idx="72996">1</cx:pt>
          <cx:pt idx="72997">1</cx:pt>
          <cx:pt idx="72998">1</cx:pt>
          <cx:pt idx="72999">1</cx:pt>
          <cx:pt idx="73000">0</cx:pt>
          <cx:pt idx="73001">0</cx:pt>
          <cx:pt idx="73002">0</cx:pt>
          <cx:pt idx="73003">0</cx:pt>
          <cx:pt idx="73004">0</cx:pt>
          <cx:pt idx="73005">0</cx:pt>
          <cx:pt idx="73006">1</cx:pt>
          <cx:pt idx="73007">0</cx:pt>
          <cx:pt idx="73008">1</cx:pt>
          <cx:pt idx="73009">1</cx:pt>
          <cx:pt idx="73010">0</cx:pt>
          <cx:pt idx="73011">1</cx:pt>
          <cx:pt idx="73012">1</cx:pt>
          <cx:pt idx="73013">0</cx:pt>
          <cx:pt idx="73014">1</cx:pt>
          <cx:pt idx="73015">0</cx:pt>
          <cx:pt idx="73016">1</cx:pt>
          <cx:pt idx="73017">1</cx:pt>
          <cx:pt idx="73018">0</cx:pt>
          <cx:pt idx="73019">0</cx:pt>
          <cx:pt idx="73020">1</cx:pt>
          <cx:pt idx="73021">1</cx:pt>
          <cx:pt idx="73022">1</cx:pt>
          <cx:pt idx="73023">0</cx:pt>
          <cx:pt idx="73024">0</cx:pt>
          <cx:pt idx="73025">0</cx:pt>
          <cx:pt idx="73026">1</cx:pt>
          <cx:pt idx="73027">1</cx:pt>
          <cx:pt idx="73028">1</cx:pt>
          <cx:pt idx="73029">0</cx:pt>
          <cx:pt idx="73030">1</cx:pt>
          <cx:pt idx="73031">0</cx:pt>
          <cx:pt idx="73032">1</cx:pt>
          <cx:pt idx="73033">1</cx:pt>
          <cx:pt idx="73034">0</cx:pt>
          <cx:pt idx="73035">0</cx:pt>
          <cx:pt idx="73036">1</cx:pt>
          <cx:pt idx="73037">0</cx:pt>
          <cx:pt idx="73038">0</cx:pt>
          <cx:pt idx="73039">0</cx:pt>
          <cx:pt idx="73040">1</cx:pt>
          <cx:pt idx="73041">0</cx:pt>
          <cx:pt idx="73042">0</cx:pt>
          <cx:pt idx="73043">0</cx:pt>
          <cx:pt idx="73044">1</cx:pt>
          <cx:pt idx="73045">1</cx:pt>
          <cx:pt idx="73046">0</cx:pt>
          <cx:pt idx="73047">0</cx:pt>
          <cx:pt idx="73048">0</cx:pt>
          <cx:pt idx="73049">0</cx:pt>
          <cx:pt idx="73050">1</cx:pt>
          <cx:pt idx="73051">0</cx:pt>
          <cx:pt idx="73052">1</cx:pt>
          <cx:pt idx="73053">0</cx:pt>
          <cx:pt idx="73054">1</cx:pt>
          <cx:pt idx="73055">0</cx:pt>
          <cx:pt idx="73056">0</cx:pt>
          <cx:pt idx="73057">0</cx:pt>
          <cx:pt idx="73058">0</cx:pt>
          <cx:pt idx="73059">0</cx:pt>
          <cx:pt idx="73060">0</cx:pt>
          <cx:pt idx="73061">1</cx:pt>
          <cx:pt idx="73062">0</cx:pt>
          <cx:pt idx="73063">0</cx:pt>
          <cx:pt idx="73064">1</cx:pt>
          <cx:pt idx="73065">1</cx:pt>
          <cx:pt idx="73066">1</cx:pt>
          <cx:pt idx="73067">1</cx:pt>
          <cx:pt idx="73068">0</cx:pt>
          <cx:pt idx="73069">0</cx:pt>
          <cx:pt idx="73070">1</cx:pt>
          <cx:pt idx="73071">0</cx:pt>
          <cx:pt idx="73072">0</cx:pt>
          <cx:pt idx="73073">1</cx:pt>
          <cx:pt idx="73074">1</cx:pt>
          <cx:pt idx="73075">1</cx:pt>
          <cx:pt idx="73076">0</cx:pt>
          <cx:pt idx="73077">0</cx:pt>
          <cx:pt idx="73078">0</cx:pt>
          <cx:pt idx="73079">0</cx:pt>
          <cx:pt idx="73080">1</cx:pt>
          <cx:pt idx="73081">0</cx:pt>
          <cx:pt idx="73082">0</cx:pt>
          <cx:pt idx="73083">1</cx:pt>
          <cx:pt idx="73084">1</cx:pt>
          <cx:pt idx="73085">0</cx:pt>
          <cx:pt idx="73086">1</cx:pt>
          <cx:pt idx="73087">0</cx:pt>
          <cx:pt idx="73088">0</cx:pt>
          <cx:pt idx="73089">0</cx:pt>
          <cx:pt idx="73090">0</cx:pt>
          <cx:pt idx="73091">1</cx:pt>
          <cx:pt idx="73092">1</cx:pt>
          <cx:pt idx="73093">0</cx:pt>
          <cx:pt idx="73094">1</cx:pt>
          <cx:pt idx="73095">0</cx:pt>
          <cx:pt idx="73096">0</cx:pt>
          <cx:pt idx="73097">1</cx:pt>
          <cx:pt idx="73098">0</cx:pt>
          <cx:pt idx="73099">1</cx:pt>
          <cx:pt idx="73100">0</cx:pt>
          <cx:pt idx="73101">1</cx:pt>
          <cx:pt idx="73102">0</cx:pt>
          <cx:pt idx="73103">1</cx:pt>
          <cx:pt idx="73104">1</cx:pt>
          <cx:pt idx="73105">1</cx:pt>
          <cx:pt idx="73106">0</cx:pt>
          <cx:pt idx="73107">0</cx:pt>
          <cx:pt idx="73108">0</cx:pt>
          <cx:pt idx="73109">1</cx:pt>
          <cx:pt idx="73110">1</cx:pt>
          <cx:pt idx="73111">0</cx:pt>
          <cx:pt idx="73112">0</cx:pt>
          <cx:pt idx="73113">0</cx:pt>
          <cx:pt idx="73114">0</cx:pt>
          <cx:pt idx="73115">1</cx:pt>
          <cx:pt idx="73116">1</cx:pt>
          <cx:pt idx="73117">0</cx:pt>
          <cx:pt idx="73118">1</cx:pt>
          <cx:pt idx="73119">0</cx:pt>
          <cx:pt idx="73120">0</cx:pt>
          <cx:pt idx="73121">1</cx:pt>
          <cx:pt idx="73122">1</cx:pt>
          <cx:pt idx="73123">0</cx:pt>
          <cx:pt idx="73124">1</cx:pt>
          <cx:pt idx="73125">1</cx:pt>
          <cx:pt idx="73126">1</cx:pt>
          <cx:pt idx="73127">1</cx:pt>
          <cx:pt idx="73128">0</cx:pt>
          <cx:pt idx="73129">0</cx:pt>
          <cx:pt idx="73130">1</cx:pt>
          <cx:pt idx="73131">1</cx:pt>
          <cx:pt idx="73132">1</cx:pt>
          <cx:pt idx="73133">0</cx:pt>
          <cx:pt idx="73134">0</cx:pt>
          <cx:pt idx="73135">0</cx:pt>
          <cx:pt idx="73136">1</cx:pt>
          <cx:pt idx="73137">1</cx:pt>
          <cx:pt idx="73138">0</cx:pt>
          <cx:pt idx="73139">0</cx:pt>
          <cx:pt idx="73140">0</cx:pt>
          <cx:pt idx="73141">0</cx:pt>
          <cx:pt idx="73142">1</cx:pt>
          <cx:pt idx="73143">0</cx:pt>
          <cx:pt idx="73144">0</cx:pt>
          <cx:pt idx="73145">1</cx:pt>
          <cx:pt idx="73146">1</cx:pt>
          <cx:pt idx="73147">1</cx:pt>
          <cx:pt idx="73148">1</cx:pt>
          <cx:pt idx="73149">0</cx:pt>
          <cx:pt idx="73150">0</cx:pt>
          <cx:pt idx="73151">0</cx:pt>
          <cx:pt idx="73152">1</cx:pt>
          <cx:pt idx="73153">0</cx:pt>
          <cx:pt idx="73154">0</cx:pt>
          <cx:pt idx="73155">0</cx:pt>
          <cx:pt idx="73156">0</cx:pt>
          <cx:pt idx="73157">0</cx:pt>
          <cx:pt idx="73158">0</cx:pt>
          <cx:pt idx="73159">0</cx:pt>
          <cx:pt idx="73160">0</cx:pt>
          <cx:pt idx="73161">0</cx:pt>
          <cx:pt idx="73162">1</cx:pt>
          <cx:pt idx="73163">0</cx:pt>
          <cx:pt idx="73164">1</cx:pt>
          <cx:pt idx="73165">1</cx:pt>
          <cx:pt idx="73166">1</cx:pt>
          <cx:pt idx="73167">1</cx:pt>
          <cx:pt idx="73168">0</cx:pt>
          <cx:pt idx="73169">0</cx:pt>
          <cx:pt idx="73170">0</cx:pt>
          <cx:pt idx="73171">0</cx:pt>
          <cx:pt idx="73172">0</cx:pt>
          <cx:pt idx="73173">1</cx:pt>
          <cx:pt idx="73174">1</cx:pt>
          <cx:pt idx="73175">1</cx:pt>
          <cx:pt idx="73176">0</cx:pt>
          <cx:pt idx="73177">0</cx:pt>
          <cx:pt idx="73178">1</cx:pt>
          <cx:pt idx="73179">1</cx:pt>
          <cx:pt idx="73180">1</cx:pt>
          <cx:pt idx="73181">0</cx:pt>
          <cx:pt idx="73182">0</cx:pt>
          <cx:pt idx="73183">1</cx:pt>
          <cx:pt idx="73184">0</cx:pt>
          <cx:pt idx="73185">1</cx:pt>
          <cx:pt idx="73186">1</cx:pt>
          <cx:pt idx="73187">0</cx:pt>
          <cx:pt idx="73188">0</cx:pt>
          <cx:pt idx="73189">0</cx:pt>
          <cx:pt idx="73190">0</cx:pt>
          <cx:pt idx="73191">1</cx:pt>
          <cx:pt idx="73192">0</cx:pt>
          <cx:pt idx="73193">0</cx:pt>
          <cx:pt idx="73194">0</cx:pt>
          <cx:pt idx="73195">0</cx:pt>
          <cx:pt idx="73196">1</cx:pt>
          <cx:pt idx="73197">1</cx:pt>
          <cx:pt idx="73198">0</cx:pt>
          <cx:pt idx="73199">0</cx:pt>
          <cx:pt idx="73200">0</cx:pt>
          <cx:pt idx="73201">1</cx:pt>
          <cx:pt idx="73202">0</cx:pt>
          <cx:pt idx="73203">0</cx:pt>
          <cx:pt idx="73204">0</cx:pt>
          <cx:pt idx="73205">0</cx:pt>
          <cx:pt idx="73206">0</cx:pt>
          <cx:pt idx="73207">0</cx:pt>
          <cx:pt idx="73208">1</cx:pt>
          <cx:pt idx="73209">0</cx:pt>
          <cx:pt idx="73210">0</cx:pt>
          <cx:pt idx="73211">1</cx:pt>
          <cx:pt idx="73212">1</cx:pt>
          <cx:pt idx="73213">1</cx:pt>
          <cx:pt idx="73214">1</cx:pt>
          <cx:pt idx="73215">0</cx:pt>
          <cx:pt idx="73216">1</cx:pt>
          <cx:pt idx="73217">0</cx:pt>
          <cx:pt idx="73218">1</cx:pt>
          <cx:pt idx="73219">1</cx:pt>
          <cx:pt idx="73220">1</cx:pt>
          <cx:pt idx="73221">1</cx:pt>
          <cx:pt idx="73222">1</cx:pt>
          <cx:pt idx="73223">1</cx:pt>
          <cx:pt idx="73224">0</cx:pt>
          <cx:pt idx="73225">1</cx:pt>
          <cx:pt idx="73226">1</cx:pt>
          <cx:pt idx="73227">0</cx:pt>
          <cx:pt idx="73228">1</cx:pt>
          <cx:pt idx="73229">0</cx:pt>
          <cx:pt idx="73230">0</cx:pt>
          <cx:pt idx="73231">1</cx:pt>
          <cx:pt idx="73232">0</cx:pt>
          <cx:pt idx="73233">1</cx:pt>
          <cx:pt idx="73234">0</cx:pt>
          <cx:pt idx="73235">0</cx:pt>
          <cx:pt idx="73236">1</cx:pt>
          <cx:pt idx="73237">1</cx:pt>
          <cx:pt idx="73238">0</cx:pt>
          <cx:pt idx="73239">0</cx:pt>
          <cx:pt idx="73240">1</cx:pt>
          <cx:pt idx="73241">1</cx:pt>
          <cx:pt idx="73242">0</cx:pt>
          <cx:pt idx="73243">1</cx:pt>
          <cx:pt idx="73244">0</cx:pt>
          <cx:pt idx="73245">0</cx:pt>
          <cx:pt idx="73246">0</cx:pt>
          <cx:pt idx="73247">1</cx:pt>
          <cx:pt idx="73248">0</cx:pt>
          <cx:pt idx="73249">0</cx:pt>
          <cx:pt idx="73250">1</cx:pt>
          <cx:pt idx="73251">0</cx:pt>
          <cx:pt idx="73252">0</cx:pt>
          <cx:pt idx="73253">1</cx:pt>
          <cx:pt idx="73254">1</cx:pt>
          <cx:pt idx="73255">1</cx:pt>
          <cx:pt idx="73256">1</cx:pt>
          <cx:pt idx="73257">0</cx:pt>
          <cx:pt idx="73258">1</cx:pt>
          <cx:pt idx="73259">1</cx:pt>
          <cx:pt idx="73260">0</cx:pt>
          <cx:pt idx="73261">0</cx:pt>
          <cx:pt idx="73262">0</cx:pt>
          <cx:pt idx="73263">0</cx:pt>
          <cx:pt idx="73264">0</cx:pt>
          <cx:pt idx="73265">0</cx:pt>
          <cx:pt idx="73266">0</cx:pt>
          <cx:pt idx="73267">1</cx:pt>
          <cx:pt idx="73268">0</cx:pt>
          <cx:pt idx="73269">0</cx:pt>
          <cx:pt idx="73270">1</cx:pt>
          <cx:pt idx="73271">1</cx:pt>
          <cx:pt idx="73272">0</cx:pt>
          <cx:pt idx="73273">0</cx:pt>
          <cx:pt idx="73274">0</cx:pt>
          <cx:pt idx="73275">0</cx:pt>
          <cx:pt idx="73276">0</cx:pt>
          <cx:pt idx="73277">0</cx:pt>
          <cx:pt idx="73278">1</cx:pt>
          <cx:pt idx="73279">1</cx:pt>
          <cx:pt idx="73280">0</cx:pt>
          <cx:pt idx="73281">1</cx:pt>
          <cx:pt idx="73282">1</cx:pt>
          <cx:pt idx="73283">1</cx:pt>
          <cx:pt idx="73284">1</cx:pt>
          <cx:pt idx="73285">0</cx:pt>
          <cx:pt idx="73286">0</cx:pt>
          <cx:pt idx="73287">1</cx:pt>
          <cx:pt idx="73288">1</cx:pt>
          <cx:pt idx="73289">0</cx:pt>
          <cx:pt idx="73290">1</cx:pt>
          <cx:pt idx="73291">0</cx:pt>
          <cx:pt idx="73292">0</cx:pt>
          <cx:pt idx="73293">1</cx:pt>
          <cx:pt idx="73294">0</cx:pt>
          <cx:pt idx="73295">0</cx:pt>
          <cx:pt idx="73296">0</cx:pt>
          <cx:pt idx="73297">1</cx:pt>
          <cx:pt idx="73298">0</cx:pt>
          <cx:pt idx="73299">1</cx:pt>
          <cx:pt idx="73300">0</cx:pt>
          <cx:pt idx="73301">1</cx:pt>
          <cx:pt idx="73302">0</cx:pt>
          <cx:pt idx="73303">0</cx:pt>
          <cx:pt idx="73304">0</cx:pt>
          <cx:pt idx="73305">0</cx:pt>
          <cx:pt idx="73306">0</cx:pt>
          <cx:pt idx="73307">0</cx:pt>
          <cx:pt idx="73308">0</cx:pt>
          <cx:pt idx="73309">1</cx:pt>
          <cx:pt idx="73310">0</cx:pt>
          <cx:pt idx="73311">1</cx:pt>
          <cx:pt idx="73312">0</cx:pt>
          <cx:pt idx="73313">0</cx:pt>
          <cx:pt idx="73314">0</cx:pt>
          <cx:pt idx="73315">1</cx:pt>
          <cx:pt idx="73316">1</cx:pt>
          <cx:pt idx="73317">1</cx:pt>
          <cx:pt idx="73318">0</cx:pt>
          <cx:pt idx="73319">1</cx:pt>
          <cx:pt idx="73320">0</cx:pt>
          <cx:pt idx="73321">1</cx:pt>
          <cx:pt idx="73322">0</cx:pt>
          <cx:pt idx="73323">1</cx:pt>
          <cx:pt idx="73324">1</cx:pt>
          <cx:pt idx="73325">0</cx:pt>
          <cx:pt idx="73326">0</cx:pt>
          <cx:pt idx="73327">1</cx:pt>
          <cx:pt idx="73328">1</cx:pt>
          <cx:pt idx="73329">0</cx:pt>
          <cx:pt idx="73330">1</cx:pt>
          <cx:pt idx="73331">0</cx:pt>
          <cx:pt idx="73332">1</cx:pt>
          <cx:pt idx="73333">1</cx:pt>
          <cx:pt idx="73334">1</cx:pt>
          <cx:pt idx="73335">0</cx:pt>
          <cx:pt idx="73336">0</cx:pt>
          <cx:pt idx="73337">0</cx:pt>
          <cx:pt idx="73338">0</cx:pt>
          <cx:pt idx="73339">1</cx:pt>
          <cx:pt idx="73340">0</cx:pt>
          <cx:pt idx="73341">1</cx:pt>
          <cx:pt idx="73342">0</cx:pt>
          <cx:pt idx="73343">0</cx:pt>
          <cx:pt idx="73344">1</cx:pt>
          <cx:pt idx="73345">0</cx:pt>
          <cx:pt idx="73346">0</cx:pt>
          <cx:pt idx="73347">0</cx:pt>
          <cx:pt idx="73348">1</cx:pt>
          <cx:pt idx="73349">0</cx:pt>
          <cx:pt idx="73350">1</cx:pt>
          <cx:pt idx="73351">0</cx:pt>
          <cx:pt idx="73352">0</cx:pt>
          <cx:pt idx="73353">0</cx:pt>
          <cx:pt idx="73354">1</cx:pt>
          <cx:pt idx="73355">1</cx:pt>
          <cx:pt idx="73356">0</cx:pt>
          <cx:pt idx="73357">1</cx:pt>
          <cx:pt idx="73358">0</cx:pt>
          <cx:pt idx="73359">0</cx:pt>
          <cx:pt idx="73360">1</cx:pt>
          <cx:pt idx="73361">1</cx:pt>
          <cx:pt idx="73362">0</cx:pt>
          <cx:pt idx="73363">0</cx:pt>
          <cx:pt idx="73364">0</cx:pt>
          <cx:pt idx="73365">0</cx:pt>
          <cx:pt idx="73366">0</cx:pt>
          <cx:pt idx="73367">0</cx:pt>
          <cx:pt idx="73368">0</cx:pt>
          <cx:pt idx="73369">1</cx:pt>
          <cx:pt idx="73370">0</cx:pt>
          <cx:pt idx="73371">1</cx:pt>
          <cx:pt idx="73372">0</cx:pt>
          <cx:pt idx="73373">0</cx:pt>
          <cx:pt idx="73374">1</cx:pt>
          <cx:pt idx="73375">0</cx:pt>
          <cx:pt idx="73376">0</cx:pt>
          <cx:pt idx="73377">0</cx:pt>
          <cx:pt idx="73378">0</cx:pt>
          <cx:pt idx="73379">1</cx:pt>
          <cx:pt idx="73380">1</cx:pt>
          <cx:pt idx="73381">0</cx:pt>
          <cx:pt idx="73382">1</cx:pt>
          <cx:pt idx="73383">1</cx:pt>
          <cx:pt idx="73384">1</cx:pt>
          <cx:pt idx="73385">0</cx:pt>
          <cx:pt idx="73386">0</cx:pt>
          <cx:pt idx="73387">0</cx:pt>
          <cx:pt idx="73388">0</cx:pt>
          <cx:pt idx="73389">0</cx:pt>
          <cx:pt idx="73390">1</cx:pt>
          <cx:pt idx="73391">0</cx:pt>
          <cx:pt idx="73392">1</cx:pt>
          <cx:pt idx="73393">0</cx:pt>
          <cx:pt idx="73394">0</cx:pt>
          <cx:pt idx="73395">0</cx:pt>
          <cx:pt idx="73396">0</cx:pt>
          <cx:pt idx="73397">0</cx:pt>
          <cx:pt idx="73398">1</cx:pt>
          <cx:pt idx="73399">0</cx:pt>
          <cx:pt idx="73400">0</cx:pt>
          <cx:pt idx="73401">1</cx:pt>
          <cx:pt idx="73402">0</cx:pt>
          <cx:pt idx="73403">0</cx:pt>
          <cx:pt idx="73404">0</cx:pt>
          <cx:pt idx="73405">1</cx:pt>
          <cx:pt idx="73406">1</cx:pt>
          <cx:pt idx="73407">1</cx:pt>
          <cx:pt idx="73408">1</cx:pt>
          <cx:pt idx="73409">1</cx:pt>
          <cx:pt idx="73410">0</cx:pt>
          <cx:pt idx="73411">0</cx:pt>
          <cx:pt idx="73412">1</cx:pt>
          <cx:pt idx="73413">0</cx:pt>
          <cx:pt idx="73414">1</cx:pt>
          <cx:pt idx="73415">1</cx:pt>
          <cx:pt idx="73416">1</cx:pt>
          <cx:pt idx="73417">1</cx:pt>
          <cx:pt idx="73418">1</cx:pt>
          <cx:pt idx="73419">1</cx:pt>
          <cx:pt idx="73420">0</cx:pt>
          <cx:pt idx="73421">1</cx:pt>
          <cx:pt idx="73422">1</cx:pt>
          <cx:pt idx="73423">1</cx:pt>
          <cx:pt idx="73424">0</cx:pt>
          <cx:pt idx="73425">1</cx:pt>
          <cx:pt idx="73426">1</cx:pt>
          <cx:pt idx="73427">0</cx:pt>
          <cx:pt idx="73428">0</cx:pt>
          <cx:pt idx="73429">0</cx:pt>
          <cx:pt idx="73430">0</cx:pt>
          <cx:pt idx="73431">1</cx:pt>
          <cx:pt idx="73432">0</cx:pt>
          <cx:pt idx="73433">0</cx:pt>
          <cx:pt idx="73434">0</cx:pt>
          <cx:pt idx="73435">0</cx:pt>
          <cx:pt idx="73436">1</cx:pt>
          <cx:pt idx="73437">0</cx:pt>
          <cx:pt idx="73438">0</cx:pt>
          <cx:pt idx="73439">0</cx:pt>
          <cx:pt idx="73440">1</cx:pt>
          <cx:pt idx="73441">1</cx:pt>
          <cx:pt idx="73442">0</cx:pt>
          <cx:pt idx="73443">0</cx:pt>
          <cx:pt idx="73444">0</cx:pt>
          <cx:pt idx="73445">1</cx:pt>
          <cx:pt idx="73446">0</cx:pt>
          <cx:pt idx="73447">1</cx:pt>
          <cx:pt idx="73448">1</cx:pt>
          <cx:pt idx="73449">1</cx:pt>
          <cx:pt idx="73450">0</cx:pt>
          <cx:pt idx="73451">0</cx:pt>
          <cx:pt idx="73452">1</cx:pt>
          <cx:pt idx="73453">0</cx:pt>
          <cx:pt idx="73454">0</cx:pt>
          <cx:pt idx="73455">0</cx:pt>
          <cx:pt idx="73456">1</cx:pt>
          <cx:pt idx="73457">0</cx:pt>
          <cx:pt idx="73458">1</cx:pt>
          <cx:pt idx="73459">0</cx:pt>
          <cx:pt idx="73460">1</cx:pt>
          <cx:pt idx="73461">0</cx:pt>
          <cx:pt idx="73462">0</cx:pt>
          <cx:pt idx="73463">0</cx:pt>
          <cx:pt idx="73464">0</cx:pt>
          <cx:pt idx="73465">1</cx:pt>
          <cx:pt idx="73466">0</cx:pt>
          <cx:pt idx="73467">1</cx:pt>
          <cx:pt idx="73468">1</cx:pt>
          <cx:pt idx="73469">1</cx:pt>
          <cx:pt idx="73470">1</cx:pt>
          <cx:pt idx="73471">1</cx:pt>
          <cx:pt idx="73472">0</cx:pt>
          <cx:pt idx="73473">0</cx:pt>
          <cx:pt idx="73474">0</cx:pt>
          <cx:pt idx="73475">1</cx:pt>
          <cx:pt idx="73476">1</cx:pt>
          <cx:pt idx="73477">1</cx:pt>
          <cx:pt idx="73478">1</cx:pt>
          <cx:pt idx="73479">0</cx:pt>
          <cx:pt idx="73480">0</cx:pt>
          <cx:pt idx="73481">0</cx:pt>
          <cx:pt idx="73482">0</cx:pt>
          <cx:pt idx="73483">0</cx:pt>
          <cx:pt idx="73484">1</cx:pt>
          <cx:pt idx="73485">0</cx:pt>
          <cx:pt idx="73486">0</cx:pt>
          <cx:pt idx="73487">1</cx:pt>
          <cx:pt idx="73488">1</cx:pt>
          <cx:pt idx="73489">1</cx:pt>
          <cx:pt idx="73490">0</cx:pt>
          <cx:pt idx="73491">1</cx:pt>
          <cx:pt idx="73492">0</cx:pt>
          <cx:pt idx="73493">0</cx:pt>
          <cx:pt idx="73494">0</cx:pt>
          <cx:pt idx="73495">0</cx:pt>
          <cx:pt idx="73496">1</cx:pt>
          <cx:pt idx="73497">1</cx:pt>
          <cx:pt idx="73498">0</cx:pt>
          <cx:pt idx="73499">1</cx:pt>
          <cx:pt idx="73500">1</cx:pt>
          <cx:pt idx="73501">0</cx:pt>
          <cx:pt idx="73502">1</cx:pt>
          <cx:pt idx="73503">0</cx:pt>
          <cx:pt idx="73504">0</cx:pt>
          <cx:pt idx="73505">0</cx:pt>
          <cx:pt idx="73506">1</cx:pt>
          <cx:pt idx="73507">0</cx:pt>
          <cx:pt idx="73508">1</cx:pt>
          <cx:pt idx="73509">1</cx:pt>
          <cx:pt idx="73510">1</cx:pt>
          <cx:pt idx="73511">1</cx:pt>
          <cx:pt idx="73512">0</cx:pt>
          <cx:pt idx="73513">0</cx:pt>
          <cx:pt idx="73514">0</cx:pt>
          <cx:pt idx="73515">1</cx:pt>
          <cx:pt idx="73516">0</cx:pt>
          <cx:pt idx="73517">1</cx:pt>
          <cx:pt idx="73518">0</cx:pt>
          <cx:pt idx="73519">0</cx:pt>
          <cx:pt idx="73520">1</cx:pt>
          <cx:pt idx="73521">0</cx:pt>
          <cx:pt idx="73522">0</cx:pt>
          <cx:pt idx="73523">0</cx:pt>
          <cx:pt idx="73524">0</cx:pt>
          <cx:pt idx="73525">1</cx:pt>
          <cx:pt idx="73526">1</cx:pt>
          <cx:pt idx="73527">0</cx:pt>
          <cx:pt idx="73528">1</cx:pt>
          <cx:pt idx="73529">1</cx:pt>
          <cx:pt idx="73530">1</cx:pt>
          <cx:pt idx="73531">0</cx:pt>
          <cx:pt idx="73532">0</cx:pt>
          <cx:pt idx="73533">0</cx:pt>
          <cx:pt idx="73534">1</cx:pt>
          <cx:pt idx="73535">0</cx:pt>
          <cx:pt idx="73536">0</cx:pt>
          <cx:pt idx="73537">1</cx:pt>
          <cx:pt idx="73538">1</cx:pt>
          <cx:pt idx="73539">0</cx:pt>
          <cx:pt idx="73540">0</cx:pt>
          <cx:pt idx="73541">0</cx:pt>
          <cx:pt idx="73542">1</cx:pt>
          <cx:pt idx="73543">0</cx:pt>
          <cx:pt idx="73544">1</cx:pt>
          <cx:pt idx="73545">1</cx:pt>
          <cx:pt idx="73546">0</cx:pt>
          <cx:pt idx="73547">1</cx:pt>
          <cx:pt idx="73548">1</cx:pt>
          <cx:pt idx="73549">1</cx:pt>
          <cx:pt idx="73550">1</cx:pt>
          <cx:pt idx="73551">1</cx:pt>
          <cx:pt idx="73552">1</cx:pt>
          <cx:pt idx="73553">0</cx:pt>
          <cx:pt idx="73554">1</cx:pt>
          <cx:pt idx="73555">0</cx:pt>
          <cx:pt idx="73556">1</cx:pt>
          <cx:pt idx="73557">1</cx:pt>
          <cx:pt idx="73558">1</cx:pt>
          <cx:pt idx="73559">0</cx:pt>
          <cx:pt idx="73560">1</cx:pt>
          <cx:pt idx="73561">0</cx:pt>
          <cx:pt idx="73562">0</cx:pt>
          <cx:pt idx="73563">1</cx:pt>
          <cx:pt idx="73564">0</cx:pt>
          <cx:pt idx="73565">1</cx:pt>
          <cx:pt idx="73566">0</cx:pt>
          <cx:pt idx="73567">1</cx:pt>
          <cx:pt idx="73568">0</cx:pt>
          <cx:pt idx="73569">0</cx:pt>
          <cx:pt idx="73570">0</cx:pt>
          <cx:pt idx="73571">0</cx:pt>
          <cx:pt idx="73572">0</cx:pt>
          <cx:pt idx="73573">0</cx:pt>
          <cx:pt idx="73574">0</cx:pt>
          <cx:pt idx="73575">1</cx:pt>
          <cx:pt idx="73576">1</cx:pt>
          <cx:pt idx="73577">1</cx:pt>
          <cx:pt idx="73578">0</cx:pt>
          <cx:pt idx="73579">1</cx:pt>
          <cx:pt idx="73580">1</cx:pt>
          <cx:pt idx="73581">1</cx:pt>
          <cx:pt idx="73582">0</cx:pt>
          <cx:pt idx="73583">1</cx:pt>
          <cx:pt idx="73584">0</cx:pt>
          <cx:pt idx="73585">0</cx:pt>
          <cx:pt idx="73586">1</cx:pt>
          <cx:pt idx="73587">1</cx:pt>
          <cx:pt idx="73588">0</cx:pt>
          <cx:pt idx="73589">1</cx:pt>
          <cx:pt idx="73590">1</cx:pt>
          <cx:pt idx="73591">1</cx:pt>
          <cx:pt idx="73592">1</cx:pt>
          <cx:pt idx="73593">1</cx:pt>
          <cx:pt idx="73594">0</cx:pt>
          <cx:pt idx="73595">0</cx:pt>
          <cx:pt idx="73596">0</cx:pt>
          <cx:pt idx="73597">0</cx:pt>
          <cx:pt idx="73598">1</cx:pt>
          <cx:pt idx="73599">1</cx:pt>
          <cx:pt idx="73600">0</cx:pt>
          <cx:pt idx="73601">0</cx:pt>
          <cx:pt idx="73602">0</cx:pt>
          <cx:pt idx="73603">0</cx:pt>
          <cx:pt idx="73604">1</cx:pt>
          <cx:pt idx="73605">0</cx:pt>
          <cx:pt idx="73606">0</cx:pt>
          <cx:pt idx="73607">1</cx:pt>
          <cx:pt idx="73608">0</cx:pt>
          <cx:pt idx="73609">1</cx:pt>
          <cx:pt idx="73610">0</cx:pt>
          <cx:pt idx="73611">0</cx:pt>
          <cx:pt idx="73612">0</cx:pt>
          <cx:pt idx="73613">1</cx:pt>
          <cx:pt idx="73614">1</cx:pt>
          <cx:pt idx="73615">1</cx:pt>
          <cx:pt idx="73616">0</cx:pt>
          <cx:pt idx="73617">0</cx:pt>
          <cx:pt idx="73618">0</cx:pt>
          <cx:pt idx="73619">0</cx:pt>
          <cx:pt idx="73620">0</cx:pt>
          <cx:pt idx="73621">1</cx:pt>
          <cx:pt idx="73622">0</cx:pt>
          <cx:pt idx="73623">0</cx:pt>
          <cx:pt idx="73624">0</cx:pt>
          <cx:pt idx="73625">0</cx:pt>
          <cx:pt idx="73626">0</cx:pt>
          <cx:pt idx="73627">0</cx:pt>
          <cx:pt idx="73628">0</cx:pt>
          <cx:pt idx="73629">0</cx:pt>
          <cx:pt idx="73630">1</cx:pt>
          <cx:pt idx="73631">1</cx:pt>
          <cx:pt idx="73632">1</cx:pt>
          <cx:pt idx="73633">0</cx:pt>
          <cx:pt idx="73634">1</cx:pt>
          <cx:pt idx="73635">0</cx:pt>
          <cx:pt idx="73636">1</cx:pt>
          <cx:pt idx="73637">1</cx:pt>
          <cx:pt idx="73638">0</cx:pt>
          <cx:pt idx="73639">0</cx:pt>
          <cx:pt idx="73640">0</cx:pt>
          <cx:pt idx="73641">1</cx:pt>
          <cx:pt idx="73642">0</cx:pt>
          <cx:pt idx="73643">1</cx:pt>
          <cx:pt idx="73644">1</cx:pt>
          <cx:pt idx="73645">0</cx:pt>
          <cx:pt idx="73646">1</cx:pt>
          <cx:pt idx="73647">0</cx:pt>
          <cx:pt idx="73648">1</cx:pt>
          <cx:pt idx="73649">0</cx:pt>
          <cx:pt idx="73650">1</cx:pt>
          <cx:pt idx="73651">0</cx:pt>
          <cx:pt idx="73652">1</cx:pt>
          <cx:pt idx="73653">1</cx:pt>
          <cx:pt idx="73654">1</cx:pt>
          <cx:pt idx="73655">1</cx:pt>
          <cx:pt idx="73656">0</cx:pt>
          <cx:pt idx="73657">0</cx:pt>
          <cx:pt idx="73658">0</cx:pt>
          <cx:pt idx="73659">0</cx:pt>
          <cx:pt idx="73660">0</cx:pt>
          <cx:pt idx="73661">1</cx:pt>
          <cx:pt idx="73662">1</cx:pt>
          <cx:pt idx="73663">1</cx:pt>
          <cx:pt idx="73664">0</cx:pt>
          <cx:pt idx="73665">0</cx:pt>
          <cx:pt idx="73666">1</cx:pt>
          <cx:pt idx="73667">0</cx:pt>
          <cx:pt idx="73668">1</cx:pt>
          <cx:pt idx="73669">0</cx:pt>
          <cx:pt idx="73670">0</cx:pt>
          <cx:pt idx="73671">1</cx:pt>
          <cx:pt idx="73672">0</cx:pt>
          <cx:pt idx="73673">1</cx:pt>
          <cx:pt idx="73674">0</cx:pt>
          <cx:pt idx="73675">1</cx:pt>
          <cx:pt idx="73676">0</cx:pt>
          <cx:pt idx="73677">0</cx:pt>
          <cx:pt idx="73678">0</cx:pt>
          <cx:pt idx="73679">1</cx:pt>
          <cx:pt idx="73680">1</cx:pt>
          <cx:pt idx="73681">0</cx:pt>
          <cx:pt idx="73682">0</cx:pt>
          <cx:pt idx="73683">0</cx:pt>
          <cx:pt idx="73684">1</cx:pt>
          <cx:pt idx="73685">0</cx:pt>
          <cx:pt idx="73686">0</cx:pt>
          <cx:pt idx="73687">0</cx:pt>
          <cx:pt idx="73688">0</cx:pt>
          <cx:pt idx="73689">0</cx:pt>
          <cx:pt idx="73690">0</cx:pt>
          <cx:pt idx="73691">0</cx:pt>
          <cx:pt idx="73692">0</cx:pt>
          <cx:pt idx="73693">1</cx:pt>
          <cx:pt idx="73694">0</cx:pt>
          <cx:pt idx="73695">0</cx:pt>
          <cx:pt idx="73696">1</cx:pt>
          <cx:pt idx="73697">0</cx:pt>
          <cx:pt idx="73698">0</cx:pt>
          <cx:pt idx="73699">0</cx:pt>
          <cx:pt idx="73700">0</cx:pt>
          <cx:pt idx="73701">1</cx:pt>
          <cx:pt idx="73702">0</cx:pt>
          <cx:pt idx="73703">1</cx:pt>
          <cx:pt idx="73704">0</cx:pt>
          <cx:pt idx="73705">0</cx:pt>
          <cx:pt idx="73706">0</cx:pt>
          <cx:pt idx="73707">1</cx:pt>
          <cx:pt idx="73708">1</cx:pt>
          <cx:pt idx="73709">0</cx:pt>
          <cx:pt idx="73710">1</cx:pt>
          <cx:pt idx="73711">0</cx:pt>
          <cx:pt idx="73712">0</cx:pt>
          <cx:pt idx="73713">1</cx:pt>
          <cx:pt idx="73714">0</cx:pt>
          <cx:pt idx="73715">1</cx:pt>
          <cx:pt idx="73716">0</cx:pt>
          <cx:pt idx="73717">0</cx:pt>
          <cx:pt idx="73718">1</cx:pt>
          <cx:pt idx="73719">1</cx:pt>
          <cx:pt idx="73720">1</cx:pt>
          <cx:pt idx="73721">0</cx:pt>
          <cx:pt idx="73722">0</cx:pt>
          <cx:pt idx="73723">0</cx:pt>
          <cx:pt idx="73724">1</cx:pt>
          <cx:pt idx="73725">0</cx:pt>
          <cx:pt idx="73726">0</cx:pt>
          <cx:pt idx="73727">0</cx:pt>
          <cx:pt idx="73728">1</cx:pt>
          <cx:pt idx="73729">0</cx:pt>
          <cx:pt idx="73730">1</cx:pt>
          <cx:pt idx="73731">1</cx:pt>
          <cx:pt idx="73732">1</cx:pt>
          <cx:pt idx="73733">0</cx:pt>
          <cx:pt idx="73734">0</cx:pt>
          <cx:pt idx="73735">0</cx:pt>
          <cx:pt idx="73736">0</cx:pt>
          <cx:pt idx="73737">0</cx:pt>
          <cx:pt idx="73738">0</cx:pt>
          <cx:pt idx="73739">0</cx:pt>
          <cx:pt idx="73740">1</cx:pt>
          <cx:pt idx="73741">1</cx:pt>
          <cx:pt idx="73742">1</cx:pt>
          <cx:pt idx="73743">0</cx:pt>
          <cx:pt idx="73744">1</cx:pt>
          <cx:pt idx="73745">1</cx:pt>
          <cx:pt idx="73746">0</cx:pt>
          <cx:pt idx="73747">1</cx:pt>
          <cx:pt idx="73748">1</cx:pt>
          <cx:pt idx="73749">1</cx:pt>
          <cx:pt idx="73750">0</cx:pt>
          <cx:pt idx="73751">0</cx:pt>
          <cx:pt idx="73752">1</cx:pt>
          <cx:pt idx="73753">0</cx:pt>
          <cx:pt idx="73754">0</cx:pt>
          <cx:pt idx="73755">0</cx:pt>
          <cx:pt idx="73756">1</cx:pt>
          <cx:pt idx="73757">1</cx:pt>
          <cx:pt idx="73758">1</cx:pt>
          <cx:pt idx="73759">1</cx:pt>
          <cx:pt idx="73760">1</cx:pt>
          <cx:pt idx="73761">0</cx:pt>
          <cx:pt idx="73762">0</cx:pt>
          <cx:pt idx="73763">0</cx:pt>
          <cx:pt idx="73764">0</cx:pt>
          <cx:pt idx="73765">1</cx:pt>
          <cx:pt idx="73766">0</cx:pt>
          <cx:pt idx="73767">0</cx:pt>
          <cx:pt idx="73768">0</cx:pt>
          <cx:pt idx="73769">0</cx:pt>
          <cx:pt idx="73770">0</cx:pt>
          <cx:pt idx="73771">1</cx:pt>
          <cx:pt idx="73772">0</cx:pt>
          <cx:pt idx="73773">1</cx:pt>
          <cx:pt idx="73774">1</cx:pt>
          <cx:pt idx="73775">0</cx:pt>
          <cx:pt idx="73776">1</cx:pt>
          <cx:pt idx="73777">0</cx:pt>
          <cx:pt idx="73778">0</cx:pt>
          <cx:pt idx="73779">1</cx:pt>
          <cx:pt idx="73780">0</cx:pt>
          <cx:pt idx="73781">0</cx:pt>
          <cx:pt idx="73782">0</cx:pt>
          <cx:pt idx="73783">0</cx:pt>
          <cx:pt idx="73784">1</cx:pt>
          <cx:pt idx="73785">1</cx:pt>
          <cx:pt idx="73786">0</cx:pt>
          <cx:pt idx="73787">0</cx:pt>
          <cx:pt idx="73788">0</cx:pt>
          <cx:pt idx="73789">0</cx:pt>
          <cx:pt idx="73790">1</cx:pt>
          <cx:pt idx="73791">1</cx:pt>
          <cx:pt idx="73792">0</cx:pt>
          <cx:pt idx="73793">0</cx:pt>
          <cx:pt idx="73794">1</cx:pt>
          <cx:pt idx="73795">0</cx:pt>
          <cx:pt idx="73796">1</cx:pt>
          <cx:pt idx="73797">0</cx:pt>
          <cx:pt idx="73798">1</cx:pt>
          <cx:pt idx="73799">0</cx:pt>
          <cx:pt idx="73800">1</cx:pt>
          <cx:pt idx="73801">0</cx:pt>
          <cx:pt idx="73802">1</cx:pt>
          <cx:pt idx="73803">1</cx:pt>
          <cx:pt idx="73804">1</cx:pt>
          <cx:pt idx="73805">1</cx:pt>
          <cx:pt idx="73806">0</cx:pt>
          <cx:pt idx="73807">0</cx:pt>
          <cx:pt idx="73808">1</cx:pt>
          <cx:pt idx="73809">0</cx:pt>
          <cx:pt idx="73810">1</cx:pt>
          <cx:pt idx="73811">1</cx:pt>
          <cx:pt idx="73812">0</cx:pt>
          <cx:pt idx="73813">0</cx:pt>
          <cx:pt idx="73814">0</cx:pt>
          <cx:pt idx="73815">0</cx:pt>
          <cx:pt idx="73816">1</cx:pt>
          <cx:pt idx="73817">1</cx:pt>
          <cx:pt idx="73818">0</cx:pt>
          <cx:pt idx="73819">1</cx:pt>
          <cx:pt idx="73820">0</cx:pt>
          <cx:pt idx="73821">0</cx:pt>
          <cx:pt idx="73822">1</cx:pt>
          <cx:pt idx="73823">1</cx:pt>
          <cx:pt idx="73824">1</cx:pt>
          <cx:pt idx="73825">1</cx:pt>
          <cx:pt idx="73826">0</cx:pt>
          <cx:pt idx="73827">0</cx:pt>
          <cx:pt idx="73828">0</cx:pt>
          <cx:pt idx="73829">1</cx:pt>
          <cx:pt idx="73830">0</cx:pt>
          <cx:pt idx="73831">1</cx:pt>
          <cx:pt idx="73832">1</cx:pt>
          <cx:pt idx="73833">0</cx:pt>
          <cx:pt idx="73834">1</cx:pt>
          <cx:pt idx="73835">1</cx:pt>
          <cx:pt idx="73836">1</cx:pt>
          <cx:pt idx="73837">0</cx:pt>
          <cx:pt idx="73838">0</cx:pt>
          <cx:pt idx="73839">0</cx:pt>
          <cx:pt idx="73840">0</cx:pt>
          <cx:pt idx="73841">1</cx:pt>
          <cx:pt idx="73842">1</cx:pt>
          <cx:pt idx="73843">0</cx:pt>
          <cx:pt idx="73844">0</cx:pt>
          <cx:pt idx="73845">0</cx:pt>
          <cx:pt idx="73846">1</cx:pt>
          <cx:pt idx="73847">0</cx:pt>
          <cx:pt idx="73848">0</cx:pt>
          <cx:pt idx="73849">1</cx:pt>
          <cx:pt idx="73850">1</cx:pt>
          <cx:pt idx="73851">1</cx:pt>
          <cx:pt idx="73852">1</cx:pt>
          <cx:pt idx="73853">1</cx:pt>
          <cx:pt idx="73854">1</cx:pt>
          <cx:pt idx="73855">1</cx:pt>
          <cx:pt idx="73856">1</cx:pt>
          <cx:pt idx="73857">0</cx:pt>
          <cx:pt idx="73858">0</cx:pt>
          <cx:pt idx="73859">1</cx:pt>
          <cx:pt idx="73860">0</cx:pt>
          <cx:pt idx="73861">0</cx:pt>
          <cx:pt idx="73862">1</cx:pt>
          <cx:pt idx="73863">0</cx:pt>
          <cx:pt idx="73864">1</cx:pt>
          <cx:pt idx="73865">0</cx:pt>
          <cx:pt idx="73866">0</cx:pt>
          <cx:pt idx="73867">0</cx:pt>
          <cx:pt idx="73868">1</cx:pt>
          <cx:pt idx="73869">0</cx:pt>
          <cx:pt idx="73870">0</cx:pt>
          <cx:pt idx="73871">1</cx:pt>
          <cx:pt idx="73872">0</cx:pt>
          <cx:pt idx="73873">0</cx:pt>
          <cx:pt idx="73874">1</cx:pt>
          <cx:pt idx="73875">1</cx:pt>
          <cx:pt idx="73876">1</cx:pt>
          <cx:pt idx="73877">1</cx:pt>
          <cx:pt idx="73878">1</cx:pt>
          <cx:pt idx="73879">0</cx:pt>
          <cx:pt idx="73880">1</cx:pt>
          <cx:pt idx="73881">0</cx:pt>
          <cx:pt idx="73882">0</cx:pt>
          <cx:pt idx="73883">1</cx:pt>
          <cx:pt idx="73884">1</cx:pt>
          <cx:pt idx="73885">0</cx:pt>
          <cx:pt idx="73886">0</cx:pt>
          <cx:pt idx="73887">0</cx:pt>
          <cx:pt idx="73888">0</cx:pt>
          <cx:pt idx="73889">1</cx:pt>
          <cx:pt idx="73890">1</cx:pt>
          <cx:pt idx="73891">0</cx:pt>
          <cx:pt idx="73892">1</cx:pt>
          <cx:pt idx="73893">1</cx:pt>
          <cx:pt idx="73894">1</cx:pt>
          <cx:pt idx="73895">0</cx:pt>
          <cx:pt idx="73896">1</cx:pt>
          <cx:pt idx="73897">0</cx:pt>
          <cx:pt idx="73898">0</cx:pt>
          <cx:pt idx="73899">1</cx:pt>
          <cx:pt idx="73900">1</cx:pt>
          <cx:pt idx="73901">1</cx:pt>
          <cx:pt idx="73902">0</cx:pt>
          <cx:pt idx="73903">0</cx:pt>
          <cx:pt idx="73904">0</cx:pt>
          <cx:pt idx="73905">1</cx:pt>
          <cx:pt idx="73906">0</cx:pt>
          <cx:pt idx="73907">0</cx:pt>
          <cx:pt idx="73908">0</cx:pt>
          <cx:pt idx="73909">1</cx:pt>
          <cx:pt idx="73910">1</cx:pt>
          <cx:pt idx="73911">0</cx:pt>
          <cx:pt idx="73912">0</cx:pt>
          <cx:pt idx="73913">1</cx:pt>
          <cx:pt idx="73914">0</cx:pt>
          <cx:pt idx="73915">0</cx:pt>
          <cx:pt idx="73916">0</cx:pt>
          <cx:pt idx="73917">0</cx:pt>
          <cx:pt idx="73918">0</cx:pt>
          <cx:pt idx="73919">0</cx:pt>
          <cx:pt idx="73920">0</cx:pt>
          <cx:pt idx="73921">1</cx:pt>
          <cx:pt idx="73922">1</cx:pt>
          <cx:pt idx="73923">0</cx:pt>
          <cx:pt idx="73924">0</cx:pt>
          <cx:pt idx="73925">0</cx:pt>
          <cx:pt idx="73926">1</cx:pt>
          <cx:pt idx="73927">0</cx:pt>
          <cx:pt idx="73928">0</cx:pt>
          <cx:pt idx="73929">0</cx:pt>
          <cx:pt idx="73930">0</cx:pt>
          <cx:pt idx="73931">1</cx:pt>
          <cx:pt idx="73932">0</cx:pt>
          <cx:pt idx="73933">0</cx:pt>
          <cx:pt idx="73934">1</cx:pt>
          <cx:pt idx="73935">1</cx:pt>
          <cx:pt idx="73936">0</cx:pt>
          <cx:pt idx="73937">1</cx:pt>
          <cx:pt idx="73938">0</cx:pt>
          <cx:pt idx="73939">0</cx:pt>
          <cx:pt idx="73940">1</cx:pt>
          <cx:pt idx="73941">0</cx:pt>
          <cx:pt idx="73942">0</cx:pt>
          <cx:pt idx="73943">1</cx:pt>
          <cx:pt idx="73944">0</cx:pt>
          <cx:pt idx="73945">1</cx:pt>
          <cx:pt idx="73946">0</cx:pt>
          <cx:pt idx="73947">1</cx:pt>
          <cx:pt idx="73948">1</cx:pt>
          <cx:pt idx="73949">0</cx:pt>
          <cx:pt idx="73950">1</cx:pt>
          <cx:pt idx="73951">0</cx:pt>
          <cx:pt idx="73952">1</cx:pt>
          <cx:pt idx="73953">1</cx:pt>
          <cx:pt idx="73954">0</cx:pt>
          <cx:pt idx="73955">1</cx:pt>
          <cx:pt idx="73956">1</cx:pt>
          <cx:pt idx="73957">0</cx:pt>
          <cx:pt idx="73958">0</cx:pt>
          <cx:pt idx="73959">0</cx:pt>
          <cx:pt idx="73960">1</cx:pt>
          <cx:pt idx="73961">0</cx:pt>
          <cx:pt idx="73962">0</cx:pt>
          <cx:pt idx="73963">0</cx:pt>
          <cx:pt idx="73964">0</cx:pt>
          <cx:pt idx="73965">0</cx:pt>
          <cx:pt idx="73966">1</cx:pt>
          <cx:pt idx="73967">1</cx:pt>
          <cx:pt idx="73968">0</cx:pt>
          <cx:pt idx="73969">0</cx:pt>
          <cx:pt idx="73970">1</cx:pt>
          <cx:pt idx="73971">1</cx:pt>
          <cx:pt idx="73972">0</cx:pt>
          <cx:pt idx="73973">0</cx:pt>
          <cx:pt idx="73974">0</cx:pt>
          <cx:pt idx="73975">1</cx:pt>
          <cx:pt idx="73976">1</cx:pt>
          <cx:pt idx="73977">0</cx:pt>
          <cx:pt idx="73978">1</cx:pt>
          <cx:pt idx="73979">1</cx:pt>
          <cx:pt idx="73980">1</cx:pt>
          <cx:pt idx="73981">1</cx:pt>
          <cx:pt idx="73982">0</cx:pt>
          <cx:pt idx="73983">0</cx:pt>
          <cx:pt idx="73984">1</cx:pt>
          <cx:pt idx="73985">1</cx:pt>
          <cx:pt idx="73986">0</cx:pt>
          <cx:pt idx="73987">0</cx:pt>
          <cx:pt idx="73988">1</cx:pt>
          <cx:pt idx="73989">1</cx:pt>
          <cx:pt idx="73990">0</cx:pt>
          <cx:pt idx="73991">0</cx:pt>
          <cx:pt idx="73992">0</cx:pt>
          <cx:pt idx="73993">1</cx:pt>
          <cx:pt idx="73994">0</cx:pt>
          <cx:pt idx="73995">1</cx:pt>
          <cx:pt idx="73996">0</cx:pt>
          <cx:pt idx="73997">1</cx:pt>
          <cx:pt idx="73998">0</cx:pt>
          <cx:pt idx="73999">1</cx:pt>
          <cx:pt idx="74000">0</cx:pt>
          <cx:pt idx="74001">1</cx:pt>
          <cx:pt idx="74002">1</cx:pt>
          <cx:pt idx="74003">1</cx:pt>
          <cx:pt idx="74004">1</cx:pt>
          <cx:pt idx="74005">0</cx:pt>
          <cx:pt idx="74006">1</cx:pt>
          <cx:pt idx="74007">0</cx:pt>
          <cx:pt idx="74008">1</cx:pt>
          <cx:pt idx="74009">0</cx:pt>
          <cx:pt idx="74010">0</cx:pt>
          <cx:pt idx="74011">1</cx:pt>
          <cx:pt idx="74012">0</cx:pt>
          <cx:pt idx="74013">0</cx:pt>
          <cx:pt idx="74014">1</cx:pt>
          <cx:pt idx="74015">0</cx:pt>
          <cx:pt idx="74016">0</cx:pt>
          <cx:pt idx="74017">0</cx:pt>
          <cx:pt idx="74018">1</cx:pt>
          <cx:pt idx="74019">1</cx:pt>
          <cx:pt idx="74020">0</cx:pt>
          <cx:pt idx="74021">0</cx:pt>
          <cx:pt idx="74022">1</cx:pt>
          <cx:pt idx="74023">1</cx:pt>
          <cx:pt idx="74024">0</cx:pt>
          <cx:pt idx="74025">0</cx:pt>
          <cx:pt idx="74026">1</cx:pt>
          <cx:pt idx="74027">0</cx:pt>
          <cx:pt idx="74028">0</cx:pt>
          <cx:pt idx="74029">0</cx:pt>
          <cx:pt idx="74030">0</cx:pt>
          <cx:pt idx="74031">1</cx:pt>
          <cx:pt idx="74032">1</cx:pt>
          <cx:pt idx="74033">0</cx:pt>
          <cx:pt idx="74034">0</cx:pt>
          <cx:pt idx="74035">1</cx:pt>
          <cx:pt idx="74036">0</cx:pt>
          <cx:pt idx="74037">0</cx:pt>
          <cx:pt idx="74038">0</cx:pt>
          <cx:pt idx="74039">1</cx:pt>
          <cx:pt idx="74040">0</cx:pt>
          <cx:pt idx="74041">0</cx:pt>
          <cx:pt idx="74042">1</cx:pt>
          <cx:pt idx="74043">0</cx:pt>
          <cx:pt idx="74044">0</cx:pt>
          <cx:pt idx="74045">1</cx:pt>
          <cx:pt idx="74046">1</cx:pt>
          <cx:pt idx="74047">1</cx:pt>
          <cx:pt idx="74048">0</cx:pt>
          <cx:pt idx="74049">0</cx:pt>
          <cx:pt idx="74050">1</cx:pt>
          <cx:pt idx="74051">0</cx:pt>
          <cx:pt idx="74052">1</cx:pt>
          <cx:pt idx="74053">0</cx:pt>
          <cx:pt idx="74054">0</cx:pt>
          <cx:pt idx="74055">1</cx:pt>
          <cx:pt idx="74056">1</cx:pt>
          <cx:pt idx="74057">0</cx:pt>
          <cx:pt idx="74058">0</cx:pt>
          <cx:pt idx="74059">1</cx:pt>
          <cx:pt idx="74060">0</cx:pt>
          <cx:pt idx="74061">1</cx:pt>
          <cx:pt idx="74062">0</cx:pt>
          <cx:pt idx="74063">0</cx:pt>
          <cx:pt idx="74064">0</cx:pt>
          <cx:pt idx="74065">1</cx:pt>
          <cx:pt idx="74066">1</cx:pt>
          <cx:pt idx="74067">0</cx:pt>
          <cx:pt idx="74068">0</cx:pt>
          <cx:pt idx="74069">0</cx:pt>
          <cx:pt idx="74070">0</cx:pt>
          <cx:pt idx="74071">0</cx:pt>
          <cx:pt idx="74072">0</cx:pt>
          <cx:pt idx="74073">0</cx:pt>
          <cx:pt idx="74074">0</cx:pt>
          <cx:pt idx="74075">1</cx:pt>
          <cx:pt idx="74076">1</cx:pt>
          <cx:pt idx="74077">0</cx:pt>
          <cx:pt idx="74078">0</cx:pt>
          <cx:pt idx="74079">0</cx:pt>
          <cx:pt idx="74080">1</cx:pt>
          <cx:pt idx="74081">1</cx:pt>
          <cx:pt idx="74082">0</cx:pt>
          <cx:pt idx="74083">1</cx:pt>
          <cx:pt idx="74084">0</cx:pt>
          <cx:pt idx="74085">1</cx:pt>
          <cx:pt idx="74086">1</cx:pt>
          <cx:pt idx="74087">0</cx:pt>
          <cx:pt idx="74088">0</cx:pt>
          <cx:pt idx="74089">1</cx:pt>
          <cx:pt idx="74090">0</cx:pt>
          <cx:pt idx="74091">0</cx:pt>
          <cx:pt idx="74092">0</cx:pt>
          <cx:pt idx="74093">0</cx:pt>
          <cx:pt idx="74094">0</cx:pt>
          <cx:pt idx="74095">1</cx:pt>
          <cx:pt idx="74096">0</cx:pt>
          <cx:pt idx="74097">0</cx:pt>
          <cx:pt idx="74098">0</cx:pt>
          <cx:pt idx="74099">1</cx:pt>
          <cx:pt idx="74100">0</cx:pt>
          <cx:pt idx="74101">0</cx:pt>
          <cx:pt idx="74102">0</cx:pt>
          <cx:pt idx="74103">1</cx:pt>
          <cx:pt idx="74104">1</cx:pt>
          <cx:pt idx="74105">1</cx:pt>
          <cx:pt idx="74106">1</cx:pt>
          <cx:pt idx="74107">0</cx:pt>
          <cx:pt idx="74108">1</cx:pt>
          <cx:pt idx="74109">1</cx:pt>
          <cx:pt idx="74110">0</cx:pt>
          <cx:pt idx="74111">0</cx:pt>
          <cx:pt idx="74112">0</cx:pt>
          <cx:pt idx="74113">1</cx:pt>
          <cx:pt idx="74114">0</cx:pt>
          <cx:pt idx="74115">0</cx:pt>
          <cx:pt idx="74116">0</cx:pt>
          <cx:pt idx="74117">0</cx:pt>
          <cx:pt idx="74118">1</cx:pt>
          <cx:pt idx="74119">0</cx:pt>
          <cx:pt idx="74120">0</cx:pt>
          <cx:pt idx="74121">0</cx:pt>
          <cx:pt idx="74122">0</cx:pt>
          <cx:pt idx="74123">1</cx:pt>
          <cx:pt idx="74124">0</cx:pt>
          <cx:pt idx="74125">0</cx:pt>
          <cx:pt idx="74126">1</cx:pt>
          <cx:pt idx="74127">0</cx:pt>
          <cx:pt idx="74128">0</cx:pt>
          <cx:pt idx="74129">1</cx:pt>
          <cx:pt idx="74130">0</cx:pt>
          <cx:pt idx="74131">0</cx:pt>
          <cx:pt idx="74132">1</cx:pt>
          <cx:pt idx="74133">0</cx:pt>
          <cx:pt idx="74134">0</cx:pt>
          <cx:pt idx="74135">1</cx:pt>
          <cx:pt idx="74136">0</cx:pt>
          <cx:pt idx="74137">1</cx:pt>
          <cx:pt idx="74138">1</cx:pt>
          <cx:pt idx="74139">0</cx:pt>
          <cx:pt idx="74140">1</cx:pt>
          <cx:pt idx="74141">0</cx:pt>
          <cx:pt idx="74142">1</cx:pt>
          <cx:pt idx="74143">0</cx:pt>
          <cx:pt idx="74144">0</cx:pt>
          <cx:pt idx="74145">0</cx:pt>
          <cx:pt idx="74146">0</cx:pt>
          <cx:pt idx="74147">0</cx:pt>
          <cx:pt idx="74148">1</cx:pt>
          <cx:pt idx="74149">0</cx:pt>
          <cx:pt idx="74150">0</cx:pt>
          <cx:pt idx="74151">1</cx:pt>
          <cx:pt idx="74152">1</cx:pt>
          <cx:pt idx="74153">0</cx:pt>
          <cx:pt idx="74154">1</cx:pt>
          <cx:pt idx="74155">1</cx:pt>
          <cx:pt idx="74156">0</cx:pt>
          <cx:pt idx="74157">0</cx:pt>
          <cx:pt idx="74158">1</cx:pt>
          <cx:pt idx="74159">1</cx:pt>
          <cx:pt idx="74160">0</cx:pt>
          <cx:pt idx="74161">1</cx:pt>
          <cx:pt idx="74162">0</cx:pt>
          <cx:pt idx="74163">0</cx:pt>
          <cx:pt idx="74164">1</cx:pt>
          <cx:pt idx="74165">1</cx:pt>
          <cx:pt idx="74166">1</cx:pt>
          <cx:pt idx="74167">0</cx:pt>
          <cx:pt idx="74168">0</cx:pt>
          <cx:pt idx="74169">0</cx:pt>
          <cx:pt idx="74170">1</cx:pt>
          <cx:pt idx="74171">0</cx:pt>
          <cx:pt idx="74172">1</cx:pt>
          <cx:pt idx="74173">1</cx:pt>
          <cx:pt idx="74174">1</cx:pt>
          <cx:pt idx="74175">1</cx:pt>
          <cx:pt idx="74176">0</cx:pt>
          <cx:pt idx="74177">0</cx:pt>
          <cx:pt idx="74178">1</cx:pt>
          <cx:pt idx="74179">0</cx:pt>
          <cx:pt idx="74180">1</cx:pt>
          <cx:pt idx="74181">1</cx:pt>
          <cx:pt idx="74182">0</cx:pt>
          <cx:pt idx="74183">0</cx:pt>
          <cx:pt idx="74184">1</cx:pt>
          <cx:pt idx="74185">1</cx:pt>
          <cx:pt idx="74186">1</cx:pt>
          <cx:pt idx="74187">0</cx:pt>
          <cx:pt idx="74188">0</cx:pt>
          <cx:pt idx="74189">1</cx:pt>
          <cx:pt idx="74190">1</cx:pt>
          <cx:pt idx="74191">0</cx:pt>
          <cx:pt idx="74192">0</cx:pt>
          <cx:pt idx="74193">0</cx:pt>
          <cx:pt idx="74194">0</cx:pt>
          <cx:pt idx="74195">0</cx:pt>
          <cx:pt idx="74196">1</cx:pt>
          <cx:pt idx="74197">1</cx:pt>
          <cx:pt idx="74198">0</cx:pt>
          <cx:pt idx="74199">0</cx:pt>
          <cx:pt idx="74200">0</cx:pt>
          <cx:pt idx="74201">1</cx:pt>
          <cx:pt idx="74202">0</cx:pt>
          <cx:pt idx="74203">1</cx:pt>
          <cx:pt idx="74204">1</cx:pt>
          <cx:pt idx="74205">0</cx:pt>
          <cx:pt idx="74206">0</cx:pt>
          <cx:pt idx="74207">0</cx:pt>
          <cx:pt idx="74208">0</cx:pt>
          <cx:pt idx="74209">1</cx:pt>
          <cx:pt idx="74210">1</cx:pt>
          <cx:pt idx="74211">0</cx:pt>
          <cx:pt idx="74212">0</cx:pt>
          <cx:pt idx="74213">0</cx:pt>
          <cx:pt idx="74214">1</cx:pt>
          <cx:pt idx="74215">0</cx:pt>
          <cx:pt idx="74216">1</cx:pt>
          <cx:pt idx="74217">0</cx:pt>
          <cx:pt idx="74218">1</cx:pt>
          <cx:pt idx="74219">0</cx:pt>
          <cx:pt idx="74220">1</cx:pt>
          <cx:pt idx="74221">1</cx:pt>
          <cx:pt idx="74222">0</cx:pt>
          <cx:pt idx="74223">1</cx:pt>
          <cx:pt idx="74224">0</cx:pt>
          <cx:pt idx="74225">0</cx:pt>
          <cx:pt idx="74226">0</cx:pt>
          <cx:pt idx="74227">0</cx:pt>
          <cx:pt idx="74228">0</cx:pt>
          <cx:pt idx="74229">0</cx:pt>
          <cx:pt idx="74230">1</cx:pt>
          <cx:pt idx="74231">0</cx:pt>
          <cx:pt idx="74232">0</cx:pt>
          <cx:pt idx="74233">1</cx:pt>
          <cx:pt idx="74234">1</cx:pt>
          <cx:pt idx="74235">0</cx:pt>
          <cx:pt idx="74236">1</cx:pt>
          <cx:pt idx="74237">1</cx:pt>
          <cx:pt idx="74238">1</cx:pt>
          <cx:pt idx="74239">0</cx:pt>
          <cx:pt idx="74240">0</cx:pt>
          <cx:pt idx="74241">1</cx:pt>
          <cx:pt idx="74242">1</cx:pt>
          <cx:pt idx="74243">0</cx:pt>
          <cx:pt idx="74244">0</cx:pt>
          <cx:pt idx="74245">1</cx:pt>
          <cx:pt idx="74246">1</cx:pt>
          <cx:pt idx="74247">0</cx:pt>
          <cx:pt idx="74248">1</cx:pt>
          <cx:pt idx="74249">0</cx:pt>
          <cx:pt idx="74250">0</cx:pt>
          <cx:pt idx="74251">0</cx:pt>
          <cx:pt idx="74252">1</cx:pt>
          <cx:pt idx="74253">0</cx:pt>
          <cx:pt idx="74254">1</cx:pt>
          <cx:pt idx="74255">0</cx:pt>
          <cx:pt idx="74256">0</cx:pt>
          <cx:pt idx="74257">1</cx:pt>
          <cx:pt idx="74258">0</cx:pt>
          <cx:pt idx="74259">0</cx:pt>
          <cx:pt idx="74260">1</cx:pt>
          <cx:pt idx="74261">0</cx:pt>
          <cx:pt idx="74262">1</cx:pt>
          <cx:pt idx="74263">0</cx:pt>
          <cx:pt idx="74264">1</cx:pt>
          <cx:pt idx="74265">1</cx:pt>
          <cx:pt idx="74266">1</cx:pt>
          <cx:pt idx="74267">1</cx:pt>
          <cx:pt idx="74268">1</cx:pt>
          <cx:pt idx="74269">1</cx:pt>
          <cx:pt idx="74270">0</cx:pt>
          <cx:pt idx="74271">1</cx:pt>
          <cx:pt idx="74272">0</cx:pt>
          <cx:pt idx="74273">0</cx:pt>
          <cx:pt idx="74274">1</cx:pt>
          <cx:pt idx="74275">0</cx:pt>
          <cx:pt idx="74276">0</cx:pt>
          <cx:pt idx="74277">1</cx:pt>
          <cx:pt idx="74278">0</cx:pt>
          <cx:pt idx="74279">1</cx:pt>
          <cx:pt idx="74280">0</cx:pt>
          <cx:pt idx="74281">1</cx:pt>
          <cx:pt idx="74282">1</cx:pt>
          <cx:pt idx="74283">0</cx:pt>
          <cx:pt idx="74284">0</cx:pt>
          <cx:pt idx="74285">0</cx:pt>
          <cx:pt idx="74286">0</cx:pt>
          <cx:pt idx="74287">0</cx:pt>
          <cx:pt idx="74288">0</cx:pt>
          <cx:pt idx="74289">0</cx:pt>
          <cx:pt idx="74290">0</cx:pt>
          <cx:pt idx="74291">1</cx:pt>
          <cx:pt idx="74292">0</cx:pt>
          <cx:pt idx="74293">0</cx:pt>
          <cx:pt idx="74294">0</cx:pt>
          <cx:pt idx="74295">1</cx:pt>
          <cx:pt idx="74296">1</cx:pt>
          <cx:pt idx="74297">1</cx:pt>
          <cx:pt idx="74298">1</cx:pt>
          <cx:pt idx="74299">0</cx:pt>
          <cx:pt idx="74300">0</cx:pt>
          <cx:pt idx="74301">0</cx:pt>
          <cx:pt idx="74302">0</cx:pt>
          <cx:pt idx="74303">0</cx:pt>
          <cx:pt idx="74304">1</cx:pt>
          <cx:pt idx="74305">0</cx:pt>
          <cx:pt idx="74306">1</cx:pt>
          <cx:pt idx="74307">0</cx:pt>
          <cx:pt idx="74308">0</cx:pt>
          <cx:pt idx="74309">0</cx:pt>
          <cx:pt idx="74310">1</cx:pt>
          <cx:pt idx="74311">0</cx:pt>
          <cx:pt idx="74312">0</cx:pt>
          <cx:pt idx="74313">0</cx:pt>
          <cx:pt idx="74314">0</cx:pt>
          <cx:pt idx="74315">1</cx:pt>
          <cx:pt idx="74316">0</cx:pt>
          <cx:pt idx="74317">0</cx:pt>
          <cx:pt idx="74318">0</cx:pt>
          <cx:pt idx="74319">0</cx:pt>
          <cx:pt idx="74320">1</cx:pt>
          <cx:pt idx="74321">1</cx:pt>
          <cx:pt idx="74322">1</cx:pt>
          <cx:pt idx="74323">1</cx:pt>
          <cx:pt idx="74324">0</cx:pt>
          <cx:pt idx="74325">0</cx:pt>
          <cx:pt idx="74326">0</cx:pt>
          <cx:pt idx="74327">1</cx:pt>
          <cx:pt idx="74328">1</cx:pt>
          <cx:pt idx="74329">1</cx:pt>
          <cx:pt idx="74330">0</cx:pt>
          <cx:pt idx="74331">0</cx:pt>
          <cx:pt idx="74332">0</cx:pt>
          <cx:pt idx="74333">0</cx:pt>
          <cx:pt idx="74334">0</cx:pt>
          <cx:pt idx="74335">1</cx:pt>
          <cx:pt idx="74336">1</cx:pt>
          <cx:pt idx="74337">0</cx:pt>
          <cx:pt idx="74338">1</cx:pt>
          <cx:pt idx="74339">1</cx:pt>
          <cx:pt idx="74340">0</cx:pt>
          <cx:pt idx="74341">1</cx:pt>
          <cx:pt idx="74342">1</cx:pt>
          <cx:pt idx="74343">1</cx:pt>
          <cx:pt idx="74344">1</cx:pt>
          <cx:pt idx="74345">1</cx:pt>
          <cx:pt idx="74346">1</cx:pt>
          <cx:pt idx="74347">0</cx:pt>
          <cx:pt idx="74348">0</cx:pt>
          <cx:pt idx="74349">0</cx:pt>
          <cx:pt idx="74350">1</cx:pt>
          <cx:pt idx="74351">0</cx:pt>
          <cx:pt idx="74352">0</cx:pt>
          <cx:pt idx="74353">1</cx:pt>
          <cx:pt idx="74354">0</cx:pt>
          <cx:pt idx="74355">0</cx:pt>
          <cx:pt idx="74356">0</cx:pt>
          <cx:pt idx="74357">1</cx:pt>
          <cx:pt idx="74358">1</cx:pt>
          <cx:pt idx="74359">1</cx:pt>
          <cx:pt idx="74360">1</cx:pt>
          <cx:pt idx="74361">1</cx:pt>
          <cx:pt idx="74362">0</cx:pt>
          <cx:pt idx="74363">1</cx:pt>
          <cx:pt idx="74364">1</cx:pt>
          <cx:pt idx="74365">1</cx:pt>
          <cx:pt idx="74366">0</cx:pt>
          <cx:pt idx="74367">0</cx:pt>
          <cx:pt idx="74368">0</cx:pt>
          <cx:pt idx="74369">0</cx:pt>
          <cx:pt idx="74370">0</cx:pt>
          <cx:pt idx="74371">1</cx:pt>
          <cx:pt idx="74372">1</cx:pt>
          <cx:pt idx="74373">1</cx:pt>
          <cx:pt idx="74374">1</cx:pt>
          <cx:pt idx="74375">0</cx:pt>
          <cx:pt idx="74376">1</cx:pt>
          <cx:pt idx="74377">0</cx:pt>
          <cx:pt idx="74378">1</cx:pt>
          <cx:pt idx="74379">1</cx:pt>
          <cx:pt idx="74380">0</cx:pt>
          <cx:pt idx="74381">0</cx:pt>
          <cx:pt idx="74382">1</cx:pt>
          <cx:pt idx="74383">0</cx:pt>
          <cx:pt idx="74384">0</cx:pt>
          <cx:pt idx="74385">0</cx:pt>
          <cx:pt idx="74386">1</cx:pt>
          <cx:pt idx="74387">1</cx:pt>
          <cx:pt idx="74388">1</cx:pt>
          <cx:pt idx="74389">0</cx:pt>
          <cx:pt idx="74390">0</cx:pt>
          <cx:pt idx="74391">1</cx:pt>
          <cx:pt idx="74392">0</cx:pt>
          <cx:pt idx="74393">1</cx:pt>
          <cx:pt idx="74394">1</cx:pt>
          <cx:pt idx="74395">0</cx:pt>
          <cx:pt idx="74396">0</cx:pt>
          <cx:pt idx="74397">1</cx:pt>
          <cx:pt idx="74398">0</cx:pt>
          <cx:pt idx="74399">1</cx:pt>
          <cx:pt idx="74400">0</cx:pt>
          <cx:pt idx="74401">0</cx:pt>
          <cx:pt idx="74402">0</cx:pt>
          <cx:pt idx="74403">0</cx:pt>
          <cx:pt idx="74404">1</cx:pt>
          <cx:pt idx="74405">0</cx:pt>
          <cx:pt idx="74406">0</cx:pt>
          <cx:pt idx="74407">0</cx:pt>
          <cx:pt idx="74408">0</cx:pt>
          <cx:pt idx="74409">0</cx:pt>
          <cx:pt idx="74410">1</cx:pt>
          <cx:pt idx="74411">0</cx:pt>
          <cx:pt idx="74412">1</cx:pt>
          <cx:pt idx="74413">0</cx:pt>
          <cx:pt idx="74414">1</cx:pt>
          <cx:pt idx="74415">1</cx:pt>
          <cx:pt idx="74416">1</cx:pt>
          <cx:pt idx="74417">0</cx:pt>
          <cx:pt idx="74418">0</cx:pt>
          <cx:pt idx="74419">1</cx:pt>
          <cx:pt idx="74420">1</cx:pt>
          <cx:pt idx="74421">1</cx:pt>
          <cx:pt idx="74422">0</cx:pt>
          <cx:pt idx="74423">1</cx:pt>
          <cx:pt idx="74424">1</cx:pt>
          <cx:pt idx="74425">1</cx:pt>
          <cx:pt idx="74426">1</cx:pt>
          <cx:pt idx="74427">1</cx:pt>
          <cx:pt idx="74428">0</cx:pt>
          <cx:pt idx="74429">0</cx:pt>
          <cx:pt idx="74430">0</cx:pt>
          <cx:pt idx="74431">1</cx:pt>
          <cx:pt idx="74432">1</cx:pt>
          <cx:pt idx="74433">0</cx:pt>
          <cx:pt idx="74434">1</cx:pt>
          <cx:pt idx="74435">0</cx:pt>
          <cx:pt idx="74436">0</cx:pt>
          <cx:pt idx="74437">0</cx:pt>
          <cx:pt idx="74438">0</cx:pt>
          <cx:pt idx="74439">0</cx:pt>
          <cx:pt idx="74440">0</cx:pt>
          <cx:pt idx="74441">0</cx:pt>
          <cx:pt idx="74442">0</cx:pt>
          <cx:pt idx="74443">1</cx:pt>
          <cx:pt idx="74444">1</cx:pt>
          <cx:pt idx="74445">0</cx:pt>
          <cx:pt idx="74446">0</cx:pt>
          <cx:pt idx="74447">1</cx:pt>
          <cx:pt idx="74448">1</cx:pt>
          <cx:pt idx="74449">1</cx:pt>
          <cx:pt idx="74450">0</cx:pt>
          <cx:pt idx="74451">0</cx:pt>
          <cx:pt idx="74452">0</cx:pt>
          <cx:pt idx="74453">0</cx:pt>
          <cx:pt idx="74454">0</cx:pt>
          <cx:pt idx="74455">0</cx:pt>
          <cx:pt idx="74456">1</cx:pt>
          <cx:pt idx="74457">0</cx:pt>
          <cx:pt idx="74458">1</cx:pt>
          <cx:pt idx="74459">1</cx:pt>
          <cx:pt idx="74460">0</cx:pt>
          <cx:pt idx="74461">0</cx:pt>
          <cx:pt idx="74462">0</cx:pt>
          <cx:pt idx="74463">1</cx:pt>
          <cx:pt idx="74464">0</cx:pt>
          <cx:pt idx="74465">1</cx:pt>
          <cx:pt idx="74466">0</cx:pt>
          <cx:pt idx="74467">0</cx:pt>
          <cx:pt idx="74468">0</cx:pt>
          <cx:pt idx="74469">0</cx:pt>
          <cx:pt idx="74470">1</cx:pt>
          <cx:pt idx="74471">0</cx:pt>
          <cx:pt idx="74472">1</cx:pt>
          <cx:pt idx="74473">1</cx:pt>
          <cx:pt idx="74474">1</cx:pt>
          <cx:pt idx="74475">1</cx:pt>
          <cx:pt idx="74476">1</cx:pt>
          <cx:pt idx="74477">0</cx:pt>
          <cx:pt idx="74478">0</cx:pt>
          <cx:pt idx="74479">1</cx:pt>
          <cx:pt idx="74480">1</cx:pt>
          <cx:pt idx="74481">0</cx:pt>
          <cx:pt idx="74482">0</cx:pt>
          <cx:pt idx="74483">1</cx:pt>
          <cx:pt idx="74484">1</cx:pt>
          <cx:pt idx="74485">0</cx:pt>
          <cx:pt idx="74486">0</cx:pt>
          <cx:pt idx="74487">0</cx:pt>
          <cx:pt idx="74488">1</cx:pt>
          <cx:pt idx="74489">0</cx:pt>
          <cx:pt idx="74490">0</cx:pt>
          <cx:pt idx="74491">0</cx:pt>
          <cx:pt idx="74492">0</cx:pt>
          <cx:pt idx="74493">0</cx:pt>
          <cx:pt idx="74494">0</cx:pt>
          <cx:pt idx="74495">0</cx:pt>
          <cx:pt idx="74496">0</cx:pt>
          <cx:pt idx="74497">0</cx:pt>
          <cx:pt idx="74498">0</cx:pt>
          <cx:pt idx="74499">1</cx:pt>
          <cx:pt idx="74500">0</cx:pt>
          <cx:pt idx="74501">1</cx:pt>
          <cx:pt idx="74502">0</cx:pt>
          <cx:pt idx="74503">1</cx:pt>
          <cx:pt idx="74504">0</cx:pt>
          <cx:pt idx="74505">1</cx:pt>
          <cx:pt idx="74506">0</cx:pt>
          <cx:pt idx="74507">1</cx:pt>
          <cx:pt idx="74508">1</cx:pt>
          <cx:pt idx="74509">0</cx:pt>
          <cx:pt idx="74510">0</cx:pt>
          <cx:pt idx="74511">1</cx:pt>
          <cx:pt idx="74512">0</cx:pt>
          <cx:pt idx="74513">0</cx:pt>
          <cx:pt idx="74514">0</cx:pt>
          <cx:pt idx="74515">0</cx:pt>
          <cx:pt idx="74516">0</cx:pt>
          <cx:pt idx="74517">1</cx:pt>
          <cx:pt idx="74518">1</cx:pt>
          <cx:pt idx="74519">0</cx:pt>
          <cx:pt idx="74520">1</cx:pt>
          <cx:pt idx="74521">0</cx:pt>
          <cx:pt idx="74522">0</cx:pt>
          <cx:pt idx="74523">0</cx:pt>
          <cx:pt idx="74524">0</cx:pt>
          <cx:pt idx="74525">1</cx:pt>
          <cx:pt idx="74526">0</cx:pt>
          <cx:pt idx="74527">0</cx:pt>
          <cx:pt idx="74528">1</cx:pt>
          <cx:pt idx="74529">0</cx:pt>
          <cx:pt idx="74530">0</cx:pt>
          <cx:pt idx="74531">0</cx:pt>
          <cx:pt idx="74532">0</cx:pt>
          <cx:pt idx="74533">0</cx:pt>
          <cx:pt idx="74534">0</cx:pt>
          <cx:pt idx="74535">0</cx:pt>
          <cx:pt idx="74536">1</cx:pt>
          <cx:pt idx="74537">1</cx:pt>
          <cx:pt idx="74538">1</cx:pt>
          <cx:pt idx="74539">1</cx:pt>
          <cx:pt idx="74540">0</cx:pt>
          <cx:pt idx="74541">1</cx:pt>
          <cx:pt idx="74542">0</cx:pt>
          <cx:pt idx="74543">1</cx:pt>
          <cx:pt idx="74544">0</cx:pt>
          <cx:pt idx="74545">0</cx:pt>
          <cx:pt idx="74546">0</cx:pt>
          <cx:pt idx="74547">0</cx:pt>
          <cx:pt idx="74548">1</cx:pt>
          <cx:pt idx="74549">0</cx:pt>
          <cx:pt idx="74550">1</cx:pt>
          <cx:pt idx="74551">0</cx:pt>
          <cx:pt idx="74552">1</cx:pt>
          <cx:pt idx="74553">0</cx:pt>
          <cx:pt idx="74554">1</cx:pt>
          <cx:pt idx="74555">0</cx:pt>
          <cx:pt idx="74556">0</cx:pt>
          <cx:pt idx="74557">0</cx:pt>
          <cx:pt idx="74558">1</cx:pt>
          <cx:pt idx="74559">1</cx:pt>
          <cx:pt idx="74560">0</cx:pt>
          <cx:pt idx="74561">0</cx:pt>
          <cx:pt idx="74562">1</cx:pt>
          <cx:pt idx="74563">0</cx:pt>
          <cx:pt idx="74564">1</cx:pt>
          <cx:pt idx="74565">0</cx:pt>
          <cx:pt idx="74566">1</cx:pt>
          <cx:pt idx="74567">0</cx:pt>
          <cx:pt idx="74568">0</cx:pt>
          <cx:pt idx="74569">0</cx:pt>
          <cx:pt idx="74570">0</cx:pt>
          <cx:pt idx="74571">1</cx:pt>
          <cx:pt idx="74572">0</cx:pt>
          <cx:pt idx="74573">0</cx:pt>
          <cx:pt idx="74574">0</cx:pt>
          <cx:pt idx="74575">1</cx:pt>
          <cx:pt idx="74576">0</cx:pt>
          <cx:pt idx="74577">0</cx:pt>
          <cx:pt idx="74578">0</cx:pt>
          <cx:pt idx="74579">0</cx:pt>
          <cx:pt idx="74580">0</cx:pt>
          <cx:pt idx="74581">0</cx:pt>
          <cx:pt idx="74582">1</cx:pt>
          <cx:pt idx="74583">1</cx:pt>
          <cx:pt idx="74584">1</cx:pt>
          <cx:pt idx="74585">1</cx:pt>
          <cx:pt idx="74586">0</cx:pt>
          <cx:pt idx="74587">1</cx:pt>
          <cx:pt idx="74588">0</cx:pt>
          <cx:pt idx="74589">0</cx:pt>
          <cx:pt idx="74590">1</cx:pt>
          <cx:pt idx="74591">1</cx:pt>
          <cx:pt idx="74592">0</cx:pt>
          <cx:pt idx="74593">0</cx:pt>
          <cx:pt idx="74594">0</cx:pt>
          <cx:pt idx="74595">1</cx:pt>
          <cx:pt idx="74596">1</cx:pt>
          <cx:pt idx="74597">0</cx:pt>
          <cx:pt idx="74598">0</cx:pt>
          <cx:pt idx="74599">0</cx:pt>
          <cx:pt idx="74600">1</cx:pt>
          <cx:pt idx="74601">1</cx:pt>
          <cx:pt idx="74602">1</cx:pt>
          <cx:pt idx="74603">1</cx:pt>
          <cx:pt idx="74604">0</cx:pt>
          <cx:pt idx="74605">0</cx:pt>
          <cx:pt idx="74606">1</cx:pt>
          <cx:pt idx="74607">0</cx:pt>
          <cx:pt idx="74608">0</cx:pt>
          <cx:pt idx="74609">0</cx:pt>
          <cx:pt idx="74610">0</cx:pt>
          <cx:pt idx="74611">0</cx:pt>
          <cx:pt idx="74612">0</cx:pt>
          <cx:pt idx="74613">0</cx:pt>
          <cx:pt idx="74614">0</cx:pt>
          <cx:pt idx="74615">0</cx:pt>
          <cx:pt idx="74616">1</cx:pt>
          <cx:pt idx="74617">0</cx:pt>
          <cx:pt idx="74618">0</cx:pt>
          <cx:pt idx="74619">0</cx:pt>
          <cx:pt idx="74620">1</cx:pt>
          <cx:pt idx="74621">1</cx:pt>
          <cx:pt idx="74622">0</cx:pt>
          <cx:pt idx="74623">0</cx:pt>
          <cx:pt idx="74624">1</cx:pt>
          <cx:pt idx="74625">0</cx:pt>
          <cx:pt idx="74626">0</cx:pt>
          <cx:pt idx="74627">0</cx:pt>
          <cx:pt idx="74628">1</cx:pt>
          <cx:pt idx="74629">1</cx:pt>
          <cx:pt idx="74630">0</cx:pt>
          <cx:pt idx="74631">0</cx:pt>
          <cx:pt idx="74632">0</cx:pt>
          <cx:pt idx="74633">1</cx:pt>
          <cx:pt idx="74634">1</cx:pt>
          <cx:pt idx="74635">0</cx:pt>
          <cx:pt idx="74636">1</cx:pt>
          <cx:pt idx="74637">1</cx:pt>
          <cx:pt idx="74638">0</cx:pt>
          <cx:pt idx="74639">1</cx:pt>
          <cx:pt idx="74640">1</cx:pt>
          <cx:pt idx="74641">0</cx:pt>
          <cx:pt idx="74642">0</cx:pt>
          <cx:pt idx="74643">1</cx:pt>
          <cx:pt idx="74644">1</cx:pt>
          <cx:pt idx="74645">0</cx:pt>
          <cx:pt idx="74646">1</cx:pt>
          <cx:pt idx="74647">0</cx:pt>
          <cx:pt idx="74648">1</cx:pt>
          <cx:pt idx="74649">1</cx:pt>
          <cx:pt idx="74650">0</cx:pt>
          <cx:pt idx="74651">0</cx:pt>
          <cx:pt idx="74652">0</cx:pt>
          <cx:pt idx="74653">1</cx:pt>
          <cx:pt idx="74654">1</cx:pt>
          <cx:pt idx="74655">0</cx:pt>
          <cx:pt idx="74656">1</cx:pt>
          <cx:pt idx="74657">0</cx:pt>
          <cx:pt idx="74658">0</cx:pt>
          <cx:pt idx="74659">0</cx:pt>
          <cx:pt idx="74660">0</cx:pt>
          <cx:pt idx="74661">1</cx:pt>
          <cx:pt idx="74662">0</cx:pt>
          <cx:pt idx="74663">1</cx:pt>
          <cx:pt idx="74664">0</cx:pt>
          <cx:pt idx="74665">1</cx:pt>
          <cx:pt idx="74666">0</cx:pt>
          <cx:pt idx="74667">0</cx:pt>
          <cx:pt idx="74668">0</cx:pt>
          <cx:pt idx="74669">0</cx:pt>
          <cx:pt idx="74670">0</cx:pt>
          <cx:pt idx="74671">0</cx:pt>
          <cx:pt idx="74672">1</cx:pt>
          <cx:pt idx="74673">1</cx:pt>
          <cx:pt idx="74674">0</cx:pt>
          <cx:pt idx="74675">1</cx:pt>
          <cx:pt idx="74676">0</cx:pt>
          <cx:pt idx="74677">0</cx:pt>
          <cx:pt idx="74678">1</cx:pt>
          <cx:pt idx="74679">0</cx:pt>
          <cx:pt idx="74680">1</cx:pt>
          <cx:pt idx="74681">0</cx:pt>
          <cx:pt idx="74682">0</cx:pt>
          <cx:pt idx="74683">0</cx:pt>
          <cx:pt idx="74684">1</cx:pt>
          <cx:pt idx="74685">0</cx:pt>
          <cx:pt idx="74686">1</cx:pt>
          <cx:pt idx="74687">1</cx:pt>
          <cx:pt idx="74688">0</cx:pt>
          <cx:pt idx="74689">1</cx:pt>
          <cx:pt idx="74690">0</cx:pt>
          <cx:pt idx="74691">1</cx:pt>
          <cx:pt idx="74692">1</cx:pt>
          <cx:pt idx="74693">0</cx:pt>
          <cx:pt idx="74694">0</cx:pt>
          <cx:pt idx="74695">1</cx:pt>
          <cx:pt idx="74696">0</cx:pt>
          <cx:pt idx="74697">1</cx:pt>
          <cx:pt idx="74698">1</cx:pt>
          <cx:pt idx="74699">0</cx:pt>
          <cx:pt idx="74700">0</cx:pt>
          <cx:pt idx="74701">0</cx:pt>
          <cx:pt idx="74702">1</cx:pt>
          <cx:pt idx="74703">1</cx:pt>
          <cx:pt idx="74704">0</cx:pt>
          <cx:pt idx="74705">0</cx:pt>
          <cx:pt idx="74706">0</cx:pt>
          <cx:pt idx="74707">1</cx:pt>
          <cx:pt idx="74708">1</cx:pt>
          <cx:pt idx="74709">1</cx:pt>
          <cx:pt idx="74710">0</cx:pt>
          <cx:pt idx="74711">0</cx:pt>
          <cx:pt idx="74712">0</cx:pt>
          <cx:pt idx="74713">1</cx:pt>
          <cx:pt idx="74714">1</cx:pt>
          <cx:pt idx="74715">0</cx:pt>
          <cx:pt idx="74716">0</cx:pt>
          <cx:pt idx="74717">1</cx:pt>
          <cx:pt idx="74718">0</cx:pt>
          <cx:pt idx="74719">0</cx:pt>
          <cx:pt idx="74720">1</cx:pt>
          <cx:pt idx="74721">0</cx:pt>
          <cx:pt idx="74722">0</cx:pt>
          <cx:pt idx="74723">1</cx:pt>
          <cx:pt idx="74724">0</cx:pt>
          <cx:pt idx="74725">0</cx:pt>
          <cx:pt idx="74726">1</cx:pt>
          <cx:pt idx="74727">1</cx:pt>
          <cx:pt idx="74728">0</cx:pt>
          <cx:pt idx="74729">1</cx:pt>
          <cx:pt idx="74730">0</cx:pt>
          <cx:pt idx="74731">1</cx:pt>
          <cx:pt idx="74732">0</cx:pt>
          <cx:pt idx="74733">0</cx:pt>
          <cx:pt idx="74734">0</cx:pt>
          <cx:pt idx="74735">1</cx:pt>
          <cx:pt idx="74736">0</cx:pt>
          <cx:pt idx="74737">1</cx:pt>
          <cx:pt idx="74738">0</cx:pt>
          <cx:pt idx="74739">1</cx:pt>
          <cx:pt idx="74740">0</cx:pt>
          <cx:pt idx="74741">0</cx:pt>
          <cx:pt idx="74742">0</cx:pt>
          <cx:pt idx="74743">0</cx:pt>
          <cx:pt idx="74744">1</cx:pt>
          <cx:pt idx="74745">1</cx:pt>
          <cx:pt idx="74746">0</cx:pt>
          <cx:pt idx="74747">0</cx:pt>
          <cx:pt idx="74748">1</cx:pt>
          <cx:pt idx="74749">1</cx:pt>
          <cx:pt idx="74750">1</cx:pt>
          <cx:pt idx="74751">0</cx:pt>
          <cx:pt idx="74752">1</cx:pt>
          <cx:pt idx="74753">1</cx:pt>
          <cx:pt idx="74754">0</cx:pt>
          <cx:pt idx="74755">1</cx:pt>
          <cx:pt idx="74756">1</cx:pt>
          <cx:pt idx="74757">1</cx:pt>
          <cx:pt idx="74758">0</cx:pt>
          <cx:pt idx="74759">1</cx:pt>
          <cx:pt idx="74760">1</cx:pt>
          <cx:pt idx="74761">0</cx:pt>
          <cx:pt idx="74762">0</cx:pt>
          <cx:pt idx="74763">1</cx:pt>
          <cx:pt idx="74764">0</cx:pt>
          <cx:pt idx="74765">1</cx:pt>
          <cx:pt idx="74766">0</cx:pt>
          <cx:pt idx="74767">0</cx:pt>
          <cx:pt idx="74768">0</cx:pt>
          <cx:pt idx="74769">1</cx:pt>
          <cx:pt idx="74770">0</cx:pt>
          <cx:pt idx="74771">1</cx:pt>
          <cx:pt idx="74772">0</cx:pt>
          <cx:pt idx="74773">0</cx:pt>
          <cx:pt idx="74774">0</cx:pt>
          <cx:pt idx="74775">0</cx:pt>
          <cx:pt idx="74776">1</cx:pt>
          <cx:pt idx="74777">0</cx:pt>
          <cx:pt idx="74778">1</cx:pt>
          <cx:pt idx="74779">0</cx:pt>
          <cx:pt idx="74780">0</cx:pt>
          <cx:pt idx="74781">1</cx:pt>
          <cx:pt idx="74782">0</cx:pt>
          <cx:pt idx="74783">0</cx:pt>
          <cx:pt idx="74784">1</cx:pt>
          <cx:pt idx="74785">0</cx:pt>
          <cx:pt idx="74786">1</cx:pt>
          <cx:pt idx="74787">0</cx:pt>
          <cx:pt idx="74788">1</cx:pt>
          <cx:pt idx="74789">0</cx:pt>
          <cx:pt idx="74790">0</cx:pt>
          <cx:pt idx="74791">1</cx:pt>
          <cx:pt idx="74792">1</cx:pt>
          <cx:pt idx="74793">1</cx:pt>
          <cx:pt idx="74794">0</cx:pt>
          <cx:pt idx="74795">1</cx:pt>
          <cx:pt idx="74796">0</cx:pt>
          <cx:pt idx="74797">1</cx:pt>
          <cx:pt idx="74798">0</cx:pt>
          <cx:pt idx="74799">1</cx:pt>
          <cx:pt idx="74800">0</cx:pt>
          <cx:pt idx="74801">1</cx:pt>
          <cx:pt idx="74802">1</cx:pt>
          <cx:pt idx="74803">0</cx:pt>
          <cx:pt idx="74804">0</cx:pt>
          <cx:pt idx="74805">1</cx:pt>
          <cx:pt idx="74806">1</cx:pt>
          <cx:pt idx="74807">0</cx:pt>
          <cx:pt idx="74808">0</cx:pt>
          <cx:pt idx="74809">1</cx:pt>
          <cx:pt idx="74810">1</cx:pt>
          <cx:pt idx="74811">0</cx:pt>
          <cx:pt idx="74812">0</cx:pt>
          <cx:pt idx="74813">0</cx:pt>
          <cx:pt idx="74814">1</cx:pt>
          <cx:pt idx="74815">0</cx:pt>
          <cx:pt idx="74816">0</cx:pt>
          <cx:pt idx="74817">0</cx:pt>
          <cx:pt idx="74818">1</cx:pt>
          <cx:pt idx="74819">0</cx:pt>
          <cx:pt idx="74820">1</cx:pt>
          <cx:pt idx="74821">1</cx:pt>
          <cx:pt idx="74822">0</cx:pt>
          <cx:pt idx="74823">0</cx:pt>
          <cx:pt idx="74824">1</cx:pt>
          <cx:pt idx="74825">0</cx:pt>
          <cx:pt idx="74826">1</cx:pt>
          <cx:pt idx="74827">0</cx:pt>
          <cx:pt idx="74828">1</cx:pt>
          <cx:pt idx="74829">0</cx:pt>
          <cx:pt idx="74830">1</cx:pt>
          <cx:pt idx="74831">0</cx:pt>
          <cx:pt idx="74832">0</cx:pt>
          <cx:pt idx="74833">1</cx:pt>
          <cx:pt idx="74834">0</cx:pt>
          <cx:pt idx="74835">0</cx:pt>
          <cx:pt idx="74836">0</cx:pt>
          <cx:pt idx="74837">1</cx:pt>
          <cx:pt idx="74838">0</cx:pt>
          <cx:pt idx="74839">0</cx:pt>
          <cx:pt idx="74840">1</cx:pt>
          <cx:pt idx="74841">0</cx:pt>
          <cx:pt idx="74842">0</cx:pt>
          <cx:pt idx="74843">0</cx:pt>
          <cx:pt idx="74844">0</cx:pt>
          <cx:pt idx="74845">0</cx:pt>
          <cx:pt idx="74846">1</cx:pt>
          <cx:pt idx="74847">0</cx:pt>
          <cx:pt idx="74848">1</cx:pt>
          <cx:pt idx="74849">0</cx:pt>
          <cx:pt idx="74850">1</cx:pt>
          <cx:pt idx="74851">0</cx:pt>
          <cx:pt idx="74852">1</cx:pt>
          <cx:pt idx="74853">0</cx:pt>
          <cx:pt idx="74854">1</cx:pt>
          <cx:pt idx="74855">1</cx:pt>
          <cx:pt idx="74856">0</cx:pt>
          <cx:pt idx="74857">0</cx:pt>
          <cx:pt idx="74858">0</cx:pt>
          <cx:pt idx="74859">0</cx:pt>
          <cx:pt idx="74860">1</cx:pt>
          <cx:pt idx="74861">0</cx:pt>
          <cx:pt idx="74862">0</cx:pt>
          <cx:pt idx="74863">1</cx:pt>
          <cx:pt idx="74864">1</cx:pt>
          <cx:pt idx="74865">1</cx:pt>
          <cx:pt idx="74866">0</cx:pt>
          <cx:pt idx="74867">1</cx:pt>
          <cx:pt idx="74868">0</cx:pt>
          <cx:pt idx="74869">0</cx:pt>
          <cx:pt idx="74870">1</cx:pt>
          <cx:pt idx="74871">1</cx:pt>
          <cx:pt idx="74872">1</cx:pt>
          <cx:pt idx="74873">1</cx:pt>
          <cx:pt idx="74874">0</cx:pt>
          <cx:pt idx="74875">1</cx:pt>
          <cx:pt idx="74876">0</cx:pt>
          <cx:pt idx="74877">1</cx:pt>
          <cx:pt idx="74878">0</cx:pt>
          <cx:pt idx="74879">0</cx:pt>
          <cx:pt idx="74880">0</cx:pt>
          <cx:pt idx="74881">0</cx:pt>
          <cx:pt idx="74882">0</cx:pt>
          <cx:pt idx="74883">0</cx:pt>
          <cx:pt idx="74884">1</cx:pt>
          <cx:pt idx="74885">1</cx:pt>
          <cx:pt idx="74886">0</cx:pt>
          <cx:pt idx="74887">0</cx:pt>
          <cx:pt idx="74888">0</cx:pt>
          <cx:pt idx="74889">0</cx:pt>
          <cx:pt idx="74890">0</cx:pt>
          <cx:pt idx="74891">1</cx:pt>
          <cx:pt idx="74892">0</cx:pt>
          <cx:pt idx="74893">1</cx:pt>
          <cx:pt idx="74894">0</cx:pt>
          <cx:pt idx="74895">0</cx:pt>
          <cx:pt idx="74896">0</cx:pt>
          <cx:pt idx="74897">0</cx:pt>
          <cx:pt idx="74898">0</cx:pt>
          <cx:pt idx="74899">0</cx:pt>
          <cx:pt idx="74900">0</cx:pt>
          <cx:pt idx="74901">0</cx:pt>
          <cx:pt idx="74902">1</cx:pt>
          <cx:pt idx="74903">1</cx:pt>
          <cx:pt idx="74904">0</cx:pt>
          <cx:pt idx="74905">1</cx:pt>
          <cx:pt idx="74906">1</cx:pt>
          <cx:pt idx="74907">1</cx:pt>
          <cx:pt idx="74908">0</cx:pt>
          <cx:pt idx="74909">0</cx:pt>
          <cx:pt idx="74910">0</cx:pt>
          <cx:pt idx="74911">1</cx:pt>
          <cx:pt idx="74912">1</cx:pt>
          <cx:pt idx="74913">0</cx:pt>
          <cx:pt idx="74914">1</cx:pt>
          <cx:pt idx="74915">1</cx:pt>
          <cx:pt idx="74916">0</cx:pt>
          <cx:pt idx="74917">1</cx:pt>
          <cx:pt idx="74918">0</cx:pt>
          <cx:pt idx="74919">0</cx:pt>
          <cx:pt idx="74920">1</cx:pt>
          <cx:pt idx="74921">0</cx:pt>
          <cx:pt idx="74922">0</cx:pt>
          <cx:pt idx="74923">1</cx:pt>
          <cx:pt idx="74924">1</cx:pt>
          <cx:pt idx="74925">0</cx:pt>
          <cx:pt idx="74926">1</cx:pt>
          <cx:pt idx="74927">1</cx:pt>
          <cx:pt idx="74928">1</cx:pt>
          <cx:pt idx="74929">1</cx:pt>
          <cx:pt idx="74930">1</cx:pt>
          <cx:pt idx="74931">0</cx:pt>
          <cx:pt idx="74932">1</cx:pt>
          <cx:pt idx="74933">1</cx:pt>
          <cx:pt idx="74934">0</cx:pt>
          <cx:pt idx="74935">1</cx:pt>
          <cx:pt idx="74936">0</cx:pt>
          <cx:pt idx="74937">0</cx:pt>
          <cx:pt idx="74938">0</cx:pt>
          <cx:pt idx="74939">1</cx:pt>
          <cx:pt idx="74940">0</cx:pt>
          <cx:pt idx="74941">1</cx:pt>
          <cx:pt idx="74942">1</cx:pt>
          <cx:pt idx="74943">1</cx:pt>
          <cx:pt idx="74944">0</cx:pt>
          <cx:pt idx="74945">0</cx:pt>
          <cx:pt idx="74946">0</cx:pt>
          <cx:pt idx="74947">0</cx:pt>
          <cx:pt idx="74948">1</cx:pt>
          <cx:pt idx="74949">0</cx:pt>
          <cx:pt idx="74950">0</cx:pt>
          <cx:pt idx="74951">0</cx:pt>
          <cx:pt idx="74952">0</cx:pt>
          <cx:pt idx="74953">0</cx:pt>
          <cx:pt idx="74954">0</cx:pt>
          <cx:pt idx="74955">0</cx:pt>
          <cx:pt idx="74956">0</cx:pt>
          <cx:pt idx="74957">0</cx:pt>
          <cx:pt idx="74958">0</cx:pt>
          <cx:pt idx="74959">1</cx:pt>
          <cx:pt idx="74960">0</cx:pt>
          <cx:pt idx="74961">0</cx:pt>
          <cx:pt idx="74962">1</cx:pt>
          <cx:pt idx="74963">1</cx:pt>
          <cx:pt idx="74964">0</cx:pt>
          <cx:pt idx="74965">1</cx:pt>
          <cx:pt idx="74966">1</cx:pt>
          <cx:pt idx="74967">1</cx:pt>
          <cx:pt idx="74968">1</cx:pt>
          <cx:pt idx="74969">1</cx:pt>
          <cx:pt idx="74970">0</cx:pt>
          <cx:pt idx="74971">1</cx:pt>
          <cx:pt idx="74972">1</cx:pt>
          <cx:pt idx="74973">0</cx:pt>
          <cx:pt idx="74974">1</cx:pt>
          <cx:pt idx="74975">1</cx:pt>
          <cx:pt idx="74976">1</cx:pt>
          <cx:pt idx="74977">0</cx:pt>
          <cx:pt idx="74978">1</cx:pt>
          <cx:pt idx="74979">0</cx:pt>
          <cx:pt idx="74980">0</cx:pt>
          <cx:pt idx="74981">1</cx:pt>
          <cx:pt idx="74982">0</cx:pt>
          <cx:pt idx="74983">1</cx:pt>
          <cx:pt idx="74984">1</cx:pt>
          <cx:pt idx="74985">1</cx:pt>
          <cx:pt idx="74986">0</cx:pt>
          <cx:pt idx="74987">1</cx:pt>
          <cx:pt idx="74988">0</cx:pt>
          <cx:pt idx="74989">0</cx:pt>
          <cx:pt idx="74990">1</cx:pt>
          <cx:pt idx="74991">1</cx:pt>
          <cx:pt idx="74992">0</cx:pt>
          <cx:pt idx="74993">1</cx:pt>
          <cx:pt idx="74994">0</cx:pt>
          <cx:pt idx="74995">0</cx:pt>
          <cx:pt idx="74996">1</cx:pt>
          <cx:pt idx="74997">0</cx:pt>
          <cx:pt idx="74998">0</cx:pt>
          <cx:pt idx="74999">0</cx:pt>
          <cx:pt idx="75000">1</cx:pt>
          <cx:pt idx="75001">0</cx:pt>
          <cx:pt idx="75002">1</cx:pt>
          <cx:pt idx="75003">0</cx:pt>
          <cx:pt idx="75004">0</cx:pt>
          <cx:pt idx="75005">0</cx:pt>
          <cx:pt idx="75006">1</cx:pt>
          <cx:pt idx="75007">0</cx:pt>
          <cx:pt idx="75008">0</cx:pt>
          <cx:pt idx="75009">0</cx:pt>
          <cx:pt idx="75010">0</cx:pt>
          <cx:pt idx="75011">0</cx:pt>
          <cx:pt idx="75012">0</cx:pt>
          <cx:pt idx="75013">0</cx:pt>
          <cx:pt idx="75014">1</cx:pt>
          <cx:pt idx="75015">0</cx:pt>
          <cx:pt idx="75016">1</cx:pt>
          <cx:pt idx="75017">1</cx:pt>
          <cx:pt idx="75018">1</cx:pt>
          <cx:pt idx="75019">1</cx:pt>
          <cx:pt idx="75020">0</cx:pt>
          <cx:pt idx="75021">0</cx:pt>
          <cx:pt idx="75022">1</cx:pt>
          <cx:pt idx="75023">1</cx:pt>
          <cx:pt idx="75024">0</cx:pt>
          <cx:pt idx="75025">0</cx:pt>
          <cx:pt idx="75026">0</cx:pt>
          <cx:pt idx="75027">0</cx:pt>
          <cx:pt idx="75028">1</cx:pt>
          <cx:pt idx="75029">0</cx:pt>
          <cx:pt idx="75030">0</cx:pt>
          <cx:pt idx="75031">0</cx:pt>
          <cx:pt idx="75032">1</cx:pt>
          <cx:pt idx="75033">0</cx:pt>
          <cx:pt idx="75034">1</cx:pt>
          <cx:pt idx="75035">0</cx:pt>
          <cx:pt idx="75036">0</cx:pt>
          <cx:pt idx="75037">0</cx:pt>
          <cx:pt idx="75038">1</cx:pt>
          <cx:pt idx="75039">0</cx:pt>
          <cx:pt idx="75040">0</cx:pt>
          <cx:pt idx="75041">0</cx:pt>
          <cx:pt idx="75042">0</cx:pt>
          <cx:pt idx="75043">1</cx:pt>
          <cx:pt idx="75044">0</cx:pt>
          <cx:pt idx="75045">1</cx:pt>
          <cx:pt idx="75046">0</cx:pt>
          <cx:pt idx="75047">0</cx:pt>
          <cx:pt idx="75048">1</cx:pt>
          <cx:pt idx="75049">1</cx:pt>
          <cx:pt idx="75050">0</cx:pt>
          <cx:pt idx="75051">0</cx:pt>
          <cx:pt idx="75052">0</cx:pt>
          <cx:pt idx="75053">1</cx:pt>
          <cx:pt idx="75054">1</cx:pt>
          <cx:pt idx="75055">0</cx:pt>
          <cx:pt idx="75056">0</cx:pt>
          <cx:pt idx="75057">1</cx:pt>
          <cx:pt idx="75058">1</cx:pt>
          <cx:pt idx="75059">1</cx:pt>
          <cx:pt idx="75060">1</cx:pt>
          <cx:pt idx="75061">0</cx:pt>
          <cx:pt idx="75062">1</cx:pt>
          <cx:pt idx="75063">0</cx:pt>
          <cx:pt idx="75064">1</cx:pt>
          <cx:pt idx="75065">0</cx:pt>
          <cx:pt idx="75066">0</cx:pt>
          <cx:pt idx="75067">0</cx:pt>
          <cx:pt idx="75068">1</cx:pt>
          <cx:pt idx="75069">1</cx:pt>
          <cx:pt idx="75070">1</cx:pt>
          <cx:pt idx="75071">0</cx:pt>
          <cx:pt idx="75072">0</cx:pt>
          <cx:pt idx="75073">1</cx:pt>
          <cx:pt idx="75074">0</cx:pt>
          <cx:pt idx="75075">1</cx:pt>
          <cx:pt idx="75076">1</cx:pt>
          <cx:pt idx="75077">0</cx:pt>
          <cx:pt idx="75078">1</cx:pt>
          <cx:pt idx="75079">1</cx:pt>
          <cx:pt idx="75080">0</cx:pt>
          <cx:pt idx="75081">1</cx:pt>
          <cx:pt idx="75082">0</cx:pt>
          <cx:pt idx="75083">1</cx:pt>
          <cx:pt idx="75084">1</cx:pt>
          <cx:pt idx="75085">1</cx:pt>
          <cx:pt idx="75086">0</cx:pt>
          <cx:pt idx="75087">0</cx:pt>
          <cx:pt idx="75088">0</cx:pt>
          <cx:pt idx="75089">0</cx:pt>
          <cx:pt idx="75090">1</cx:pt>
          <cx:pt idx="75091">0</cx:pt>
          <cx:pt idx="75092">0</cx:pt>
          <cx:pt idx="75093">0</cx:pt>
          <cx:pt idx="75094">1</cx:pt>
          <cx:pt idx="75095">0</cx:pt>
          <cx:pt idx="75096">0</cx:pt>
          <cx:pt idx="75097">0</cx:pt>
          <cx:pt idx="75098">0</cx:pt>
          <cx:pt idx="75099">1</cx:pt>
          <cx:pt idx="75100">0</cx:pt>
          <cx:pt idx="75101">1</cx:pt>
          <cx:pt idx="75102">1</cx:pt>
          <cx:pt idx="75103">1</cx:pt>
          <cx:pt idx="75104">1</cx:pt>
          <cx:pt idx="75105">1</cx:pt>
          <cx:pt idx="75106">0</cx:pt>
          <cx:pt idx="75107">0</cx:pt>
          <cx:pt idx="75108">0</cx:pt>
          <cx:pt idx="75109">1</cx:pt>
          <cx:pt idx="75110">0</cx:pt>
          <cx:pt idx="75111">1</cx:pt>
          <cx:pt idx="75112">0</cx:pt>
          <cx:pt idx="75113">1</cx:pt>
          <cx:pt idx="75114">1</cx:pt>
          <cx:pt idx="75115">0</cx:pt>
          <cx:pt idx="75116">0</cx:pt>
          <cx:pt idx="75117">1</cx:pt>
          <cx:pt idx="75118">1</cx:pt>
          <cx:pt idx="75119">1</cx:pt>
          <cx:pt idx="75120">1</cx:pt>
          <cx:pt idx="75121">0</cx:pt>
          <cx:pt idx="75122">0</cx:pt>
          <cx:pt idx="75123">0</cx:pt>
          <cx:pt idx="75124">1</cx:pt>
          <cx:pt idx="75125">0</cx:pt>
          <cx:pt idx="75126">0</cx:pt>
          <cx:pt idx="75127">1</cx:pt>
          <cx:pt idx="75128">0</cx:pt>
          <cx:pt idx="75129">0</cx:pt>
          <cx:pt idx="75130">0</cx:pt>
          <cx:pt idx="75131">1</cx:pt>
          <cx:pt idx="75132">1</cx:pt>
          <cx:pt idx="75133">0</cx:pt>
          <cx:pt idx="75134">1</cx:pt>
          <cx:pt idx="75135">0</cx:pt>
          <cx:pt idx="75136">0</cx:pt>
          <cx:pt idx="75137">0</cx:pt>
          <cx:pt idx="75138">1</cx:pt>
          <cx:pt idx="75139">0</cx:pt>
          <cx:pt idx="75140">1</cx:pt>
          <cx:pt idx="75141">1</cx:pt>
          <cx:pt idx="75142">1</cx:pt>
          <cx:pt idx="75143">1</cx:pt>
          <cx:pt idx="75144">1</cx:pt>
          <cx:pt idx="75145">1</cx:pt>
          <cx:pt idx="75146">0</cx:pt>
          <cx:pt idx="75147">1</cx:pt>
          <cx:pt idx="75148">1</cx:pt>
          <cx:pt idx="75149">0</cx:pt>
          <cx:pt idx="75150">1</cx:pt>
          <cx:pt idx="75151">0</cx:pt>
          <cx:pt idx="75152">1</cx:pt>
          <cx:pt idx="75153">0</cx:pt>
          <cx:pt idx="75154">0</cx:pt>
          <cx:pt idx="75155">1</cx:pt>
          <cx:pt idx="75156">1</cx:pt>
          <cx:pt idx="75157">1</cx:pt>
          <cx:pt idx="75158">0</cx:pt>
          <cx:pt idx="75159">0</cx:pt>
          <cx:pt idx="75160">0</cx:pt>
          <cx:pt idx="75161">1</cx:pt>
          <cx:pt idx="75162">1</cx:pt>
          <cx:pt idx="75163">0</cx:pt>
          <cx:pt idx="75164">0</cx:pt>
          <cx:pt idx="75165">0</cx:pt>
          <cx:pt idx="75166">0</cx:pt>
          <cx:pt idx="75167">1</cx:pt>
          <cx:pt idx="75168">1</cx:pt>
          <cx:pt idx="75169">0</cx:pt>
          <cx:pt idx="75170">0</cx:pt>
          <cx:pt idx="75171">0</cx:pt>
          <cx:pt idx="75172">1</cx:pt>
          <cx:pt idx="75173">0</cx:pt>
          <cx:pt idx="75174">0</cx:pt>
          <cx:pt idx="75175">0</cx:pt>
          <cx:pt idx="75176">1</cx:pt>
          <cx:pt idx="75177">0</cx:pt>
          <cx:pt idx="75178">1</cx:pt>
          <cx:pt idx="75179">0</cx:pt>
          <cx:pt idx="75180">0</cx:pt>
          <cx:pt idx="75181">0</cx:pt>
          <cx:pt idx="75182">1</cx:pt>
          <cx:pt idx="75183">1</cx:pt>
          <cx:pt idx="75184">0</cx:pt>
          <cx:pt idx="75185">0</cx:pt>
          <cx:pt idx="75186">1</cx:pt>
          <cx:pt idx="75187">0</cx:pt>
          <cx:pt idx="75188">0</cx:pt>
          <cx:pt idx="75189">0</cx:pt>
          <cx:pt idx="75190">1</cx:pt>
          <cx:pt idx="75191">1</cx:pt>
          <cx:pt idx="75192">0</cx:pt>
          <cx:pt idx="75193">1</cx:pt>
          <cx:pt idx="75194">1</cx:pt>
          <cx:pt idx="75195">0</cx:pt>
          <cx:pt idx="75196">0</cx:pt>
          <cx:pt idx="75197">1</cx:pt>
          <cx:pt idx="75198">1</cx:pt>
          <cx:pt idx="75199">1</cx:pt>
          <cx:pt idx="75200">0</cx:pt>
          <cx:pt idx="75201">0</cx:pt>
          <cx:pt idx="75202">0</cx:pt>
          <cx:pt idx="75203">1</cx:pt>
          <cx:pt idx="75204">0</cx:pt>
          <cx:pt idx="75205">1</cx:pt>
          <cx:pt idx="75206">0</cx:pt>
          <cx:pt idx="75207">0</cx:pt>
          <cx:pt idx="75208">1</cx:pt>
          <cx:pt idx="75209">1</cx:pt>
          <cx:pt idx="75210">0</cx:pt>
          <cx:pt idx="75211">1</cx:pt>
          <cx:pt idx="75212">0</cx:pt>
          <cx:pt idx="75213">1</cx:pt>
          <cx:pt idx="75214">1</cx:pt>
          <cx:pt idx="75215">0</cx:pt>
          <cx:pt idx="75216">0</cx:pt>
          <cx:pt idx="75217">1</cx:pt>
          <cx:pt idx="75218">1</cx:pt>
          <cx:pt idx="75219">1</cx:pt>
          <cx:pt idx="75220">1</cx:pt>
          <cx:pt idx="75221">1</cx:pt>
          <cx:pt idx="75222">1</cx:pt>
          <cx:pt idx="75223">1</cx:pt>
          <cx:pt idx="75224">0</cx:pt>
          <cx:pt idx="75225">0</cx:pt>
          <cx:pt idx="75226">0</cx:pt>
          <cx:pt idx="75227">1</cx:pt>
          <cx:pt idx="75228">0</cx:pt>
          <cx:pt idx="75229">0</cx:pt>
          <cx:pt idx="75230">1</cx:pt>
          <cx:pt idx="75231">1</cx:pt>
          <cx:pt idx="75232">1</cx:pt>
          <cx:pt idx="75233">1</cx:pt>
          <cx:pt idx="75234">0</cx:pt>
          <cx:pt idx="75235">0</cx:pt>
          <cx:pt idx="75236">0</cx:pt>
          <cx:pt idx="75237">0</cx:pt>
          <cx:pt idx="75238">0</cx:pt>
          <cx:pt idx="75239">1</cx:pt>
          <cx:pt idx="75240">0</cx:pt>
          <cx:pt idx="75241">0</cx:pt>
          <cx:pt idx="75242">0</cx:pt>
          <cx:pt idx="75243">0</cx:pt>
          <cx:pt idx="75244">0</cx:pt>
          <cx:pt idx="75245">1</cx:pt>
          <cx:pt idx="75246">0</cx:pt>
          <cx:pt idx="75247">0</cx:pt>
          <cx:pt idx="75248">1</cx:pt>
          <cx:pt idx="75249">0</cx:pt>
          <cx:pt idx="75250">1</cx:pt>
          <cx:pt idx="75251">0</cx:pt>
          <cx:pt idx="75252">0</cx:pt>
          <cx:pt idx="75253">0</cx:pt>
          <cx:pt idx="75254">0</cx:pt>
          <cx:pt idx="75255">1</cx:pt>
          <cx:pt idx="75256">0</cx:pt>
          <cx:pt idx="75257">1</cx:pt>
          <cx:pt idx="75258">0</cx:pt>
          <cx:pt idx="75259">0</cx:pt>
          <cx:pt idx="75260">1</cx:pt>
          <cx:pt idx="75261">1</cx:pt>
          <cx:pt idx="75262">0</cx:pt>
          <cx:pt idx="75263">1</cx:pt>
          <cx:pt idx="75264">1</cx:pt>
          <cx:pt idx="75265">1</cx:pt>
          <cx:pt idx="75266">1</cx:pt>
          <cx:pt idx="75267">0</cx:pt>
          <cx:pt idx="75268">0</cx:pt>
          <cx:pt idx="75269">0</cx:pt>
          <cx:pt idx="75270">1</cx:pt>
          <cx:pt idx="75271">1</cx:pt>
          <cx:pt idx="75272">1</cx:pt>
          <cx:pt idx="75273">1</cx:pt>
          <cx:pt idx="75274">0</cx:pt>
          <cx:pt idx="75275">1</cx:pt>
          <cx:pt idx="75276">1</cx:pt>
          <cx:pt idx="75277">0</cx:pt>
          <cx:pt idx="75278">0</cx:pt>
          <cx:pt idx="75279">0</cx:pt>
          <cx:pt idx="75280">1</cx:pt>
          <cx:pt idx="75281">0</cx:pt>
          <cx:pt idx="75282">0</cx:pt>
          <cx:pt idx="75283">0</cx:pt>
          <cx:pt idx="75284">0</cx:pt>
          <cx:pt idx="75285">1</cx:pt>
          <cx:pt idx="75286">0</cx:pt>
          <cx:pt idx="75287">0</cx:pt>
          <cx:pt idx="75288">1</cx:pt>
          <cx:pt idx="75289">1</cx:pt>
          <cx:pt idx="75290">1</cx:pt>
          <cx:pt idx="75291">0</cx:pt>
          <cx:pt idx="75292">0</cx:pt>
          <cx:pt idx="75293">0</cx:pt>
          <cx:pt idx="75294">0</cx:pt>
          <cx:pt idx="75295">0</cx:pt>
          <cx:pt idx="75296">0</cx:pt>
          <cx:pt idx="75297">1</cx:pt>
          <cx:pt idx="75298">0</cx:pt>
          <cx:pt idx="75299">0</cx:pt>
          <cx:pt idx="75300">1</cx:pt>
          <cx:pt idx="75301">1</cx:pt>
          <cx:pt idx="75302">1</cx:pt>
          <cx:pt idx="75303">1</cx:pt>
          <cx:pt idx="75304">0</cx:pt>
          <cx:pt idx="75305">1</cx:pt>
          <cx:pt idx="75306">0</cx:pt>
          <cx:pt idx="75307">1</cx:pt>
          <cx:pt idx="75308">0</cx:pt>
          <cx:pt idx="75309">0</cx:pt>
          <cx:pt idx="75310">0</cx:pt>
          <cx:pt idx="75311">1</cx:pt>
          <cx:pt idx="75312">0</cx:pt>
          <cx:pt idx="75313">1</cx:pt>
          <cx:pt idx="75314">0</cx:pt>
          <cx:pt idx="75315">1</cx:pt>
          <cx:pt idx="75316">1</cx:pt>
          <cx:pt idx="75317">1</cx:pt>
          <cx:pt idx="75318">0</cx:pt>
          <cx:pt idx="75319">1</cx:pt>
          <cx:pt idx="75320">0</cx:pt>
          <cx:pt idx="75321">0</cx:pt>
          <cx:pt idx="75322">1</cx:pt>
          <cx:pt idx="75323">0</cx:pt>
          <cx:pt idx="75324">0</cx:pt>
          <cx:pt idx="75325">1</cx:pt>
          <cx:pt idx="75326">0</cx:pt>
          <cx:pt idx="75327">0</cx:pt>
          <cx:pt idx="75328">0</cx:pt>
          <cx:pt idx="75329">0</cx:pt>
          <cx:pt idx="75330">1</cx:pt>
          <cx:pt idx="75331">1</cx:pt>
          <cx:pt idx="75332">0</cx:pt>
          <cx:pt idx="75333">1</cx:pt>
          <cx:pt idx="75334">0</cx:pt>
          <cx:pt idx="75335">1</cx:pt>
          <cx:pt idx="75336">0</cx:pt>
          <cx:pt idx="75337">1</cx:pt>
          <cx:pt idx="75338">1</cx:pt>
          <cx:pt idx="75339">1</cx:pt>
          <cx:pt idx="75340">1</cx:pt>
          <cx:pt idx="75341">0</cx:pt>
          <cx:pt idx="75342">0</cx:pt>
          <cx:pt idx="75343">0</cx:pt>
          <cx:pt idx="75344">1</cx:pt>
          <cx:pt idx="75345">0</cx:pt>
          <cx:pt idx="75346">0</cx:pt>
          <cx:pt idx="75347">1</cx:pt>
          <cx:pt idx="75348">0</cx:pt>
          <cx:pt idx="75349">0</cx:pt>
          <cx:pt idx="75350">1</cx:pt>
          <cx:pt idx="75351">1</cx:pt>
          <cx:pt idx="75352">0</cx:pt>
          <cx:pt idx="75353">1</cx:pt>
          <cx:pt idx="75354">1</cx:pt>
          <cx:pt idx="75355">0</cx:pt>
          <cx:pt idx="75356">0</cx:pt>
          <cx:pt idx="75357">1</cx:pt>
          <cx:pt idx="75358">0</cx:pt>
          <cx:pt idx="75359">1</cx:pt>
          <cx:pt idx="75360">1</cx:pt>
          <cx:pt idx="75361">0</cx:pt>
          <cx:pt idx="75362">1</cx:pt>
          <cx:pt idx="75363">1</cx:pt>
          <cx:pt idx="75364">1</cx:pt>
          <cx:pt idx="75365">1</cx:pt>
          <cx:pt idx="75366">0</cx:pt>
          <cx:pt idx="75367">0</cx:pt>
          <cx:pt idx="75368">0</cx:pt>
          <cx:pt idx="75369">0</cx:pt>
          <cx:pt idx="75370">1</cx:pt>
          <cx:pt idx="75371">1</cx:pt>
          <cx:pt idx="75372">0</cx:pt>
          <cx:pt idx="75373">1</cx:pt>
          <cx:pt idx="75374">1</cx:pt>
          <cx:pt idx="75375">0</cx:pt>
          <cx:pt idx="75376">1</cx:pt>
          <cx:pt idx="75377">0</cx:pt>
          <cx:pt idx="75378">0</cx:pt>
          <cx:pt idx="75379">0</cx:pt>
          <cx:pt idx="75380">0</cx:pt>
          <cx:pt idx="75381">0</cx:pt>
          <cx:pt idx="75382">1</cx:pt>
          <cx:pt idx="75383">0</cx:pt>
          <cx:pt idx="75384">0</cx:pt>
          <cx:pt idx="75385">1</cx:pt>
          <cx:pt idx="75386">1</cx:pt>
          <cx:pt idx="75387">1</cx:pt>
          <cx:pt idx="75388">1</cx:pt>
          <cx:pt idx="75389">0</cx:pt>
          <cx:pt idx="75390">1</cx:pt>
          <cx:pt idx="75391">0</cx:pt>
          <cx:pt idx="75392">0</cx:pt>
          <cx:pt idx="75393">0</cx:pt>
          <cx:pt idx="75394">0</cx:pt>
          <cx:pt idx="75395">1</cx:pt>
          <cx:pt idx="75396">0</cx:pt>
          <cx:pt idx="75397">1</cx:pt>
          <cx:pt idx="75398">1</cx:pt>
          <cx:pt idx="75399">1</cx:pt>
          <cx:pt idx="75400">1</cx:pt>
          <cx:pt idx="75401">0</cx:pt>
          <cx:pt idx="75402">0</cx:pt>
          <cx:pt idx="75403">0</cx:pt>
          <cx:pt idx="75404">0</cx:pt>
          <cx:pt idx="75405">0</cx:pt>
          <cx:pt idx="75406">0</cx:pt>
          <cx:pt idx="75407">0</cx:pt>
          <cx:pt idx="75408">0</cx:pt>
          <cx:pt idx="75409">1</cx:pt>
          <cx:pt idx="75410">0</cx:pt>
          <cx:pt idx="75411">0</cx:pt>
          <cx:pt idx="75412">1</cx:pt>
          <cx:pt idx="75413">1</cx:pt>
          <cx:pt idx="75414">0</cx:pt>
          <cx:pt idx="75415">1</cx:pt>
          <cx:pt idx="75416">0</cx:pt>
          <cx:pt idx="75417">1</cx:pt>
          <cx:pt idx="75418">0</cx:pt>
          <cx:pt idx="75419">0</cx:pt>
          <cx:pt idx="75420">0</cx:pt>
          <cx:pt idx="75421">0</cx:pt>
          <cx:pt idx="75422">0</cx:pt>
          <cx:pt idx="75423">1</cx:pt>
          <cx:pt idx="75424">0</cx:pt>
          <cx:pt idx="75425">0</cx:pt>
          <cx:pt idx="75426">0</cx:pt>
          <cx:pt idx="75427">0</cx:pt>
          <cx:pt idx="75428">0</cx:pt>
          <cx:pt idx="75429">1</cx:pt>
          <cx:pt idx="75430">1</cx:pt>
          <cx:pt idx="75431">1</cx:pt>
          <cx:pt idx="75432">1</cx:pt>
          <cx:pt idx="75433">1</cx:pt>
          <cx:pt idx="75434">0</cx:pt>
          <cx:pt idx="75435">1</cx:pt>
          <cx:pt idx="75436">1</cx:pt>
          <cx:pt idx="75437">0</cx:pt>
          <cx:pt idx="75438">0</cx:pt>
          <cx:pt idx="75439">0</cx:pt>
          <cx:pt idx="75440">0</cx:pt>
          <cx:pt idx="75441">1</cx:pt>
          <cx:pt idx="75442">0</cx:pt>
          <cx:pt idx="75443">0</cx:pt>
          <cx:pt idx="75444">0</cx:pt>
          <cx:pt idx="75445">0</cx:pt>
          <cx:pt idx="75446">0</cx:pt>
          <cx:pt idx="75447">0</cx:pt>
          <cx:pt idx="75448">1</cx:pt>
          <cx:pt idx="75449">0</cx:pt>
          <cx:pt idx="75450">0</cx:pt>
          <cx:pt idx="75451">1</cx:pt>
          <cx:pt idx="75452">0</cx:pt>
          <cx:pt idx="75453">0</cx:pt>
          <cx:pt idx="75454">1</cx:pt>
          <cx:pt idx="75455">1</cx:pt>
          <cx:pt idx="75456">0</cx:pt>
          <cx:pt idx="75457">0</cx:pt>
          <cx:pt idx="75458">1</cx:pt>
          <cx:pt idx="75459">0</cx:pt>
          <cx:pt idx="75460">0</cx:pt>
          <cx:pt idx="75461">1</cx:pt>
          <cx:pt idx="75462">1</cx:pt>
          <cx:pt idx="75463">0</cx:pt>
          <cx:pt idx="75464">0</cx:pt>
          <cx:pt idx="75465">0</cx:pt>
          <cx:pt idx="75466">1</cx:pt>
          <cx:pt idx="75467">0</cx:pt>
          <cx:pt idx="75468">1</cx:pt>
          <cx:pt idx="75469">0</cx:pt>
          <cx:pt idx="75470">0</cx:pt>
          <cx:pt idx="75471">0</cx:pt>
          <cx:pt idx="75472">0</cx:pt>
          <cx:pt idx="75473">0</cx:pt>
          <cx:pt idx="75474">0</cx:pt>
          <cx:pt idx="75475">1</cx:pt>
          <cx:pt idx="75476">0</cx:pt>
          <cx:pt idx="75477">1</cx:pt>
          <cx:pt idx="75478">1</cx:pt>
          <cx:pt idx="75479">0</cx:pt>
          <cx:pt idx="75480">0</cx:pt>
          <cx:pt idx="75481">1</cx:pt>
          <cx:pt idx="75482">0</cx:pt>
          <cx:pt idx="75483">1</cx:pt>
          <cx:pt idx="75484">0</cx:pt>
          <cx:pt idx="75485">1</cx:pt>
          <cx:pt idx="75486">1</cx:pt>
          <cx:pt idx="75487">1</cx:pt>
          <cx:pt idx="75488">1</cx:pt>
          <cx:pt idx="75489">0</cx:pt>
          <cx:pt idx="75490">1</cx:pt>
          <cx:pt idx="75491">0</cx:pt>
          <cx:pt idx="75492">0</cx:pt>
          <cx:pt idx="75493">0</cx:pt>
          <cx:pt idx="75494">0</cx:pt>
          <cx:pt idx="75495">0</cx:pt>
          <cx:pt idx="75496">1</cx:pt>
          <cx:pt idx="75497">0</cx:pt>
          <cx:pt idx="75498">1</cx:pt>
          <cx:pt idx="75499">1</cx:pt>
          <cx:pt idx="75500">1</cx:pt>
          <cx:pt idx="75501">0</cx:pt>
          <cx:pt idx="75502">1</cx:pt>
          <cx:pt idx="75503">0</cx:pt>
          <cx:pt idx="75504">0</cx:pt>
          <cx:pt idx="75505">1</cx:pt>
          <cx:pt idx="75506">0</cx:pt>
          <cx:pt idx="75507">0</cx:pt>
          <cx:pt idx="75508">1</cx:pt>
          <cx:pt idx="75509">0</cx:pt>
          <cx:pt idx="75510">0</cx:pt>
          <cx:pt idx="75511">1</cx:pt>
          <cx:pt idx="75512">1</cx:pt>
          <cx:pt idx="75513">0</cx:pt>
          <cx:pt idx="75514">1</cx:pt>
          <cx:pt idx="75515">0</cx:pt>
          <cx:pt idx="75516">1</cx:pt>
          <cx:pt idx="75517">0</cx:pt>
          <cx:pt idx="75518">1</cx:pt>
          <cx:pt idx="75519">0</cx:pt>
          <cx:pt idx="75520">1</cx:pt>
          <cx:pt idx="75521">0</cx:pt>
          <cx:pt idx="75522">0</cx:pt>
          <cx:pt idx="75523">0</cx:pt>
          <cx:pt idx="75524">1</cx:pt>
          <cx:pt idx="75525">1</cx:pt>
          <cx:pt idx="75526">1</cx:pt>
          <cx:pt idx="75527">1</cx:pt>
          <cx:pt idx="75528">1</cx:pt>
          <cx:pt idx="75529">0</cx:pt>
          <cx:pt idx="75530">0</cx:pt>
          <cx:pt idx="75531">1</cx:pt>
          <cx:pt idx="75532">1</cx:pt>
          <cx:pt idx="75533">0</cx:pt>
          <cx:pt idx="75534">0</cx:pt>
          <cx:pt idx="75535">1</cx:pt>
          <cx:pt idx="75536">0</cx:pt>
          <cx:pt idx="75537">0</cx:pt>
          <cx:pt idx="75538">0</cx:pt>
          <cx:pt idx="75539">1</cx:pt>
          <cx:pt idx="75540">1</cx:pt>
          <cx:pt idx="75541">0</cx:pt>
          <cx:pt idx="75542">0</cx:pt>
          <cx:pt idx="75543">1</cx:pt>
          <cx:pt idx="75544">1</cx:pt>
          <cx:pt idx="75545">0</cx:pt>
          <cx:pt idx="75546">0</cx:pt>
          <cx:pt idx="75547">0</cx:pt>
          <cx:pt idx="75548">1</cx:pt>
          <cx:pt idx="75549">1</cx:pt>
          <cx:pt idx="75550">0</cx:pt>
          <cx:pt idx="75551">1</cx:pt>
          <cx:pt idx="75552">0</cx:pt>
          <cx:pt idx="75553">0</cx:pt>
          <cx:pt idx="75554">0</cx:pt>
          <cx:pt idx="75555">0</cx:pt>
          <cx:pt idx="75556">0</cx:pt>
          <cx:pt idx="75557">0</cx:pt>
          <cx:pt idx="75558">1</cx:pt>
          <cx:pt idx="75559">1</cx:pt>
          <cx:pt idx="75560">0</cx:pt>
          <cx:pt idx="75561">1</cx:pt>
          <cx:pt idx="75562">0</cx:pt>
          <cx:pt idx="75563">1</cx:pt>
          <cx:pt idx="75564">1</cx:pt>
          <cx:pt idx="75565">1</cx:pt>
          <cx:pt idx="75566">1</cx:pt>
          <cx:pt idx="75567">0</cx:pt>
          <cx:pt idx="75568">0</cx:pt>
          <cx:pt idx="75569">0</cx:pt>
          <cx:pt idx="75570">1</cx:pt>
          <cx:pt idx="75571">0</cx:pt>
          <cx:pt idx="75572">0</cx:pt>
          <cx:pt idx="75573">0</cx:pt>
          <cx:pt idx="75574">0</cx:pt>
          <cx:pt idx="75575">0</cx:pt>
          <cx:pt idx="75576">0</cx:pt>
          <cx:pt idx="75577">0</cx:pt>
          <cx:pt idx="75578">1</cx:pt>
          <cx:pt idx="75579">1</cx:pt>
          <cx:pt idx="75580">0</cx:pt>
          <cx:pt idx="75581">1</cx:pt>
          <cx:pt idx="75582">1</cx:pt>
          <cx:pt idx="75583">1</cx:pt>
          <cx:pt idx="75584">0</cx:pt>
          <cx:pt idx="75585">0</cx:pt>
          <cx:pt idx="75586">1</cx:pt>
          <cx:pt idx="75587">1</cx:pt>
          <cx:pt idx="75588">0</cx:pt>
          <cx:pt idx="75589">0</cx:pt>
          <cx:pt idx="75590">1</cx:pt>
          <cx:pt idx="75591">1</cx:pt>
          <cx:pt idx="75592">0</cx:pt>
          <cx:pt idx="75593">0</cx:pt>
          <cx:pt idx="75594">1</cx:pt>
          <cx:pt idx="75595">0</cx:pt>
          <cx:pt idx="75596">0</cx:pt>
          <cx:pt idx="75597">0</cx:pt>
          <cx:pt idx="75598">0</cx:pt>
          <cx:pt idx="75599">1</cx:pt>
          <cx:pt idx="75600">1</cx:pt>
          <cx:pt idx="75601">1</cx:pt>
          <cx:pt idx="75602">1</cx:pt>
          <cx:pt idx="75603">0</cx:pt>
          <cx:pt idx="75604">0</cx:pt>
          <cx:pt idx="75605">0</cx:pt>
          <cx:pt idx="75606">1</cx:pt>
          <cx:pt idx="75607">0</cx:pt>
          <cx:pt idx="75608">1</cx:pt>
          <cx:pt idx="75609">1</cx:pt>
          <cx:pt idx="75610">0</cx:pt>
          <cx:pt idx="75611">1</cx:pt>
          <cx:pt idx="75612">1</cx:pt>
          <cx:pt idx="75613">1</cx:pt>
          <cx:pt idx="75614">0</cx:pt>
          <cx:pt idx="75615">1</cx:pt>
          <cx:pt idx="75616">0</cx:pt>
          <cx:pt idx="75617">0</cx:pt>
          <cx:pt idx="75618">0</cx:pt>
          <cx:pt idx="75619">0</cx:pt>
          <cx:pt idx="75620">0</cx:pt>
          <cx:pt idx="75621">0</cx:pt>
          <cx:pt idx="75622">0</cx:pt>
          <cx:pt idx="75623">0</cx:pt>
          <cx:pt idx="75624">0</cx:pt>
          <cx:pt idx="75625">0</cx:pt>
          <cx:pt idx="75626">1</cx:pt>
          <cx:pt idx="75627">1</cx:pt>
          <cx:pt idx="75628">1</cx:pt>
          <cx:pt idx="75629">0</cx:pt>
          <cx:pt idx="75630">0</cx:pt>
          <cx:pt idx="75631">0</cx:pt>
          <cx:pt idx="75632">1</cx:pt>
          <cx:pt idx="75633">1</cx:pt>
          <cx:pt idx="75634">1</cx:pt>
          <cx:pt idx="75635">0</cx:pt>
          <cx:pt idx="75636">0</cx:pt>
          <cx:pt idx="75637">0</cx:pt>
          <cx:pt idx="75638">0</cx:pt>
          <cx:pt idx="75639">1</cx:pt>
          <cx:pt idx="75640">0</cx:pt>
          <cx:pt idx="75641">0</cx:pt>
          <cx:pt idx="75642">1</cx:pt>
          <cx:pt idx="75643">1</cx:pt>
          <cx:pt idx="75644">1</cx:pt>
          <cx:pt idx="75645">0</cx:pt>
          <cx:pt idx="75646">1</cx:pt>
          <cx:pt idx="75647">0</cx:pt>
          <cx:pt idx="75648">1</cx:pt>
          <cx:pt idx="75649">1</cx:pt>
          <cx:pt idx="75650">1</cx:pt>
          <cx:pt idx="75651">0</cx:pt>
          <cx:pt idx="75652">1</cx:pt>
          <cx:pt idx="75653">0</cx:pt>
          <cx:pt idx="75654">0</cx:pt>
          <cx:pt idx="75655">0</cx:pt>
          <cx:pt idx="75656">1</cx:pt>
          <cx:pt idx="75657">1</cx:pt>
          <cx:pt idx="75658">0</cx:pt>
          <cx:pt idx="75659">0</cx:pt>
          <cx:pt idx="75660">1</cx:pt>
          <cx:pt idx="75661">0</cx:pt>
          <cx:pt idx="75662">0</cx:pt>
          <cx:pt idx="75663">1</cx:pt>
          <cx:pt idx="75664">1</cx:pt>
          <cx:pt idx="75665">1</cx:pt>
          <cx:pt idx="75666">0</cx:pt>
          <cx:pt idx="75667">0</cx:pt>
          <cx:pt idx="75668">1</cx:pt>
          <cx:pt idx="75669">1</cx:pt>
          <cx:pt idx="75670">1</cx:pt>
          <cx:pt idx="75671">0</cx:pt>
          <cx:pt idx="75672">0</cx:pt>
          <cx:pt idx="75673">0</cx:pt>
          <cx:pt idx="75674">0</cx:pt>
          <cx:pt idx="75675">0</cx:pt>
          <cx:pt idx="75676">1</cx:pt>
          <cx:pt idx="75677">1</cx:pt>
          <cx:pt idx="75678">1</cx:pt>
          <cx:pt idx="75679">0</cx:pt>
          <cx:pt idx="75680">0</cx:pt>
          <cx:pt idx="75681">0</cx:pt>
          <cx:pt idx="75682">1</cx:pt>
          <cx:pt idx="75683">1</cx:pt>
          <cx:pt idx="75684">0</cx:pt>
          <cx:pt idx="75685">0</cx:pt>
          <cx:pt idx="75686">0</cx:pt>
          <cx:pt idx="75687">1</cx:pt>
          <cx:pt idx="75688">0</cx:pt>
          <cx:pt idx="75689">1</cx:pt>
          <cx:pt idx="75690">1</cx:pt>
          <cx:pt idx="75691">1</cx:pt>
          <cx:pt idx="75692">1</cx:pt>
          <cx:pt idx="75693">0</cx:pt>
          <cx:pt idx="75694">1</cx:pt>
          <cx:pt idx="75695">0</cx:pt>
          <cx:pt idx="75696">0</cx:pt>
          <cx:pt idx="75697">0</cx:pt>
          <cx:pt idx="75698">1</cx:pt>
          <cx:pt idx="75699">0</cx:pt>
          <cx:pt idx="75700">1</cx:pt>
          <cx:pt idx="75701">1</cx:pt>
          <cx:pt idx="75702">1</cx:pt>
          <cx:pt idx="75703">1</cx:pt>
          <cx:pt idx="75704">0</cx:pt>
          <cx:pt idx="75705">1</cx:pt>
          <cx:pt idx="75706">1</cx:pt>
          <cx:pt idx="75707">0</cx:pt>
          <cx:pt idx="75708">1</cx:pt>
          <cx:pt idx="75709">1</cx:pt>
          <cx:pt idx="75710">1</cx:pt>
          <cx:pt idx="75711">0</cx:pt>
          <cx:pt idx="75712">0</cx:pt>
          <cx:pt idx="75713">1</cx:pt>
          <cx:pt idx="75714">1</cx:pt>
          <cx:pt idx="75715">1</cx:pt>
          <cx:pt idx="75716">0</cx:pt>
          <cx:pt idx="75717">0</cx:pt>
          <cx:pt idx="75718">1</cx:pt>
          <cx:pt idx="75719">1</cx:pt>
          <cx:pt idx="75720">0</cx:pt>
          <cx:pt idx="75721">0</cx:pt>
          <cx:pt idx="75722">1</cx:pt>
          <cx:pt idx="75723">0</cx:pt>
          <cx:pt idx="75724">0</cx:pt>
          <cx:pt idx="75725">0</cx:pt>
          <cx:pt idx="75726">1</cx:pt>
          <cx:pt idx="75727">0</cx:pt>
          <cx:pt idx="75728">1</cx:pt>
          <cx:pt idx="75729">1</cx:pt>
          <cx:pt idx="75730">0</cx:pt>
          <cx:pt idx="75731">1</cx:pt>
          <cx:pt idx="75732">1</cx:pt>
          <cx:pt idx="75733">1</cx:pt>
          <cx:pt idx="75734">0</cx:pt>
          <cx:pt idx="75735">0</cx:pt>
          <cx:pt idx="75736">1</cx:pt>
          <cx:pt idx="75737">0</cx:pt>
          <cx:pt idx="75738">1</cx:pt>
          <cx:pt idx="75739">0</cx:pt>
          <cx:pt idx="75740">0</cx:pt>
          <cx:pt idx="75741">0</cx:pt>
          <cx:pt idx="75742">1</cx:pt>
          <cx:pt idx="75743">0</cx:pt>
          <cx:pt idx="75744">0</cx:pt>
          <cx:pt idx="75745">0</cx:pt>
          <cx:pt idx="75746">0</cx:pt>
          <cx:pt idx="75747">0</cx:pt>
          <cx:pt idx="75748">1</cx:pt>
          <cx:pt idx="75749">0</cx:pt>
          <cx:pt idx="75750">0</cx:pt>
          <cx:pt idx="75751">1</cx:pt>
          <cx:pt idx="75752">0</cx:pt>
          <cx:pt idx="75753">0</cx:pt>
          <cx:pt idx="75754">0</cx:pt>
          <cx:pt idx="75755">0</cx:pt>
          <cx:pt idx="75756">0</cx:pt>
          <cx:pt idx="75757">0</cx:pt>
          <cx:pt idx="75758">1</cx:pt>
          <cx:pt idx="75759">0</cx:pt>
          <cx:pt idx="75760">1</cx:pt>
          <cx:pt idx="75761">0</cx:pt>
          <cx:pt idx="75762">0</cx:pt>
          <cx:pt idx="75763">0</cx:pt>
          <cx:pt idx="75764">1</cx:pt>
          <cx:pt idx="75765">0</cx:pt>
          <cx:pt idx="75766">0</cx:pt>
          <cx:pt idx="75767">0</cx:pt>
          <cx:pt idx="75768">0</cx:pt>
          <cx:pt idx="75769">0</cx:pt>
          <cx:pt idx="75770">0</cx:pt>
          <cx:pt idx="75771">0</cx:pt>
          <cx:pt idx="75772">1</cx:pt>
          <cx:pt idx="75773">0</cx:pt>
          <cx:pt idx="75774">1</cx:pt>
          <cx:pt idx="75775">0</cx:pt>
          <cx:pt idx="75776">0</cx:pt>
          <cx:pt idx="75777">0</cx:pt>
          <cx:pt idx="75778">1</cx:pt>
          <cx:pt idx="75779">0</cx:pt>
          <cx:pt idx="75780">0</cx:pt>
          <cx:pt idx="75781">0</cx:pt>
          <cx:pt idx="75782">1</cx:pt>
          <cx:pt idx="75783">0</cx:pt>
          <cx:pt idx="75784">0</cx:pt>
          <cx:pt idx="75785">0</cx:pt>
          <cx:pt idx="75786">0</cx:pt>
          <cx:pt idx="75787">0</cx:pt>
          <cx:pt idx="75788">0</cx:pt>
          <cx:pt idx="75789">1</cx:pt>
          <cx:pt idx="75790">0</cx:pt>
          <cx:pt idx="75791">0</cx:pt>
          <cx:pt idx="75792">0</cx:pt>
          <cx:pt idx="75793">0</cx:pt>
          <cx:pt idx="75794">0</cx:pt>
          <cx:pt idx="75795">1</cx:pt>
          <cx:pt idx="75796">0</cx:pt>
          <cx:pt idx="75797">0</cx:pt>
          <cx:pt idx="75798">1</cx:pt>
          <cx:pt idx="75799">1</cx:pt>
          <cx:pt idx="75800">1</cx:pt>
          <cx:pt idx="75801">0</cx:pt>
          <cx:pt idx="75802">0</cx:pt>
          <cx:pt idx="75803">1</cx:pt>
          <cx:pt idx="75804">1</cx:pt>
          <cx:pt idx="75805">1</cx:pt>
          <cx:pt idx="75806">0</cx:pt>
          <cx:pt idx="75807">0</cx:pt>
          <cx:pt idx="75808">1</cx:pt>
          <cx:pt idx="75809">1</cx:pt>
          <cx:pt idx="75810">0</cx:pt>
          <cx:pt idx="75811">0</cx:pt>
          <cx:pt idx="75812">0</cx:pt>
          <cx:pt idx="75813">0</cx:pt>
          <cx:pt idx="75814">1</cx:pt>
          <cx:pt idx="75815">1</cx:pt>
          <cx:pt idx="75816">1</cx:pt>
          <cx:pt idx="75817">0</cx:pt>
          <cx:pt idx="75818">1</cx:pt>
          <cx:pt idx="75819">1</cx:pt>
          <cx:pt idx="75820">1</cx:pt>
          <cx:pt idx="75821">0</cx:pt>
          <cx:pt idx="75822">1</cx:pt>
          <cx:pt idx="75823">0</cx:pt>
          <cx:pt idx="75824">0</cx:pt>
          <cx:pt idx="75825">0</cx:pt>
          <cx:pt idx="75826">0</cx:pt>
          <cx:pt idx="75827">1</cx:pt>
          <cx:pt idx="75828">1</cx:pt>
          <cx:pt idx="75829">0</cx:pt>
          <cx:pt idx="75830">0</cx:pt>
          <cx:pt idx="75831">0</cx:pt>
          <cx:pt idx="75832">0</cx:pt>
          <cx:pt idx="75833">0</cx:pt>
          <cx:pt idx="75834">0</cx:pt>
          <cx:pt idx="75835">0</cx:pt>
          <cx:pt idx="75836">1</cx:pt>
          <cx:pt idx="75837">0</cx:pt>
          <cx:pt idx="75838">1</cx:pt>
          <cx:pt idx="75839">0</cx:pt>
          <cx:pt idx="75840">1</cx:pt>
          <cx:pt idx="75841">1</cx:pt>
          <cx:pt idx="75842">0</cx:pt>
          <cx:pt idx="75843">0</cx:pt>
          <cx:pt idx="75844">0</cx:pt>
          <cx:pt idx="75845">0</cx:pt>
          <cx:pt idx="75846">0</cx:pt>
          <cx:pt idx="75847">1</cx:pt>
          <cx:pt idx="75848">0</cx:pt>
          <cx:pt idx="75849">1</cx:pt>
          <cx:pt idx="75850">0</cx:pt>
          <cx:pt idx="75851">1</cx:pt>
          <cx:pt idx="75852">0</cx:pt>
          <cx:pt idx="75853">0</cx:pt>
          <cx:pt idx="75854">1</cx:pt>
          <cx:pt idx="75855">0</cx:pt>
          <cx:pt idx="75856">1</cx:pt>
          <cx:pt idx="75857">1</cx:pt>
          <cx:pt idx="75858">1</cx:pt>
          <cx:pt idx="75859">0</cx:pt>
          <cx:pt idx="75860">0</cx:pt>
          <cx:pt idx="75861">1</cx:pt>
          <cx:pt idx="75862">0</cx:pt>
          <cx:pt idx="75863">0</cx:pt>
          <cx:pt idx="75864">1</cx:pt>
          <cx:pt idx="75865">0</cx:pt>
          <cx:pt idx="75866">0</cx:pt>
          <cx:pt idx="75867">0</cx:pt>
          <cx:pt idx="75868">1</cx:pt>
          <cx:pt idx="75869">0</cx:pt>
          <cx:pt idx="75870">1</cx:pt>
          <cx:pt idx="75871">0</cx:pt>
          <cx:pt idx="75872">0</cx:pt>
          <cx:pt idx="75873">0</cx:pt>
          <cx:pt idx="75874">0</cx:pt>
          <cx:pt idx="75875">1</cx:pt>
          <cx:pt idx="75876">0</cx:pt>
          <cx:pt idx="75877">1</cx:pt>
          <cx:pt idx="75878">1</cx:pt>
          <cx:pt idx="75879">0</cx:pt>
          <cx:pt idx="75880">0</cx:pt>
          <cx:pt idx="75881">1</cx:pt>
          <cx:pt idx="75882">1</cx:pt>
          <cx:pt idx="75883">1</cx:pt>
          <cx:pt idx="75884">1</cx:pt>
          <cx:pt idx="75885">1</cx:pt>
          <cx:pt idx="75886">0</cx:pt>
          <cx:pt idx="75887">1</cx:pt>
          <cx:pt idx="75888">0</cx:pt>
          <cx:pt idx="75889">0</cx:pt>
          <cx:pt idx="75890">0</cx:pt>
          <cx:pt idx="75891">0</cx:pt>
          <cx:pt idx="75892">0</cx:pt>
          <cx:pt idx="75893">1</cx:pt>
          <cx:pt idx="75894">0</cx:pt>
          <cx:pt idx="75895">1</cx:pt>
          <cx:pt idx="75896">1</cx:pt>
          <cx:pt idx="75897">1</cx:pt>
          <cx:pt idx="75898">1</cx:pt>
          <cx:pt idx="75899">0</cx:pt>
          <cx:pt idx="75900">1</cx:pt>
          <cx:pt idx="75901">0</cx:pt>
          <cx:pt idx="75902">0</cx:pt>
          <cx:pt idx="75903">1</cx:pt>
          <cx:pt idx="75904">0</cx:pt>
          <cx:pt idx="75905">0</cx:pt>
          <cx:pt idx="75906">0</cx:pt>
          <cx:pt idx="75907">0</cx:pt>
          <cx:pt idx="75908">0</cx:pt>
          <cx:pt idx="75909">0</cx:pt>
          <cx:pt idx="75910">0</cx:pt>
          <cx:pt idx="75911">0</cx:pt>
          <cx:pt idx="75912">1</cx:pt>
          <cx:pt idx="75913">1</cx:pt>
          <cx:pt idx="75914">0</cx:pt>
          <cx:pt idx="75915">0</cx:pt>
          <cx:pt idx="75916">0</cx:pt>
          <cx:pt idx="75917">0</cx:pt>
          <cx:pt idx="75918">1</cx:pt>
          <cx:pt idx="75919">0</cx:pt>
          <cx:pt idx="75920">0</cx:pt>
          <cx:pt idx="75921">1</cx:pt>
          <cx:pt idx="75922">0</cx:pt>
          <cx:pt idx="75923">0</cx:pt>
          <cx:pt idx="75924">0</cx:pt>
          <cx:pt idx="75925">1</cx:pt>
          <cx:pt idx="75926">0</cx:pt>
          <cx:pt idx="75927">0</cx:pt>
          <cx:pt idx="75928">1</cx:pt>
          <cx:pt idx="75929">1</cx:pt>
          <cx:pt idx="75930">0</cx:pt>
          <cx:pt idx="75931">1</cx:pt>
          <cx:pt idx="75932">0</cx:pt>
          <cx:pt idx="75933">0</cx:pt>
          <cx:pt idx="75934">1</cx:pt>
          <cx:pt idx="75935">0</cx:pt>
          <cx:pt idx="75936">1</cx:pt>
          <cx:pt idx="75937">0</cx:pt>
          <cx:pt idx="75938">1</cx:pt>
          <cx:pt idx="75939">0</cx:pt>
          <cx:pt idx="75940">1</cx:pt>
          <cx:pt idx="75941">1</cx:pt>
          <cx:pt idx="75942">0</cx:pt>
          <cx:pt idx="75943">0</cx:pt>
          <cx:pt idx="75944">0</cx:pt>
          <cx:pt idx="75945">1</cx:pt>
          <cx:pt idx="75946">1</cx:pt>
          <cx:pt idx="75947">0</cx:pt>
          <cx:pt idx="75948">1</cx:pt>
          <cx:pt idx="75949">0</cx:pt>
          <cx:pt idx="75950">0</cx:pt>
          <cx:pt idx="75951">1</cx:pt>
          <cx:pt idx="75952">0</cx:pt>
          <cx:pt idx="75953">0</cx:pt>
          <cx:pt idx="75954">0</cx:pt>
          <cx:pt idx="75955">1</cx:pt>
          <cx:pt idx="75956">0</cx:pt>
          <cx:pt idx="75957">1</cx:pt>
          <cx:pt idx="75958">0</cx:pt>
          <cx:pt idx="75959">0</cx:pt>
          <cx:pt idx="75960">0</cx:pt>
          <cx:pt idx="75961">0</cx:pt>
          <cx:pt idx="75962">0</cx:pt>
          <cx:pt idx="75963">1</cx:pt>
          <cx:pt idx="75964">1</cx:pt>
          <cx:pt idx="75965">1</cx:pt>
          <cx:pt idx="75966">0</cx:pt>
          <cx:pt idx="75967">0</cx:pt>
          <cx:pt idx="75968">1</cx:pt>
          <cx:pt idx="75969">0</cx:pt>
          <cx:pt idx="75970">1</cx:pt>
          <cx:pt idx="75971">0</cx:pt>
          <cx:pt idx="75972">1</cx:pt>
          <cx:pt idx="75973">0</cx:pt>
          <cx:pt idx="75974">0</cx:pt>
          <cx:pt idx="75975">1</cx:pt>
          <cx:pt idx="75976">1</cx:pt>
          <cx:pt idx="75977">0</cx:pt>
          <cx:pt idx="75978">1</cx:pt>
          <cx:pt idx="75979">1</cx:pt>
          <cx:pt idx="75980">1</cx:pt>
          <cx:pt idx="75981">1</cx:pt>
          <cx:pt idx="75982">0</cx:pt>
          <cx:pt idx="75983">0</cx:pt>
          <cx:pt idx="75984">0</cx:pt>
          <cx:pt idx="75985">0</cx:pt>
          <cx:pt idx="75986">0</cx:pt>
          <cx:pt idx="75987">1</cx:pt>
          <cx:pt idx="75988">0</cx:pt>
          <cx:pt idx="75989">0</cx:pt>
          <cx:pt idx="75990">0</cx:pt>
          <cx:pt idx="75991">0</cx:pt>
          <cx:pt idx="75992">0</cx:pt>
          <cx:pt idx="75993">0</cx:pt>
          <cx:pt idx="75994">0</cx:pt>
          <cx:pt idx="75995">1</cx:pt>
          <cx:pt idx="75996">0</cx:pt>
          <cx:pt idx="75997">0</cx:pt>
          <cx:pt idx="75998">0</cx:pt>
          <cx:pt idx="75999">0</cx:pt>
          <cx:pt idx="76000">1</cx:pt>
          <cx:pt idx="76001">1</cx:pt>
          <cx:pt idx="76002">1</cx:pt>
          <cx:pt idx="76003">0</cx:pt>
          <cx:pt idx="76004">1</cx:pt>
          <cx:pt idx="76005">1</cx:pt>
          <cx:pt idx="76006">0</cx:pt>
          <cx:pt idx="76007">1</cx:pt>
          <cx:pt idx="76008">0</cx:pt>
          <cx:pt idx="76009">0</cx:pt>
          <cx:pt idx="76010">0</cx:pt>
          <cx:pt idx="76011">0</cx:pt>
          <cx:pt idx="76012">0</cx:pt>
          <cx:pt idx="76013">0</cx:pt>
          <cx:pt idx="76014">0</cx:pt>
          <cx:pt idx="76015">0</cx:pt>
          <cx:pt idx="76016">0</cx:pt>
          <cx:pt idx="76017">1</cx:pt>
          <cx:pt idx="76018">0</cx:pt>
          <cx:pt idx="76019">0</cx:pt>
          <cx:pt idx="76020">1</cx:pt>
          <cx:pt idx="76021">1</cx:pt>
          <cx:pt idx="76022">0</cx:pt>
          <cx:pt idx="76023">0</cx:pt>
          <cx:pt idx="76024">0</cx:pt>
          <cx:pt idx="76025">0</cx:pt>
          <cx:pt idx="76026">1</cx:pt>
          <cx:pt idx="76027">0</cx:pt>
          <cx:pt idx="76028">0</cx:pt>
          <cx:pt idx="76029">0</cx:pt>
          <cx:pt idx="76030">0</cx:pt>
          <cx:pt idx="76031">0</cx:pt>
          <cx:pt idx="76032">1</cx:pt>
          <cx:pt idx="76033">1</cx:pt>
          <cx:pt idx="76034">0</cx:pt>
          <cx:pt idx="76035">1</cx:pt>
          <cx:pt idx="76036">0</cx:pt>
          <cx:pt idx="76037">0</cx:pt>
          <cx:pt idx="76038">0</cx:pt>
          <cx:pt idx="76039">0</cx:pt>
          <cx:pt idx="76040">0</cx:pt>
          <cx:pt idx="76041">0</cx:pt>
          <cx:pt idx="76042">0</cx:pt>
          <cx:pt idx="76043">1</cx:pt>
          <cx:pt idx="76044">0</cx:pt>
          <cx:pt idx="76045">0</cx:pt>
          <cx:pt idx="76046">1</cx:pt>
          <cx:pt idx="76047">0</cx:pt>
          <cx:pt idx="76048">0</cx:pt>
          <cx:pt idx="76049">0</cx:pt>
          <cx:pt idx="76050">0</cx:pt>
          <cx:pt idx="76051">0</cx:pt>
          <cx:pt idx="76052">1</cx:pt>
          <cx:pt idx="76053">0</cx:pt>
          <cx:pt idx="76054">0</cx:pt>
          <cx:pt idx="76055">0</cx:pt>
          <cx:pt idx="76056">0</cx:pt>
          <cx:pt idx="76057">0</cx:pt>
          <cx:pt idx="76058">0</cx:pt>
          <cx:pt idx="76059">0</cx:pt>
          <cx:pt idx="76060">0</cx:pt>
          <cx:pt idx="76061">1</cx:pt>
          <cx:pt idx="76062">0</cx:pt>
          <cx:pt idx="76063">1</cx:pt>
          <cx:pt idx="76064">1</cx:pt>
          <cx:pt idx="76065">1</cx:pt>
          <cx:pt idx="76066">0</cx:pt>
          <cx:pt idx="76067">1</cx:pt>
          <cx:pt idx="76068">0</cx:pt>
          <cx:pt idx="76069">0</cx:pt>
          <cx:pt idx="76070">1</cx:pt>
          <cx:pt idx="76071">0</cx:pt>
          <cx:pt idx="76072">1</cx:pt>
          <cx:pt idx="76073">0</cx:pt>
          <cx:pt idx="76074">0</cx:pt>
          <cx:pt idx="76075">1</cx:pt>
          <cx:pt idx="76076">0</cx:pt>
          <cx:pt idx="76077">0</cx:pt>
          <cx:pt idx="76078">0</cx:pt>
          <cx:pt idx="76079">1</cx:pt>
          <cx:pt idx="76080">0</cx:pt>
          <cx:pt idx="76081">0</cx:pt>
          <cx:pt idx="76082">0</cx:pt>
          <cx:pt idx="76083">0</cx:pt>
          <cx:pt idx="76084">1</cx:pt>
          <cx:pt idx="76085">1</cx:pt>
          <cx:pt idx="76086">0</cx:pt>
          <cx:pt idx="76087">1</cx:pt>
          <cx:pt idx="76088">1</cx:pt>
          <cx:pt idx="76089">0</cx:pt>
          <cx:pt idx="76090">0</cx:pt>
          <cx:pt idx="76091">0</cx:pt>
          <cx:pt idx="76092">1</cx:pt>
          <cx:pt idx="76093">0</cx:pt>
          <cx:pt idx="76094">0</cx:pt>
          <cx:pt idx="76095">1</cx:pt>
          <cx:pt idx="76096">1</cx:pt>
          <cx:pt idx="76097">0</cx:pt>
          <cx:pt idx="76098">1</cx:pt>
          <cx:pt idx="76099">1</cx:pt>
          <cx:pt idx="76100">0</cx:pt>
          <cx:pt idx="76101">1</cx:pt>
          <cx:pt idx="76102">1</cx:pt>
          <cx:pt idx="76103">0</cx:pt>
          <cx:pt idx="76104">1</cx:pt>
          <cx:pt idx="76105">0</cx:pt>
          <cx:pt idx="76106">0</cx:pt>
          <cx:pt idx="76107">1</cx:pt>
          <cx:pt idx="76108">0</cx:pt>
          <cx:pt idx="76109">0</cx:pt>
          <cx:pt idx="76110">1</cx:pt>
          <cx:pt idx="76111">0</cx:pt>
          <cx:pt idx="76112">0</cx:pt>
          <cx:pt idx="76113">1</cx:pt>
          <cx:pt idx="76114">1</cx:pt>
          <cx:pt idx="76115">1</cx:pt>
          <cx:pt idx="76116">1</cx:pt>
          <cx:pt idx="76117">1</cx:pt>
          <cx:pt idx="76118">0</cx:pt>
          <cx:pt idx="76119">0</cx:pt>
          <cx:pt idx="76120">1</cx:pt>
          <cx:pt idx="76121">1</cx:pt>
          <cx:pt idx="76122">1</cx:pt>
          <cx:pt idx="76123">0</cx:pt>
          <cx:pt idx="76124">1</cx:pt>
          <cx:pt idx="76125">0</cx:pt>
          <cx:pt idx="76126">0</cx:pt>
          <cx:pt idx="76127">1</cx:pt>
          <cx:pt idx="76128">0</cx:pt>
          <cx:pt idx="76129">1</cx:pt>
          <cx:pt idx="76130">0</cx:pt>
          <cx:pt idx="76131">1</cx:pt>
          <cx:pt idx="76132">1</cx:pt>
          <cx:pt idx="76133">0</cx:pt>
          <cx:pt idx="76134">1</cx:pt>
          <cx:pt idx="76135">1</cx:pt>
          <cx:pt idx="76136">0</cx:pt>
          <cx:pt idx="76137">1</cx:pt>
          <cx:pt idx="76138">0</cx:pt>
          <cx:pt idx="76139">1</cx:pt>
          <cx:pt idx="76140">0</cx:pt>
          <cx:pt idx="76141">1</cx:pt>
          <cx:pt idx="76142">0</cx:pt>
          <cx:pt idx="76143">0</cx:pt>
          <cx:pt idx="76144">1</cx:pt>
          <cx:pt idx="76145">1</cx:pt>
          <cx:pt idx="76146">0</cx:pt>
          <cx:pt idx="76147">1</cx:pt>
          <cx:pt idx="76148">1</cx:pt>
          <cx:pt idx="76149">1</cx:pt>
          <cx:pt idx="76150">1</cx:pt>
          <cx:pt idx="76151">1</cx:pt>
          <cx:pt idx="76152">0</cx:pt>
          <cx:pt idx="76153">0</cx:pt>
          <cx:pt idx="76154">1</cx:pt>
          <cx:pt idx="76155">0</cx:pt>
          <cx:pt idx="76156">1</cx:pt>
          <cx:pt idx="76157">1</cx:pt>
          <cx:pt idx="76158">0</cx:pt>
          <cx:pt idx="76159">0</cx:pt>
          <cx:pt idx="76160">0</cx:pt>
          <cx:pt idx="76161">0</cx:pt>
          <cx:pt idx="76162">0</cx:pt>
          <cx:pt idx="76163">1</cx:pt>
          <cx:pt idx="76164">0</cx:pt>
          <cx:pt idx="76165">1</cx:pt>
          <cx:pt idx="76166">1</cx:pt>
          <cx:pt idx="76167">1</cx:pt>
          <cx:pt idx="76168">0</cx:pt>
          <cx:pt idx="76169">0</cx:pt>
          <cx:pt idx="76170">0</cx:pt>
          <cx:pt idx="76171">1</cx:pt>
          <cx:pt idx="76172">1</cx:pt>
          <cx:pt idx="76173">1</cx:pt>
          <cx:pt idx="76174">1</cx:pt>
          <cx:pt idx="76175">0</cx:pt>
          <cx:pt idx="76176">0</cx:pt>
          <cx:pt idx="76177">1</cx:pt>
          <cx:pt idx="76178">1</cx:pt>
          <cx:pt idx="76179">0</cx:pt>
          <cx:pt idx="76180">1</cx:pt>
          <cx:pt idx="76181">1</cx:pt>
          <cx:pt idx="76182">1</cx:pt>
          <cx:pt idx="76183">1</cx:pt>
          <cx:pt idx="76184">0</cx:pt>
          <cx:pt idx="76185">0</cx:pt>
          <cx:pt idx="76186">1</cx:pt>
          <cx:pt idx="76187">0</cx:pt>
          <cx:pt idx="76188">0</cx:pt>
          <cx:pt idx="76189">1</cx:pt>
          <cx:pt idx="76190">0</cx:pt>
          <cx:pt idx="76191">0</cx:pt>
          <cx:pt idx="76192">1</cx:pt>
          <cx:pt idx="76193">1</cx:pt>
          <cx:pt idx="76194">1</cx:pt>
          <cx:pt idx="76195">0</cx:pt>
          <cx:pt idx="76196">0</cx:pt>
          <cx:pt idx="76197">0</cx:pt>
          <cx:pt idx="76198">0</cx:pt>
          <cx:pt idx="76199">1</cx:pt>
          <cx:pt idx="76200">0</cx:pt>
          <cx:pt idx="76201">0</cx:pt>
          <cx:pt idx="76202">0</cx:pt>
          <cx:pt idx="76203">0</cx:pt>
          <cx:pt idx="76204">0</cx:pt>
          <cx:pt idx="76205">0</cx:pt>
          <cx:pt idx="76206">0</cx:pt>
          <cx:pt idx="76207">0</cx:pt>
          <cx:pt idx="76208">0</cx:pt>
          <cx:pt idx="76209">0</cx:pt>
          <cx:pt idx="76210">1</cx:pt>
          <cx:pt idx="76211">0</cx:pt>
          <cx:pt idx="76212">0</cx:pt>
          <cx:pt idx="76213">0</cx:pt>
          <cx:pt idx="76214">1</cx:pt>
          <cx:pt idx="76215">1</cx:pt>
          <cx:pt idx="76216">1</cx:pt>
          <cx:pt idx="76217">1</cx:pt>
          <cx:pt idx="76218">0</cx:pt>
          <cx:pt idx="76219">1</cx:pt>
          <cx:pt idx="76220">0</cx:pt>
          <cx:pt idx="76221">1</cx:pt>
          <cx:pt idx="76222">0</cx:pt>
          <cx:pt idx="76223">1</cx:pt>
          <cx:pt idx="76224">1</cx:pt>
          <cx:pt idx="76225">0</cx:pt>
          <cx:pt idx="76226">1</cx:pt>
          <cx:pt idx="76227">0</cx:pt>
          <cx:pt idx="76228">0</cx:pt>
          <cx:pt idx="76229">0</cx:pt>
          <cx:pt idx="76230">0</cx:pt>
          <cx:pt idx="76231">0</cx:pt>
          <cx:pt idx="76232">0</cx:pt>
          <cx:pt idx="76233">0</cx:pt>
          <cx:pt idx="76234">0</cx:pt>
          <cx:pt idx="76235">0</cx:pt>
          <cx:pt idx="76236">0</cx:pt>
          <cx:pt idx="76237">0</cx:pt>
          <cx:pt idx="76238">0</cx:pt>
          <cx:pt idx="76239">1</cx:pt>
          <cx:pt idx="76240">0</cx:pt>
          <cx:pt idx="76241">0</cx:pt>
          <cx:pt idx="76242">1</cx:pt>
          <cx:pt idx="76243">1</cx:pt>
          <cx:pt idx="76244">1</cx:pt>
          <cx:pt idx="76245">1</cx:pt>
          <cx:pt idx="76246">0</cx:pt>
          <cx:pt idx="76247">0</cx:pt>
          <cx:pt idx="76248">0</cx:pt>
          <cx:pt idx="76249">1</cx:pt>
          <cx:pt idx="76250">0</cx:pt>
          <cx:pt idx="76251">0</cx:pt>
          <cx:pt idx="76252">1</cx:pt>
          <cx:pt idx="76253">0</cx:pt>
          <cx:pt idx="76254">0</cx:pt>
          <cx:pt idx="76255">0</cx:pt>
          <cx:pt idx="76256">0</cx:pt>
          <cx:pt idx="76257">0</cx:pt>
          <cx:pt idx="76258">1</cx:pt>
          <cx:pt idx="76259">0</cx:pt>
          <cx:pt idx="76260">0</cx:pt>
          <cx:pt idx="76261">1</cx:pt>
          <cx:pt idx="76262">0</cx:pt>
          <cx:pt idx="76263">0</cx:pt>
          <cx:pt idx="76264">1</cx:pt>
          <cx:pt idx="76265">1</cx:pt>
          <cx:pt idx="76266">1</cx:pt>
          <cx:pt idx="76267">1</cx:pt>
          <cx:pt idx="76268">0</cx:pt>
          <cx:pt idx="76269">0</cx:pt>
          <cx:pt idx="76270">0</cx:pt>
          <cx:pt idx="76271">0</cx:pt>
          <cx:pt idx="76272">0</cx:pt>
          <cx:pt idx="76273">0</cx:pt>
          <cx:pt idx="76274">1</cx:pt>
          <cx:pt idx="76275">1</cx:pt>
          <cx:pt idx="76276">1</cx:pt>
          <cx:pt idx="76277">1</cx:pt>
          <cx:pt idx="76278">0</cx:pt>
          <cx:pt idx="76279">1</cx:pt>
          <cx:pt idx="76280">0</cx:pt>
          <cx:pt idx="76281">0</cx:pt>
          <cx:pt idx="76282">1</cx:pt>
          <cx:pt idx="76283">1</cx:pt>
          <cx:pt idx="76284">1</cx:pt>
          <cx:pt idx="76285">0</cx:pt>
          <cx:pt idx="76286">0</cx:pt>
          <cx:pt idx="76287">1</cx:pt>
          <cx:pt idx="76288">1</cx:pt>
          <cx:pt idx="76289">0</cx:pt>
          <cx:pt idx="76290">1</cx:pt>
          <cx:pt idx="76291">0</cx:pt>
          <cx:pt idx="76292">0</cx:pt>
          <cx:pt idx="76293">1</cx:pt>
          <cx:pt idx="76294">1</cx:pt>
          <cx:pt idx="76295">0</cx:pt>
          <cx:pt idx="76296">0</cx:pt>
          <cx:pt idx="76297">1</cx:pt>
          <cx:pt idx="76298">0</cx:pt>
          <cx:pt idx="76299">1</cx:pt>
          <cx:pt idx="76300">0</cx:pt>
          <cx:pt idx="76301">0</cx:pt>
          <cx:pt idx="76302">0</cx:pt>
          <cx:pt idx="76303">0</cx:pt>
          <cx:pt idx="76304">1</cx:pt>
          <cx:pt idx="76305">0</cx:pt>
          <cx:pt idx="76306">0</cx:pt>
          <cx:pt idx="76307">1</cx:pt>
          <cx:pt idx="76308">1</cx:pt>
          <cx:pt idx="76309">0</cx:pt>
          <cx:pt idx="76310">0</cx:pt>
          <cx:pt idx="76311">0</cx:pt>
          <cx:pt idx="76312">1</cx:pt>
          <cx:pt idx="76313">0</cx:pt>
          <cx:pt idx="76314">0</cx:pt>
          <cx:pt idx="76315">1</cx:pt>
          <cx:pt idx="76316">0</cx:pt>
          <cx:pt idx="76317">1</cx:pt>
          <cx:pt idx="76318">1</cx:pt>
          <cx:pt idx="76319">0</cx:pt>
          <cx:pt idx="76320">0</cx:pt>
          <cx:pt idx="76321">1</cx:pt>
          <cx:pt idx="76322">0</cx:pt>
          <cx:pt idx="76323">0</cx:pt>
          <cx:pt idx="76324">0</cx:pt>
          <cx:pt idx="76325">1</cx:pt>
          <cx:pt idx="76326">0</cx:pt>
          <cx:pt idx="76327">1</cx:pt>
          <cx:pt idx="76328">0</cx:pt>
          <cx:pt idx="76329">1</cx:pt>
          <cx:pt idx="76330">0</cx:pt>
          <cx:pt idx="76331">1</cx:pt>
          <cx:pt idx="76332">0</cx:pt>
          <cx:pt idx="76333">1</cx:pt>
          <cx:pt idx="76334">1</cx:pt>
          <cx:pt idx="76335">1</cx:pt>
          <cx:pt idx="76336">0</cx:pt>
          <cx:pt idx="76337">1</cx:pt>
          <cx:pt idx="76338">0</cx:pt>
          <cx:pt idx="76339">0</cx:pt>
          <cx:pt idx="76340">1</cx:pt>
          <cx:pt idx="76341">0</cx:pt>
          <cx:pt idx="76342">1</cx:pt>
          <cx:pt idx="76343">1</cx:pt>
          <cx:pt idx="76344">0</cx:pt>
          <cx:pt idx="76345">1</cx:pt>
          <cx:pt idx="76346">0</cx:pt>
          <cx:pt idx="76347">1</cx:pt>
          <cx:pt idx="76348">1</cx:pt>
          <cx:pt idx="76349">0</cx:pt>
          <cx:pt idx="76350">0</cx:pt>
          <cx:pt idx="76351">1</cx:pt>
          <cx:pt idx="76352">0</cx:pt>
          <cx:pt idx="76353">1</cx:pt>
          <cx:pt idx="76354">0</cx:pt>
          <cx:pt idx="76355">1</cx:pt>
          <cx:pt idx="76356">1</cx:pt>
          <cx:pt idx="76357">0</cx:pt>
          <cx:pt idx="76358">1</cx:pt>
          <cx:pt idx="76359">0</cx:pt>
          <cx:pt idx="76360">1</cx:pt>
          <cx:pt idx="76361">1</cx:pt>
          <cx:pt idx="76362">1</cx:pt>
          <cx:pt idx="76363">1</cx:pt>
          <cx:pt idx="76364">0</cx:pt>
          <cx:pt idx="76365">0</cx:pt>
          <cx:pt idx="76366">0</cx:pt>
          <cx:pt idx="76367">1</cx:pt>
          <cx:pt idx="76368">1</cx:pt>
          <cx:pt idx="76369">1</cx:pt>
          <cx:pt idx="76370">1</cx:pt>
          <cx:pt idx="76371">0</cx:pt>
          <cx:pt idx="76372">0</cx:pt>
          <cx:pt idx="76373">0</cx:pt>
          <cx:pt idx="76374">0</cx:pt>
          <cx:pt idx="76375">0</cx:pt>
          <cx:pt idx="76376">1</cx:pt>
          <cx:pt idx="76377">1</cx:pt>
          <cx:pt idx="76378">1</cx:pt>
          <cx:pt idx="76379">1</cx:pt>
          <cx:pt idx="76380">1</cx:pt>
          <cx:pt idx="76381">1</cx:pt>
          <cx:pt idx="76382">1</cx:pt>
          <cx:pt idx="76383">1</cx:pt>
          <cx:pt idx="76384">0</cx:pt>
          <cx:pt idx="76385">1</cx:pt>
          <cx:pt idx="76386">1</cx:pt>
          <cx:pt idx="76387">0</cx:pt>
          <cx:pt idx="76388">1</cx:pt>
          <cx:pt idx="76389">1</cx:pt>
          <cx:pt idx="76390">1</cx:pt>
          <cx:pt idx="76391">1</cx:pt>
          <cx:pt idx="76392">0</cx:pt>
          <cx:pt idx="76393">1</cx:pt>
          <cx:pt idx="76394">0</cx:pt>
          <cx:pt idx="76395">0</cx:pt>
          <cx:pt idx="76396">0</cx:pt>
          <cx:pt idx="76397">0</cx:pt>
          <cx:pt idx="76398">1</cx:pt>
          <cx:pt idx="76399">1</cx:pt>
          <cx:pt idx="76400">1</cx:pt>
          <cx:pt idx="76401">0</cx:pt>
          <cx:pt idx="76402">1</cx:pt>
          <cx:pt idx="76403">0</cx:pt>
          <cx:pt idx="76404">1</cx:pt>
          <cx:pt idx="76405">1</cx:pt>
          <cx:pt idx="76406">1</cx:pt>
          <cx:pt idx="76407">0</cx:pt>
          <cx:pt idx="76408">0</cx:pt>
          <cx:pt idx="76409">0</cx:pt>
          <cx:pt idx="76410">0</cx:pt>
          <cx:pt idx="76411">0</cx:pt>
          <cx:pt idx="76412">0</cx:pt>
          <cx:pt idx="76413">1</cx:pt>
          <cx:pt idx="76414">0</cx:pt>
          <cx:pt idx="76415">0</cx:pt>
          <cx:pt idx="76416">0</cx:pt>
          <cx:pt idx="76417">0</cx:pt>
          <cx:pt idx="76418">0</cx:pt>
          <cx:pt idx="76419">1</cx:pt>
          <cx:pt idx="76420">0</cx:pt>
          <cx:pt idx="76421">1</cx:pt>
          <cx:pt idx="76422">1</cx:pt>
          <cx:pt idx="76423">0</cx:pt>
          <cx:pt idx="76424">0</cx:pt>
          <cx:pt idx="76425">1</cx:pt>
          <cx:pt idx="76426">0</cx:pt>
          <cx:pt idx="76427">0</cx:pt>
          <cx:pt idx="76428">1</cx:pt>
          <cx:pt idx="76429">0</cx:pt>
          <cx:pt idx="76430">0</cx:pt>
          <cx:pt idx="76431">1</cx:pt>
          <cx:pt idx="76432">1</cx:pt>
          <cx:pt idx="76433">0</cx:pt>
          <cx:pt idx="76434">0</cx:pt>
          <cx:pt idx="76435">1</cx:pt>
          <cx:pt idx="76436">1</cx:pt>
          <cx:pt idx="76437">1</cx:pt>
          <cx:pt idx="76438">1</cx:pt>
          <cx:pt idx="76439">0</cx:pt>
          <cx:pt idx="76440">1</cx:pt>
          <cx:pt idx="76441">1</cx:pt>
          <cx:pt idx="76442">1</cx:pt>
          <cx:pt idx="76443">0</cx:pt>
          <cx:pt idx="76444">0</cx:pt>
          <cx:pt idx="76445">1</cx:pt>
          <cx:pt idx="76446">1</cx:pt>
          <cx:pt idx="76447">1</cx:pt>
          <cx:pt idx="76448">1</cx:pt>
          <cx:pt idx="76449">1</cx:pt>
          <cx:pt idx="76450">0</cx:pt>
          <cx:pt idx="76451">0</cx:pt>
          <cx:pt idx="76452">1</cx:pt>
          <cx:pt idx="76453">0</cx:pt>
          <cx:pt idx="76454">0</cx:pt>
          <cx:pt idx="76455">1</cx:pt>
          <cx:pt idx="76456">1</cx:pt>
          <cx:pt idx="76457">0</cx:pt>
          <cx:pt idx="76458">1</cx:pt>
          <cx:pt idx="76459">0</cx:pt>
          <cx:pt idx="76460">1</cx:pt>
          <cx:pt idx="76461">0</cx:pt>
          <cx:pt idx="76462">1</cx:pt>
          <cx:pt idx="76463">0</cx:pt>
          <cx:pt idx="76464">1</cx:pt>
          <cx:pt idx="76465">0</cx:pt>
          <cx:pt idx="76466">1</cx:pt>
          <cx:pt idx="76467">1</cx:pt>
          <cx:pt idx="76468">1</cx:pt>
          <cx:pt idx="76469">0</cx:pt>
          <cx:pt idx="76470">0</cx:pt>
          <cx:pt idx="76471">1</cx:pt>
          <cx:pt idx="76472">0</cx:pt>
          <cx:pt idx="76473">0</cx:pt>
          <cx:pt idx="76474">1</cx:pt>
          <cx:pt idx="76475">0</cx:pt>
          <cx:pt idx="76476">1</cx:pt>
          <cx:pt idx="76477">0</cx:pt>
          <cx:pt idx="76478">1</cx:pt>
          <cx:pt idx="76479">1</cx:pt>
          <cx:pt idx="76480">0</cx:pt>
          <cx:pt idx="76481">1</cx:pt>
          <cx:pt idx="76482">1</cx:pt>
          <cx:pt idx="76483">1</cx:pt>
          <cx:pt idx="76484">1</cx:pt>
          <cx:pt idx="76485">1</cx:pt>
          <cx:pt idx="76486">1</cx:pt>
          <cx:pt idx="76487">0</cx:pt>
          <cx:pt idx="76488">1</cx:pt>
          <cx:pt idx="76489">0</cx:pt>
          <cx:pt idx="76490">0</cx:pt>
          <cx:pt idx="76491">1</cx:pt>
          <cx:pt idx="76492">1</cx:pt>
          <cx:pt idx="76493">0</cx:pt>
          <cx:pt idx="76494">0</cx:pt>
          <cx:pt idx="76495">0</cx:pt>
          <cx:pt idx="76496">1</cx:pt>
          <cx:pt idx="76497">0</cx:pt>
          <cx:pt idx="76498">0</cx:pt>
          <cx:pt idx="76499">0</cx:pt>
          <cx:pt idx="76500">0</cx:pt>
          <cx:pt idx="76501">0</cx:pt>
          <cx:pt idx="76502">1</cx:pt>
          <cx:pt idx="76503">0</cx:pt>
          <cx:pt idx="76504">1</cx:pt>
          <cx:pt idx="76505">0</cx:pt>
          <cx:pt idx="76506">0</cx:pt>
          <cx:pt idx="76507">1</cx:pt>
          <cx:pt idx="76508">1</cx:pt>
          <cx:pt idx="76509">0</cx:pt>
          <cx:pt idx="76510">0</cx:pt>
          <cx:pt idx="76511">0</cx:pt>
          <cx:pt idx="76512">0</cx:pt>
          <cx:pt idx="76513">0</cx:pt>
          <cx:pt idx="76514">0</cx:pt>
          <cx:pt idx="76515">0</cx:pt>
          <cx:pt idx="76516">1</cx:pt>
          <cx:pt idx="76517">0</cx:pt>
          <cx:pt idx="76518">0</cx:pt>
          <cx:pt idx="76519">0</cx:pt>
          <cx:pt idx="76520">1</cx:pt>
          <cx:pt idx="76521">0</cx:pt>
          <cx:pt idx="76522">1</cx:pt>
          <cx:pt idx="76523">0</cx:pt>
          <cx:pt idx="76524">1</cx:pt>
          <cx:pt idx="76525">0</cx:pt>
          <cx:pt idx="76526">1</cx:pt>
          <cx:pt idx="76527">1</cx:pt>
          <cx:pt idx="76528">1</cx:pt>
          <cx:pt idx="76529">0</cx:pt>
          <cx:pt idx="76530">1</cx:pt>
          <cx:pt idx="76531">0</cx:pt>
          <cx:pt idx="76532">1</cx:pt>
          <cx:pt idx="76533">0</cx:pt>
          <cx:pt idx="76534">0</cx:pt>
          <cx:pt idx="76535">0</cx:pt>
          <cx:pt idx="76536">0</cx:pt>
          <cx:pt idx="76537">0</cx:pt>
          <cx:pt idx="76538">0</cx:pt>
          <cx:pt idx="76539">0</cx:pt>
          <cx:pt idx="76540">0</cx:pt>
          <cx:pt idx="76541">0</cx:pt>
          <cx:pt idx="76542">1</cx:pt>
          <cx:pt idx="76543">1</cx:pt>
          <cx:pt idx="76544">0</cx:pt>
          <cx:pt idx="76545">0</cx:pt>
          <cx:pt idx="76546">1</cx:pt>
          <cx:pt idx="76547">1</cx:pt>
          <cx:pt idx="76548">0</cx:pt>
          <cx:pt idx="76549">0</cx:pt>
          <cx:pt idx="76550">0</cx:pt>
          <cx:pt idx="76551">1</cx:pt>
          <cx:pt idx="76552">1</cx:pt>
          <cx:pt idx="76553">1</cx:pt>
          <cx:pt idx="76554">0</cx:pt>
          <cx:pt idx="76555">1</cx:pt>
          <cx:pt idx="76556">0</cx:pt>
          <cx:pt idx="76557">1</cx:pt>
          <cx:pt idx="76558">0</cx:pt>
          <cx:pt idx="76559">0</cx:pt>
          <cx:pt idx="76560">0</cx:pt>
          <cx:pt idx="76561">0</cx:pt>
          <cx:pt idx="76562">0</cx:pt>
          <cx:pt idx="76563">0</cx:pt>
          <cx:pt idx="76564">0</cx:pt>
          <cx:pt idx="76565">1</cx:pt>
          <cx:pt idx="76566">1</cx:pt>
          <cx:pt idx="76567">0</cx:pt>
          <cx:pt idx="76568">0</cx:pt>
          <cx:pt idx="76569">0</cx:pt>
          <cx:pt idx="76570">1</cx:pt>
          <cx:pt idx="76571">0</cx:pt>
          <cx:pt idx="76572">1</cx:pt>
          <cx:pt idx="76573">0</cx:pt>
          <cx:pt idx="76574">0</cx:pt>
          <cx:pt idx="76575">1</cx:pt>
          <cx:pt idx="76576">0</cx:pt>
          <cx:pt idx="76577">1</cx:pt>
          <cx:pt idx="76578">0</cx:pt>
          <cx:pt idx="76579">0</cx:pt>
          <cx:pt idx="76580">0</cx:pt>
          <cx:pt idx="76581">1</cx:pt>
          <cx:pt idx="76582">1</cx:pt>
          <cx:pt idx="76583">1</cx:pt>
          <cx:pt idx="76584">0</cx:pt>
          <cx:pt idx="76585">1</cx:pt>
          <cx:pt idx="76586">0</cx:pt>
          <cx:pt idx="76587">1</cx:pt>
          <cx:pt idx="76588">0</cx:pt>
          <cx:pt idx="76589">0</cx:pt>
          <cx:pt idx="76590">1</cx:pt>
          <cx:pt idx="76591">1</cx:pt>
          <cx:pt idx="76592">0</cx:pt>
          <cx:pt idx="76593">0</cx:pt>
          <cx:pt idx="76594">0</cx:pt>
          <cx:pt idx="76595">0</cx:pt>
          <cx:pt idx="76596">0</cx:pt>
          <cx:pt idx="76597">0</cx:pt>
          <cx:pt idx="76598">1</cx:pt>
          <cx:pt idx="76599">1</cx:pt>
          <cx:pt idx="76600">0</cx:pt>
          <cx:pt idx="76601">0</cx:pt>
          <cx:pt idx="76602">0</cx:pt>
          <cx:pt idx="76603">0</cx:pt>
          <cx:pt idx="76604">1</cx:pt>
          <cx:pt idx="76605">0</cx:pt>
          <cx:pt idx="76606">0</cx:pt>
          <cx:pt idx="76607">0</cx:pt>
          <cx:pt idx="76608">0</cx:pt>
          <cx:pt idx="76609">1</cx:pt>
          <cx:pt idx="76610">1</cx:pt>
          <cx:pt idx="76611">0</cx:pt>
          <cx:pt idx="76612">0</cx:pt>
          <cx:pt idx="76613">0</cx:pt>
          <cx:pt idx="76614">1</cx:pt>
          <cx:pt idx="76615">1</cx:pt>
          <cx:pt idx="76616">0</cx:pt>
          <cx:pt idx="76617">0</cx:pt>
          <cx:pt idx="76618">0</cx:pt>
          <cx:pt idx="76619">1</cx:pt>
          <cx:pt idx="76620">0</cx:pt>
          <cx:pt idx="76621">0</cx:pt>
          <cx:pt idx="76622">1</cx:pt>
          <cx:pt idx="76623">0</cx:pt>
          <cx:pt idx="76624">1</cx:pt>
          <cx:pt idx="76625">0</cx:pt>
          <cx:pt idx="76626">0</cx:pt>
          <cx:pt idx="76627">1</cx:pt>
          <cx:pt idx="76628">0</cx:pt>
          <cx:pt idx="76629">0</cx:pt>
          <cx:pt idx="76630">0</cx:pt>
          <cx:pt idx="76631">0</cx:pt>
          <cx:pt idx="76632">0</cx:pt>
          <cx:pt idx="76633">0</cx:pt>
          <cx:pt idx="76634">0</cx:pt>
          <cx:pt idx="76635">0</cx:pt>
          <cx:pt idx="76636">1</cx:pt>
          <cx:pt idx="76637">0</cx:pt>
          <cx:pt idx="76638">1</cx:pt>
          <cx:pt idx="76639">1</cx:pt>
          <cx:pt idx="76640">0</cx:pt>
          <cx:pt idx="76641">1</cx:pt>
          <cx:pt idx="76642">1</cx:pt>
          <cx:pt idx="76643">0</cx:pt>
          <cx:pt idx="76644">1</cx:pt>
          <cx:pt idx="76645">1</cx:pt>
          <cx:pt idx="76646">0</cx:pt>
          <cx:pt idx="76647">0</cx:pt>
          <cx:pt idx="76648">0</cx:pt>
          <cx:pt idx="76649">0</cx:pt>
          <cx:pt idx="76650">0</cx:pt>
          <cx:pt idx="76651">0</cx:pt>
          <cx:pt idx="76652">0</cx:pt>
          <cx:pt idx="76653">0</cx:pt>
          <cx:pt idx="76654">1</cx:pt>
          <cx:pt idx="76655">1</cx:pt>
          <cx:pt idx="76656">0</cx:pt>
          <cx:pt idx="76657">0</cx:pt>
          <cx:pt idx="76658">1</cx:pt>
          <cx:pt idx="76659">0</cx:pt>
          <cx:pt idx="76660">1</cx:pt>
          <cx:pt idx="76661">1</cx:pt>
          <cx:pt idx="76662">1</cx:pt>
          <cx:pt idx="76663">1</cx:pt>
          <cx:pt idx="76664">1</cx:pt>
          <cx:pt idx="76665">1</cx:pt>
          <cx:pt idx="76666">1</cx:pt>
          <cx:pt idx="76667">1</cx:pt>
          <cx:pt idx="76668">0</cx:pt>
          <cx:pt idx="76669">0</cx:pt>
          <cx:pt idx="76670">0</cx:pt>
          <cx:pt idx="76671">0</cx:pt>
          <cx:pt idx="76672">1</cx:pt>
          <cx:pt idx="76673">1</cx:pt>
          <cx:pt idx="76674">1</cx:pt>
          <cx:pt idx="76675">0</cx:pt>
          <cx:pt idx="76676">0</cx:pt>
          <cx:pt idx="76677">0</cx:pt>
          <cx:pt idx="76678">1</cx:pt>
          <cx:pt idx="76679">0</cx:pt>
          <cx:pt idx="76680">0</cx:pt>
          <cx:pt idx="76681">0</cx:pt>
          <cx:pt idx="76682">0</cx:pt>
          <cx:pt idx="76683">0</cx:pt>
          <cx:pt idx="76684">1</cx:pt>
          <cx:pt idx="76685">0</cx:pt>
          <cx:pt idx="76686">1</cx:pt>
          <cx:pt idx="76687">1</cx:pt>
          <cx:pt idx="76688">1</cx:pt>
          <cx:pt idx="76689">1</cx:pt>
          <cx:pt idx="76690">1</cx:pt>
          <cx:pt idx="76691">1</cx:pt>
          <cx:pt idx="76692">0</cx:pt>
          <cx:pt idx="76693">1</cx:pt>
          <cx:pt idx="76694">0</cx:pt>
          <cx:pt idx="76695">1</cx:pt>
          <cx:pt idx="76696">1</cx:pt>
          <cx:pt idx="76697">0</cx:pt>
          <cx:pt idx="76698">1</cx:pt>
          <cx:pt idx="76699">0</cx:pt>
          <cx:pt idx="76700">0</cx:pt>
          <cx:pt idx="76701">0</cx:pt>
          <cx:pt idx="76702">1</cx:pt>
          <cx:pt idx="76703">0</cx:pt>
          <cx:pt idx="76704">1</cx:pt>
          <cx:pt idx="76705">0</cx:pt>
          <cx:pt idx="76706">1</cx:pt>
          <cx:pt idx="76707">1</cx:pt>
          <cx:pt idx="76708">0</cx:pt>
          <cx:pt idx="76709">0</cx:pt>
          <cx:pt idx="76710">1</cx:pt>
          <cx:pt idx="76711">0</cx:pt>
          <cx:pt idx="76712">0</cx:pt>
          <cx:pt idx="76713">0</cx:pt>
          <cx:pt idx="76714">1</cx:pt>
          <cx:pt idx="76715">1</cx:pt>
          <cx:pt idx="76716">0</cx:pt>
          <cx:pt idx="76717">0</cx:pt>
          <cx:pt idx="76718">0</cx:pt>
          <cx:pt idx="76719">0</cx:pt>
          <cx:pt idx="76720">0</cx:pt>
          <cx:pt idx="76721">1</cx:pt>
          <cx:pt idx="76722">0</cx:pt>
          <cx:pt idx="76723">1</cx:pt>
          <cx:pt idx="76724">0</cx:pt>
          <cx:pt idx="76725">0</cx:pt>
          <cx:pt idx="76726">0</cx:pt>
          <cx:pt idx="76727">0</cx:pt>
          <cx:pt idx="76728">0</cx:pt>
          <cx:pt idx="76729">1</cx:pt>
          <cx:pt idx="76730">1</cx:pt>
          <cx:pt idx="76731">1</cx:pt>
          <cx:pt idx="76732">0</cx:pt>
          <cx:pt idx="76733">1</cx:pt>
          <cx:pt idx="76734">1</cx:pt>
          <cx:pt idx="76735">0</cx:pt>
          <cx:pt idx="76736">0</cx:pt>
          <cx:pt idx="76737">1</cx:pt>
          <cx:pt idx="76738">1</cx:pt>
          <cx:pt idx="76739">0</cx:pt>
          <cx:pt idx="76740">1</cx:pt>
          <cx:pt idx="76741">1</cx:pt>
          <cx:pt idx="76742">1</cx:pt>
          <cx:pt idx="76743">0</cx:pt>
          <cx:pt idx="76744">1</cx:pt>
          <cx:pt idx="76745">0</cx:pt>
          <cx:pt idx="76746">0</cx:pt>
          <cx:pt idx="76747">1</cx:pt>
          <cx:pt idx="76748">0</cx:pt>
          <cx:pt idx="76749">1</cx:pt>
          <cx:pt idx="76750">1</cx:pt>
          <cx:pt idx="76751">0</cx:pt>
          <cx:pt idx="76752">0</cx:pt>
          <cx:pt idx="76753">1</cx:pt>
          <cx:pt idx="76754">1</cx:pt>
          <cx:pt idx="76755">0</cx:pt>
          <cx:pt idx="76756">1</cx:pt>
          <cx:pt idx="76757">0</cx:pt>
          <cx:pt idx="76758">0</cx:pt>
          <cx:pt idx="76759">1</cx:pt>
          <cx:pt idx="76760">1</cx:pt>
          <cx:pt idx="76761">0</cx:pt>
          <cx:pt idx="76762">0</cx:pt>
          <cx:pt idx="76763">1</cx:pt>
          <cx:pt idx="76764">0</cx:pt>
          <cx:pt idx="76765">0</cx:pt>
          <cx:pt idx="76766">0</cx:pt>
          <cx:pt idx="76767">0</cx:pt>
          <cx:pt idx="76768">1</cx:pt>
          <cx:pt idx="76769">0</cx:pt>
          <cx:pt idx="76770">0</cx:pt>
          <cx:pt idx="76771">0</cx:pt>
          <cx:pt idx="76772">1</cx:pt>
          <cx:pt idx="76773">0</cx:pt>
          <cx:pt idx="76774">1</cx:pt>
          <cx:pt idx="76775">0</cx:pt>
          <cx:pt idx="76776">0</cx:pt>
          <cx:pt idx="76777">0</cx:pt>
          <cx:pt idx="76778">1</cx:pt>
          <cx:pt idx="76779">0</cx:pt>
          <cx:pt idx="76780">1</cx:pt>
          <cx:pt idx="76781">1</cx:pt>
          <cx:pt idx="76782">1</cx:pt>
          <cx:pt idx="76783">0</cx:pt>
          <cx:pt idx="76784">0</cx:pt>
          <cx:pt idx="76785">1</cx:pt>
          <cx:pt idx="76786">1</cx:pt>
          <cx:pt idx="76787">0</cx:pt>
          <cx:pt idx="76788">1</cx:pt>
          <cx:pt idx="76789">1</cx:pt>
          <cx:pt idx="76790">0</cx:pt>
          <cx:pt idx="76791">1</cx:pt>
          <cx:pt idx="76792">1</cx:pt>
          <cx:pt idx="76793">0</cx:pt>
          <cx:pt idx="76794">1</cx:pt>
          <cx:pt idx="76795">0</cx:pt>
          <cx:pt idx="76796">0</cx:pt>
          <cx:pt idx="76797">0</cx:pt>
          <cx:pt idx="76798">1</cx:pt>
          <cx:pt idx="76799">0</cx:pt>
          <cx:pt idx="76800">0</cx:pt>
          <cx:pt idx="76801">0</cx:pt>
          <cx:pt idx="76802">0</cx:pt>
          <cx:pt idx="76803">0</cx:pt>
          <cx:pt idx="76804">0</cx:pt>
          <cx:pt idx="76805">1</cx:pt>
          <cx:pt idx="76806">0</cx:pt>
          <cx:pt idx="76807">1</cx:pt>
          <cx:pt idx="76808">0</cx:pt>
          <cx:pt idx="76809">1</cx:pt>
          <cx:pt idx="76810">1</cx:pt>
          <cx:pt idx="76811">0</cx:pt>
          <cx:pt idx="76812">0</cx:pt>
          <cx:pt idx="76813">0</cx:pt>
          <cx:pt idx="76814">0</cx:pt>
          <cx:pt idx="76815">0</cx:pt>
          <cx:pt idx="76816">0</cx:pt>
          <cx:pt idx="76817">1</cx:pt>
          <cx:pt idx="76818">0</cx:pt>
          <cx:pt idx="76819">0</cx:pt>
          <cx:pt idx="76820">0</cx:pt>
          <cx:pt idx="76821">1</cx:pt>
          <cx:pt idx="76822">1</cx:pt>
          <cx:pt idx="76823">1</cx:pt>
          <cx:pt idx="76824">0</cx:pt>
          <cx:pt idx="76825">0</cx:pt>
          <cx:pt idx="76826">1</cx:pt>
          <cx:pt idx="76827">0</cx:pt>
          <cx:pt idx="76828">0</cx:pt>
          <cx:pt idx="76829">0</cx:pt>
          <cx:pt idx="76830">0</cx:pt>
          <cx:pt idx="76831">1</cx:pt>
          <cx:pt idx="76832">0</cx:pt>
          <cx:pt idx="76833">0</cx:pt>
          <cx:pt idx="76834">1</cx:pt>
          <cx:pt idx="76835">0</cx:pt>
          <cx:pt idx="76836">0</cx:pt>
          <cx:pt idx="76837">1</cx:pt>
          <cx:pt idx="76838">0</cx:pt>
          <cx:pt idx="76839">0</cx:pt>
          <cx:pt idx="76840">0</cx:pt>
          <cx:pt idx="76841">0</cx:pt>
          <cx:pt idx="76842">0</cx:pt>
          <cx:pt idx="76843">0</cx:pt>
          <cx:pt idx="76844">0</cx:pt>
          <cx:pt idx="76845">0</cx:pt>
          <cx:pt idx="76846">0</cx:pt>
          <cx:pt idx="76847">1</cx:pt>
          <cx:pt idx="76848">0</cx:pt>
          <cx:pt idx="76849">1</cx:pt>
          <cx:pt idx="76850">0</cx:pt>
          <cx:pt idx="76851">0</cx:pt>
          <cx:pt idx="76852">0</cx:pt>
          <cx:pt idx="76853">0</cx:pt>
          <cx:pt idx="76854">0</cx:pt>
          <cx:pt idx="76855">1</cx:pt>
          <cx:pt idx="76856">0</cx:pt>
          <cx:pt idx="76857">1</cx:pt>
          <cx:pt idx="76858">0</cx:pt>
          <cx:pt idx="76859">1</cx:pt>
          <cx:pt idx="76860">0</cx:pt>
          <cx:pt idx="76861">0</cx:pt>
          <cx:pt idx="76862">1</cx:pt>
          <cx:pt idx="76863">1</cx:pt>
          <cx:pt idx="76864">1</cx:pt>
          <cx:pt idx="76865">0</cx:pt>
          <cx:pt idx="76866">0</cx:pt>
          <cx:pt idx="76867">0</cx:pt>
          <cx:pt idx="76868">0</cx:pt>
          <cx:pt idx="76869">1</cx:pt>
          <cx:pt idx="76870">0</cx:pt>
          <cx:pt idx="76871">1</cx:pt>
          <cx:pt idx="76872">1</cx:pt>
          <cx:pt idx="76873">1</cx:pt>
          <cx:pt idx="76874">1</cx:pt>
          <cx:pt idx="76875">1</cx:pt>
          <cx:pt idx="76876">1</cx:pt>
          <cx:pt idx="76877">1</cx:pt>
          <cx:pt idx="76878">0</cx:pt>
          <cx:pt idx="76879">0</cx:pt>
          <cx:pt idx="76880">0</cx:pt>
          <cx:pt idx="76881">1</cx:pt>
          <cx:pt idx="76882">0</cx:pt>
          <cx:pt idx="76883">0</cx:pt>
          <cx:pt idx="76884">0</cx:pt>
          <cx:pt idx="76885">0</cx:pt>
          <cx:pt idx="76886">1</cx:pt>
          <cx:pt idx="76887">1</cx:pt>
          <cx:pt idx="76888">0</cx:pt>
          <cx:pt idx="76889">0</cx:pt>
          <cx:pt idx="76890">0</cx:pt>
          <cx:pt idx="76891">0</cx:pt>
          <cx:pt idx="76892">0</cx:pt>
          <cx:pt idx="76893">1</cx:pt>
          <cx:pt idx="76894">0</cx:pt>
          <cx:pt idx="76895">1</cx:pt>
          <cx:pt idx="76896">0</cx:pt>
          <cx:pt idx="76897">1</cx:pt>
          <cx:pt idx="76898">0</cx:pt>
          <cx:pt idx="76899">1</cx:pt>
          <cx:pt idx="76900">1</cx:pt>
          <cx:pt idx="76901">0</cx:pt>
          <cx:pt idx="76902">1</cx:pt>
          <cx:pt idx="76903">0</cx:pt>
          <cx:pt idx="76904">1</cx:pt>
          <cx:pt idx="76905">0</cx:pt>
          <cx:pt idx="76906">1</cx:pt>
          <cx:pt idx="76907">0</cx:pt>
          <cx:pt idx="76908">0</cx:pt>
          <cx:pt idx="76909">0</cx:pt>
          <cx:pt idx="76910">0</cx:pt>
          <cx:pt idx="76911">0</cx:pt>
          <cx:pt idx="76912">1</cx:pt>
          <cx:pt idx="76913">1</cx:pt>
          <cx:pt idx="76914">0</cx:pt>
          <cx:pt idx="76915">1</cx:pt>
          <cx:pt idx="76916">1</cx:pt>
          <cx:pt idx="76917">1</cx:pt>
          <cx:pt idx="76918">1</cx:pt>
          <cx:pt idx="76919">1</cx:pt>
          <cx:pt idx="76920">0</cx:pt>
          <cx:pt idx="76921">0</cx:pt>
          <cx:pt idx="76922">0</cx:pt>
          <cx:pt idx="76923">0</cx:pt>
          <cx:pt idx="76924">0</cx:pt>
          <cx:pt idx="76925">1</cx:pt>
          <cx:pt idx="76926">0</cx:pt>
          <cx:pt idx="76927">0</cx:pt>
          <cx:pt idx="76928">0</cx:pt>
          <cx:pt idx="76929">0</cx:pt>
          <cx:pt idx="76930">1</cx:pt>
          <cx:pt idx="76931">0</cx:pt>
          <cx:pt idx="76932">0</cx:pt>
          <cx:pt idx="76933">1</cx:pt>
          <cx:pt idx="76934">0</cx:pt>
          <cx:pt idx="76935">1</cx:pt>
          <cx:pt idx="76936">0</cx:pt>
          <cx:pt idx="76937">1</cx:pt>
          <cx:pt idx="76938">1</cx:pt>
          <cx:pt idx="76939">1</cx:pt>
          <cx:pt idx="76940">0</cx:pt>
          <cx:pt idx="76941">0</cx:pt>
          <cx:pt idx="76942">1</cx:pt>
          <cx:pt idx="76943">0</cx:pt>
          <cx:pt idx="76944">0</cx:pt>
          <cx:pt idx="76945">1</cx:pt>
          <cx:pt idx="76946">0</cx:pt>
          <cx:pt idx="76947">0</cx:pt>
          <cx:pt idx="76948">0</cx:pt>
          <cx:pt idx="76949">1</cx:pt>
          <cx:pt idx="76950">1</cx:pt>
          <cx:pt idx="76951">1</cx:pt>
          <cx:pt idx="76952">1</cx:pt>
          <cx:pt idx="76953">1</cx:pt>
          <cx:pt idx="76954">1</cx:pt>
          <cx:pt idx="76955">1</cx:pt>
          <cx:pt idx="76956">1</cx:pt>
          <cx:pt idx="76957">0</cx:pt>
          <cx:pt idx="76958">1</cx:pt>
          <cx:pt idx="76959">0</cx:pt>
          <cx:pt idx="76960">1</cx:pt>
          <cx:pt idx="76961">1</cx:pt>
          <cx:pt idx="76962">1</cx:pt>
          <cx:pt idx="76963">1</cx:pt>
          <cx:pt idx="76964">1</cx:pt>
          <cx:pt idx="76965">0</cx:pt>
          <cx:pt idx="76966">1</cx:pt>
          <cx:pt idx="76967">1</cx:pt>
          <cx:pt idx="76968">0</cx:pt>
          <cx:pt idx="76969">1</cx:pt>
          <cx:pt idx="76970">0</cx:pt>
          <cx:pt idx="76971">1</cx:pt>
          <cx:pt idx="76972">1</cx:pt>
          <cx:pt idx="76973">1</cx:pt>
          <cx:pt idx="76974">0</cx:pt>
          <cx:pt idx="76975">0</cx:pt>
          <cx:pt idx="76976">1</cx:pt>
          <cx:pt idx="76977">1</cx:pt>
          <cx:pt idx="76978">1</cx:pt>
          <cx:pt idx="76979">1</cx:pt>
          <cx:pt idx="76980">1</cx:pt>
          <cx:pt idx="76981">1</cx:pt>
          <cx:pt idx="76982">1</cx:pt>
          <cx:pt idx="76983">0</cx:pt>
          <cx:pt idx="76984">1</cx:pt>
          <cx:pt idx="76985">1</cx:pt>
          <cx:pt idx="76986">0</cx:pt>
          <cx:pt idx="76987">1</cx:pt>
          <cx:pt idx="76988">0</cx:pt>
          <cx:pt idx="76989">1</cx:pt>
          <cx:pt idx="76990">0</cx:pt>
          <cx:pt idx="76991">1</cx:pt>
          <cx:pt idx="76992">1</cx:pt>
          <cx:pt idx="76993">0</cx:pt>
          <cx:pt idx="76994">1</cx:pt>
          <cx:pt idx="76995">0</cx:pt>
          <cx:pt idx="76996">1</cx:pt>
          <cx:pt idx="76997">1</cx:pt>
          <cx:pt idx="76998">1</cx:pt>
          <cx:pt idx="76999">0</cx:pt>
          <cx:pt idx="77000">0</cx:pt>
          <cx:pt idx="77001">0</cx:pt>
          <cx:pt idx="77002">1</cx:pt>
          <cx:pt idx="77003">1</cx:pt>
          <cx:pt idx="77004">1</cx:pt>
          <cx:pt idx="77005">1</cx:pt>
          <cx:pt idx="77006">0</cx:pt>
          <cx:pt idx="77007">0</cx:pt>
          <cx:pt idx="77008">1</cx:pt>
          <cx:pt idx="77009">1</cx:pt>
          <cx:pt idx="77010">0</cx:pt>
          <cx:pt idx="77011">1</cx:pt>
          <cx:pt idx="77012">0</cx:pt>
          <cx:pt idx="77013">1</cx:pt>
          <cx:pt idx="77014">0</cx:pt>
          <cx:pt idx="77015">0</cx:pt>
          <cx:pt idx="77016">0</cx:pt>
          <cx:pt idx="77017">1</cx:pt>
          <cx:pt idx="77018">1</cx:pt>
          <cx:pt idx="77019">1</cx:pt>
          <cx:pt idx="77020">1</cx:pt>
          <cx:pt idx="77021">0</cx:pt>
          <cx:pt idx="77022">1</cx:pt>
          <cx:pt idx="77023">1</cx:pt>
          <cx:pt idx="77024">1</cx:pt>
          <cx:pt idx="77025">1</cx:pt>
          <cx:pt idx="77026">1</cx:pt>
          <cx:pt idx="77027">0</cx:pt>
          <cx:pt idx="77028">0</cx:pt>
          <cx:pt idx="77029">0</cx:pt>
          <cx:pt idx="77030">1</cx:pt>
          <cx:pt idx="77031">0</cx:pt>
          <cx:pt idx="77032">0</cx:pt>
          <cx:pt idx="77033">0</cx:pt>
          <cx:pt idx="77034">0</cx:pt>
          <cx:pt idx="77035">0</cx:pt>
          <cx:pt idx="77036">1</cx:pt>
          <cx:pt idx="77037">1</cx:pt>
          <cx:pt idx="77038">0</cx:pt>
          <cx:pt idx="77039">0</cx:pt>
          <cx:pt idx="77040">0</cx:pt>
          <cx:pt idx="77041">0</cx:pt>
          <cx:pt idx="77042">1</cx:pt>
          <cx:pt idx="77043">1</cx:pt>
          <cx:pt idx="77044">0</cx:pt>
          <cx:pt idx="77045">0</cx:pt>
          <cx:pt idx="77046">1</cx:pt>
          <cx:pt idx="77047">0</cx:pt>
          <cx:pt idx="77048">0</cx:pt>
          <cx:pt idx="77049">1</cx:pt>
          <cx:pt idx="77050">1</cx:pt>
          <cx:pt idx="77051">1</cx:pt>
          <cx:pt idx="77052">0</cx:pt>
          <cx:pt idx="77053">1</cx:pt>
          <cx:pt idx="77054">0</cx:pt>
          <cx:pt idx="77055">1</cx:pt>
          <cx:pt idx="77056">0</cx:pt>
          <cx:pt idx="77057">1</cx:pt>
          <cx:pt idx="77058">1</cx:pt>
          <cx:pt idx="77059">0</cx:pt>
          <cx:pt idx="77060">1</cx:pt>
          <cx:pt idx="77061">0</cx:pt>
          <cx:pt idx="77062">0</cx:pt>
          <cx:pt idx="77063">0</cx:pt>
          <cx:pt idx="77064">1</cx:pt>
          <cx:pt idx="77065">0</cx:pt>
          <cx:pt idx="77066">0</cx:pt>
          <cx:pt idx="77067">1</cx:pt>
          <cx:pt idx="77068">0</cx:pt>
          <cx:pt idx="77069">0</cx:pt>
          <cx:pt idx="77070">0</cx:pt>
          <cx:pt idx="77071">0</cx:pt>
          <cx:pt idx="77072">1</cx:pt>
          <cx:pt idx="77073">1</cx:pt>
          <cx:pt idx="77074">1</cx:pt>
          <cx:pt idx="77075">1</cx:pt>
          <cx:pt idx="77076">0</cx:pt>
          <cx:pt idx="77077">0</cx:pt>
          <cx:pt idx="77078">1</cx:pt>
          <cx:pt idx="77079">0</cx:pt>
          <cx:pt idx="77080">0</cx:pt>
          <cx:pt idx="77081">0</cx:pt>
          <cx:pt idx="77082">0</cx:pt>
          <cx:pt idx="77083">0</cx:pt>
          <cx:pt idx="77084">1</cx:pt>
          <cx:pt idx="77085">0</cx:pt>
          <cx:pt idx="77086">1</cx:pt>
          <cx:pt idx="77087">0</cx:pt>
          <cx:pt idx="77088">0</cx:pt>
          <cx:pt idx="77089">0</cx:pt>
          <cx:pt idx="77090">1</cx:pt>
          <cx:pt idx="77091">1</cx:pt>
          <cx:pt idx="77092">1</cx:pt>
          <cx:pt idx="77093">0</cx:pt>
          <cx:pt idx="77094">1</cx:pt>
          <cx:pt idx="77095">1</cx:pt>
          <cx:pt idx="77096">0</cx:pt>
          <cx:pt idx="77097">0</cx:pt>
          <cx:pt idx="77098">1</cx:pt>
          <cx:pt idx="77099">0</cx:pt>
          <cx:pt idx="77100">0</cx:pt>
          <cx:pt idx="77101">1</cx:pt>
          <cx:pt idx="77102">1</cx:pt>
          <cx:pt idx="77103">0</cx:pt>
          <cx:pt idx="77104">1</cx:pt>
          <cx:pt idx="77105">0</cx:pt>
          <cx:pt idx="77106">0</cx:pt>
          <cx:pt idx="77107">1</cx:pt>
          <cx:pt idx="77108">0</cx:pt>
          <cx:pt idx="77109">0</cx:pt>
          <cx:pt idx="77110">0</cx:pt>
          <cx:pt idx="77111">0</cx:pt>
          <cx:pt idx="77112">0</cx:pt>
          <cx:pt idx="77113">0</cx:pt>
          <cx:pt idx="77114">1</cx:pt>
          <cx:pt idx="77115">0</cx:pt>
          <cx:pt idx="77116">0</cx:pt>
          <cx:pt idx="77117">0</cx:pt>
          <cx:pt idx="77118">1</cx:pt>
          <cx:pt idx="77119">1</cx:pt>
          <cx:pt idx="77120">0</cx:pt>
          <cx:pt idx="77121">1</cx:pt>
          <cx:pt idx="77122">0</cx:pt>
          <cx:pt idx="77123">0</cx:pt>
          <cx:pt idx="77124">1</cx:pt>
          <cx:pt idx="77125">1</cx:pt>
          <cx:pt idx="77126">0</cx:pt>
          <cx:pt idx="77127">0</cx:pt>
          <cx:pt idx="77128">0</cx:pt>
          <cx:pt idx="77129">1</cx:pt>
          <cx:pt idx="77130">0</cx:pt>
          <cx:pt idx="77131">0</cx:pt>
          <cx:pt idx="77132">0</cx:pt>
          <cx:pt idx="77133">0</cx:pt>
          <cx:pt idx="77134">1</cx:pt>
          <cx:pt idx="77135">0</cx:pt>
          <cx:pt idx="77136">0</cx:pt>
          <cx:pt idx="77137">0</cx:pt>
          <cx:pt idx="77138">0</cx:pt>
          <cx:pt idx="77139">1</cx:pt>
          <cx:pt idx="77140">0</cx:pt>
          <cx:pt idx="77141">0</cx:pt>
          <cx:pt idx="77142">0</cx:pt>
          <cx:pt idx="77143">0</cx:pt>
          <cx:pt idx="77144">1</cx:pt>
          <cx:pt idx="77145">0</cx:pt>
          <cx:pt idx="77146">0</cx:pt>
          <cx:pt idx="77147">1</cx:pt>
          <cx:pt idx="77148">1</cx:pt>
          <cx:pt idx="77149">1</cx:pt>
          <cx:pt idx="77150">1</cx:pt>
          <cx:pt idx="77151">0</cx:pt>
          <cx:pt idx="77152">1</cx:pt>
          <cx:pt idx="77153">0</cx:pt>
          <cx:pt idx="77154">1</cx:pt>
          <cx:pt idx="77155">1</cx:pt>
          <cx:pt idx="77156">0</cx:pt>
          <cx:pt idx="77157">0</cx:pt>
          <cx:pt idx="77158">1</cx:pt>
          <cx:pt idx="77159">1</cx:pt>
          <cx:pt idx="77160">1</cx:pt>
          <cx:pt idx="77161">0</cx:pt>
          <cx:pt idx="77162">1</cx:pt>
          <cx:pt idx="77163">0</cx:pt>
          <cx:pt idx="77164">1</cx:pt>
          <cx:pt idx="77165">0</cx:pt>
          <cx:pt idx="77166">0</cx:pt>
          <cx:pt idx="77167">0</cx:pt>
          <cx:pt idx="77168">0</cx:pt>
          <cx:pt idx="77169">1</cx:pt>
          <cx:pt idx="77170">0</cx:pt>
          <cx:pt idx="77171">0</cx:pt>
          <cx:pt idx="77172">0</cx:pt>
          <cx:pt idx="77173">1</cx:pt>
          <cx:pt idx="77174">1</cx:pt>
          <cx:pt idx="77175">0</cx:pt>
          <cx:pt idx="77176">0</cx:pt>
          <cx:pt idx="77177">0</cx:pt>
          <cx:pt idx="77178">0</cx:pt>
          <cx:pt idx="77179">1</cx:pt>
          <cx:pt idx="77180">0</cx:pt>
          <cx:pt idx="77181">1</cx:pt>
          <cx:pt idx="77182">1</cx:pt>
          <cx:pt idx="77183">0</cx:pt>
          <cx:pt idx="77184">0</cx:pt>
          <cx:pt idx="77185">0</cx:pt>
          <cx:pt idx="77186">0</cx:pt>
          <cx:pt idx="77187">1</cx:pt>
          <cx:pt idx="77188">0</cx:pt>
          <cx:pt idx="77189">1</cx:pt>
          <cx:pt idx="77190">0</cx:pt>
          <cx:pt idx="77191">0</cx:pt>
          <cx:pt idx="77192">0</cx:pt>
          <cx:pt idx="77193">1</cx:pt>
          <cx:pt idx="77194">0</cx:pt>
          <cx:pt idx="77195">1</cx:pt>
          <cx:pt idx="77196">0</cx:pt>
          <cx:pt idx="77197">0</cx:pt>
          <cx:pt idx="77198">1</cx:pt>
          <cx:pt idx="77199">0</cx:pt>
          <cx:pt idx="77200">1</cx:pt>
          <cx:pt idx="77201">1</cx:pt>
          <cx:pt idx="77202">0</cx:pt>
          <cx:pt idx="77203">1</cx:pt>
          <cx:pt idx="77204">0</cx:pt>
          <cx:pt idx="77205">0</cx:pt>
          <cx:pt idx="77206">1</cx:pt>
          <cx:pt idx="77207">1</cx:pt>
          <cx:pt idx="77208">0</cx:pt>
          <cx:pt idx="77209">0</cx:pt>
          <cx:pt idx="77210">1</cx:pt>
          <cx:pt idx="77211">0</cx:pt>
          <cx:pt idx="77212">1</cx:pt>
          <cx:pt idx="77213">1</cx:pt>
          <cx:pt idx="77214">1</cx:pt>
          <cx:pt idx="77215">1</cx:pt>
          <cx:pt idx="77216">1</cx:pt>
          <cx:pt idx="77217">0</cx:pt>
          <cx:pt idx="77218">1</cx:pt>
          <cx:pt idx="77219">1</cx:pt>
          <cx:pt idx="77220">1</cx:pt>
          <cx:pt idx="77221">1</cx:pt>
          <cx:pt idx="77222">0</cx:pt>
          <cx:pt idx="77223">1</cx:pt>
          <cx:pt idx="77224">1</cx:pt>
          <cx:pt idx="77225">0</cx:pt>
          <cx:pt idx="77226">1</cx:pt>
          <cx:pt idx="77227">1</cx:pt>
          <cx:pt idx="77228">1</cx:pt>
          <cx:pt idx="77229">1</cx:pt>
          <cx:pt idx="77230">1</cx:pt>
          <cx:pt idx="77231">1</cx:pt>
          <cx:pt idx="77232">0</cx:pt>
          <cx:pt idx="77233">0</cx:pt>
          <cx:pt idx="77234">1</cx:pt>
          <cx:pt idx="77235">1</cx:pt>
          <cx:pt idx="77236">0</cx:pt>
          <cx:pt idx="77237">0</cx:pt>
          <cx:pt idx="77238">0</cx:pt>
          <cx:pt idx="77239">0</cx:pt>
          <cx:pt idx="77240">1</cx:pt>
          <cx:pt idx="77241">1</cx:pt>
          <cx:pt idx="77242">0</cx:pt>
          <cx:pt idx="77243">0</cx:pt>
          <cx:pt idx="77244">1</cx:pt>
          <cx:pt idx="77245">0</cx:pt>
          <cx:pt idx="77246">1</cx:pt>
          <cx:pt idx="77247">1</cx:pt>
          <cx:pt idx="77248">0</cx:pt>
          <cx:pt idx="77249">0</cx:pt>
          <cx:pt idx="77250">1</cx:pt>
          <cx:pt idx="77251">1</cx:pt>
          <cx:pt idx="77252">0</cx:pt>
          <cx:pt idx="77253">0</cx:pt>
          <cx:pt idx="77254">0</cx:pt>
          <cx:pt idx="77255">0</cx:pt>
          <cx:pt idx="77256">1</cx:pt>
          <cx:pt idx="77257">0</cx:pt>
          <cx:pt idx="77258">0</cx:pt>
          <cx:pt idx="77259">0</cx:pt>
          <cx:pt idx="77260">1</cx:pt>
          <cx:pt idx="77261">1</cx:pt>
          <cx:pt idx="77262">0</cx:pt>
          <cx:pt idx="77263">0</cx:pt>
          <cx:pt idx="77264">0</cx:pt>
          <cx:pt idx="77265">1</cx:pt>
          <cx:pt idx="77266">0</cx:pt>
          <cx:pt idx="77267">1</cx:pt>
          <cx:pt idx="77268">0</cx:pt>
          <cx:pt idx="77269">1</cx:pt>
          <cx:pt idx="77270">0</cx:pt>
          <cx:pt idx="77271">1</cx:pt>
          <cx:pt idx="77272">1</cx:pt>
          <cx:pt idx="77273">1</cx:pt>
          <cx:pt idx="77274">0</cx:pt>
          <cx:pt idx="77275">0</cx:pt>
          <cx:pt idx="77276">0</cx:pt>
          <cx:pt idx="77277">1</cx:pt>
          <cx:pt idx="77278">1</cx:pt>
          <cx:pt idx="77279">1</cx:pt>
          <cx:pt idx="77280">1</cx:pt>
          <cx:pt idx="77281">1</cx:pt>
          <cx:pt idx="77282">1</cx:pt>
          <cx:pt idx="77283">0</cx:pt>
          <cx:pt idx="77284">0</cx:pt>
          <cx:pt idx="77285">0</cx:pt>
          <cx:pt idx="77286">0</cx:pt>
          <cx:pt idx="77287">0</cx:pt>
          <cx:pt idx="77288">0</cx:pt>
          <cx:pt idx="77289">1</cx:pt>
          <cx:pt idx="77290">1</cx:pt>
          <cx:pt idx="77291">0</cx:pt>
          <cx:pt idx="77292">0</cx:pt>
          <cx:pt idx="77293">1</cx:pt>
          <cx:pt idx="77294">1</cx:pt>
          <cx:pt idx="77295">1</cx:pt>
          <cx:pt idx="77296">0</cx:pt>
          <cx:pt idx="77297">1</cx:pt>
          <cx:pt idx="77298">0</cx:pt>
          <cx:pt idx="77299">1</cx:pt>
          <cx:pt idx="77300">0</cx:pt>
          <cx:pt idx="77301">0</cx:pt>
          <cx:pt idx="77302">0</cx:pt>
          <cx:pt idx="77303">1</cx:pt>
          <cx:pt idx="77304">0</cx:pt>
          <cx:pt idx="77305">0</cx:pt>
          <cx:pt idx="77306">0</cx:pt>
          <cx:pt idx="77307">1</cx:pt>
          <cx:pt idx="77308">1</cx:pt>
          <cx:pt idx="77309">0</cx:pt>
          <cx:pt idx="77310">0</cx:pt>
          <cx:pt idx="77311">0</cx:pt>
          <cx:pt idx="77312">0</cx:pt>
          <cx:pt idx="77313">0</cx:pt>
          <cx:pt idx="77314">1</cx:pt>
          <cx:pt idx="77315">1</cx:pt>
          <cx:pt idx="77316">1</cx:pt>
          <cx:pt idx="77317">0</cx:pt>
          <cx:pt idx="77318">1</cx:pt>
          <cx:pt idx="77319">0</cx:pt>
          <cx:pt idx="77320">0</cx:pt>
          <cx:pt idx="77321">1</cx:pt>
          <cx:pt idx="77322">1</cx:pt>
          <cx:pt idx="77323">0</cx:pt>
          <cx:pt idx="77324">0</cx:pt>
          <cx:pt idx="77325">1</cx:pt>
          <cx:pt idx="77326">1</cx:pt>
          <cx:pt idx="77327">0</cx:pt>
          <cx:pt idx="77328">0</cx:pt>
          <cx:pt idx="77329">0</cx:pt>
          <cx:pt idx="77330">0</cx:pt>
          <cx:pt idx="77331">0</cx:pt>
          <cx:pt idx="77332">1</cx:pt>
          <cx:pt idx="77333">0</cx:pt>
          <cx:pt idx="77334">0</cx:pt>
          <cx:pt idx="77335">1</cx:pt>
          <cx:pt idx="77336">0</cx:pt>
          <cx:pt idx="77337">1</cx:pt>
          <cx:pt idx="77338">1</cx:pt>
          <cx:pt idx="77339">0</cx:pt>
          <cx:pt idx="77340">1</cx:pt>
          <cx:pt idx="77341">1</cx:pt>
          <cx:pt idx="77342">0</cx:pt>
          <cx:pt idx="77343">0</cx:pt>
          <cx:pt idx="77344">1</cx:pt>
          <cx:pt idx="77345">0</cx:pt>
          <cx:pt idx="77346">1</cx:pt>
          <cx:pt idx="77347">0</cx:pt>
          <cx:pt idx="77348">0</cx:pt>
          <cx:pt idx="77349">0</cx:pt>
          <cx:pt idx="77350">1</cx:pt>
          <cx:pt idx="77351">0</cx:pt>
          <cx:pt idx="77352">0</cx:pt>
          <cx:pt idx="77353">0</cx:pt>
          <cx:pt idx="77354">0</cx:pt>
          <cx:pt idx="77355">1</cx:pt>
          <cx:pt idx="77356">1</cx:pt>
          <cx:pt idx="77357">0</cx:pt>
          <cx:pt idx="77358">0</cx:pt>
          <cx:pt idx="77359">1</cx:pt>
          <cx:pt idx="77360">0</cx:pt>
          <cx:pt idx="77361">0</cx:pt>
          <cx:pt idx="77362">0</cx:pt>
          <cx:pt idx="77363">0</cx:pt>
          <cx:pt idx="77364">1</cx:pt>
          <cx:pt idx="77365">1</cx:pt>
          <cx:pt idx="77366">0</cx:pt>
          <cx:pt idx="77367">1</cx:pt>
          <cx:pt idx="77368">0</cx:pt>
          <cx:pt idx="77369">0</cx:pt>
          <cx:pt idx="77370">0</cx:pt>
          <cx:pt idx="77371">1</cx:pt>
          <cx:pt idx="77372">0</cx:pt>
          <cx:pt idx="77373">1</cx:pt>
          <cx:pt idx="77374">1</cx:pt>
          <cx:pt idx="77375">1</cx:pt>
          <cx:pt idx="77376">0</cx:pt>
          <cx:pt idx="77377">0</cx:pt>
          <cx:pt idx="77378">0</cx:pt>
          <cx:pt idx="77379">0</cx:pt>
          <cx:pt idx="77380">0</cx:pt>
          <cx:pt idx="77381">0</cx:pt>
          <cx:pt idx="77382">1</cx:pt>
          <cx:pt idx="77383">0</cx:pt>
          <cx:pt idx="77384">0</cx:pt>
          <cx:pt idx="77385">0</cx:pt>
          <cx:pt idx="77386">1</cx:pt>
          <cx:pt idx="77387">0</cx:pt>
          <cx:pt idx="77388">0</cx:pt>
          <cx:pt idx="77389">0</cx:pt>
          <cx:pt idx="77390">1</cx:pt>
          <cx:pt idx="77391">0</cx:pt>
          <cx:pt idx="77392">0</cx:pt>
          <cx:pt idx="77393">1</cx:pt>
          <cx:pt idx="77394">0</cx:pt>
          <cx:pt idx="77395">1</cx:pt>
          <cx:pt idx="77396">1</cx:pt>
          <cx:pt idx="77397">0</cx:pt>
          <cx:pt idx="77398">1</cx:pt>
          <cx:pt idx="77399">0</cx:pt>
          <cx:pt idx="77400">1</cx:pt>
          <cx:pt idx="77401">1</cx:pt>
          <cx:pt idx="77402">0</cx:pt>
          <cx:pt idx="77403">0</cx:pt>
          <cx:pt idx="77404">0</cx:pt>
          <cx:pt idx="77405">1</cx:pt>
          <cx:pt idx="77406">0</cx:pt>
          <cx:pt idx="77407">1</cx:pt>
          <cx:pt idx="77408">0</cx:pt>
          <cx:pt idx="77409">1</cx:pt>
          <cx:pt idx="77410">0</cx:pt>
          <cx:pt idx="77411">0</cx:pt>
          <cx:pt idx="77412">0</cx:pt>
          <cx:pt idx="77413">1</cx:pt>
          <cx:pt idx="77414">1</cx:pt>
          <cx:pt idx="77415">1</cx:pt>
          <cx:pt idx="77416">0</cx:pt>
          <cx:pt idx="77417">0</cx:pt>
          <cx:pt idx="77418">1</cx:pt>
          <cx:pt idx="77419">0</cx:pt>
          <cx:pt idx="77420">1</cx:pt>
          <cx:pt idx="77421">0</cx:pt>
          <cx:pt idx="77422">1</cx:pt>
          <cx:pt idx="77423">0</cx:pt>
          <cx:pt idx="77424">1</cx:pt>
          <cx:pt idx="77425">1</cx:pt>
          <cx:pt idx="77426">0</cx:pt>
          <cx:pt idx="77427">0</cx:pt>
          <cx:pt idx="77428">0</cx:pt>
          <cx:pt idx="77429">1</cx:pt>
          <cx:pt idx="77430">0</cx:pt>
          <cx:pt idx="77431">1</cx:pt>
          <cx:pt idx="77432">0</cx:pt>
          <cx:pt idx="77433">0</cx:pt>
          <cx:pt idx="77434">1</cx:pt>
          <cx:pt idx="77435">0</cx:pt>
          <cx:pt idx="77436">1</cx:pt>
          <cx:pt idx="77437">0</cx:pt>
          <cx:pt idx="77438">1</cx:pt>
          <cx:pt idx="77439">0</cx:pt>
          <cx:pt idx="77440">0</cx:pt>
          <cx:pt idx="77441">0</cx:pt>
          <cx:pt idx="77442">0</cx:pt>
          <cx:pt idx="77443">0</cx:pt>
          <cx:pt idx="77444">0</cx:pt>
          <cx:pt idx="77445">0</cx:pt>
          <cx:pt idx="77446">1</cx:pt>
          <cx:pt idx="77447">0</cx:pt>
          <cx:pt idx="77448">0</cx:pt>
          <cx:pt idx="77449">0</cx:pt>
          <cx:pt idx="77450">1</cx:pt>
          <cx:pt idx="77451">1</cx:pt>
          <cx:pt idx="77452">1</cx:pt>
          <cx:pt idx="77453">0</cx:pt>
          <cx:pt idx="77454">1</cx:pt>
          <cx:pt idx="77455">1</cx:pt>
          <cx:pt idx="77456">0</cx:pt>
          <cx:pt idx="77457">0</cx:pt>
          <cx:pt idx="77458">0</cx:pt>
          <cx:pt idx="77459">0</cx:pt>
          <cx:pt idx="77460">1</cx:pt>
          <cx:pt idx="77461">0</cx:pt>
          <cx:pt idx="77462">0</cx:pt>
          <cx:pt idx="77463">0</cx:pt>
          <cx:pt idx="77464">1</cx:pt>
          <cx:pt idx="77465">0</cx:pt>
          <cx:pt idx="77466">0</cx:pt>
          <cx:pt idx="77467">0</cx:pt>
          <cx:pt idx="77468">1</cx:pt>
          <cx:pt idx="77469">1</cx:pt>
          <cx:pt idx="77470">0</cx:pt>
          <cx:pt idx="77471">1</cx:pt>
          <cx:pt idx="77472">1</cx:pt>
          <cx:pt idx="77473">1</cx:pt>
          <cx:pt idx="77474">1</cx:pt>
          <cx:pt idx="77475">1</cx:pt>
          <cx:pt idx="77476">0</cx:pt>
          <cx:pt idx="77477">0</cx:pt>
          <cx:pt idx="77478">0</cx:pt>
          <cx:pt idx="77479">0</cx:pt>
          <cx:pt idx="77480">0</cx:pt>
          <cx:pt idx="77481">0</cx:pt>
          <cx:pt idx="77482">0</cx:pt>
          <cx:pt idx="77483">0</cx:pt>
          <cx:pt idx="77484">0</cx:pt>
          <cx:pt idx="77485">1</cx:pt>
          <cx:pt idx="77486">0</cx:pt>
          <cx:pt idx="77487">0</cx:pt>
          <cx:pt idx="77488">0</cx:pt>
          <cx:pt idx="77489">1</cx:pt>
          <cx:pt idx="77490">1</cx:pt>
          <cx:pt idx="77491">0</cx:pt>
          <cx:pt idx="77492">0</cx:pt>
          <cx:pt idx="77493">0</cx:pt>
          <cx:pt idx="77494">0</cx:pt>
          <cx:pt idx="77495">1</cx:pt>
          <cx:pt idx="77496">0</cx:pt>
          <cx:pt idx="77497">0</cx:pt>
          <cx:pt idx="77498">0</cx:pt>
          <cx:pt idx="77499">0</cx:pt>
          <cx:pt idx="77500">0</cx:pt>
          <cx:pt idx="77501">1</cx:pt>
          <cx:pt idx="77502">0</cx:pt>
          <cx:pt idx="77503">0</cx:pt>
          <cx:pt idx="77504">1</cx:pt>
          <cx:pt idx="77505">0</cx:pt>
          <cx:pt idx="77506">1</cx:pt>
          <cx:pt idx="77507">1</cx:pt>
          <cx:pt idx="77508">0</cx:pt>
          <cx:pt idx="77509">1</cx:pt>
          <cx:pt idx="77510">1</cx:pt>
          <cx:pt idx="77511">0</cx:pt>
          <cx:pt idx="77512">1</cx:pt>
          <cx:pt idx="77513">0</cx:pt>
          <cx:pt idx="77514">0</cx:pt>
          <cx:pt idx="77515">0</cx:pt>
          <cx:pt idx="77516">1</cx:pt>
          <cx:pt idx="77517">1</cx:pt>
          <cx:pt idx="77518">0</cx:pt>
          <cx:pt idx="77519">1</cx:pt>
          <cx:pt idx="77520">1</cx:pt>
          <cx:pt idx="77521">1</cx:pt>
          <cx:pt idx="77522">1</cx:pt>
          <cx:pt idx="77523">0</cx:pt>
          <cx:pt idx="77524">0</cx:pt>
          <cx:pt idx="77525">1</cx:pt>
          <cx:pt idx="77526">0</cx:pt>
          <cx:pt idx="77527">1</cx:pt>
          <cx:pt idx="77528">0</cx:pt>
          <cx:pt idx="77529">0</cx:pt>
          <cx:pt idx="77530">0</cx:pt>
          <cx:pt idx="77531">1</cx:pt>
          <cx:pt idx="77532">0</cx:pt>
          <cx:pt idx="77533">1</cx:pt>
          <cx:pt idx="77534">1</cx:pt>
          <cx:pt idx="77535">1</cx:pt>
          <cx:pt idx="77536">1</cx:pt>
          <cx:pt idx="77537">0</cx:pt>
          <cx:pt idx="77538">0</cx:pt>
          <cx:pt idx="77539">1</cx:pt>
          <cx:pt idx="77540">1</cx:pt>
          <cx:pt idx="77541">0</cx:pt>
          <cx:pt idx="77542">0</cx:pt>
          <cx:pt idx="77543">1</cx:pt>
          <cx:pt idx="77544">1</cx:pt>
          <cx:pt idx="77545">0</cx:pt>
          <cx:pt idx="77546">0</cx:pt>
          <cx:pt idx="77547">0</cx:pt>
          <cx:pt idx="77548">1</cx:pt>
          <cx:pt idx="77549">1</cx:pt>
          <cx:pt idx="77550">0</cx:pt>
          <cx:pt idx="77551">1</cx:pt>
          <cx:pt idx="77552">0</cx:pt>
          <cx:pt idx="77553">1</cx:pt>
          <cx:pt idx="77554">0</cx:pt>
          <cx:pt idx="77555">1</cx:pt>
          <cx:pt idx="77556">0</cx:pt>
          <cx:pt idx="77557">1</cx:pt>
          <cx:pt idx="77558">0</cx:pt>
          <cx:pt idx="77559">1</cx:pt>
          <cx:pt idx="77560">1</cx:pt>
          <cx:pt idx="77561">0</cx:pt>
          <cx:pt idx="77562">1</cx:pt>
          <cx:pt idx="77563">0</cx:pt>
          <cx:pt idx="77564">1</cx:pt>
          <cx:pt idx="77565">0</cx:pt>
          <cx:pt idx="77566">1</cx:pt>
          <cx:pt idx="77567">0</cx:pt>
          <cx:pt idx="77568">0</cx:pt>
          <cx:pt idx="77569">0</cx:pt>
          <cx:pt idx="77570">0</cx:pt>
          <cx:pt idx="77571">0</cx:pt>
          <cx:pt idx="77572">1</cx:pt>
          <cx:pt idx="77573">1</cx:pt>
          <cx:pt idx="77574">0</cx:pt>
          <cx:pt idx="77575">0</cx:pt>
          <cx:pt idx="77576">0</cx:pt>
          <cx:pt idx="77577">1</cx:pt>
          <cx:pt idx="77578">1</cx:pt>
          <cx:pt idx="77579">0</cx:pt>
          <cx:pt idx="77580">1</cx:pt>
          <cx:pt idx="77581">0</cx:pt>
          <cx:pt idx="77582">1</cx:pt>
          <cx:pt idx="77583">1</cx:pt>
          <cx:pt idx="77584">1</cx:pt>
          <cx:pt idx="77585">0</cx:pt>
          <cx:pt idx="77586">0</cx:pt>
          <cx:pt idx="77587">1</cx:pt>
          <cx:pt idx="77588">0</cx:pt>
          <cx:pt idx="77589">0</cx:pt>
          <cx:pt idx="77590">1</cx:pt>
          <cx:pt idx="77591">1</cx:pt>
          <cx:pt idx="77592">1</cx:pt>
          <cx:pt idx="77593">0</cx:pt>
          <cx:pt idx="77594">0</cx:pt>
          <cx:pt idx="77595">0</cx:pt>
          <cx:pt idx="77596">1</cx:pt>
          <cx:pt idx="77597">0</cx:pt>
          <cx:pt idx="77598">0</cx:pt>
          <cx:pt idx="77599">0</cx:pt>
          <cx:pt idx="77600">0</cx:pt>
          <cx:pt idx="77601">0</cx:pt>
          <cx:pt idx="77602">0</cx:pt>
          <cx:pt idx="77603">0</cx:pt>
          <cx:pt idx="77604">1</cx:pt>
          <cx:pt idx="77605">0</cx:pt>
          <cx:pt idx="77606">0</cx:pt>
          <cx:pt idx="77607">1</cx:pt>
          <cx:pt idx="77608">0</cx:pt>
          <cx:pt idx="77609">0</cx:pt>
          <cx:pt idx="77610">0</cx:pt>
          <cx:pt idx="77611">1</cx:pt>
          <cx:pt idx="77612">0</cx:pt>
          <cx:pt idx="77613">0</cx:pt>
          <cx:pt idx="77614">0</cx:pt>
          <cx:pt idx="77615">1</cx:pt>
          <cx:pt idx="77616">1</cx:pt>
          <cx:pt idx="77617">0</cx:pt>
          <cx:pt idx="77618">0</cx:pt>
          <cx:pt idx="77619">0</cx:pt>
          <cx:pt idx="77620">0</cx:pt>
          <cx:pt idx="77621">1</cx:pt>
          <cx:pt idx="77622">1</cx:pt>
          <cx:pt idx="77623">1</cx:pt>
          <cx:pt idx="77624">1</cx:pt>
          <cx:pt idx="77625">1</cx:pt>
          <cx:pt idx="77626">0</cx:pt>
          <cx:pt idx="77627">0</cx:pt>
          <cx:pt idx="77628">1</cx:pt>
          <cx:pt idx="77629">0</cx:pt>
          <cx:pt idx="77630">1</cx:pt>
          <cx:pt idx="77631">1</cx:pt>
          <cx:pt idx="77632">0</cx:pt>
          <cx:pt idx="77633">0</cx:pt>
          <cx:pt idx="77634">1</cx:pt>
          <cx:pt idx="77635">0</cx:pt>
          <cx:pt idx="77636">1</cx:pt>
          <cx:pt idx="77637">1</cx:pt>
          <cx:pt idx="77638">0</cx:pt>
          <cx:pt idx="77639">0</cx:pt>
          <cx:pt idx="77640">1</cx:pt>
          <cx:pt idx="77641">0</cx:pt>
          <cx:pt idx="77642">0</cx:pt>
          <cx:pt idx="77643">1</cx:pt>
          <cx:pt idx="77644">1</cx:pt>
          <cx:pt idx="77645">0</cx:pt>
          <cx:pt idx="77646">0</cx:pt>
          <cx:pt idx="77647">1</cx:pt>
          <cx:pt idx="77648">0</cx:pt>
          <cx:pt idx="77649">0</cx:pt>
          <cx:pt idx="77650">0</cx:pt>
          <cx:pt idx="77651">0</cx:pt>
          <cx:pt idx="77652">1</cx:pt>
          <cx:pt idx="77653">0</cx:pt>
          <cx:pt idx="77654">1</cx:pt>
          <cx:pt idx="77655">1</cx:pt>
          <cx:pt idx="77656">1</cx:pt>
          <cx:pt idx="77657">1</cx:pt>
          <cx:pt idx="77658">0</cx:pt>
          <cx:pt idx="77659">1</cx:pt>
          <cx:pt idx="77660">0</cx:pt>
          <cx:pt idx="77661">1</cx:pt>
          <cx:pt idx="77662">1</cx:pt>
          <cx:pt idx="77663">0</cx:pt>
          <cx:pt idx="77664">0</cx:pt>
          <cx:pt idx="77665">1</cx:pt>
          <cx:pt idx="77666">0</cx:pt>
          <cx:pt idx="77667">1</cx:pt>
          <cx:pt idx="77668">0</cx:pt>
          <cx:pt idx="77669">0</cx:pt>
          <cx:pt idx="77670">0</cx:pt>
          <cx:pt idx="77671">1</cx:pt>
          <cx:pt idx="77672">0</cx:pt>
          <cx:pt idx="77673">0</cx:pt>
          <cx:pt idx="77674">0</cx:pt>
          <cx:pt idx="77675">1</cx:pt>
          <cx:pt idx="77676">0</cx:pt>
          <cx:pt idx="77677">0</cx:pt>
          <cx:pt idx="77678">0</cx:pt>
          <cx:pt idx="77679">0</cx:pt>
          <cx:pt idx="77680">0</cx:pt>
          <cx:pt idx="77681">0</cx:pt>
          <cx:pt idx="77682">1</cx:pt>
          <cx:pt idx="77683">0</cx:pt>
          <cx:pt idx="77684">0</cx:pt>
          <cx:pt idx="77685">0</cx:pt>
          <cx:pt idx="77686">1</cx:pt>
          <cx:pt idx="77687">0</cx:pt>
          <cx:pt idx="77688">1</cx:pt>
          <cx:pt idx="77689">0</cx:pt>
          <cx:pt idx="77690">0</cx:pt>
          <cx:pt idx="77691">0</cx:pt>
          <cx:pt idx="77692">0</cx:pt>
          <cx:pt idx="77693">0</cx:pt>
          <cx:pt idx="77694">0</cx:pt>
          <cx:pt idx="77695">1</cx:pt>
          <cx:pt idx="77696">0</cx:pt>
          <cx:pt idx="77697">0</cx:pt>
          <cx:pt idx="77698">0</cx:pt>
          <cx:pt idx="77699">0</cx:pt>
          <cx:pt idx="77700">0</cx:pt>
          <cx:pt idx="77701">0</cx:pt>
          <cx:pt idx="77702">1</cx:pt>
          <cx:pt idx="77703">0</cx:pt>
          <cx:pt idx="77704">0</cx:pt>
          <cx:pt idx="77705">1</cx:pt>
          <cx:pt idx="77706">0</cx:pt>
          <cx:pt idx="77707">1</cx:pt>
          <cx:pt idx="77708">0</cx:pt>
          <cx:pt idx="77709">1</cx:pt>
          <cx:pt idx="77710">1</cx:pt>
          <cx:pt idx="77711">1</cx:pt>
          <cx:pt idx="77712">1</cx:pt>
          <cx:pt idx="77713">0</cx:pt>
          <cx:pt idx="77714">0</cx:pt>
          <cx:pt idx="77715">1</cx:pt>
          <cx:pt idx="77716">1</cx:pt>
          <cx:pt idx="77717">1</cx:pt>
          <cx:pt idx="77718">1</cx:pt>
          <cx:pt idx="77719">1</cx:pt>
          <cx:pt idx="77720">1</cx:pt>
          <cx:pt idx="77721">0</cx:pt>
          <cx:pt idx="77722">1</cx:pt>
          <cx:pt idx="77723">0</cx:pt>
          <cx:pt idx="77724">1</cx:pt>
          <cx:pt idx="77725">1</cx:pt>
          <cx:pt idx="77726">0</cx:pt>
          <cx:pt idx="77727">0</cx:pt>
          <cx:pt idx="77728">1</cx:pt>
          <cx:pt idx="77729">0</cx:pt>
          <cx:pt idx="77730">0</cx:pt>
          <cx:pt idx="77731">1</cx:pt>
          <cx:pt idx="77732">0</cx:pt>
          <cx:pt idx="77733">0</cx:pt>
          <cx:pt idx="77734">1</cx:pt>
          <cx:pt idx="77735">0</cx:pt>
          <cx:pt idx="77736">0</cx:pt>
          <cx:pt idx="77737">1</cx:pt>
          <cx:pt idx="77738">0</cx:pt>
          <cx:pt idx="77739">0</cx:pt>
          <cx:pt idx="77740">0</cx:pt>
          <cx:pt idx="77741">1</cx:pt>
          <cx:pt idx="77742">0</cx:pt>
          <cx:pt idx="77743">0</cx:pt>
          <cx:pt idx="77744">0</cx:pt>
          <cx:pt idx="77745">0</cx:pt>
          <cx:pt idx="77746">0</cx:pt>
          <cx:pt idx="77747">1</cx:pt>
          <cx:pt idx="77748">0</cx:pt>
          <cx:pt idx="77749">0</cx:pt>
          <cx:pt idx="77750">1</cx:pt>
          <cx:pt idx="77751">0</cx:pt>
          <cx:pt idx="77752">0</cx:pt>
          <cx:pt idx="77753">0</cx:pt>
          <cx:pt idx="77754">0</cx:pt>
          <cx:pt idx="77755">0</cx:pt>
          <cx:pt idx="77756">0</cx:pt>
          <cx:pt idx="77757">1</cx:pt>
          <cx:pt idx="77758">1</cx:pt>
          <cx:pt idx="77759">0</cx:pt>
          <cx:pt idx="77760">1</cx:pt>
          <cx:pt idx="77761">1</cx:pt>
          <cx:pt idx="77762">0</cx:pt>
          <cx:pt idx="77763">1</cx:pt>
          <cx:pt idx="77764">0</cx:pt>
          <cx:pt idx="77765">0</cx:pt>
          <cx:pt idx="77766">0</cx:pt>
          <cx:pt idx="77767">0</cx:pt>
          <cx:pt idx="77768">0</cx:pt>
          <cx:pt idx="77769">0</cx:pt>
          <cx:pt idx="77770">0</cx:pt>
          <cx:pt idx="77771">0</cx:pt>
          <cx:pt idx="77772">1</cx:pt>
          <cx:pt idx="77773">1</cx:pt>
          <cx:pt idx="77774">0</cx:pt>
          <cx:pt idx="77775">1</cx:pt>
          <cx:pt idx="77776">0</cx:pt>
          <cx:pt idx="77777">0</cx:pt>
          <cx:pt idx="77778">0</cx:pt>
          <cx:pt idx="77779">1</cx:pt>
          <cx:pt idx="77780">0</cx:pt>
          <cx:pt idx="77781">1</cx:pt>
          <cx:pt idx="77782">1</cx:pt>
          <cx:pt idx="77783">1</cx:pt>
          <cx:pt idx="77784">0</cx:pt>
          <cx:pt idx="77785">0</cx:pt>
          <cx:pt idx="77786">1</cx:pt>
          <cx:pt idx="77787">1</cx:pt>
          <cx:pt idx="77788">0</cx:pt>
          <cx:pt idx="77789">0</cx:pt>
          <cx:pt idx="77790">0</cx:pt>
          <cx:pt idx="77791">1</cx:pt>
          <cx:pt idx="77792">0</cx:pt>
          <cx:pt idx="77793">0</cx:pt>
          <cx:pt idx="77794">0</cx:pt>
          <cx:pt idx="77795">0</cx:pt>
          <cx:pt idx="77796">0</cx:pt>
          <cx:pt idx="77797">1</cx:pt>
          <cx:pt idx="77798">1</cx:pt>
          <cx:pt idx="77799">0</cx:pt>
          <cx:pt idx="77800">0</cx:pt>
          <cx:pt idx="77801">1</cx:pt>
          <cx:pt idx="77802">0</cx:pt>
          <cx:pt idx="77803">1</cx:pt>
          <cx:pt idx="77804">1</cx:pt>
          <cx:pt idx="77805">0</cx:pt>
          <cx:pt idx="77806">0</cx:pt>
          <cx:pt idx="77807">1</cx:pt>
          <cx:pt idx="77808">1</cx:pt>
          <cx:pt idx="77809">0</cx:pt>
          <cx:pt idx="77810">0</cx:pt>
          <cx:pt idx="77811">1</cx:pt>
          <cx:pt idx="77812">1</cx:pt>
          <cx:pt idx="77813">0</cx:pt>
          <cx:pt idx="77814">1</cx:pt>
          <cx:pt idx="77815">1</cx:pt>
          <cx:pt idx="77816">0</cx:pt>
          <cx:pt idx="77817">1</cx:pt>
          <cx:pt idx="77818">0</cx:pt>
          <cx:pt idx="77819">1</cx:pt>
          <cx:pt idx="77820">1</cx:pt>
          <cx:pt idx="77821">1</cx:pt>
          <cx:pt idx="77822">0</cx:pt>
          <cx:pt idx="77823">0</cx:pt>
          <cx:pt idx="77824">0</cx:pt>
          <cx:pt idx="77825">0</cx:pt>
          <cx:pt idx="77826">0</cx:pt>
          <cx:pt idx="77827">0</cx:pt>
          <cx:pt idx="77828">0</cx:pt>
          <cx:pt idx="77829">0</cx:pt>
          <cx:pt idx="77830">0</cx:pt>
          <cx:pt idx="77831">0</cx:pt>
          <cx:pt idx="77832">1</cx:pt>
          <cx:pt idx="77833">0</cx:pt>
          <cx:pt idx="77834">1</cx:pt>
          <cx:pt idx="77835">0</cx:pt>
          <cx:pt idx="77836">1</cx:pt>
          <cx:pt idx="77837">1</cx:pt>
          <cx:pt idx="77838">0</cx:pt>
          <cx:pt idx="77839">0</cx:pt>
          <cx:pt idx="77840">1</cx:pt>
          <cx:pt idx="77841">1</cx:pt>
          <cx:pt idx="77842">0</cx:pt>
          <cx:pt idx="77843">1</cx:pt>
          <cx:pt idx="77844">1</cx:pt>
          <cx:pt idx="77845">0</cx:pt>
          <cx:pt idx="77846">0</cx:pt>
          <cx:pt idx="77847">0</cx:pt>
          <cx:pt idx="77848">1</cx:pt>
          <cx:pt idx="77849">0</cx:pt>
          <cx:pt idx="77850">0</cx:pt>
          <cx:pt idx="77851">1</cx:pt>
          <cx:pt idx="77852">0</cx:pt>
          <cx:pt idx="77853">1</cx:pt>
          <cx:pt idx="77854">0</cx:pt>
          <cx:pt idx="77855">0</cx:pt>
          <cx:pt idx="77856">1</cx:pt>
          <cx:pt idx="77857">0</cx:pt>
          <cx:pt idx="77858">0</cx:pt>
          <cx:pt idx="77859">1</cx:pt>
          <cx:pt idx="77860">1</cx:pt>
          <cx:pt idx="77861">1</cx:pt>
          <cx:pt idx="77862">0</cx:pt>
          <cx:pt idx="77863">1</cx:pt>
          <cx:pt idx="77864">1</cx:pt>
          <cx:pt idx="77865">0</cx:pt>
          <cx:pt idx="77866">1</cx:pt>
          <cx:pt idx="77867">0</cx:pt>
          <cx:pt idx="77868">0</cx:pt>
          <cx:pt idx="77869">0</cx:pt>
          <cx:pt idx="77870">0</cx:pt>
          <cx:pt idx="77871">0</cx:pt>
          <cx:pt idx="77872">0</cx:pt>
          <cx:pt idx="77873">0</cx:pt>
          <cx:pt idx="77874">0</cx:pt>
          <cx:pt idx="77875">1</cx:pt>
          <cx:pt idx="77876">0</cx:pt>
          <cx:pt idx="77877">1</cx:pt>
          <cx:pt idx="77878">0</cx:pt>
          <cx:pt idx="77879">1</cx:pt>
          <cx:pt idx="77880">0</cx:pt>
          <cx:pt idx="77881">0</cx:pt>
          <cx:pt idx="77882">1</cx:pt>
          <cx:pt idx="77883">1</cx:pt>
          <cx:pt idx="77884">1</cx:pt>
          <cx:pt idx="77885">1</cx:pt>
          <cx:pt idx="77886">1</cx:pt>
          <cx:pt idx="77887">1</cx:pt>
          <cx:pt idx="77888">1</cx:pt>
          <cx:pt idx="77889">1</cx:pt>
          <cx:pt idx="77890">0</cx:pt>
          <cx:pt idx="77891">0</cx:pt>
          <cx:pt idx="77892">0</cx:pt>
          <cx:pt idx="77893">0</cx:pt>
          <cx:pt idx="77894">0</cx:pt>
          <cx:pt idx="77895">0</cx:pt>
          <cx:pt idx="77896">0</cx:pt>
          <cx:pt idx="77897">1</cx:pt>
          <cx:pt idx="77898">0</cx:pt>
          <cx:pt idx="77899">0</cx:pt>
          <cx:pt idx="77900">0</cx:pt>
          <cx:pt idx="77901">0</cx:pt>
          <cx:pt idx="77902">1</cx:pt>
          <cx:pt idx="77903">0</cx:pt>
          <cx:pt idx="77904">0</cx:pt>
          <cx:pt idx="77905">0</cx:pt>
          <cx:pt idx="77906">0</cx:pt>
          <cx:pt idx="77907">0</cx:pt>
          <cx:pt idx="77908">1</cx:pt>
          <cx:pt idx="77909">0</cx:pt>
          <cx:pt idx="77910">0</cx:pt>
          <cx:pt idx="77911">1</cx:pt>
          <cx:pt idx="77912">0</cx:pt>
          <cx:pt idx="77913">0</cx:pt>
          <cx:pt idx="77914">0</cx:pt>
          <cx:pt idx="77915">0</cx:pt>
          <cx:pt idx="77916">0</cx:pt>
          <cx:pt idx="77917">1</cx:pt>
          <cx:pt idx="77918">1</cx:pt>
          <cx:pt idx="77919">0</cx:pt>
          <cx:pt idx="77920">0</cx:pt>
          <cx:pt idx="77921">1</cx:pt>
          <cx:pt idx="77922">0</cx:pt>
          <cx:pt idx="77923">0</cx:pt>
          <cx:pt idx="77924">1</cx:pt>
          <cx:pt idx="77925">1</cx:pt>
          <cx:pt idx="77926">0</cx:pt>
          <cx:pt idx="77927">0</cx:pt>
          <cx:pt idx="77928">1</cx:pt>
          <cx:pt idx="77929">0</cx:pt>
          <cx:pt idx="77930">0</cx:pt>
          <cx:pt idx="77931">1</cx:pt>
          <cx:pt idx="77932">1</cx:pt>
          <cx:pt idx="77933">0</cx:pt>
          <cx:pt idx="77934">0</cx:pt>
          <cx:pt idx="77935">0</cx:pt>
          <cx:pt idx="77936">0</cx:pt>
          <cx:pt idx="77937">0</cx:pt>
          <cx:pt idx="77938">0</cx:pt>
          <cx:pt idx="77939">0</cx:pt>
          <cx:pt idx="77940">1</cx:pt>
          <cx:pt idx="77941">1</cx:pt>
          <cx:pt idx="77942">0</cx:pt>
          <cx:pt idx="77943">0</cx:pt>
          <cx:pt idx="77944">1</cx:pt>
          <cx:pt idx="77945">1</cx:pt>
          <cx:pt idx="77946">1</cx:pt>
          <cx:pt idx="77947">1</cx:pt>
          <cx:pt idx="77948">1</cx:pt>
          <cx:pt idx="77949">0</cx:pt>
          <cx:pt idx="77950">0</cx:pt>
          <cx:pt idx="77951">1</cx:pt>
          <cx:pt idx="77952">1</cx:pt>
          <cx:pt idx="77953">0</cx:pt>
          <cx:pt idx="77954">1</cx:pt>
          <cx:pt idx="77955">0</cx:pt>
          <cx:pt idx="77956">0</cx:pt>
          <cx:pt idx="77957">1</cx:pt>
          <cx:pt idx="77958">1</cx:pt>
          <cx:pt idx="77959">1</cx:pt>
          <cx:pt idx="77960">1</cx:pt>
          <cx:pt idx="77961">0</cx:pt>
          <cx:pt idx="77962">1</cx:pt>
          <cx:pt idx="77963">0</cx:pt>
          <cx:pt idx="77964">0</cx:pt>
          <cx:pt idx="77965">0</cx:pt>
          <cx:pt idx="77966">0</cx:pt>
          <cx:pt idx="77967">1</cx:pt>
          <cx:pt idx="77968">1</cx:pt>
          <cx:pt idx="77969">0</cx:pt>
          <cx:pt idx="77970">1</cx:pt>
          <cx:pt idx="77971">1</cx:pt>
          <cx:pt idx="77972">0</cx:pt>
          <cx:pt idx="77973">1</cx:pt>
          <cx:pt idx="77974">1</cx:pt>
          <cx:pt idx="77975">0</cx:pt>
          <cx:pt idx="77976">1</cx:pt>
          <cx:pt idx="77977">0</cx:pt>
          <cx:pt idx="77978">1</cx:pt>
          <cx:pt idx="77979">0</cx:pt>
          <cx:pt idx="77980">1</cx:pt>
          <cx:pt idx="77981">1</cx:pt>
          <cx:pt idx="77982">1</cx:pt>
          <cx:pt idx="77983">0</cx:pt>
          <cx:pt idx="77984">0</cx:pt>
          <cx:pt idx="77985">1</cx:pt>
          <cx:pt idx="77986">1</cx:pt>
          <cx:pt idx="77987">1</cx:pt>
          <cx:pt idx="77988">0</cx:pt>
          <cx:pt idx="77989">1</cx:pt>
          <cx:pt idx="77990">0</cx:pt>
          <cx:pt idx="77991">1</cx:pt>
          <cx:pt idx="77992">0</cx:pt>
          <cx:pt idx="77993">1</cx:pt>
          <cx:pt idx="77994">1</cx:pt>
          <cx:pt idx="77995">1</cx:pt>
          <cx:pt idx="77996">1</cx:pt>
          <cx:pt idx="77997">0</cx:pt>
          <cx:pt idx="77998">0</cx:pt>
          <cx:pt idx="77999">1</cx:pt>
          <cx:pt idx="78000">0</cx:pt>
          <cx:pt idx="78001">1</cx:pt>
          <cx:pt idx="78002">0</cx:pt>
          <cx:pt idx="78003">1</cx:pt>
          <cx:pt idx="78004">0</cx:pt>
          <cx:pt idx="78005">0</cx:pt>
          <cx:pt idx="78006">0</cx:pt>
          <cx:pt idx="78007">0</cx:pt>
          <cx:pt idx="78008">0</cx:pt>
          <cx:pt idx="78009">0</cx:pt>
          <cx:pt idx="78010">1</cx:pt>
          <cx:pt idx="78011">1</cx:pt>
          <cx:pt idx="78012">1</cx:pt>
          <cx:pt idx="78013">0</cx:pt>
          <cx:pt idx="78014">0</cx:pt>
          <cx:pt idx="78015">0</cx:pt>
          <cx:pt idx="78016">1</cx:pt>
          <cx:pt idx="78017">0</cx:pt>
          <cx:pt idx="78018">0</cx:pt>
          <cx:pt idx="78019">1</cx:pt>
          <cx:pt idx="78020">0</cx:pt>
          <cx:pt idx="78021">0</cx:pt>
          <cx:pt idx="78022">1</cx:pt>
          <cx:pt idx="78023">1</cx:pt>
          <cx:pt idx="78024">1</cx:pt>
          <cx:pt idx="78025">1</cx:pt>
          <cx:pt idx="78026">0</cx:pt>
          <cx:pt idx="78027">0</cx:pt>
          <cx:pt idx="78028">1</cx:pt>
          <cx:pt idx="78029">0</cx:pt>
          <cx:pt idx="78030">0</cx:pt>
          <cx:pt idx="78031">0</cx:pt>
          <cx:pt idx="78032">1</cx:pt>
          <cx:pt idx="78033">1</cx:pt>
          <cx:pt idx="78034">1</cx:pt>
          <cx:pt idx="78035">1</cx:pt>
          <cx:pt idx="78036">1</cx:pt>
          <cx:pt idx="78037">1</cx:pt>
          <cx:pt idx="78038">0</cx:pt>
          <cx:pt idx="78039">1</cx:pt>
          <cx:pt idx="78040">1</cx:pt>
          <cx:pt idx="78041">0</cx:pt>
          <cx:pt idx="78042">0</cx:pt>
          <cx:pt idx="78043">0</cx:pt>
          <cx:pt idx="78044">1</cx:pt>
          <cx:pt idx="78045">0</cx:pt>
          <cx:pt idx="78046">0</cx:pt>
          <cx:pt idx="78047">1</cx:pt>
          <cx:pt idx="78048">0</cx:pt>
          <cx:pt idx="78049">0</cx:pt>
          <cx:pt idx="78050">0</cx:pt>
          <cx:pt idx="78051">0</cx:pt>
          <cx:pt idx="78052">0</cx:pt>
          <cx:pt idx="78053">0</cx:pt>
          <cx:pt idx="78054">0</cx:pt>
          <cx:pt idx="78055">1</cx:pt>
          <cx:pt idx="78056">1</cx:pt>
          <cx:pt idx="78057">0</cx:pt>
          <cx:pt idx="78058">0</cx:pt>
          <cx:pt idx="78059">0</cx:pt>
          <cx:pt idx="78060">1</cx:pt>
          <cx:pt idx="78061">1</cx:pt>
          <cx:pt idx="78062">1</cx:pt>
          <cx:pt idx="78063">0</cx:pt>
          <cx:pt idx="78064">0</cx:pt>
          <cx:pt idx="78065">0</cx:pt>
          <cx:pt idx="78066">0</cx:pt>
          <cx:pt idx="78067">1</cx:pt>
          <cx:pt idx="78068">1</cx:pt>
          <cx:pt idx="78069">1</cx:pt>
          <cx:pt idx="78070">0</cx:pt>
          <cx:pt idx="78071">0</cx:pt>
          <cx:pt idx="78072">1</cx:pt>
          <cx:pt idx="78073">1</cx:pt>
          <cx:pt idx="78074">0</cx:pt>
          <cx:pt idx="78075">0</cx:pt>
          <cx:pt idx="78076">0</cx:pt>
          <cx:pt idx="78077">0</cx:pt>
          <cx:pt idx="78078">0</cx:pt>
          <cx:pt idx="78079">0</cx:pt>
          <cx:pt idx="78080">0</cx:pt>
          <cx:pt idx="78081">0</cx:pt>
          <cx:pt idx="78082">1</cx:pt>
          <cx:pt idx="78083">1</cx:pt>
          <cx:pt idx="78084">0</cx:pt>
          <cx:pt idx="78085">1</cx:pt>
          <cx:pt idx="78086">0</cx:pt>
          <cx:pt idx="78087">0</cx:pt>
          <cx:pt idx="78088">0</cx:pt>
          <cx:pt idx="78089">0</cx:pt>
          <cx:pt idx="78090">1</cx:pt>
          <cx:pt idx="78091">0</cx:pt>
          <cx:pt idx="78092">0</cx:pt>
          <cx:pt idx="78093">0</cx:pt>
          <cx:pt idx="78094">1</cx:pt>
          <cx:pt idx="78095">1</cx:pt>
          <cx:pt idx="78096">1</cx:pt>
          <cx:pt idx="78097">0</cx:pt>
          <cx:pt idx="78098">1</cx:pt>
          <cx:pt idx="78099">1</cx:pt>
          <cx:pt idx="78100">1</cx:pt>
          <cx:pt idx="78101">1</cx:pt>
          <cx:pt idx="78102">1</cx:pt>
          <cx:pt idx="78103">1</cx:pt>
          <cx:pt idx="78104">0</cx:pt>
          <cx:pt idx="78105">0</cx:pt>
          <cx:pt idx="78106">0</cx:pt>
          <cx:pt idx="78107">1</cx:pt>
          <cx:pt idx="78108">1</cx:pt>
          <cx:pt idx="78109">1</cx:pt>
          <cx:pt idx="78110">1</cx:pt>
          <cx:pt idx="78111">0</cx:pt>
          <cx:pt idx="78112">0</cx:pt>
          <cx:pt idx="78113">0</cx:pt>
          <cx:pt idx="78114">0</cx:pt>
          <cx:pt idx="78115">1</cx:pt>
          <cx:pt idx="78116">0</cx:pt>
          <cx:pt idx="78117">1</cx:pt>
          <cx:pt idx="78118">0</cx:pt>
          <cx:pt idx="78119">0</cx:pt>
          <cx:pt idx="78120">0</cx:pt>
          <cx:pt idx="78121">0</cx:pt>
          <cx:pt idx="78122">0</cx:pt>
          <cx:pt idx="78123">1</cx:pt>
          <cx:pt idx="78124">1</cx:pt>
          <cx:pt idx="78125">0</cx:pt>
          <cx:pt idx="78126">0</cx:pt>
          <cx:pt idx="78127">0</cx:pt>
          <cx:pt idx="78128">1</cx:pt>
          <cx:pt idx="78129">0</cx:pt>
          <cx:pt idx="78130">0</cx:pt>
          <cx:pt idx="78131">1</cx:pt>
          <cx:pt idx="78132">1</cx:pt>
          <cx:pt idx="78133">1</cx:pt>
          <cx:pt idx="78134">1</cx:pt>
          <cx:pt idx="78135">0</cx:pt>
          <cx:pt idx="78136">1</cx:pt>
          <cx:pt idx="78137">0</cx:pt>
          <cx:pt idx="78138">0</cx:pt>
          <cx:pt idx="78139">0</cx:pt>
          <cx:pt idx="78140">0</cx:pt>
          <cx:pt idx="78141">1</cx:pt>
          <cx:pt idx="78142">1</cx:pt>
          <cx:pt idx="78143">0</cx:pt>
          <cx:pt idx="78144">0</cx:pt>
          <cx:pt idx="78145">0</cx:pt>
          <cx:pt idx="78146">0</cx:pt>
          <cx:pt idx="78147">0</cx:pt>
          <cx:pt idx="78148">1</cx:pt>
          <cx:pt idx="78149">1</cx:pt>
          <cx:pt idx="78150">0</cx:pt>
          <cx:pt idx="78151">0</cx:pt>
          <cx:pt idx="78152">0</cx:pt>
          <cx:pt idx="78153">0</cx:pt>
          <cx:pt idx="78154">0</cx:pt>
          <cx:pt idx="78155">1</cx:pt>
          <cx:pt idx="78156">1</cx:pt>
          <cx:pt idx="78157">0</cx:pt>
          <cx:pt idx="78158">0</cx:pt>
          <cx:pt idx="78159">1</cx:pt>
          <cx:pt idx="78160">0</cx:pt>
          <cx:pt idx="78161">1</cx:pt>
          <cx:pt idx="78162">0</cx:pt>
          <cx:pt idx="78163">1</cx:pt>
          <cx:pt idx="78164">1</cx:pt>
          <cx:pt idx="78165">0</cx:pt>
          <cx:pt idx="78166">0</cx:pt>
          <cx:pt idx="78167">0</cx:pt>
          <cx:pt idx="78168">0</cx:pt>
          <cx:pt idx="78169">0</cx:pt>
          <cx:pt idx="78170">0</cx:pt>
          <cx:pt idx="78171">0</cx:pt>
          <cx:pt idx="78172">1</cx:pt>
          <cx:pt idx="78173">0</cx:pt>
          <cx:pt idx="78174">0</cx:pt>
          <cx:pt idx="78175">0</cx:pt>
          <cx:pt idx="78176">0</cx:pt>
          <cx:pt idx="78177">1</cx:pt>
          <cx:pt idx="78178">0</cx:pt>
          <cx:pt idx="78179">0</cx:pt>
          <cx:pt idx="78180">1</cx:pt>
          <cx:pt idx="78181">1</cx:pt>
          <cx:pt idx="78182">0</cx:pt>
          <cx:pt idx="78183">0</cx:pt>
          <cx:pt idx="78184">0</cx:pt>
          <cx:pt idx="78185">1</cx:pt>
          <cx:pt idx="78186">1</cx:pt>
          <cx:pt idx="78187">1</cx:pt>
          <cx:pt idx="78188">1</cx:pt>
          <cx:pt idx="78189">1</cx:pt>
          <cx:pt idx="78190">1</cx:pt>
          <cx:pt idx="78191">0</cx:pt>
          <cx:pt idx="78192">0</cx:pt>
          <cx:pt idx="78193">0</cx:pt>
          <cx:pt idx="78194">0</cx:pt>
          <cx:pt idx="78195">0</cx:pt>
          <cx:pt idx="78196">0</cx:pt>
          <cx:pt idx="78197">1</cx:pt>
          <cx:pt idx="78198">0</cx:pt>
          <cx:pt idx="78199">0</cx:pt>
          <cx:pt idx="78200">0</cx:pt>
          <cx:pt idx="78201">1</cx:pt>
          <cx:pt idx="78202">1</cx:pt>
          <cx:pt idx="78203">0</cx:pt>
          <cx:pt idx="78204">0</cx:pt>
          <cx:pt idx="78205">0</cx:pt>
          <cx:pt idx="78206">0</cx:pt>
          <cx:pt idx="78207">0</cx:pt>
          <cx:pt idx="78208">1</cx:pt>
          <cx:pt idx="78209">1</cx:pt>
          <cx:pt idx="78210">0</cx:pt>
          <cx:pt idx="78211">0</cx:pt>
          <cx:pt idx="78212">0</cx:pt>
          <cx:pt idx="78213">0</cx:pt>
          <cx:pt idx="78214">0</cx:pt>
          <cx:pt idx="78215">0</cx:pt>
          <cx:pt idx="78216">0</cx:pt>
          <cx:pt idx="78217">1</cx:pt>
          <cx:pt idx="78218">0</cx:pt>
          <cx:pt idx="78219">0</cx:pt>
          <cx:pt idx="78220">1</cx:pt>
          <cx:pt idx="78221">1</cx:pt>
          <cx:pt idx="78222">0</cx:pt>
          <cx:pt idx="78223">1</cx:pt>
          <cx:pt idx="78224">0</cx:pt>
          <cx:pt idx="78225">0</cx:pt>
          <cx:pt idx="78226">1</cx:pt>
          <cx:pt idx="78227">1</cx:pt>
          <cx:pt idx="78228">1</cx:pt>
          <cx:pt idx="78229">0</cx:pt>
          <cx:pt idx="78230">1</cx:pt>
          <cx:pt idx="78231">0</cx:pt>
          <cx:pt idx="78232">1</cx:pt>
          <cx:pt idx="78233">1</cx:pt>
          <cx:pt idx="78234">1</cx:pt>
          <cx:pt idx="78235">0</cx:pt>
          <cx:pt idx="78236">0</cx:pt>
          <cx:pt idx="78237">0</cx:pt>
          <cx:pt idx="78238">0</cx:pt>
          <cx:pt idx="78239">0</cx:pt>
          <cx:pt idx="78240">0</cx:pt>
          <cx:pt idx="78241">1</cx:pt>
          <cx:pt idx="78242">0</cx:pt>
          <cx:pt idx="78243">0</cx:pt>
          <cx:pt idx="78244">0</cx:pt>
          <cx:pt idx="78245">0</cx:pt>
          <cx:pt idx="78246">1</cx:pt>
          <cx:pt idx="78247">1</cx:pt>
          <cx:pt idx="78248">0</cx:pt>
          <cx:pt idx="78249">0</cx:pt>
          <cx:pt idx="78250">0</cx:pt>
          <cx:pt idx="78251">0</cx:pt>
          <cx:pt idx="78252">1</cx:pt>
          <cx:pt idx="78253">0</cx:pt>
          <cx:pt idx="78254">1</cx:pt>
          <cx:pt idx="78255">0</cx:pt>
          <cx:pt idx="78256">0</cx:pt>
          <cx:pt idx="78257">1</cx:pt>
          <cx:pt idx="78258">0</cx:pt>
          <cx:pt idx="78259">1</cx:pt>
          <cx:pt idx="78260">1</cx:pt>
          <cx:pt idx="78261">1</cx:pt>
          <cx:pt idx="78262">0</cx:pt>
          <cx:pt idx="78263">1</cx:pt>
          <cx:pt idx="78264">0</cx:pt>
          <cx:pt idx="78265">1</cx:pt>
          <cx:pt idx="78266">1</cx:pt>
          <cx:pt idx="78267">0</cx:pt>
          <cx:pt idx="78268">0</cx:pt>
          <cx:pt idx="78269">1</cx:pt>
          <cx:pt idx="78270">1</cx:pt>
          <cx:pt idx="78271">0</cx:pt>
          <cx:pt idx="78272">1</cx:pt>
          <cx:pt idx="78273">1</cx:pt>
          <cx:pt idx="78274">1</cx:pt>
          <cx:pt idx="78275">0</cx:pt>
          <cx:pt idx="78276">1</cx:pt>
          <cx:pt idx="78277">1</cx:pt>
          <cx:pt idx="78278">0</cx:pt>
          <cx:pt idx="78279">0</cx:pt>
          <cx:pt idx="78280">1</cx:pt>
          <cx:pt idx="78281">0</cx:pt>
          <cx:pt idx="78282">1</cx:pt>
          <cx:pt idx="78283">0</cx:pt>
          <cx:pt idx="78284">1</cx:pt>
          <cx:pt idx="78285">0</cx:pt>
          <cx:pt idx="78286">0</cx:pt>
          <cx:pt idx="78287">0</cx:pt>
          <cx:pt idx="78288">0</cx:pt>
          <cx:pt idx="78289">0</cx:pt>
          <cx:pt idx="78290">0</cx:pt>
          <cx:pt idx="78291">1</cx:pt>
          <cx:pt idx="78292">0</cx:pt>
          <cx:pt idx="78293">0</cx:pt>
          <cx:pt idx="78294">0</cx:pt>
          <cx:pt idx="78295">0</cx:pt>
          <cx:pt idx="78296">0</cx:pt>
          <cx:pt idx="78297">1</cx:pt>
          <cx:pt idx="78298">1</cx:pt>
          <cx:pt idx="78299">0</cx:pt>
          <cx:pt idx="78300">0</cx:pt>
          <cx:pt idx="78301">0</cx:pt>
          <cx:pt idx="78302">0</cx:pt>
          <cx:pt idx="78303">0</cx:pt>
          <cx:pt idx="78304">1</cx:pt>
          <cx:pt idx="78305">0</cx:pt>
          <cx:pt idx="78306">1</cx:pt>
          <cx:pt idx="78307">0</cx:pt>
          <cx:pt idx="78308">1</cx:pt>
          <cx:pt idx="78309">0</cx:pt>
          <cx:pt idx="78310">1</cx:pt>
          <cx:pt idx="78311">0</cx:pt>
          <cx:pt idx="78312">0</cx:pt>
          <cx:pt idx="78313">0</cx:pt>
          <cx:pt idx="78314">1</cx:pt>
          <cx:pt idx="78315">1</cx:pt>
          <cx:pt idx="78316">0</cx:pt>
          <cx:pt idx="78317">0</cx:pt>
          <cx:pt idx="78318">1</cx:pt>
          <cx:pt idx="78319">0</cx:pt>
          <cx:pt idx="78320">1</cx:pt>
          <cx:pt idx="78321">0</cx:pt>
          <cx:pt idx="78322">1</cx:pt>
          <cx:pt idx="78323">0</cx:pt>
          <cx:pt idx="78324">1</cx:pt>
          <cx:pt idx="78325">0</cx:pt>
          <cx:pt idx="78326">1</cx:pt>
          <cx:pt idx="78327">0</cx:pt>
          <cx:pt idx="78328">0</cx:pt>
          <cx:pt idx="78329">0</cx:pt>
          <cx:pt idx="78330">0</cx:pt>
          <cx:pt idx="78331">1</cx:pt>
          <cx:pt idx="78332">1</cx:pt>
          <cx:pt idx="78333">1</cx:pt>
          <cx:pt idx="78334">0</cx:pt>
          <cx:pt idx="78335">1</cx:pt>
          <cx:pt idx="78336">0</cx:pt>
          <cx:pt idx="78337">1</cx:pt>
          <cx:pt idx="78338">0</cx:pt>
          <cx:pt idx="78339">0</cx:pt>
          <cx:pt idx="78340">0</cx:pt>
          <cx:pt idx="78341">0</cx:pt>
          <cx:pt idx="78342">0</cx:pt>
          <cx:pt idx="78343">0</cx:pt>
          <cx:pt idx="78344">0</cx:pt>
          <cx:pt idx="78345">1</cx:pt>
          <cx:pt idx="78346">1</cx:pt>
          <cx:pt idx="78347">1</cx:pt>
          <cx:pt idx="78348">0</cx:pt>
          <cx:pt idx="78349">0</cx:pt>
          <cx:pt idx="78350">0</cx:pt>
          <cx:pt idx="78351">1</cx:pt>
          <cx:pt idx="78352">0</cx:pt>
          <cx:pt idx="78353">1</cx:pt>
          <cx:pt idx="78354">0</cx:pt>
          <cx:pt idx="78355">0</cx:pt>
          <cx:pt idx="78356">0</cx:pt>
          <cx:pt idx="78357">0</cx:pt>
          <cx:pt idx="78358">1</cx:pt>
          <cx:pt idx="78359">0</cx:pt>
          <cx:pt idx="78360">1</cx:pt>
          <cx:pt idx="78361">1</cx:pt>
          <cx:pt idx="78362">0</cx:pt>
          <cx:pt idx="78363">1</cx:pt>
          <cx:pt idx="78364">0</cx:pt>
          <cx:pt idx="78365">0</cx:pt>
          <cx:pt idx="78366">0</cx:pt>
          <cx:pt idx="78367">1</cx:pt>
          <cx:pt idx="78368">1</cx:pt>
          <cx:pt idx="78369">0</cx:pt>
          <cx:pt idx="78370">1</cx:pt>
          <cx:pt idx="78371">0</cx:pt>
          <cx:pt idx="78372">1</cx:pt>
          <cx:pt idx="78373">0</cx:pt>
          <cx:pt idx="78374">0</cx:pt>
          <cx:pt idx="78375">1</cx:pt>
          <cx:pt idx="78376">0</cx:pt>
          <cx:pt idx="78377">0</cx:pt>
          <cx:pt idx="78378">1</cx:pt>
          <cx:pt idx="78379">0</cx:pt>
          <cx:pt idx="78380">1</cx:pt>
          <cx:pt idx="78381">0</cx:pt>
          <cx:pt idx="78382">0</cx:pt>
          <cx:pt idx="78383">1</cx:pt>
          <cx:pt idx="78384">1</cx:pt>
          <cx:pt idx="78385">0</cx:pt>
          <cx:pt idx="78386">1</cx:pt>
          <cx:pt idx="78387">1</cx:pt>
          <cx:pt idx="78388">0</cx:pt>
          <cx:pt idx="78389">1</cx:pt>
          <cx:pt idx="78390">1</cx:pt>
          <cx:pt idx="78391">0</cx:pt>
          <cx:pt idx="78392">0</cx:pt>
          <cx:pt idx="78393">0</cx:pt>
          <cx:pt idx="78394">1</cx:pt>
          <cx:pt idx="78395">1</cx:pt>
          <cx:pt idx="78396">1</cx:pt>
          <cx:pt idx="78397">1</cx:pt>
          <cx:pt idx="78398">1</cx:pt>
          <cx:pt idx="78399">1</cx:pt>
          <cx:pt idx="78400">0</cx:pt>
          <cx:pt idx="78401">0</cx:pt>
          <cx:pt idx="78402">1</cx:pt>
          <cx:pt idx="78403">1</cx:pt>
          <cx:pt idx="78404">0</cx:pt>
          <cx:pt idx="78405">0</cx:pt>
          <cx:pt idx="78406">1</cx:pt>
          <cx:pt idx="78407">0</cx:pt>
          <cx:pt idx="78408">0</cx:pt>
          <cx:pt idx="78409">0</cx:pt>
          <cx:pt idx="78410">1</cx:pt>
          <cx:pt idx="78411">0</cx:pt>
          <cx:pt idx="78412">0</cx:pt>
          <cx:pt idx="78413">1</cx:pt>
          <cx:pt idx="78414">1</cx:pt>
          <cx:pt idx="78415">1</cx:pt>
          <cx:pt idx="78416">1</cx:pt>
          <cx:pt idx="78417">0</cx:pt>
          <cx:pt idx="78418">1</cx:pt>
          <cx:pt idx="78419">0</cx:pt>
          <cx:pt idx="78420">1</cx:pt>
          <cx:pt idx="78421">1</cx:pt>
          <cx:pt idx="78422">1</cx:pt>
          <cx:pt idx="78423">1</cx:pt>
          <cx:pt idx="78424">0</cx:pt>
          <cx:pt idx="78425">0</cx:pt>
          <cx:pt idx="78426">0</cx:pt>
          <cx:pt idx="78427">0</cx:pt>
          <cx:pt idx="78428">0</cx:pt>
          <cx:pt idx="78429">0</cx:pt>
          <cx:pt idx="78430">1</cx:pt>
          <cx:pt idx="78431">1</cx:pt>
          <cx:pt idx="78432">0</cx:pt>
          <cx:pt idx="78433">1</cx:pt>
          <cx:pt idx="78434">1</cx:pt>
          <cx:pt idx="78435">0</cx:pt>
          <cx:pt idx="78436">0</cx:pt>
          <cx:pt idx="78437">0</cx:pt>
          <cx:pt idx="78438">0</cx:pt>
          <cx:pt idx="78439">1</cx:pt>
          <cx:pt idx="78440">1</cx:pt>
          <cx:pt idx="78441">1</cx:pt>
          <cx:pt idx="78442">0</cx:pt>
          <cx:pt idx="78443">1</cx:pt>
          <cx:pt idx="78444">1</cx:pt>
          <cx:pt idx="78445">0</cx:pt>
          <cx:pt idx="78446">0</cx:pt>
          <cx:pt idx="78447">0</cx:pt>
          <cx:pt idx="78448">1</cx:pt>
          <cx:pt idx="78449">0</cx:pt>
          <cx:pt idx="78450">1</cx:pt>
          <cx:pt idx="78451">1</cx:pt>
          <cx:pt idx="78452">1</cx:pt>
          <cx:pt idx="78453">0</cx:pt>
          <cx:pt idx="78454">0</cx:pt>
          <cx:pt idx="78455">1</cx:pt>
          <cx:pt idx="78456">0</cx:pt>
          <cx:pt idx="78457">1</cx:pt>
          <cx:pt idx="78458">1</cx:pt>
          <cx:pt idx="78459">1</cx:pt>
          <cx:pt idx="78460">1</cx:pt>
          <cx:pt idx="78461">1</cx:pt>
          <cx:pt idx="78462">1</cx:pt>
          <cx:pt idx="78463">0</cx:pt>
          <cx:pt idx="78464">1</cx:pt>
          <cx:pt idx="78465">0</cx:pt>
          <cx:pt idx="78466">1</cx:pt>
          <cx:pt idx="78467">0</cx:pt>
          <cx:pt idx="78468">0</cx:pt>
          <cx:pt idx="78469">0</cx:pt>
          <cx:pt idx="78470">0</cx:pt>
          <cx:pt idx="78471">0</cx:pt>
          <cx:pt idx="78472">1</cx:pt>
          <cx:pt idx="78473">0</cx:pt>
          <cx:pt idx="78474">0</cx:pt>
          <cx:pt idx="78475">0</cx:pt>
          <cx:pt idx="78476">1</cx:pt>
          <cx:pt idx="78477">0</cx:pt>
          <cx:pt idx="78478">1</cx:pt>
          <cx:pt idx="78479">1</cx:pt>
          <cx:pt idx="78480">1</cx:pt>
          <cx:pt idx="78481">1</cx:pt>
          <cx:pt idx="78482">0</cx:pt>
          <cx:pt idx="78483">0</cx:pt>
          <cx:pt idx="78484">1</cx:pt>
          <cx:pt idx="78485">1</cx:pt>
          <cx:pt idx="78486">1</cx:pt>
          <cx:pt idx="78487">0</cx:pt>
          <cx:pt idx="78488">0</cx:pt>
          <cx:pt idx="78489">0</cx:pt>
          <cx:pt idx="78490">1</cx:pt>
          <cx:pt idx="78491">1</cx:pt>
          <cx:pt idx="78492">0</cx:pt>
          <cx:pt idx="78493">0</cx:pt>
          <cx:pt idx="78494">0</cx:pt>
          <cx:pt idx="78495">1</cx:pt>
          <cx:pt idx="78496">1</cx:pt>
          <cx:pt idx="78497">0</cx:pt>
          <cx:pt idx="78498">0</cx:pt>
          <cx:pt idx="78499">1</cx:pt>
          <cx:pt idx="78500">0</cx:pt>
          <cx:pt idx="78501">0</cx:pt>
          <cx:pt idx="78502">0</cx:pt>
          <cx:pt idx="78503">0</cx:pt>
          <cx:pt idx="78504">0</cx:pt>
          <cx:pt idx="78505">0</cx:pt>
          <cx:pt idx="78506">0</cx:pt>
          <cx:pt idx="78507">0</cx:pt>
          <cx:pt idx="78508">0</cx:pt>
          <cx:pt idx="78509">0</cx:pt>
          <cx:pt idx="78510">1</cx:pt>
          <cx:pt idx="78511">1</cx:pt>
          <cx:pt idx="78512">1</cx:pt>
          <cx:pt idx="78513">1</cx:pt>
          <cx:pt idx="78514">0</cx:pt>
          <cx:pt idx="78515">1</cx:pt>
          <cx:pt idx="78516">0</cx:pt>
          <cx:pt idx="78517">1</cx:pt>
          <cx:pt idx="78518">1</cx:pt>
          <cx:pt idx="78519">0</cx:pt>
          <cx:pt idx="78520">1</cx:pt>
          <cx:pt idx="78521">1</cx:pt>
          <cx:pt idx="78522">0</cx:pt>
          <cx:pt idx="78523">0</cx:pt>
          <cx:pt idx="78524">0</cx:pt>
          <cx:pt idx="78525">0</cx:pt>
          <cx:pt idx="78526">1</cx:pt>
          <cx:pt idx="78527">1</cx:pt>
          <cx:pt idx="78528">1</cx:pt>
          <cx:pt idx="78529">0</cx:pt>
          <cx:pt idx="78530">1</cx:pt>
          <cx:pt idx="78531">0</cx:pt>
          <cx:pt idx="78532">0</cx:pt>
          <cx:pt idx="78533">0</cx:pt>
          <cx:pt idx="78534">0</cx:pt>
          <cx:pt idx="78535">0</cx:pt>
          <cx:pt idx="78536">1</cx:pt>
          <cx:pt idx="78537">0</cx:pt>
          <cx:pt idx="78538">0</cx:pt>
          <cx:pt idx="78539">0</cx:pt>
          <cx:pt idx="78540">0</cx:pt>
          <cx:pt idx="78541">0</cx:pt>
          <cx:pt idx="78542">1</cx:pt>
          <cx:pt idx="78543">1</cx:pt>
          <cx:pt idx="78544">0</cx:pt>
          <cx:pt idx="78545">1</cx:pt>
          <cx:pt idx="78546">0</cx:pt>
          <cx:pt idx="78547">0</cx:pt>
          <cx:pt idx="78548">1</cx:pt>
          <cx:pt idx="78549">1</cx:pt>
          <cx:pt idx="78550">0</cx:pt>
          <cx:pt idx="78551">0</cx:pt>
          <cx:pt idx="78552">1</cx:pt>
          <cx:pt idx="78553">0</cx:pt>
          <cx:pt idx="78554">0</cx:pt>
          <cx:pt idx="78555">0</cx:pt>
          <cx:pt idx="78556">0</cx:pt>
          <cx:pt idx="78557">1</cx:pt>
          <cx:pt idx="78558">1</cx:pt>
          <cx:pt idx="78559">1</cx:pt>
          <cx:pt idx="78560">0</cx:pt>
          <cx:pt idx="78561">0</cx:pt>
          <cx:pt idx="78562">0</cx:pt>
          <cx:pt idx="78563">0</cx:pt>
          <cx:pt idx="78564">1</cx:pt>
          <cx:pt idx="78565">1</cx:pt>
          <cx:pt idx="78566">0</cx:pt>
          <cx:pt idx="78567">0</cx:pt>
          <cx:pt idx="78568">1</cx:pt>
          <cx:pt idx="78569">1</cx:pt>
          <cx:pt idx="78570">0</cx:pt>
          <cx:pt idx="78571">1</cx:pt>
          <cx:pt idx="78572">0</cx:pt>
          <cx:pt idx="78573">1</cx:pt>
          <cx:pt idx="78574">0</cx:pt>
          <cx:pt idx="78575">0</cx:pt>
          <cx:pt idx="78576">0</cx:pt>
          <cx:pt idx="78577">0</cx:pt>
          <cx:pt idx="78578">0</cx:pt>
          <cx:pt idx="78579">0</cx:pt>
          <cx:pt idx="78580">0</cx:pt>
          <cx:pt idx="78581">1</cx:pt>
          <cx:pt idx="78582">0</cx:pt>
          <cx:pt idx="78583">0</cx:pt>
          <cx:pt idx="78584">0</cx:pt>
          <cx:pt idx="78585">0</cx:pt>
          <cx:pt idx="78586">1</cx:pt>
          <cx:pt idx="78587">1</cx:pt>
          <cx:pt idx="78588">1</cx:pt>
          <cx:pt idx="78589">0</cx:pt>
          <cx:pt idx="78590">0</cx:pt>
          <cx:pt idx="78591">0</cx:pt>
          <cx:pt idx="78592">1</cx:pt>
          <cx:pt idx="78593">1</cx:pt>
          <cx:pt idx="78594">1</cx:pt>
          <cx:pt idx="78595">1</cx:pt>
          <cx:pt idx="78596">0</cx:pt>
          <cx:pt idx="78597">1</cx:pt>
          <cx:pt idx="78598">0</cx:pt>
          <cx:pt idx="78599">1</cx:pt>
          <cx:pt idx="78600">1</cx:pt>
          <cx:pt idx="78601">0</cx:pt>
          <cx:pt idx="78602">1</cx:pt>
          <cx:pt idx="78603">1</cx:pt>
          <cx:pt idx="78604">1</cx:pt>
          <cx:pt idx="78605">1</cx:pt>
          <cx:pt idx="78606">0</cx:pt>
          <cx:pt idx="78607">0</cx:pt>
          <cx:pt idx="78608">0</cx:pt>
          <cx:pt idx="78609">0</cx:pt>
          <cx:pt idx="78610">0</cx:pt>
          <cx:pt idx="78611">1</cx:pt>
          <cx:pt idx="78612">0</cx:pt>
          <cx:pt idx="78613">0</cx:pt>
          <cx:pt idx="78614">1</cx:pt>
          <cx:pt idx="78615">1</cx:pt>
          <cx:pt idx="78616">0</cx:pt>
          <cx:pt idx="78617">1</cx:pt>
          <cx:pt idx="78618">1</cx:pt>
          <cx:pt idx="78619">0</cx:pt>
          <cx:pt idx="78620">1</cx:pt>
          <cx:pt idx="78621">1</cx:pt>
          <cx:pt idx="78622">0</cx:pt>
          <cx:pt idx="78623">0</cx:pt>
          <cx:pt idx="78624">0</cx:pt>
          <cx:pt idx="78625">0</cx:pt>
          <cx:pt idx="78626">0</cx:pt>
          <cx:pt idx="78627">0</cx:pt>
          <cx:pt idx="78628">0</cx:pt>
          <cx:pt idx="78629">1</cx:pt>
          <cx:pt idx="78630">0</cx:pt>
          <cx:pt idx="78631">0</cx:pt>
          <cx:pt idx="78632">1</cx:pt>
          <cx:pt idx="78633">0</cx:pt>
          <cx:pt idx="78634">0</cx:pt>
          <cx:pt idx="78635">0</cx:pt>
          <cx:pt idx="78636">0</cx:pt>
          <cx:pt idx="78637">1</cx:pt>
          <cx:pt idx="78638">1</cx:pt>
          <cx:pt idx="78639">0</cx:pt>
          <cx:pt idx="78640">0</cx:pt>
          <cx:pt idx="78641">1</cx:pt>
          <cx:pt idx="78642">1</cx:pt>
          <cx:pt idx="78643">0</cx:pt>
          <cx:pt idx="78644">0</cx:pt>
          <cx:pt idx="78645">0</cx:pt>
          <cx:pt idx="78646">1</cx:pt>
          <cx:pt idx="78647">1</cx:pt>
          <cx:pt idx="78648">0</cx:pt>
          <cx:pt idx="78649">0</cx:pt>
          <cx:pt idx="78650">0</cx:pt>
          <cx:pt idx="78651">0</cx:pt>
          <cx:pt idx="78652">1</cx:pt>
          <cx:pt idx="78653">0</cx:pt>
          <cx:pt idx="78654">1</cx:pt>
          <cx:pt idx="78655">0</cx:pt>
          <cx:pt idx="78656">0</cx:pt>
          <cx:pt idx="78657">1</cx:pt>
          <cx:pt idx="78658">0</cx:pt>
          <cx:pt idx="78659">0</cx:pt>
          <cx:pt idx="78660">1</cx:pt>
          <cx:pt idx="78661">1</cx:pt>
          <cx:pt idx="78662">0</cx:pt>
          <cx:pt idx="78663">0</cx:pt>
          <cx:pt idx="78664">0</cx:pt>
          <cx:pt idx="78665">1</cx:pt>
          <cx:pt idx="78666">1</cx:pt>
          <cx:pt idx="78667">0</cx:pt>
          <cx:pt idx="78668">0</cx:pt>
          <cx:pt idx="78669">0</cx:pt>
          <cx:pt idx="78670">1</cx:pt>
          <cx:pt idx="78671">0</cx:pt>
          <cx:pt idx="78672">0</cx:pt>
          <cx:pt idx="78673">1</cx:pt>
          <cx:pt idx="78674">0</cx:pt>
          <cx:pt idx="78675">1</cx:pt>
          <cx:pt idx="78676">1</cx:pt>
          <cx:pt idx="78677">1</cx:pt>
          <cx:pt idx="78678">0</cx:pt>
          <cx:pt idx="78679">0</cx:pt>
          <cx:pt idx="78680">0</cx:pt>
          <cx:pt idx="78681">0</cx:pt>
          <cx:pt idx="78682">0</cx:pt>
          <cx:pt idx="78683">1</cx:pt>
          <cx:pt idx="78684">0</cx:pt>
          <cx:pt idx="78685">1</cx:pt>
          <cx:pt idx="78686">1</cx:pt>
          <cx:pt idx="78687">0</cx:pt>
          <cx:pt idx="78688">1</cx:pt>
          <cx:pt idx="78689">0</cx:pt>
          <cx:pt idx="78690">1</cx:pt>
          <cx:pt idx="78691">1</cx:pt>
          <cx:pt idx="78692">0</cx:pt>
          <cx:pt idx="78693">0</cx:pt>
          <cx:pt idx="78694">0</cx:pt>
          <cx:pt idx="78695">1</cx:pt>
          <cx:pt idx="78696">0</cx:pt>
          <cx:pt idx="78697">0</cx:pt>
          <cx:pt idx="78698">0</cx:pt>
          <cx:pt idx="78699">0</cx:pt>
          <cx:pt idx="78700">1</cx:pt>
          <cx:pt idx="78701">0</cx:pt>
          <cx:pt idx="78702">1</cx:pt>
          <cx:pt idx="78703">1</cx:pt>
          <cx:pt idx="78704">1</cx:pt>
          <cx:pt idx="78705">0</cx:pt>
          <cx:pt idx="78706">0</cx:pt>
          <cx:pt idx="78707">0</cx:pt>
          <cx:pt idx="78708">1</cx:pt>
          <cx:pt idx="78709">0</cx:pt>
          <cx:pt idx="78710">0</cx:pt>
          <cx:pt idx="78711">0</cx:pt>
          <cx:pt idx="78712">1</cx:pt>
          <cx:pt idx="78713">1</cx:pt>
          <cx:pt idx="78714">1</cx:pt>
          <cx:pt idx="78715">0</cx:pt>
          <cx:pt idx="78716">1</cx:pt>
          <cx:pt idx="78717">0</cx:pt>
          <cx:pt idx="78718">0</cx:pt>
          <cx:pt idx="78719">0</cx:pt>
          <cx:pt idx="78720">1</cx:pt>
          <cx:pt idx="78721">0</cx:pt>
          <cx:pt idx="78722">0</cx:pt>
          <cx:pt idx="78723">0</cx:pt>
          <cx:pt idx="78724">1</cx:pt>
          <cx:pt idx="78725">1</cx:pt>
          <cx:pt idx="78726">0</cx:pt>
          <cx:pt idx="78727">0</cx:pt>
          <cx:pt idx="78728">0</cx:pt>
          <cx:pt idx="78729">0</cx:pt>
          <cx:pt idx="78730">0</cx:pt>
          <cx:pt idx="78731">0</cx:pt>
          <cx:pt idx="78732">1</cx:pt>
          <cx:pt idx="78733">0</cx:pt>
          <cx:pt idx="78734">0</cx:pt>
          <cx:pt idx="78735">1</cx:pt>
          <cx:pt idx="78736">1</cx:pt>
          <cx:pt idx="78737">0</cx:pt>
          <cx:pt idx="78738">1</cx:pt>
          <cx:pt idx="78739">0</cx:pt>
          <cx:pt idx="78740">0</cx:pt>
          <cx:pt idx="78741">1</cx:pt>
          <cx:pt idx="78742">1</cx:pt>
          <cx:pt idx="78743">0</cx:pt>
          <cx:pt idx="78744">1</cx:pt>
          <cx:pt idx="78745">1</cx:pt>
          <cx:pt idx="78746">0</cx:pt>
          <cx:pt idx="78747">0</cx:pt>
          <cx:pt idx="78748">1</cx:pt>
          <cx:pt idx="78749">1</cx:pt>
          <cx:pt idx="78750">1</cx:pt>
          <cx:pt idx="78751">0</cx:pt>
          <cx:pt idx="78752">0</cx:pt>
          <cx:pt idx="78753">0</cx:pt>
          <cx:pt idx="78754">0</cx:pt>
          <cx:pt idx="78755">1</cx:pt>
          <cx:pt idx="78756">0</cx:pt>
          <cx:pt idx="78757">0</cx:pt>
          <cx:pt idx="78758">1</cx:pt>
          <cx:pt idx="78759">1</cx:pt>
          <cx:pt idx="78760">1</cx:pt>
          <cx:pt idx="78761">0</cx:pt>
          <cx:pt idx="78762">1</cx:pt>
          <cx:pt idx="78763">0</cx:pt>
          <cx:pt idx="78764">0</cx:pt>
          <cx:pt idx="78765">0</cx:pt>
          <cx:pt idx="78766">1</cx:pt>
          <cx:pt idx="78767">0</cx:pt>
          <cx:pt idx="78768">1</cx:pt>
          <cx:pt idx="78769">1</cx:pt>
          <cx:pt idx="78770">1</cx:pt>
          <cx:pt idx="78771">0</cx:pt>
          <cx:pt idx="78772">1</cx:pt>
          <cx:pt idx="78773">0</cx:pt>
          <cx:pt idx="78774">1</cx:pt>
          <cx:pt idx="78775">0</cx:pt>
          <cx:pt idx="78776">1</cx:pt>
          <cx:pt idx="78777">1</cx:pt>
          <cx:pt idx="78778">0</cx:pt>
          <cx:pt idx="78779">0</cx:pt>
          <cx:pt idx="78780">1</cx:pt>
          <cx:pt idx="78781">0</cx:pt>
          <cx:pt idx="78782">0</cx:pt>
          <cx:pt idx="78783">0</cx:pt>
          <cx:pt idx="78784">1</cx:pt>
          <cx:pt idx="78785">1</cx:pt>
          <cx:pt idx="78786">0</cx:pt>
          <cx:pt idx="78787">0</cx:pt>
          <cx:pt idx="78788">0</cx:pt>
          <cx:pt idx="78789">0</cx:pt>
          <cx:pt idx="78790">1</cx:pt>
          <cx:pt idx="78791">1</cx:pt>
          <cx:pt idx="78792">0</cx:pt>
          <cx:pt idx="78793">0</cx:pt>
          <cx:pt idx="78794">0</cx:pt>
          <cx:pt idx="78795">0</cx:pt>
          <cx:pt idx="78796">0</cx:pt>
          <cx:pt idx="78797">0</cx:pt>
          <cx:pt idx="78798">0</cx:pt>
          <cx:pt idx="78799">0</cx:pt>
          <cx:pt idx="78800">0</cx:pt>
          <cx:pt idx="78801">1</cx:pt>
          <cx:pt idx="78802">0</cx:pt>
          <cx:pt idx="78803">0</cx:pt>
          <cx:pt idx="78804">0</cx:pt>
          <cx:pt idx="78805">1</cx:pt>
          <cx:pt idx="78806">1</cx:pt>
          <cx:pt idx="78807">0</cx:pt>
          <cx:pt idx="78808">0</cx:pt>
          <cx:pt idx="78809">1</cx:pt>
          <cx:pt idx="78810">0</cx:pt>
          <cx:pt idx="78811">0</cx:pt>
          <cx:pt idx="78812">0</cx:pt>
          <cx:pt idx="78813">1</cx:pt>
          <cx:pt idx="78814">0</cx:pt>
          <cx:pt idx="78815">1</cx:pt>
          <cx:pt idx="78816">0</cx:pt>
          <cx:pt idx="78817">0</cx:pt>
          <cx:pt idx="78818">0</cx:pt>
          <cx:pt idx="78819">1</cx:pt>
          <cx:pt idx="78820">0</cx:pt>
          <cx:pt idx="78821">0</cx:pt>
          <cx:pt idx="78822">1</cx:pt>
          <cx:pt idx="78823">1</cx:pt>
          <cx:pt idx="78824">1</cx:pt>
          <cx:pt idx="78825">0</cx:pt>
          <cx:pt idx="78826">1</cx:pt>
          <cx:pt idx="78827">1</cx:pt>
          <cx:pt idx="78828">0</cx:pt>
          <cx:pt idx="78829">1</cx:pt>
          <cx:pt idx="78830">0</cx:pt>
          <cx:pt idx="78831">0</cx:pt>
          <cx:pt idx="78832">0</cx:pt>
          <cx:pt idx="78833">0</cx:pt>
          <cx:pt idx="78834">1</cx:pt>
          <cx:pt idx="78835">0</cx:pt>
          <cx:pt idx="78836">1</cx:pt>
          <cx:pt idx="78837">0</cx:pt>
          <cx:pt idx="78838">1</cx:pt>
          <cx:pt idx="78839">1</cx:pt>
          <cx:pt idx="78840">1</cx:pt>
          <cx:pt idx="78841">1</cx:pt>
          <cx:pt idx="78842">0</cx:pt>
          <cx:pt idx="78843">1</cx:pt>
          <cx:pt idx="78844">0</cx:pt>
          <cx:pt idx="78845">0</cx:pt>
          <cx:pt idx="78846">1</cx:pt>
          <cx:pt idx="78847">0</cx:pt>
          <cx:pt idx="78848">0</cx:pt>
          <cx:pt idx="78849">0</cx:pt>
          <cx:pt idx="78850">0</cx:pt>
          <cx:pt idx="78851">1</cx:pt>
          <cx:pt idx="78852">1</cx:pt>
          <cx:pt idx="78853">0</cx:pt>
          <cx:pt idx="78854">0</cx:pt>
          <cx:pt idx="78855">1</cx:pt>
          <cx:pt idx="78856">1</cx:pt>
          <cx:pt idx="78857">0</cx:pt>
          <cx:pt idx="78858">0</cx:pt>
          <cx:pt idx="78859">1</cx:pt>
          <cx:pt idx="78860">0</cx:pt>
          <cx:pt idx="78861">1</cx:pt>
          <cx:pt idx="78862">0</cx:pt>
          <cx:pt idx="78863">0</cx:pt>
          <cx:pt idx="78864">1</cx:pt>
          <cx:pt idx="78865">1</cx:pt>
          <cx:pt idx="78866">0</cx:pt>
          <cx:pt idx="78867">0</cx:pt>
          <cx:pt idx="78868">1</cx:pt>
          <cx:pt idx="78869">0</cx:pt>
          <cx:pt idx="78870">0</cx:pt>
          <cx:pt idx="78871">0</cx:pt>
          <cx:pt idx="78872">0</cx:pt>
          <cx:pt idx="78873">0</cx:pt>
          <cx:pt idx="78874">0</cx:pt>
          <cx:pt idx="78875">1</cx:pt>
          <cx:pt idx="78876">1</cx:pt>
          <cx:pt idx="78877">0</cx:pt>
          <cx:pt idx="78878">0</cx:pt>
          <cx:pt idx="78879">0</cx:pt>
          <cx:pt idx="78880">1</cx:pt>
          <cx:pt idx="78881">0</cx:pt>
          <cx:pt idx="78882">0</cx:pt>
          <cx:pt idx="78883">1</cx:pt>
          <cx:pt idx="78884">0</cx:pt>
          <cx:pt idx="78885">1</cx:pt>
          <cx:pt idx="78886">1</cx:pt>
          <cx:pt idx="78887">1</cx:pt>
          <cx:pt idx="78888">0</cx:pt>
          <cx:pt idx="78889">0</cx:pt>
          <cx:pt idx="78890">0</cx:pt>
          <cx:pt idx="78891">1</cx:pt>
          <cx:pt idx="78892">0</cx:pt>
          <cx:pt idx="78893">0</cx:pt>
          <cx:pt idx="78894">0</cx:pt>
          <cx:pt idx="78895">1</cx:pt>
          <cx:pt idx="78896">0</cx:pt>
          <cx:pt idx="78897">1</cx:pt>
          <cx:pt idx="78898">1</cx:pt>
          <cx:pt idx="78899">1</cx:pt>
          <cx:pt idx="78900">1</cx:pt>
          <cx:pt idx="78901">0</cx:pt>
          <cx:pt idx="78902">1</cx:pt>
          <cx:pt idx="78903">1</cx:pt>
          <cx:pt idx="78904">1</cx:pt>
          <cx:pt idx="78905">0</cx:pt>
          <cx:pt idx="78906">0</cx:pt>
          <cx:pt idx="78907">1</cx:pt>
          <cx:pt idx="78908">0</cx:pt>
          <cx:pt idx="78909">1</cx:pt>
          <cx:pt idx="78910">0</cx:pt>
          <cx:pt idx="78911">1</cx:pt>
          <cx:pt idx="78912">0</cx:pt>
          <cx:pt idx="78913">0</cx:pt>
          <cx:pt idx="78914">1</cx:pt>
          <cx:pt idx="78915">0</cx:pt>
          <cx:pt idx="78916">0</cx:pt>
          <cx:pt idx="78917">1</cx:pt>
          <cx:pt idx="78918">0</cx:pt>
          <cx:pt idx="78919">0</cx:pt>
          <cx:pt idx="78920">0</cx:pt>
          <cx:pt idx="78921">1</cx:pt>
          <cx:pt idx="78922">0</cx:pt>
          <cx:pt idx="78923">0</cx:pt>
          <cx:pt idx="78924">0</cx:pt>
          <cx:pt idx="78925">1</cx:pt>
          <cx:pt idx="78926">1</cx:pt>
          <cx:pt idx="78927">0</cx:pt>
          <cx:pt idx="78928">0</cx:pt>
          <cx:pt idx="78929">1</cx:pt>
          <cx:pt idx="78930">0</cx:pt>
          <cx:pt idx="78931">0</cx:pt>
          <cx:pt idx="78932">1</cx:pt>
          <cx:pt idx="78933">0</cx:pt>
          <cx:pt idx="78934">0</cx:pt>
          <cx:pt idx="78935">0</cx:pt>
          <cx:pt idx="78936">0</cx:pt>
          <cx:pt idx="78937">1</cx:pt>
          <cx:pt idx="78938">0</cx:pt>
          <cx:pt idx="78939">1</cx:pt>
          <cx:pt idx="78940">1</cx:pt>
          <cx:pt idx="78941">0</cx:pt>
          <cx:pt idx="78942">1</cx:pt>
          <cx:pt idx="78943">1</cx:pt>
          <cx:pt idx="78944">0</cx:pt>
          <cx:pt idx="78945">0</cx:pt>
          <cx:pt idx="78946">1</cx:pt>
          <cx:pt idx="78947">1</cx:pt>
          <cx:pt idx="78948">1</cx:pt>
          <cx:pt idx="78949">0</cx:pt>
          <cx:pt idx="78950">0</cx:pt>
          <cx:pt idx="78951">0</cx:pt>
          <cx:pt idx="78952">1</cx:pt>
          <cx:pt idx="78953">0</cx:pt>
          <cx:pt idx="78954">1</cx:pt>
          <cx:pt idx="78955">1</cx:pt>
          <cx:pt idx="78956">1</cx:pt>
          <cx:pt idx="78957">1</cx:pt>
          <cx:pt idx="78958">0</cx:pt>
          <cx:pt idx="78959">0</cx:pt>
          <cx:pt idx="78960">0</cx:pt>
          <cx:pt idx="78961">0</cx:pt>
          <cx:pt idx="78962">1</cx:pt>
          <cx:pt idx="78963">0</cx:pt>
          <cx:pt idx="78964">1</cx:pt>
          <cx:pt idx="78965">0</cx:pt>
          <cx:pt idx="78966">1</cx:pt>
          <cx:pt idx="78967">0</cx:pt>
          <cx:pt idx="78968">1</cx:pt>
          <cx:pt idx="78969">1</cx:pt>
          <cx:pt idx="78970">1</cx:pt>
          <cx:pt idx="78971">0</cx:pt>
          <cx:pt idx="78972">0</cx:pt>
          <cx:pt idx="78973">1</cx:pt>
          <cx:pt idx="78974">0</cx:pt>
          <cx:pt idx="78975">0</cx:pt>
          <cx:pt idx="78976">0</cx:pt>
          <cx:pt idx="78977">1</cx:pt>
          <cx:pt idx="78978">1</cx:pt>
          <cx:pt idx="78979">1</cx:pt>
          <cx:pt idx="78980">0</cx:pt>
          <cx:pt idx="78981">0</cx:pt>
          <cx:pt idx="78982">1</cx:pt>
          <cx:pt idx="78983">0</cx:pt>
          <cx:pt idx="78984">0</cx:pt>
          <cx:pt idx="78985">0</cx:pt>
          <cx:pt idx="78986">1</cx:pt>
          <cx:pt idx="78987">0</cx:pt>
          <cx:pt idx="78988">0</cx:pt>
          <cx:pt idx="78989">0</cx:pt>
          <cx:pt idx="78990">1</cx:pt>
          <cx:pt idx="78991">1</cx:pt>
          <cx:pt idx="78992">0</cx:pt>
          <cx:pt idx="78993">0</cx:pt>
          <cx:pt idx="78994">1</cx:pt>
          <cx:pt idx="78995">0</cx:pt>
          <cx:pt idx="78996">0</cx:pt>
          <cx:pt idx="78997">0</cx:pt>
          <cx:pt idx="78998">1</cx:pt>
          <cx:pt idx="78999">0</cx:pt>
          <cx:pt idx="79000">1</cx:pt>
          <cx:pt idx="79001">1</cx:pt>
          <cx:pt idx="79002">0</cx:pt>
          <cx:pt idx="79003">0</cx:pt>
          <cx:pt idx="79004">1</cx:pt>
          <cx:pt idx="79005">0</cx:pt>
          <cx:pt idx="79006">0</cx:pt>
          <cx:pt idx="79007">1</cx:pt>
          <cx:pt idx="79008">0</cx:pt>
          <cx:pt idx="79009">0</cx:pt>
          <cx:pt idx="79010">0</cx:pt>
          <cx:pt idx="79011">1</cx:pt>
          <cx:pt idx="79012">0</cx:pt>
          <cx:pt idx="79013">0</cx:pt>
          <cx:pt idx="79014">0</cx:pt>
          <cx:pt idx="79015">0</cx:pt>
          <cx:pt idx="79016">1</cx:pt>
          <cx:pt idx="79017">0</cx:pt>
          <cx:pt idx="79018">0</cx:pt>
          <cx:pt idx="79019">1</cx:pt>
          <cx:pt idx="79020">1</cx:pt>
          <cx:pt idx="79021">0</cx:pt>
          <cx:pt idx="79022">0</cx:pt>
          <cx:pt idx="79023">1</cx:pt>
          <cx:pt idx="79024">0</cx:pt>
          <cx:pt idx="79025">1</cx:pt>
          <cx:pt idx="79026">1</cx:pt>
          <cx:pt idx="79027">1</cx:pt>
          <cx:pt idx="79028">0</cx:pt>
          <cx:pt idx="79029">0</cx:pt>
          <cx:pt idx="79030">1</cx:pt>
          <cx:pt idx="79031">0</cx:pt>
          <cx:pt idx="79032">1</cx:pt>
          <cx:pt idx="79033">0</cx:pt>
          <cx:pt idx="79034">0</cx:pt>
          <cx:pt idx="79035">0</cx:pt>
          <cx:pt idx="79036">0</cx:pt>
          <cx:pt idx="79037">0</cx:pt>
          <cx:pt idx="79038">1</cx:pt>
          <cx:pt idx="79039">0</cx:pt>
          <cx:pt idx="79040">0</cx:pt>
          <cx:pt idx="79041">0</cx:pt>
          <cx:pt idx="79042">1</cx:pt>
          <cx:pt idx="79043">0</cx:pt>
          <cx:pt idx="79044">1</cx:pt>
          <cx:pt idx="79045">0</cx:pt>
          <cx:pt idx="79046">0</cx:pt>
          <cx:pt idx="79047">1</cx:pt>
          <cx:pt idx="79048">1</cx:pt>
          <cx:pt idx="79049">0</cx:pt>
          <cx:pt idx="79050">1</cx:pt>
          <cx:pt idx="79051">0</cx:pt>
          <cx:pt idx="79052">1</cx:pt>
          <cx:pt idx="79053">0</cx:pt>
          <cx:pt idx="79054">0</cx:pt>
          <cx:pt idx="79055">0</cx:pt>
          <cx:pt idx="79056">1</cx:pt>
          <cx:pt idx="79057">1</cx:pt>
          <cx:pt idx="79058">1</cx:pt>
          <cx:pt idx="79059">0</cx:pt>
          <cx:pt idx="79060">0</cx:pt>
          <cx:pt idx="79061">1</cx:pt>
          <cx:pt idx="79062">0</cx:pt>
          <cx:pt idx="79063">1</cx:pt>
          <cx:pt idx="79064">0</cx:pt>
          <cx:pt idx="79065">0</cx:pt>
          <cx:pt idx="79066">1</cx:pt>
          <cx:pt idx="79067">1</cx:pt>
          <cx:pt idx="79068">0</cx:pt>
          <cx:pt idx="79069">1</cx:pt>
          <cx:pt idx="79070">0</cx:pt>
          <cx:pt idx="79071">1</cx:pt>
          <cx:pt idx="79072">1</cx:pt>
          <cx:pt idx="79073">0</cx:pt>
          <cx:pt idx="79074">1</cx:pt>
          <cx:pt idx="79075">0</cx:pt>
          <cx:pt idx="79076">1</cx:pt>
          <cx:pt idx="79077">1</cx:pt>
          <cx:pt idx="79078">0</cx:pt>
          <cx:pt idx="79079">1</cx:pt>
          <cx:pt idx="79080">1</cx:pt>
          <cx:pt idx="79081">1</cx:pt>
          <cx:pt idx="79082">0</cx:pt>
          <cx:pt idx="79083">1</cx:pt>
          <cx:pt idx="79084">0</cx:pt>
          <cx:pt idx="79085">1</cx:pt>
          <cx:pt idx="79086">0</cx:pt>
          <cx:pt idx="79087">0</cx:pt>
          <cx:pt idx="79088">0</cx:pt>
          <cx:pt idx="79089">1</cx:pt>
          <cx:pt idx="79090">1</cx:pt>
          <cx:pt idx="79091">1</cx:pt>
          <cx:pt idx="79092">0</cx:pt>
          <cx:pt idx="79093">1</cx:pt>
          <cx:pt idx="79094">0</cx:pt>
          <cx:pt idx="79095">0</cx:pt>
          <cx:pt idx="79096">0</cx:pt>
          <cx:pt idx="79097">1</cx:pt>
          <cx:pt idx="79098">0</cx:pt>
          <cx:pt idx="79099">0</cx:pt>
          <cx:pt idx="79100">1</cx:pt>
          <cx:pt idx="79101">0</cx:pt>
          <cx:pt idx="79102">0</cx:pt>
          <cx:pt idx="79103">1</cx:pt>
          <cx:pt idx="79104">1</cx:pt>
          <cx:pt idx="79105">0</cx:pt>
          <cx:pt idx="79106">0</cx:pt>
          <cx:pt idx="79107">0</cx:pt>
          <cx:pt idx="79108">0</cx:pt>
          <cx:pt idx="79109">0</cx:pt>
          <cx:pt idx="79110">1</cx:pt>
          <cx:pt idx="79111">0</cx:pt>
          <cx:pt idx="79112">0</cx:pt>
          <cx:pt idx="79113">1</cx:pt>
          <cx:pt idx="79114">0</cx:pt>
          <cx:pt idx="79115">1</cx:pt>
          <cx:pt idx="79116">1</cx:pt>
          <cx:pt idx="79117">1</cx:pt>
          <cx:pt idx="79118">0</cx:pt>
          <cx:pt idx="79119">1</cx:pt>
          <cx:pt idx="79120">0</cx:pt>
          <cx:pt idx="79121">1</cx:pt>
          <cx:pt idx="79122">0</cx:pt>
          <cx:pt idx="79123">0</cx:pt>
          <cx:pt idx="79124">1</cx:pt>
          <cx:pt idx="79125">0</cx:pt>
          <cx:pt idx="79126">1</cx:pt>
          <cx:pt idx="79127">1</cx:pt>
          <cx:pt idx="79128">0</cx:pt>
          <cx:pt idx="79129">0</cx:pt>
          <cx:pt idx="79130">1</cx:pt>
          <cx:pt idx="79131">0</cx:pt>
          <cx:pt idx="79132">1</cx:pt>
          <cx:pt idx="79133">0</cx:pt>
          <cx:pt idx="79134">1</cx:pt>
          <cx:pt idx="79135">1</cx:pt>
          <cx:pt idx="79136">0</cx:pt>
          <cx:pt idx="79137">1</cx:pt>
          <cx:pt idx="79138">1</cx:pt>
          <cx:pt idx="79139">0</cx:pt>
          <cx:pt idx="79140">0</cx:pt>
          <cx:pt idx="79141">1</cx:pt>
          <cx:pt idx="79142">1</cx:pt>
          <cx:pt idx="79143">0</cx:pt>
          <cx:pt idx="79144">1</cx:pt>
          <cx:pt idx="79145">1</cx:pt>
          <cx:pt idx="79146">0</cx:pt>
          <cx:pt idx="79147">1</cx:pt>
          <cx:pt idx="79148">0</cx:pt>
          <cx:pt idx="79149">0</cx:pt>
          <cx:pt idx="79150">0</cx:pt>
          <cx:pt idx="79151">0</cx:pt>
          <cx:pt idx="79152">1</cx:pt>
          <cx:pt idx="79153">0</cx:pt>
          <cx:pt idx="79154">0</cx:pt>
          <cx:pt idx="79155">0</cx:pt>
          <cx:pt idx="79156">1</cx:pt>
          <cx:pt idx="79157">0</cx:pt>
          <cx:pt idx="79158">1</cx:pt>
          <cx:pt idx="79159">0</cx:pt>
          <cx:pt idx="79160">1</cx:pt>
          <cx:pt idx="79161">0</cx:pt>
          <cx:pt idx="79162">1</cx:pt>
          <cx:pt idx="79163">1</cx:pt>
          <cx:pt idx="79164">1</cx:pt>
          <cx:pt idx="79165">1</cx:pt>
          <cx:pt idx="79166">1</cx:pt>
          <cx:pt idx="79167">0</cx:pt>
          <cx:pt idx="79168">0</cx:pt>
          <cx:pt idx="79169">0</cx:pt>
          <cx:pt idx="79170">0</cx:pt>
          <cx:pt idx="79171">1</cx:pt>
          <cx:pt idx="79172">0</cx:pt>
          <cx:pt idx="79173">0</cx:pt>
          <cx:pt idx="79174">0</cx:pt>
          <cx:pt idx="79175">0</cx:pt>
          <cx:pt idx="79176">0</cx:pt>
          <cx:pt idx="79177">1</cx:pt>
          <cx:pt idx="79178">0</cx:pt>
          <cx:pt idx="79179">1</cx:pt>
          <cx:pt idx="79180">0</cx:pt>
          <cx:pt idx="79181">0</cx:pt>
          <cx:pt idx="79182">1</cx:pt>
          <cx:pt idx="79183">1</cx:pt>
          <cx:pt idx="79184">1</cx:pt>
          <cx:pt idx="79185">0</cx:pt>
          <cx:pt idx="79186">1</cx:pt>
          <cx:pt idx="79187">1</cx:pt>
          <cx:pt idx="79188">1</cx:pt>
          <cx:pt idx="79189">0</cx:pt>
          <cx:pt idx="79190">0</cx:pt>
          <cx:pt idx="79191">0</cx:pt>
          <cx:pt idx="79192">0</cx:pt>
          <cx:pt idx="79193">0</cx:pt>
          <cx:pt idx="79194">0</cx:pt>
          <cx:pt idx="79195">0</cx:pt>
          <cx:pt idx="79196">0</cx:pt>
          <cx:pt idx="79197">0</cx:pt>
          <cx:pt idx="79198">0</cx:pt>
          <cx:pt idx="79199">1</cx:pt>
          <cx:pt idx="79200">0</cx:pt>
          <cx:pt idx="79201">1</cx:pt>
          <cx:pt idx="79202">0</cx:pt>
          <cx:pt idx="79203">1</cx:pt>
          <cx:pt idx="79204">1</cx:pt>
          <cx:pt idx="79205">0</cx:pt>
          <cx:pt idx="79206">1</cx:pt>
          <cx:pt idx="79207">1</cx:pt>
          <cx:pt idx="79208">0</cx:pt>
          <cx:pt idx="79209">1</cx:pt>
          <cx:pt idx="79210">0</cx:pt>
          <cx:pt idx="79211">0</cx:pt>
          <cx:pt idx="79212">1</cx:pt>
          <cx:pt idx="79213">0</cx:pt>
          <cx:pt idx="79214">0</cx:pt>
          <cx:pt idx="79215">0</cx:pt>
          <cx:pt idx="79216">1</cx:pt>
          <cx:pt idx="79217">1</cx:pt>
          <cx:pt idx="79218">0</cx:pt>
          <cx:pt idx="79219">1</cx:pt>
          <cx:pt idx="79220">1</cx:pt>
          <cx:pt idx="79221">0</cx:pt>
          <cx:pt idx="79222">1</cx:pt>
          <cx:pt idx="79223">1</cx:pt>
          <cx:pt idx="79224">1</cx:pt>
          <cx:pt idx="79225">0</cx:pt>
          <cx:pt idx="79226">1</cx:pt>
          <cx:pt idx="79227">0</cx:pt>
          <cx:pt idx="79228">0</cx:pt>
          <cx:pt idx="79229">1</cx:pt>
          <cx:pt idx="79230">0</cx:pt>
          <cx:pt idx="79231">0</cx:pt>
          <cx:pt idx="79232">1</cx:pt>
          <cx:pt idx="79233">1</cx:pt>
          <cx:pt idx="79234">1</cx:pt>
          <cx:pt idx="79235">0</cx:pt>
          <cx:pt idx="79236">0</cx:pt>
          <cx:pt idx="79237">1</cx:pt>
          <cx:pt idx="79238">0</cx:pt>
          <cx:pt idx="79239">0</cx:pt>
          <cx:pt idx="79240">0</cx:pt>
          <cx:pt idx="79241">1</cx:pt>
          <cx:pt idx="79242">1</cx:pt>
          <cx:pt idx="79243">0</cx:pt>
          <cx:pt idx="79244">0</cx:pt>
          <cx:pt idx="79245">1</cx:pt>
          <cx:pt idx="79246">1</cx:pt>
          <cx:pt idx="79247">0</cx:pt>
          <cx:pt idx="79248">0</cx:pt>
          <cx:pt idx="79249">1</cx:pt>
          <cx:pt idx="79250">1</cx:pt>
          <cx:pt idx="79251">1</cx:pt>
          <cx:pt idx="79252">0</cx:pt>
          <cx:pt idx="79253">1</cx:pt>
          <cx:pt idx="79254">0</cx:pt>
          <cx:pt idx="79255">0</cx:pt>
          <cx:pt idx="79256">0</cx:pt>
          <cx:pt idx="79257">0</cx:pt>
          <cx:pt idx="79258">0</cx:pt>
          <cx:pt idx="79259">0</cx:pt>
          <cx:pt idx="79260">0</cx:pt>
          <cx:pt idx="79261">1</cx:pt>
          <cx:pt idx="79262">1</cx:pt>
          <cx:pt idx="79263">1</cx:pt>
          <cx:pt idx="79264">1</cx:pt>
          <cx:pt idx="79265">0</cx:pt>
          <cx:pt idx="79266">1</cx:pt>
          <cx:pt idx="79267">1</cx:pt>
          <cx:pt idx="79268">1</cx:pt>
          <cx:pt idx="79269">1</cx:pt>
          <cx:pt idx="79270">0</cx:pt>
          <cx:pt idx="79271">0</cx:pt>
          <cx:pt idx="79272">0</cx:pt>
          <cx:pt idx="79273">0</cx:pt>
          <cx:pt idx="79274">0</cx:pt>
          <cx:pt idx="79275">0</cx:pt>
          <cx:pt idx="79276">0</cx:pt>
          <cx:pt idx="79277">0</cx:pt>
          <cx:pt idx="79278">0</cx:pt>
          <cx:pt idx="79279">1</cx:pt>
          <cx:pt idx="79280">1</cx:pt>
          <cx:pt idx="79281">1</cx:pt>
          <cx:pt idx="79282">1</cx:pt>
          <cx:pt idx="79283">0</cx:pt>
          <cx:pt idx="79284">1</cx:pt>
          <cx:pt idx="79285">0</cx:pt>
          <cx:pt idx="79286">1</cx:pt>
          <cx:pt idx="79287">0</cx:pt>
          <cx:pt idx="79288">0</cx:pt>
          <cx:pt idx="79289">0</cx:pt>
          <cx:pt idx="79290">0</cx:pt>
          <cx:pt idx="79291">0</cx:pt>
          <cx:pt idx="79292">1</cx:pt>
          <cx:pt idx="79293">0</cx:pt>
          <cx:pt idx="79294">1</cx:pt>
          <cx:pt idx="79295">0</cx:pt>
          <cx:pt idx="79296">0</cx:pt>
          <cx:pt idx="79297">0</cx:pt>
          <cx:pt idx="79298">1</cx:pt>
          <cx:pt idx="79299">0</cx:pt>
          <cx:pt idx="79300">1</cx:pt>
          <cx:pt idx="79301">0</cx:pt>
          <cx:pt idx="79302">0</cx:pt>
          <cx:pt idx="79303">0</cx:pt>
          <cx:pt idx="79304">0</cx:pt>
          <cx:pt idx="79305">0</cx:pt>
          <cx:pt idx="79306">0</cx:pt>
          <cx:pt idx="79307">1</cx:pt>
          <cx:pt idx="79308">0</cx:pt>
          <cx:pt idx="79309">1</cx:pt>
          <cx:pt idx="79310">1</cx:pt>
          <cx:pt idx="79311">0</cx:pt>
          <cx:pt idx="79312">1</cx:pt>
          <cx:pt idx="79313">0</cx:pt>
          <cx:pt idx="79314">0</cx:pt>
          <cx:pt idx="79315">0</cx:pt>
          <cx:pt idx="79316">1</cx:pt>
          <cx:pt idx="79317">1</cx:pt>
          <cx:pt idx="79318">0</cx:pt>
          <cx:pt idx="79319">1</cx:pt>
          <cx:pt idx="79320">0</cx:pt>
          <cx:pt idx="79321">1</cx:pt>
          <cx:pt idx="79322">0</cx:pt>
          <cx:pt idx="79323">0</cx:pt>
          <cx:pt idx="79324">1</cx:pt>
          <cx:pt idx="79325">1</cx:pt>
          <cx:pt idx="79326">1</cx:pt>
          <cx:pt idx="79327">0</cx:pt>
          <cx:pt idx="79328">1</cx:pt>
          <cx:pt idx="79329">0</cx:pt>
          <cx:pt idx="79330">0</cx:pt>
          <cx:pt idx="79331">0</cx:pt>
          <cx:pt idx="79332">0</cx:pt>
          <cx:pt idx="79333">1</cx:pt>
          <cx:pt idx="79334">1</cx:pt>
          <cx:pt idx="79335">1</cx:pt>
          <cx:pt idx="79336">1</cx:pt>
          <cx:pt idx="79337">0</cx:pt>
          <cx:pt idx="79338">1</cx:pt>
          <cx:pt idx="79339">1</cx:pt>
          <cx:pt idx="79340">1</cx:pt>
          <cx:pt idx="79341">1</cx:pt>
          <cx:pt idx="79342">1</cx:pt>
          <cx:pt idx="79343">1</cx:pt>
          <cx:pt idx="79344">1</cx:pt>
          <cx:pt idx="79345">1</cx:pt>
          <cx:pt idx="79346">0</cx:pt>
          <cx:pt idx="79347">1</cx:pt>
          <cx:pt idx="79348">1</cx:pt>
          <cx:pt idx="79349">0</cx:pt>
          <cx:pt idx="79350">0</cx:pt>
          <cx:pt idx="79351">0</cx:pt>
          <cx:pt idx="79352">0</cx:pt>
          <cx:pt idx="79353">0</cx:pt>
          <cx:pt idx="79354">1</cx:pt>
          <cx:pt idx="79355">0</cx:pt>
          <cx:pt idx="79356">1</cx:pt>
          <cx:pt idx="79357">0</cx:pt>
          <cx:pt idx="79358">1</cx:pt>
          <cx:pt idx="79359">0</cx:pt>
          <cx:pt idx="79360">0</cx:pt>
          <cx:pt idx="79361">0</cx:pt>
          <cx:pt idx="79362">0</cx:pt>
          <cx:pt idx="79363">0</cx:pt>
          <cx:pt idx="79364">0</cx:pt>
          <cx:pt idx="79365">0</cx:pt>
          <cx:pt idx="79366">1</cx:pt>
          <cx:pt idx="79367">0</cx:pt>
          <cx:pt idx="79368">0</cx:pt>
          <cx:pt idx="79369">0</cx:pt>
          <cx:pt idx="79370">0</cx:pt>
          <cx:pt idx="79371">0</cx:pt>
          <cx:pt idx="79372">1</cx:pt>
          <cx:pt idx="79373">0</cx:pt>
          <cx:pt idx="79374">1</cx:pt>
          <cx:pt idx="79375">1</cx:pt>
          <cx:pt idx="79376">0</cx:pt>
          <cx:pt idx="79377">1</cx:pt>
          <cx:pt idx="79378">1</cx:pt>
          <cx:pt idx="79379">0</cx:pt>
          <cx:pt idx="79380">1</cx:pt>
          <cx:pt idx="79381">1</cx:pt>
          <cx:pt idx="79382">0</cx:pt>
          <cx:pt idx="79383">0</cx:pt>
          <cx:pt idx="79384">0</cx:pt>
          <cx:pt idx="79385">1</cx:pt>
          <cx:pt idx="79386">0</cx:pt>
          <cx:pt idx="79387">1</cx:pt>
          <cx:pt idx="79388">0</cx:pt>
          <cx:pt idx="79389">1</cx:pt>
          <cx:pt idx="79390">1</cx:pt>
          <cx:pt idx="79391">0</cx:pt>
          <cx:pt idx="79392">1</cx:pt>
          <cx:pt idx="79393">0</cx:pt>
          <cx:pt idx="79394">1</cx:pt>
          <cx:pt idx="79395">0</cx:pt>
          <cx:pt idx="79396">0</cx:pt>
          <cx:pt idx="79397">0</cx:pt>
          <cx:pt idx="79398">1</cx:pt>
          <cx:pt idx="79399">0</cx:pt>
          <cx:pt idx="79400">1</cx:pt>
          <cx:pt idx="79401">1</cx:pt>
          <cx:pt idx="79402">0</cx:pt>
          <cx:pt idx="79403">0</cx:pt>
          <cx:pt idx="79404">1</cx:pt>
          <cx:pt idx="79405">1</cx:pt>
          <cx:pt idx="79406">1</cx:pt>
          <cx:pt idx="79407">0</cx:pt>
          <cx:pt idx="79408">0</cx:pt>
          <cx:pt idx="79409">0</cx:pt>
          <cx:pt idx="79410">0</cx:pt>
          <cx:pt idx="79411">1</cx:pt>
          <cx:pt idx="79412">0</cx:pt>
          <cx:pt idx="79413">1</cx:pt>
          <cx:pt idx="79414">1</cx:pt>
          <cx:pt idx="79415">0</cx:pt>
          <cx:pt idx="79416">0</cx:pt>
          <cx:pt idx="79417">1</cx:pt>
          <cx:pt idx="79418">0</cx:pt>
          <cx:pt idx="79419">0</cx:pt>
          <cx:pt idx="79420">0</cx:pt>
          <cx:pt idx="79421">0</cx:pt>
          <cx:pt idx="79422">0</cx:pt>
          <cx:pt idx="79423">1</cx:pt>
          <cx:pt idx="79424">0</cx:pt>
          <cx:pt idx="79425">0</cx:pt>
          <cx:pt idx="79426">1</cx:pt>
          <cx:pt idx="79427">1</cx:pt>
          <cx:pt idx="79428">0</cx:pt>
          <cx:pt idx="79429">0</cx:pt>
          <cx:pt idx="79430">0</cx:pt>
          <cx:pt idx="79431">0</cx:pt>
          <cx:pt idx="79432">1</cx:pt>
          <cx:pt idx="79433">0</cx:pt>
          <cx:pt idx="79434">0</cx:pt>
          <cx:pt idx="79435">1</cx:pt>
          <cx:pt idx="79436">0</cx:pt>
          <cx:pt idx="79437">1</cx:pt>
          <cx:pt idx="79438">1</cx:pt>
          <cx:pt idx="79439">1</cx:pt>
          <cx:pt idx="79440">0</cx:pt>
          <cx:pt idx="79441">1</cx:pt>
          <cx:pt idx="79442">1</cx:pt>
          <cx:pt idx="79443">0</cx:pt>
          <cx:pt idx="79444">0</cx:pt>
          <cx:pt idx="79445">0</cx:pt>
          <cx:pt idx="79446">1</cx:pt>
          <cx:pt idx="79447">0</cx:pt>
          <cx:pt idx="79448">0</cx:pt>
          <cx:pt idx="79449">0</cx:pt>
          <cx:pt idx="79450">0</cx:pt>
          <cx:pt idx="79451">0</cx:pt>
          <cx:pt idx="79452">0</cx:pt>
          <cx:pt idx="79453">1</cx:pt>
          <cx:pt idx="79454">1</cx:pt>
          <cx:pt idx="79455">0</cx:pt>
          <cx:pt idx="79456">0</cx:pt>
          <cx:pt idx="79457">0</cx:pt>
          <cx:pt idx="79458">0</cx:pt>
          <cx:pt idx="79459">0</cx:pt>
          <cx:pt idx="79460">1</cx:pt>
          <cx:pt idx="79461">1</cx:pt>
          <cx:pt idx="79462">0</cx:pt>
          <cx:pt idx="79463">0</cx:pt>
          <cx:pt idx="79464">1</cx:pt>
          <cx:pt idx="79465">0</cx:pt>
          <cx:pt idx="79466">0</cx:pt>
          <cx:pt idx="79467">1</cx:pt>
          <cx:pt idx="79468">1</cx:pt>
          <cx:pt idx="79469">1</cx:pt>
          <cx:pt idx="79470">1</cx:pt>
          <cx:pt idx="79471">0</cx:pt>
          <cx:pt idx="79472">0</cx:pt>
          <cx:pt idx="79473">1</cx:pt>
          <cx:pt idx="79474">1</cx:pt>
          <cx:pt idx="79475">0</cx:pt>
          <cx:pt idx="79476">1</cx:pt>
          <cx:pt idx="79477">0</cx:pt>
          <cx:pt idx="79478">1</cx:pt>
          <cx:pt idx="79479">1</cx:pt>
          <cx:pt idx="79480">0</cx:pt>
          <cx:pt idx="79481">0</cx:pt>
          <cx:pt idx="79482">1</cx:pt>
          <cx:pt idx="79483">1</cx:pt>
          <cx:pt idx="79484">1</cx:pt>
          <cx:pt idx="79485">1</cx:pt>
          <cx:pt idx="79486">0</cx:pt>
          <cx:pt idx="79487">0</cx:pt>
          <cx:pt idx="79488">0</cx:pt>
          <cx:pt idx="79489">0</cx:pt>
          <cx:pt idx="79490">0</cx:pt>
          <cx:pt idx="79491">1</cx:pt>
          <cx:pt idx="79492">1</cx:pt>
          <cx:pt idx="79493">0</cx:pt>
          <cx:pt idx="79494">0</cx:pt>
          <cx:pt idx="79495">0</cx:pt>
          <cx:pt idx="79496">1</cx:pt>
          <cx:pt idx="79497">0</cx:pt>
          <cx:pt idx="79498">0</cx:pt>
          <cx:pt idx="79499">0</cx:pt>
          <cx:pt idx="79500">0</cx:pt>
          <cx:pt idx="79501">0</cx:pt>
          <cx:pt idx="79502">0</cx:pt>
          <cx:pt idx="79503">1</cx:pt>
          <cx:pt idx="79504">1</cx:pt>
          <cx:pt idx="79505">0</cx:pt>
          <cx:pt idx="79506">0</cx:pt>
          <cx:pt idx="79507">0</cx:pt>
          <cx:pt idx="79508">1</cx:pt>
          <cx:pt idx="79509">0</cx:pt>
          <cx:pt idx="79510">0</cx:pt>
          <cx:pt idx="79511">1</cx:pt>
          <cx:pt idx="79512">0</cx:pt>
          <cx:pt idx="79513">0</cx:pt>
          <cx:pt idx="79514">0</cx:pt>
          <cx:pt idx="79515">1</cx:pt>
          <cx:pt idx="79516">0</cx:pt>
          <cx:pt idx="79517">1</cx:pt>
          <cx:pt idx="79518">1</cx:pt>
          <cx:pt idx="79519">1</cx:pt>
          <cx:pt idx="79520">0</cx:pt>
          <cx:pt idx="79521">1</cx:pt>
          <cx:pt idx="79522">0</cx:pt>
          <cx:pt idx="79523">1</cx:pt>
          <cx:pt idx="79524">1</cx:pt>
          <cx:pt idx="79525">0</cx:pt>
          <cx:pt idx="79526">0</cx:pt>
          <cx:pt idx="79527">0</cx:pt>
          <cx:pt idx="79528">1</cx:pt>
          <cx:pt idx="79529">1</cx:pt>
          <cx:pt idx="79530">1</cx:pt>
          <cx:pt idx="79531">1</cx:pt>
          <cx:pt idx="79532">0</cx:pt>
          <cx:pt idx="79533">0</cx:pt>
          <cx:pt idx="79534">1</cx:pt>
          <cx:pt idx="79535">1</cx:pt>
          <cx:pt idx="79536">0</cx:pt>
          <cx:pt idx="79537">1</cx:pt>
          <cx:pt idx="79538">0</cx:pt>
          <cx:pt idx="79539">1</cx:pt>
          <cx:pt idx="79540">0</cx:pt>
          <cx:pt idx="79541">1</cx:pt>
          <cx:pt idx="79542">0</cx:pt>
          <cx:pt idx="79543">1</cx:pt>
          <cx:pt idx="79544">1</cx:pt>
          <cx:pt idx="79545">1</cx:pt>
          <cx:pt idx="79546">1</cx:pt>
          <cx:pt idx="79547">0</cx:pt>
          <cx:pt idx="79548">0</cx:pt>
          <cx:pt idx="79549">0</cx:pt>
          <cx:pt idx="79550">1</cx:pt>
          <cx:pt idx="79551">0</cx:pt>
          <cx:pt idx="79552">1</cx:pt>
          <cx:pt idx="79553">1</cx:pt>
          <cx:pt idx="79554">0</cx:pt>
          <cx:pt idx="79555">1</cx:pt>
          <cx:pt idx="79556">0</cx:pt>
          <cx:pt idx="79557">1</cx:pt>
          <cx:pt idx="79558">0</cx:pt>
          <cx:pt idx="79559">1</cx:pt>
          <cx:pt idx="79560">1</cx:pt>
          <cx:pt idx="79561">1</cx:pt>
          <cx:pt idx="79562">0</cx:pt>
          <cx:pt idx="79563">1</cx:pt>
          <cx:pt idx="79564">0</cx:pt>
          <cx:pt idx="79565">1</cx:pt>
          <cx:pt idx="79566">0</cx:pt>
          <cx:pt idx="79567">0</cx:pt>
          <cx:pt idx="79568">0</cx:pt>
          <cx:pt idx="79569">0</cx:pt>
          <cx:pt idx="79570">1</cx:pt>
          <cx:pt idx="79571">0</cx:pt>
          <cx:pt idx="79572">1</cx:pt>
          <cx:pt idx="79573">0</cx:pt>
          <cx:pt idx="79574">1</cx:pt>
          <cx:pt idx="79575">0</cx:pt>
          <cx:pt idx="79576">0</cx:pt>
          <cx:pt idx="79577">0</cx:pt>
          <cx:pt idx="79578">1</cx:pt>
          <cx:pt idx="79579">1</cx:pt>
          <cx:pt idx="79580">0</cx:pt>
          <cx:pt idx="79581">1</cx:pt>
          <cx:pt idx="79582">0</cx:pt>
          <cx:pt idx="79583">0</cx:pt>
          <cx:pt idx="79584">1</cx:pt>
          <cx:pt idx="79585">1</cx:pt>
          <cx:pt idx="79586">0</cx:pt>
          <cx:pt idx="79587">1</cx:pt>
          <cx:pt idx="79588">0</cx:pt>
          <cx:pt idx="79589">0</cx:pt>
          <cx:pt idx="79590">0</cx:pt>
          <cx:pt idx="79591">0</cx:pt>
          <cx:pt idx="79592">1</cx:pt>
          <cx:pt idx="79593">1</cx:pt>
          <cx:pt idx="79594">1</cx:pt>
          <cx:pt idx="79595">0</cx:pt>
          <cx:pt idx="79596">0</cx:pt>
          <cx:pt idx="79597">0</cx:pt>
          <cx:pt idx="79598">0</cx:pt>
          <cx:pt idx="79599">0</cx:pt>
          <cx:pt idx="79600">0</cx:pt>
          <cx:pt idx="79601">0</cx:pt>
          <cx:pt idx="79602">1</cx:pt>
          <cx:pt idx="79603">0</cx:pt>
          <cx:pt idx="79604">1</cx:pt>
          <cx:pt idx="79605">1</cx:pt>
          <cx:pt idx="79606">1</cx:pt>
          <cx:pt idx="79607">0</cx:pt>
          <cx:pt idx="79608">0</cx:pt>
          <cx:pt idx="79609">0</cx:pt>
          <cx:pt idx="79610">0</cx:pt>
          <cx:pt idx="79611">1</cx:pt>
          <cx:pt idx="79612">1</cx:pt>
          <cx:pt idx="79613">0</cx:pt>
          <cx:pt idx="79614">0</cx:pt>
          <cx:pt idx="79615">1</cx:pt>
          <cx:pt idx="79616">0</cx:pt>
          <cx:pt idx="79617">0</cx:pt>
          <cx:pt idx="79618">0</cx:pt>
          <cx:pt idx="79619">0</cx:pt>
          <cx:pt idx="79620">0</cx:pt>
          <cx:pt idx="79621">1</cx:pt>
          <cx:pt idx="79622">0</cx:pt>
          <cx:pt idx="79623">0</cx:pt>
          <cx:pt idx="79624">0</cx:pt>
          <cx:pt idx="79625">0</cx:pt>
          <cx:pt idx="79626">0</cx:pt>
          <cx:pt idx="79627">1</cx:pt>
          <cx:pt idx="79628">0</cx:pt>
          <cx:pt idx="79629">1</cx:pt>
          <cx:pt idx="79630">1</cx:pt>
          <cx:pt idx="79631">0</cx:pt>
          <cx:pt idx="79632">0</cx:pt>
          <cx:pt idx="79633">1</cx:pt>
          <cx:pt idx="79634">1</cx:pt>
          <cx:pt idx="79635">0</cx:pt>
          <cx:pt idx="79636">1</cx:pt>
          <cx:pt idx="79637">1</cx:pt>
          <cx:pt idx="79638">1</cx:pt>
          <cx:pt idx="79639">0</cx:pt>
          <cx:pt idx="79640">0</cx:pt>
          <cx:pt idx="79641">1</cx:pt>
          <cx:pt idx="79642">1</cx:pt>
          <cx:pt idx="79643">1</cx:pt>
          <cx:pt idx="79644">1</cx:pt>
          <cx:pt idx="79645">0</cx:pt>
          <cx:pt idx="79646">0</cx:pt>
          <cx:pt idx="79647">0</cx:pt>
          <cx:pt idx="79648">1</cx:pt>
          <cx:pt idx="79649">0</cx:pt>
          <cx:pt idx="79650">1</cx:pt>
          <cx:pt idx="79651">0</cx:pt>
          <cx:pt idx="79652">0</cx:pt>
          <cx:pt idx="79653">1</cx:pt>
          <cx:pt idx="79654">1</cx:pt>
          <cx:pt idx="79655">0</cx:pt>
          <cx:pt idx="79656">1</cx:pt>
          <cx:pt idx="79657">1</cx:pt>
          <cx:pt idx="79658">1</cx:pt>
          <cx:pt idx="79659">0</cx:pt>
          <cx:pt idx="79660">0</cx:pt>
          <cx:pt idx="79661">1</cx:pt>
          <cx:pt idx="79662">0</cx:pt>
          <cx:pt idx="79663">1</cx:pt>
          <cx:pt idx="79664">1</cx:pt>
          <cx:pt idx="79665">0</cx:pt>
          <cx:pt idx="79666">0</cx:pt>
          <cx:pt idx="79667">0</cx:pt>
          <cx:pt idx="79668">1</cx:pt>
          <cx:pt idx="79669">1</cx:pt>
          <cx:pt idx="79670">1</cx:pt>
          <cx:pt idx="79671">1</cx:pt>
          <cx:pt idx="79672">1</cx:pt>
          <cx:pt idx="79673">0</cx:pt>
          <cx:pt idx="79674">1</cx:pt>
          <cx:pt idx="79675">0</cx:pt>
          <cx:pt idx="79676">0</cx:pt>
          <cx:pt idx="79677">0</cx:pt>
          <cx:pt idx="79678">1</cx:pt>
          <cx:pt idx="79679">0</cx:pt>
          <cx:pt idx="79680">1</cx:pt>
          <cx:pt idx="79681">0</cx:pt>
          <cx:pt idx="79682">0</cx:pt>
          <cx:pt idx="79683">0</cx:pt>
          <cx:pt idx="79684">1</cx:pt>
          <cx:pt idx="79685">1</cx:pt>
          <cx:pt idx="79686">1</cx:pt>
          <cx:pt idx="79687">1</cx:pt>
          <cx:pt idx="79688">0</cx:pt>
          <cx:pt idx="79689">1</cx:pt>
          <cx:pt idx="79690">0</cx:pt>
          <cx:pt idx="79691">1</cx:pt>
          <cx:pt idx="79692">0</cx:pt>
          <cx:pt idx="79693">1</cx:pt>
          <cx:pt idx="79694">1</cx:pt>
          <cx:pt idx="79695">1</cx:pt>
          <cx:pt idx="79696">0</cx:pt>
          <cx:pt idx="79697">0</cx:pt>
          <cx:pt idx="79698">1</cx:pt>
          <cx:pt idx="79699">1</cx:pt>
          <cx:pt idx="79700">0</cx:pt>
          <cx:pt idx="79701">1</cx:pt>
          <cx:pt idx="79702">0</cx:pt>
          <cx:pt idx="79703">0</cx:pt>
          <cx:pt idx="79704">0</cx:pt>
          <cx:pt idx="79705">1</cx:pt>
          <cx:pt idx="79706">0</cx:pt>
          <cx:pt idx="79707">1</cx:pt>
          <cx:pt idx="79708">0</cx:pt>
          <cx:pt idx="79709">0</cx:pt>
          <cx:pt idx="79710">0</cx:pt>
          <cx:pt idx="79711">1</cx:pt>
          <cx:pt idx="79712">0</cx:pt>
          <cx:pt idx="79713">0</cx:pt>
          <cx:pt idx="79714">0</cx:pt>
          <cx:pt idx="79715">0</cx:pt>
          <cx:pt idx="79716">0</cx:pt>
          <cx:pt idx="79717">1</cx:pt>
          <cx:pt idx="79718">1</cx:pt>
          <cx:pt idx="79719">0</cx:pt>
          <cx:pt idx="79720">1</cx:pt>
          <cx:pt idx="79721">1</cx:pt>
          <cx:pt idx="79722">1</cx:pt>
          <cx:pt idx="79723">0</cx:pt>
          <cx:pt idx="79724">0</cx:pt>
          <cx:pt idx="79725">1</cx:pt>
          <cx:pt idx="79726">1</cx:pt>
          <cx:pt idx="79727">1</cx:pt>
          <cx:pt idx="79728">0</cx:pt>
          <cx:pt idx="79729">1</cx:pt>
          <cx:pt idx="79730">1</cx:pt>
          <cx:pt idx="79731">0</cx:pt>
          <cx:pt idx="79732">0</cx:pt>
          <cx:pt idx="79733">0</cx:pt>
          <cx:pt idx="79734">0</cx:pt>
          <cx:pt idx="79735">1</cx:pt>
          <cx:pt idx="79736">0</cx:pt>
          <cx:pt idx="79737">0</cx:pt>
          <cx:pt idx="79738">0</cx:pt>
          <cx:pt idx="79739">0</cx:pt>
          <cx:pt idx="79740">0</cx:pt>
          <cx:pt idx="79741">1</cx:pt>
          <cx:pt idx="79742">1</cx:pt>
          <cx:pt idx="79743">0</cx:pt>
          <cx:pt idx="79744">0</cx:pt>
          <cx:pt idx="79745">1</cx:pt>
          <cx:pt idx="79746">0</cx:pt>
          <cx:pt idx="79747">0</cx:pt>
          <cx:pt idx="79748">0</cx:pt>
          <cx:pt idx="79749">0</cx:pt>
          <cx:pt idx="79750">1</cx:pt>
          <cx:pt idx="79751">1</cx:pt>
          <cx:pt idx="79752">0</cx:pt>
          <cx:pt idx="79753">0</cx:pt>
          <cx:pt idx="79754">0</cx:pt>
          <cx:pt idx="79755">1</cx:pt>
          <cx:pt idx="79756">0</cx:pt>
          <cx:pt idx="79757">0</cx:pt>
          <cx:pt idx="79758">0</cx:pt>
          <cx:pt idx="79759">0</cx:pt>
          <cx:pt idx="79760">0</cx:pt>
          <cx:pt idx="79761">1</cx:pt>
          <cx:pt idx="79762">0</cx:pt>
          <cx:pt idx="79763">0</cx:pt>
          <cx:pt idx="79764">1</cx:pt>
          <cx:pt idx="79765">1</cx:pt>
          <cx:pt idx="79766">0</cx:pt>
          <cx:pt idx="79767">0</cx:pt>
          <cx:pt idx="79768">0</cx:pt>
          <cx:pt idx="79769">1</cx:pt>
          <cx:pt idx="79770">1</cx:pt>
          <cx:pt idx="79771">0</cx:pt>
          <cx:pt idx="79772">1</cx:pt>
          <cx:pt idx="79773">0</cx:pt>
          <cx:pt idx="79774">1</cx:pt>
          <cx:pt idx="79775">1</cx:pt>
          <cx:pt idx="79776">1</cx:pt>
          <cx:pt idx="79777">0</cx:pt>
          <cx:pt idx="79778">0</cx:pt>
          <cx:pt idx="79779">0</cx:pt>
          <cx:pt idx="79780">1</cx:pt>
          <cx:pt idx="79781">0</cx:pt>
          <cx:pt idx="79782">0</cx:pt>
          <cx:pt idx="79783">1</cx:pt>
          <cx:pt idx="79784">1</cx:pt>
          <cx:pt idx="79785">0</cx:pt>
          <cx:pt idx="79786">1</cx:pt>
          <cx:pt idx="79787">1</cx:pt>
          <cx:pt idx="79788">0</cx:pt>
          <cx:pt idx="79789">0</cx:pt>
          <cx:pt idx="79790">1</cx:pt>
          <cx:pt idx="79791">1</cx:pt>
          <cx:pt idx="79792">0</cx:pt>
          <cx:pt idx="79793">1</cx:pt>
          <cx:pt idx="79794">0</cx:pt>
          <cx:pt idx="79795">0</cx:pt>
          <cx:pt idx="79796">1</cx:pt>
          <cx:pt idx="79797">0</cx:pt>
          <cx:pt idx="79798">0</cx:pt>
          <cx:pt idx="79799">0</cx:pt>
          <cx:pt idx="79800">1</cx:pt>
          <cx:pt idx="79801">0</cx:pt>
          <cx:pt idx="79802">1</cx:pt>
          <cx:pt idx="79803">1</cx:pt>
          <cx:pt idx="79804">1</cx:pt>
          <cx:pt idx="79805">1</cx:pt>
          <cx:pt idx="79806">0</cx:pt>
          <cx:pt idx="79807">0</cx:pt>
          <cx:pt idx="79808">0</cx:pt>
          <cx:pt idx="79809">1</cx:pt>
          <cx:pt idx="79810">0</cx:pt>
          <cx:pt idx="79811">1</cx:pt>
          <cx:pt idx="79812">0</cx:pt>
          <cx:pt idx="79813">0</cx:pt>
          <cx:pt idx="79814">1</cx:pt>
          <cx:pt idx="79815">0</cx:pt>
          <cx:pt idx="79816">0</cx:pt>
          <cx:pt idx="79817">1</cx:pt>
          <cx:pt idx="79818">1</cx:pt>
          <cx:pt idx="79819">0</cx:pt>
          <cx:pt idx="79820">1</cx:pt>
          <cx:pt idx="79821">0</cx:pt>
          <cx:pt idx="79822">0</cx:pt>
          <cx:pt idx="79823">0</cx:pt>
          <cx:pt idx="79824">0</cx:pt>
          <cx:pt idx="79825">1</cx:pt>
          <cx:pt idx="79826">1</cx:pt>
          <cx:pt idx="79827">0</cx:pt>
          <cx:pt idx="79828">0</cx:pt>
          <cx:pt idx="79829">1</cx:pt>
          <cx:pt idx="79830">0</cx:pt>
          <cx:pt idx="79831">0</cx:pt>
          <cx:pt idx="79832">0</cx:pt>
          <cx:pt idx="79833">0</cx:pt>
          <cx:pt idx="79834">0</cx:pt>
          <cx:pt idx="79835">1</cx:pt>
          <cx:pt idx="79836">1</cx:pt>
          <cx:pt idx="79837">1</cx:pt>
          <cx:pt idx="79838">0</cx:pt>
          <cx:pt idx="79839">0</cx:pt>
          <cx:pt idx="79840">1</cx:pt>
          <cx:pt idx="79841">0</cx:pt>
          <cx:pt idx="79842">0</cx:pt>
          <cx:pt idx="79843">1</cx:pt>
          <cx:pt idx="79844">1</cx:pt>
          <cx:pt idx="79845">1</cx:pt>
          <cx:pt idx="79846">1</cx:pt>
          <cx:pt idx="79847">0</cx:pt>
          <cx:pt idx="79848">0</cx:pt>
          <cx:pt idx="79849">1</cx:pt>
          <cx:pt idx="79850">0</cx:pt>
          <cx:pt idx="79851">1</cx:pt>
          <cx:pt idx="79852">1</cx:pt>
          <cx:pt idx="79853">1</cx:pt>
          <cx:pt idx="79854">1</cx:pt>
          <cx:pt idx="79855">1</cx:pt>
          <cx:pt idx="79856">0</cx:pt>
          <cx:pt idx="79857">0</cx:pt>
          <cx:pt idx="79858">1</cx:pt>
          <cx:pt idx="79859">1</cx:pt>
          <cx:pt idx="79860">1</cx:pt>
          <cx:pt idx="79861">0</cx:pt>
          <cx:pt idx="79862">0</cx:pt>
          <cx:pt idx="79863">0</cx:pt>
          <cx:pt idx="79864">0</cx:pt>
          <cx:pt idx="79865">0</cx:pt>
          <cx:pt idx="79866">0</cx:pt>
          <cx:pt idx="79867">0</cx:pt>
          <cx:pt idx="79868">0</cx:pt>
          <cx:pt idx="79869">0</cx:pt>
          <cx:pt idx="79870">0</cx:pt>
          <cx:pt idx="79871">1</cx:pt>
          <cx:pt idx="79872">0</cx:pt>
          <cx:pt idx="79873">1</cx:pt>
          <cx:pt idx="79874">1</cx:pt>
          <cx:pt idx="79875">0</cx:pt>
          <cx:pt idx="79876">1</cx:pt>
          <cx:pt idx="79877">1</cx:pt>
          <cx:pt idx="79878">0</cx:pt>
          <cx:pt idx="79879">1</cx:pt>
          <cx:pt idx="79880">0</cx:pt>
          <cx:pt idx="79881">1</cx:pt>
          <cx:pt idx="79882">0</cx:pt>
          <cx:pt idx="79883">0</cx:pt>
          <cx:pt idx="79884">0</cx:pt>
          <cx:pt idx="79885">1</cx:pt>
          <cx:pt idx="79886">0</cx:pt>
          <cx:pt idx="79887">0</cx:pt>
          <cx:pt idx="79888">1</cx:pt>
          <cx:pt idx="79889">0</cx:pt>
          <cx:pt idx="79890">0</cx:pt>
          <cx:pt idx="79891">0</cx:pt>
          <cx:pt idx="79892">1</cx:pt>
          <cx:pt idx="79893">0</cx:pt>
          <cx:pt idx="79894">0</cx:pt>
          <cx:pt idx="79895">0</cx:pt>
          <cx:pt idx="79896">1</cx:pt>
          <cx:pt idx="79897">0</cx:pt>
          <cx:pt idx="79898">0</cx:pt>
          <cx:pt idx="79899">0</cx:pt>
          <cx:pt idx="79900">0</cx:pt>
          <cx:pt idx="79901">0</cx:pt>
          <cx:pt idx="79902">0</cx:pt>
          <cx:pt idx="79903">1</cx:pt>
          <cx:pt idx="79904">0</cx:pt>
          <cx:pt idx="79905">1</cx:pt>
          <cx:pt idx="79906">1</cx:pt>
          <cx:pt idx="79907">0</cx:pt>
          <cx:pt idx="79908">1</cx:pt>
          <cx:pt idx="79909">0</cx:pt>
          <cx:pt idx="79910">0</cx:pt>
          <cx:pt idx="79911">1</cx:pt>
          <cx:pt idx="79912">1</cx:pt>
          <cx:pt idx="79913">0</cx:pt>
          <cx:pt idx="79914">1</cx:pt>
          <cx:pt idx="79915">0</cx:pt>
          <cx:pt idx="79916">1</cx:pt>
          <cx:pt idx="79917">1</cx:pt>
          <cx:pt idx="79918">1</cx:pt>
          <cx:pt idx="79919">0</cx:pt>
          <cx:pt idx="79920">0</cx:pt>
          <cx:pt idx="79921">1</cx:pt>
          <cx:pt idx="79922">0</cx:pt>
          <cx:pt idx="79923">0</cx:pt>
          <cx:pt idx="79924">0</cx:pt>
          <cx:pt idx="79925">0</cx:pt>
          <cx:pt idx="79926">0</cx:pt>
          <cx:pt idx="79927">1</cx:pt>
          <cx:pt idx="79928">0</cx:pt>
          <cx:pt idx="79929">0</cx:pt>
          <cx:pt idx="79930">0</cx:pt>
          <cx:pt idx="79931">1</cx:pt>
          <cx:pt idx="79932">1</cx:pt>
          <cx:pt idx="79933">1</cx:pt>
          <cx:pt idx="79934">1</cx:pt>
          <cx:pt idx="79935">0</cx:pt>
          <cx:pt idx="79936">0</cx:pt>
          <cx:pt idx="79937">0</cx:pt>
          <cx:pt idx="79938">1</cx:pt>
          <cx:pt idx="79939">0</cx:pt>
          <cx:pt idx="79940">1</cx:pt>
          <cx:pt idx="79941">1</cx:pt>
          <cx:pt idx="79942">0</cx:pt>
          <cx:pt idx="79943">1</cx:pt>
          <cx:pt idx="79944">0</cx:pt>
          <cx:pt idx="79945">0</cx:pt>
          <cx:pt idx="79946">0</cx:pt>
          <cx:pt idx="79947">0</cx:pt>
          <cx:pt idx="79948">1</cx:pt>
          <cx:pt idx="79949">1</cx:pt>
          <cx:pt idx="79950">0</cx:pt>
          <cx:pt idx="79951">0</cx:pt>
          <cx:pt idx="79952">1</cx:pt>
          <cx:pt idx="79953">0</cx:pt>
          <cx:pt idx="79954">1</cx:pt>
          <cx:pt idx="79955">0</cx:pt>
          <cx:pt idx="79956">1</cx:pt>
          <cx:pt idx="79957">0</cx:pt>
          <cx:pt idx="79958">1</cx:pt>
          <cx:pt idx="79959">0</cx:pt>
          <cx:pt idx="79960">1</cx:pt>
          <cx:pt idx="79961">0</cx:pt>
          <cx:pt idx="79962">1</cx:pt>
          <cx:pt idx="79963">0</cx:pt>
          <cx:pt idx="79964">0</cx:pt>
          <cx:pt idx="79965">1</cx:pt>
          <cx:pt idx="79966">1</cx:pt>
          <cx:pt idx="79967">0</cx:pt>
          <cx:pt idx="79968">1</cx:pt>
          <cx:pt idx="79969">1</cx:pt>
          <cx:pt idx="79970">1</cx:pt>
          <cx:pt idx="79971">0</cx:pt>
          <cx:pt idx="79972">0</cx:pt>
          <cx:pt idx="79973">0</cx:pt>
          <cx:pt idx="79974">1</cx:pt>
          <cx:pt idx="79975">0</cx:pt>
          <cx:pt idx="79976">0</cx:pt>
          <cx:pt idx="79977">0</cx:pt>
          <cx:pt idx="79978">0</cx:pt>
          <cx:pt idx="79979">0</cx:pt>
          <cx:pt idx="79980">1</cx:pt>
          <cx:pt idx="79981">0</cx:pt>
          <cx:pt idx="79982">0</cx:pt>
          <cx:pt idx="79983">0</cx:pt>
          <cx:pt idx="79984">0</cx:pt>
          <cx:pt idx="79985">0</cx:pt>
          <cx:pt idx="79986">1</cx:pt>
          <cx:pt idx="79987">0</cx:pt>
          <cx:pt idx="79988">0</cx:pt>
          <cx:pt idx="79989">1</cx:pt>
          <cx:pt idx="79990">1</cx:pt>
          <cx:pt idx="79991">1</cx:pt>
          <cx:pt idx="79992">1</cx:pt>
          <cx:pt idx="79993">0</cx:pt>
          <cx:pt idx="79994">0</cx:pt>
          <cx:pt idx="79995">0</cx:pt>
          <cx:pt idx="79996">1</cx:pt>
          <cx:pt idx="79997">0</cx:pt>
          <cx:pt idx="79998">0</cx:pt>
          <cx:pt idx="79999">1</cx:pt>
          <cx:pt idx="80000">1</cx:pt>
          <cx:pt idx="80001">0</cx:pt>
          <cx:pt idx="80002">0</cx:pt>
          <cx:pt idx="80003">1</cx:pt>
          <cx:pt idx="80004">1</cx:pt>
          <cx:pt idx="80005">1</cx:pt>
          <cx:pt idx="80006">0</cx:pt>
          <cx:pt idx="80007">0</cx:pt>
          <cx:pt idx="80008">1</cx:pt>
          <cx:pt idx="80009">1</cx:pt>
          <cx:pt idx="80010">1</cx:pt>
          <cx:pt idx="80011">0</cx:pt>
          <cx:pt idx="80012">1</cx:pt>
          <cx:pt idx="80013">0</cx:pt>
          <cx:pt idx="80014">0</cx:pt>
          <cx:pt idx="80015">1</cx:pt>
          <cx:pt idx="80016">0</cx:pt>
          <cx:pt idx="80017">1</cx:pt>
          <cx:pt idx="80018">0</cx:pt>
          <cx:pt idx="80019">0</cx:pt>
          <cx:pt idx="80020">0</cx:pt>
          <cx:pt idx="80021">1</cx:pt>
          <cx:pt idx="80022">0</cx:pt>
          <cx:pt idx="80023">0</cx:pt>
          <cx:pt idx="80024">0</cx:pt>
          <cx:pt idx="80025">0</cx:pt>
          <cx:pt idx="80026">1</cx:pt>
          <cx:pt idx="80027">1</cx:pt>
          <cx:pt idx="80028">0</cx:pt>
          <cx:pt idx="80029">1</cx:pt>
          <cx:pt idx="80030">0</cx:pt>
          <cx:pt idx="80031">1</cx:pt>
          <cx:pt idx="80032">1</cx:pt>
          <cx:pt idx="80033">0</cx:pt>
          <cx:pt idx="80034">0</cx:pt>
          <cx:pt idx="80035">0</cx:pt>
          <cx:pt idx="80036">0</cx:pt>
          <cx:pt idx="80037">1</cx:pt>
          <cx:pt idx="80038">1</cx:pt>
          <cx:pt idx="80039">1</cx:pt>
          <cx:pt idx="80040">0</cx:pt>
          <cx:pt idx="80041">0</cx:pt>
          <cx:pt idx="80042">0</cx:pt>
          <cx:pt idx="80043">1</cx:pt>
          <cx:pt idx="80044">1</cx:pt>
          <cx:pt idx="80045">0</cx:pt>
          <cx:pt idx="80046">0</cx:pt>
          <cx:pt idx="80047">1</cx:pt>
          <cx:pt idx="80048">0</cx:pt>
          <cx:pt idx="80049">1</cx:pt>
          <cx:pt idx="80050">0</cx:pt>
          <cx:pt idx="80051">0</cx:pt>
          <cx:pt idx="80052">1</cx:pt>
          <cx:pt idx="80053">0</cx:pt>
          <cx:pt idx="80054">0</cx:pt>
          <cx:pt idx="80055">0</cx:pt>
          <cx:pt idx="80056">1</cx:pt>
          <cx:pt idx="80057">1</cx:pt>
          <cx:pt idx="80058">1</cx:pt>
          <cx:pt idx="80059">0</cx:pt>
          <cx:pt idx="80060">0</cx:pt>
          <cx:pt idx="80061">0</cx:pt>
          <cx:pt idx="80062">0</cx:pt>
          <cx:pt idx="80063">0</cx:pt>
          <cx:pt idx="80064">1</cx:pt>
          <cx:pt idx="80065">1</cx:pt>
          <cx:pt idx="80066">0</cx:pt>
          <cx:pt idx="80067">1</cx:pt>
          <cx:pt idx="80068">1</cx:pt>
          <cx:pt idx="80069">1</cx:pt>
          <cx:pt idx="80070">0</cx:pt>
          <cx:pt idx="80071">0</cx:pt>
          <cx:pt idx="80072">0</cx:pt>
          <cx:pt idx="80073">0</cx:pt>
          <cx:pt idx="80074">0</cx:pt>
          <cx:pt idx="80075">0</cx:pt>
          <cx:pt idx="80076">1</cx:pt>
          <cx:pt idx="80077">1</cx:pt>
          <cx:pt idx="80078">1</cx:pt>
          <cx:pt idx="80079">1</cx:pt>
          <cx:pt idx="80080">0</cx:pt>
          <cx:pt idx="80081">0</cx:pt>
          <cx:pt idx="80082">0</cx:pt>
          <cx:pt idx="80083">0</cx:pt>
          <cx:pt idx="80084">0</cx:pt>
          <cx:pt idx="80085">0</cx:pt>
          <cx:pt idx="80086">0</cx:pt>
          <cx:pt idx="80087">0</cx:pt>
          <cx:pt idx="80088">0</cx:pt>
          <cx:pt idx="80089">0</cx:pt>
          <cx:pt idx="80090">0</cx:pt>
          <cx:pt idx="80091">0</cx:pt>
          <cx:pt idx="80092">0</cx:pt>
          <cx:pt idx="80093">1</cx:pt>
          <cx:pt idx="80094">0</cx:pt>
          <cx:pt idx="80095">0</cx:pt>
          <cx:pt idx="80096">1</cx:pt>
          <cx:pt idx="80097">1</cx:pt>
          <cx:pt idx="80098">0</cx:pt>
          <cx:pt idx="80099">1</cx:pt>
          <cx:pt idx="80100">0</cx:pt>
          <cx:pt idx="80101">1</cx:pt>
          <cx:pt idx="80102">0</cx:pt>
          <cx:pt idx="80103">1</cx:pt>
          <cx:pt idx="80104">0</cx:pt>
          <cx:pt idx="80105">1</cx:pt>
          <cx:pt idx="80106">1</cx:pt>
          <cx:pt idx="80107">1</cx:pt>
          <cx:pt idx="80108">1</cx:pt>
          <cx:pt idx="80109">1</cx:pt>
          <cx:pt idx="80110">0</cx:pt>
          <cx:pt idx="80111">0</cx:pt>
          <cx:pt idx="80112">0</cx:pt>
          <cx:pt idx="80113">0</cx:pt>
          <cx:pt idx="80114">1</cx:pt>
          <cx:pt idx="80115">1</cx:pt>
          <cx:pt idx="80116">1</cx:pt>
          <cx:pt idx="80117">1</cx:pt>
          <cx:pt idx="80118">1</cx:pt>
          <cx:pt idx="80119">0</cx:pt>
          <cx:pt idx="80120">1</cx:pt>
          <cx:pt idx="80121">0</cx:pt>
          <cx:pt idx="80122">1</cx:pt>
          <cx:pt idx="80123">1</cx:pt>
          <cx:pt idx="80124">1</cx:pt>
          <cx:pt idx="80125">0</cx:pt>
          <cx:pt idx="80126">1</cx:pt>
          <cx:pt idx="80127">0</cx:pt>
          <cx:pt idx="80128">0</cx:pt>
          <cx:pt idx="80129">1</cx:pt>
          <cx:pt idx="80130">0</cx:pt>
          <cx:pt idx="80131">1</cx:pt>
          <cx:pt idx="80132">0</cx:pt>
          <cx:pt idx="80133">0</cx:pt>
          <cx:pt idx="80134">1</cx:pt>
          <cx:pt idx="80135">0</cx:pt>
          <cx:pt idx="80136">0</cx:pt>
          <cx:pt idx="80137">1</cx:pt>
          <cx:pt idx="80138">1</cx:pt>
          <cx:pt idx="80139">0</cx:pt>
          <cx:pt idx="80140">0</cx:pt>
          <cx:pt idx="80141">1</cx:pt>
          <cx:pt idx="80142">1</cx:pt>
          <cx:pt idx="80143">0</cx:pt>
          <cx:pt idx="80144">0</cx:pt>
          <cx:pt idx="80145">1</cx:pt>
          <cx:pt idx="80146">0</cx:pt>
          <cx:pt idx="80147">0</cx:pt>
          <cx:pt idx="80148">1</cx:pt>
          <cx:pt idx="80149">1</cx:pt>
          <cx:pt idx="80150">1</cx:pt>
          <cx:pt idx="80151">1</cx:pt>
          <cx:pt idx="80152">0</cx:pt>
          <cx:pt idx="80153">0</cx:pt>
          <cx:pt idx="80154">0</cx:pt>
          <cx:pt idx="80155">0</cx:pt>
          <cx:pt idx="80156">1</cx:pt>
          <cx:pt idx="80157">1</cx:pt>
          <cx:pt idx="80158">0</cx:pt>
          <cx:pt idx="80159">0</cx:pt>
          <cx:pt idx="80160">1</cx:pt>
          <cx:pt idx="80161">1</cx:pt>
          <cx:pt idx="80162">0</cx:pt>
          <cx:pt idx="80163">1</cx:pt>
          <cx:pt idx="80164">1</cx:pt>
          <cx:pt idx="80165">1</cx:pt>
          <cx:pt idx="80166">1</cx:pt>
          <cx:pt idx="80167">1</cx:pt>
          <cx:pt idx="80168">0</cx:pt>
          <cx:pt idx="80169">1</cx:pt>
          <cx:pt idx="80170">1</cx:pt>
          <cx:pt idx="80171">0</cx:pt>
          <cx:pt idx="80172">1</cx:pt>
          <cx:pt idx="80173">0</cx:pt>
          <cx:pt idx="80174">0</cx:pt>
          <cx:pt idx="80175">0</cx:pt>
          <cx:pt idx="80176">1</cx:pt>
          <cx:pt idx="80177">0</cx:pt>
          <cx:pt idx="80178">0</cx:pt>
          <cx:pt idx="80179">1</cx:pt>
          <cx:pt idx="80180">0</cx:pt>
          <cx:pt idx="80181">1</cx:pt>
          <cx:pt idx="80182">1</cx:pt>
          <cx:pt idx="80183">0</cx:pt>
          <cx:pt idx="80184">0</cx:pt>
          <cx:pt idx="80185">1</cx:pt>
          <cx:pt idx="80186">0</cx:pt>
          <cx:pt idx="80187">0</cx:pt>
          <cx:pt idx="80188">1</cx:pt>
          <cx:pt idx="80189">1</cx:pt>
          <cx:pt idx="80190">0</cx:pt>
          <cx:pt idx="80191">1</cx:pt>
          <cx:pt idx="80192">0</cx:pt>
          <cx:pt idx="80193">0</cx:pt>
          <cx:pt idx="80194">1</cx:pt>
          <cx:pt idx="80195">1</cx:pt>
          <cx:pt idx="80196">0</cx:pt>
          <cx:pt idx="80197">0</cx:pt>
          <cx:pt idx="80198">0</cx:pt>
          <cx:pt idx="80199">0</cx:pt>
          <cx:pt idx="80200">1</cx:pt>
          <cx:pt idx="80201">1</cx:pt>
          <cx:pt idx="80202">0</cx:pt>
          <cx:pt idx="80203">1</cx:pt>
          <cx:pt idx="80204">0</cx:pt>
          <cx:pt idx="80205">1</cx:pt>
          <cx:pt idx="80206">0</cx:pt>
          <cx:pt idx="80207">1</cx:pt>
          <cx:pt idx="80208">0</cx:pt>
          <cx:pt idx="80209">0</cx:pt>
          <cx:pt idx="80210">0</cx:pt>
          <cx:pt idx="80211">0</cx:pt>
          <cx:pt idx="80212">0</cx:pt>
          <cx:pt idx="80213">1</cx:pt>
          <cx:pt idx="80214">1</cx:pt>
          <cx:pt idx="80215">1</cx:pt>
          <cx:pt idx="80216">0</cx:pt>
          <cx:pt idx="80217">1</cx:pt>
          <cx:pt idx="80218">1</cx:pt>
          <cx:pt idx="80219">1</cx:pt>
          <cx:pt idx="80220">0</cx:pt>
          <cx:pt idx="80221">1</cx:pt>
          <cx:pt idx="80222">0</cx:pt>
          <cx:pt idx="80223">1</cx:pt>
          <cx:pt idx="80224">0</cx:pt>
          <cx:pt idx="80225">1</cx:pt>
          <cx:pt idx="80226">0</cx:pt>
          <cx:pt idx="80227">0</cx:pt>
          <cx:pt idx="80228">0</cx:pt>
          <cx:pt idx="80229">0</cx:pt>
          <cx:pt idx="80230">0</cx:pt>
          <cx:pt idx="80231">0</cx:pt>
          <cx:pt idx="80232">1</cx:pt>
          <cx:pt idx="80233">1</cx:pt>
          <cx:pt idx="80234">0</cx:pt>
          <cx:pt idx="80235">0</cx:pt>
          <cx:pt idx="80236">1</cx:pt>
          <cx:pt idx="80237">0</cx:pt>
          <cx:pt idx="80238">0</cx:pt>
          <cx:pt idx="80239">0</cx:pt>
          <cx:pt idx="80240">0</cx:pt>
          <cx:pt idx="80241">0</cx:pt>
          <cx:pt idx="80242">1</cx:pt>
          <cx:pt idx="80243">0</cx:pt>
          <cx:pt idx="80244">1</cx:pt>
          <cx:pt idx="80245">0</cx:pt>
          <cx:pt idx="80246">1</cx:pt>
          <cx:pt idx="80247">1</cx:pt>
          <cx:pt idx="80248">0</cx:pt>
          <cx:pt idx="80249">0</cx:pt>
          <cx:pt idx="80250">1</cx:pt>
          <cx:pt idx="80251">1</cx:pt>
          <cx:pt idx="80252">0</cx:pt>
          <cx:pt idx="80253">0</cx:pt>
          <cx:pt idx="80254">0</cx:pt>
          <cx:pt idx="80255">1</cx:pt>
          <cx:pt idx="80256">0</cx:pt>
          <cx:pt idx="80257">0</cx:pt>
          <cx:pt idx="80258">0</cx:pt>
          <cx:pt idx="80259">1</cx:pt>
          <cx:pt idx="80260">1</cx:pt>
          <cx:pt idx="80261">1</cx:pt>
          <cx:pt idx="80262">1</cx:pt>
          <cx:pt idx="80263">0</cx:pt>
          <cx:pt idx="80264">0</cx:pt>
          <cx:pt idx="80265">0</cx:pt>
          <cx:pt idx="80266">1</cx:pt>
          <cx:pt idx="80267">1</cx:pt>
          <cx:pt idx="80268">0</cx:pt>
          <cx:pt idx="80269">0</cx:pt>
          <cx:pt idx="80270">1</cx:pt>
          <cx:pt idx="80271">1</cx:pt>
          <cx:pt idx="80272">1</cx:pt>
          <cx:pt idx="80273">1</cx:pt>
          <cx:pt idx="80274">0</cx:pt>
          <cx:pt idx="80275">1</cx:pt>
          <cx:pt idx="80276">0</cx:pt>
          <cx:pt idx="80277">0</cx:pt>
          <cx:pt idx="80278">0</cx:pt>
          <cx:pt idx="80279">1</cx:pt>
          <cx:pt idx="80280">1</cx:pt>
          <cx:pt idx="80281">0</cx:pt>
          <cx:pt idx="80282">0</cx:pt>
          <cx:pt idx="80283">1</cx:pt>
          <cx:pt idx="80284">0</cx:pt>
          <cx:pt idx="80285">0</cx:pt>
          <cx:pt idx="80286">1</cx:pt>
          <cx:pt idx="80287">0</cx:pt>
          <cx:pt idx="80288">0</cx:pt>
          <cx:pt idx="80289">0</cx:pt>
          <cx:pt idx="80290">0</cx:pt>
          <cx:pt idx="80291">0</cx:pt>
          <cx:pt idx="80292">0</cx:pt>
          <cx:pt idx="80293">0</cx:pt>
          <cx:pt idx="80294">0</cx:pt>
          <cx:pt idx="80295">0</cx:pt>
          <cx:pt idx="80296">1</cx:pt>
          <cx:pt idx="80297">1</cx:pt>
          <cx:pt idx="80298">0</cx:pt>
          <cx:pt idx="80299">0</cx:pt>
          <cx:pt idx="80300">0</cx:pt>
          <cx:pt idx="80301">1</cx:pt>
          <cx:pt idx="80302">0</cx:pt>
          <cx:pt idx="80303">0</cx:pt>
          <cx:pt idx="80304">1</cx:pt>
          <cx:pt idx="80305">0</cx:pt>
          <cx:pt idx="80306">0</cx:pt>
          <cx:pt idx="80307">1</cx:pt>
          <cx:pt idx="80308">0</cx:pt>
          <cx:pt idx="80309">1</cx:pt>
          <cx:pt idx="80310">0</cx:pt>
          <cx:pt idx="80311">0</cx:pt>
          <cx:pt idx="80312">0</cx:pt>
          <cx:pt idx="80313">0</cx:pt>
          <cx:pt idx="80314">0</cx:pt>
          <cx:pt idx="80315">1</cx:pt>
          <cx:pt idx="80316">0</cx:pt>
          <cx:pt idx="80317">1</cx:pt>
          <cx:pt idx="80318">0</cx:pt>
          <cx:pt idx="80319">0</cx:pt>
          <cx:pt idx="80320">0</cx:pt>
          <cx:pt idx="80321">1</cx:pt>
          <cx:pt idx="80322">0</cx:pt>
          <cx:pt idx="80323">0</cx:pt>
          <cx:pt idx="80324">1</cx:pt>
          <cx:pt idx="80325">0</cx:pt>
          <cx:pt idx="80326">1</cx:pt>
          <cx:pt idx="80327">0</cx:pt>
          <cx:pt idx="80328">1</cx:pt>
          <cx:pt idx="80329">1</cx:pt>
          <cx:pt idx="80330">1</cx:pt>
          <cx:pt idx="80331">0</cx:pt>
          <cx:pt idx="80332">0</cx:pt>
          <cx:pt idx="80333">1</cx:pt>
          <cx:pt idx="80334">1</cx:pt>
          <cx:pt idx="80335">1</cx:pt>
          <cx:pt idx="80336">1</cx:pt>
          <cx:pt idx="80337">1</cx:pt>
          <cx:pt idx="80338">1</cx:pt>
          <cx:pt idx="80339">0</cx:pt>
          <cx:pt idx="80340">0</cx:pt>
          <cx:pt idx="80341">1</cx:pt>
          <cx:pt idx="80342">0</cx:pt>
          <cx:pt idx="80343">0</cx:pt>
          <cx:pt idx="80344">0</cx:pt>
          <cx:pt idx="80345">0</cx:pt>
          <cx:pt idx="80346">1</cx:pt>
          <cx:pt idx="80347">1</cx:pt>
          <cx:pt idx="80348">0</cx:pt>
          <cx:pt idx="80349">1</cx:pt>
          <cx:pt idx="80350">0</cx:pt>
          <cx:pt idx="80351">0</cx:pt>
          <cx:pt idx="80352">1</cx:pt>
          <cx:pt idx="80353">1</cx:pt>
          <cx:pt idx="80354">1</cx:pt>
          <cx:pt idx="80355">0</cx:pt>
          <cx:pt idx="80356">0</cx:pt>
          <cx:pt idx="80357">0</cx:pt>
          <cx:pt idx="80358">0</cx:pt>
          <cx:pt idx="80359">0</cx:pt>
          <cx:pt idx="80360">0</cx:pt>
          <cx:pt idx="80361">1</cx:pt>
          <cx:pt idx="80362">1</cx:pt>
          <cx:pt idx="80363">0</cx:pt>
          <cx:pt idx="80364">1</cx:pt>
          <cx:pt idx="80365">1</cx:pt>
          <cx:pt idx="80366">0</cx:pt>
          <cx:pt idx="80367">1</cx:pt>
          <cx:pt idx="80368">0</cx:pt>
          <cx:pt idx="80369">0</cx:pt>
          <cx:pt idx="80370">0</cx:pt>
          <cx:pt idx="80371">0</cx:pt>
          <cx:pt idx="80372">0</cx:pt>
          <cx:pt idx="80373">0</cx:pt>
          <cx:pt idx="80374">0</cx:pt>
          <cx:pt idx="80375">1</cx:pt>
          <cx:pt idx="80376">0</cx:pt>
          <cx:pt idx="80377">0</cx:pt>
          <cx:pt idx="80378">1</cx:pt>
          <cx:pt idx="80379">0</cx:pt>
          <cx:pt idx="80380">1</cx:pt>
          <cx:pt idx="80381">0</cx:pt>
          <cx:pt idx="80382">0</cx:pt>
          <cx:pt idx="80383">1</cx:pt>
          <cx:pt idx="80384">0</cx:pt>
          <cx:pt idx="80385">1</cx:pt>
          <cx:pt idx="80386">0</cx:pt>
          <cx:pt idx="80387">0</cx:pt>
          <cx:pt idx="80388">0</cx:pt>
          <cx:pt idx="80389">0</cx:pt>
          <cx:pt idx="80390">0</cx:pt>
          <cx:pt idx="80391">1</cx:pt>
          <cx:pt idx="80392">0</cx:pt>
          <cx:pt idx="80393">0</cx:pt>
          <cx:pt idx="80394">0</cx:pt>
          <cx:pt idx="80395">1</cx:pt>
          <cx:pt idx="80396">1</cx:pt>
          <cx:pt idx="80397">0</cx:pt>
          <cx:pt idx="80398">0</cx:pt>
          <cx:pt idx="80399">1</cx:pt>
          <cx:pt idx="80400">1</cx:pt>
          <cx:pt idx="80401">1</cx:pt>
          <cx:pt idx="80402">0</cx:pt>
          <cx:pt idx="80403">0</cx:pt>
          <cx:pt idx="80404">0</cx:pt>
          <cx:pt idx="80405">0</cx:pt>
          <cx:pt idx="80406">1</cx:pt>
          <cx:pt idx="80407">0</cx:pt>
          <cx:pt idx="80408">0</cx:pt>
          <cx:pt idx="80409">1</cx:pt>
          <cx:pt idx="80410">1</cx:pt>
          <cx:pt idx="80411">1</cx:pt>
          <cx:pt idx="80412">0</cx:pt>
          <cx:pt idx="80413">1</cx:pt>
          <cx:pt idx="80414">0</cx:pt>
          <cx:pt idx="80415">0</cx:pt>
          <cx:pt idx="80416">1</cx:pt>
          <cx:pt idx="80417">0</cx:pt>
          <cx:pt idx="80418">0</cx:pt>
          <cx:pt idx="80419">1</cx:pt>
          <cx:pt idx="80420">1</cx:pt>
          <cx:pt idx="80421">0</cx:pt>
          <cx:pt idx="80422">1</cx:pt>
          <cx:pt idx="80423">1</cx:pt>
          <cx:pt idx="80424">1</cx:pt>
          <cx:pt idx="80425">1</cx:pt>
          <cx:pt idx="80426">1</cx:pt>
          <cx:pt idx="80427">1</cx:pt>
          <cx:pt idx="80428">1</cx:pt>
          <cx:pt idx="80429">1</cx:pt>
          <cx:pt idx="80430">0</cx:pt>
          <cx:pt idx="80431">0</cx:pt>
          <cx:pt idx="80432">0</cx:pt>
          <cx:pt idx="80433">1</cx:pt>
          <cx:pt idx="80434">0</cx:pt>
          <cx:pt idx="80435">1</cx:pt>
          <cx:pt idx="80436">1</cx:pt>
          <cx:pt idx="80437">1</cx:pt>
          <cx:pt idx="80438">0</cx:pt>
          <cx:pt idx="80439">1</cx:pt>
          <cx:pt idx="80440">0</cx:pt>
          <cx:pt idx="80441">0</cx:pt>
          <cx:pt idx="80442">0</cx:pt>
          <cx:pt idx="80443">1</cx:pt>
          <cx:pt idx="80444">0</cx:pt>
          <cx:pt idx="80445">0</cx:pt>
          <cx:pt idx="80446">0</cx:pt>
          <cx:pt idx="80447">0</cx:pt>
          <cx:pt idx="80448">1</cx:pt>
          <cx:pt idx="80449">0</cx:pt>
          <cx:pt idx="80450">1</cx:pt>
          <cx:pt idx="80451">1</cx:pt>
          <cx:pt idx="80452">0</cx:pt>
          <cx:pt idx="80453">0</cx:pt>
          <cx:pt idx="80454">0</cx:pt>
          <cx:pt idx="80455">0</cx:pt>
          <cx:pt idx="80456">1</cx:pt>
          <cx:pt idx="80457">0</cx:pt>
          <cx:pt idx="80458">1</cx:pt>
          <cx:pt idx="80459">1</cx:pt>
          <cx:pt idx="80460">0</cx:pt>
          <cx:pt idx="80461">1</cx:pt>
          <cx:pt idx="80462">0</cx:pt>
          <cx:pt idx="80463">0</cx:pt>
          <cx:pt idx="80464">0</cx:pt>
          <cx:pt idx="80465">1</cx:pt>
          <cx:pt idx="80466">1</cx:pt>
          <cx:pt idx="80467">0</cx:pt>
          <cx:pt idx="80468">1</cx:pt>
          <cx:pt idx="80469">1</cx:pt>
          <cx:pt idx="80470">0</cx:pt>
          <cx:pt idx="80471">0</cx:pt>
          <cx:pt idx="80472">1</cx:pt>
          <cx:pt idx="80473">0</cx:pt>
          <cx:pt idx="80474">1</cx:pt>
          <cx:pt idx="80475">0</cx:pt>
          <cx:pt idx="80476">1</cx:pt>
          <cx:pt idx="80477">1</cx:pt>
          <cx:pt idx="80478">0</cx:pt>
          <cx:pt idx="80479">1</cx:pt>
          <cx:pt idx="80480">0</cx:pt>
          <cx:pt idx="80481">1</cx:pt>
          <cx:pt idx="80482">0</cx:pt>
          <cx:pt idx="80483">1</cx:pt>
          <cx:pt idx="80484">1</cx:pt>
          <cx:pt idx="80485">0</cx:pt>
          <cx:pt idx="80486">0</cx:pt>
          <cx:pt idx="80487">0</cx:pt>
          <cx:pt idx="80488">1</cx:pt>
          <cx:pt idx="80489">1</cx:pt>
          <cx:pt idx="80490">1</cx:pt>
          <cx:pt idx="80491">0</cx:pt>
          <cx:pt idx="80492">0</cx:pt>
          <cx:pt idx="80493">0</cx:pt>
          <cx:pt idx="80494">1</cx:pt>
          <cx:pt idx="80495">0</cx:pt>
          <cx:pt idx="80496">1</cx:pt>
          <cx:pt idx="80497">0</cx:pt>
          <cx:pt idx="80498">0</cx:pt>
          <cx:pt idx="80499">1</cx:pt>
          <cx:pt idx="80500">0</cx:pt>
          <cx:pt idx="80501">0</cx:pt>
          <cx:pt idx="80502">1</cx:pt>
          <cx:pt idx="80503">1</cx:pt>
          <cx:pt idx="80504">0</cx:pt>
          <cx:pt idx="80505">0</cx:pt>
          <cx:pt idx="80506">1</cx:pt>
          <cx:pt idx="80507">0</cx:pt>
          <cx:pt idx="80508">0</cx:pt>
          <cx:pt idx="80509">1</cx:pt>
          <cx:pt idx="80510">0</cx:pt>
          <cx:pt idx="80511">0</cx:pt>
          <cx:pt idx="80512">1</cx:pt>
          <cx:pt idx="80513">0</cx:pt>
          <cx:pt idx="80514">1</cx:pt>
          <cx:pt idx="80515">0</cx:pt>
          <cx:pt idx="80516">0</cx:pt>
          <cx:pt idx="80517">0</cx:pt>
          <cx:pt idx="80518">1</cx:pt>
          <cx:pt idx="80519">0</cx:pt>
          <cx:pt idx="80520">1</cx:pt>
          <cx:pt idx="80521">1</cx:pt>
          <cx:pt idx="80522">0</cx:pt>
          <cx:pt idx="80523">1</cx:pt>
          <cx:pt idx="80524">1</cx:pt>
          <cx:pt idx="80525">0</cx:pt>
          <cx:pt idx="80526">1</cx:pt>
          <cx:pt idx="80527">1</cx:pt>
          <cx:pt idx="80528">0</cx:pt>
          <cx:pt idx="80529">1</cx:pt>
          <cx:pt idx="80530">0</cx:pt>
          <cx:pt idx="80531">0</cx:pt>
          <cx:pt idx="80532">0</cx:pt>
          <cx:pt idx="80533">0</cx:pt>
          <cx:pt idx="80534">0</cx:pt>
          <cx:pt idx="80535">0</cx:pt>
          <cx:pt idx="80536">0</cx:pt>
          <cx:pt idx="80537">1</cx:pt>
          <cx:pt idx="80538">0</cx:pt>
          <cx:pt idx="80539">0</cx:pt>
          <cx:pt idx="80540">1</cx:pt>
          <cx:pt idx="80541">0</cx:pt>
          <cx:pt idx="80542">0</cx:pt>
          <cx:pt idx="80543">0</cx:pt>
          <cx:pt idx="80544">0</cx:pt>
          <cx:pt idx="80545">0</cx:pt>
          <cx:pt idx="80546">0</cx:pt>
          <cx:pt idx="80547">0</cx:pt>
          <cx:pt idx="80548">1</cx:pt>
          <cx:pt idx="80549">0</cx:pt>
          <cx:pt idx="80550">1</cx:pt>
          <cx:pt idx="80551">0</cx:pt>
          <cx:pt idx="80552">1</cx:pt>
          <cx:pt idx="80553">0</cx:pt>
          <cx:pt idx="80554">0</cx:pt>
          <cx:pt idx="80555">0</cx:pt>
          <cx:pt idx="80556">0</cx:pt>
          <cx:pt idx="80557">1</cx:pt>
          <cx:pt idx="80558">0</cx:pt>
          <cx:pt idx="80559">1</cx:pt>
          <cx:pt idx="80560">0</cx:pt>
          <cx:pt idx="80561">0</cx:pt>
          <cx:pt idx="80562">1</cx:pt>
          <cx:pt idx="80563">0</cx:pt>
          <cx:pt idx="80564">1</cx:pt>
          <cx:pt idx="80565">0</cx:pt>
          <cx:pt idx="80566">0</cx:pt>
          <cx:pt idx="80567">1</cx:pt>
          <cx:pt idx="80568">0</cx:pt>
          <cx:pt idx="80569">0</cx:pt>
          <cx:pt idx="80570">1</cx:pt>
          <cx:pt idx="80571">0</cx:pt>
          <cx:pt idx="80572">0</cx:pt>
          <cx:pt idx="80573">0</cx:pt>
          <cx:pt idx="80574">0</cx:pt>
          <cx:pt idx="80575">0</cx:pt>
          <cx:pt idx="80576">1</cx:pt>
          <cx:pt idx="80577">0</cx:pt>
          <cx:pt idx="80578">0</cx:pt>
          <cx:pt idx="80579">1</cx:pt>
          <cx:pt idx="80580">1</cx:pt>
          <cx:pt idx="80581">1</cx:pt>
          <cx:pt idx="80582">1</cx:pt>
          <cx:pt idx="80583">0</cx:pt>
          <cx:pt idx="80584">1</cx:pt>
          <cx:pt idx="80585">1</cx:pt>
          <cx:pt idx="80586">1</cx:pt>
          <cx:pt idx="80587">1</cx:pt>
          <cx:pt idx="80588">0</cx:pt>
          <cx:pt idx="80589">0</cx:pt>
          <cx:pt idx="80590">1</cx:pt>
          <cx:pt idx="80591">1</cx:pt>
          <cx:pt idx="80592">1</cx:pt>
          <cx:pt idx="80593">0</cx:pt>
          <cx:pt idx="80594">0</cx:pt>
          <cx:pt idx="80595">1</cx:pt>
          <cx:pt idx="80596">1</cx:pt>
          <cx:pt idx="80597">1</cx:pt>
          <cx:pt idx="80598">0</cx:pt>
          <cx:pt idx="80599">0</cx:pt>
          <cx:pt idx="80600">0</cx:pt>
          <cx:pt idx="80601">0</cx:pt>
          <cx:pt idx="80602">0</cx:pt>
          <cx:pt idx="80603">1</cx:pt>
          <cx:pt idx="80604">1</cx:pt>
          <cx:pt idx="80605">0</cx:pt>
          <cx:pt idx="80606">1</cx:pt>
          <cx:pt idx="80607">0</cx:pt>
          <cx:pt idx="80608">0</cx:pt>
          <cx:pt idx="80609">0</cx:pt>
          <cx:pt idx="80610">1</cx:pt>
          <cx:pt idx="80611">0</cx:pt>
          <cx:pt idx="80612">0</cx:pt>
          <cx:pt idx="80613">0</cx:pt>
          <cx:pt idx="80614">1</cx:pt>
          <cx:pt idx="80615">1</cx:pt>
          <cx:pt idx="80616">1</cx:pt>
          <cx:pt idx="80617">0</cx:pt>
          <cx:pt idx="80618">0</cx:pt>
          <cx:pt idx="80619">1</cx:pt>
          <cx:pt idx="80620">1</cx:pt>
          <cx:pt idx="80621">1</cx:pt>
          <cx:pt idx="80622">0</cx:pt>
          <cx:pt idx="80623">0</cx:pt>
          <cx:pt idx="80624">1</cx:pt>
          <cx:pt idx="80625">1</cx:pt>
          <cx:pt idx="80626">1</cx:pt>
          <cx:pt idx="80627">1</cx:pt>
          <cx:pt idx="80628">0</cx:pt>
          <cx:pt idx="80629">0</cx:pt>
          <cx:pt idx="80630">0</cx:pt>
          <cx:pt idx="80631">0</cx:pt>
          <cx:pt idx="80632">1</cx:pt>
          <cx:pt idx="80633">1</cx:pt>
          <cx:pt idx="80634">1</cx:pt>
          <cx:pt idx="80635">0</cx:pt>
          <cx:pt idx="80636">1</cx:pt>
          <cx:pt idx="80637">1</cx:pt>
          <cx:pt idx="80638">0</cx:pt>
          <cx:pt idx="80639">0</cx:pt>
          <cx:pt idx="80640">0</cx:pt>
          <cx:pt idx="80641">0</cx:pt>
          <cx:pt idx="80642">0</cx:pt>
          <cx:pt idx="80643">0</cx:pt>
          <cx:pt idx="80644">0</cx:pt>
          <cx:pt idx="80645">1</cx:pt>
          <cx:pt idx="80646">1</cx:pt>
          <cx:pt idx="80647">0</cx:pt>
          <cx:pt idx="80648">1</cx:pt>
          <cx:pt idx="80649">0</cx:pt>
          <cx:pt idx="80650">0</cx:pt>
          <cx:pt idx="80651">0</cx:pt>
          <cx:pt idx="80652">0</cx:pt>
          <cx:pt idx="80653">0</cx:pt>
          <cx:pt idx="80654">1</cx:pt>
          <cx:pt idx="80655">0</cx:pt>
          <cx:pt idx="80656">1</cx:pt>
          <cx:pt idx="80657">1</cx:pt>
          <cx:pt idx="80658">1</cx:pt>
          <cx:pt idx="80659">0</cx:pt>
          <cx:pt idx="80660">1</cx:pt>
          <cx:pt idx="80661">0</cx:pt>
          <cx:pt idx="80662">0</cx:pt>
          <cx:pt idx="80663">0</cx:pt>
          <cx:pt idx="80664">0</cx:pt>
          <cx:pt idx="80665">0</cx:pt>
          <cx:pt idx="80666">0</cx:pt>
          <cx:pt idx="80667">1</cx:pt>
          <cx:pt idx="80668">0</cx:pt>
          <cx:pt idx="80669">0</cx:pt>
          <cx:pt idx="80670">0</cx:pt>
          <cx:pt idx="80671">1</cx:pt>
          <cx:pt idx="80672">0</cx:pt>
          <cx:pt idx="80673">0</cx:pt>
          <cx:pt idx="80674">0</cx:pt>
          <cx:pt idx="80675">0</cx:pt>
          <cx:pt idx="80676">1</cx:pt>
          <cx:pt idx="80677">0</cx:pt>
          <cx:pt idx="80678">1</cx:pt>
          <cx:pt idx="80679">0</cx:pt>
          <cx:pt idx="80680">0</cx:pt>
          <cx:pt idx="80681">0</cx:pt>
          <cx:pt idx="80682">0</cx:pt>
          <cx:pt idx="80683">0</cx:pt>
          <cx:pt idx="80684">1</cx:pt>
          <cx:pt idx="80685">1</cx:pt>
          <cx:pt idx="80686">0</cx:pt>
          <cx:pt idx="80687">1</cx:pt>
          <cx:pt idx="80688">1</cx:pt>
          <cx:pt idx="80689">1</cx:pt>
          <cx:pt idx="80690">1</cx:pt>
          <cx:pt idx="80691">0</cx:pt>
          <cx:pt idx="80692">0</cx:pt>
          <cx:pt idx="80693">0</cx:pt>
          <cx:pt idx="80694">1</cx:pt>
          <cx:pt idx="80695">1</cx:pt>
          <cx:pt idx="80696">1</cx:pt>
          <cx:pt idx="80697">0</cx:pt>
          <cx:pt idx="80698">0</cx:pt>
          <cx:pt idx="80699">0</cx:pt>
          <cx:pt idx="80700">0</cx:pt>
          <cx:pt idx="80701">0</cx:pt>
          <cx:pt idx="80702">0</cx:pt>
          <cx:pt idx="80703">0</cx:pt>
          <cx:pt idx="80704">0</cx:pt>
          <cx:pt idx="80705">0</cx:pt>
          <cx:pt idx="80706">1</cx:pt>
          <cx:pt idx="80707">0</cx:pt>
          <cx:pt idx="80708">0</cx:pt>
          <cx:pt idx="80709">0</cx:pt>
          <cx:pt idx="80710">0</cx:pt>
          <cx:pt idx="80711">1</cx:pt>
          <cx:pt idx="80712">1</cx:pt>
          <cx:pt idx="80713">1</cx:pt>
          <cx:pt idx="80714">1</cx:pt>
          <cx:pt idx="80715">0</cx:pt>
          <cx:pt idx="80716">0</cx:pt>
          <cx:pt idx="80717">0</cx:pt>
          <cx:pt idx="80718">0</cx:pt>
          <cx:pt idx="80719">1</cx:pt>
          <cx:pt idx="80720">0</cx:pt>
          <cx:pt idx="80721">0</cx:pt>
          <cx:pt idx="80722">0</cx:pt>
          <cx:pt idx="80723">0</cx:pt>
          <cx:pt idx="80724">1</cx:pt>
          <cx:pt idx="80725">0</cx:pt>
          <cx:pt idx="80726">1</cx:pt>
          <cx:pt idx="80727">1</cx:pt>
          <cx:pt idx="80728">1</cx:pt>
          <cx:pt idx="80729">0</cx:pt>
          <cx:pt idx="80730">1</cx:pt>
          <cx:pt idx="80731">0</cx:pt>
          <cx:pt idx="80732">0</cx:pt>
          <cx:pt idx="80733">1</cx:pt>
          <cx:pt idx="80734">1</cx:pt>
          <cx:pt idx="80735">0</cx:pt>
          <cx:pt idx="80736">1</cx:pt>
          <cx:pt idx="80737">1</cx:pt>
          <cx:pt idx="80738">1</cx:pt>
          <cx:pt idx="80739">1</cx:pt>
          <cx:pt idx="80740">1</cx:pt>
          <cx:pt idx="80741">1</cx:pt>
          <cx:pt idx="80742">1</cx:pt>
          <cx:pt idx="80743">0</cx:pt>
          <cx:pt idx="80744">0</cx:pt>
          <cx:pt idx="80745">0</cx:pt>
          <cx:pt idx="80746">0</cx:pt>
          <cx:pt idx="80747">0</cx:pt>
          <cx:pt idx="80748">0</cx:pt>
          <cx:pt idx="80749">0</cx:pt>
          <cx:pt idx="80750">1</cx:pt>
          <cx:pt idx="80751">0</cx:pt>
          <cx:pt idx="80752">1</cx:pt>
          <cx:pt idx="80753">1</cx:pt>
          <cx:pt idx="80754">1</cx:pt>
          <cx:pt idx="80755">0</cx:pt>
          <cx:pt idx="80756">1</cx:pt>
          <cx:pt idx="80757">0</cx:pt>
          <cx:pt idx="80758">0</cx:pt>
          <cx:pt idx="80759">1</cx:pt>
          <cx:pt idx="80760">0</cx:pt>
          <cx:pt idx="80761">0</cx:pt>
          <cx:pt idx="80762">0</cx:pt>
          <cx:pt idx="80763">0</cx:pt>
          <cx:pt idx="80764">0</cx:pt>
          <cx:pt idx="80765">0</cx:pt>
          <cx:pt idx="80766">0</cx:pt>
          <cx:pt idx="80767">0</cx:pt>
          <cx:pt idx="80768">0</cx:pt>
          <cx:pt idx="80769">1</cx:pt>
          <cx:pt idx="80770">1</cx:pt>
          <cx:pt idx="80771">0</cx:pt>
          <cx:pt idx="80772">0</cx:pt>
          <cx:pt idx="80773">1</cx:pt>
          <cx:pt idx="80774">1</cx:pt>
          <cx:pt idx="80775">1</cx:pt>
          <cx:pt idx="80776">1</cx:pt>
          <cx:pt idx="80777">1</cx:pt>
          <cx:pt idx="80778">0</cx:pt>
          <cx:pt idx="80779">0</cx:pt>
          <cx:pt idx="80780">1</cx:pt>
          <cx:pt idx="80781">0</cx:pt>
          <cx:pt idx="80782">1</cx:pt>
          <cx:pt idx="80783">1</cx:pt>
          <cx:pt idx="80784">0</cx:pt>
          <cx:pt idx="80785">1</cx:pt>
          <cx:pt idx="80786">0</cx:pt>
          <cx:pt idx="80787">0</cx:pt>
          <cx:pt idx="80788">1</cx:pt>
          <cx:pt idx="80789">0</cx:pt>
          <cx:pt idx="80790">0</cx:pt>
          <cx:pt idx="80791">0</cx:pt>
          <cx:pt idx="80792">0</cx:pt>
          <cx:pt idx="80793">0</cx:pt>
          <cx:pt idx="80794">0</cx:pt>
          <cx:pt idx="80795">1</cx:pt>
          <cx:pt idx="80796">1</cx:pt>
          <cx:pt idx="80797">0</cx:pt>
          <cx:pt idx="80798">1</cx:pt>
          <cx:pt idx="80799">1</cx:pt>
          <cx:pt idx="80800">0</cx:pt>
          <cx:pt idx="80801">0</cx:pt>
          <cx:pt idx="80802">1</cx:pt>
          <cx:pt idx="80803">1</cx:pt>
          <cx:pt idx="80804">0</cx:pt>
          <cx:pt idx="80805">1</cx:pt>
          <cx:pt idx="80806">0</cx:pt>
          <cx:pt idx="80807">0</cx:pt>
          <cx:pt idx="80808">1</cx:pt>
          <cx:pt idx="80809">1</cx:pt>
          <cx:pt idx="80810">0</cx:pt>
          <cx:pt idx="80811">1</cx:pt>
          <cx:pt idx="80812">0</cx:pt>
          <cx:pt idx="80813">1</cx:pt>
          <cx:pt idx="80814">0</cx:pt>
          <cx:pt idx="80815">1</cx:pt>
          <cx:pt idx="80816">1</cx:pt>
          <cx:pt idx="80817">0</cx:pt>
          <cx:pt idx="80818">0</cx:pt>
          <cx:pt idx="80819">0</cx:pt>
          <cx:pt idx="80820">1</cx:pt>
          <cx:pt idx="80821">1</cx:pt>
          <cx:pt idx="80822">1</cx:pt>
          <cx:pt idx="80823">0</cx:pt>
          <cx:pt idx="80824">1</cx:pt>
          <cx:pt idx="80825">0</cx:pt>
          <cx:pt idx="80826">0</cx:pt>
          <cx:pt idx="80827">0</cx:pt>
          <cx:pt idx="80828">0</cx:pt>
          <cx:pt idx="80829">0</cx:pt>
          <cx:pt idx="80830">1</cx:pt>
          <cx:pt idx="80831">1</cx:pt>
          <cx:pt idx="80832">0</cx:pt>
          <cx:pt idx="80833">0</cx:pt>
          <cx:pt idx="80834">0</cx:pt>
          <cx:pt idx="80835">0</cx:pt>
          <cx:pt idx="80836">0</cx:pt>
          <cx:pt idx="80837">0</cx:pt>
          <cx:pt idx="80838">1</cx:pt>
          <cx:pt idx="80839">0</cx:pt>
          <cx:pt idx="80840">0</cx:pt>
          <cx:pt idx="80841">1</cx:pt>
          <cx:pt idx="80842">1</cx:pt>
          <cx:pt idx="80843">0</cx:pt>
          <cx:pt idx="80844">1</cx:pt>
          <cx:pt idx="80845">1</cx:pt>
          <cx:pt idx="80846">1</cx:pt>
          <cx:pt idx="80847">1</cx:pt>
          <cx:pt idx="80848">1</cx:pt>
          <cx:pt idx="80849">1</cx:pt>
          <cx:pt idx="80850">0</cx:pt>
          <cx:pt idx="80851">0</cx:pt>
          <cx:pt idx="80852">1</cx:pt>
          <cx:pt idx="80853">0</cx:pt>
          <cx:pt idx="80854">1</cx:pt>
          <cx:pt idx="80855">0</cx:pt>
          <cx:pt idx="80856">1</cx:pt>
          <cx:pt idx="80857">0</cx:pt>
          <cx:pt idx="80858">0</cx:pt>
          <cx:pt idx="80859">1</cx:pt>
          <cx:pt idx="80860">0</cx:pt>
          <cx:pt idx="80861">0</cx:pt>
          <cx:pt idx="80862">1</cx:pt>
          <cx:pt idx="80863">1</cx:pt>
          <cx:pt idx="80864">1</cx:pt>
          <cx:pt idx="80865">0</cx:pt>
          <cx:pt idx="80866">1</cx:pt>
          <cx:pt idx="80867">1</cx:pt>
          <cx:pt idx="80868">1</cx:pt>
          <cx:pt idx="80869">1</cx:pt>
          <cx:pt idx="80870">1</cx:pt>
          <cx:pt idx="80871">0</cx:pt>
          <cx:pt idx="80872">0</cx:pt>
          <cx:pt idx="80873">1</cx:pt>
          <cx:pt idx="80874">1</cx:pt>
          <cx:pt idx="80875">0</cx:pt>
          <cx:pt idx="80876">1</cx:pt>
          <cx:pt idx="80877">0</cx:pt>
          <cx:pt idx="80878">0</cx:pt>
          <cx:pt idx="80879">0</cx:pt>
          <cx:pt idx="80880">0</cx:pt>
          <cx:pt idx="80881">1</cx:pt>
          <cx:pt idx="80882">0</cx:pt>
          <cx:pt idx="80883">1</cx:pt>
          <cx:pt idx="80884">1</cx:pt>
          <cx:pt idx="80885">1</cx:pt>
          <cx:pt idx="80886">1</cx:pt>
          <cx:pt idx="80887">0</cx:pt>
          <cx:pt idx="80888">1</cx:pt>
          <cx:pt idx="80889">1</cx:pt>
          <cx:pt idx="80890">0</cx:pt>
          <cx:pt idx="80891">0</cx:pt>
          <cx:pt idx="80892">0</cx:pt>
          <cx:pt idx="80893">0</cx:pt>
          <cx:pt idx="80894">0</cx:pt>
          <cx:pt idx="80895">0</cx:pt>
          <cx:pt idx="80896">0</cx:pt>
          <cx:pt idx="80897">0</cx:pt>
          <cx:pt idx="80898">0</cx:pt>
          <cx:pt idx="80899">1</cx:pt>
          <cx:pt idx="80900">1</cx:pt>
          <cx:pt idx="80901">0</cx:pt>
          <cx:pt idx="80902">0</cx:pt>
          <cx:pt idx="80903">0</cx:pt>
          <cx:pt idx="80904">1</cx:pt>
          <cx:pt idx="80905">1</cx:pt>
          <cx:pt idx="80906">1</cx:pt>
          <cx:pt idx="80907">0</cx:pt>
          <cx:pt idx="80908">0</cx:pt>
          <cx:pt idx="80909">0</cx:pt>
          <cx:pt idx="80910">1</cx:pt>
          <cx:pt idx="80911">1</cx:pt>
          <cx:pt idx="80912">1</cx:pt>
          <cx:pt idx="80913">1</cx:pt>
          <cx:pt idx="80914">0</cx:pt>
          <cx:pt idx="80915">0</cx:pt>
          <cx:pt idx="80916">0</cx:pt>
          <cx:pt idx="80917">1</cx:pt>
          <cx:pt idx="80918">0</cx:pt>
          <cx:pt idx="80919">0</cx:pt>
          <cx:pt idx="80920">1</cx:pt>
          <cx:pt idx="80921">1</cx:pt>
          <cx:pt idx="80922">0</cx:pt>
          <cx:pt idx="80923">1</cx:pt>
          <cx:pt idx="80924">0</cx:pt>
          <cx:pt idx="80925">0</cx:pt>
          <cx:pt idx="80926">0</cx:pt>
          <cx:pt idx="80927">1</cx:pt>
          <cx:pt idx="80928">0</cx:pt>
          <cx:pt idx="80929">1</cx:pt>
          <cx:pt idx="80930">0</cx:pt>
          <cx:pt idx="80931">1</cx:pt>
          <cx:pt idx="80932">1</cx:pt>
          <cx:pt idx="80933">0</cx:pt>
          <cx:pt idx="80934">0</cx:pt>
          <cx:pt idx="80935">0</cx:pt>
          <cx:pt idx="80936">0</cx:pt>
          <cx:pt idx="80937">1</cx:pt>
          <cx:pt idx="80938">1</cx:pt>
          <cx:pt idx="80939">1</cx:pt>
          <cx:pt idx="80940">0</cx:pt>
          <cx:pt idx="80941">0</cx:pt>
          <cx:pt idx="80942">1</cx:pt>
          <cx:pt idx="80943">0</cx:pt>
          <cx:pt idx="80944">0</cx:pt>
          <cx:pt idx="80945">0</cx:pt>
          <cx:pt idx="80946">1</cx:pt>
          <cx:pt idx="80947">0</cx:pt>
          <cx:pt idx="80948">1</cx:pt>
          <cx:pt idx="80949">1</cx:pt>
          <cx:pt idx="80950">1</cx:pt>
          <cx:pt idx="80951">1</cx:pt>
          <cx:pt idx="80952">0</cx:pt>
          <cx:pt idx="80953">0</cx:pt>
          <cx:pt idx="80954">0</cx:pt>
          <cx:pt idx="80955">1</cx:pt>
          <cx:pt idx="80956">0</cx:pt>
          <cx:pt idx="80957">0</cx:pt>
          <cx:pt idx="80958">0</cx:pt>
          <cx:pt idx="80959">1</cx:pt>
          <cx:pt idx="80960">0</cx:pt>
          <cx:pt idx="80961">0</cx:pt>
          <cx:pt idx="80962">0</cx:pt>
          <cx:pt idx="80963">1</cx:pt>
          <cx:pt idx="80964">0</cx:pt>
          <cx:pt idx="80965">0</cx:pt>
          <cx:pt idx="80966">1</cx:pt>
          <cx:pt idx="80967">0</cx:pt>
          <cx:pt idx="80968">1</cx:pt>
          <cx:pt idx="80969">1</cx:pt>
          <cx:pt idx="80970">1</cx:pt>
          <cx:pt idx="80971">1</cx:pt>
          <cx:pt idx="80972">0</cx:pt>
          <cx:pt idx="80973">0</cx:pt>
          <cx:pt idx="80974">1</cx:pt>
          <cx:pt idx="80975">0</cx:pt>
          <cx:pt idx="80976">0</cx:pt>
          <cx:pt idx="80977">0</cx:pt>
          <cx:pt idx="80978">1</cx:pt>
          <cx:pt idx="80979">0</cx:pt>
          <cx:pt idx="80980">1</cx:pt>
          <cx:pt idx="80981">0</cx:pt>
          <cx:pt idx="80982">1</cx:pt>
          <cx:pt idx="80983">1</cx:pt>
          <cx:pt idx="80984">1</cx:pt>
          <cx:pt idx="80985">0</cx:pt>
          <cx:pt idx="80986">0</cx:pt>
          <cx:pt idx="80987">0</cx:pt>
          <cx:pt idx="80988">0</cx:pt>
          <cx:pt idx="80989">1</cx:pt>
          <cx:pt idx="80990">1</cx:pt>
          <cx:pt idx="80991">1</cx:pt>
          <cx:pt idx="80992">0</cx:pt>
          <cx:pt idx="80993">1</cx:pt>
          <cx:pt idx="80994">1</cx:pt>
          <cx:pt idx="80995">1</cx:pt>
          <cx:pt idx="80996">0</cx:pt>
          <cx:pt idx="80997">1</cx:pt>
          <cx:pt idx="80998">1</cx:pt>
          <cx:pt idx="80999">1</cx:pt>
          <cx:pt idx="81000">1</cx:pt>
          <cx:pt idx="81001">0</cx:pt>
          <cx:pt idx="81002">1</cx:pt>
          <cx:pt idx="81003">1</cx:pt>
          <cx:pt idx="81004">1</cx:pt>
          <cx:pt idx="81005">0</cx:pt>
          <cx:pt idx="81006">0</cx:pt>
          <cx:pt idx="81007">0</cx:pt>
          <cx:pt idx="81008">1</cx:pt>
          <cx:pt idx="81009">0</cx:pt>
          <cx:pt idx="81010">0</cx:pt>
          <cx:pt idx="81011">1</cx:pt>
          <cx:pt idx="81012">0</cx:pt>
          <cx:pt idx="81013">1</cx:pt>
          <cx:pt idx="81014">1</cx:pt>
          <cx:pt idx="81015">0</cx:pt>
          <cx:pt idx="81016">0</cx:pt>
          <cx:pt idx="81017">1</cx:pt>
          <cx:pt idx="81018">1</cx:pt>
          <cx:pt idx="81019">0</cx:pt>
          <cx:pt idx="81020">1</cx:pt>
          <cx:pt idx="81021">0</cx:pt>
          <cx:pt idx="81022">0</cx:pt>
          <cx:pt idx="81023">0</cx:pt>
          <cx:pt idx="81024">0</cx:pt>
          <cx:pt idx="81025">0</cx:pt>
          <cx:pt idx="81026">1</cx:pt>
          <cx:pt idx="81027">0</cx:pt>
          <cx:pt idx="81028">0</cx:pt>
          <cx:pt idx="81029">1</cx:pt>
          <cx:pt idx="81030">0</cx:pt>
          <cx:pt idx="81031">0</cx:pt>
          <cx:pt idx="81032">0</cx:pt>
          <cx:pt idx="81033">1</cx:pt>
          <cx:pt idx="81034">0</cx:pt>
          <cx:pt idx="81035">0</cx:pt>
          <cx:pt idx="81036">1</cx:pt>
          <cx:pt idx="81037">0</cx:pt>
          <cx:pt idx="81038">0</cx:pt>
          <cx:pt idx="81039">1</cx:pt>
          <cx:pt idx="81040">0</cx:pt>
          <cx:pt idx="81041">0</cx:pt>
          <cx:pt idx="81042">0</cx:pt>
          <cx:pt idx="81043">0</cx:pt>
          <cx:pt idx="81044">1</cx:pt>
          <cx:pt idx="81045">1</cx:pt>
          <cx:pt idx="81046">0</cx:pt>
          <cx:pt idx="81047">0</cx:pt>
          <cx:pt idx="81048">1</cx:pt>
          <cx:pt idx="81049">0</cx:pt>
          <cx:pt idx="81050">1</cx:pt>
          <cx:pt idx="81051">0</cx:pt>
          <cx:pt idx="81052">1</cx:pt>
          <cx:pt idx="81053">0</cx:pt>
          <cx:pt idx="81054">0</cx:pt>
          <cx:pt idx="81055">0</cx:pt>
          <cx:pt idx="81056">0</cx:pt>
          <cx:pt idx="81057">0</cx:pt>
          <cx:pt idx="81058">0</cx:pt>
          <cx:pt idx="81059">1</cx:pt>
          <cx:pt idx="81060">1</cx:pt>
          <cx:pt idx="81061">0</cx:pt>
          <cx:pt idx="81062">0</cx:pt>
          <cx:pt idx="81063">0</cx:pt>
          <cx:pt idx="81064">0</cx:pt>
          <cx:pt idx="81065">0</cx:pt>
          <cx:pt idx="81066">0</cx:pt>
          <cx:pt idx="81067">1</cx:pt>
          <cx:pt idx="81068">0</cx:pt>
          <cx:pt idx="81069">1</cx:pt>
          <cx:pt idx="81070">1</cx:pt>
          <cx:pt idx="81071">0</cx:pt>
          <cx:pt idx="81072">0</cx:pt>
          <cx:pt idx="81073">0</cx:pt>
          <cx:pt idx="81074">1</cx:pt>
          <cx:pt idx="81075">0</cx:pt>
          <cx:pt idx="81076">1</cx:pt>
          <cx:pt idx="81077">1</cx:pt>
          <cx:pt idx="81078">0</cx:pt>
          <cx:pt idx="81079">1</cx:pt>
          <cx:pt idx="81080">0</cx:pt>
          <cx:pt idx="81081">0</cx:pt>
          <cx:pt idx="81082">0</cx:pt>
          <cx:pt idx="81083">1</cx:pt>
          <cx:pt idx="81084">1</cx:pt>
          <cx:pt idx="81085">1</cx:pt>
          <cx:pt idx="81086">1</cx:pt>
          <cx:pt idx="81087">0</cx:pt>
          <cx:pt idx="81088">0</cx:pt>
          <cx:pt idx="81089">0</cx:pt>
          <cx:pt idx="81090">1</cx:pt>
          <cx:pt idx="81091">0</cx:pt>
          <cx:pt idx="81092">1</cx:pt>
          <cx:pt idx="81093">0</cx:pt>
          <cx:pt idx="81094">1</cx:pt>
          <cx:pt idx="81095">1</cx:pt>
          <cx:pt idx="81096">1</cx:pt>
          <cx:pt idx="81097">0</cx:pt>
          <cx:pt idx="81098">1</cx:pt>
          <cx:pt idx="81099">0</cx:pt>
          <cx:pt idx="81100">0</cx:pt>
          <cx:pt idx="81101">0</cx:pt>
          <cx:pt idx="81102">1</cx:pt>
          <cx:pt idx="81103">0</cx:pt>
          <cx:pt idx="81104">0</cx:pt>
          <cx:pt idx="81105">0</cx:pt>
          <cx:pt idx="81106">1</cx:pt>
          <cx:pt idx="81107">0</cx:pt>
          <cx:pt idx="81108">1</cx:pt>
          <cx:pt idx="81109">0</cx:pt>
          <cx:pt idx="81110">0</cx:pt>
          <cx:pt idx="81111">0</cx:pt>
          <cx:pt idx="81112">0</cx:pt>
          <cx:pt idx="81113">1</cx:pt>
          <cx:pt idx="81114">1</cx:pt>
          <cx:pt idx="81115">1</cx:pt>
          <cx:pt idx="81116">1</cx:pt>
          <cx:pt idx="81117">1</cx:pt>
          <cx:pt idx="81118">0</cx:pt>
          <cx:pt idx="81119">1</cx:pt>
          <cx:pt idx="81120">1</cx:pt>
          <cx:pt idx="81121">0</cx:pt>
          <cx:pt idx="81122">0</cx:pt>
          <cx:pt idx="81123">1</cx:pt>
          <cx:pt idx="81124">0</cx:pt>
          <cx:pt idx="81125">1</cx:pt>
          <cx:pt idx="81126">0</cx:pt>
          <cx:pt idx="81127">0</cx:pt>
          <cx:pt idx="81128">1</cx:pt>
          <cx:pt idx="81129">0</cx:pt>
          <cx:pt idx="81130">1</cx:pt>
          <cx:pt idx="81131">1</cx:pt>
          <cx:pt idx="81132">0</cx:pt>
          <cx:pt idx="81133">1</cx:pt>
          <cx:pt idx="81134">1</cx:pt>
          <cx:pt idx="81135">1</cx:pt>
          <cx:pt idx="81136">0</cx:pt>
          <cx:pt idx="81137">0</cx:pt>
          <cx:pt idx="81138">1</cx:pt>
          <cx:pt idx="81139">1</cx:pt>
          <cx:pt idx="81140">0</cx:pt>
          <cx:pt idx="81141">1</cx:pt>
          <cx:pt idx="81142">0</cx:pt>
          <cx:pt idx="81143">0</cx:pt>
          <cx:pt idx="81144">0</cx:pt>
          <cx:pt idx="81145">1</cx:pt>
          <cx:pt idx="81146">0</cx:pt>
          <cx:pt idx="81147">1</cx:pt>
          <cx:pt idx="81148">1</cx:pt>
          <cx:pt idx="81149">0</cx:pt>
          <cx:pt idx="81150">1</cx:pt>
          <cx:pt idx="81151">0</cx:pt>
          <cx:pt idx="81152">0</cx:pt>
          <cx:pt idx="81153">0</cx:pt>
          <cx:pt idx="81154">1</cx:pt>
          <cx:pt idx="81155">0</cx:pt>
          <cx:pt idx="81156">1</cx:pt>
          <cx:pt idx="81157">0</cx:pt>
          <cx:pt idx="81158">0</cx:pt>
          <cx:pt idx="81159">1</cx:pt>
          <cx:pt idx="81160">1</cx:pt>
          <cx:pt idx="81161">0</cx:pt>
          <cx:pt idx="81162">1</cx:pt>
          <cx:pt idx="81163">0</cx:pt>
          <cx:pt idx="81164">1</cx:pt>
          <cx:pt idx="81165">1</cx:pt>
          <cx:pt idx="81166">0</cx:pt>
          <cx:pt idx="81167">0</cx:pt>
          <cx:pt idx="81168">1</cx:pt>
          <cx:pt idx="81169">1</cx:pt>
          <cx:pt idx="81170">0</cx:pt>
          <cx:pt idx="81171">0</cx:pt>
          <cx:pt idx="81172">1</cx:pt>
          <cx:pt idx="81173">0</cx:pt>
          <cx:pt idx="81174">1</cx:pt>
          <cx:pt idx="81175">0</cx:pt>
          <cx:pt idx="81176">0</cx:pt>
          <cx:pt idx="81177">0</cx:pt>
          <cx:pt idx="81178">1</cx:pt>
          <cx:pt idx="81179">1</cx:pt>
          <cx:pt idx="81180">0</cx:pt>
          <cx:pt idx="81181">1</cx:pt>
          <cx:pt idx="81182">0</cx:pt>
          <cx:pt idx="81183">0</cx:pt>
          <cx:pt idx="81184">1</cx:pt>
          <cx:pt idx="81185">1</cx:pt>
          <cx:pt idx="81186">0</cx:pt>
          <cx:pt idx="81187">1</cx:pt>
          <cx:pt idx="81188">0</cx:pt>
          <cx:pt idx="81189">1</cx:pt>
          <cx:pt idx="81190">1</cx:pt>
          <cx:pt idx="81191">0</cx:pt>
          <cx:pt idx="81192">1</cx:pt>
          <cx:pt idx="81193">0</cx:pt>
          <cx:pt idx="81194">0</cx:pt>
          <cx:pt idx="81195">0</cx:pt>
          <cx:pt idx="81196">0</cx:pt>
          <cx:pt idx="81197">0</cx:pt>
          <cx:pt idx="81198">0</cx:pt>
          <cx:pt idx="81199">1</cx:pt>
          <cx:pt idx="81200">1</cx:pt>
          <cx:pt idx="81201">1</cx:pt>
          <cx:pt idx="81202">0</cx:pt>
          <cx:pt idx="81203">1</cx:pt>
          <cx:pt idx="81204">0</cx:pt>
          <cx:pt idx="81205">1</cx:pt>
          <cx:pt idx="81206">0</cx:pt>
          <cx:pt idx="81207">1</cx:pt>
          <cx:pt idx="81208">0</cx:pt>
          <cx:pt idx="81209">0</cx:pt>
          <cx:pt idx="81210">0</cx:pt>
          <cx:pt idx="81211">1</cx:pt>
          <cx:pt idx="81212">1</cx:pt>
          <cx:pt idx="81213">0</cx:pt>
          <cx:pt idx="81214">0</cx:pt>
          <cx:pt idx="81215">1</cx:pt>
          <cx:pt idx="81216">1</cx:pt>
          <cx:pt idx="81217">1</cx:pt>
          <cx:pt idx="81218">1</cx:pt>
          <cx:pt idx="81219">0</cx:pt>
          <cx:pt idx="81220">1</cx:pt>
          <cx:pt idx="81221">0</cx:pt>
          <cx:pt idx="81222">0</cx:pt>
          <cx:pt idx="81223">1</cx:pt>
          <cx:pt idx="81224">0</cx:pt>
          <cx:pt idx="81225">1</cx:pt>
          <cx:pt idx="81226">0</cx:pt>
          <cx:pt idx="81227">1</cx:pt>
          <cx:pt idx="81228">0</cx:pt>
          <cx:pt idx="81229">1</cx:pt>
          <cx:pt idx="81230">0</cx:pt>
          <cx:pt idx="81231">0</cx:pt>
          <cx:pt idx="81232">0</cx:pt>
          <cx:pt idx="81233">1</cx:pt>
          <cx:pt idx="81234">0</cx:pt>
          <cx:pt idx="81235">0</cx:pt>
          <cx:pt idx="81236">1</cx:pt>
          <cx:pt idx="81237">1</cx:pt>
          <cx:pt idx="81238">0</cx:pt>
          <cx:pt idx="81239">0</cx:pt>
          <cx:pt idx="81240">1</cx:pt>
          <cx:pt idx="81241">1</cx:pt>
          <cx:pt idx="81242">1</cx:pt>
          <cx:pt idx="81243">1</cx:pt>
          <cx:pt idx="81244">0</cx:pt>
          <cx:pt idx="81245">0</cx:pt>
          <cx:pt idx="81246">0</cx:pt>
          <cx:pt idx="81247">0</cx:pt>
          <cx:pt idx="81248">0</cx:pt>
          <cx:pt idx="81249">0</cx:pt>
          <cx:pt idx="81250">0</cx:pt>
          <cx:pt idx="81251">0</cx:pt>
          <cx:pt idx="81252">0</cx:pt>
          <cx:pt idx="81253">1</cx:pt>
          <cx:pt idx="81254">0</cx:pt>
          <cx:pt idx="81255">1</cx:pt>
          <cx:pt idx="81256">1</cx:pt>
          <cx:pt idx="81257">0</cx:pt>
          <cx:pt idx="81258">1</cx:pt>
          <cx:pt idx="81259">1</cx:pt>
          <cx:pt idx="81260">0</cx:pt>
          <cx:pt idx="81261">0</cx:pt>
          <cx:pt idx="81262">0</cx:pt>
          <cx:pt idx="81263">1</cx:pt>
          <cx:pt idx="81264">0</cx:pt>
          <cx:pt idx="81265">1</cx:pt>
          <cx:pt idx="81266">0</cx:pt>
          <cx:pt idx="81267">0</cx:pt>
          <cx:pt idx="81268">0</cx:pt>
          <cx:pt idx="81269">1</cx:pt>
          <cx:pt idx="81270">1</cx:pt>
          <cx:pt idx="81271">0</cx:pt>
          <cx:pt idx="81272">1</cx:pt>
          <cx:pt idx="81273">1</cx:pt>
          <cx:pt idx="81274">0</cx:pt>
          <cx:pt idx="81275">1</cx:pt>
          <cx:pt idx="81276">1</cx:pt>
          <cx:pt idx="81277">1</cx:pt>
          <cx:pt idx="81278">0</cx:pt>
          <cx:pt idx="81279">0</cx:pt>
          <cx:pt idx="81280">0</cx:pt>
          <cx:pt idx="81281">1</cx:pt>
          <cx:pt idx="81282">0</cx:pt>
          <cx:pt idx="81283">1</cx:pt>
          <cx:pt idx="81284">0</cx:pt>
          <cx:pt idx="81285">0</cx:pt>
          <cx:pt idx="81286">1</cx:pt>
          <cx:pt idx="81287">0</cx:pt>
          <cx:pt idx="81288">1</cx:pt>
          <cx:pt idx="81289">1</cx:pt>
          <cx:pt idx="81290">1</cx:pt>
          <cx:pt idx="81291">0</cx:pt>
          <cx:pt idx="81292">0</cx:pt>
          <cx:pt idx="81293">1</cx:pt>
          <cx:pt idx="81294">1</cx:pt>
          <cx:pt idx="81295">0</cx:pt>
          <cx:pt idx="81296">1</cx:pt>
          <cx:pt idx="81297">0</cx:pt>
          <cx:pt idx="81298">0</cx:pt>
          <cx:pt idx="81299">0</cx:pt>
          <cx:pt idx="81300">0</cx:pt>
          <cx:pt idx="81301">0</cx:pt>
          <cx:pt idx="81302">1</cx:pt>
          <cx:pt idx="81303">0</cx:pt>
          <cx:pt idx="81304">1</cx:pt>
          <cx:pt idx="81305">1</cx:pt>
          <cx:pt idx="81306">1</cx:pt>
          <cx:pt idx="81307">1</cx:pt>
          <cx:pt idx="81308">0</cx:pt>
          <cx:pt idx="81309">1</cx:pt>
          <cx:pt idx="81310">0</cx:pt>
          <cx:pt idx="81311">0</cx:pt>
          <cx:pt idx="81312">1</cx:pt>
          <cx:pt idx="81313">0</cx:pt>
          <cx:pt idx="81314">0</cx:pt>
          <cx:pt idx="81315">1</cx:pt>
          <cx:pt idx="81316">1</cx:pt>
          <cx:pt idx="81317">0</cx:pt>
          <cx:pt idx="81318">0</cx:pt>
          <cx:pt idx="81319">0</cx:pt>
          <cx:pt idx="81320">0</cx:pt>
          <cx:pt idx="81321">0</cx:pt>
          <cx:pt idx="81322">0</cx:pt>
          <cx:pt idx="81323">1</cx:pt>
          <cx:pt idx="81324">0</cx:pt>
          <cx:pt idx="81325">0</cx:pt>
          <cx:pt idx="81326">1</cx:pt>
          <cx:pt idx="81327">0</cx:pt>
          <cx:pt idx="81328">1</cx:pt>
          <cx:pt idx="81329">0</cx:pt>
          <cx:pt idx="81330">0</cx:pt>
          <cx:pt idx="81331">1</cx:pt>
          <cx:pt idx="81332">0</cx:pt>
          <cx:pt idx="81333">0</cx:pt>
          <cx:pt idx="81334">0</cx:pt>
          <cx:pt idx="81335">0</cx:pt>
          <cx:pt idx="81336">0</cx:pt>
          <cx:pt idx="81337">0</cx:pt>
          <cx:pt idx="81338">0</cx:pt>
          <cx:pt idx="81339">1</cx:pt>
          <cx:pt idx="81340">1</cx:pt>
          <cx:pt idx="81341">1</cx:pt>
          <cx:pt idx="81342">1</cx:pt>
          <cx:pt idx="81343">0</cx:pt>
          <cx:pt idx="81344">1</cx:pt>
          <cx:pt idx="81345">1</cx:pt>
          <cx:pt idx="81346">0</cx:pt>
          <cx:pt idx="81347">0</cx:pt>
          <cx:pt idx="81348">0</cx:pt>
          <cx:pt idx="81349">1</cx:pt>
          <cx:pt idx="81350">1</cx:pt>
          <cx:pt idx="81351">1</cx:pt>
          <cx:pt idx="81352">0</cx:pt>
          <cx:pt idx="81353">0</cx:pt>
          <cx:pt idx="81354">0</cx:pt>
          <cx:pt idx="81355">0</cx:pt>
          <cx:pt idx="81356">0</cx:pt>
          <cx:pt idx="81357">1</cx:pt>
          <cx:pt idx="81358">0</cx:pt>
          <cx:pt idx="81359">1</cx:pt>
          <cx:pt idx="81360">0</cx:pt>
          <cx:pt idx="81361">0</cx:pt>
          <cx:pt idx="81362">1</cx:pt>
          <cx:pt idx="81363">0</cx:pt>
          <cx:pt idx="81364">0</cx:pt>
          <cx:pt idx="81365">0</cx:pt>
          <cx:pt idx="81366">0</cx:pt>
          <cx:pt idx="81367">1</cx:pt>
          <cx:pt idx="81368">1</cx:pt>
          <cx:pt idx="81369">1</cx:pt>
          <cx:pt idx="81370">1</cx:pt>
          <cx:pt idx="81371">0</cx:pt>
          <cx:pt idx="81372">1</cx:pt>
          <cx:pt idx="81373">0</cx:pt>
          <cx:pt idx="81374">1</cx:pt>
          <cx:pt idx="81375">0</cx:pt>
          <cx:pt idx="81376">1</cx:pt>
          <cx:pt idx="81377">1</cx:pt>
          <cx:pt idx="81378">1</cx:pt>
          <cx:pt idx="81379">1</cx:pt>
          <cx:pt idx="81380">0</cx:pt>
          <cx:pt idx="81381">1</cx:pt>
          <cx:pt idx="81382">1</cx:pt>
          <cx:pt idx="81383">1</cx:pt>
          <cx:pt idx="81384">0</cx:pt>
          <cx:pt idx="81385">0</cx:pt>
          <cx:pt idx="81386">1</cx:pt>
          <cx:pt idx="81387">1</cx:pt>
          <cx:pt idx="81388">0</cx:pt>
          <cx:pt idx="81389">1</cx:pt>
          <cx:pt idx="81390">0</cx:pt>
          <cx:pt idx="81391">0</cx:pt>
          <cx:pt idx="81392">0</cx:pt>
          <cx:pt idx="81393">1</cx:pt>
          <cx:pt idx="81394">0</cx:pt>
          <cx:pt idx="81395">0</cx:pt>
          <cx:pt idx="81396">1</cx:pt>
          <cx:pt idx="81397">1</cx:pt>
          <cx:pt idx="81398">1</cx:pt>
          <cx:pt idx="81399">1</cx:pt>
          <cx:pt idx="81400">1</cx:pt>
          <cx:pt idx="81401">0</cx:pt>
          <cx:pt idx="81402">0</cx:pt>
          <cx:pt idx="81403">1</cx:pt>
          <cx:pt idx="81404">0</cx:pt>
          <cx:pt idx="81405">1</cx:pt>
          <cx:pt idx="81406">1</cx:pt>
          <cx:pt idx="81407">0</cx:pt>
          <cx:pt idx="81408">0</cx:pt>
          <cx:pt idx="81409">0</cx:pt>
          <cx:pt idx="81410">0</cx:pt>
          <cx:pt idx="81411">0</cx:pt>
          <cx:pt idx="81412">1</cx:pt>
          <cx:pt idx="81413">0</cx:pt>
          <cx:pt idx="81414">0</cx:pt>
          <cx:pt idx="81415">1</cx:pt>
          <cx:pt idx="81416">0</cx:pt>
          <cx:pt idx="81417">0</cx:pt>
          <cx:pt idx="81418">0</cx:pt>
          <cx:pt idx="81419">1</cx:pt>
          <cx:pt idx="81420">0</cx:pt>
          <cx:pt idx="81421">0</cx:pt>
          <cx:pt idx="81422">0</cx:pt>
          <cx:pt idx="81423">0</cx:pt>
          <cx:pt idx="81424">0</cx:pt>
          <cx:pt idx="81425">1</cx:pt>
          <cx:pt idx="81426">0</cx:pt>
          <cx:pt idx="81427">0</cx:pt>
          <cx:pt idx="81428">1</cx:pt>
          <cx:pt idx="81429">1</cx:pt>
          <cx:pt idx="81430">0</cx:pt>
          <cx:pt idx="81431">0</cx:pt>
          <cx:pt idx="81432">0</cx:pt>
          <cx:pt idx="81433">1</cx:pt>
          <cx:pt idx="81434">0</cx:pt>
          <cx:pt idx="81435">0</cx:pt>
          <cx:pt idx="81436">1</cx:pt>
          <cx:pt idx="81437">0</cx:pt>
          <cx:pt idx="81438">1</cx:pt>
          <cx:pt idx="81439">1</cx:pt>
          <cx:pt idx="81440">0</cx:pt>
          <cx:pt idx="81441">0</cx:pt>
          <cx:pt idx="81442">0</cx:pt>
          <cx:pt idx="81443">0</cx:pt>
          <cx:pt idx="81444">1</cx:pt>
          <cx:pt idx="81445">0</cx:pt>
          <cx:pt idx="81446">1</cx:pt>
          <cx:pt idx="81447">1</cx:pt>
          <cx:pt idx="81448">0</cx:pt>
          <cx:pt idx="81449">0</cx:pt>
          <cx:pt idx="81450">0</cx:pt>
          <cx:pt idx="81451">1</cx:pt>
          <cx:pt idx="81452">1</cx:pt>
          <cx:pt idx="81453">1</cx:pt>
          <cx:pt idx="81454">0</cx:pt>
          <cx:pt idx="81455">1</cx:pt>
          <cx:pt idx="81456">0</cx:pt>
          <cx:pt idx="81457">1</cx:pt>
          <cx:pt idx="81458">0</cx:pt>
          <cx:pt idx="81459">1</cx:pt>
          <cx:pt idx="81460">0</cx:pt>
          <cx:pt idx="81461">0</cx:pt>
          <cx:pt idx="81462">0</cx:pt>
          <cx:pt idx="81463">0</cx:pt>
          <cx:pt idx="81464">0</cx:pt>
          <cx:pt idx="81465">0</cx:pt>
          <cx:pt idx="81466">1</cx:pt>
          <cx:pt idx="81467">0</cx:pt>
          <cx:pt idx="81468">1</cx:pt>
          <cx:pt idx="81469">0</cx:pt>
          <cx:pt idx="81470">1</cx:pt>
          <cx:pt idx="81471">1</cx:pt>
          <cx:pt idx="81472">0</cx:pt>
          <cx:pt idx="81473">1</cx:pt>
          <cx:pt idx="81474">0</cx:pt>
          <cx:pt idx="81475">0</cx:pt>
          <cx:pt idx="81476">0</cx:pt>
          <cx:pt idx="81477">1</cx:pt>
          <cx:pt idx="81478">1</cx:pt>
          <cx:pt idx="81479">0</cx:pt>
          <cx:pt idx="81480">0</cx:pt>
          <cx:pt idx="81481">0</cx:pt>
          <cx:pt idx="81482">1</cx:pt>
          <cx:pt idx="81483">0</cx:pt>
          <cx:pt idx="81484">0</cx:pt>
          <cx:pt idx="81485">1</cx:pt>
          <cx:pt idx="81486">0</cx:pt>
          <cx:pt idx="81487">0</cx:pt>
          <cx:pt idx="81488">0</cx:pt>
          <cx:pt idx="81489">1</cx:pt>
          <cx:pt idx="81490">1</cx:pt>
          <cx:pt idx="81491">1</cx:pt>
          <cx:pt idx="81492">0</cx:pt>
          <cx:pt idx="81493">0</cx:pt>
          <cx:pt idx="81494">1</cx:pt>
          <cx:pt idx="81495">0</cx:pt>
          <cx:pt idx="81496">0</cx:pt>
          <cx:pt idx="81497">0</cx:pt>
          <cx:pt idx="81498">0</cx:pt>
          <cx:pt idx="81499">0</cx:pt>
          <cx:pt idx="81500">0</cx:pt>
          <cx:pt idx="81501">0</cx:pt>
          <cx:pt idx="81502">0</cx:pt>
          <cx:pt idx="81503">1</cx:pt>
          <cx:pt idx="81504">0</cx:pt>
          <cx:pt idx="81505">0</cx:pt>
          <cx:pt idx="81506">1</cx:pt>
          <cx:pt idx="81507">0</cx:pt>
          <cx:pt idx="81508">1</cx:pt>
          <cx:pt idx="81509">1</cx:pt>
          <cx:pt idx="81510">0</cx:pt>
          <cx:pt idx="81511">0</cx:pt>
          <cx:pt idx="81512">1</cx:pt>
          <cx:pt idx="81513">1</cx:pt>
          <cx:pt idx="81514">0</cx:pt>
          <cx:pt idx="81515">0</cx:pt>
          <cx:pt idx="81516">0</cx:pt>
          <cx:pt idx="81517">0</cx:pt>
          <cx:pt idx="81518">0</cx:pt>
          <cx:pt idx="81519">1</cx:pt>
          <cx:pt idx="81520">0</cx:pt>
          <cx:pt idx="81521">1</cx:pt>
          <cx:pt idx="81522">0</cx:pt>
          <cx:pt idx="81523">0</cx:pt>
          <cx:pt idx="81524">1</cx:pt>
          <cx:pt idx="81525">1</cx:pt>
          <cx:pt idx="81526">1</cx:pt>
          <cx:pt idx="81527">0</cx:pt>
          <cx:pt idx="81528">0</cx:pt>
          <cx:pt idx="81529">1</cx:pt>
          <cx:pt idx="81530">0</cx:pt>
          <cx:pt idx="81531">0</cx:pt>
          <cx:pt idx="81532">1</cx:pt>
          <cx:pt idx="81533">0</cx:pt>
          <cx:pt idx="81534">0</cx:pt>
          <cx:pt idx="81535">1</cx:pt>
          <cx:pt idx="81536">0</cx:pt>
          <cx:pt idx="81537">0</cx:pt>
          <cx:pt idx="81538">0</cx:pt>
          <cx:pt idx="81539">0</cx:pt>
          <cx:pt idx="81540">0</cx:pt>
          <cx:pt idx="81541">1</cx:pt>
          <cx:pt idx="81542">1</cx:pt>
          <cx:pt idx="81543">1</cx:pt>
          <cx:pt idx="81544">0</cx:pt>
          <cx:pt idx="81545">1</cx:pt>
          <cx:pt idx="81546">1</cx:pt>
          <cx:pt idx="81547">0</cx:pt>
          <cx:pt idx="81548">0</cx:pt>
          <cx:pt idx="81549">0</cx:pt>
          <cx:pt idx="81550">0</cx:pt>
          <cx:pt idx="81551">0</cx:pt>
          <cx:pt idx="81552">0</cx:pt>
          <cx:pt idx="81553">1</cx:pt>
          <cx:pt idx="81554">0</cx:pt>
          <cx:pt idx="81555">0</cx:pt>
          <cx:pt idx="81556">0</cx:pt>
          <cx:pt idx="81557">0</cx:pt>
          <cx:pt idx="81558">1</cx:pt>
          <cx:pt idx="81559">1</cx:pt>
          <cx:pt idx="81560">0</cx:pt>
          <cx:pt idx="81561">1</cx:pt>
          <cx:pt idx="81562">1</cx:pt>
          <cx:pt idx="81563">1</cx:pt>
          <cx:pt idx="81564">0</cx:pt>
          <cx:pt idx="81565">1</cx:pt>
          <cx:pt idx="81566">0</cx:pt>
          <cx:pt idx="81567">1</cx:pt>
          <cx:pt idx="81568">0</cx:pt>
          <cx:pt idx="81569">0</cx:pt>
          <cx:pt idx="81570">0</cx:pt>
          <cx:pt idx="81571">1</cx:pt>
          <cx:pt idx="81572">0</cx:pt>
          <cx:pt idx="81573">1</cx:pt>
          <cx:pt idx="81574">1</cx:pt>
          <cx:pt idx="81575">1</cx:pt>
          <cx:pt idx="81576">1</cx:pt>
          <cx:pt idx="81577">1</cx:pt>
          <cx:pt idx="81578">1</cx:pt>
          <cx:pt idx="81579">0</cx:pt>
          <cx:pt idx="81580">0</cx:pt>
          <cx:pt idx="81581">0</cx:pt>
          <cx:pt idx="81582">0</cx:pt>
          <cx:pt idx="81583">0</cx:pt>
          <cx:pt idx="81584">0</cx:pt>
          <cx:pt idx="81585">0</cx:pt>
          <cx:pt idx="81586">0</cx:pt>
          <cx:pt idx="81587">1</cx:pt>
          <cx:pt idx="81588">0</cx:pt>
          <cx:pt idx="81589">0</cx:pt>
          <cx:pt idx="81590">0</cx:pt>
          <cx:pt idx="81591">0</cx:pt>
          <cx:pt idx="81592">1</cx:pt>
          <cx:pt idx="81593">1</cx:pt>
          <cx:pt idx="81594">1</cx:pt>
          <cx:pt idx="81595">1</cx:pt>
          <cx:pt idx="81596">1</cx:pt>
          <cx:pt idx="81597">0</cx:pt>
          <cx:pt idx="81598">0</cx:pt>
          <cx:pt idx="81599">0</cx:pt>
          <cx:pt idx="81600">0</cx:pt>
          <cx:pt idx="81601">1</cx:pt>
          <cx:pt idx="81602">1</cx:pt>
          <cx:pt idx="81603">0</cx:pt>
          <cx:pt idx="81604">0</cx:pt>
          <cx:pt idx="81605">0</cx:pt>
          <cx:pt idx="81606">1</cx:pt>
          <cx:pt idx="81607">0</cx:pt>
          <cx:pt idx="81608">1</cx:pt>
          <cx:pt idx="81609">0</cx:pt>
          <cx:pt idx="81610">0</cx:pt>
          <cx:pt idx="81611">1</cx:pt>
          <cx:pt idx="81612">0</cx:pt>
          <cx:pt idx="81613">0</cx:pt>
          <cx:pt idx="81614">0</cx:pt>
          <cx:pt idx="81615">1</cx:pt>
          <cx:pt idx="81616">1</cx:pt>
          <cx:pt idx="81617">0</cx:pt>
          <cx:pt idx="81618">1</cx:pt>
          <cx:pt idx="81619">0</cx:pt>
          <cx:pt idx="81620">0</cx:pt>
          <cx:pt idx="81621">0</cx:pt>
          <cx:pt idx="81622">1</cx:pt>
          <cx:pt idx="81623">0</cx:pt>
          <cx:pt idx="81624">0</cx:pt>
          <cx:pt idx="81625">0</cx:pt>
          <cx:pt idx="81626">1</cx:pt>
          <cx:pt idx="81627">0</cx:pt>
          <cx:pt idx="81628">0</cx:pt>
          <cx:pt idx="81629">0</cx:pt>
          <cx:pt idx="81630">1</cx:pt>
          <cx:pt idx="81631">1</cx:pt>
          <cx:pt idx="81632">0</cx:pt>
          <cx:pt idx="81633">1</cx:pt>
          <cx:pt idx="81634">0</cx:pt>
          <cx:pt idx="81635">1</cx:pt>
          <cx:pt idx="81636">1</cx:pt>
          <cx:pt idx="81637">0</cx:pt>
          <cx:pt idx="81638">1</cx:pt>
          <cx:pt idx="81639">0</cx:pt>
          <cx:pt idx="81640">0</cx:pt>
          <cx:pt idx="81641">1</cx:pt>
          <cx:pt idx="81642">0</cx:pt>
          <cx:pt idx="81643">0</cx:pt>
          <cx:pt idx="81644">0</cx:pt>
          <cx:pt idx="81645">0</cx:pt>
          <cx:pt idx="81646">1</cx:pt>
          <cx:pt idx="81647">1</cx:pt>
          <cx:pt idx="81648">1</cx:pt>
          <cx:pt idx="81649">1</cx:pt>
          <cx:pt idx="81650">1</cx:pt>
          <cx:pt idx="81651">1</cx:pt>
          <cx:pt idx="81652">0</cx:pt>
          <cx:pt idx="81653">0</cx:pt>
          <cx:pt idx="81654">1</cx:pt>
          <cx:pt idx="81655">1</cx:pt>
          <cx:pt idx="81656">0</cx:pt>
          <cx:pt idx="81657">0</cx:pt>
          <cx:pt idx="81658">0</cx:pt>
          <cx:pt idx="81659">0</cx:pt>
          <cx:pt idx="81660">1</cx:pt>
          <cx:pt idx="81661">1</cx:pt>
          <cx:pt idx="81662">0</cx:pt>
          <cx:pt idx="81663">0</cx:pt>
          <cx:pt idx="81664">1</cx:pt>
          <cx:pt idx="81665">0</cx:pt>
          <cx:pt idx="81666">1</cx:pt>
          <cx:pt idx="81667">1</cx:pt>
          <cx:pt idx="81668">0</cx:pt>
          <cx:pt idx="81669">1</cx:pt>
          <cx:pt idx="81670">1</cx:pt>
          <cx:pt idx="81671">1</cx:pt>
          <cx:pt idx="81672">1</cx:pt>
          <cx:pt idx="81673">1</cx:pt>
          <cx:pt idx="81674">1</cx:pt>
          <cx:pt idx="81675">0</cx:pt>
          <cx:pt idx="81676">0</cx:pt>
          <cx:pt idx="81677">0</cx:pt>
          <cx:pt idx="81678">0</cx:pt>
          <cx:pt idx="81679">1</cx:pt>
          <cx:pt idx="81680">1</cx:pt>
          <cx:pt idx="81681">0</cx:pt>
          <cx:pt idx="81682">1</cx:pt>
          <cx:pt idx="81683">0</cx:pt>
          <cx:pt idx="81684">1</cx:pt>
          <cx:pt idx="81685">0</cx:pt>
          <cx:pt idx="81686">0</cx:pt>
          <cx:pt idx="81687">1</cx:pt>
          <cx:pt idx="81688">0</cx:pt>
          <cx:pt idx="81689">1</cx:pt>
          <cx:pt idx="81690">0</cx:pt>
          <cx:pt idx="81691">0</cx:pt>
          <cx:pt idx="81692">1</cx:pt>
          <cx:pt idx="81693">0</cx:pt>
          <cx:pt idx="81694">0</cx:pt>
          <cx:pt idx="81695">0</cx:pt>
          <cx:pt idx="81696">1</cx:pt>
          <cx:pt idx="81697">0</cx:pt>
          <cx:pt idx="81698">0</cx:pt>
          <cx:pt idx="81699">1</cx:pt>
          <cx:pt idx="81700">1</cx:pt>
          <cx:pt idx="81701">1</cx:pt>
          <cx:pt idx="81702">1</cx:pt>
          <cx:pt idx="81703">0</cx:pt>
          <cx:pt idx="81704">1</cx:pt>
          <cx:pt idx="81705">0</cx:pt>
          <cx:pt idx="81706">0</cx:pt>
          <cx:pt idx="81707">1</cx:pt>
          <cx:pt idx="81708">1</cx:pt>
          <cx:pt idx="81709">1</cx:pt>
          <cx:pt idx="81710">0</cx:pt>
          <cx:pt idx="81711">0</cx:pt>
          <cx:pt idx="81712">1</cx:pt>
          <cx:pt idx="81713">1</cx:pt>
          <cx:pt idx="81714">0</cx:pt>
          <cx:pt idx="81715">1</cx:pt>
          <cx:pt idx="81716">1</cx:pt>
          <cx:pt idx="81717">1</cx:pt>
          <cx:pt idx="81718">1</cx:pt>
          <cx:pt idx="81719">0</cx:pt>
          <cx:pt idx="81720">0</cx:pt>
          <cx:pt idx="81721">1</cx:pt>
          <cx:pt idx="81722">1</cx:pt>
          <cx:pt idx="81723">1</cx:pt>
          <cx:pt idx="81724">1</cx:pt>
          <cx:pt idx="81725">1</cx:pt>
          <cx:pt idx="81726">0</cx:pt>
          <cx:pt idx="81727">1</cx:pt>
          <cx:pt idx="81728">1</cx:pt>
          <cx:pt idx="81729">1</cx:pt>
          <cx:pt idx="81730">1</cx:pt>
          <cx:pt idx="81731">0</cx:pt>
          <cx:pt idx="81732">0</cx:pt>
          <cx:pt idx="81733">0</cx:pt>
          <cx:pt idx="81734">1</cx:pt>
          <cx:pt idx="81735">1</cx:pt>
          <cx:pt idx="81736">0</cx:pt>
          <cx:pt idx="81737">1</cx:pt>
          <cx:pt idx="81738">0</cx:pt>
          <cx:pt idx="81739">0</cx:pt>
          <cx:pt idx="81740">1</cx:pt>
          <cx:pt idx="81741">0</cx:pt>
          <cx:pt idx="81742">0</cx:pt>
          <cx:pt idx="81743">0</cx:pt>
          <cx:pt idx="81744">0</cx:pt>
          <cx:pt idx="81745">0</cx:pt>
          <cx:pt idx="81746">0</cx:pt>
          <cx:pt idx="81747">0</cx:pt>
          <cx:pt idx="81748">0</cx:pt>
          <cx:pt idx="81749">1</cx:pt>
          <cx:pt idx="81750">1</cx:pt>
          <cx:pt idx="81751">0</cx:pt>
          <cx:pt idx="81752">1</cx:pt>
          <cx:pt idx="81753">1</cx:pt>
          <cx:pt idx="81754">0</cx:pt>
          <cx:pt idx="81755">0</cx:pt>
          <cx:pt idx="81756">0</cx:pt>
          <cx:pt idx="81757">0</cx:pt>
          <cx:pt idx="81758">1</cx:pt>
          <cx:pt idx="81759">1</cx:pt>
          <cx:pt idx="81760">0</cx:pt>
          <cx:pt idx="81761">1</cx:pt>
          <cx:pt idx="81762">0</cx:pt>
          <cx:pt idx="81763">0</cx:pt>
          <cx:pt idx="81764">0</cx:pt>
          <cx:pt idx="81765">0</cx:pt>
          <cx:pt idx="81766">0</cx:pt>
          <cx:pt idx="81767">0</cx:pt>
          <cx:pt idx="81768">0</cx:pt>
          <cx:pt idx="81769">1</cx:pt>
          <cx:pt idx="81770">0</cx:pt>
          <cx:pt idx="81771">1</cx:pt>
          <cx:pt idx="81772">0</cx:pt>
          <cx:pt idx="81773">1</cx:pt>
          <cx:pt idx="81774">0</cx:pt>
          <cx:pt idx="81775">1</cx:pt>
          <cx:pt idx="81776">1</cx:pt>
          <cx:pt idx="81777">0</cx:pt>
          <cx:pt idx="81778">0</cx:pt>
          <cx:pt idx="81779">1</cx:pt>
          <cx:pt idx="81780">0</cx:pt>
          <cx:pt idx="81781">0</cx:pt>
          <cx:pt idx="81782">0</cx:pt>
          <cx:pt idx="81783">0</cx:pt>
          <cx:pt idx="81784">1</cx:pt>
          <cx:pt idx="81785">0</cx:pt>
          <cx:pt idx="81786">1</cx:pt>
          <cx:pt idx="81787">1</cx:pt>
          <cx:pt idx="81788">1</cx:pt>
          <cx:pt idx="81789">0</cx:pt>
          <cx:pt idx="81790">1</cx:pt>
          <cx:pt idx="81791">0</cx:pt>
          <cx:pt idx="81792">1</cx:pt>
          <cx:pt idx="81793">0</cx:pt>
          <cx:pt idx="81794">1</cx:pt>
          <cx:pt idx="81795">0</cx:pt>
          <cx:pt idx="81796">1</cx:pt>
          <cx:pt idx="81797">0</cx:pt>
          <cx:pt idx="81798">1</cx:pt>
          <cx:pt idx="81799">1</cx:pt>
          <cx:pt idx="81800">1</cx:pt>
          <cx:pt idx="81801">1</cx:pt>
          <cx:pt idx="81802">1</cx:pt>
          <cx:pt idx="81803">1</cx:pt>
          <cx:pt idx="81804">0</cx:pt>
          <cx:pt idx="81805">0</cx:pt>
          <cx:pt idx="81806">0</cx:pt>
          <cx:pt idx="81807">0</cx:pt>
          <cx:pt idx="81808">1</cx:pt>
          <cx:pt idx="81809">1</cx:pt>
          <cx:pt idx="81810">0</cx:pt>
          <cx:pt idx="81811">1</cx:pt>
          <cx:pt idx="81812">0</cx:pt>
          <cx:pt idx="81813">1</cx:pt>
          <cx:pt idx="81814">1</cx:pt>
          <cx:pt idx="81815">0</cx:pt>
          <cx:pt idx="81816">0</cx:pt>
          <cx:pt idx="81817">1</cx:pt>
          <cx:pt idx="81818">0</cx:pt>
          <cx:pt idx="81819">0</cx:pt>
          <cx:pt idx="81820">0</cx:pt>
          <cx:pt idx="81821">1</cx:pt>
          <cx:pt idx="81822">1</cx:pt>
          <cx:pt idx="81823">0</cx:pt>
          <cx:pt idx="81824">1</cx:pt>
          <cx:pt idx="81825">1</cx:pt>
          <cx:pt idx="81826">0</cx:pt>
          <cx:pt idx="81827">1</cx:pt>
          <cx:pt idx="81828">1</cx:pt>
          <cx:pt idx="81829">0</cx:pt>
          <cx:pt idx="81830">0</cx:pt>
          <cx:pt idx="81831">1</cx:pt>
          <cx:pt idx="81832">0</cx:pt>
          <cx:pt idx="81833">1</cx:pt>
          <cx:pt idx="81834">0</cx:pt>
          <cx:pt idx="81835">1</cx:pt>
          <cx:pt idx="81836">0</cx:pt>
          <cx:pt idx="81837">1</cx:pt>
          <cx:pt idx="81838">1</cx:pt>
          <cx:pt idx="81839">1</cx:pt>
          <cx:pt idx="81840">1</cx:pt>
          <cx:pt idx="81841">0</cx:pt>
          <cx:pt idx="81842">0</cx:pt>
          <cx:pt idx="81843">1</cx:pt>
          <cx:pt idx="81844">0</cx:pt>
          <cx:pt idx="81845">1</cx:pt>
          <cx:pt idx="81846">1</cx:pt>
          <cx:pt idx="81847">0</cx:pt>
          <cx:pt idx="81848">1</cx:pt>
          <cx:pt idx="81849">0</cx:pt>
          <cx:pt idx="81850">1</cx:pt>
          <cx:pt idx="81851">0</cx:pt>
          <cx:pt idx="81852">0</cx:pt>
          <cx:pt idx="81853">1</cx:pt>
          <cx:pt idx="81854">0</cx:pt>
          <cx:pt idx="81855">0</cx:pt>
          <cx:pt idx="81856">0</cx:pt>
          <cx:pt idx="81857">0</cx:pt>
          <cx:pt idx="81858">0</cx:pt>
          <cx:pt idx="81859">1</cx:pt>
          <cx:pt idx="81860">1</cx:pt>
          <cx:pt idx="81861">1</cx:pt>
          <cx:pt idx="81862">0</cx:pt>
          <cx:pt idx="81863">1</cx:pt>
          <cx:pt idx="81864">1</cx:pt>
          <cx:pt idx="81865">0</cx:pt>
          <cx:pt idx="81866">1</cx:pt>
          <cx:pt idx="81867">0</cx:pt>
          <cx:pt idx="81868">0</cx:pt>
          <cx:pt idx="81869">1</cx:pt>
          <cx:pt idx="81870">0</cx:pt>
          <cx:pt idx="81871">1</cx:pt>
          <cx:pt idx="81872">0</cx:pt>
          <cx:pt idx="81873">1</cx:pt>
          <cx:pt idx="81874">0</cx:pt>
          <cx:pt idx="81875">0</cx:pt>
          <cx:pt idx="81876">0</cx:pt>
          <cx:pt idx="81877">0</cx:pt>
          <cx:pt idx="81878">1</cx:pt>
          <cx:pt idx="81879">0</cx:pt>
          <cx:pt idx="81880">1</cx:pt>
          <cx:pt idx="81881">1</cx:pt>
          <cx:pt idx="81882">1</cx:pt>
          <cx:pt idx="81883">0</cx:pt>
          <cx:pt idx="81884">1</cx:pt>
          <cx:pt idx="81885">0</cx:pt>
          <cx:pt idx="81886">0</cx:pt>
          <cx:pt idx="81887">0</cx:pt>
          <cx:pt idx="81888">0</cx:pt>
          <cx:pt idx="81889">1</cx:pt>
          <cx:pt idx="81890">1</cx:pt>
          <cx:pt idx="81891">0</cx:pt>
          <cx:pt idx="81892">0</cx:pt>
          <cx:pt idx="81893">0</cx:pt>
          <cx:pt idx="81894">0</cx:pt>
          <cx:pt idx="81895">0</cx:pt>
          <cx:pt idx="81896">0</cx:pt>
          <cx:pt idx="81897">1</cx:pt>
          <cx:pt idx="81898">0</cx:pt>
          <cx:pt idx="81899">0</cx:pt>
          <cx:pt idx="81900">1</cx:pt>
          <cx:pt idx="81901">0</cx:pt>
          <cx:pt idx="81902">1</cx:pt>
          <cx:pt idx="81903">1</cx:pt>
          <cx:pt idx="81904">1</cx:pt>
          <cx:pt idx="81905">1</cx:pt>
          <cx:pt idx="81906">0</cx:pt>
          <cx:pt idx="81907">0</cx:pt>
          <cx:pt idx="81908">1</cx:pt>
          <cx:pt idx="81909">0</cx:pt>
          <cx:pt idx="81910">0</cx:pt>
          <cx:pt idx="81911">0</cx:pt>
          <cx:pt idx="81912">0</cx:pt>
          <cx:pt idx="81913">0</cx:pt>
          <cx:pt idx="81914">0</cx:pt>
          <cx:pt idx="81915">1</cx:pt>
          <cx:pt idx="81916">0</cx:pt>
          <cx:pt idx="81917">1</cx:pt>
          <cx:pt idx="81918">1</cx:pt>
          <cx:pt idx="81919">0</cx:pt>
          <cx:pt idx="81920">0</cx:pt>
          <cx:pt idx="81921">0</cx:pt>
          <cx:pt idx="81922">1</cx:pt>
          <cx:pt idx="81923">1</cx:pt>
          <cx:pt idx="81924">1</cx:pt>
          <cx:pt idx="81925">1</cx:pt>
          <cx:pt idx="81926">1</cx:pt>
          <cx:pt idx="81927">1</cx:pt>
          <cx:pt idx="81928">1</cx:pt>
          <cx:pt idx="81929">0</cx:pt>
          <cx:pt idx="81930">0</cx:pt>
          <cx:pt idx="81931">0</cx:pt>
          <cx:pt idx="81932">0</cx:pt>
          <cx:pt idx="81933">1</cx:pt>
          <cx:pt idx="81934">1</cx:pt>
          <cx:pt idx="81935">1</cx:pt>
          <cx:pt idx="81936">0</cx:pt>
          <cx:pt idx="81937">0</cx:pt>
          <cx:pt idx="81938">0</cx:pt>
          <cx:pt idx="81939">0</cx:pt>
          <cx:pt idx="81940">1</cx:pt>
          <cx:pt idx="81941">0</cx:pt>
          <cx:pt idx="81942">0</cx:pt>
          <cx:pt idx="81943">1</cx:pt>
          <cx:pt idx="81944">0</cx:pt>
          <cx:pt idx="81945">1</cx:pt>
          <cx:pt idx="81946">1</cx:pt>
          <cx:pt idx="81947">1</cx:pt>
          <cx:pt idx="81948">1</cx:pt>
          <cx:pt idx="81949">0</cx:pt>
          <cx:pt idx="81950">1</cx:pt>
          <cx:pt idx="81951">0</cx:pt>
          <cx:pt idx="81952">0</cx:pt>
          <cx:pt idx="81953">0</cx:pt>
          <cx:pt idx="81954">0</cx:pt>
          <cx:pt idx="81955">1</cx:pt>
          <cx:pt idx="81956">0</cx:pt>
          <cx:pt idx="81957">0</cx:pt>
          <cx:pt idx="81958">1</cx:pt>
          <cx:pt idx="81959">1</cx:pt>
          <cx:pt idx="81960">0</cx:pt>
          <cx:pt idx="81961">1</cx:pt>
          <cx:pt idx="81962">1</cx:pt>
          <cx:pt idx="81963">0</cx:pt>
          <cx:pt idx="81964">0</cx:pt>
          <cx:pt idx="81965">0</cx:pt>
          <cx:pt idx="81966">0</cx:pt>
          <cx:pt idx="81967">0</cx:pt>
          <cx:pt idx="81968">1</cx:pt>
          <cx:pt idx="81969">0</cx:pt>
          <cx:pt idx="81970">1</cx:pt>
          <cx:pt idx="81971">1</cx:pt>
          <cx:pt idx="81972">0</cx:pt>
          <cx:pt idx="81973">1</cx:pt>
          <cx:pt idx="81974">1</cx:pt>
          <cx:pt idx="81975">1</cx:pt>
          <cx:pt idx="81976">1</cx:pt>
          <cx:pt idx="81977">0</cx:pt>
          <cx:pt idx="81978">1</cx:pt>
          <cx:pt idx="81979">0</cx:pt>
          <cx:pt idx="81980">0</cx:pt>
          <cx:pt idx="81981">0</cx:pt>
          <cx:pt idx="81982">1</cx:pt>
          <cx:pt idx="81983">1</cx:pt>
          <cx:pt idx="81984">0</cx:pt>
          <cx:pt idx="81985">1</cx:pt>
          <cx:pt idx="81986">0</cx:pt>
          <cx:pt idx="81987">1</cx:pt>
          <cx:pt idx="81988">1</cx:pt>
          <cx:pt idx="81989">0</cx:pt>
          <cx:pt idx="81990">0</cx:pt>
          <cx:pt idx="81991">0</cx:pt>
          <cx:pt idx="81992">0</cx:pt>
          <cx:pt idx="81993">0</cx:pt>
          <cx:pt idx="81994">0</cx:pt>
          <cx:pt idx="81995">1</cx:pt>
          <cx:pt idx="81996">1</cx:pt>
          <cx:pt idx="81997">0</cx:pt>
          <cx:pt idx="81998">1</cx:pt>
          <cx:pt idx="81999">1</cx:pt>
          <cx:pt idx="82000">0</cx:pt>
          <cx:pt idx="82001">1</cx:pt>
          <cx:pt idx="82002">0</cx:pt>
          <cx:pt idx="82003">0</cx:pt>
          <cx:pt idx="82004">0</cx:pt>
          <cx:pt idx="82005">0</cx:pt>
          <cx:pt idx="82006">0</cx:pt>
          <cx:pt idx="82007">0</cx:pt>
          <cx:pt idx="82008">0</cx:pt>
          <cx:pt idx="82009">1</cx:pt>
          <cx:pt idx="82010">0</cx:pt>
          <cx:pt idx="82011">1</cx:pt>
          <cx:pt idx="82012">0</cx:pt>
          <cx:pt idx="82013">1</cx:pt>
          <cx:pt idx="82014">0</cx:pt>
          <cx:pt idx="82015">1</cx:pt>
          <cx:pt idx="82016">0</cx:pt>
          <cx:pt idx="82017">0</cx:pt>
          <cx:pt idx="82018">1</cx:pt>
          <cx:pt idx="82019">1</cx:pt>
          <cx:pt idx="82020">0</cx:pt>
          <cx:pt idx="82021">0</cx:pt>
          <cx:pt idx="82022">0</cx:pt>
          <cx:pt idx="82023">1</cx:pt>
          <cx:pt idx="82024">1</cx:pt>
          <cx:pt idx="82025">0</cx:pt>
          <cx:pt idx="82026">0</cx:pt>
          <cx:pt idx="82027">1</cx:pt>
          <cx:pt idx="82028">1</cx:pt>
          <cx:pt idx="82029">0</cx:pt>
          <cx:pt idx="82030">1</cx:pt>
          <cx:pt idx="82031">0</cx:pt>
          <cx:pt idx="82032">0</cx:pt>
          <cx:pt idx="82033">1</cx:pt>
          <cx:pt idx="82034">0</cx:pt>
          <cx:pt idx="82035">0</cx:pt>
          <cx:pt idx="82036">1</cx:pt>
          <cx:pt idx="82037">0</cx:pt>
          <cx:pt idx="82038">0</cx:pt>
          <cx:pt idx="82039">1</cx:pt>
          <cx:pt idx="82040">0</cx:pt>
          <cx:pt idx="82041">0</cx:pt>
          <cx:pt idx="82042">1</cx:pt>
          <cx:pt idx="82043">0</cx:pt>
          <cx:pt idx="82044">1</cx:pt>
          <cx:pt idx="82045">0</cx:pt>
          <cx:pt idx="82046">1</cx:pt>
          <cx:pt idx="82047">1</cx:pt>
          <cx:pt idx="82048">0</cx:pt>
          <cx:pt idx="82049">1</cx:pt>
          <cx:pt idx="82050">1</cx:pt>
          <cx:pt idx="82051">0</cx:pt>
          <cx:pt idx="82052">1</cx:pt>
          <cx:pt idx="82053">0</cx:pt>
          <cx:pt idx="82054">0</cx:pt>
          <cx:pt idx="82055">0</cx:pt>
          <cx:pt idx="82056">1</cx:pt>
          <cx:pt idx="82057">0</cx:pt>
          <cx:pt idx="82058">1</cx:pt>
          <cx:pt idx="82059">0</cx:pt>
          <cx:pt idx="82060">1</cx:pt>
          <cx:pt idx="82061">0</cx:pt>
          <cx:pt idx="82062">0</cx:pt>
          <cx:pt idx="82063">0</cx:pt>
          <cx:pt idx="82064">0</cx:pt>
          <cx:pt idx="82065">1</cx:pt>
          <cx:pt idx="82066">0</cx:pt>
          <cx:pt idx="82067">1</cx:pt>
          <cx:pt idx="82068">0</cx:pt>
          <cx:pt idx="82069">1</cx:pt>
          <cx:pt idx="82070">1</cx:pt>
          <cx:pt idx="82071">0</cx:pt>
          <cx:pt idx="82072">1</cx:pt>
          <cx:pt idx="82073">0</cx:pt>
          <cx:pt idx="82074">0</cx:pt>
          <cx:pt idx="82075">1</cx:pt>
          <cx:pt idx="82076">1</cx:pt>
          <cx:pt idx="82077">0</cx:pt>
          <cx:pt idx="82078">0</cx:pt>
          <cx:pt idx="82079">1</cx:pt>
          <cx:pt idx="82080">1</cx:pt>
          <cx:pt idx="82081">0</cx:pt>
          <cx:pt idx="82082">0</cx:pt>
          <cx:pt idx="82083">0</cx:pt>
          <cx:pt idx="82084">1</cx:pt>
          <cx:pt idx="82085">0</cx:pt>
          <cx:pt idx="82086">1</cx:pt>
          <cx:pt idx="82087">0</cx:pt>
          <cx:pt idx="82088">0</cx:pt>
          <cx:pt idx="82089">0</cx:pt>
          <cx:pt idx="82090">0</cx:pt>
          <cx:pt idx="82091">1</cx:pt>
          <cx:pt idx="82092">1</cx:pt>
          <cx:pt idx="82093">0</cx:pt>
          <cx:pt idx="82094">0</cx:pt>
          <cx:pt idx="82095">1</cx:pt>
          <cx:pt idx="82096">0</cx:pt>
          <cx:pt idx="82097">1</cx:pt>
          <cx:pt idx="82098">0</cx:pt>
          <cx:pt idx="82099">0</cx:pt>
          <cx:pt idx="82100">0</cx:pt>
          <cx:pt idx="82101">1</cx:pt>
          <cx:pt idx="82102">0</cx:pt>
          <cx:pt idx="82103">1</cx:pt>
          <cx:pt idx="82104">0</cx:pt>
          <cx:pt idx="82105">1</cx:pt>
          <cx:pt idx="82106">0</cx:pt>
          <cx:pt idx="82107">1</cx:pt>
          <cx:pt idx="82108">1</cx:pt>
          <cx:pt idx="82109">1</cx:pt>
          <cx:pt idx="82110">0</cx:pt>
          <cx:pt idx="82111">0</cx:pt>
          <cx:pt idx="82112">0</cx:pt>
          <cx:pt idx="82113">0</cx:pt>
          <cx:pt idx="82114">0</cx:pt>
          <cx:pt idx="82115">1</cx:pt>
          <cx:pt idx="82116">1</cx:pt>
          <cx:pt idx="82117">0</cx:pt>
          <cx:pt idx="82118">0</cx:pt>
          <cx:pt idx="82119">0</cx:pt>
          <cx:pt idx="82120">1</cx:pt>
          <cx:pt idx="82121">0</cx:pt>
          <cx:pt idx="82122">0</cx:pt>
          <cx:pt idx="82123">0</cx:pt>
          <cx:pt idx="82124">0</cx:pt>
          <cx:pt idx="82125">1</cx:pt>
          <cx:pt idx="82126">0</cx:pt>
          <cx:pt idx="82127">1</cx:pt>
          <cx:pt idx="82128">1</cx:pt>
          <cx:pt idx="82129">1</cx:pt>
          <cx:pt idx="82130">1</cx:pt>
          <cx:pt idx="82131">0</cx:pt>
          <cx:pt idx="82132">1</cx:pt>
          <cx:pt idx="82133">0</cx:pt>
          <cx:pt idx="82134">1</cx:pt>
          <cx:pt idx="82135">0</cx:pt>
          <cx:pt idx="82136">0</cx:pt>
          <cx:pt idx="82137">1</cx:pt>
          <cx:pt idx="82138">1</cx:pt>
          <cx:pt idx="82139">0</cx:pt>
          <cx:pt idx="82140">0</cx:pt>
          <cx:pt idx="82141">1</cx:pt>
          <cx:pt idx="82142">1</cx:pt>
          <cx:pt idx="82143">0</cx:pt>
          <cx:pt idx="82144">1</cx:pt>
          <cx:pt idx="82145">0</cx:pt>
          <cx:pt idx="82146">1</cx:pt>
          <cx:pt idx="82147">0</cx:pt>
          <cx:pt idx="82148">1</cx:pt>
          <cx:pt idx="82149">1</cx:pt>
          <cx:pt idx="82150">0</cx:pt>
          <cx:pt idx="82151">0</cx:pt>
          <cx:pt idx="82152">0</cx:pt>
          <cx:pt idx="82153">0</cx:pt>
          <cx:pt idx="82154">0</cx:pt>
          <cx:pt idx="82155">0</cx:pt>
          <cx:pt idx="82156">1</cx:pt>
          <cx:pt idx="82157">1</cx:pt>
          <cx:pt idx="82158">0</cx:pt>
          <cx:pt idx="82159">0</cx:pt>
          <cx:pt idx="82160">1</cx:pt>
          <cx:pt idx="82161">1</cx:pt>
          <cx:pt idx="82162">0</cx:pt>
          <cx:pt idx="82163">0</cx:pt>
          <cx:pt idx="82164">0</cx:pt>
          <cx:pt idx="82165">1</cx:pt>
          <cx:pt idx="82166">1</cx:pt>
          <cx:pt idx="82167">0</cx:pt>
          <cx:pt idx="82168">1</cx:pt>
          <cx:pt idx="82169">1</cx:pt>
          <cx:pt idx="82170">0</cx:pt>
          <cx:pt idx="82171">0</cx:pt>
          <cx:pt idx="82172">0</cx:pt>
          <cx:pt idx="82173">0</cx:pt>
          <cx:pt idx="82174">0</cx:pt>
          <cx:pt idx="82175">1</cx:pt>
          <cx:pt idx="82176">1</cx:pt>
          <cx:pt idx="82177">1</cx:pt>
          <cx:pt idx="82178">1</cx:pt>
          <cx:pt idx="82179">0</cx:pt>
          <cx:pt idx="82180">0</cx:pt>
          <cx:pt idx="82181">1</cx:pt>
          <cx:pt idx="82182">0</cx:pt>
          <cx:pt idx="82183">1</cx:pt>
          <cx:pt idx="82184">0</cx:pt>
          <cx:pt idx="82185">1</cx:pt>
          <cx:pt idx="82186">1</cx:pt>
          <cx:pt idx="82187">0</cx:pt>
          <cx:pt idx="82188">1</cx:pt>
          <cx:pt idx="82189">0</cx:pt>
          <cx:pt idx="82190">0</cx:pt>
          <cx:pt idx="82191">1</cx:pt>
          <cx:pt idx="82192">0</cx:pt>
          <cx:pt idx="82193">0</cx:pt>
          <cx:pt idx="82194">1</cx:pt>
          <cx:pt idx="82195">0</cx:pt>
          <cx:pt idx="82196">0</cx:pt>
          <cx:pt idx="82197">1</cx:pt>
          <cx:pt idx="82198">0</cx:pt>
          <cx:pt idx="82199">0</cx:pt>
          <cx:pt idx="82200">1</cx:pt>
          <cx:pt idx="82201">0</cx:pt>
          <cx:pt idx="82202">0</cx:pt>
          <cx:pt idx="82203">1</cx:pt>
          <cx:pt idx="82204">1</cx:pt>
          <cx:pt idx="82205">1</cx:pt>
          <cx:pt idx="82206">1</cx:pt>
          <cx:pt idx="82207">1</cx:pt>
          <cx:pt idx="82208">0</cx:pt>
          <cx:pt idx="82209">1</cx:pt>
          <cx:pt idx="82210">0</cx:pt>
          <cx:pt idx="82211">0</cx:pt>
          <cx:pt idx="82212">1</cx:pt>
          <cx:pt idx="82213">1</cx:pt>
          <cx:pt idx="82214">1</cx:pt>
          <cx:pt idx="82215">1</cx:pt>
          <cx:pt idx="82216">1</cx:pt>
          <cx:pt idx="82217">0</cx:pt>
          <cx:pt idx="82218">1</cx:pt>
          <cx:pt idx="82219">0</cx:pt>
          <cx:pt idx="82220">1</cx:pt>
          <cx:pt idx="82221">0</cx:pt>
          <cx:pt idx="82222">0</cx:pt>
          <cx:pt idx="82223">1</cx:pt>
          <cx:pt idx="82224">0</cx:pt>
          <cx:pt idx="82225">0</cx:pt>
          <cx:pt idx="82226">0</cx:pt>
          <cx:pt idx="82227">0</cx:pt>
          <cx:pt idx="82228">0</cx:pt>
          <cx:pt idx="82229">0</cx:pt>
          <cx:pt idx="82230">1</cx:pt>
          <cx:pt idx="82231">1</cx:pt>
          <cx:pt idx="82232">1</cx:pt>
          <cx:pt idx="82233">0</cx:pt>
          <cx:pt idx="82234">1</cx:pt>
          <cx:pt idx="82235">1</cx:pt>
          <cx:pt idx="82236">0</cx:pt>
          <cx:pt idx="82237">1</cx:pt>
          <cx:pt idx="82238">1</cx:pt>
          <cx:pt idx="82239">0</cx:pt>
          <cx:pt idx="82240">1</cx:pt>
          <cx:pt idx="82241">0</cx:pt>
          <cx:pt idx="82242">0</cx:pt>
          <cx:pt idx="82243">1</cx:pt>
          <cx:pt idx="82244">0</cx:pt>
          <cx:pt idx="82245">1</cx:pt>
          <cx:pt idx="82246">1</cx:pt>
          <cx:pt idx="82247">1</cx:pt>
          <cx:pt idx="82248">1</cx:pt>
          <cx:pt idx="82249">1</cx:pt>
          <cx:pt idx="82250">0</cx:pt>
          <cx:pt idx="82251">1</cx:pt>
          <cx:pt idx="82252">1</cx:pt>
          <cx:pt idx="82253">1</cx:pt>
          <cx:pt idx="82254">1</cx:pt>
          <cx:pt idx="82255">0</cx:pt>
          <cx:pt idx="82256">0</cx:pt>
          <cx:pt idx="82257">0</cx:pt>
          <cx:pt idx="82258">1</cx:pt>
          <cx:pt idx="82259">0</cx:pt>
          <cx:pt idx="82260">1</cx:pt>
          <cx:pt idx="82261">1</cx:pt>
          <cx:pt idx="82262">1</cx:pt>
          <cx:pt idx="82263">0</cx:pt>
          <cx:pt idx="82264">1</cx:pt>
          <cx:pt idx="82265">1</cx:pt>
          <cx:pt idx="82266">1</cx:pt>
          <cx:pt idx="82267">1</cx:pt>
          <cx:pt idx="82268">0</cx:pt>
          <cx:pt idx="82269">1</cx:pt>
          <cx:pt idx="82270">1</cx:pt>
          <cx:pt idx="82271">1</cx:pt>
          <cx:pt idx="82272">0</cx:pt>
          <cx:pt idx="82273">0</cx:pt>
          <cx:pt idx="82274">1</cx:pt>
          <cx:pt idx="82275">1</cx:pt>
          <cx:pt idx="82276">1</cx:pt>
          <cx:pt idx="82277">0</cx:pt>
          <cx:pt idx="82278">1</cx:pt>
          <cx:pt idx="82279">1</cx:pt>
          <cx:pt idx="82280">1</cx:pt>
          <cx:pt idx="82281">0</cx:pt>
          <cx:pt idx="82282">0</cx:pt>
          <cx:pt idx="82283">1</cx:pt>
          <cx:pt idx="82284">1</cx:pt>
          <cx:pt idx="82285">0</cx:pt>
          <cx:pt idx="82286">1</cx:pt>
          <cx:pt idx="82287">0</cx:pt>
          <cx:pt idx="82288">0</cx:pt>
          <cx:pt idx="82289">0</cx:pt>
          <cx:pt idx="82290">0</cx:pt>
          <cx:pt idx="82291">0</cx:pt>
          <cx:pt idx="82292">0</cx:pt>
          <cx:pt idx="82293">1</cx:pt>
          <cx:pt idx="82294">1</cx:pt>
          <cx:pt idx="82295">0</cx:pt>
          <cx:pt idx="82296">1</cx:pt>
          <cx:pt idx="82297">0</cx:pt>
          <cx:pt idx="82298">1</cx:pt>
          <cx:pt idx="82299">1</cx:pt>
          <cx:pt idx="82300">0</cx:pt>
          <cx:pt idx="82301">1</cx:pt>
          <cx:pt idx="82302">0</cx:pt>
          <cx:pt idx="82303">1</cx:pt>
          <cx:pt idx="82304">1</cx:pt>
          <cx:pt idx="82305">1</cx:pt>
          <cx:pt idx="82306">1</cx:pt>
          <cx:pt idx="82307">1</cx:pt>
          <cx:pt idx="82308">0</cx:pt>
          <cx:pt idx="82309">1</cx:pt>
          <cx:pt idx="82310">0</cx:pt>
          <cx:pt idx="82311">0</cx:pt>
          <cx:pt idx="82312">0</cx:pt>
          <cx:pt idx="82313">1</cx:pt>
          <cx:pt idx="82314">0</cx:pt>
          <cx:pt idx="82315">0</cx:pt>
          <cx:pt idx="82316">0</cx:pt>
          <cx:pt idx="82317">1</cx:pt>
          <cx:pt idx="82318">1</cx:pt>
          <cx:pt idx="82319">0</cx:pt>
          <cx:pt idx="82320">0</cx:pt>
          <cx:pt idx="82321">0</cx:pt>
          <cx:pt idx="82322">0</cx:pt>
          <cx:pt idx="82323">1</cx:pt>
          <cx:pt idx="82324">0</cx:pt>
          <cx:pt idx="82325">1</cx:pt>
          <cx:pt idx="82326">0</cx:pt>
          <cx:pt idx="82327">1</cx:pt>
          <cx:pt idx="82328">1</cx:pt>
          <cx:pt idx="82329">1</cx:pt>
          <cx:pt idx="82330">0</cx:pt>
          <cx:pt idx="82331">0</cx:pt>
          <cx:pt idx="82332">1</cx:pt>
          <cx:pt idx="82333">0</cx:pt>
          <cx:pt idx="82334">0</cx:pt>
          <cx:pt idx="82335">1</cx:pt>
          <cx:pt idx="82336">1</cx:pt>
          <cx:pt idx="82337">0</cx:pt>
          <cx:pt idx="82338">1</cx:pt>
          <cx:pt idx="82339">1</cx:pt>
          <cx:pt idx="82340">0</cx:pt>
          <cx:pt idx="82341">1</cx:pt>
          <cx:pt idx="82342">0</cx:pt>
          <cx:pt idx="82343">0</cx:pt>
          <cx:pt idx="82344">1</cx:pt>
          <cx:pt idx="82345">0</cx:pt>
          <cx:pt idx="82346">0</cx:pt>
          <cx:pt idx="82347">0</cx:pt>
          <cx:pt idx="82348">1</cx:pt>
          <cx:pt idx="82349">1</cx:pt>
          <cx:pt idx="82350">1</cx:pt>
          <cx:pt idx="82351">0</cx:pt>
          <cx:pt idx="82352">1</cx:pt>
          <cx:pt idx="82353">1</cx:pt>
          <cx:pt idx="82354">1</cx:pt>
          <cx:pt idx="82355">0</cx:pt>
          <cx:pt idx="82356">0</cx:pt>
          <cx:pt idx="82357">0</cx:pt>
          <cx:pt idx="82358">0</cx:pt>
          <cx:pt idx="82359">1</cx:pt>
          <cx:pt idx="82360">0</cx:pt>
          <cx:pt idx="82361">1</cx:pt>
          <cx:pt idx="82362">0</cx:pt>
          <cx:pt idx="82363">0</cx:pt>
          <cx:pt idx="82364">0</cx:pt>
          <cx:pt idx="82365">0</cx:pt>
          <cx:pt idx="82366">1</cx:pt>
          <cx:pt idx="82367">1</cx:pt>
          <cx:pt idx="82368">1</cx:pt>
          <cx:pt idx="82369">1</cx:pt>
          <cx:pt idx="82370">1</cx:pt>
          <cx:pt idx="82371">1</cx:pt>
          <cx:pt idx="82372">1</cx:pt>
          <cx:pt idx="82373">1</cx:pt>
          <cx:pt idx="82374">0</cx:pt>
          <cx:pt idx="82375">0</cx:pt>
          <cx:pt idx="82376">1</cx:pt>
          <cx:pt idx="82377">0</cx:pt>
          <cx:pt idx="82378">0</cx:pt>
          <cx:pt idx="82379">1</cx:pt>
          <cx:pt idx="82380">0</cx:pt>
          <cx:pt idx="82381">1</cx:pt>
          <cx:pt idx="82382">0</cx:pt>
          <cx:pt idx="82383">0</cx:pt>
          <cx:pt idx="82384">1</cx:pt>
          <cx:pt idx="82385">0</cx:pt>
          <cx:pt idx="82386">0</cx:pt>
          <cx:pt idx="82387">0</cx:pt>
          <cx:pt idx="82388">0</cx:pt>
          <cx:pt idx="82389">0</cx:pt>
          <cx:pt idx="82390">0</cx:pt>
          <cx:pt idx="82391">1</cx:pt>
          <cx:pt idx="82392">1</cx:pt>
          <cx:pt idx="82393">0</cx:pt>
          <cx:pt idx="82394">0</cx:pt>
          <cx:pt idx="82395">0</cx:pt>
          <cx:pt idx="82396">0</cx:pt>
          <cx:pt idx="82397">1</cx:pt>
          <cx:pt idx="82398">1</cx:pt>
          <cx:pt idx="82399">1</cx:pt>
          <cx:pt idx="82400">0</cx:pt>
          <cx:pt idx="82401">1</cx:pt>
          <cx:pt idx="82402">0</cx:pt>
          <cx:pt idx="82403">1</cx:pt>
          <cx:pt idx="82404">1</cx:pt>
          <cx:pt idx="82405">1</cx:pt>
          <cx:pt idx="82406">1</cx:pt>
          <cx:pt idx="82407">1</cx:pt>
          <cx:pt idx="82408">0</cx:pt>
          <cx:pt idx="82409">1</cx:pt>
          <cx:pt idx="82410">0</cx:pt>
          <cx:pt idx="82411">0</cx:pt>
          <cx:pt idx="82412">0</cx:pt>
          <cx:pt idx="82413">1</cx:pt>
          <cx:pt idx="82414">1</cx:pt>
          <cx:pt idx="82415">0</cx:pt>
          <cx:pt idx="82416">0</cx:pt>
          <cx:pt idx="82417">0</cx:pt>
          <cx:pt idx="82418">1</cx:pt>
          <cx:pt idx="82419">1</cx:pt>
          <cx:pt idx="82420">1</cx:pt>
          <cx:pt idx="82421">1</cx:pt>
          <cx:pt idx="82422">1</cx:pt>
          <cx:pt idx="82423">1</cx:pt>
          <cx:pt idx="82424">0</cx:pt>
          <cx:pt idx="82425">0</cx:pt>
          <cx:pt idx="82426">1</cx:pt>
          <cx:pt idx="82427">1</cx:pt>
          <cx:pt idx="82428">0</cx:pt>
          <cx:pt idx="82429">1</cx:pt>
          <cx:pt idx="82430">0</cx:pt>
          <cx:pt idx="82431">0</cx:pt>
          <cx:pt idx="82432">0</cx:pt>
          <cx:pt idx="82433">0</cx:pt>
          <cx:pt idx="82434">1</cx:pt>
          <cx:pt idx="82435">0</cx:pt>
          <cx:pt idx="82436">0</cx:pt>
          <cx:pt idx="82437">1</cx:pt>
          <cx:pt idx="82438">1</cx:pt>
          <cx:pt idx="82439">1</cx:pt>
          <cx:pt idx="82440">0</cx:pt>
          <cx:pt idx="82441">0</cx:pt>
          <cx:pt idx="82442">0</cx:pt>
          <cx:pt idx="82443">0</cx:pt>
          <cx:pt idx="82444">1</cx:pt>
          <cx:pt idx="82445">0</cx:pt>
          <cx:pt idx="82446">0</cx:pt>
          <cx:pt idx="82447">1</cx:pt>
          <cx:pt idx="82448">0</cx:pt>
          <cx:pt idx="82449">1</cx:pt>
          <cx:pt idx="82450">0</cx:pt>
          <cx:pt idx="82451">0</cx:pt>
          <cx:pt idx="82452">1</cx:pt>
          <cx:pt idx="82453">0</cx:pt>
          <cx:pt idx="82454">0</cx:pt>
          <cx:pt idx="82455">1</cx:pt>
          <cx:pt idx="82456">1</cx:pt>
          <cx:pt idx="82457">0</cx:pt>
          <cx:pt idx="82458">1</cx:pt>
          <cx:pt idx="82459">1</cx:pt>
          <cx:pt idx="82460">0</cx:pt>
          <cx:pt idx="82461">1</cx:pt>
          <cx:pt idx="82462">1</cx:pt>
          <cx:pt idx="82463">1</cx:pt>
          <cx:pt idx="82464">1</cx:pt>
          <cx:pt idx="82465">0</cx:pt>
          <cx:pt idx="82466">1</cx:pt>
          <cx:pt idx="82467">0</cx:pt>
          <cx:pt idx="82468">0</cx:pt>
          <cx:pt idx="82469">0</cx:pt>
          <cx:pt idx="82470">1</cx:pt>
          <cx:pt idx="82471">1</cx:pt>
          <cx:pt idx="82472">0</cx:pt>
          <cx:pt idx="82473">0</cx:pt>
          <cx:pt idx="82474">0</cx:pt>
          <cx:pt idx="82475">0</cx:pt>
          <cx:pt idx="82476">1</cx:pt>
          <cx:pt idx="82477">1</cx:pt>
          <cx:pt idx="82478">1</cx:pt>
          <cx:pt idx="82479">1</cx:pt>
          <cx:pt idx="82480">1</cx:pt>
          <cx:pt idx="82481">1</cx:pt>
          <cx:pt idx="82482">0</cx:pt>
          <cx:pt idx="82483">0</cx:pt>
          <cx:pt idx="82484">0</cx:pt>
          <cx:pt idx="82485">0</cx:pt>
          <cx:pt idx="82486">0</cx:pt>
          <cx:pt idx="82487">1</cx:pt>
          <cx:pt idx="82488">0</cx:pt>
          <cx:pt idx="82489">0</cx:pt>
          <cx:pt idx="82490">1</cx:pt>
          <cx:pt idx="82491">0</cx:pt>
          <cx:pt idx="82492">1</cx:pt>
          <cx:pt idx="82493">1</cx:pt>
          <cx:pt idx="82494">0</cx:pt>
          <cx:pt idx="82495">0</cx:pt>
          <cx:pt idx="82496">0</cx:pt>
          <cx:pt idx="82497">0</cx:pt>
          <cx:pt idx="82498">0</cx:pt>
          <cx:pt idx="82499">0</cx:pt>
          <cx:pt idx="82500">1</cx:pt>
          <cx:pt idx="82501">1</cx:pt>
          <cx:pt idx="82502">1</cx:pt>
          <cx:pt idx="82503">0</cx:pt>
          <cx:pt idx="82504">1</cx:pt>
          <cx:pt idx="82505">0</cx:pt>
          <cx:pt idx="82506">0</cx:pt>
          <cx:pt idx="82507">1</cx:pt>
          <cx:pt idx="82508">1</cx:pt>
          <cx:pt idx="82509">0</cx:pt>
          <cx:pt idx="82510">0</cx:pt>
          <cx:pt idx="82511">1</cx:pt>
          <cx:pt idx="82512">1</cx:pt>
          <cx:pt idx="82513">0</cx:pt>
          <cx:pt idx="82514">0</cx:pt>
          <cx:pt idx="82515">0</cx:pt>
          <cx:pt idx="82516">1</cx:pt>
          <cx:pt idx="82517">0</cx:pt>
          <cx:pt idx="82518">0</cx:pt>
          <cx:pt idx="82519">0</cx:pt>
          <cx:pt idx="82520">1</cx:pt>
          <cx:pt idx="82521">1</cx:pt>
          <cx:pt idx="82522">0</cx:pt>
          <cx:pt idx="82523">1</cx:pt>
          <cx:pt idx="82524">1</cx:pt>
          <cx:pt idx="82525">0</cx:pt>
          <cx:pt idx="82526">0</cx:pt>
          <cx:pt idx="82527">0</cx:pt>
          <cx:pt idx="82528">0</cx:pt>
          <cx:pt idx="82529">1</cx:pt>
          <cx:pt idx="82530">0</cx:pt>
          <cx:pt idx="82531">0</cx:pt>
          <cx:pt idx="82532">1</cx:pt>
          <cx:pt idx="82533">1</cx:pt>
          <cx:pt idx="82534">0</cx:pt>
          <cx:pt idx="82535">1</cx:pt>
          <cx:pt idx="82536">0</cx:pt>
          <cx:pt idx="82537">0</cx:pt>
          <cx:pt idx="82538">0</cx:pt>
          <cx:pt idx="82539">0</cx:pt>
          <cx:pt idx="82540">0</cx:pt>
          <cx:pt idx="82541">0</cx:pt>
          <cx:pt idx="82542">1</cx:pt>
          <cx:pt idx="82543">1</cx:pt>
          <cx:pt idx="82544">0</cx:pt>
          <cx:pt idx="82545">0</cx:pt>
          <cx:pt idx="82546">1</cx:pt>
          <cx:pt idx="82547">1</cx:pt>
          <cx:pt idx="82548">0</cx:pt>
          <cx:pt idx="82549">1</cx:pt>
          <cx:pt idx="82550">1</cx:pt>
          <cx:pt idx="82551">0</cx:pt>
          <cx:pt idx="82552">0</cx:pt>
          <cx:pt idx="82553">0</cx:pt>
          <cx:pt idx="82554">1</cx:pt>
          <cx:pt idx="82555">0</cx:pt>
          <cx:pt idx="82556">0</cx:pt>
          <cx:pt idx="82557">0</cx:pt>
          <cx:pt idx="82558">0</cx:pt>
          <cx:pt idx="82559">0</cx:pt>
          <cx:pt idx="82560">1</cx:pt>
          <cx:pt idx="82561">1</cx:pt>
          <cx:pt idx="82562">1</cx:pt>
          <cx:pt idx="82563">0</cx:pt>
          <cx:pt idx="82564">0</cx:pt>
          <cx:pt idx="82565">1</cx:pt>
          <cx:pt idx="82566">1</cx:pt>
          <cx:pt idx="82567">0</cx:pt>
          <cx:pt idx="82568">1</cx:pt>
          <cx:pt idx="82569">0</cx:pt>
          <cx:pt idx="82570">0</cx:pt>
          <cx:pt idx="82571">1</cx:pt>
          <cx:pt idx="82572">1</cx:pt>
          <cx:pt idx="82573">0</cx:pt>
          <cx:pt idx="82574">1</cx:pt>
          <cx:pt idx="82575">0</cx:pt>
          <cx:pt idx="82576">1</cx:pt>
          <cx:pt idx="82577">0</cx:pt>
          <cx:pt idx="82578">0</cx:pt>
          <cx:pt idx="82579">1</cx:pt>
          <cx:pt idx="82580">0</cx:pt>
          <cx:pt idx="82581">0</cx:pt>
          <cx:pt idx="82582">0</cx:pt>
          <cx:pt idx="82583">0</cx:pt>
          <cx:pt idx="82584">1</cx:pt>
          <cx:pt idx="82585">1</cx:pt>
          <cx:pt idx="82586">0</cx:pt>
          <cx:pt idx="82587">1</cx:pt>
          <cx:pt idx="82588">0</cx:pt>
          <cx:pt idx="82589">0</cx:pt>
          <cx:pt idx="82590">1</cx:pt>
          <cx:pt idx="82591">1</cx:pt>
          <cx:pt idx="82592">0</cx:pt>
          <cx:pt idx="82593">0</cx:pt>
          <cx:pt idx="82594">1</cx:pt>
          <cx:pt idx="82595">0</cx:pt>
          <cx:pt idx="82596">0</cx:pt>
          <cx:pt idx="82597">0</cx:pt>
          <cx:pt idx="82598">0</cx:pt>
          <cx:pt idx="82599">1</cx:pt>
          <cx:pt idx="82600">0</cx:pt>
          <cx:pt idx="82601">1</cx:pt>
          <cx:pt idx="82602">1</cx:pt>
          <cx:pt idx="82603">1</cx:pt>
          <cx:pt idx="82604">0</cx:pt>
          <cx:pt idx="82605">0</cx:pt>
          <cx:pt idx="82606">0</cx:pt>
          <cx:pt idx="82607">1</cx:pt>
          <cx:pt idx="82608">0</cx:pt>
          <cx:pt idx="82609">0</cx:pt>
          <cx:pt idx="82610">0</cx:pt>
          <cx:pt idx="82611">0</cx:pt>
          <cx:pt idx="82612">0</cx:pt>
          <cx:pt idx="82613">1</cx:pt>
          <cx:pt idx="82614">0</cx:pt>
          <cx:pt idx="82615">1</cx:pt>
          <cx:pt idx="82616">0</cx:pt>
          <cx:pt idx="82617">0</cx:pt>
          <cx:pt idx="82618">0</cx:pt>
          <cx:pt idx="82619">1</cx:pt>
          <cx:pt idx="82620">1</cx:pt>
          <cx:pt idx="82621">0</cx:pt>
          <cx:pt idx="82622">1</cx:pt>
          <cx:pt idx="82623">0</cx:pt>
          <cx:pt idx="82624">0</cx:pt>
          <cx:pt idx="82625">0</cx:pt>
          <cx:pt idx="82626">0</cx:pt>
          <cx:pt idx="82627">0</cx:pt>
          <cx:pt idx="82628">0</cx:pt>
          <cx:pt idx="82629">0</cx:pt>
          <cx:pt idx="82630">0</cx:pt>
          <cx:pt idx="82631">0</cx:pt>
          <cx:pt idx="82632">0</cx:pt>
          <cx:pt idx="82633">0</cx:pt>
          <cx:pt idx="82634">0</cx:pt>
          <cx:pt idx="82635">1</cx:pt>
          <cx:pt idx="82636">1</cx:pt>
          <cx:pt idx="82637">1</cx:pt>
          <cx:pt idx="82638">1</cx:pt>
          <cx:pt idx="82639">0</cx:pt>
          <cx:pt idx="82640">1</cx:pt>
          <cx:pt idx="82641">0</cx:pt>
          <cx:pt idx="82642">1</cx:pt>
          <cx:pt idx="82643">0</cx:pt>
          <cx:pt idx="82644">0</cx:pt>
          <cx:pt idx="82645">0</cx:pt>
          <cx:pt idx="82646">0</cx:pt>
          <cx:pt idx="82647">1</cx:pt>
          <cx:pt idx="82648">0</cx:pt>
          <cx:pt idx="82649">0</cx:pt>
          <cx:pt idx="82650">1</cx:pt>
          <cx:pt idx="82651">0</cx:pt>
          <cx:pt idx="82652">1</cx:pt>
          <cx:pt idx="82653">1</cx:pt>
          <cx:pt idx="82654">1</cx:pt>
          <cx:pt idx="82655">0</cx:pt>
          <cx:pt idx="82656">1</cx:pt>
          <cx:pt idx="82657">0</cx:pt>
          <cx:pt idx="82658">1</cx:pt>
          <cx:pt idx="82659">0</cx:pt>
          <cx:pt idx="82660">0</cx:pt>
          <cx:pt idx="82661">0</cx:pt>
          <cx:pt idx="82662">0</cx:pt>
          <cx:pt idx="82663">1</cx:pt>
          <cx:pt idx="82664">0</cx:pt>
          <cx:pt idx="82665">1</cx:pt>
          <cx:pt idx="82666">1</cx:pt>
          <cx:pt idx="82667">1</cx:pt>
          <cx:pt idx="82668">0</cx:pt>
          <cx:pt idx="82669">0</cx:pt>
          <cx:pt idx="82670">0</cx:pt>
          <cx:pt idx="82671">1</cx:pt>
          <cx:pt idx="82672">0</cx:pt>
          <cx:pt idx="82673">1</cx:pt>
          <cx:pt idx="82674">0</cx:pt>
          <cx:pt idx="82675">0</cx:pt>
          <cx:pt idx="82676">1</cx:pt>
          <cx:pt idx="82677">0</cx:pt>
          <cx:pt idx="82678">0</cx:pt>
          <cx:pt idx="82679">0</cx:pt>
          <cx:pt idx="82680">1</cx:pt>
          <cx:pt idx="82681">0</cx:pt>
          <cx:pt idx="82682">1</cx:pt>
          <cx:pt idx="82683">0</cx:pt>
          <cx:pt idx="82684">1</cx:pt>
          <cx:pt idx="82685">0</cx:pt>
          <cx:pt idx="82686">1</cx:pt>
          <cx:pt idx="82687">1</cx:pt>
          <cx:pt idx="82688">1</cx:pt>
          <cx:pt idx="82689">1</cx:pt>
          <cx:pt idx="82690">1</cx:pt>
          <cx:pt idx="82691">0</cx:pt>
          <cx:pt idx="82692">1</cx:pt>
          <cx:pt idx="82693">0</cx:pt>
          <cx:pt idx="82694">0</cx:pt>
          <cx:pt idx="82695">0</cx:pt>
          <cx:pt idx="82696">0</cx:pt>
          <cx:pt idx="82697">0</cx:pt>
          <cx:pt idx="82698">0</cx:pt>
          <cx:pt idx="82699">1</cx:pt>
          <cx:pt idx="82700">0</cx:pt>
          <cx:pt idx="82701">1</cx:pt>
          <cx:pt idx="82702">1</cx:pt>
          <cx:pt idx="82703">1</cx:pt>
          <cx:pt idx="82704">1</cx:pt>
          <cx:pt idx="82705">1</cx:pt>
          <cx:pt idx="82706">1</cx:pt>
          <cx:pt idx="82707">0</cx:pt>
          <cx:pt idx="82708">0</cx:pt>
          <cx:pt idx="82709">0</cx:pt>
          <cx:pt idx="82710">0</cx:pt>
          <cx:pt idx="82711">1</cx:pt>
          <cx:pt idx="82712">0</cx:pt>
          <cx:pt idx="82713">1</cx:pt>
          <cx:pt idx="82714">1</cx:pt>
          <cx:pt idx="82715">0</cx:pt>
          <cx:pt idx="82716">0</cx:pt>
          <cx:pt idx="82717">0</cx:pt>
          <cx:pt idx="82718">0</cx:pt>
          <cx:pt idx="82719">1</cx:pt>
          <cx:pt idx="82720">1</cx:pt>
          <cx:pt idx="82721">0</cx:pt>
          <cx:pt idx="82722">0</cx:pt>
          <cx:pt idx="82723">1</cx:pt>
          <cx:pt idx="82724">1</cx:pt>
          <cx:pt idx="82725">1</cx:pt>
          <cx:pt idx="82726">1</cx:pt>
          <cx:pt idx="82727">0</cx:pt>
          <cx:pt idx="82728">0</cx:pt>
          <cx:pt idx="82729">1</cx:pt>
          <cx:pt idx="82730">1</cx:pt>
          <cx:pt idx="82731">1</cx:pt>
          <cx:pt idx="82732">1</cx:pt>
          <cx:pt idx="82733">1</cx:pt>
          <cx:pt idx="82734">0</cx:pt>
          <cx:pt idx="82735">1</cx:pt>
          <cx:pt idx="82736">0</cx:pt>
          <cx:pt idx="82737">0</cx:pt>
          <cx:pt idx="82738">0</cx:pt>
          <cx:pt idx="82739">0</cx:pt>
          <cx:pt idx="82740">0</cx:pt>
          <cx:pt idx="82741">1</cx:pt>
          <cx:pt idx="82742">1</cx:pt>
          <cx:pt idx="82743">0</cx:pt>
          <cx:pt idx="82744">0</cx:pt>
          <cx:pt idx="82745">0</cx:pt>
          <cx:pt idx="82746">0</cx:pt>
          <cx:pt idx="82747">1</cx:pt>
          <cx:pt idx="82748">0</cx:pt>
          <cx:pt idx="82749">1</cx:pt>
          <cx:pt idx="82750">1</cx:pt>
          <cx:pt idx="82751">1</cx:pt>
          <cx:pt idx="82752">0</cx:pt>
          <cx:pt idx="82753">1</cx:pt>
          <cx:pt idx="82754">0</cx:pt>
          <cx:pt idx="82755">1</cx:pt>
          <cx:pt idx="82756">0</cx:pt>
          <cx:pt idx="82757">0</cx:pt>
          <cx:pt idx="82758">0</cx:pt>
          <cx:pt idx="82759">1</cx:pt>
          <cx:pt idx="82760">0</cx:pt>
          <cx:pt idx="82761">0</cx:pt>
          <cx:pt idx="82762">0</cx:pt>
          <cx:pt idx="82763">1</cx:pt>
          <cx:pt idx="82764">1</cx:pt>
          <cx:pt idx="82765">1</cx:pt>
          <cx:pt idx="82766">0</cx:pt>
          <cx:pt idx="82767">0</cx:pt>
          <cx:pt idx="82768">0</cx:pt>
          <cx:pt idx="82769">1</cx:pt>
          <cx:pt idx="82770">1</cx:pt>
          <cx:pt idx="82771">0</cx:pt>
          <cx:pt idx="82772">0</cx:pt>
          <cx:pt idx="82773">0</cx:pt>
          <cx:pt idx="82774">0</cx:pt>
          <cx:pt idx="82775">0</cx:pt>
          <cx:pt idx="82776">1</cx:pt>
          <cx:pt idx="82777">1</cx:pt>
          <cx:pt idx="82778">1</cx:pt>
          <cx:pt idx="82779">0</cx:pt>
          <cx:pt idx="82780">0</cx:pt>
          <cx:pt idx="82781">0</cx:pt>
          <cx:pt idx="82782">0</cx:pt>
          <cx:pt idx="82783">1</cx:pt>
          <cx:pt idx="82784">0</cx:pt>
          <cx:pt idx="82785">0</cx:pt>
          <cx:pt idx="82786">1</cx:pt>
          <cx:pt idx="82787">0</cx:pt>
          <cx:pt idx="82788">0</cx:pt>
          <cx:pt idx="82789">1</cx:pt>
          <cx:pt idx="82790">0</cx:pt>
          <cx:pt idx="82791">1</cx:pt>
          <cx:pt idx="82792">1</cx:pt>
          <cx:pt idx="82793">0</cx:pt>
          <cx:pt idx="82794">0</cx:pt>
          <cx:pt idx="82795">0</cx:pt>
          <cx:pt idx="82796">1</cx:pt>
          <cx:pt idx="82797">1</cx:pt>
          <cx:pt idx="82798">0</cx:pt>
          <cx:pt idx="82799">0</cx:pt>
          <cx:pt idx="82800">1</cx:pt>
          <cx:pt idx="82801">1</cx:pt>
          <cx:pt idx="82802">1</cx:pt>
          <cx:pt idx="82803">1</cx:pt>
          <cx:pt idx="82804">0</cx:pt>
          <cx:pt idx="82805">1</cx:pt>
          <cx:pt idx="82806">0</cx:pt>
          <cx:pt idx="82807">1</cx:pt>
          <cx:pt idx="82808">0</cx:pt>
          <cx:pt idx="82809">1</cx:pt>
          <cx:pt idx="82810">0</cx:pt>
          <cx:pt idx="82811">0</cx:pt>
          <cx:pt idx="82812">0</cx:pt>
          <cx:pt idx="82813">0</cx:pt>
          <cx:pt idx="82814">0</cx:pt>
          <cx:pt idx="82815">1</cx:pt>
          <cx:pt idx="82816">0</cx:pt>
          <cx:pt idx="82817">0</cx:pt>
          <cx:pt idx="82818">1</cx:pt>
          <cx:pt idx="82819">0</cx:pt>
          <cx:pt idx="82820">1</cx:pt>
          <cx:pt idx="82821">0</cx:pt>
          <cx:pt idx="82822">1</cx:pt>
          <cx:pt idx="82823">1</cx:pt>
          <cx:pt idx="82824">1</cx:pt>
          <cx:pt idx="82825">0</cx:pt>
          <cx:pt idx="82826">0</cx:pt>
          <cx:pt idx="82827">0</cx:pt>
          <cx:pt idx="82828">0</cx:pt>
          <cx:pt idx="82829">0</cx:pt>
          <cx:pt idx="82830">0</cx:pt>
          <cx:pt idx="82831">0</cx:pt>
          <cx:pt idx="82832">1</cx:pt>
          <cx:pt idx="82833">0</cx:pt>
          <cx:pt idx="82834">1</cx:pt>
          <cx:pt idx="82835">0</cx:pt>
          <cx:pt idx="82836">1</cx:pt>
          <cx:pt idx="82837">0</cx:pt>
          <cx:pt idx="82838">0</cx:pt>
          <cx:pt idx="82839">1</cx:pt>
          <cx:pt idx="82840">1</cx:pt>
          <cx:pt idx="82841">1</cx:pt>
          <cx:pt idx="82842">0</cx:pt>
          <cx:pt idx="82843">0</cx:pt>
          <cx:pt idx="82844">1</cx:pt>
          <cx:pt idx="82845">0</cx:pt>
          <cx:pt idx="82846">0</cx:pt>
          <cx:pt idx="82847">0</cx:pt>
          <cx:pt idx="82848">0</cx:pt>
          <cx:pt idx="82849">0</cx:pt>
          <cx:pt idx="82850">0</cx:pt>
          <cx:pt idx="82851">1</cx:pt>
          <cx:pt idx="82852">0</cx:pt>
          <cx:pt idx="82853">1</cx:pt>
          <cx:pt idx="82854">0</cx:pt>
          <cx:pt idx="82855">0</cx:pt>
          <cx:pt idx="82856">1</cx:pt>
          <cx:pt idx="82857">0</cx:pt>
          <cx:pt idx="82858">1</cx:pt>
          <cx:pt idx="82859">0</cx:pt>
          <cx:pt idx="82860">0</cx:pt>
          <cx:pt idx="82861">0</cx:pt>
          <cx:pt idx="82862">1</cx:pt>
          <cx:pt idx="82863">1</cx:pt>
          <cx:pt idx="82864">0</cx:pt>
          <cx:pt idx="82865">0</cx:pt>
          <cx:pt idx="82866">0</cx:pt>
          <cx:pt idx="82867">0</cx:pt>
          <cx:pt idx="82868">0</cx:pt>
          <cx:pt idx="82869">0</cx:pt>
          <cx:pt idx="82870">1</cx:pt>
          <cx:pt idx="82871">0</cx:pt>
          <cx:pt idx="82872">0</cx:pt>
          <cx:pt idx="82873">1</cx:pt>
          <cx:pt idx="82874">0</cx:pt>
          <cx:pt idx="82875">0</cx:pt>
          <cx:pt idx="82876">1</cx:pt>
          <cx:pt idx="82877">1</cx:pt>
          <cx:pt idx="82878">0</cx:pt>
          <cx:pt idx="82879">0</cx:pt>
          <cx:pt idx="82880">0</cx:pt>
          <cx:pt idx="82881">1</cx:pt>
          <cx:pt idx="82882">0</cx:pt>
          <cx:pt idx="82883">0</cx:pt>
          <cx:pt idx="82884">1</cx:pt>
          <cx:pt idx="82885">1</cx:pt>
          <cx:pt idx="82886">0</cx:pt>
          <cx:pt idx="82887">0</cx:pt>
          <cx:pt idx="82888">1</cx:pt>
          <cx:pt idx="82889">1</cx:pt>
          <cx:pt idx="82890">1</cx:pt>
          <cx:pt idx="82891">0</cx:pt>
          <cx:pt idx="82892">0</cx:pt>
          <cx:pt idx="82893">0</cx:pt>
          <cx:pt idx="82894">0</cx:pt>
          <cx:pt idx="82895">0</cx:pt>
          <cx:pt idx="82896">0</cx:pt>
          <cx:pt idx="82897">1</cx:pt>
          <cx:pt idx="82898">0</cx:pt>
          <cx:pt idx="82899">0</cx:pt>
          <cx:pt idx="82900">0</cx:pt>
          <cx:pt idx="82901">1</cx:pt>
          <cx:pt idx="82902">0</cx:pt>
          <cx:pt idx="82903">0</cx:pt>
          <cx:pt idx="82904">1</cx:pt>
          <cx:pt idx="82905">0</cx:pt>
          <cx:pt idx="82906">1</cx:pt>
          <cx:pt idx="82907">0</cx:pt>
          <cx:pt idx="82908">0</cx:pt>
          <cx:pt idx="82909">1</cx:pt>
          <cx:pt idx="82910">0</cx:pt>
          <cx:pt idx="82911">1</cx:pt>
          <cx:pt idx="82912">0</cx:pt>
          <cx:pt idx="82913">0</cx:pt>
          <cx:pt idx="82914">1</cx:pt>
          <cx:pt idx="82915">1</cx:pt>
          <cx:pt idx="82916">1</cx:pt>
          <cx:pt idx="82917">0</cx:pt>
          <cx:pt idx="82918">0</cx:pt>
          <cx:pt idx="82919">1</cx:pt>
          <cx:pt idx="82920">0</cx:pt>
          <cx:pt idx="82921">1</cx:pt>
          <cx:pt idx="82922">1</cx:pt>
          <cx:pt idx="82923">1</cx:pt>
          <cx:pt idx="82924">1</cx:pt>
          <cx:pt idx="82925">1</cx:pt>
          <cx:pt idx="82926">1</cx:pt>
          <cx:pt idx="82927">1</cx:pt>
          <cx:pt idx="82928">0</cx:pt>
          <cx:pt idx="82929">1</cx:pt>
          <cx:pt idx="82930">1</cx:pt>
          <cx:pt idx="82931">1</cx:pt>
          <cx:pt idx="82932">1</cx:pt>
          <cx:pt idx="82933">0</cx:pt>
          <cx:pt idx="82934">0</cx:pt>
          <cx:pt idx="82935">0</cx:pt>
          <cx:pt idx="82936">1</cx:pt>
          <cx:pt idx="82937">0</cx:pt>
          <cx:pt idx="82938">1</cx:pt>
          <cx:pt idx="82939">0</cx:pt>
          <cx:pt idx="82940">1</cx:pt>
          <cx:pt idx="82941">1</cx:pt>
          <cx:pt idx="82942">1</cx:pt>
          <cx:pt idx="82943">1</cx:pt>
          <cx:pt idx="82944">0</cx:pt>
          <cx:pt idx="82945">0</cx:pt>
          <cx:pt idx="82946">1</cx:pt>
          <cx:pt idx="82947">0</cx:pt>
          <cx:pt idx="82948">1</cx:pt>
          <cx:pt idx="82949">1</cx:pt>
          <cx:pt idx="82950">0</cx:pt>
          <cx:pt idx="82951">0</cx:pt>
          <cx:pt idx="82952">1</cx:pt>
          <cx:pt idx="82953">0</cx:pt>
          <cx:pt idx="82954">0</cx:pt>
          <cx:pt idx="82955">0</cx:pt>
          <cx:pt idx="82956">0</cx:pt>
          <cx:pt idx="82957">0</cx:pt>
          <cx:pt idx="82958">0</cx:pt>
          <cx:pt idx="82959">1</cx:pt>
          <cx:pt idx="82960">1</cx:pt>
          <cx:pt idx="82961">0</cx:pt>
          <cx:pt idx="82962">1</cx:pt>
          <cx:pt idx="82963">1</cx:pt>
          <cx:pt idx="82964">0</cx:pt>
          <cx:pt idx="82965">1</cx:pt>
          <cx:pt idx="82966">0</cx:pt>
          <cx:pt idx="82967">0</cx:pt>
          <cx:pt idx="82968">0</cx:pt>
          <cx:pt idx="82969">1</cx:pt>
          <cx:pt idx="82970">1</cx:pt>
          <cx:pt idx="82971">0</cx:pt>
          <cx:pt idx="82972">0</cx:pt>
          <cx:pt idx="82973">0</cx:pt>
          <cx:pt idx="82974">1</cx:pt>
          <cx:pt idx="82975">1</cx:pt>
          <cx:pt idx="82976">0</cx:pt>
          <cx:pt idx="82977">0</cx:pt>
          <cx:pt idx="82978">1</cx:pt>
          <cx:pt idx="82979">0</cx:pt>
          <cx:pt idx="82980">1</cx:pt>
          <cx:pt idx="82981">0</cx:pt>
          <cx:pt idx="82982">0</cx:pt>
          <cx:pt idx="82983">0</cx:pt>
          <cx:pt idx="82984">1</cx:pt>
          <cx:pt idx="82985">0</cx:pt>
          <cx:pt idx="82986">0</cx:pt>
          <cx:pt idx="82987">0</cx:pt>
          <cx:pt idx="82988">1</cx:pt>
          <cx:pt idx="82989">0</cx:pt>
          <cx:pt idx="82990">0</cx:pt>
          <cx:pt idx="82991">1</cx:pt>
          <cx:pt idx="82992">0</cx:pt>
          <cx:pt idx="82993">1</cx:pt>
          <cx:pt idx="82994">1</cx:pt>
          <cx:pt idx="82995">0</cx:pt>
          <cx:pt idx="82996">0</cx:pt>
          <cx:pt idx="82997">1</cx:pt>
          <cx:pt idx="82998">0</cx:pt>
          <cx:pt idx="82999">0</cx:pt>
          <cx:pt idx="83000">1</cx:pt>
          <cx:pt idx="83001">1</cx:pt>
          <cx:pt idx="83002">1</cx:pt>
          <cx:pt idx="83003">0</cx:pt>
          <cx:pt idx="83004">0</cx:pt>
          <cx:pt idx="83005">0</cx:pt>
          <cx:pt idx="83006">0</cx:pt>
          <cx:pt idx="83007">0</cx:pt>
          <cx:pt idx="83008">0</cx:pt>
          <cx:pt idx="83009">0</cx:pt>
          <cx:pt idx="83010">0</cx:pt>
          <cx:pt idx="83011">0</cx:pt>
          <cx:pt idx="83012">0</cx:pt>
          <cx:pt idx="83013">0</cx:pt>
          <cx:pt idx="83014">0</cx:pt>
          <cx:pt idx="83015">0</cx:pt>
          <cx:pt idx="83016">1</cx:pt>
          <cx:pt idx="83017">0</cx:pt>
          <cx:pt idx="83018">0</cx:pt>
          <cx:pt idx="83019">0</cx:pt>
          <cx:pt idx="83020">0</cx:pt>
          <cx:pt idx="83021">0</cx:pt>
          <cx:pt idx="83022">0</cx:pt>
          <cx:pt idx="83023">0</cx:pt>
          <cx:pt idx="83024">0</cx:pt>
          <cx:pt idx="83025">0</cx:pt>
          <cx:pt idx="83026">0</cx:pt>
          <cx:pt idx="83027">0</cx:pt>
          <cx:pt idx="83028">0</cx:pt>
          <cx:pt idx="83029">0</cx:pt>
          <cx:pt idx="83030">1</cx:pt>
          <cx:pt idx="83031">1</cx:pt>
          <cx:pt idx="83032">0</cx:pt>
          <cx:pt idx="83033">1</cx:pt>
          <cx:pt idx="83034">0</cx:pt>
          <cx:pt idx="83035">1</cx:pt>
          <cx:pt idx="83036">1</cx:pt>
          <cx:pt idx="83037">1</cx:pt>
          <cx:pt idx="83038">1</cx:pt>
          <cx:pt idx="83039">0</cx:pt>
          <cx:pt idx="83040">0</cx:pt>
          <cx:pt idx="83041">1</cx:pt>
          <cx:pt idx="83042">1</cx:pt>
          <cx:pt idx="83043">0</cx:pt>
          <cx:pt idx="83044">1</cx:pt>
          <cx:pt idx="83045">0</cx:pt>
          <cx:pt idx="83046">0</cx:pt>
          <cx:pt idx="83047">1</cx:pt>
          <cx:pt idx="83048">0</cx:pt>
          <cx:pt idx="83049">0</cx:pt>
          <cx:pt idx="83050">1</cx:pt>
          <cx:pt idx="83051">0</cx:pt>
          <cx:pt idx="83052">1</cx:pt>
          <cx:pt idx="83053">1</cx:pt>
          <cx:pt idx="83054">0</cx:pt>
          <cx:pt idx="83055">0</cx:pt>
          <cx:pt idx="83056">1</cx:pt>
          <cx:pt idx="83057">1</cx:pt>
          <cx:pt idx="83058">0</cx:pt>
          <cx:pt idx="83059">1</cx:pt>
          <cx:pt idx="83060">0</cx:pt>
          <cx:pt idx="83061">1</cx:pt>
          <cx:pt idx="83062">0</cx:pt>
          <cx:pt idx="83063">1</cx:pt>
          <cx:pt idx="83064">0</cx:pt>
          <cx:pt idx="83065">1</cx:pt>
          <cx:pt idx="83066">1</cx:pt>
          <cx:pt idx="83067">1</cx:pt>
          <cx:pt idx="83068">0</cx:pt>
          <cx:pt idx="83069">0</cx:pt>
          <cx:pt idx="83070">0</cx:pt>
          <cx:pt idx="83071">0</cx:pt>
          <cx:pt idx="83072">0</cx:pt>
          <cx:pt idx="83073">0</cx:pt>
          <cx:pt idx="83074">1</cx:pt>
          <cx:pt idx="83075">1</cx:pt>
          <cx:pt idx="83076">0</cx:pt>
          <cx:pt idx="83077">0</cx:pt>
          <cx:pt idx="83078">0</cx:pt>
          <cx:pt idx="83079">1</cx:pt>
          <cx:pt idx="83080">1</cx:pt>
          <cx:pt idx="83081">1</cx:pt>
          <cx:pt idx="83082">1</cx:pt>
          <cx:pt idx="83083">1</cx:pt>
          <cx:pt idx="83084">0</cx:pt>
          <cx:pt idx="83085">1</cx:pt>
          <cx:pt idx="83086">0</cx:pt>
          <cx:pt idx="83087">0</cx:pt>
          <cx:pt idx="83088">1</cx:pt>
          <cx:pt idx="83089">1</cx:pt>
          <cx:pt idx="83090">0</cx:pt>
          <cx:pt idx="83091">1</cx:pt>
          <cx:pt idx="83092">1</cx:pt>
          <cx:pt idx="83093">0</cx:pt>
          <cx:pt idx="83094">0</cx:pt>
          <cx:pt idx="83095">0</cx:pt>
          <cx:pt idx="83096">0</cx:pt>
          <cx:pt idx="83097">0</cx:pt>
          <cx:pt idx="83098">1</cx:pt>
          <cx:pt idx="83099">0</cx:pt>
          <cx:pt idx="83100">0</cx:pt>
          <cx:pt idx="83101">1</cx:pt>
          <cx:pt idx="83102">0</cx:pt>
          <cx:pt idx="83103">0</cx:pt>
          <cx:pt idx="83104">1</cx:pt>
          <cx:pt idx="83105">0</cx:pt>
          <cx:pt idx="83106">1</cx:pt>
          <cx:pt idx="83107">0</cx:pt>
          <cx:pt idx="83108">1</cx:pt>
          <cx:pt idx="83109">0</cx:pt>
          <cx:pt idx="83110">1</cx:pt>
          <cx:pt idx="83111">1</cx:pt>
          <cx:pt idx="83112">0</cx:pt>
          <cx:pt idx="83113">0</cx:pt>
          <cx:pt idx="83114">0</cx:pt>
          <cx:pt idx="83115">1</cx:pt>
          <cx:pt idx="83116">0</cx:pt>
          <cx:pt idx="83117">0</cx:pt>
          <cx:pt idx="83118">0</cx:pt>
          <cx:pt idx="83119">1</cx:pt>
          <cx:pt idx="83120">0</cx:pt>
          <cx:pt idx="83121">0</cx:pt>
          <cx:pt idx="83122">1</cx:pt>
          <cx:pt idx="83123">1</cx:pt>
          <cx:pt idx="83124">0</cx:pt>
          <cx:pt idx="83125">1</cx:pt>
          <cx:pt idx="83126">0</cx:pt>
          <cx:pt idx="83127">1</cx:pt>
          <cx:pt idx="83128">0</cx:pt>
          <cx:pt idx="83129">1</cx:pt>
          <cx:pt idx="83130">0</cx:pt>
          <cx:pt idx="83131">1</cx:pt>
          <cx:pt idx="83132">1</cx:pt>
          <cx:pt idx="83133">1</cx:pt>
          <cx:pt idx="83134">1</cx:pt>
          <cx:pt idx="83135">1</cx:pt>
          <cx:pt idx="83136">0</cx:pt>
          <cx:pt idx="83137">1</cx:pt>
          <cx:pt idx="83138">1</cx:pt>
          <cx:pt idx="83139">0</cx:pt>
          <cx:pt idx="83140">1</cx:pt>
          <cx:pt idx="83141">1</cx:pt>
          <cx:pt idx="83142">1</cx:pt>
          <cx:pt idx="83143">0</cx:pt>
          <cx:pt idx="83144">0</cx:pt>
          <cx:pt idx="83145">1</cx:pt>
          <cx:pt idx="83146">1</cx:pt>
          <cx:pt idx="83147">1</cx:pt>
          <cx:pt idx="83148">0</cx:pt>
          <cx:pt idx="83149">1</cx:pt>
          <cx:pt idx="83150">0</cx:pt>
          <cx:pt idx="83151">0</cx:pt>
          <cx:pt idx="83152">0</cx:pt>
          <cx:pt idx="83153">0</cx:pt>
          <cx:pt idx="83154">0</cx:pt>
          <cx:pt idx="83155">0</cx:pt>
          <cx:pt idx="83156">1</cx:pt>
          <cx:pt idx="83157">0</cx:pt>
          <cx:pt idx="83158">0</cx:pt>
          <cx:pt idx="83159">1</cx:pt>
          <cx:pt idx="83160">0</cx:pt>
          <cx:pt idx="83161">1</cx:pt>
          <cx:pt idx="83162">0</cx:pt>
          <cx:pt idx="83163">0</cx:pt>
          <cx:pt idx="83164">1</cx:pt>
          <cx:pt idx="83165">0</cx:pt>
          <cx:pt idx="83166">0</cx:pt>
          <cx:pt idx="83167">0</cx:pt>
          <cx:pt idx="83168">0</cx:pt>
          <cx:pt idx="83169">0</cx:pt>
          <cx:pt idx="83170">1</cx:pt>
          <cx:pt idx="83171">1</cx:pt>
          <cx:pt idx="83172">1</cx:pt>
          <cx:pt idx="83173">1</cx:pt>
          <cx:pt idx="83174">1</cx:pt>
          <cx:pt idx="83175">0</cx:pt>
          <cx:pt idx="83176">1</cx:pt>
          <cx:pt idx="83177">1</cx:pt>
          <cx:pt idx="83178">0</cx:pt>
          <cx:pt idx="83179">0</cx:pt>
          <cx:pt idx="83180">1</cx:pt>
          <cx:pt idx="83181">0</cx:pt>
          <cx:pt idx="83182">0</cx:pt>
          <cx:pt idx="83183">0</cx:pt>
          <cx:pt idx="83184">0</cx:pt>
          <cx:pt idx="83185">1</cx:pt>
          <cx:pt idx="83186">0</cx:pt>
          <cx:pt idx="83187">1</cx:pt>
          <cx:pt idx="83188">0</cx:pt>
          <cx:pt idx="83189">1</cx:pt>
          <cx:pt idx="83190">1</cx:pt>
          <cx:pt idx="83191">1</cx:pt>
          <cx:pt idx="83192">0</cx:pt>
          <cx:pt idx="83193">1</cx:pt>
          <cx:pt idx="83194">1</cx:pt>
          <cx:pt idx="83195">1</cx:pt>
          <cx:pt idx="83196">0</cx:pt>
          <cx:pt idx="83197">0</cx:pt>
          <cx:pt idx="83198">1</cx:pt>
          <cx:pt idx="83199">1</cx:pt>
          <cx:pt idx="83200">0</cx:pt>
          <cx:pt idx="83201">0</cx:pt>
          <cx:pt idx="83202">0</cx:pt>
          <cx:pt idx="83203">0</cx:pt>
          <cx:pt idx="83204">0</cx:pt>
          <cx:pt idx="83205">1</cx:pt>
          <cx:pt idx="83206">0</cx:pt>
          <cx:pt idx="83207">0</cx:pt>
          <cx:pt idx="83208">0</cx:pt>
          <cx:pt idx="83209">1</cx:pt>
          <cx:pt idx="83210">0</cx:pt>
          <cx:pt idx="83211">0</cx:pt>
          <cx:pt idx="83212">0</cx:pt>
          <cx:pt idx="83213">0</cx:pt>
          <cx:pt idx="83214">0</cx:pt>
          <cx:pt idx="83215">1</cx:pt>
          <cx:pt idx="83216">0</cx:pt>
          <cx:pt idx="83217">0</cx:pt>
          <cx:pt idx="83218">0</cx:pt>
          <cx:pt idx="83219">1</cx:pt>
          <cx:pt idx="83220">1</cx:pt>
          <cx:pt idx="83221">0</cx:pt>
          <cx:pt idx="83222">1</cx:pt>
          <cx:pt idx="83223">1</cx:pt>
          <cx:pt idx="83224">0</cx:pt>
          <cx:pt idx="83225">1</cx:pt>
          <cx:pt idx="83226">1</cx:pt>
          <cx:pt idx="83227">1</cx:pt>
          <cx:pt idx="83228">1</cx:pt>
          <cx:pt idx="83229">0</cx:pt>
          <cx:pt idx="83230">0</cx:pt>
          <cx:pt idx="83231">0</cx:pt>
          <cx:pt idx="83232">0</cx:pt>
          <cx:pt idx="83233">0</cx:pt>
          <cx:pt idx="83234">1</cx:pt>
          <cx:pt idx="83235">1</cx:pt>
          <cx:pt idx="83236">1</cx:pt>
          <cx:pt idx="83237">0</cx:pt>
          <cx:pt idx="83238">0</cx:pt>
          <cx:pt idx="83239">0</cx:pt>
          <cx:pt idx="83240">1</cx:pt>
          <cx:pt idx="83241">1</cx:pt>
          <cx:pt idx="83242">1</cx:pt>
          <cx:pt idx="83243">0</cx:pt>
          <cx:pt idx="83244">1</cx:pt>
          <cx:pt idx="83245">0</cx:pt>
          <cx:pt idx="83246">1</cx:pt>
          <cx:pt idx="83247">1</cx:pt>
          <cx:pt idx="83248">0</cx:pt>
          <cx:pt idx="83249">1</cx:pt>
          <cx:pt idx="83250">0</cx:pt>
          <cx:pt idx="83251">0</cx:pt>
          <cx:pt idx="83252">1</cx:pt>
          <cx:pt idx="83253">0</cx:pt>
          <cx:pt idx="83254">1</cx:pt>
          <cx:pt idx="83255">0</cx:pt>
          <cx:pt idx="83256">0</cx:pt>
          <cx:pt idx="83257">0</cx:pt>
          <cx:pt idx="83258">1</cx:pt>
          <cx:pt idx="83259">1</cx:pt>
          <cx:pt idx="83260">0</cx:pt>
          <cx:pt idx="83261">0</cx:pt>
          <cx:pt idx="83262">0</cx:pt>
          <cx:pt idx="83263">0</cx:pt>
          <cx:pt idx="83264">1</cx:pt>
          <cx:pt idx="83265">1</cx:pt>
          <cx:pt idx="83266">0</cx:pt>
          <cx:pt idx="83267">1</cx:pt>
          <cx:pt idx="83268">1</cx:pt>
          <cx:pt idx="83269">0</cx:pt>
          <cx:pt idx="83270">0</cx:pt>
          <cx:pt idx="83271">0</cx:pt>
          <cx:pt idx="83272">0</cx:pt>
          <cx:pt idx="83273">1</cx:pt>
          <cx:pt idx="83274">1</cx:pt>
          <cx:pt idx="83275">0</cx:pt>
          <cx:pt idx="83276">1</cx:pt>
          <cx:pt idx="83277">0</cx:pt>
          <cx:pt idx="83278">0</cx:pt>
          <cx:pt idx="83279">0</cx:pt>
          <cx:pt idx="83280">1</cx:pt>
          <cx:pt idx="83281">0</cx:pt>
          <cx:pt idx="83282">0</cx:pt>
          <cx:pt idx="83283">1</cx:pt>
          <cx:pt idx="83284">0</cx:pt>
          <cx:pt idx="83285">0</cx:pt>
          <cx:pt idx="83286">0</cx:pt>
          <cx:pt idx="83287">1</cx:pt>
          <cx:pt idx="83288">1</cx:pt>
          <cx:pt idx="83289">1</cx:pt>
          <cx:pt idx="83290">1</cx:pt>
          <cx:pt idx="83291">0</cx:pt>
          <cx:pt idx="83292">0</cx:pt>
          <cx:pt idx="83293">1</cx:pt>
          <cx:pt idx="83294">1</cx:pt>
          <cx:pt idx="83295">0</cx:pt>
          <cx:pt idx="83296">0</cx:pt>
          <cx:pt idx="83297">0</cx:pt>
          <cx:pt idx="83298">1</cx:pt>
          <cx:pt idx="83299">0</cx:pt>
          <cx:pt idx="83300">0</cx:pt>
          <cx:pt idx="83301">1</cx:pt>
          <cx:pt idx="83302">1</cx:pt>
          <cx:pt idx="83303">0</cx:pt>
          <cx:pt idx="83304">0</cx:pt>
          <cx:pt idx="83305">0</cx:pt>
          <cx:pt idx="83306">0</cx:pt>
          <cx:pt idx="83307">1</cx:pt>
          <cx:pt idx="83308">1</cx:pt>
          <cx:pt idx="83309">0</cx:pt>
          <cx:pt idx="83310">0</cx:pt>
          <cx:pt idx="83311">0</cx:pt>
          <cx:pt idx="83312">0</cx:pt>
          <cx:pt idx="83313">0</cx:pt>
          <cx:pt idx="83314">1</cx:pt>
          <cx:pt idx="83315">0</cx:pt>
          <cx:pt idx="83316">1</cx:pt>
          <cx:pt idx="83317">0</cx:pt>
          <cx:pt idx="83318">1</cx:pt>
          <cx:pt idx="83319">0</cx:pt>
          <cx:pt idx="83320">1</cx:pt>
          <cx:pt idx="83321">1</cx:pt>
          <cx:pt idx="83322">0</cx:pt>
          <cx:pt idx="83323">0</cx:pt>
          <cx:pt idx="83324">0</cx:pt>
          <cx:pt idx="83325">1</cx:pt>
          <cx:pt idx="83326">1</cx:pt>
          <cx:pt idx="83327">0</cx:pt>
          <cx:pt idx="83328">0</cx:pt>
          <cx:pt idx="83329">0</cx:pt>
          <cx:pt idx="83330">1</cx:pt>
          <cx:pt idx="83331">1</cx:pt>
          <cx:pt idx="83332">0</cx:pt>
          <cx:pt idx="83333">0</cx:pt>
          <cx:pt idx="83334">1</cx:pt>
          <cx:pt idx="83335">1</cx:pt>
          <cx:pt idx="83336">1</cx:pt>
          <cx:pt idx="83337">0</cx:pt>
          <cx:pt idx="83338">0</cx:pt>
          <cx:pt idx="83339">0</cx:pt>
          <cx:pt idx="83340">0</cx:pt>
          <cx:pt idx="83341">1</cx:pt>
          <cx:pt idx="83342">0</cx:pt>
          <cx:pt idx="83343">0</cx:pt>
          <cx:pt idx="83344">1</cx:pt>
          <cx:pt idx="83345">0</cx:pt>
          <cx:pt idx="83346">0</cx:pt>
          <cx:pt idx="83347">1</cx:pt>
          <cx:pt idx="83348">0</cx:pt>
          <cx:pt idx="83349">0</cx:pt>
          <cx:pt idx="83350">0</cx:pt>
          <cx:pt idx="83351">0</cx:pt>
          <cx:pt idx="83352">0</cx:pt>
          <cx:pt idx="83353">1</cx:pt>
          <cx:pt idx="83354">0</cx:pt>
          <cx:pt idx="83355">0</cx:pt>
          <cx:pt idx="83356">1</cx:pt>
          <cx:pt idx="83357">0</cx:pt>
          <cx:pt idx="83358">0</cx:pt>
          <cx:pt idx="83359">0</cx:pt>
          <cx:pt idx="83360">0</cx:pt>
          <cx:pt idx="83361">0</cx:pt>
          <cx:pt idx="83362">0</cx:pt>
          <cx:pt idx="83363">0</cx:pt>
          <cx:pt idx="83364">1</cx:pt>
          <cx:pt idx="83365">1</cx:pt>
          <cx:pt idx="83366">0</cx:pt>
          <cx:pt idx="83367">1</cx:pt>
          <cx:pt idx="83368">0</cx:pt>
          <cx:pt idx="83369">0</cx:pt>
          <cx:pt idx="83370">0</cx:pt>
          <cx:pt idx="83371">0</cx:pt>
          <cx:pt idx="83372">0</cx:pt>
          <cx:pt idx="83373">0</cx:pt>
          <cx:pt idx="83374">1</cx:pt>
          <cx:pt idx="83375">0</cx:pt>
          <cx:pt idx="83376">0</cx:pt>
          <cx:pt idx="83377">0</cx:pt>
          <cx:pt idx="83378">0</cx:pt>
          <cx:pt idx="83379">1</cx:pt>
          <cx:pt idx="83380">0</cx:pt>
          <cx:pt idx="83381">0</cx:pt>
          <cx:pt idx="83382">0</cx:pt>
          <cx:pt idx="83383">0</cx:pt>
          <cx:pt idx="83384">0</cx:pt>
          <cx:pt idx="83385">1</cx:pt>
          <cx:pt idx="83386">1</cx:pt>
          <cx:pt idx="83387">0</cx:pt>
          <cx:pt idx="83388">1</cx:pt>
          <cx:pt idx="83389">0</cx:pt>
          <cx:pt idx="83390">0</cx:pt>
          <cx:pt idx="83391">0</cx:pt>
          <cx:pt idx="83392">0</cx:pt>
          <cx:pt idx="83393">0</cx:pt>
          <cx:pt idx="83394">0</cx:pt>
          <cx:pt idx="83395">0</cx:pt>
          <cx:pt idx="83396">1</cx:pt>
          <cx:pt idx="83397">0</cx:pt>
          <cx:pt idx="83398">0</cx:pt>
          <cx:pt idx="83399">1</cx:pt>
          <cx:pt idx="83400">0</cx:pt>
          <cx:pt idx="83401">0</cx:pt>
          <cx:pt idx="83402">1</cx:pt>
          <cx:pt idx="83403">0</cx:pt>
          <cx:pt idx="83404">1</cx:pt>
          <cx:pt idx="83405">1</cx:pt>
          <cx:pt idx="83406">0</cx:pt>
          <cx:pt idx="83407">0</cx:pt>
          <cx:pt idx="83408">0</cx:pt>
          <cx:pt idx="83409">1</cx:pt>
          <cx:pt idx="83410">0</cx:pt>
          <cx:pt idx="83411">0</cx:pt>
          <cx:pt idx="83412">0</cx:pt>
          <cx:pt idx="83413">0</cx:pt>
          <cx:pt idx="83414">1</cx:pt>
          <cx:pt idx="83415">0</cx:pt>
          <cx:pt idx="83416">1</cx:pt>
          <cx:pt idx="83417">1</cx:pt>
          <cx:pt idx="83418">0</cx:pt>
          <cx:pt idx="83419">0</cx:pt>
          <cx:pt idx="83420">0</cx:pt>
          <cx:pt idx="83421">1</cx:pt>
          <cx:pt idx="83422">1</cx:pt>
          <cx:pt idx="83423">1</cx:pt>
          <cx:pt idx="83424">0</cx:pt>
          <cx:pt idx="83425">1</cx:pt>
          <cx:pt idx="83426">1</cx:pt>
          <cx:pt idx="83427">0</cx:pt>
          <cx:pt idx="83428">0</cx:pt>
          <cx:pt idx="83429">1</cx:pt>
          <cx:pt idx="83430">1</cx:pt>
          <cx:pt idx="83431">1</cx:pt>
          <cx:pt idx="83432">0</cx:pt>
          <cx:pt idx="83433">1</cx:pt>
          <cx:pt idx="83434">0</cx:pt>
          <cx:pt idx="83435">0</cx:pt>
          <cx:pt idx="83436">0</cx:pt>
          <cx:pt idx="83437">0</cx:pt>
          <cx:pt idx="83438">1</cx:pt>
          <cx:pt idx="83439">0</cx:pt>
          <cx:pt idx="83440">1</cx:pt>
          <cx:pt idx="83441">1</cx:pt>
          <cx:pt idx="83442">1</cx:pt>
          <cx:pt idx="83443">0</cx:pt>
          <cx:pt idx="83444">0</cx:pt>
          <cx:pt idx="83445">0</cx:pt>
          <cx:pt idx="83446">0</cx:pt>
          <cx:pt idx="83447">0</cx:pt>
          <cx:pt idx="83448">0</cx:pt>
          <cx:pt idx="83449">0</cx:pt>
          <cx:pt idx="83450">1</cx:pt>
          <cx:pt idx="83451">1</cx:pt>
          <cx:pt idx="83452">0</cx:pt>
          <cx:pt idx="83453">0</cx:pt>
          <cx:pt idx="83454">0</cx:pt>
          <cx:pt idx="83455">1</cx:pt>
          <cx:pt idx="83456">1</cx:pt>
          <cx:pt idx="83457">1</cx:pt>
          <cx:pt idx="83458">0</cx:pt>
          <cx:pt idx="83459">0</cx:pt>
          <cx:pt idx="83460">0</cx:pt>
          <cx:pt idx="83461">0</cx:pt>
          <cx:pt idx="83462">0</cx:pt>
          <cx:pt idx="83463">0</cx:pt>
          <cx:pt idx="83464">1</cx:pt>
          <cx:pt idx="83465">1</cx:pt>
          <cx:pt idx="83466">1</cx:pt>
          <cx:pt idx="83467">0</cx:pt>
          <cx:pt idx="83468">0</cx:pt>
          <cx:pt idx="83469">0</cx:pt>
          <cx:pt idx="83470">0</cx:pt>
          <cx:pt idx="83471">1</cx:pt>
          <cx:pt idx="83472">1</cx:pt>
          <cx:pt idx="83473">1</cx:pt>
          <cx:pt idx="83474">1</cx:pt>
          <cx:pt idx="83475">0</cx:pt>
          <cx:pt idx="83476">0</cx:pt>
          <cx:pt idx="83477">0</cx:pt>
          <cx:pt idx="83478">0</cx:pt>
          <cx:pt idx="83479">0</cx:pt>
          <cx:pt idx="83480">0</cx:pt>
          <cx:pt idx="83481">0</cx:pt>
          <cx:pt idx="83482">1</cx:pt>
          <cx:pt idx="83483">1</cx:pt>
          <cx:pt idx="83484">0</cx:pt>
          <cx:pt idx="83485">0</cx:pt>
          <cx:pt idx="83486">0</cx:pt>
          <cx:pt idx="83487">0</cx:pt>
          <cx:pt idx="83488">0</cx:pt>
          <cx:pt idx="83489">0</cx:pt>
          <cx:pt idx="83490">1</cx:pt>
          <cx:pt idx="83491">1</cx:pt>
          <cx:pt idx="83492">1</cx:pt>
          <cx:pt idx="83493">0</cx:pt>
          <cx:pt idx="83494">1</cx:pt>
          <cx:pt idx="83495">0</cx:pt>
          <cx:pt idx="83496">0</cx:pt>
          <cx:pt idx="83497">0</cx:pt>
          <cx:pt idx="83498">0</cx:pt>
          <cx:pt idx="83499">0</cx:pt>
          <cx:pt idx="83500">0</cx:pt>
          <cx:pt idx="83501">1</cx:pt>
          <cx:pt idx="83502">1</cx:pt>
          <cx:pt idx="83503">1</cx:pt>
          <cx:pt idx="83504">0</cx:pt>
          <cx:pt idx="83505">1</cx:pt>
          <cx:pt idx="83506">0</cx:pt>
          <cx:pt idx="83507">0</cx:pt>
          <cx:pt idx="83508">1</cx:pt>
          <cx:pt idx="83509">0</cx:pt>
          <cx:pt idx="83510">0</cx:pt>
          <cx:pt idx="83511">0</cx:pt>
          <cx:pt idx="83512">1</cx:pt>
          <cx:pt idx="83513">1</cx:pt>
          <cx:pt idx="83514">1</cx:pt>
          <cx:pt idx="83515">0</cx:pt>
          <cx:pt idx="83516">1</cx:pt>
          <cx:pt idx="83517">0</cx:pt>
          <cx:pt idx="83518">1</cx:pt>
          <cx:pt idx="83519">0</cx:pt>
          <cx:pt idx="83520">0</cx:pt>
          <cx:pt idx="83521">0</cx:pt>
          <cx:pt idx="83522">1</cx:pt>
          <cx:pt idx="83523">1</cx:pt>
          <cx:pt idx="83524">1</cx:pt>
          <cx:pt idx="83525">1</cx:pt>
          <cx:pt idx="83526">0</cx:pt>
          <cx:pt idx="83527">0</cx:pt>
          <cx:pt idx="83528">1</cx:pt>
          <cx:pt idx="83529">1</cx:pt>
          <cx:pt idx="83530">1</cx:pt>
          <cx:pt idx="83531">0</cx:pt>
          <cx:pt idx="83532">1</cx:pt>
          <cx:pt idx="83533">0</cx:pt>
          <cx:pt idx="83534">0</cx:pt>
          <cx:pt idx="83535">0</cx:pt>
          <cx:pt idx="83536">0</cx:pt>
          <cx:pt idx="83537">1</cx:pt>
          <cx:pt idx="83538">0</cx:pt>
          <cx:pt idx="83539">1</cx:pt>
          <cx:pt idx="83540">1</cx:pt>
          <cx:pt idx="83541">1</cx:pt>
          <cx:pt idx="83542">1</cx:pt>
          <cx:pt idx="83543">1</cx:pt>
          <cx:pt idx="83544">0</cx:pt>
          <cx:pt idx="83545">0</cx:pt>
          <cx:pt idx="83546">0</cx:pt>
          <cx:pt idx="83547">1</cx:pt>
          <cx:pt idx="83548">0</cx:pt>
          <cx:pt idx="83549">0</cx:pt>
          <cx:pt idx="83550">0</cx:pt>
          <cx:pt idx="83551">0</cx:pt>
          <cx:pt idx="83552">1</cx:pt>
          <cx:pt idx="83553">0</cx:pt>
          <cx:pt idx="83554">0</cx:pt>
          <cx:pt idx="83555">0</cx:pt>
          <cx:pt idx="83556">0</cx:pt>
          <cx:pt idx="83557">1</cx:pt>
          <cx:pt idx="83558">0</cx:pt>
          <cx:pt idx="83559">0</cx:pt>
          <cx:pt idx="83560">1</cx:pt>
          <cx:pt idx="83561">1</cx:pt>
          <cx:pt idx="83562">0</cx:pt>
          <cx:pt idx="83563">0</cx:pt>
          <cx:pt idx="83564">1</cx:pt>
          <cx:pt idx="83565">0</cx:pt>
          <cx:pt idx="83566">0</cx:pt>
          <cx:pt idx="83567">1</cx:pt>
          <cx:pt idx="83568">1</cx:pt>
          <cx:pt idx="83569">1</cx:pt>
          <cx:pt idx="83570">1</cx:pt>
          <cx:pt idx="83571">1</cx:pt>
          <cx:pt idx="83572">0</cx:pt>
          <cx:pt idx="83573">0</cx:pt>
          <cx:pt idx="83574">0</cx:pt>
          <cx:pt idx="83575">1</cx:pt>
          <cx:pt idx="83576">1</cx:pt>
          <cx:pt idx="83577">0</cx:pt>
          <cx:pt idx="83578">1</cx:pt>
          <cx:pt idx="83579">0</cx:pt>
          <cx:pt idx="83580">0</cx:pt>
          <cx:pt idx="83581">0</cx:pt>
          <cx:pt idx="83582">0</cx:pt>
          <cx:pt idx="83583">0</cx:pt>
          <cx:pt idx="83584">1</cx:pt>
          <cx:pt idx="83585">0</cx:pt>
          <cx:pt idx="83586">0</cx:pt>
          <cx:pt idx="83587">0</cx:pt>
          <cx:pt idx="83588">0</cx:pt>
          <cx:pt idx="83589">1</cx:pt>
          <cx:pt idx="83590">1</cx:pt>
          <cx:pt idx="83591">1</cx:pt>
          <cx:pt idx="83592">1</cx:pt>
          <cx:pt idx="83593">1</cx:pt>
          <cx:pt idx="83594">1</cx:pt>
          <cx:pt idx="83595">0</cx:pt>
          <cx:pt idx="83596">0</cx:pt>
          <cx:pt idx="83597">1</cx:pt>
          <cx:pt idx="83598">0</cx:pt>
          <cx:pt idx="83599">1</cx:pt>
          <cx:pt idx="83600">0</cx:pt>
          <cx:pt idx="83601">1</cx:pt>
          <cx:pt idx="83602">1</cx:pt>
          <cx:pt idx="83603">1</cx:pt>
          <cx:pt idx="83604">0</cx:pt>
          <cx:pt idx="83605">0</cx:pt>
          <cx:pt idx="83606">0</cx:pt>
          <cx:pt idx="83607">0</cx:pt>
          <cx:pt idx="83608">1</cx:pt>
          <cx:pt idx="83609">0</cx:pt>
          <cx:pt idx="83610">1</cx:pt>
          <cx:pt idx="83611">1</cx:pt>
          <cx:pt idx="83612">1</cx:pt>
          <cx:pt idx="83613">0</cx:pt>
          <cx:pt idx="83614">0</cx:pt>
          <cx:pt idx="83615">1</cx:pt>
          <cx:pt idx="83616">0</cx:pt>
          <cx:pt idx="83617">0</cx:pt>
          <cx:pt idx="83618">1</cx:pt>
          <cx:pt idx="83619">0</cx:pt>
          <cx:pt idx="83620">0</cx:pt>
          <cx:pt idx="83621">1</cx:pt>
          <cx:pt idx="83622">0</cx:pt>
          <cx:pt idx="83623">0</cx:pt>
          <cx:pt idx="83624">0</cx:pt>
          <cx:pt idx="83625">1</cx:pt>
          <cx:pt idx="83626">1</cx:pt>
          <cx:pt idx="83627">0</cx:pt>
          <cx:pt idx="83628">0</cx:pt>
          <cx:pt idx="83629">1</cx:pt>
          <cx:pt idx="83630">0</cx:pt>
          <cx:pt idx="83631">0</cx:pt>
          <cx:pt idx="83632">1</cx:pt>
          <cx:pt idx="83633">0</cx:pt>
          <cx:pt idx="83634">0</cx:pt>
          <cx:pt idx="83635">0</cx:pt>
          <cx:pt idx="83636">0</cx:pt>
          <cx:pt idx="83637">1</cx:pt>
          <cx:pt idx="83638">0</cx:pt>
          <cx:pt idx="83639">1</cx:pt>
          <cx:pt idx="83640">0</cx:pt>
          <cx:pt idx="83641">0</cx:pt>
          <cx:pt idx="83642">0</cx:pt>
          <cx:pt idx="83643">1</cx:pt>
          <cx:pt idx="83644">0</cx:pt>
          <cx:pt idx="83645">0</cx:pt>
          <cx:pt idx="83646">0</cx:pt>
          <cx:pt idx="83647">0</cx:pt>
          <cx:pt idx="83648">1</cx:pt>
          <cx:pt idx="83649">0</cx:pt>
          <cx:pt idx="83650">0</cx:pt>
          <cx:pt idx="83651">1</cx:pt>
          <cx:pt idx="83652">0</cx:pt>
          <cx:pt idx="83653">0</cx:pt>
          <cx:pt idx="83654">0</cx:pt>
          <cx:pt idx="83655">1</cx:pt>
          <cx:pt idx="83656">0</cx:pt>
          <cx:pt idx="83657">0</cx:pt>
          <cx:pt idx="83658">1</cx:pt>
          <cx:pt idx="83659">0</cx:pt>
          <cx:pt idx="83660">1</cx:pt>
          <cx:pt idx="83661">1</cx:pt>
          <cx:pt idx="83662">1</cx:pt>
          <cx:pt idx="83663">0</cx:pt>
          <cx:pt idx="83664">1</cx:pt>
          <cx:pt idx="83665">1</cx:pt>
          <cx:pt idx="83666">0</cx:pt>
          <cx:pt idx="83667">0</cx:pt>
          <cx:pt idx="83668">1</cx:pt>
          <cx:pt idx="83669">0</cx:pt>
          <cx:pt idx="83670">0</cx:pt>
          <cx:pt idx="83671">0</cx:pt>
          <cx:pt idx="83672">1</cx:pt>
          <cx:pt idx="83673">1</cx:pt>
          <cx:pt idx="83674">0</cx:pt>
          <cx:pt idx="83675">1</cx:pt>
          <cx:pt idx="83676">0</cx:pt>
          <cx:pt idx="83677">1</cx:pt>
          <cx:pt idx="83678">0</cx:pt>
          <cx:pt idx="83679">0</cx:pt>
          <cx:pt idx="83680">1</cx:pt>
          <cx:pt idx="83681">0</cx:pt>
          <cx:pt idx="83682">1</cx:pt>
          <cx:pt idx="83683">0</cx:pt>
          <cx:pt idx="83684">1</cx:pt>
          <cx:pt idx="83685">0</cx:pt>
          <cx:pt idx="83686">1</cx:pt>
          <cx:pt idx="83687">0</cx:pt>
          <cx:pt idx="83688">0</cx:pt>
          <cx:pt idx="83689">0</cx:pt>
          <cx:pt idx="83690">1</cx:pt>
          <cx:pt idx="83691">0</cx:pt>
          <cx:pt idx="83692">1</cx:pt>
          <cx:pt idx="83693">1</cx:pt>
          <cx:pt idx="83694">0</cx:pt>
          <cx:pt idx="83695">0</cx:pt>
          <cx:pt idx="83696">0</cx:pt>
          <cx:pt idx="83697">0</cx:pt>
          <cx:pt idx="83698">1</cx:pt>
          <cx:pt idx="83699">0</cx:pt>
          <cx:pt idx="83700">0</cx:pt>
          <cx:pt idx="83701">0</cx:pt>
          <cx:pt idx="83702">1</cx:pt>
          <cx:pt idx="83703">1</cx:pt>
          <cx:pt idx="83704">1</cx:pt>
          <cx:pt idx="83705">0</cx:pt>
          <cx:pt idx="83706">0</cx:pt>
          <cx:pt idx="83707">0</cx:pt>
          <cx:pt idx="83708">0</cx:pt>
          <cx:pt idx="83709">0</cx:pt>
          <cx:pt idx="83710">1</cx:pt>
          <cx:pt idx="83711">0</cx:pt>
          <cx:pt idx="83712">0</cx:pt>
          <cx:pt idx="83713">1</cx:pt>
          <cx:pt idx="83714">1</cx:pt>
          <cx:pt idx="83715">0</cx:pt>
          <cx:pt idx="83716">0</cx:pt>
          <cx:pt idx="83717">1</cx:pt>
          <cx:pt idx="83718">1</cx:pt>
          <cx:pt idx="83719">1</cx:pt>
          <cx:pt idx="83720">0</cx:pt>
          <cx:pt idx="83721">1</cx:pt>
          <cx:pt idx="83722">0</cx:pt>
          <cx:pt idx="83723">0</cx:pt>
          <cx:pt idx="83724">1</cx:pt>
          <cx:pt idx="83725">0</cx:pt>
          <cx:pt idx="83726">0</cx:pt>
          <cx:pt idx="83727">0</cx:pt>
          <cx:pt idx="83728">0</cx:pt>
          <cx:pt idx="83729">0</cx:pt>
          <cx:pt idx="83730">0</cx:pt>
          <cx:pt idx="83731">1</cx:pt>
          <cx:pt idx="83732">0</cx:pt>
          <cx:pt idx="83733">1</cx:pt>
          <cx:pt idx="83734">0</cx:pt>
          <cx:pt idx="83735">1</cx:pt>
          <cx:pt idx="83736">0</cx:pt>
          <cx:pt idx="83737">0</cx:pt>
          <cx:pt idx="83738">0</cx:pt>
          <cx:pt idx="83739">0</cx:pt>
          <cx:pt idx="83740">1</cx:pt>
          <cx:pt idx="83741">0</cx:pt>
          <cx:pt idx="83742">1</cx:pt>
          <cx:pt idx="83743">1</cx:pt>
          <cx:pt idx="83744">1</cx:pt>
          <cx:pt idx="83745">0</cx:pt>
          <cx:pt idx="83746">0</cx:pt>
          <cx:pt idx="83747">0</cx:pt>
          <cx:pt idx="83748">1</cx:pt>
          <cx:pt idx="83749">1</cx:pt>
          <cx:pt idx="83750">0</cx:pt>
          <cx:pt idx="83751">0</cx:pt>
          <cx:pt idx="83752">1</cx:pt>
          <cx:pt idx="83753">0</cx:pt>
          <cx:pt idx="83754">0</cx:pt>
          <cx:pt idx="83755">0</cx:pt>
          <cx:pt idx="83756">1</cx:pt>
          <cx:pt idx="83757">0</cx:pt>
          <cx:pt idx="83758">1</cx:pt>
          <cx:pt idx="83759">0</cx:pt>
          <cx:pt idx="83760">0</cx:pt>
          <cx:pt idx="83761">0</cx:pt>
          <cx:pt idx="83762">0</cx:pt>
          <cx:pt idx="83763">1</cx:pt>
          <cx:pt idx="83764">1</cx:pt>
          <cx:pt idx="83765">0</cx:pt>
          <cx:pt idx="83766">0</cx:pt>
          <cx:pt idx="83767">0</cx:pt>
          <cx:pt idx="83768">1</cx:pt>
          <cx:pt idx="83769">1</cx:pt>
          <cx:pt idx="83770">1</cx:pt>
          <cx:pt idx="83771">1</cx:pt>
          <cx:pt idx="83772">0</cx:pt>
          <cx:pt idx="83773">1</cx:pt>
          <cx:pt idx="83774">0</cx:pt>
          <cx:pt idx="83775">1</cx:pt>
          <cx:pt idx="83776">1</cx:pt>
          <cx:pt idx="83777">0</cx:pt>
          <cx:pt idx="83778">1</cx:pt>
          <cx:pt idx="83779">1</cx:pt>
          <cx:pt idx="83780">0</cx:pt>
          <cx:pt idx="83781">1</cx:pt>
          <cx:pt idx="83782">0</cx:pt>
          <cx:pt idx="83783">1</cx:pt>
          <cx:pt idx="83784">0</cx:pt>
          <cx:pt idx="83785">1</cx:pt>
          <cx:pt idx="83786">0</cx:pt>
          <cx:pt idx="83787">0</cx:pt>
          <cx:pt idx="83788">0</cx:pt>
          <cx:pt idx="83789">1</cx:pt>
          <cx:pt idx="83790">0</cx:pt>
          <cx:pt idx="83791">1</cx:pt>
          <cx:pt idx="83792">0</cx:pt>
          <cx:pt idx="83793">1</cx:pt>
          <cx:pt idx="83794">1</cx:pt>
          <cx:pt idx="83795">1</cx:pt>
          <cx:pt idx="83796">1</cx:pt>
          <cx:pt idx="83797">0</cx:pt>
          <cx:pt idx="83798">0</cx:pt>
          <cx:pt idx="83799">1</cx:pt>
          <cx:pt idx="83800">0</cx:pt>
          <cx:pt idx="83801">1</cx:pt>
          <cx:pt idx="83802">1</cx:pt>
          <cx:pt idx="83803">1</cx:pt>
          <cx:pt idx="83804">0</cx:pt>
          <cx:pt idx="83805">0</cx:pt>
          <cx:pt idx="83806">0</cx:pt>
          <cx:pt idx="83807">0</cx:pt>
          <cx:pt idx="83808">1</cx:pt>
          <cx:pt idx="83809">0</cx:pt>
          <cx:pt idx="83810">1</cx:pt>
          <cx:pt idx="83811">0</cx:pt>
          <cx:pt idx="83812">0</cx:pt>
          <cx:pt idx="83813">1</cx:pt>
          <cx:pt idx="83814">1</cx:pt>
          <cx:pt idx="83815">1</cx:pt>
          <cx:pt idx="83816">1</cx:pt>
          <cx:pt idx="83817">0</cx:pt>
          <cx:pt idx="83818">1</cx:pt>
          <cx:pt idx="83819">0</cx:pt>
          <cx:pt idx="83820">1</cx:pt>
          <cx:pt idx="83821">0</cx:pt>
          <cx:pt idx="83822">0</cx:pt>
          <cx:pt idx="83823">0</cx:pt>
          <cx:pt idx="83824">0</cx:pt>
          <cx:pt idx="83825">0</cx:pt>
          <cx:pt idx="83826">1</cx:pt>
          <cx:pt idx="83827">0</cx:pt>
          <cx:pt idx="83828">1</cx:pt>
          <cx:pt idx="83829">0</cx:pt>
          <cx:pt idx="83830">0</cx:pt>
          <cx:pt idx="83831">0</cx:pt>
          <cx:pt idx="83832">0</cx:pt>
          <cx:pt idx="83833">1</cx:pt>
          <cx:pt idx="83834">1</cx:pt>
          <cx:pt idx="83835">0</cx:pt>
          <cx:pt idx="83836">1</cx:pt>
          <cx:pt idx="83837">0</cx:pt>
          <cx:pt idx="83838">0</cx:pt>
          <cx:pt idx="83839">0</cx:pt>
          <cx:pt idx="83840">1</cx:pt>
          <cx:pt idx="83841">1</cx:pt>
          <cx:pt idx="83842">0</cx:pt>
          <cx:pt idx="83843">1</cx:pt>
          <cx:pt idx="83844">1</cx:pt>
          <cx:pt idx="83845">0</cx:pt>
          <cx:pt idx="83846">1</cx:pt>
          <cx:pt idx="83847">0</cx:pt>
          <cx:pt idx="83848">0</cx:pt>
          <cx:pt idx="83849">1</cx:pt>
          <cx:pt idx="83850">0</cx:pt>
          <cx:pt idx="83851">0</cx:pt>
          <cx:pt idx="83852">0</cx:pt>
          <cx:pt idx="83853">1</cx:pt>
          <cx:pt idx="83854">0</cx:pt>
          <cx:pt idx="83855">0</cx:pt>
          <cx:pt idx="83856">1</cx:pt>
          <cx:pt idx="83857">0</cx:pt>
          <cx:pt idx="83858">1</cx:pt>
          <cx:pt idx="83859">1</cx:pt>
          <cx:pt idx="83860">0</cx:pt>
          <cx:pt idx="83861">0</cx:pt>
          <cx:pt idx="83862">1</cx:pt>
          <cx:pt idx="83863">0</cx:pt>
          <cx:pt idx="83864">0</cx:pt>
          <cx:pt idx="83865">1</cx:pt>
          <cx:pt idx="83866">0</cx:pt>
          <cx:pt idx="83867">0</cx:pt>
          <cx:pt idx="83868">0</cx:pt>
          <cx:pt idx="83869">1</cx:pt>
          <cx:pt idx="83870">1</cx:pt>
          <cx:pt idx="83871">1</cx:pt>
          <cx:pt idx="83872">0</cx:pt>
          <cx:pt idx="83873">0</cx:pt>
          <cx:pt idx="83874">0</cx:pt>
          <cx:pt idx="83875">0</cx:pt>
          <cx:pt idx="83876">1</cx:pt>
          <cx:pt idx="83877">1</cx:pt>
          <cx:pt idx="83878">1</cx:pt>
          <cx:pt idx="83879">0</cx:pt>
          <cx:pt idx="83880">0</cx:pt>
          <cx:pt idx="83881">1</cx:pt>
          <cx:pt idx="83882">1</cx:pt>
          <cx:pt idx="83883">1</cx:pt>
          <cx:pt idx="83884">1</cx:pt>
          <cx:pt idx="83885">0</cx:pt>
          <cx:pt idx="83886">1</cx:pt>
          <cx:pt idx="83887">0</cx:pt>
          <cx:pt idx="83888">0</cx:pt>
          <cx:pt idx="83889">0</cx:pt>
          <cx:pt idx="83890">0</cx:pt>
          <cx:pt idx="83891">0</cx:pt>
          <cx:pt idx="83892">0</cx:pt>
          <cx:pt idx="83893">1</cx:pt>
          <cx:pt idx="83894">1</cx:pt>
          <cx:pt idx="83895">1</cx:pt>
          <cx:pt idx="83896">1</cx:pt>
          <cx:pt idx="83897">0</cx:pt>
          <cx:pt idx="83898">0</cx:pt>
          <cx:pt idx="83899">0</cx:pt>
          <cx:pt idx="83900">0</cx:pt>
          <cx:pt idx="83901">1</cx:pt>
          <cx:pt idx="83902">0</cx:pt>
          <cx:pt idx="83903">0</cx:pt>
          <cx:pt idx="83904">0</cx:pt>
          <cx:pt idx="83905">0</cx:pt>
          <cx:pt idx="83906">1</cx:pt>
          <cx:pt idx="83907">0</cx:pt>
          <cx:pt idx="83908">0</cx:pt>
          <cx:pt idx="83909">0</cx:pt>
          <cx:pt idx="83910">0</cx:pt>
          <cx:pt idx="83911">1</cx:pt>
          <cx:pt idx="83912">1</cx:pt>
          <cx:pt idx="83913">0</cx:pt>
          <cx:pt idx="83914">1</cx:pt>
          <cx:pt idx="83915">0</cx:pt>
          <cx:pt idx="83916">1</cx:pt>
          <cx:pt idx="83917">1</cx:pt>
          <cx:pt idx="83918">0</cx:pt>
          <cx:pt idx="83919">0</cx:pt>
          <cx:pt idx="83920">1</cx:pt>
          <cx:pt idx="83921">0</cx:pt>
          <cx:pt idx="83922">1</cx:pt>
          <cx:pt idx="83923">0</cx:pt>
          <cx:pt idx="83924">1</cx:pt>
          <cx:pt idx="83925">0</cx:pt>
          <cx:pt idx="83926">0</cx:pt>
          <cx:pt idx="83927">0</cx:pt>
          <cx:pt idx="83928">0</cx:pt>
          <cx:pt idx="83929">0</cx:pt>
          <cx:pt idx="83930">0</cx:pt>
          <cx:pt idx="83931">1</cx:pt>
          <cx:pt idx="83932">0</cx:pt>
          <cx:pt idx="83933">1</cx:pt>
          <cx:pt idx="83934">1</cx:pt>
          <cx:pt idx="83935">1</cx:pt>
          <cx:pt idx="83936">1</cx:pt>
          <cx:pt idx="83937">0</cx:pt>
          <cx:pt idx="83938">1</cx:pt>
          <cx:pt idx="83939">1</cx:pt>
          <cx:pt idx="83940">0</cx:pt>
          <cx:pt idx="83941">1</cx:pt>
          <cx:pt idx="83942">0</cx:pt>
          <cx:pt idx="83943">1</cx:pt>
          <cx:pt idx="83944">1</cx:pt>
          <cx:pt idx="83945">0</cx:pt>
          <cx:pt idx="83946">0</cx:pt>
          <cx:pt idx="83947">0</cx:pt>
          <cx:pt idx="83948">0</cx:pt>
          <cx:pt idx="83949">0</cx:pt>
          <cx:pt idx="83950">0</cx:pt>
          <cx:pt idx="83951">1</cx:pt>
          <cx:pt idx="83952">0</cx:pt>
          <cx:pt idx="83953">0</cx:pt>
          <cx:pt idx="83954">1</cx:pt>
          <cx:pt idx="83955">0</cx:pt>
          <cx:pt idx="83956">0</cx:pt>
          <cx:pt idx="83957">0</cx:pt>
          <cx:pt idx="83958">1</cx:pt>
          <cx:pt idx="83959">0</cx:pt>
          <cx:pt idx="83960">0</cx:pt>
          <cx:pt idx="83961">0</cx:pt>
          <cx:pt idx="83962">1</cx:pt>
          <cx:pt idx="83963">0</cx:pt>
          <cx:pt idx="83964">0</cx:pt>
          <cx:pt idx="83965">0</cx:pt>
          <cx:pt idx="83966">0</cx:pt>
          <cx:pt idx="83967">1</cx:pt>
          <cx:pt idx="83968">0</cx:pt>
          <cx:pt idx="83969">0</cx:pt>
          <cx:pt idx="83970">0</cx:pt>
          <cx:pt idx="83971">1</cx:pt>
          <cx:pt idx="83972">0</cx:pt>
          <cx:pt idx="83973">1</cx:pt>
          <cx:pt idx="83974">0</cx:pt>
          <cx:pt idx="83975">0</cx:pt>
          <cx:pt idx="83976">1</cx:pt>
          <cx:pt idx="83977">1</cx:pt>
          <cx:pt idx="83978">0</cx:pt>
          <cx:pt idx="83979">0</cx:pt>
          <cx:pt idx="83980">1</cx:pt>
          <cx:pt idx="83981">0</cx:pt>
          <cx:pt idx="83982">1</cx:pt>
          <cx:pt idx="83983">1</cx:pt>
          <cx:pt idx="83984">0</cx:pt>
          <cx:pt idx="83985">0</cx:pt>
          <cx:pt idx="83986">1</cx:pt>
          <cx:pt idx="83987">1</cx:pt>
          <cx:pt idx="83988">0</cx:pt>
          <cx:pt idx="83989">0</cx:pt>
          <cx:pt idx="83990">1</cx:pt>
          <cx:pt idx="83991">0</cx:pt>
          <cx:pt idx="83992">0</cx:pt>
          <cx:pt idx="83993">0</cx:pt>
          <cx:pt idx="83994">1</cx:pt>
          <cx:pt idx="83995">1</cx:pt>
          <cx:pt idx="83996">1</cx:pt>
          <cx:pt idx="83997">0</cx:pt>
          <cx:pt idx="83998">1</cx:pt>
          <cx:pt idx="83999">1</cx:pt>
          <cx:pt idx="84000">1</cx:pt>
          <cx:pt idx="84001">1</cx:pt>
          <cx:pt idx="84002">1</cx:pt>
          <cx:pt idx="84003">0</cx:pt>
          <cx:pt idx="84004">0</cx:pt>
          <cx:pt idx="84005">0</cx:pt>
          <cx:pt idx="84006">0</cx:pt>
          <cx:pt idx="84007">1</cx:pt>
          <cx:pt idx="84008">1</cx:pt>
          <cx:pt idx="84009">1</cx:pt>
          <cx:pt idx="84010">0</cx:pt>
          <cx:pt idx="84011">0</cx:pt>
          <cx:pt idx="84012">0</cx:pt>
          <cx:pt idx="84013">0</cx:pt>
          <cx:pt idx="84014">0</cx:pt>
          <cx:pt idx="84015">0</cx:pt>
          <cx:pt idx="84016">1</cx:pt>
          <cx:pt idx="84017">0</cx:pt>
          <cx:pt idx="84018">0</cx:pt>
          <cx:pt idx="84019">0</cx:pt>
          <cx:pt idx="84020">0</cx:pt>
          <cx:pt idx="84021">0</cx:pt>
          <cx:pt idx="84022">1</cx:pt>
          <cx:pt idx="84023">1</cx:pt>
          <cx:pt idx="84024">0</cx:pt>
          <cx:pt idx="84025">1</cx:pt>
          <cx:pt idx="84026">1</cx:pt>
          <cx:pt idx="84027">0</cx:pt>
          <cx:pt idx="84028">1</cx:pt>
          <cx:pt idx="84029">0</cx:pt>
          <cx:pt idx="84030">1</cx:pt>
          <cx:pt idx="84031">0</cx:pt>
          <cx:pt idx="84032">0</cx:pt>
          <cx:pt idx="84033">1</cx:pt>
          <cx:pt idx="84034">1</cx:pt>
          <cx:pt idx="84035">0</cx:pt>
          <cx:pt idx="84036">1</cx:pt>
          <cx:pt idx="84037">1</cx:pt>
          <cx:pt idx="84038">0</cx:pt>
          <cx:pt idx="84039">1</cx:pt>
          <cx:pt idx="84040">0</cx:pt>
          <cx:pt idx="84041">1</cx:pt>
          <cx:pt idx="84042">0</cx:pt>
          <cx:pt idx="84043">0</cx:pt>
          <cx:pt idx="84044">1</cx:pt>
          <cx:pt idx="84045">0</cx:pt>
          <cx:pt idx="84046">0</cx:pt>
          <cx:pt idx="84047">1</cx:pt>
          <cx:pt idx="84048">1</cx:pt>
          <cx:pt idx="84049">0</cx:pt>
          <cx:pt idx="84050">1</cx:pt>
          <cx:pt idx="84051">0</cx:pt>
          <cx:pt idx="84052">1</cx:pt>
          <cx:pt idx="84053">0</cx:pt>
          <cx:pt idx="84054">1</cx:pt>
          <cx:pt idx="84055">1</cx:pt>
          <cx:pt idx="84056">1</cx:pt>
          <cx:pt idx="84057">1</cx:pt>
          <cx:pt idx="84058">0</cx:pt>
          <cx:pt idx="84059">0</cx:pt>
          <cx:pt idx="84060">0</cx:pt>
          <cx:pt idx="84061">0</cx:pt>
          <cx:pt idx="84062">0</cx:pt>
          <cx:pt idx="84063">0</cx:pt>
          <cx:pt idx="84064">1</cx:pt>
          <cx:pt idx="84065">1</cx:pt>
          <cx:pt idx="84066">0</cx:pt>
          <cx:pt idx="84067">0</cx:pt>
          <cx:pt idx="84068">0</cx:pt>
          <cx:pt idx="84069">1</cx:pt>
          <cx:pt idx="84070">0</cx:pt>
          <cx:pt idx="84071">1</cx:pt>
          <cx:pt idx="84072">0</cx:pt>
          <cx:pt idx="84073">0</cx:pt>
          <cx:pt idx="84074">0</cx:pt>
          <cx:pt idx="84075">1</cx:pt>
          <cx:pt idx="84076">0</cx:pt>
          <cx:pt idx="84077">0</cx:pt>
          <cx:pt idx="84078">1</cx:pt>
          <cx:pt idx="84079">0</cx:pt>
          <cx:pt idx="84080">0</cx:pt>
          <cx:pt idx="84081">1</cx:pt>
          <cx:pt idx="84082">0</cx:pt>
          <cx:pt idx="84083">0</cx:pt>
          <cx:pt idx="84084">0</cx:pt>
          <cx:pt idx="84085">1</cx:pt>
          <cx:pt idx="84086">1</cx:pt>
          <cx:pt idx="84087">0</cx:pt>
          <cx:pt idx="84088">0</cx:pt>
          <cx:pt idx="84089">1</cx:pt>
          <cx:pt idx="84090">1</cx:pt>
          <cx:pt idx="84091">1</cx:pt>
          <cx:pt idx="84092">0</cx:pt>
          <cx:pt idx="84093">0</cx:pt>
          <cx:pt idx="84094">0</cx:pt>
          <cx:pt idx="84095">0</cx:pt>
          <cx:pt idx="84096">0</cx:pt>
          <cx:pt idx="84097">0</cx:pt>
          <cx:pt idx="84098">0</cx:pt>
          <cx:pt idx="84099">1</cx:pt>
          <cx:pt idx="84100">1</cx:pt>
          <cx:pt idx="84101">0</cx:pt>
          <cx:pt idx="84102">1</cx:pt>
          <cx:pt idx="84103">0</cx:pt>
          <cx:pt idx="84104">0</cx:pt>
          <cx:pt idx="84105">1</cx:pt>
          <cx:pt idx="84106">1</cx:pt>
          <cx:pt idx="84107">1</cx:pt>
          <cx:pt idx="84108">1</cx:pt>
          <cx:pt idx="84109">1</cx:pt>
          <cx:pt idx="84110">0</cx:pt>
          <cx:pt idx="84111">0</cx:pt>
          <cx:pt idx="84112">0</cx:pt>
          <cx:pt idx="84113">0</cx:pt>
          <cx:pt idx="84114">0</cx:pt>
          <cx:pt idx="84115">0</cx:pt>
          <cx:pt idx="84116">0</cx:pt>
          <cx:pt idx="84117">1</cx:pt>
          <cx:pt idx="84118">0</cx:pt>
          <cx:pt idx="84119">0</cx:pt>
          <cx:pt idx="84120">1</cx:pt>
          <cx:pt idx="84121">0</cx:pt>
          <cx:pt idx="84122">0</cx:pt>
          <cx:pt idx="84123">1</cx:pt>
          <cx:pt idx="84124">1</cx:pt>
          <cx:pt idx="84125">0</cx:pt>
          <cx:pt idx="84126">0</cx:pt>
          <cx:pt idx="84127">0</cx:pt>
          <cx:pt idx="84128">0</cx:pt>
          <cx:pt idx="84129">0</cx:pt>
          <cx:pt idx="84130">0</cx:pt>
          <cx:pt idx="84131">0</cx:pt>
          <cx:pt idx="84132">1</cx:pt>
          <cx:pt idx="84133">1</cx:pt>
          <cx:pt idx="84134">0</cx:pt>
          <cx:pt idx="84135">1</cx:pt>
          <cx:pt idx="84136">1</cx:pt>
          <cx:pt idx="84137">0</cx:pt>
          <cx:pt idx="84138">0</cx:pt>
          <cx:pt idx="84139">1</cx:pt>
          <cx:pt idx="84140">1</cx:pt>
          <cx:pt idx="84141">0</cx:pt>
          <cx:pt idx="84142">0</cx:pt>
          <cx:pt idx="84143">0</cx:pt>
          <cx:pt idx="84144">1</cx:pt>
          <cx:pt idx="84145">0</cx:pt>
          <cx:pt idx="84146">0</cx:pt>
          <cx:pt idx="84147">0</cx:pt>
          <cx:pt idx="84148">1</cx:pt>
          <cx:pt idx="84149">1</cx:pt>
          <cx:pt idx="84150">1</cx:pt>
          <cx:pt idx="84151">1</cx:pt>
          <cx:pt idx="84152">0</cx:pt>
          <cx:pt idx="84153">1</cx:pt>
          <cx:pt idx="84154">0</cx:pt>
          <cx:pt idx="84155">0</cx:pt>
          <cx:pt idx="84156">0</cx:pt>
          <cx:pt idx="84157">0</cx:pt>
          <cx:pt idx="84158">1</cx:pt>
          <cx:pt idx="84159">1</cx:pt>
          <cx:pt idx="84160">0</cx:pt>
          <cx:pt idx="84161">1</cx:pt>
          <cx:pt idx="84162">0</cx:pt>
          <cx:pt idx="84163">1</cx:pt>
          <cx:pt idx="84164">1</cx:pt>
          <cx:pt idx="84165">1</cx:pt>
          <cx:pt idx="84166">1</cx:pt>
          <cx:pt idx="84167">0</cx:pt>
          <cx:pt idx="84168">0</cx:pt>
          <cx:pt idx="84169">1</cx:pt>
          <cx:pt idx="84170">1</cx:pt>
          <cx:pt idx="84171">1</cx:pt>
          <cx:pt idx="84172">0</cx:pt>
          <cx:pt idx="84173">1</cx:pt>
          <cx:pt idx="84174">1</cx:pt>
          <cx:pt idx="84175">0</cx:pt>
          <cx:pt idx="84176">0</cx:pt>
          <cx:pt idx="84177">0</cx:pt>
          <cx:pt idx="84178">0</cx:pt>
          <cx:pt idx="84179">0</cx:pt>
          <cx:pt idx="84180">1</cx:pt>
          <cx:pt idx="84181">1</cx:pt>
          <cx:pt idx="84182">0</cx:pt>
          <cx:pt idx="84183">1</cx:pt>
          <cx:pt idx="84184">0</cx:pt>
          <cx:pt idx="84185">0</cx:pt>
          <cx:pt idx="84186">1</cx:pt>
          <cx:pt idx="84187">0</cx:pt>
          <cx:pt idx="84188">1</cx:pt>
          <cx:pt idx="84189">1</cx:pt>
          <cx:pt idx="84190">0</cx:pt>
          <cx:pt idx="84191">0</cx:pt>
          <cx:pt idx="84192">1</cx:pt>
          <cx:pt idx="84193">1</cx:pt>
          <cx:pt idx="84194">1</cx:pt>
          <cx:pt idx="84195">0</cx:pt>
          <cx:pt idx="84196">0</cx:pt>
          <cx:pt idx="84197">0</cx:pt>
          <cx:pt idx="84198">1</cx:pt>
          <cx:pt idx="84199">1</cx:pt>
          <cx:pt idx="84200">0</cx:pt>
          <cx:pt idx="84201">0</cx:pt>
          <cx:pt idx="84202">0</cx:pt>
          <cx:pt idx="84203">0</cx:pt>
          <cx:pt idx="84204">0</cx:pt>
          <cx:pt idx="84205">1</cx:pt>
          <cx:pt idx="84206">1</cx:pt>
          <cx:pt idx="84207">0</cx:pt>
          <cx:pt idx="84208">0</cx:pt>
          <cx:pt idx="84209">1</cx:pt>
          <cx:pt idx="84210">1</cx:pt>
          <cx:pt idx="84211">1</cx:pt>
          <cx:pt idx="84212">0</cx:pt>
          <cx:pt idx="84213">1</cx:pt>
          <cx:pt idx="84214">1</cx:pt>
          <cx:pt idx="84215">1</cx:pt>
          <cx:pt idx="84216">0</cx:pt>
          <cx:pt idx="84217">0</cx:pt>
          <cx:pt idx="84218">0</cx:pt>
          <cx:pt idx="84219">1</cx:pt>
          <cx:pt idx="84220">1</cx:pt>
          <cx:pt idx="84221">1</cx:pt>
          <cx:pt idx="84222">0</cx:pt>
          <cx:pt idx="84223">0</cx:pt>
          <cx:pt idx="84224">0</cx:pt>
          <cx:pt idx="84225">0</cx:pt>
          <cx:pt idx="84226">0</cx:pt>
          <cx:pt idx="84227">0</cx:pt>
          <cx:pt idx="84228">0</cx:pt>
          <cx:pt idx="84229">0</cx:pt>
          <cx:pt idx="84230">0</cx:pt>
          <cx:pt idx="84231">0</cx:pt>
          <cx:pt idx="84232">1</cx:pt>
          <cx:pt idx="84233">0</cx:pt>
          <cx:pt idx="84234">1</cx:pt>
          <cx:pt idx="84235">0</cx:pt>
          <cx:pt idx="84236">1</cx:pt>
          <cx:pt idx="84237">0</cx:pt>
          <cx:pt idx="84238">1</cx:pt>
          <cx:pt idx="84239">1</cx:pt>
          <cx:pt idx="84240">1</cx:pt>
          <cx:pt idx="84241">0</cx:pt>
          <cx:pt idx="84242">0</cx:pt>
          <cx:pt idx="84243">1</cx:pt>
          <cx:pt idx="84244">0</cx:pt>
          <cx:pt idx="84245">1</cx:pt>
          <cx:pt idx="84246">1</cx:pt>
          <cx:pt idx="84247">0</cx:pt>
          <cx:pt idx="84248">1</cx:pt>
          <cx:pt idx="84249">0</cx:pt>
          <cx:pt idx="84250">0</cx:pt>
          <cx:pt idx="84251">1</cx:pt>
          <cx:pt idx="84252">0</cx:pt>
          <cx:pt idx="84253">0</cx:pt>
          <cx:pt idx="84254">0</cx:pt>
          <cx:pt idx="84255">0</cx:pt>
          <cx:pt idx="84256">1</cx:pt>
          <cx:pt idx="84257">0</cx:pt>
          <cx:pt idx="84258">0</cx:pt>
          <cx:pt idx="84259">1</cx:pt>
          <cx:pt idx="84260">0</cx:pt>
          <cx:pt idx="84261">0</cx:pt>
          <cx:pt idx="84262">0</cx:pt>
          <cx:pt idx="84263">1</cx:pt>
          <cx:pt idx="84264">0</cx:pt>
          <cx:pt idx="84265">1</cx:pt>
          <cx:pt idx="84266">0</cx:pt>
          <cx:pt idx="84267">1</cx:pt>
          <cx:pt idx="84268">0</cx:pt>
          <cx:pt idx="84269">0</cx:pt>
          <cx:pt idx="84270">0</cx:pt>
          <cx:pt idx="84271">1</cx:pt>
          <cx:pt idx="84272">1</cx:pt>
          <cx:pt idx="84273">0</cx:pt>
          <cx:pt idx="84274">1</cx:pt>
          <cx:pt idx="84275">0</cx:pt>
          <cx:pt idx="84276">0</cx:pt>
          <cx:pt idx="84277">0</cx:pt>
          <cx:pt idx="84278">1</cx:pt>
          <cx:pt idx="84279">1</cx:pt>
          <cx:pt idx="84280">1</cx:pt>
          <cx:pt idx="84281">1</cx:pt>
          <cx:pt idx="84282">0</cx:pt>
          <cx:pt idx="84283">0</cx:pt>
          <cx:pt idx="84284">1</cx:pt>
          <cx:pt idx="84285">0</cx:pt>
          <cx:pt idx="84286">0</cx:pt>
          <cx:pt idx="84287">0</cx:pt>
          <cx:pt idx="84288">0</cx:pt>
          <cx:pt idx="84289">1</cx:pt>
          <cx:pt idx="84290">1</cx:pt>
          <cx:pt idx="84291">0</cx:pt>
          <cx:pt idx="84292">1</cx:pt>
          <cx:pt idx="84293">1</cx:pt>
          <cx:pt idx="84294">0</cx:pt>
          <cx:pt idx="84295">1</cx:pt>
          <cx:pt idx="84296">0</cx:pt>
          <cx:pt idx="84297">0</cx:pt>
          <cx:pt idx="84298">0</cx:pt>
          <cx:pt idx="84299">1</cx:pt>
          <cx:pt idx="84300">0</cx:pt>
          <cx:pt idx="84301">0</cx:pt>
          <cx:pt idx="84302">0</cx:pt>
          <cx:pt idx="84303">0</cx:pt>
          <cx:pt idx="84304">1</cx:pt>
          <cx:pt idx="84305">0</cx:pt>
          <cx:pt idx="84306">0</cx:pt>
          <cx:pt idx="84307">1</cx:pt>
          <cx:pt idx="84308">0</cx:pt>
          <cx:pt idx="84309">0</cx:pt>
          <cx:pt idx="84310">1</cx:pt>
          <cx:pt idx="84311">0</cx:pt>
          <cx:pt idx="84312">0</cx:pt>
          <cx:pt idx="84313">0</cx:pt>
          <cx:pt idx="84314">0</cx:pt>
          <cx:pt idx="84315">1</cx:pt>
          <cx:pt idx="84316">1</cx:pt>
          <cx:pt idx="84317">0</cx:pt>
          <cx:pt idx="84318">1</cx:pt>
          <cx:pt idx="84319">1</cx:pt>
          <cx:pt idx="84320">0</cx:pt>
          <cx:pt idx="84321">0</cx:pt>
          <cx:pt idx="84322">1</cx:pt>
          <cx:pt idx="84323">1</cx:pt>
          <cx:pt idx="84324">0</cx:pt>
          <cx:pt idx="84325">0</cx:pt>
          <cx:pt idx="84326">0</cx:pt>
          <cx:pt idx="84327">1</cx:pt>
          <cx:pt idx="84328">0</cx:pt>
          <cx:pt idx="84329">0</cx:pt>
          <cx:pt idx="84330">0</cx:pt>
          <cx:pt idx="84331">1</cx:pt>
          <cx:pt idx="84332">0</cx:pt>
          <cx:pt idx="84333">1</cx:pt>
          <cx:pt idx="84334">0</cx:pt>
          <cx:pt idx="84335">0</cx:pt>
          <cx:pt idx="84336">0</cx:pt>
          <cx:pt idx="84337">0</cx:pt>
          <cx:pt idx="84338">1</cx:pt>
          <cx:pt idx="84339">0</cx:pt>
          <cx:pt idx="84340">0</cx:pt>
          <cx:pt idx="84341">0</cx:pt>
          <cx:pt idx="84342">0</cx:pt>
          <cx:pt idx="84343">0</cx:pt>
          <cx:pt idx="84344">1</cx:pt>
          <cx:pt idx="84345">0</cx:pt>
          <cx:pt idx="84346">1</cx:pt>
          <cx:pt idx="84347">1</cx:pt>
          <cx:pt idx="84348">0</cx:pt>
          <cx:pt idx="84349">0</cx:pt>
          <cx:pt idx="84350">0</cx:pt>
          <cx:pt idx="84351">1</cx:pt>
          <cx:pt idx="84352">1</cx:pt>
          <cx:pt idx="84353">1</cx:pt>
          <cx:pt idx="84354">1</cx:pt>
          <cx:pt idx="84355">0</cx:pt>
          <cx:pt idx="84356">0</cx:pt>
          <cx:pt idx="84357">0</cx:pt>
          <cx:pt idx="84358">1</cx:pt>
          <cx:pt idx="84359">0</cx:pt>
          <cx:pt idx="84360">0</cx:pt>
          <cx:pt idx="84361">0</cx:pt>
          <cx:pt idx="84362">1</cx:pt>
          <cx:pt idx="84363">0</cx:pt>
          <cx:pt idx="84364">0</cx:pt>
          <cx:pt idx="84365">0</cx:pt>
          <cx:pt idx="84366">0</cx:pt>
          <cx:pt idx="84367">0</cx:pt>
          <cx:pt idx="84368">0</cx:pt>
          <cx:pt idx="84369">0</cx:pt>
          <cx:pt idx="84370">1</cx:pt>
          <cx:pt idx="84371">1</cx:pt>
          <cx:pt idx="84372">0</cx:pt>
          <cx:pt idx="84373">1</cx:pt>
          <cx:pt idx="84374">0</cx:pt>
          <cx:pt idx="84375">0</cx:pt>
          <cx:pt idx="84376">0</cx:pt>
          <cx:pt idx="84377">1</cx:pt>
          <cx:pt idx="84378">0</cx:pt>
          <cx:pt idx="84379">1</cx:pt>
          <cx:pt idx="84380">0</cx:pt>
          <cx:pt idx="84381">0</cx:pt>
          <cx:pt idx="84382">1</cx:pt>
          <cx:pt idx="84383">0</cx:pt>
          <cx:pt idx="84384">0</cx:pt>
          <cx:pt idx="84385">1</cx:pt>
          <cx:pt idx="84386">0</cx:pt>
          <cx:pt idx="84387">0</cx:pt>
          <cx:pt idx="84388">1</cx:pt>
          <cx:pt idx="84389">0</cx:pt>
          <cx:pt idx="84390">0</cx:pt>
          <cx:pt idx="84391">0</cx:pt>
          <cx:pt idx="84392">0</cx:pt>
          <cx:pt idx="84393">1</cx:pt>
          <cx:pt idx="84394">0</cx:pt>
          <cx:pt idx="84395">0</cx:pt>
          <cx:pt idx="84396">1</cx:pt>
          <cx:pt idx="84397">0</cx:pt>
          <cx:pt idx="84398">0</cx:pt>
          <cx:pt idx="84399">1</cx:pt>
          <cx:pt idx="84400">0</cx:pt>
          <cx:pt idx="84401">0</cx:pt>
          <cx:pt idx="84402">0</cx:pt>
          <cx:pt idx="84403">1</cx:pt>
          <cx:pt idx="84404">0</cx:pt>
          <cx:pt idx="84405">0</cx:pt>
          <cx:pt idx="84406">0</cx:pt>
          <cx:pt idx="84407">1</cx:pt>
          <cx:pt idx="84408">0</cx:pt>
          <cx:pt idx="84409">0</cx:pt>
          <cx:pt idx="84410">0</cx:pt>
          <cx:pt idx="84411">0</cx:pt>
          <cx:pt idx="84412">1</cx:pt>
          <cx:pt idx="84413">1</cx:pt>
          <cx:pt idx="84414">1</cx:pt>
          <cx:pt idx="84415">1</cx:pt>
          <cx:pt idx="84416">0</cx:pt>
          <cx:pt idx="84417">0</cx:pt>
          <cx:pt idx="84418">0</cx:pt>
          <cx:pt idx="84419">0</cx:pt>
          <cx:pt idx="84420">0</cx:pt>
          <cx:pt idx="84421">1</cx:pt>
          <cx:pt idx="84422">0</cx:pt>
          <cx:pt idx="84423">1</cx:pt>
          <cx:pt idx="84424">1</cx:pt>
          <cx:pt idx="84425">0</cx:pt>
          <cx:pt idx="84426">1</cx:pt>
          <cx:pt idx="84427">0</cx:pt>
          <cx:pt idx="84428">0</cx:pt>
          <cx:pt idx="84429">0</cx:pt>
          <cx:pt idx="84430">1</cx:pt>
          <cx:pt idx="84431">0</cx:pt>
          <cx:pt idx="84432">0</cx:pt>
          <cx:pt idx="84433">1</cx:pt>
          <cx:pt idx="84434">0</cx:pt>
          <cx:pt idx="84435">0</cx:pt>
          <cx:pt idx="84436">0</cx:pt>
          <cx:pt idx="84437">0</cx:pt>
          <cx:pt idx="84438">1</cx:pt>
          <cx:pt idx="84439">1</cx:pt>
          <cx:pt idx="84440">1</cx:pt>
          <cx:pt idx="84441">0</cx:pt>
          <cx:pt idx="84442">0</cx:pt>
          <cx:pt idx="84443">0</cx:pt>
          <cx:pt idx="84444">0</cx:pt>
          <cx:pt idx="84445">1</cx:pt>
          <cx:pt idx="84446">0</cx:pt>
          <cx:pt idx="84447">0</cx:pt>
          <cx:pt idx="84448">1</cx:pt>
          <cx:pt idx="84449">0</cx:pt>
          <cx:pt idx="84450">0</cx:pt>
          <cx:pt idx="84451">1</cx:pt>
          <cx:pt idx="84452">1</cx:pt>
          <cx:pt idx="84453">1</cx:pt>
          <cx:pt idx="84454">1</cx:pt>
          <cx:pt idx="84455">0</cx:pt>
          <cx:pt idx="84456">1</cx:pt>
          <cx:pt idx="84457">0</cx:pt>
          <cx:pt idx="84458">0</cx:pt>
          <cx:pt idx="84459">1</cx:pt>
          <cx:pt idx="84460">1</cx:pt>
          <cx:pt idx="84461">1</cx:pt>
          <cx:pt idx="84462">0</cx:pt>
          <cx:pt idx="84463">1</cx:pt>
          <cx:pt idx="84464">1</cx:pt>
          <cx:pt idx="84465">0</cx:pt>
          <cx:pt idx="84466">1</cx:pt>
          <cx:pt idx="84467">1</cx:pt>
          <cx:pt idx="84468">1</cx:pt>
          <cx:pt idx="84469">1</cx:pt>
          <cx:pt idx="84470">1</cx:pt>
          <cx:pt idx="84471">0</cx:pt>
          <cx:pt idx="84472">0</cx:pt>
          <cx:pt idx="84473">1</cx:pt>
          <cx:pt idx="84474">0</cx:pt>
          <cx:pt idx="84475">0</cx:pt>
          <cx:pt idx="84476">1</cx:pt>
          <cx:pt idx="84477">1</cx:pt>
          <cx:pt idx="84478">1</cx:pt>
          <cx:pt idx="84479">0</cx:pt>
          <cx:pt idx="84480">1</cx:pt>
          <cx:pt idx="84481">0</cx:pt>
          <cx:pt idx="84482">0</cx:pt>
          <cx:pt idx="84483">1</cx:pt>
          <cx:pt idx="84484">0</cx:pt>
          <cx:pt idx="84485">0</cx:pt>
          <cx:pt idx="84486">1</cx:pt>
          <cx:pt idx="84487">0</cx:pt>
          <cx:pt idx="84488">1</cx:pt>
          <cx:pt idx="84489">1</cx:pt>
          <cx:pt idx="84490">1</cx:pt>
          <cx:pt idx="84491">1</cx:pt>
          <cx:pt idx="84492">1</cx:pt>
          <cx:pt idx="84493">1</cx:pt>
          <cx:pt idx="84494">1</cx:pt>
          <cx:pt idx="84495">0</cx:pt>
          <cx:pt idx="84496">0</cx:pt>
          <cx:pt idx="84497">0</cx:pt>
          <cx:pt idx="84498">1</cx:pt>
          <cx:pt idx="84499">0</cx:pt>
          <cx:pt idx="84500">0</cx:pt>
          <cx:pt idx="84501">0</cx:pt>
          <cx:pt idx="84502">0</cx:pt>
          <cx:pt idx="84503">1</cx:pt>
          <cx:pt idx="84504">1</cx:pt>
          <cx:pt idx="84505">1</cx:pt>
          <cx:pt idx="84506">1</cx:pt>
          <cx:pt idx="84507">0</cx:pt>
          <cx:pt idx="84508">1</cx:pt>
          <cx:pt idx="84509">0</cx:pt>
          <cx:pt idx="84510">0</cx:pt>
          <cx:pt idx="84511">0</cx:pt>
          <cx:pt idx="84512">0</cx:pt>
          <cx:pt idx="84513">1</cx:pt>
          <cx:pt idx="84514">1</cx:pt>
          <cx:pt idx="84515">0</cx:pt>
          <cx:pt idx="84516">0</cx:pt>
          <cx:pt idx="84517">1</cx:pt>
          <cx:pt idx="84518">0</cx:pt>
          <cx:pt idx="84519">0</cx:pt>
          <cx:pt idx="84520">1</cx:pt>
          <cx:pt idx="84521">0</cx:pt>
          <cx:pt idx="84522">0</cx:pt>
          <cx:pt idx="84523">0</cx:pt>
          <cx:pt idx="84524">0</cx:pt>
          <cx:pt idx="84525">1</cx:pt>
          <cx:pt idx="84526">0</cx:pt>
          <cx:pt idx="84527">1</cx:pt>
          <cx:pt idx="84528">0</cx:pt>
          <cx:pt idx="84529">1</cx:pt>
          <cx:pt idx="84530">0</cx:pt>
          <cx:pt idx="84531">0</cx:pt>
          <cx:pt idx="84532">0</cx:pt>
          <cx:pt idx="84533">1</cx:pt>
          <cx:pt idx="84534">0</cx:pt>
          <cx:pt idx="84535">1</cx:pt>
          <cx:pt idx="84536">1</cx:pt>
          <cx:pt idx="84537">1</cx:pt>
          <cx:pt idx="84538">0</cx:pt>
          <cx:pt idx="84539">0</cx:pt>
          <cx:pt idx="84540">0</cx:pt>
          <cx:pt idx="84541">0</cx:pt>
          <cx:pt idx="84542">1</cx:pt>
          <cx:pt idx="84543">1</cx:pt>
          <cx:pt idx="84544">0</cx:pt>
          <cx:pt idx="84545">0</cx:pt>
          <cx:pt idx="84546">0</cx:pt>
          <cx:pt idx="84547">1</cx:pt>
          <cx:pt idx="84548">0</cx:pt>
          <cx:pt idx="84549">1</cx:pt>
          <cx:pt idx="84550">1</cx:pt>
          <cx:pt idx="84551">0</cx:pt>
          <cx:pt idx="84552">1</cx:pt>
          <cx:pt idx="84553">1</cx:pt>
          <cx:pt idx="84554">0</cx:pt>
          <cx:pt idx="84555">0</cx:pt>
          <cx:pt idx="84556">1</cx:pt>
          <cx:pt idx="84557">1</cx:pt>
          <cx:pt idx="84558">0</cx:pt>
          <cx:pt idx="84559">0</cx:pt>
          <cx:pt idx="84560">0</cx:pt>
          <cx:pt idx="84561">0</cx:pt>
          <cx:pt idx="84562">1</cx:pt>
          <cx:pt idx="84563">0</cx:pt>
          <cx:pt idx="84564">0</cx:pt>
          <cx:pt idx="84565">0</cx:pt>
          <cx:pt idx="84566">0</cx:pt>
          <cx:pt idx="84567">0</cx:pt>
          <cx:pt idx="84568">0</cx:pt>
          <cx:pt idx="84569">1</cx:pt>
          <cx:pt idx="84570">1</cx:pt>
          <cx:pt idx="84571">1</cx:pt>
          <cx:pt idx="84572">0</cx:pt>
          <cx:pt idx="84573">0</cx:pt>
          <cx:pt idx="84574">0</cx:pt>
          <cx:pt idx="84575">1</cx:pt>
          <cx:pt idx="84576">1</cx:pt>
          <cx:pt idx="84577">0</cx:pt>
          <cx:pt idx="84578">0</cx:pt>
          <cx:pt idx="84579">1</cx:pt>
          <cx:pt idx="84580">0</cx:pt>
          <cx:pt idx="84581">0</cx:pt>
          <cx:pt idx="84582">1</cx:pt>
          <cx:pt idx="84583">0</cx:pt>
          <cx:pt idx="84584">1</cx:pt>
          <cx:pt idx="84585">1</cx:pt>
          <cx:pt idx="84586">1</cx:pt>
          <cx:pt idx="84587">0</cx:pt>
          <cx:pt idx="84588">0</cx:pt>
          <cx:pt idx="84589">0</cx:pt>
          <cx:pt idx="84590">0</cx:pt>
          <cx:pt idx="84591">0</cx:pt>
          <cx:pt idx="84592">0</cx:pt>
          <cx:pt idx="84593">1</cx:pt>
          <cx:pt idx="84594">0</cx:pt>
          <cx:pt idx="84595">1</cx:pt>
          <cx:pt idx="84596">0</cx:pt>
          <cx:pt idx="84597">0</cx:pt>
          <cx:pt idx="84598">1</cx:pt>
          <cx:pt idx="84599">0</cx:pt>
          <cx:pt idx="84600">0</cx:pt>
          <cx:pt idx="84601">1</cx:pt>
          <cx:pt idx="84602">1</cx:pt>
          <cx:pt idx="84603">1</cx:pt>
          <cx:pt idx="84604">0</cx:pt>
          <cx:pt idx="84605">1</cx:pt>
          <cx:pt idx="84606">0</cx:pt>
          <cx:pt idx="84607">1</cx:pt>
          <cx:pt idx="84608">1</cx:pt>
          <cx:pt idx="84609">1</cx:pt>
          <cx:pt idx="84610">1</cx:pt>
          <cx:pt idx="84611">1</cx:pt>
          <cx:pt idx="84612">1</cx:pt>
          <cx:pt idx="84613">1</cx:pt>
          <cx:pt idx="84614">0</cx:pt>
          <cx:pt idx="84615">1</cx:pt>
          <cx:pt idx="84616">0</cx:pt>
          <cx:pt idx="84617">0</cx:pt>
          <cx:pt idx="84618">0</cx:pt>
          <cx:pt idx="84619">0</cx:pt>
          <cx:pt idx="84620">0</cx:pt>
          <cx:pt idx="84621">1</cx:pt>
          <cx:pt idx="84622">1</cx:pt>
          <cx:pt idx="84623">1</cx:pt>
          <cx:pt idx="84624">0</cx:pt>
          <cx:pt idx="84625">0</cx:pt>
          <cx:pt idx="84626">0</cx:pt>
          <cx:pt idx="84627">0</cx:pt>
          <cx:pt idx="84628">1</cx:pt>
          <cx:pt idx="84629">1</cx:pt>
          <cx:pt idx="84630">1</cx:pt>
          <cx:pt idx="84631">0</cx:pt>
          <cx:pt idx="84632">0</cx:pt>
          <cx:pt idx="84633">0</cx:pt>
          <cx:pt idx="84634">1</cx:pt>
          <cx:pt idx="84635">1</cx:pt>
          <cx:pt idx="84636">0</cx:pt>
          <cx:pt idx="84637">0</cx:pt>
          <cx:pt idx="84638">1</cx:pt>
          <cx:pt idx="84639">1</cx:pt>
          <cx:pt idx="84640">1</cx:pt>
          <cx:pt idx="84641">0</cx:pt>
          <cx:pt idx="84642">1</cx:pt>
          <cx:pt idx="84643">1</cx:pt>
          <cx:pt idx="84644">0</cx:pt>
          <cx:pt idx="84645">1</cx:pt>
          <cx:pt idx="84646">0</cx:pt>
          <cx:pt idx="84647">1</cx:pt>
          <cx:pt idx="84648">1</cx:pt>
          <cx:pt idx="84649">1</cx:pt>
          <cx:pt idx="84650">0</cx:pt>
          <cx:pt idx="84651">0</cx:pt>
          <cx:pt idx="84652">1</cx:pt>
          <cx:pt idx="84653">0</cx:pt>
          <cx:pt idx="84654">0</cx:pt>
          <cx:pt idx="84655">1</cx:pt>
          <cx:pt idx="84656">1</cx:pt>
          <cx:pt idx="84657">0</cx:pt>
          <cx:pt idx="84658">1</cx:pt>
          <cx:pt idx="84659">1</cx:pt>
          <cx:pt idx="84660">0</cx:pt>
          <cx:pt idx="84661">0</cx:pt>
          <cx:pt idx="84662">0</cx:pt>
          <cx:pt idx="84663">1</cx:pt>
          <cx:pt idx="84664">0</cx:pt>
          <cx:pt idx="84665">1</cx:pt>
          <cx:pt idx="84666">1</cx:pt>
          <cx:pt idx="84667">1</cx:pt>
          <cx:pt idx="84668">1</cx:pt>
          <cx:pt idx="84669">1</cx:pt>
          <cx:pt idx="84670">1</cx:pt>
          <cx:pt idx="84671">0</cx:pt>
          <cx:pt idx="84672">0</cx:pt>
          <cx:pt idx="84673">1</cx:pt>
          <cx:pt idx="84674">0</cx:pt>
          <cx:pt idx="84675">1</cx:pt>
          <cx:pt idx="84676">0</cx:pt>
          <cx:pt idx="84677">0</cx:pt>
          <cx:pt idx="84678">0</cx:pt>
          <cx:pt idx="84679">0</cx:pt>
          <cx:pt idx="84680">1</cx:pt>
          <cx:pt idx="84681">1</cx:pt>
          <cx:pt idx="84682">0</cx:pt>
          <cx:pt idx="84683">1</cx:pt>
          <cx:pt idx="84684">1</cx:pt>
          <cx:pt idx="84685">0</cx:pt>
          <cx:pt idx="84686">0</cx:pt>
          <cx:pt idx="84687">1</cx:pt>
          <cx:pt idx="84688">0</cx:pt>
          <cx:pt idx="84689">0</cx:pt>
          <cx:pt idx="84690">1</cx:pt>
          <cx:pt idx="84691">0</cx:pt>
          <cx:pt idx="84692">0</cx:pt>
          <cx:pt idx="84693">1</cx:pt>
          <cx:pt idx="84694">0</cx:pt>
          <cx:pt idx="84695">1</cx:pt>
          <cx:pt idx="84696">1</cx:pt>
          <cx:pt idx="84697">0</cx:pt>
          <cx:pt idx="84698">1</cx:pt>
          <cx:pt idx="84699">1</cx:pt>
          <cx:pt idx="84700">0</cx:pt>
          <cx:pt idx="84701">0</cx:pt>
          <cx:pt idx="84702">1</cx:pt>
          <cx:pt idx="84703">0</cx:pt>
          <cx:pt idx="84704">0</cx:pt>
          <cx:pt idx="84705">1</cx:pt>
          <cx:pt idx="84706">0</cx:pt>
          <cx:pt idx="84707">0</cx:pt>
          <cx:pt idx="84708">0</cx:pt>
          <cx:pt idx="84709">0</cx:pt>
          <cx:pt idx="84710">0</cx:pt>
          <cx:pt idx="84711">0</cx:pt>
          <cx:pt idx="84712">0</cx:pt>
          <cx:pt idx="84713">0</cx:pt>
          <cx:pt idx="84714">1</cx:pt>
          <cx:pt idx="84715">0</cx:pt>
          <cx:pt idx="84716">0</cx:pt>
          <cx:pt idx="84717">0</cx:pt>
          <cx:pt idx="84718">0</cx:pt>
          <cx:pt idx="84719">0</cx:pt>
          <cx:pt idx="84720">0</cx:pt>
          <cx:pt idx="84721">1</cx:pt>
          <cx:pt idx="84722">0</cx:pt>
          <cx:pt idx="84723">1</cx:pt>
          <cx:pt idx="84724">0</cx:pt>
          <cx:pt idx="84725">0</cx:pt>
          <cx:pt idx="84726">0</cx:pt>
          <cx:pt idx="84727">0</cx:pt>
          <cx:pt idx="84728">1</cx:pt>
          <cx:pt idx="84729">1</cx:pt>
          <cx:pt idx="84730">1</cx:pt>
          <cx:pt idx="84731">1</cx:pt>
          <cx:pt idx="84732">0</cx:pt>
          <cx:pt idx="84733">0</cx:pt>
          <cx:pt idx="84734">0</cx:pt>
          <cx:pt idx="84735">0</cx:pt>
          <cx:pt idx="84736">1</cx:pt>
          <cx:pt idx="84737">0</cx:pt>
          <cx:pt idx="84738">0</cx:pt>
          <cx:pt idx="84739">0</cx:pt>
          <cx:pt idx="84740">1</cx:pt>
          <cx:pt idx="84741">1</cx:pt>
          <cx:pt idx="84742">1</cx:pt>
          <cx:pt idx="84743">0</cx:pt>
          <cx:pt idx="84744">1</cx:pt>
          <cx:pt idx="84745">0</cx:pt>
          <cx:pt idx="84746">1</cx:pt>
          <cx:pt idx="84747">0</cx:pt>
          <cx:pt idx="84748">0</cx:pt>
          <cx:pt idx="84749">0</cx:pt>
          <cx:pt idx="84750">0</cx:pt>
          <cx:pt idx="84751">0</cx:pt>
          <cx:pt idx="84752">0</cx:pt>
          <cx:pt idx="84753">1</cx:pt>
          <cx:pt idx="84754">1</cx:pt>
          <cx:pt idx="84755">0</cx:pt>
          <cx:pt idx="84756">1</cx:pt>
          <cx:pt idx="84757">0</cx:pt>
          <cx:pt idx="84758">0</cx:pt>
          <cx:pt idx="84759">1</cx:pt>
          <cx:pt idx="84760">1</cx:pt>
          <cx:pt idx="84761">0</cx:pt>
          <cx:pt idx="84762">1</cx:pt>
          <cx:pt idx="84763">0</cx:pt>
          <cx:pt idx="84764">1</cx:pt>
          <cx:pt idx="84765">1</cx:pt>
          <cx:pt idx="84766">0</cx:pt>
          <cx:pt idx="84767">1</cx:pt>
          <cx:pt idx="84768">0</cx:pt>
          <cx:pt idx="84769">1</cx:pt>
          <cx:pt idx="84770">0</cx:pt>
          <cx:pt idx="84771">1</cx:pt>
          <cx:pt idx="84772">0</cx:pt>
          <cx:pt idx="84773">1</cx:pt>
          <cx:pt idx="84774">0</cx:pt>
          <cx:pt idx="84775">0</cx:pt>
          <cx:pt idx="84776">1</cx:pt>
          <cx:pt idx="84777">0</cx:pt>
          <cx:pt idx="84778">1</cx:pt>
          <cx:pt idx="84779">1</cx:pt>
          <cx:pt idx="84780">1</cx:pt>
          <cx:pt idx="84781">0</cx:pt>
          <cx:pt idx="84782">0</cx:pt>
          <cx:pt idx="84783">1</cx:pt>
          <cx:pt idx="84784">1</cx:pt>
          <cx:pt idx="84785">1</cx:pt>
          <cx:pt idx="84786">1</cx:pt>
          <cx:pt idx="84787">0</cx:pt>
          <cx:pt idx="84788">0</cx:pt>
          <cx:pt idx="84789">0</cx:pt>
          <cx:pt idx="84790">1</cx:pt>
          <cx:pt idx="84791">1</cx:pt>
          <cx:pt idx="84792">0</cx:pt>
          <cx:pt idx="84793">1</cx:pt>
          <cx:pt idx="84794">1</cx:pt>
          <cx:pt idx="84795">0</cx:pt>
          <cx:pt idx="84796">0</cx:pt>
          <cx:pt idx="84797">0</cx:pt>
          <cx:pt idx="84798">0</cx:pt>
          <cx:pt idx="84799">0</cx:pt>
          <cx:pt idx="84800">0</cx:pt>
          <cx:pt idx="84801">1</cx:pt>
          <cx:pt idx="84802">0</cx:pt>
          <cx:pt idx="84803">0</cx:pt>
          <cx:pt idx="84804">0</cx:pt>
          <cx:pt idx="84805">0</cx:pt>
          <cx:pt idx="84806">1</cx:pt>
          <cx:pt idx="84807">0</cx:pt>
          <cx:pt idx="84808">0</cx:pt>
          <cx:pt idx="84809">0</cx:pt>
          <cx:pt idx="84810">0</cx:pt>
          <cx:pt idx="84811">0</cx:pt>
          <cx:pt idx="84812">0</cx:pt>
          <cx:pt idx="84813">0</cx:pt>
          <cx:pt idx="84814">0</cx:pt>
          <cx:pt idx="84815">0</cx:pt>
          <cx:pt idx="84816">1</cx:pt>
          <cx:pt idx="84817">1</cx:pt>
          <cx:pt idx="84818">0</cx:pt>
          <cx:pt idx="84819">0</cx:pt>
          <cx:pt idx="84820">0</cx:pt>
          <cx:pt idx="84821">1</cx:pt>
          <cx:pt idx="84822">0</cx:pt>
          <cx:pt idx="84823">1</cx:pt>
          <cx:pt idx="84824">1</cx:pt>
          <cx:pt idx="84825">0</cx:pt>
          <cx:pt idx="84826">1</cx:pt>
          <cx:pt idx="84827">0</cx:pt>
          <cx:pt idx="84828">0</cx:pt>
          <cx:pt idx="84829">1</cx:pt>
          <cx:pt idx="84830">0</cx:pt>
          <cx:pt idx="84831">0</cx:pt>
          <cx:pt idx="84832">1</cx:pt>
          <cx:pt idx="84833">1</cx:pt>
          <cx:pt idx="84834">0</cx:pt>
          <cx:pt idx="84835">1</cx:pt>
          <cx:pt idx="84836">1</cx:pt>
          <cx:pt idx="84837">0</cx:pt>
          <cx:pt idx="84838">0</cx:pt>
          <cx:pt idx="84839">1</cx:pt>
          <cx:pt idx="84840">1</cx:pt>
          <cx:pt idx="84841">1</cx:pt>
          <cx:pt idx="84842">1</cx:pt>
          <cx:pt idx="84843">0</cx:pt>
          <cx:pt idx="84844">0</cx:pt>
          <cx:pt idx="84845">1</cx:pt>
          <cx:pt idx="84846">0</cx:pt>
          <cx:pt idx="84847">1</cx:pt>
          <cx:pt idx="84848">1</cx:pt>
          <cx:pt idx="84849">1</cx:pt>
          <cx:pt idx="84850">0</cx:pt>
          <cx:pt idx="84851">0</cx:pt>
          <cx:pt idx="84852">0</cx:pt>
          <cx:pt idx="84853">0</cx:pt>
          <cx:pt idx="84854">1</cx:pt>
          <cx:pt idx="84855">1</cx:pt>
          <cx:pt idx="84856">1</cx:pt>
          <cx:pt idx="84857">0</cx:pt>
          <cx:pt idx="84858">0</cx:pt>
          <cx:pt idx="84859">0</cx:pt>
          <cx:pt idx="84860">0</cx:pt>
          <cx:pt idx="84861">0</cx:pt>
          <cx:pt idx="84862">1</cx:pt>
          <cx:pt idx="84863">1</cx:pt>
          <cx:pt idx="84864">0</cx:pt>
          <cx:pt idx="84865">1</cx:pt>
          <cx:pt idx="84866">0</cx:pt>
          <cx:pt idx="84867">0</cx:pt>
          <cx:pt idx="84868">0</cx:pt>
          <cx:pt idx="84869">0</cx:pt>
          <cx:pt idx="84870">0</cx:pt>
          <cx:pt idx="84871">0</cx:pt>
          <cx:pt idx="84872">1</cx:pt>
          <cx:pt idx="84873">1</cx:pt>
          <cx:pt idx="84874">0</cx:pt>
          <cx:pt idx="84875">0</cx:pt>
          <cx:pt idx="84876">0</cx:pt>
          <cx:pt idx="84877">1</cx:pt>
          <cx:pt idx="84878">0</cx:pt>
          <cx:pt idx="84879">1</cx:pt>
          <cx:pt idx="84880">1</cx:pt>
          <cx:pt idx="84881">0</cx:pt>
          <cx:pt idx="84882">1</cx:pt>
          <cx:pt idx="84883">0</cx:pt>
          <cx:pt idx="84884">0</cx:pt>
          <cx:pt idx="84885">0</cx:pt>
          <cx:pt idx="84886">1</cx:pt>
          <cx:pt idx="84887">0</cx:pt>
          <cx:pt idx="84888">0</cx:pt>
          <cx:pt idx="84889">1</cx:pt>
          <cx:pt idx="84890">1</cx:pt>
          <cx:pt idx="84891">1</cx:pt>
          <cx:pt idx="84892">0</cx:pt>
          <cx:pt idx="84893">1</cx:pt>
          <cx:pt idx="84894">0</cx:pt>
          <cx:pt idx="84895">0</cx:pt>
          <cx:pt idx="84896">0</cx:pt>
          <cx:pt idx="84897">0</cx:pt>
          <cx:pt idx="84898">0</cx:pt>
          <cx:pt idx="84899">1</cx:pt>
          <cx:pt idx="84900">0</cx:pt>
          <cx:pt idx="84901">1</cx:pt>
          <cx:pt idx="84902">0</cx:pt>
          <cx:pt idx="84903">0</cx:pt>
          <cx:pt idx="84904">0</cx:pt>
          <cx:pt idx="84905">0</cx:pt>
          <cx:pt idx="84906">0</cx:pt>
          <cx:pt idx="84907">0</cx:pt>
          <cx:pt idx="84908">1</cx:pt>
          <cx:pt idx="84909">0</cx:pt>
          <cx:pt idx="84910">0</cx:pt>
          <cx:pt idx="84911">0</cx:pt>
          <cx:pt idx="84912">0</cx:pt>
          <cx:pt idx="84913">1</cx:pt>
          <cx:pt idx="84914">0</cx:pt>
          <cx:pt idx="84915">0</cx:pt>
          <cx:pt idx="84916">0</cx:pt>
          <cx:pt idx="84917">0</cx:pt>
          <cx:pt idx="84918">1</cx:pt>
          <cx:pt idx="84919">1</cx:pt>
          <cx:pt idx="84920">1</cx:pt>
          <cx:pt idx="84921">1</cx:pt>
          <cx:pt idx="84922">0</cx:pt>
          <cx:pt idx="84923">0</cx:pt>
          <cx:pt idx="84924">0</cx:pt>
          <cx:pt idx="84925">0</cx:pt>
          <cx:pt idx="84926">0</cx:pt>
          <cx:pt idx="84927">1</cx:pt>
          <cx:pt idx="84928">0</cx:pt>
          <cx:pt idx="84929">0</cx:pt>
          <cx:pt idx="84930">0</cx:pt>
          <cx:pt idx="84931">0</cx:pt>
          <cx:pt idx="84932">0</cx:pt>
          <cx:pt idx="84933">0</cx:pt>
          <cx:pt idx="84934">1</cx:pt>
          <cx:pt idx="84935">1</cx:pt>
          <cx:pt idx="84936">0</cx:pt>
          <cx:pt idx="84937">0</cx:pt>
          <cx:pt idx="84938">0</cx:pt>
          <cx:pt idx="84939">0</cx:pt>
          <cx:pt idx="84940">0</cx:pt>
          <cx:pt idx="84941">0</cx:pt>
          <cx:pt idx="84942">1</cx:pt>
          <cx:pt idx="84943">0</cx:pt>
          <cx:pt idx="84944">0</cx:pt>
          <cx:pt idx="84945">0</cx:pt>
          <cx:pt idx="84946">1</cx:pt>
          <cx:pt idx="84947">1</cx:pt>
          <cx:pt idx="84948">0</cx:pt>
          <cx:pt idx="84949">1</cx:pt>
          <cx:pt idx="84950">1</cx:pt>
          <cx:pt idx="84951">1</cx:pt>
          <cx:pt idx="84952">0</cx:pt>
          <cx:pt idx="84953">0</cx:pt>
          <cx:pt idx="84954">0</cx:pt>
          <cx:pt idx="84955">0</cx:pt>
          <cx:pt idx="84956">1</cx:pt>
          <cx:pt idx="84957">0</cx:pt>
          <cx:pt idx="84958">0</cx:pt>
          <cx:pt idx="84959">1</cx:pt>
          <cx:pt idx="84960">0</cx:pt>
          <cx:pt idx="84961">0</cx:pt>
          <cx:pt idx="84962">1</cx:pt>
          <cx:pt idx="84963">0</cx:pt>
          <cx:pt idx="84964">0</cx:pt>
          <cx:pt idx="84965">1</cx:pt>
          <cx:pt idx="84966">1</cx:pt>
          <cx:pt idx="84967">1</cx:pt>
          <cx:pt idx="84968">1</cx:pt>
          <cx:pt idx="84969">0</cx:pt>
          <cx:pt idx="84970">1</cx:pt>
          <cx:pt idx="84971">0</cx:pt>
          <cx:pt idx="84972">1</cx:pt>
          <cx:pt idx="84973">0</cx:pt>
          <cx:pt idx="84974">0</cx:pt>
          <cx:pt idx="84975">1</cx:pt>
          <cx:pt idx="84976">0</cx:pt>
          <cx:pt idx="84977">0</cx:pt>
          <cx:pt idx="84978">0</cx:pt>
          <cx:pt idx="84979">1</cx:pt>
          <cx:pt idx="84980">1</cx:pt>
          <cx:pt idx="84981">1</cx:pt>
          <cx:pt idx="84982">0</cx:pt>
          <cx:pt idx="84983">1</cx:pt>
          <cx:pt idx="84984">1</cx:pt>
          <cx:pt idx="84985">0</cx:pt>
          <cx:pt idx="84986">1</cx:pt>
          <cx:pt idx="84987">0</cx:pt>
          <cx:pt idx="84988">1</cx:pt>
          <cx:pt idx="84989">0</cx:pt>
          <cx:pt idx="84990">1</cx:pt>
          <cx:pt idx="84991">1</cx:pt>
          <cx:pt idx="84992">1</cx:pt>
          <cx:pt idx="84993">1</cx:pt>
          <cx:pt idx="84994">1</cx:pt>
          <cx:pt idx="84995">1</cx:pt>
          <cx:pt idx="84996">1</cx:pt>
          <cx:pt idx="84997">0</cx:pt>
          <cx:pt idx="84998">0</cx:pt>
          <cx:pt idx="84999">0</cx:pt>
          <cx:pt idx="85000">0</cx:pt>
          <cx:pt idx="85001">1</cx:pt>
          <cx:pt idx="85002">0</cx:pt>
          <cx:pt idx="85003">0</cx:pt>
          <cx:pt idx="85004">0</cx:pt>
          <cx:pt idx="85005">0</cx:pt>
          <cx:pt idx="85006">0</cx:pt>
          <cx:pt idx="85007">0</cx:pt>
          <cx:pt idx="85008">1</cx:pt>
          <cx:pt idx="85009">0</cx:pt>
          <cx:pt idx="85010">0</cx:pt>
          <cx:pt idx="85011">1</cx:pt>
          <cx:pt idx="85012">0</cx:pt>
          <cx:pt idx="85013">0</cx:pt>
          <cx:pt idx="85014">1</cx:pt>
          <cx:pt idx="85015">0</cx:pt>
          <cx:pt idx="85016">0</cx:pt>
          <cx:pt idx="85017">1</cx:pt>
          <cx:pt idx="85018">0</cx:pt>
          <cx:pt idx="85019">0</cx:pt>
          <cx:pt idx="85020">0</cx:pt>
          <cx:pt idx="85021">1</cx:pt>
          <cx:pt idx="85022">0</cx:pt>
          <cx:pt idx="85023">0</cx:pt>
          <cx:pt idx="85024">0</cx:pt>
          <cx:pt idx="85025">0</cx:pt>
          <cx:pt idx="85026">0</cx:pt>
          <cx:pt idx="85027">0</cx:pt>
          <cx:pt idx="85028">0</cx:pt>
          <cx:pt idx="85029">1</cx:pt>
          <cx:pt idx="85030">1</cx:pt>
          <cx:pt idx="85031">1</cx:pt>
          <cx:pt idx="85032">1</cx:pt>
          <cx:pt idx="85033">0</cx:pt>
          <cx:pt idx="85034">0</cx:pt>
          <cx:pt idx="85035">1</cx:pt>
          <cx:pt idx="85036">1</cx:pt>
          <cx:pt idx="85037">0</cx:pt>
          <cx:pt idx="85038">0</cx:pt>
          <cx:pt idx="85039">0</cx:pt>
          <cx:pt idx="85040">1</cx:pt>
          <cx:pt idx="85041">0</cx:pt>
          <cx:pt idx="85042">0</cx:pt>
          <cx:pt idx="85043">0</cx:pt>
          <cx:pt idx="85044">0</cx:pt>
          <cx:pt idx="85045">1</cx:pt>
          <cx:pt idx="85046">0</cx:pt>
          <cx:pt idx="85047">1</cx:pt>
          <cx:pt idx="85048">1</cx:pt>
          <cx:pt idx="85049">1</cx:pt>
          <cx:pt idx="85050">0</cx:pt>
          <cx:pt idx="85051">0</cx:pt>
          <cx:pt idx="85052">1</cx:pt>
          <cx:pt idx="85053">0</cx:pt>
          <cx:pt idx="85054">1</cx:pt>
          <cx:pt idx="85055">0</cx:pt>
          <cx:pt idx="85056">0</cx:pt>
          <cx:pt idx="85057">0</cx:pt>
          <cx:pt idx="85058">0</cx:pt>
          <cx:pt idx="85059">1</cx:pt>
          <cx:pt idx="85060">0</cx:pt>
          <cx:pt idx="85061">0</cx:pt>
          <cx:pt idx="85062">0</cx:pt>
          <cx:pt idx="85063">0</cx:pt>
          <cx:pt idx="85064">1</cx:pt>
          <cx:pt idx="85065">0</cx:pt>
          <cx:pt idx="85066">0</cx:pt>
          <cx:pt idx="85067">1</cx:pt>
          <cx:pt idx="85068">1</cx:pt>
          <cx:pt idx="85069">1</cx:pt>
          <cx:pt idx="85070">0</cx:pt>
          <cx:pt idx="85071">0</cx:pt>
          <cx:pt idx="85072">0</cx:pt>
          <cx:pt idx="85073">0</cx:pt>
          <cx:pt idx="85074">0</cx:pt>
          <cx:pt idx="85075">1</cx:pt>
          <cx:pt idx="85076">0</cx:pt>
          <cx:pt idx="85077">1</cx:pt>
          <cx:pt idx="85078">1</cx:pt>
          <cx:pt idx="85079">1</cx:pt>
          <cx:pt idx="85080">1</cx:pt>
          <cx:pt idx="85081">0</cx:pt>
          <cx:pt idx="85082">1</cx:pt>
          <cx:pt idx="85083">0</cx:pt>
          <cx:pt idx="85084">0</cx:pt>
          <cx:pt idx="85085">0</cx:pt>
          <cx:pt idx="85086">0</cx:pt>
          <cx:pt idx="85087">0</cx:pt>
          <cx:pt idx="85088">1</cx:pt>
          <cx:pt idx="85089">1</cx:pt>
          <cx:pt idx="85090">0</cx:pt>
          <cx:pt idx="85091">0</cx:pt>
          <cx:pt idx="85092">1</cx:pt>
          <cx:pt idx="85093">0</cx:pt>
          <cx:pt idx="85094">0</cx:pt>
          <cx:pt idx="85095">0</cx:pt>
          <cx:pt idx="85096">1</cx:pt>
          <cx:pt idx="85097">0</cx:pt>
          <cx:pt idx="85098">0</cx:pt>
          <cx:pt idx="85099">1</cx:pt>
          <cx:pt idx="85100">0</cx:pt>
          <cx:pt idx="85101">0</cx:pt>
          <cx:pt idx="85102">1</cx:pt>
          <cx:pt idx="85103">0</cx:pt>
          <cx:pt idx="85104">1</cx:pt>
          <cx:pt idx="85105">1</cx:pt>
          <cx:pt idx="85106">0</cx:pt>
          <cx:pt idx="85107">0</cx:pt>
          <cx:pt idx="85108">0</cx:pt>
          <cx:pt idx="85109">0</cx:pt>
          <cx:pt idx="85110">0</cx:pt>
          <cx:pt idx="85111">1</cx:pt>
          <cx:pt idx="85112">1</cx:pt>
          <cx:pt idx="85113">1</cx:pt>
          <cx:pt idx="85114">0</cx:pt>
          <cx:pt idx="85115">0</cx:pt>
          <cx:pt idx="85116">1</cx:pt>
          <cx:pt idx="85117">0</cx:pt>
          <cx:pt idx="85118">0</cx:pt>
          <cx:pt idx="85119">0</cx:pt>
          <cx:pt idx="85120">1</cx:pt>
          <cx:pt idx="85121">1</cx:pt>
          <cx:pt idx="85122">0</cx:pt>
          <cx:pt idx="85123">0</cx:pt>
          <cx:pt idx="85124">1</cx:pt>
          <cx:pt idx="85125">0</cx:pt>
          <cx:pt idx="85126">1</cx:pt>
          <cx:pt idx="85127">1</cx:pt>
          <cx:pt idx="85128">0</cx:pt>
          <cx:pt idx="85129">0</cx:pt>
          <cx:pt idx="85130">1</cx:pt>
          <cx:pt idx="85131">0</cx:pt>
          <cx:pt idx="85132">1</cx:pt>
          <cx:pt idx="85133">0</cx:pt>
          <cx:pt idx="85134">0</cx:pt>
          <cx:pt idx="85135">1</cx:pt>
          <cx:pt idx="85136">0</cx:pt>
          <cx:pt idx="85137">1</cx:pt>
          <cx:pt idx="85138">0</cx:pt>
          <cx:pt idx="85139">0</cx:pt>
          <cx:pt idx="85140">0</cx:pt>
          <cx:pt idx="85141">1</cx:pt>
          <cx:pt idx="85142">1</cx:pt>
          <cx:pt idx="85143">1</cx:pt>
          <cx:pt idx="85144">1</cx:pt>
          <cx:pt idx="85145">1</cx:pt>
          <cx:pt idx="85146">1</cx:pt>
          <cx:pt idx="85147">0</cx:pt>
          <cx:pt idx="85148">0</cx:pt>
          <cx:pt idx="85149">0</cx:pt>
          <cx:pt idx="85150">0</cx:pt>
          <cx:pt idx="85151">0</cx:pt>
          <cx:pt idx="85152">0</cx:pt>
          <cx:pt idx="85153">0</cx:pt>
          <cx:pt idx="85154">1</cx:pt>
          <cx:pt idx="85155">0</cx:pt>
          <cx:pt idx="85156">1</cx:pt>
          <cx:pt idx="85157">0</cx:pt>
          <cx:pt idx="85158">0</cx:pt>
          <cx:pt idx="85159">1</cx:pt>
          <cx:pt idx="85160">0</cx:pt>
          <cx:pt idx="85161">0</cx:pt>
          <cx:pt idx="85162">1</cx:pt>
          <cx:pt idx="85163">1</cx:pt>
          <cx:pt idx="85164">1</cx:pt>
          <cx:pt idx="85165">0</cx:pt>
          <cx:pt idx="85166">0</cx:pt>
          <cx:pt idx="85167">1</cx:pt>
          <cx:pt idx="85168">1</cx:pt>
          <cx:pt idx="85169">1</cx:pt>
          <cx:pt idx="85170">0</cx:pt>
          <cx:pt idx="85171">1</cx:pt>
          <cx:pt idx="85172">1</cx:pt>
          <cx:pt idx="85173">0</cx:pt>
          <cx:pt idx="85174">1</cx:pt>
          <cx:pt idx="85175">0</cx:pt>
          <cx:pt idx="85176">1</cx:pt>
          <cx:pt idx="85177">0</cx:pt>
          <cx:pt idx="85178">1</cx:pt>
          <cx:pt idx="85179">0</cx:pt>
          <cx:pt idx="85180">1</cx:pt>
          <cx:pt idx="85181">1</cx:pt>
          <cx:pt idx="85182">0</cx:pt>
          <cx:pt idx="85183">0</cx:pt>
          <cx:pt idx="85184">0</cx:pt>
          <cx:pt idx="85185">0</cx:pt>
          <cx:pt idx="85186">0</cx:pt>
          <cx:pt idx="85187">1</cx:pt>
          <cx:pt idx="85188">1</cx:pt>
          <cx:pt idx="85189">0</cx:pt>
          <cx:pt idx="85190">0</cx:pt>
          <cx:pt idx="85191">1</cx:pt>
          <cx:pt idx="85192">0</cx:pt>
          <cx:pt idx="85193">1</cx:pt>
          <cx:pt idx="85194">0</cx:pt>
          <cx:pt idx="85195">1</cx:pt>
          <cx:pt idx="85196">0</cx:pt>
          <cx:pt idx="85197">0</cx:pt>
          <cx:pt idx="85198">0</cx:pt>
          <cx:pt idx="85199">1</cx:pt>
          <cx:pt idx="85200">0</cx:pt>
          <cx:pt idx="85201">1</cx:pt>
          <cx:pt idx="85202">0</cx:pt>
          <cx:pt idx="85203">0</cx:pt>
          <cx:pt idx="85204">0</cx:pt>
          <cx:pt idx="85205">1</cx:pt>
          <cx:pt idx="85206">0</cx:pt>
          <cx:pt idx="85207">0</cx:pt>
          <cx:pt idx="85208">0</cx:pt>
          <cx:pt idx="85209">1</cx:pt>
          <cx:pt idx="85210">0</cx:pt>
          <cx:pt idx="85211">0</cx:pt>
          <cx:pt idx="85212">0</cx:pt>
          <cx:pt idx="85213">1</cx:pt>
          <cx:pt idx="85214">0</cx:pt>
          <cx:pt idx="85215">0</cx:pt>
          <cx:pt idx="85216">0</cx:pt>
          <cx:pt idx="85217">1</cx:pt>
          <cx:pt idx="85218">1</cx:pt>
          <cx:pt idx="85219">0</cx:pt>
          <cx:pt idx="85220">0</cx:pt>
          <cx:pt idx="85221">0</cx:pt>
          <cx:pt idx="85222">1</cx:pt>
          <cx:pt idx="85223">1</cx:pt>
          <cx:pt idx="85224">0</cx:pt>
          <cx:pt idx="85225">1</cx:pt>
          <cx:pt idx="85226">0</cx:pt>
          <cx:pt idx="85227">0</cx:pt>
          <cx:pt idx="85228">1</cx:pt>
          <cx:pt idx="85229">0</cx:pt>
          <cx:pt idx="85230">0</cx:pt>
          <cx:pt idx="85231">0</cx:pt>
          <cx:pt idx="85232">0</cx:pt>
          <cx:pt idx="85233">0</cx:pt>
          <cx:pt idx="85234">0</cx:pt>
          <cx:pt idx="85235">0</cx:pt>
          <cx:pt idx="85236">0</cx:pt>
          <cx:pt idx="85237">0</cx:pt>
          <cx:pt idx="85238">0</cx:pt>
          <cx:pt idx="85239">0</cx:pt>
          <cx:pt idx="85240">1</cx:pt>
          <cx:pt idx="85241">0</cx:pt>
          <cx:pt idx="85242">0</cx:pt>
          <cx:pt idx="85243">0</cx:pt>
          <cx:pt idx="85244">0</cx:pt>
          <cx:pt idx="85245">0</cx:pt>
          <cx:pt idx="85246">0</cx:pt>
          <cx:pt idx="85247">0</cx:pt>
          <cx:pt idx="85248">1</cx:pt>
          <cx:pt idx="85249">0</cx:pt>
          <cx:pt idx="85250">0</cx:pt>
          <cx:pt idx="85251">1</cx:pt>
          <cx:pt idx="85252">0</cx:pt>
          <cx:pt idx="85253">0</cx:pt>
          <cx:pt idx="85254">0</cx:pt>
          <cx:pt idx="85255">1</cx:pt>
          <cx:pt idx="85256">0</cx:pt>
          <cx:pt idx="85257">1</cx:pt>
          <cx:pt idx="85258">0</cx:pt>
          <cx:pt idx="85259">0</cx:pt>
          <cx:pt idx="85260">0</cx:pt>
          <cx:pt idx="85261">1</cx:pt>
          <cx:pt idx="85262">0</cx:pt>
          <cx:pt idx="85263">1</cx:pt>
          <cx:pt idx="85264">0</cx:pt>
          <cx:pt idx="85265">1</cx:pt>
          <cx:pt idx="85266">1</cx:pt>
          <cx:pt idx="85267">0</cx:pt>
          <cx:pt idx="85268">0</cx:pt>
          <cx:pt idx="85269">0</cx:pt>
          <cx:pt idx="85270">0</cx:pt>
          <cx:pt idx="85271">1</cx:pt>
          <cx:pt idx="85272">1</cx:pt>
          <cx:pt idx="85273">0</cx:pt>
          <cx:pt idx="85274">0</cx:pt>
          <cx:pt idx="85275">0</cx:pt>
          <cx:pt idx="85276">1</cx:pt>
          <cx:pt idx="85277">0</cx:pt>
          <cx:pt idx="85278">1</cx:pt>
          <cx:pt idx="85279">1</cx:pt>
          <cx:pt idx="85280">0</cx:pt>
          <cx:pt idx="85281">0</cx:pt>
          <cx:pt idx="85282">0</cx:pt>
          <cx:pt idx="85283">0</cx:pt>
          <cx:pt idx="85284">0</cx:pt>
          <cx:pt idx="85285">1</cx:pt>
          <cx:pt idx="85286">0</cx:pt>
          <cx:pt idx="85287">0</cx:pt>
          <cx:pt idx="85288">1</cx:pt>
          <cx:pt idx="85289">0</cx:pt>
          <cx:pt idx="85290">0</cx:pt>
          <cx:pt idx="85291">1</cx:pt>
          <cx:pt idx="85292">0</cx:pt>
          <cx:pt idx="85293">1</cx:pt>
          <cx:pt idx="85294">0</cx:pt>
          <cx:pt idx="85295">1</cx:pt>
          <cx:pt idx="85296">1</cx:pt>
          <cx:pt idx="85297">0</cx:pt>
          <cx:pt idx="85298">0</cx:pt>
          <cx:pt idx="85299">1</cx:pt>
          <cx:pt idx="85300">0</cx:pt>
          <cx:pt idx="85301">1</cx:pt>
          <cx:pt idx="85302">1</cx:pt>
          <cx:pt idx="85303">0</cx:pt>
          <cx:pt idx="85304">0</cx:pt>
          <cx:pt idx="85305">1</cx:pt>
          <cx:pt idx="85306">1</cx:pt>
          <cx:pt idx="85307">0</cx:pt>
          <cx:pt idx="85308">1</cx:pt>
          <cx:pt idx="85309">1</cx:pt>
          <cx:pt idx="85310">0</cx:pt>
          <cx:pt idx="85311">0</cx:pt>
          <cx:pt idx="85312">0</cx:pt>
          <cx:pt idx="85313">0</cx:pt>
          <cx:pt idx="85314">1</cx:pt>
          <cx:pt idx="85315">0</cx:pt>
          <cx:pt idx="85316">0</cx:pt>
          <cx:pt idx="85317">1</cx:pt>
          <cx:pt idx="85318">0</cx:pt>
          <cx:pt idx="85319">0</cx:pt>
          <cx:pt idx="85320">0</cx:pt>
          <cx:pt idx="85321">0</cx:pt>
          <cx:pt idx="85322">1</cx:pt>
          <cx:pt idx="85323">1</cx:pt>
          <cx:pt idx="85324">0</cx:pt>
          <cx:pt idx="85325">1</cx:pt>
          <cx:pt idx="85326">1</cx:pt>
          <cx:pt idx="85327">0</cx:pt>
          <cx:pt idx="85328">1</cx:pt>
          <cx:pt idx="85329">0</cx:pt>
          <cx:pt idx="85330">0</cx:pt>
          <cx:pt idx="85331">0</cx:pt>
          <cx:pt idx="85332">1</cx:pt>
          <cx:pt idx="85333">1</cx:pt>
          <cx:pt idx="85334">1</cx:pt>
          <cx:pt idx="85335">1</cx:pt>
          <cx:pt idx="85336">0</cx:pt>
          <cx:pt idx="85337">1</cx:pt>
          <cx:pt idx="85338">1</cx:pt>
          <cx:pt idx="85339">0</cx:pt>
          <cx:pt idx="85340">1</cx:pt>
          <cx:pt idx="85341">1</cx:pt>
          <cx:pt idx="85342">0</cx:pt>
          <cx:pt idx="85343">1</cx:pt>
          <cx:pt idx="85344">0</cx:pt>
          <cx:pt idx="85345">1</cx:pt>
          <cx:pt idx="85346">0</cx:pt>
          <cx:pt idx="85347">1</cx:pt>
          <cx:pt idx="85348">1</cx:pt>
          <cx:pt idx="85349">1</cx:pt>
          <cx:pt idx="85350">0</cx:pt>
          <cx:pt idx="85351">0</cx:pt>
          <cx:pt idx="85352">1</cx:pt>
          <cx:pt idx="85353">0</cx:pt>
          <cx:pt idx="85354">1</cx:pt>
          <cx:pt idx="85355">1</cx:pt>
          <cx:pt idx="85356">1</cx:pt>
          <cx:pt idx="85357">0</cx:pt>
          <cx:pt idx="85358">1</cx:pt>
          <cx:pt idx="85359">0</cx:pt>
          <cx:pt idx="85360">1</cx:pt>
          <cx:pt idx="85361">0</cx:pt>
          <cx:pt idx="85362">1</cx:pt>
          <cx:pt idx="85363">1</cx:pt>
          <cx:pt idx="85364">0</cx:pt>
          <cx:pt idx="85365">1</cx:pt>
          <cx:pt idx="85366">1</cx:pt>
          <cx:pt idx="85367">0</cx:pt>
          <cx:pt idx="85368">0</cx:pt>
          <cx:pt idx="85369">0</cx:pt>
          <cx:pt idx="85370">1</cx:pt>
          <cx:pt idx="85371">0</cx:pt>
          <cx:pt idx="85372">1</cx:pt>
          <cx:pt idx="85373">0</cx:pt>
          <cx:pt idx="85374">0</cx:pt>
          <cx:pt idx="85375">0</cx:pt>
          <cx:pt idx="85376">1</cx:pt>
          <cx:pt idx="85377">1</cx:pt>
          <cx:pt idx="85378">0</cx:pt>
          <cx:pt idx="85379">1</cx:pt>
          <cx:pt idx="85380">0</cx:pt>
          <cx:pt idx="85381">1</cx:pt>
          <cx:pt idx="85382">0</cx:pt>
          <cx:pt idx="85383">0</cx:pt>
          <cx:pt idx="85384">0</cx:pt>
          <cx:pt idx="85385">0</cx:pt>
          <cx:pt idx="85386">1</cx:pt>
          <cx:pt idx="85387">1</cx:pt>
          <cx:pt idx="85388">0</cx:pt>
          <cx:pt idx="85389">1</cx:pt>
          <cx:pt idx="85390">0</cx:pt>
          <cx:pt idx="85391">0</cx:pt>
          <cx:pt idx="85392">1</cx:pt>
          <cx:pt idx="85393">0</cx:pt>
          <cx:pt idx="85394">0</cx:pt>
          <cx:pt idx="85395">0</cx:pt>
          <cx:pt idx="85396">0</cx:pt>
          <cx:pt idx="85397">0</cx:pt>
          <cx:pt idx="85398">0</cx:pt>
          <cx:pt idx="85399">0</cx:pt>
          <cx:pt idx="85400">0</cx:pt>
          <cx:pt idx="85401">0</cx:pt>
          <cx:pt idx="85402">1</cx:pt>
          <cx:pt idx="85403">1</cx:pt>
          <cx:pt idx="85404">1</cx:pt>
          <cx:pt idx="85405">1</cx:pt>
          <cx:pt idx="85406">1</cx:pt>
          <cx:pt idx="85407">0</cx:pt>
          <cx:pt idx="85408">0</cx:pt>
          <cx:pt idx="85409">1</cx:pt>
          <cx:pt idx="85410">1</cx:pt>
          <cx:pt idx="85411">1</cx:pt>
          <cx:pt idx="85412">0</cx:pt>
          <cx:pt idx="85413">0</cx:pt>
          <cx:pt idx="85414">0</cx:pt>
          <cx:pt idx="85415">0</cx:pt>
          <cx:pt idx="85416">1</cx:pt>
          <cx:pt idx="85417">0</cx:pt>
          <cx:pt idx="85418">1</cx:pt>
          <cx:pt idx="85419">1</cx:pt>
          <cx:pt idx="85420">0</cx:pt>
          <cx:pt idx="85421">1</cx:pt>
          <cx:pt idx="85422">0</cx:pt>
          <cx:pt idx="85423">0</cx:pt>
          <cx:pt idx="85424">0</cx:pt>
          <cx:pt idx="85425">0</cx:pt>
          <cx:pt idx="85426">1</cx:pt>
          <cx:pt idx="85427">0</cx:pt>
          <cx:pt idx="85428">0</cx:pt>
          <cx:pt idx="85429">1</cx:pt>
          <cx:pt idx="85430">1</cx:pt>
          <cx:pt idx="85431">0</cx:pt>
          <cx:pt idx="85432">1</cx:pt>
          <cx:pt idx="85433">0</cx:pt>
          <cx:pt idx="85434">0</cx:pt>
          <cx:pt idx="85435">0</cx:pt>
          <cx:pt idx="85436">1</cx:pt>
          <cx:pt idx="85437">1</cx:pt>
          <cx:pt idx="85438">1</cx:pt>
          <cx:pt idx="85439">1</cx:pt>
          <cx:pt idx="85440">1</cx:pt>
          <cx:pt idx="85441">1</cx:pt>
          <cx:pt idx="85442">0</cx:pt>
          <cx:pt idx="85443">0</cx:pt>
          <cx:pt idx="85444">0</cx:pt>
          <cx:pt idx="85445">0</cx:pt>
          <cx:pt idx="85446">1</cx:pt>
          <cx:pt idx="85447">0</cx:pt>
          <cx:pt idx="85448">1</cx:pt>
          <cx:pt idx="85449">0</cx:pt>
          <cx:pt idx="85450">0</cx:pt>
          <cx:pt idx="85451">0</cx:pt>
          <cx:pt idx="85452">0</cx:pt>
          <cx:pt idx="85453">0</cx:pt>
          <cx:pt idx="85454">0</cx:pt>
          <cx:pt idx="85455">0</cx:pt>
          <cx:pt idx="85456">0</cx:pt>
          <cx:pt idx="85457">0</cx:pt>
          <cx:pt idx="85458">0</cx:pt>
          <cx:pt idx="85459">0</cx:pt>
          <cx:pt idx="85460">0</cx:pt>
          <cx:pt idx="85461">0</cx:pt>
          <cx:pt idx="85462">1</cx:pt>
          <cx:pt idx="85463">0</cx:pt>
          <cx:pt idx="85464">1</cx:pt>
          <cx:pt idx="85465">0</cx:pt>
          <cx:pt idx="85466">1</cx:pt>
          <cx:pt idx="85467">0</cx:pt>
          <cx:pt idx="85468">0</cx:pt>
          <cx:pt idx="85469">1</cx:pt>
          <cx:pt idx="85470">0</cx:pt>
          <cx:pt idx="85471">0</cx:pt>
          <cx:pt idx="85472">1</cx:pt>
          <cx:pt idx="85473">0</cx:pt>
          <cx:pt idx="85474">0</cx:pt>
          <cx:pt idx="85475">0</cx:pt>
          <cx:pt idx="85476">1</cx:pt>
          <cx:pt idx="85477">1</cx:pt>
          <cx:pt idx="85478">1</cx:pt>
          <cx:pt idx="85479">0</cx:pt>
          <cx:pt idx="85480">0</cx:pt>
          <cx:pt idx="85481">0</cx:pt>
          <cx:pt idx="85482">0</cx:pt>
          <cx:pt idx="85483">1</cx:pt>
          <cx:pt idx="85484">1</cx:pt>
          <cx:pt idx="85485">0</cx:pt>
          <cx:pt idx="85486">1</cx:pt>
          <cx:pt idx="85487">0</cx:pt>
          <cx:pt idx="85488">1</cx:pt>
          <cx:pt idx="85489">0</cx:pt>
          <cx:pt idx="85490">1</cx:pt>
          <cx:pt idx="85491">0</cx:pt>
          <cx:pt idx="85492">1</cx:pt>
          <cx:pt idx="85493">0</cx:pt>
          <cx:pt idx="85494">1</cx:pt>
          <cx:pt idx="85495">1</cx:pt>
          <cx:pt idx="85496">0</cx:pt>
          <cx:pt idx="85497">1</cx:pt>
          <cx:pt idx="85498">0</cx:pt>
          <cx:pt idx="85499">1</cx:pt>
          <cx:pt idx="85500">1</cx:pt>
          <cx:pt idx="85501">0</cx:pt>
          <cx:pt idx="85502">0</cx:pt>
          <cx:pt idx="85503">0</cx:pt>
          <cx:pt idx="85504">0</cx:pt>
          <cx:pt idx="85505">0</cx:pt>
          <cx:pt idx="85506">0</cx:pt>
          <cx:pt idx="85507">1</cx:pt>
          <cx:pt idx="85508">0</cx:pt>
          <cx:pt idx="85509">1</cx:pt>
          <cx:pt idx="85510">0</cx:pt>
          <cx:pt idx="85511">1</cx:pt>
          <cx:pt idx="85512">0</cx:pt>
          <cx:pt idx="85513">0</cx:pt>
          <cx:pt idx="85514">1</cx:pt>
          <cx:pt idx="85515">0</cx:pt>
          <cx:pt idx="85516">0</cx:pt>
          <cx:pt idx="85517">1</cx:pt>
          <cx:pt idx="85518">0</cx:pt>
          <cx:pt idx="85519">0</cx:pt>
          <cx:pt idx="85520">1</cx:pt>
          <cx:pt idx="85521">0</cx:pt>
          <cx:pt idx="85522">1</cx:pt>
          <cx:pt idx="85523">1</cx:pt>
          <cx:pt idx="85524">0</cx:pt>
          <cx:pt idx="85525">0</cx:pt>
          <cx:pt idx="85526">1</cx:pt>
          <cx:pt idx="85527">0</cx:pt>
          <cx:pt idx="85528">1</cx:pt>
          <cx:pt idx="85529">1</cx:pt>
          <cx:pt idx="85530">0</cx:pt>
          <cx:pt idx="85531">1</cx:pt>
          <cx:pt idx="85532">0</cx:pt>
          <cx:pt idx="85533">1</cx:pt>
          <cx:pt idx="85534">0</cx:pt>
          <cx:pt idx="85535">0</cx:pt>
          <cx:pt idx="85536">1</cx:pt>
          <cx:pt idx="85537">1</cx:pt>
          <cx:pt idx="85538">1</cx:pt>
          <cx:pt idx="85539">0</cx:pt>
          <cx:pt idx="85540">0</cx:pt>
          <cx:pt idx="85541">0</cx:pt>
          <cx:pt idx="85542">1</cx:pt>
          <cx:pt idx="85543">0</cx:pt>
          <cx:pt idx="85544">1</cx:pt>
          <cx:pt idx="85545">0</cx:pt>
          <cx:pt idx="85546">0</cx:pt>
          <cx:pt idx="85547">0</cx:pt>
          <cx:pt idx="85548">0</cx:pt>
          <cx:pt idx="85549">1</cx:pt>
          <cx:pt idx="85550">0</cx:pt>
          <cx:pt idx="85551">0</cx:pt>
          <cx:pt idx="85552">1</cx:pt>
          <cx:pt idx="85553">1</cx:pt>
          <cx:pt idx="85554">1</cx:pt>
          <cx:pt idx="85555">0</cx:pt>
          <cx:pt idx="85556">1</cx:pt>
          <cx:pt idx="85557">0</cx:pt>
          <cx:pt idx="85558">0</cx:pt>
          <cx:pt idx="85559">0</cx:pt>
          <cx:pt idx="85560">0</cx:pt>
          <cx:pt idx="85561">0</cx:pt>
          <cx:pt idx="85562">0</cx:pt>
          <cx:pt idx="85563">0</cx:pt>
          <cx:pt idx="85564">1</cx:pt>
          <cx:pt idx="85565">1</cx:pt>
          <cx:pt idx="85566">1</cx:pt>
          <cx:pt idx="85567">0</cx:pt>
          <cx:pt idx="85568">0</cx:pt>
          <cx:pt idx="85569">0</cx:pt>
          <cx:pt idx="85570">1</cx:pt>
          <cx:pt idx="85571">1</cx:pt>
          <cx:pt idx="85572">0</cx:pt>
          <cx:pt idx="85573">0</cx:pt>
          <cx:pt idx="85574">0</cx:pt>
          <cx:pt idx="85575">1</cx:pt>
          <cx:pt idx="85576">0</cx:pt>
          <cx:pt idx="85577">1</cx:pt>
          <cx:pt idx="85578">1</cx:pt>
          <cx:pt idx="85579">0</cx:pt>
          <cx:pt idx="85580">0</cx:pt>
          <cx:pt idx="85581">1</cx:pt>
          <cx:pt idx="85582">1</cx:pt>
          <cx:pt idx="85583">1</cx:pt>
          <cx:pt idx="85584">0</cx:pt>
          <cx:pt idx="85585">1</cx:pt>
          <cx:pt idx="85586">0</cx:pt>
          <cx:pt idx="85587">0</cx:pt>
          <cx:pt idx="85588">1</cx:pt>
          <cx:pt idx="85589">0</cx:pt>
          <cx:pt idx="85590">0</cx:pt>
          <cx:pt idx="85591">0</cx:pt>
          <cx:pt idx="85592">1</cx:pt>
          <cx:pt idx="85593">0</cx:pt>
          <cx:pt idx="85594">0</cx:pt>
          <cx:pt idx="85595">1</cx:pt>
          <cx:pt idx="85596">1</cx:pt>
          <cx:pt idx="85597">1</cx:pt>
          <cx:pt idx="85598">1</cx:pt>
          <cx:pt idx="85599">1</cx:pt>
          <cx:pt idx="85600">0</cx:pt>
          <cx:pt idx="85601">1</cx:pt>
          <cx:pt idx="85602">1</cx:pt>
          <cx:pt idx="85603">0</cx:pt>
          <cx:pt idx="85604">0</cx:pt>
          <cx:pt idx="85605">1</cx:pt>
          <cx:pt idx="85606">0</cx:pt>
          <cx:pt idx="85607">1</cx:pt>
          <cx:pt idx="85608">0</cx:pt>
          <cx:pt idx="85609">0</cx:pt>
          <cx:pt idx="85610">1</cx:pt>
          <cx:pt idx="85611">0</cx:pt>
          <cx:pt idx="85612">1</cx:pt>
          <cx:pt idx="85613">0</cx:pt>
          <cx:pt idx="85614">1</cx:pt>
          <cx:pt idx="85615">1</cx:pt>
          <cx:pt idx="85616">1</cx:pt>
          <cx:pt idx="85617">1</cx:pt>
          <cx:pt idx="85618">0</cx:pt>
          <cx:pt idx="85619">0</cx:pt>
          <cx:pt idx="85620">1</cx:pt>
          <cx:pt idx="85621">0</cx:pt>
          <cx:pt idx="85622">1</cx:pt>
          <cx:pt idx="85623">0</cx:pt>
          <cx:pt idx="85624">0</cx:pt>
          <cx:pt idx="85625">0</cx:pt>
          <cx:pt idx="85626">0</cx:pt>
          <cx:pt idx="85627">1</cx:pt>
          <cx:pt idx="85628">1</cx:pt>
          <cx:pt idx="85629">0</cx:pt>
          <cx:pt idx="85630">1</cx:pt>
          <cx:pt idx="85631">0</cx:pt>
          <cx:pt idx="85632">0</cx:pt>
          <cx:pt idx="85633">1</cx:pt>
          <cx:pt idx="85634">1</cx:pt>
          <cx:pt idx="85635">1</cx:pt>
          <cx:pt idx="85636">0</cx:pt>
          <cx:pt idx="85637">0</cx:pt>
          <cx:pt idx="85638">1</cx:pt>
          <cx:pt idx="85639">1</cx:pt>
          <cx:pt idx="85640">0</cx:pt>
          <cx:pt idx="85641">1</cx:pt>
          <cx:pt idx="85642">1</cx:pt>
          <cx:pt idx="85643">0</cx:pt>
          <cx:pt idx="85644">0</cx:pt>
          <cx:pt idx="85645">0</cx:pt>
          <cx:pt idx="85646">0</cx:pt>
          <cx:pt idx="85647">0</cx:pt>
          <cx:pt idx="85648">0</cx:pt>
          <cx:pt idx="85649">1</cx:pt>
          <cx:pt idx="85650">1</cx:pt>
          <cx:pt idx="85651">1</cx:pt>
          <cx:pt idx="85652">0</cx:pt>
          <cx:pt idx="85653">1</cx:pt>
          <cx:pt idx="85654">0</cx:pt>
          <cx:pt idx="85655">1</cx:pt>
          <cx:pt idx="85656">1</cx:pt>
          <cx:pt idx="85657">0</cx:pt>
          <cx:pt idx="85658">1</cx:pt>
          <cx:pt idx="85659">1</cx:pt>
          <cx:pt idx="85660">1</cx:pt>
          <cx:pt idx="85661">0</cx:pt>
          <cx:pt idx="85662">0</cx:pt>
          <cx:pt idx="85663">0</cx:pt>
          <cx:pt idx="85664">0</cx:pt>
          <cx:pt idx="85665">0</cx:pt>
          <cx:pt idx="85666">1</cx:pt>
          <cx:pt idx="85667">1</cx:pt>
          <cx:pt idx="85668">0</cx:pt>
          <cx:pt idx="85669">1</cx:pt>
          <cx:pt idx="85670">0</cx:pt>
          <cx:pt idx="85671">0</cx:pt>
          <cx:pt idx="85672">0</cx:pt>
          <cx:pt idx="85673">1</cx:pt>
          <cx:pt idx="85674">0</cx:pt>
          <cx:pt idx="85675">0</cx:pt>
          <cx:pt idx="85676">0</cx:pt>
          <cx:pt idx="85677">0</cx:pt>
          <cx:pt idx="85678">0</cx:pt>
          <cx:pt idx="85679">1</cx:pt>
          <cx:pt idx="85680">1</cx:pt>
          <cx:pt idx="85681">1</cx:pt>
          <cx:pt idx="85682">0</cx:pt>
          <cx:pt idx="85683">0</cx:pt>
          <cx:pt idx="85684">0</cx:pt>
          <cx:pt idx="85685">1</cx:pt>
          <cx:pt idx="85686">0</cx:pt>
          <cx:pt idx="85687">0</cx:pt>
          <cx:pt idx="85688">0</cx:pt>
          <cx:pt idx="85689">1</cx:pt>
          <cx:pt idx="85690">0</cx:pt>
          <cx:pt idx="85691">0</cx:pt>
          <cx:pt idx="85692">0</cx:pt>
          <cx:pt idx="85693">0</cx:pt>
          <cx:pt idx="85694">0</cx:pt>
          <cx:pt idx="85695">0</cx:pt>
          <cx:pt idx="85696">0</cx:pt>
          <cx:pt idx="85697">1</cx:pt>
          <cx:pt idx="85698">1</cx:pt>
          <cx:pt idx="85699">0</cx:pt>
          <cx:pt idx="85700">0</cx:pt>
          <cx:pt idx="85701">0</cx:pt>
          <cx:pt idx="85702">0</cx:pt>
          <cx:pt idx="85703">1</cx:pt>
          <cx:pt idx="85704">1</cx:pt>
          <cx:pt idx="85705">0</cx:pt>
          <cx:pt idx="85706">1</cx:pt>
          <cx:pt idx="85707">1</cx:pt>
          <cx:pt idx="85708">1</cx:pt>
          <cx:pt idx="85709">1</cx:pt>
          <cx:pt idx="85710">0</cx:pt>
          <cx:pt idx="85711">1</cx:pt>
          <cx:pt idx="85712">0</cx:pt>
          <cx:pt idx="85713">0</cx:pt>
          <cx:pt idx="85714">0</cx:pt>
          <cx:pt idx="85715">1</cx:pt>
          <cx:pt idx="85716">1</cx:pt>
          <cx:pt idx="85717">1</cx:pt>
          <cx:pt idx="85718">1</cx:pt>
          <cx:pt idx="85719">1</cx:pt>
          <cx:pt idx="85720">1</cx:pt>
          <cx:pt idx="85721">0</cx:pt>
          <cx:pt idx="85722">1</cx:pt>
          <cx:pt idx="85723">1</cx:pt>
          <cx:pt idx="85724">1</cx:pt>
          <cx:pt idx="85725">1</cx:pt>
          <cx:pt idx="85726">0</cx:pt>
          <cx:pt idx="85727">1</cx:pt>
          <cx:pt idx="85728">0</cx:pt>
          <cx:pt idx="85729">0</cx:pt>
          <cx:pt idx="85730">1</cx:pt>
          <cx:pt idx="85731">0</cx:pt>
          <cx:pt idx="85732">0</cx:pt>
          <cx:pt idx="85733">1</cx:pt>
          <cx:pt idx="85734">0</cx:pt>
          <cx:pt idx="85735">0</cx:pt>
          <cx:pt idx="85736">0</cx:pt>
          <cx:pt idx="85737">0</cx:pt>
          <cx:pt idx="85738">1</cx:pt>
          <cx:pt idx="85739">1</cx:pt>
          <cx:pt idx="85740">1</cx:pt>
          <cx:pt idx="85741">0</cx:pt>
          <cx:pt idx="85742">1</cx:pt>
          <cx:pt idx="85743">0</cx:pt>
          <cx:pt idx="85744">0</cx:pt>
          <cx:pt idx="85745">0</cx:pt>
          <cx:pt idx="85746">1</cx:pt>
          <cx:pt idx="85747">0</cx:pt>
          <cx:pt idx="85748">1</cx:pt>
          <cx:pt idx="85749">0</cx:pt>
          <cx:pt idx="85750">0</cx:pt>
          <cx:pt idx="85751">0</cx:pt>
          <cx:pt idx="85752">0</cx:pt>
          <cx:pt idx="85753">1</cx:pt>
          <cx:pt idx="85754">0</cx:pt>
          <cx:pt idx="85755">1</cx:pt>
          <cx:pt idx="85756">1</cx:pt>
          <cx:pt idx="85757">1</cx:pt>
          <cx:pt idx="85758">0</cx:pt>
          <cx:pt idx="85759">0</cx:pt>
          <cx:pt idx="85760">0</cx:pt>
          <cx:pt idx="85761">0</cx:pt>
          <cx:pt idx="85762">1</cx:pt>
          <cx:pt idx="85763">1</cx:pt>
          <cx:pt idx="85764">0</cx:pt>
          <cx:pt idx="85765">0</cx:pt>
          <cx:pt idx="85766">1</cx:pt>
          <cx:pt idx="85767">1</cx:pt>
          <cx:pt idx="85768">1</cx:pt>
          <cx:pt idx="85769">0</cx:pt>
          <cx:pt idx="85770">0</cx:pt>
          <cx:pt idx="85771">0</cx:pt>
          <cx:pt idx="85772">1</cx:pt>
          <cx:pt idx="85773">1</cx:pt>
          <cx:pt idx="85774">0</cx:pt>
          <cx:pt idx="85775">0</cx:pt>
          <cx:pt idx="85776">1</cx:pt>
          <cx:pt idx="85777">0</cx:pt>
          <cx:pt idx="85778">0</cx:pt>
          <cx:pt idx="85779">1</cx:pt>
          <cx:pt idx="85780">1</cx:pt>
          <cx:pt idx="85781">0</cx:pt>
          <cx:pt idx="85782">1</cx:pt>
          <cx:pt idx="85783">0</cx:pt>
          <cx:pt idx="85784">0</cx:pt>
          <cx:pt idx="85785">0</cx:pt>
          <cx:pt idx="85786">1</cx:pt>
          <cx:pt idx="85787">1</cx:pt>
          <cx:pt idx="85788">0</cx:pt>
          <cx:pt idx="85789">0</cx:pt>
          <cx:pt idx="85790">1</cx:pt>
          <cx:pt idx="85791">0</cx:pt>
          <cx:pt idx="85792">1</cx:pt>
          <cx:pt idx="85793">0</cx:pt>
          <cx:pt idx="85794">1</cx:pt>
          <cx:pt idx="85795">1</cx:pt>
          <cx:pt idx="85796">1</cx:pt>
          <cx:pt idx="85797">1</cx:pt>
          <cx:pt idx="85798">0</cx:pt>
          <cx:pt idx="85799">0</cx:pt>
          <cx:pt idx="85800">1</cx:pt>
          <cx:pt idx="85801">0</cx:pt>
          <cx:pt idx="85802">1</cx:pt>
          <cx:pt idx="85803">0</cx:pt>
          <cx:pt idx="85804">1</cx:pt>
          <cx:pt idx="85805">0</cx:pt>
          <cx:pt idx="85806">1</cx:pt>
          <cx:pt idx="85807">0</cx:pt>
          <cx:pt idx="85808">1</cx:pt>
          <cx:pt idx="85809">1</cx:pt>
          <cx:pt idx="85810">0</cx:pt>
          <cx:pt idx="85811">1</cx:pt>
          <cx:pt idx="85812">0</cx:pt>
          <cx:pt idx="85813">0</cx:pt>
          <cx:pt idx="85814">1</cx:pt>
          <cx:pt idx="85815">0</cx:pt>
          <cx:pt idx="85816">0</cx:pt>
          <cx:pt idx="85817">1</cx:pt>
          <cx:pt idx="85818">0</cx:pt>
          <cx:pt idx="85819">0</cx:pt>
          <cx:pt idx="85820">1</cx:pt>
          <cx:pt idx="85821">1</cx:pt>
          <cx:pt idx="85822">0</cx:pt>
          <cx:pt idx="85823">1</cx:pt>
          <cx:pt idx="85824">0</cx:pt>
          <cx:pt idx="85825">0</cx:pt>
          <cx:pt idx="85826">0</cx:pt>
          <cx:pt idx="85827">0</cx:pt>
          <cx:pt idx="85828">1</cx:pt>
          <cx:pt idx="85829">0</cx:pt>
          <cx:pt idx="85830">0</cx:pt>
          <cx:pt idx="85831">0</cx:pt>
          <cx:pt idx="85832">0</cx:pt>
          <cx:pt idx="85833">1</cx:pt>
          <cx:pt idx="85834">0</cx:pt>
          <cx:pt idx="85835">0</cx:pt>
          <cx:pt idx="85836">0</cx:pt>
          <cx:pt idx="85837">0</cx:pt>
          <cx:pt idx="85838">0</cx:pt>
          <cx:pt idx="85839">1</cx:pt>
          <cx:pt idx="85840">1</cx:pt>
          <cx:pt idx="85841">0</cx:pt>
          <cx:pt idx="85842">0</cx:pt>
          <cx:pt idx="85843">0</cx:pt>
          <cx:pt idx="85844">0</cx:pt>
          <cx:pt idx="85845">1</cx:pt>
          <cx:pt idx="85846">0</cx:pt>
          <cx:pt idx="85847">0</cx:pt>
          <cx:pt idx="85848">1</cx:pt>
          <cx:pt idx="85849">0</cx:pt>
          <cx:pt idx="85850">0</cx:pt>
          <cx:pt idx="85851">1</cx:pt>
          <cx:pt idx="85852">1</cx:pt>
          <cx:pt idx="85853">0</cx:pt>
          <cx:pt idx="85854">0</cx:pt>
          <cx:pt idx="85855">0</cx:pt>
          <cx:pt idx="85856">1</cx:pt>
          <cx:pt idx="85857">1</cx:pt>
          <cx:pt idx="85858">0</cx:pt>
          <cx:pt idx="85859">1</cx:pt>
          <cx:pt idx="85860">1</cx:pt>
          <cx:pt idx="85861">0</cx:pt>
          <cx:pt idx="85862">1</cx:pt>
          <cx:pt idx="85863">1</cx:pt>
          <cx:pt idx="85864">0</cx:pt>
          <cx:pt idx="85865">0</cx:pt>
          <cx:pt idx="85866">1</cx:pt>
          <cx:pt idx="85867">0</cx:pt>
          <cx:pt idx="85868">0</cx:pt>
          <cx:pt idx="85869">0</cx:pt>
          <cx:pt idx="85870">0</cx:pt>
          <cx:pt idx="85871">0</cx:pt>
          <cx:pt idx="85872">0</cx:pt>
          <cx:pt idx="85873">0</cx:pt>
          <cx:pt idx="85874">0</cx:pt>
          <cx:pt idx="85875">0</cx:pt>
          <cx:pt idx="85876">1</cx:pt>
          <cx:pt idx="85877">0</cx:pt>
          <cx:pt idx="85878">0</cx:pt>
          <cx:pt idx="85879">1</cx:pt>
          <cx:pt idx="85880">1</cx:pt>
          <cx:pt idx="85881">0</cx:pt>
          <cx:pt idx="85882">1</cx:pt>
          <cx:pt idx="85883">1</cx:pt>
          <cx:pt idx="85884">0</cx:pt>
          <cx:pt idx="85885">0</cx:pt>
          <cx:pt idx="85886">0</cx:pt>
          <cx:pt idx="85887">1</cx:pt>
          <cx:pt idx="85888">0</cx:pt>
          <cx:pt idx="85889">1</cx:pt>
          <cx:pt idx="85890">0</cx:pt>
          <cx:pt idx="85891">1</cx:pt>
          <cx:pt idx="85892">1</cx:pt>
          <cx:pt idx="85893">1</cx:pt>
          <cx:pt idx="85894">1</cx:pt>
          <cx:pt idx="85895">0</cx:pt>
          <cx:pt idx="85896">0</cx:pt>
          <cx:pt idx="85897">0</cx:pt>
          <cx:pt idx="85898">0</cx:pt>
          <cx:pt idx="85899">1</cx:pt>
          <cx:pt idx="85900">1</cx:pt>
          <cx:pt idx="85901">1</cx:pt>
          <cx:pt idx="85902">0</cx:pt>
          <cx:pt idx="85903">1</cx:pt>
          <cx:pt idx="85904">1</cx:pt>
          <cx:pt idx="85905">0</cx:pt>
          <cx:pt idx="85906">0</cx:pt>
          <cx:pt idx="85907">1</cx:pt>
          <cx:pt idx="85908">1</cx:pt>
          <cx:pt idx="85909">0</cx:pt>
          <cx:pt idx="85910">1</cx:pt>
          <cx:pt idx="85911">1</cx:pt>
          <cx:pt idx="85912">1</cx:pt>
          <cx:pt idx="85913">1</cx:pt>
          <cx:pt idx="85914">1</cx:pt>
          <cx:pt idx="85915">0</cx:pt>
          <cx:pt idx="85916">1</cx:pt>
          <cx:pt idx="85917">0</cx:pt>
          <cx:pt idx="85918">0</cx:pt>
          <cx:pt idx="85919">0</cx:pt>
          <cx:pt idx="85920">1</cx:pt>
          <cx:pt idx="85921">0</cx:pt>
          <cx:pt idx="85922">0</cx:pt>
          <cx:pt idx="85923">0</cx:pt>
          <cx:pt idx="85924">0</cx:pt>
          <cx:pt idx="85925">1</cx:pt>
          <cx:pt idx="85926">1</cx:pt>
          <cx:pt idx="85927">1</cx:pt>
          <cx:pt idx="85928">1</cx:pt>
          <cx:pt idx="85929">0</cx:pt>
          <cx:pt idx="85930">0</cx:pt>
          <cx:pt idx="85931">1</cx:pt>
          <cx:pt idx="85932">1</cx:pt>
          <cx:pt idx="85933">1</cx:pt>
          <cx:pt idx="85934">1</cx:pt>
          <cx:pt idx="85935">0</cx:pt>
          <cx:pt idx="85936">0</cx:pt>
          <cx:pt idx="85937">0</cx:pt>
          <cx:pt idx="85938">1</cx:pt>
          <cx:pt idx="85939">1</cx:pt>
          <cx:pt idx="85940">0</cx:pt>
          <cx:pt idx="85941">0</cx:pt>
          <cx:pt idx="85942">0</cx:pt>
          <cx:pt idx="85943">0</cx:pt>
          <cx:pt idx="85944">0</cx:pt>
          <cx:pt idx="85945">1</cx:pt>
          <cx:pt idx="85946">1</cx:pt>
          <cx:pt idx="85947">0</cx:pt>
          <cx:pt idx="85948">0</cx:pt>
          <cx:pt idx="85949">0</cx:pt>
          <cx:pt idx="85950">0</cx:pt>
          <cx:pt idx="85951">0</cx:pt>
          <cx:pt idx="85952">1</cx:pt>
          <cx:pt idx="85953">0</cx:pt>
          <cx:pt idx="85954">0</cx:pt>
          <cx:pt idx="85955">1</cx:pt>
          <cx:pt idx="85956">1</cx:pt>
          <cx:pt idx="85957">1</cx:pt>
          <cx:pt idx="85958">1</cx:pt>
          <cx:pt idx="85959">0</cx:pt>
          <cx:pt idx="85960">0</cx:pt>
          <cx:pt idx="85961">0</cx:pt>
          <cx:pt idx="85962">1</cx:pt>
          <cx:pt idx="85963">1</cx:pt>
          <cx:pt idx="85964">1</cx:pt>
          <cx:pt idx="85965">0</cx:pt>
          <cx:pt idx="85966">1</cx:pt>
          <cx:pt idx="85967">1</cx:pt>
          <cx:pt idx="85968">1</cx:pt>
          <cx:pt idx="85969">1</cx:pt>
          <cx:pt idx="85970">1</cx:pt>
          <cx:pt idx="85971">0</cx:pt>
          <cx:pt idx="85972">1</cx:pt>
          <cx:pt idx="85973">1</cx:pt>
          <cx:pt idx="85974">0</cx:pt>
          <cx:pt idx="85975">1</cx:pt>
          <cx:pt idx="85976">0</cx:pt>
          <cx:pt idx="85977">1</cx:pt>
          <cx:pt idx="85978">1</cx:pt>
          <cx:pt idx="85979">1</cx:pt>
          <cx:pt idx="85980">0</cx:pt>
          <cx:pt idx="85981">1</cx:pt>
          <cx:pt idx="85982">1</cx:pt>
          <cx:pt idx="85983">1</cx:pt>
          <cx:pt idx="85984">0</cx:pt>
          <cx:pt idx="85985">1</cx:pt>
          <cx:pt idx="85986">1</cx:pt>
          <cx:pt idx="85987">1</cx:pt>
          <cx:pt idx="85988">0</cx:pt>
          <cx:pt idx="85989">1</cx:pt>
          <cx:pt idx="85990">0</cx:pt>
          <cx:pt idx="85991">0</cx:pt>
          <cx:pt idx="85992">1</cx:pt>
          <cx:pt idx="85993">0</cx:pt>
          <cx:pt idx="85994">1</cx:pt>
          <cx:pt idx="85995">0</cx:pt>
          <cx:pt idx="85996">1</cx:pt>
          <cx:pt idx="85997">0</cx:pt>
          <cx:pt idx="85998">1</cx:pt>
          <cx:pt idx="85999">0</cx:pt>
          <cx:pt idx="86000">1</cx:pt>
          <cx:pt idx="86001">0</cx:pt>
          <cx:pt idx="86002">1</cx:pt>
          <cx:pt idx="86003">0</cx:pt>
          <cx:pt idx="86004">1</cx:pt>
          <cx:pt idx="86005">0</cx:pt>
          <cx:pt idx="86006">0</cx:pt>
          <cx:pt idx="86007">0</cx:pt>
          <cx:pt idx="86008">0</cx:pt>
          <cx:pt idx="86009">0</cx:pt>
          <cx:pt idx="86010">0</cx:pt>
          <cx:pt idx="86011">0</cx:pt>
          <cx:pt idx="86012">1</cx:pt>
          <cx:pt idx="86013">0</cx:pt>
          <cx:pt idx="86014">0</cx:pt>
          <cx:pt idx="86015">1</cx:pt>
          <cx:pt idx="86016">0</cx:pt>
          <cx:pt idx="86017">0</cx:pt>
          <cx:pt idx="86018">0</cx:pt>
          <cx:pt idx="86019">0</cx:pt>
          <cx:pt idx="86020">1</cx:pt>
          <cx:pt idx="86021">1</cx:pt>
          <cx:pt idx="86022">0</cx:pt>
          <cx:pt idx="86023">0</cx:pt>
          <cx:pt idx="86024">0</cx:pt>
          <cx:pt idx="86025">0</cx:pt>
          <cx:pt idx="86026">0</cx:pt>
          <cx:pt idx="86027">1</cx:pt>
          <cx:pt idx="86028">1</cx:pt>
          <cx:pt idx="86029">0</cx:pt>
          <cx:pt idx="86030">0</cx:pt>
          <cx:pt idx="86031">1</cx:pt>
          <cx:pt idx="86032">1</cx:pt>
          <cx:pt idx="86033">1</cx:pt>
          <cx:pt idx="86034">1</cx:pt>
          <cx:pt idx="86035">0</cx:pt>
          <cx:pt idx="86036">0</cx:pt>
          <cx:pt idx="86037">1</cx:pt>
          <cx:pt idx="86038">1</cx:pt>
          <cx:pt idx="86039">0</cx:pt>
          <cx:pt idx="86040">1</cx:pt>
          <cx:pt idx="86041">0</cx:pt>
          <cx:pt idx="86042">0</cx:pt>
          <cx:pt idx="86043">1</cx:pt>
          <cx:pt idx="86044">0</cx:pt>
          <cx:pt idx="86045">1</cx:pt>
          <cx:pt idx="86046">0</cx:pt>
          <cx:pt idx="86047">1</cx:pt>
          <cx:pt idx="86048">0</cx:pt>
          <cx:pt idx="86049">0</cx:pt>
          <cx:pt idx="86050">0</cx:pt>
          <cx:pt idx="86051">0</cx:pt>
          <cx:pt idx="86052">1</cx:pt>
          <cx:pt idx="86053">1</cx:pt>
          <cx:pt idx="86054">1</cx:pt>
          <cx:pt idx="86055">0</cx:pt>
          <cx:pt idx="86056">1</cx:pt>
          <cx:pt idx="86057">0</cx:pt>
          <cx:pt idx="86058">1</cx:pt>
          <cx:pt idx="86059">0</cx:pt>
          <cx:pt idx="86060">1</cx:pt>
          <cx:pt idx="86061">0</cx:pt>
          <cx:pt idx="86062">0</cx:pt>
          <cx:pt idx="86063">0</cx:pt>
          <cx:pt idx="86064">0</cx:pt>
          <cx:pt idx="86065">1</cx:pt>
          <cx:pt idx="86066">1</cx:pt>
          <cx:pt idx="86067">0</cx:pt>
          <cx:pt idx="86068">0</cx:pt>
          <cx:pt idx="86069">0</cx:pt>
          <cx:pt idx="86070">1</cx:pt>
          <cx:pt idx="86071">1</cx:pt>
          <cx:pt idx="86072">1</cx:pt>
          <cx:pt idx="86073">0</cx:pt>
          <cx:pt idx="86074">0</cx:pt>
          <cx:pt idx="86075">1</cx:pt>
          <cx:pt idx="86076">1</cx:pt>
          <cx:pt idx="86077">0</cx:pt>
          <cx:pt idx="86078">0</cx:pt>
          <cx:pt idx="86079">0</cx:pt>
          <cx:pt idx="86080">0</cx:pt>
          <cx:pt idx="86081">1</cx:pt>
          <cx:pt idx="86082">0</cx:pt>
          <cx:pt idx="86083">0</cx:pt>
          <cx:pt idx="86084">1</cx:pt>
          <cx:pt idx="86085">0</cx:pt>
          <cx:pt idx="86086">0</cx:pt>
          <cx:pt idx="86087">1</cx:pt>
          <cx:pt idx="86088">0</cx:pt>
          <cx:pt idx="86089">0</cx:pt>
          <cx:pt idx="86090">0</cx:pt>
          <cx:pt idx="86091">0</cx:pt>
          <cx:pt idx="86092">0</cx:pt>
          <cx:pt idx="86093">0</cx:pt>
          <cx:pt idx="86094">0</cx:pt>
          <cx:pt idx="86095">1</cx:pt>
          <cx:pt idx="86096">0</cx:pt>
          <cx:pt idx="86097">0</cx:pt>
          <cx:pt idx="86098">0</cx:pt>
          <cx:pt idx="86099">0</cx:pt>
          <cx:pt idx="86100">0</cx:pt>
          <cx:pt idx="86101">1</cx:pt>
          <cx:pt idx="86102">0</cx:pt>
          <cx:pt idx="86103">0</cx:pt>
          <cx:pt idx="86104">1</cx:pt>
          <cx:pt idx="86105">1</cx:pt>
          <cx:pt idx="86106">1</cx:pt>
          <cx:pt idx="86107">1</cx:pt>
          <cx:pt idx="86108">1</cx:pt>
          <cx:pt idx="86109">0</cx:pt>
          <cx:pt idx="86110">0</cx:pt>
          <cx:pt idx="86111">0</cx:pt>
          <cx:pt idx="86112">0</cx:pt>
          <cx:pt idx="86113">1</cx:pt>
          <cx:pt idx="86114">0</cx:pt>
          <cx:pt idx="86115">0</cx:pt>
          <cx:pt idx="86116">0</cx:pt>
          <cx:pt idx="86117">1</cx:pt>
          <cx:pt idx="86118">0</cx:pt>
          <cx:pt idx="86119">0</cx:pt>
          <cx:pt idx="86120">0</cx:pt>
          <cx:pt idx="86121">1</cx:pt>
          <cx:pt idx="86122">0</cx:pt>
          <cx:pt idx="86123">0</cx:pt>
          <cx:pt idx="86124">1</cx:pt>
          <cx:pt idx="86125">1</cx:pt>
          <cx:pt idx="86126">1</cx:pt>
          <cx:pt idx="86127">0</cx:pt>
          <cx:pt idx="86128">0</cx:pt>
          <cx:pt idx="86129">0</cx:pt>
          <cx:pt idx="86130">1</cx:pt>
          <cx:pt idx="86131">0</cx:pt>
          <cx:pt idx="86132">0</cx:pt>
          <cx:pt idx="86133">1</cx:pt>
          <cx:pt idx="86134">0</cx:pt>
          <cx:pt idx="86135">0</cx:pt>
          <cx:pt idx="86136">1</cx:pt>
          <cx:pt idx="86137">1</cx:pt>
          <cx:pt idx="86138">0</cx:pt>
          <cx:pt idx="86139">0</cx:pt>
          <cx:pt idx="86140">0</cx:pt>
          <cx:pt idx="86141">0</cx:pt>
          <cx:pt idx="86142">1</cx:pt>
          <cx:pt idx="86143">1</cx:pt>
          <cx:pt idx="86144">0</cx:pt>
          <cx:pt idx="86145">0</cx:pt>
          <cx:pt idx="86146">0</cx:pt>
          <cx:pt idx="86147">0</cx:pt>
          <cx:pt idx="86148">0</cx:pt>
          <cx:pt idx="86149">0</cx:pt>
          <cx:pt idx="86150">0</cx:pt>
          <cx:pt idx="86151">1</cx:pt>
          <cx:pt idx="86152">0</cx:pt>
          <cx:pt idx="86153">1</cx:pt>
          <cx:pt idx="86154">0</cx:pt>
          <cx:pt idx="86155">1</cx:pt>
          <cx:pt idx="86156">1</cx:pt>
          <cx:pt idx="86157">1</cx:pt>
          <cx:pt idx="86158">0</cx:pt>
          <cx:pt idx="86159">1</cx:pt>
          <cx:pt idx="86160">1</cx:pt>
          <cx:pt idx="86161">0</cx:pt>
          <cx:pt idx="86162">1</cx:pt>
          <cx:pt idx="86163">1</cx:pt>
          <cx:pt idx="86164">0</cx:pt>
          <cx:pt idx="86165">0</cx:pt>
          <cx:pt idx="86166">1</cx:pt>
          <cx:pt idx="86167">0</cx:pt>
          <cx:pt idx="86168">0</cx:pt>
          <cx:pt idx="86169">0</cx:pt>
          <cx:pt idx="86170">1</cx:pt>
          <cx:pt idx="86171">0</cx:pt>
          <cx:pt idx="86172">1</cx:pt>
          <cx:pt idx="86173">1</cx:pt>
          <cx:pt idx="86174">0</cx:pt>
          <cx:pt idx="86175">0</cx:pt>
          <cx:pt idx="86176">0</cx:pt>
          <cx:pt idx="86177">1</cx:pt>
          <cx:pt idx="86178">0</cx:pt>
          <cx:pt idx="86179">0</cx:pt>
          <cx:pt idx="86180">0</cx:pt>
          <cx:pt idx="86181">0</cx:pt>
          <cx:pt idx="86182">0</cx:pt>
          <cx:pt idx="86183">0</cx:pt>
          <cx:pt idx="86184">1</cx:pt>
          <cx:pt idx="86185">1</cx:pt>
          <cx:pt idx="86186">1</cx:pt>
          <cx:pt idx="86187">1</cx:pt>
          <cx:pt idx="86188">1</cx:pt>
          <cx:pt idx="86189">1</cx:pt>
          <cx:pt idx="86190">0</cx:pt>
          <cx:pt idx="86191">1</cx:pt>
          <cx:pt idx="86192">0</cx:pt>
          <cx:pt idx="86193">1</cx:pt>
          <cx:pt idx="86194">0</cx:pt>
          <cx:pt idx="86195">0</cx:pt>
          <cx:pt idx="86196">0</cx:pt>
          <cx:pt idx="86197">1</cx:pt>
          <cx:pt idx="86198">0</cx:pt>
          <cx:pt idx="86199">1</cx:pt>
          <cx:pt idx="86200">0</cx:pt>
          <cx:pt idx="86201">0</cx:pt>
          <cx:pt idx="86202">0</cx:pt>
          <cx:pt idx="86203">0</cx:pt>
          <cx:pt idx="86204">0</cx:pt>
          <cx:pt idx="86205">0</cx:pt>
          <cx:pt idx="86206">1</cx:pt>
          <cx:pt idx="86207">0</cx:pt>
          <cx:pt idx="86208">0</cx:pt>
          <cx:pt idx="86209">0</cx:pt>
          <cx:pt idx="86210">0</cx:pt>
          <cx:pt idx="86211">1</cx:pt>
          <cx:pt idx="86212">0</cx:pt>
          <cx:pt idx="86213">0</cx:pt>
          <cx:pt idx="86214">0</cx:pt>
          <cx:pt idx="86215">0</cx:pt>
          <cx:pt idx="86216">1</cx:pt>
          <cx:pt idx="86217">0</cx:pt>
          <cx:pt idx="86218">1</cx:pt>
          <cx:pt idx="86219">1</cx:pt>
          <cx:pt idx="86220">0</cx:pt>
          <cx:pt idx="86221">1</cx:pt>
          <cx:pt idx="86222">0</cx:pt>
          <cx:pt idx="86223">1</cx:pt>
          <cx:pt idx="86224">0</cx:pt>
          <cx:pt idx="86225">0</cx:pt>
          <cx:pt idx="86226">0</cx:pt>
          <cx:pt idx="86227">1</cx:pt>
          <cx:pt idx="86228">1</cx:pt>
          <cx:pt idx="86229">1</cx:pt>
          <cx:pt idx="86230">0</cx:pt>
          <cx:pt idx="86231">0</cx:pt>
          <cx:pt idx="86232">0</cx:pt>
          <cx:pt idx="86233">0</cx:pt>
          <cx:pt idx="86234">0</cx:pt>
          <cx:pt idx="86235">0</cx:pt>
          <cx:pt idx="86236">0</cx:pt>
          <cx:pt idx="86237">0</cx:pt>
          <cx:pt idx="86238">0</cx:pt>
          <cx:pt idx="86239">0</cx:pt>
          <cx:pt idx="86240">0</cx:pt>
          <cx:pt idx="86241">0</cx:pt>
          <cx:pt idx="86242">0</cx:pt>
          <cx:pt idx="86243">0</cx:pt>
          <cx:pt idx="86244">0</cx:pt>
          <cx:pt idx="86245">1</cx:pt>
          <cx:pt idx="86246">1</cx:pt>
          <cx:pt idx="86247">1</cx:pt>
          <cx:pt idx="86248">0</cx:pt>
          <cx:pt idx="86249">1</cx:pt>
          <cx:pt idx="86250">1</cx:pt>
          <cx:pt idx="86251">1</cx:pt>
          <cx:pt idx="86252">0</cx:pt>
          <cx:pt idx="86253">0</cx:pt>
          <cx:pt idx="86254">0</cx:pt>
          <cx:pt idx="86255">1</cx:pt>
          <cx:pt idx="86256">0</cx:pt>
          <cx:pt idx="86257">0</cx:pt>
          <cx:pt idx="86258">1</cx:pt>
          <cx:pt idx="86259">0</cx:pt>
          <cx:pt idx="86260">1</cx:pt>
          <cx:pt idx="86261">0</cx:pt>
          <cx:pt idx="86262">0</cx:pt>
          <cx:pt idx="86263">0</cx:pt>
          <cx:pt idx="86264">0</cx:pt>
          <cx:pt idx="86265">0</cx:pt>
          <cx:pt idx="86266">1</cx:pt>
          <cx:pt idx="86267">1</cx:pt>
          <cx:pt idx="86268">1</cx:pt>
          <cx:pt idx="86269">0</cx:pt>
          <cx:pt idx="86270">1</cx:pt>
          <cx:pt idx="86271">0</cx:pt>
          <cx:pt idx="86272">1</cx:pt>
          <cx:pt idx="86273">0</cx:pt>
          <cx:pt idx="86274">1</cx:pt>
          <cx:pt idx="86275">1</cx:pt>
          <cx:pt idx="86276">0</cx:pt>
          <cx:pt idx="86277">0</cx:pt>
          <cx:pt idx="86278">0</cx:pt>
          <cx:pt idx="86279">0</cx:pt>
          <cx:pt idx="86280">0</cx:pt>
          <cx:pt idx="86281">0</cx:pt>
          <cx:pt idx="86282">0</cx:pt>
          <cx:pt idx="86283">1</cx:pt>
          <cx:pt idx="86284">0</cx:pt>
          <cx:pt idx="86285">0</cx:pt>
          <cx:pt idx="86286">1</cx:pt>
          <cx:pt idx="86287">0</cx:pt>
          <cx:pt idx="86288">1</cx:pt>
          <cx:pt idx="86289">1</cx:pt>
          <cx:pt idx="86290">0</cx:pt>
          <cx:pt idx="86291">1</cx:pt>
          <cx:pt idx="86292">0</cx:pt>
          <cx:pt idx="86293">0</cx:pt>
          <cx:pt idx="86294">1</cx:pt>
          <cx:pt idx="86295">0</cx:pt>
          <cx:pt idx="86296">1</cx:pt>
          <cx:pt idx="86297">1</cx:pt>
          <cx:pt idx="86298">0</cx:pt>
          <cx:pt idx="86299">1</cx:pt>
          <cx:pt idx="86300">0</cx:pt>
          <cx:pt idx="86301">0</cx:pt>
          <cx:pt idx="86302">0</cx:pt>
          <cx:pt idx="86303">1</cx:pt>
          <cx:pt idx="86304">1</cx:pt>
          <cx:pt idx="86305">1</cx:pt>
          <cx:pt idx="86306">1</cx:pt>
          <cx:pt idx="86307">1</cx:pt>
          <cx:pt idx="86308">0</cx:pt>
          <cx:pt idx="86309">1</cx:pt>
          <cx:pt idx="86310">0</cx:pt>
          <cx:pt idx="86311">0</cx:pt>
          <cx:pt idx="86312">1</cx:pt>
          <cx:pt idx="86313">1</cx:pt>
          <cx:pt idx="86314">1</cx:pt>
          <cx:pt idx="86315">1</cx:pt>
          <cx:pt idx="86316">0</cx:pt>
          <cx:pt idx="86317">1</cx:pt>
          <cx:pt idx="86318">1</cx:pt>
          <cx:pt idx="86319">1</cx:pt>
          <cx:pt idx="86320">1</cx:pt>
          <cx:pt idx="86321">0</cx:pt>
          <cx:pt idx="86322">0</cx:pt>
          <cx:pt idx="86323">0</cx:pt>
          <cx:pt idx="86324">0</cx:pt>
          <cx:pt idx="86325">0</cx:pt>
          <cx:pt idx="86326">1</cx:pt>
          <cx:pt idx="86327">0</cx:pt>
          <cx:pt idx="86328">1</cx:pt>
          <cx:pt idx="86329">0</cx:pt>
          <cx:pt idx="86330">0</cx:pt>
          <cx:pt idx="86331">1</cx:pt>
          <cx:pt idx="86332">0</cx:pt>
          <cx:pt idx="86333">0</cx:pt>
          <cx:pt idx="86334">1</cx:pt>
          <cx:pt idx="86335">1</cx:pt>
          <cx:pt idx="86336">0</cx:pt>
          <cx:pt idx="86337">0</cx:pt>
          <cx:pt idx="86338">0</cx:pt>
          <cx:pt idx="86339">1</cx:pt>
          <cx:pt idx="86340">0</cx:pt>
          <cx:pt idx="86341">1</cx:pt>
          <cx:pt idx="86342">0</cx:pt>
          <cx:pt idx="86343">1</cx:pt>
          <cx:pt idx="86344">1</cx:pt>
          <cx:pt idx="86345">0</cx:pt>
          <cx:pt idx="86346">1</cx:pt>
          <cx:pt idx="86347">0</cx:pt>
          <cx:pt idx="86348">0</cx:pt>
          <cx:pt idx="86349">1</cx:pt>
          <cx:pt idx="86350">1</cx:pt>
          <cx:pt idx="86351">1</cx:pt>
          <cx:pt idx="86352">0</cx:pt>
          <cx:pt idx="86353">1</cx:pt>
          <cx:pt idx="86354">0</cx:pt>
          <cx:pt idx="86355">1</cx:pt>
          <cx:pt idx="86356">0</cx:pt>
          <cx:pt idx="86357">1</cx:pt>
          <cx:pt idx="86358">0</cx:pt>
          <cx:pt idx="86359">0</cx:pt>
          <cx:pt idx="86360">0</cx:pt>
          <cx:pt idx="86361">0</cx:pt>
          <cx:pt idx="86362">1</cx:pt>
          <cx:pt idx="86363">1</cx:pt>
          <cx:pt idx="86364">1</cx:pt>
          <cx:pt idx="86365">0</cx:pt>
          <cx:pt idx="86366">0</cx:pt>
          <cx:pt idx="86367">0</cx:pt>
          <cx:pt idx="86368">0</cx:pt>
          <cx:pt idx="86369">0</cx:pt>
          <cx:pt idx="86370">1</cx:pt>
          <cx:pt idx="86371">0</cx:pt>
          <cx:pt idx="86372">0</cx:pt>
          <cx:pt idx="86373">0</cx:pt>
          <cx:pt idx="86374">0</cx:pt>
          <cx:pt idx="86375">0</cx:pt>
          <cx:pt idx="86376">0</cx:pt>
          <cx:pt idx="86377">0</cx:pt>
          <cx:pt idx="86378">0</cx:pt>
          <cx:pt idx="86379">0</cx:pt>
          <cx:pt idx="86380">0</cx:pt>
          <cx:pt idx="86381">1</cx:pt>
          <cx:pt idx="86382">0</cx:pt>
          <cx:pt idx="86383">0</cx:pt>
          <cx:pt idx="86384">1</cx:pt>
          <cx:pt idx="86385">0</cx:pt>
          <cx:pt idx="86386">0</cx:pt>
          <cx:pt idx="86387">1</cx:pt>
          <cx:pt idx="86388">1</cx:pt>
          <cx:pt idx="86389">0</cx:pt>
          <cx:pt idx="86390">1</cx:pt>
          <cx:pt idx="86391">0</cx:pt>
          <cx:pt idx="86392">0</cx:pt>
          <cx:pt idx="86393">0</cx:pt>
          <cx:pt idx="86394">1</cx:pt>
          <cx:pt idx="86395">1</cx:pt>
          <cx:pt idx="86396">0</cx:pt>
          <cx:pt idx="86397">1</cx:pt>
          <cx:pt idx="86398">1</cx:pt>
          <cx:pt idx="86399">0</cx:pt>
          <cx:pt idx="86400">1</cx:pt>
          <cx:pt idx="86401">0</cx:pt>
          <cx:pt idx="86402">1</cx:pt>
          <cx:pt idx="86403">0</cx:pt>
          <cx:pt idx="86404">1</cx:pt>
          <cx:pt idx="86405">0</cx:pt>
          <cx:pt idx="86406">1</cx:pt>
          <cx:pt idx="86407">1</cx:pt>
          <cx:pt idx="86408">0</cx:pt>
          <cx:pt idx="86409">1</cx:pt>
          <cx:pt idx="86410">0</cx:pt>
          <cx:pt idx="86411">0</cx:pt>
          <cx:pt idx="86412">1</cx:pt>
          <cx:pt idx="86413">0</cx:pt>
          <cx:pt idx="86414">0</cx:pt>
          <cx:pt idx="86415">0</cx:pt>
          <cx:pt idx="86416">0</cx:pt>
          <cx:pt idx="86417">1</cx:pt>
          <cx:pt idx="86418">1</cx:pt>
          <cx:pt idx="86419">1</cx:pt>
          <cx:pt idx="86420">1</cx:pt>
          <cx:pt idx="86421">1</cx:pt>
          <cx:pt idx="86422">0</cx:pt>
          <cx:pt idx="86423">1</cx:pt>
          <cx:pt idx="86424">1</cx:pt>
          <cx:pt idx="86425">1</cx:pt>
          <cx:pt idx="86426">1</cx:pt>
          <cx:pt idx="86427">1</cx:pt>
          <cx:pt idx="86428">1</cx:pt>
          <cx:pt idx="86429">1</cx:pt>
          <cx:pt idx="86430">0</cx:pt>
          <cx:pt idx="86431">0</cx:pt>
          <cx:pt idx="86432">1</cx:pt>
          <cx:pt idx="86433">0</cx:pt>
          <cx:pt idx="86434">0</cx:pt>
          <cx:pt idx="86435">0</cx:pt>
          <cx:pt idx="86436">1</cx:pt>
          <cx:pt idx="86437">1</cx:pt>
          <cx:pt idx="86438">0</cx:pt>
          <cx:pt idx="86439">0</cx:pt>
          <cx:pt idx="86440">1</cx:pt>
          <cx:pt idx="86441">0</cx:pt>
          <cx:pt idx="86442">0</cx:pt>
          <cx:pt idx="86443">1</cx:pt>
          <cx:pt idx="86444">1</cx:pt>
          <cx:pt idx="86445">0</cx:pt>
          <cx:pt idx="86446">1</cx:pt>
          <cx:pt idx="86447">1</cx:pt>
          <cx:pt idx="86448">1</cx:pt>
          <cx:pt idx="86449">1</cx:pt>
          <cx:pt idx="86450">0</cx:pt>
          <cx:pt idx="86451">1</cx:pt>
          <cx:pt idx="86452">0</cx:pt>
          <cx:pt idx="86453">1</cx:pt>
          <cx:pt idx="86454">0</cx:pt>
          <cx:pt idx="86455">0</cx:pt>
          <cx:pt idx="86456">1</cx:pt>
          <cx:pt idx="86457">1</cx:pt>
          <cx:pt idx="86458">1</cx:pt>
          <cx:pt idx="86459">0</cx:pt>
          <cx:pt idx="86460">0</cx:pt>
          <cx:pt idx="86461">1</cx:pt>
          <cx:pt idx="86462">0</cx:pt>
          <cx:pt idx="86463">0</cx:pt>
          <cx:pt idx="86464">1</cx:pt>
          <cx:pt idx="86465">1</cx:pt>
          <cx:pt idx="86466">1</cx:pt>
          <cx:pt idx="86467">0</cx:pt>
          <cx:pt idx="86468">1</cx:pt>
          <cx:pt idx="86469">1</cx:pt>
          <cx:pt idx="86470">0</cx:pt>
          <cx:pt idx="86471">1</cx:pt>
          <cx:pt idx="86472">0</cx:pt>
          <cx:pt idx="86473">0</cx:pt>
          <cx:pt idx="86474">1</cx:pt>
          <cx:pt idx="86475">0</cx:pt>
          <cx:pt idx="86476">0</cx:pt>
          <cx:pt idx="86477">1</cx:pt>
          <cx:pt idx="86478">0</cx:pt>
          <cx:pt idx="86479">1</cx:pt>
          <cx:pt idx="86480">0</cx:pt>
          <cx:pt idx="86481">0</cx:pt>
          <cx:pt idx="86482">0</cx:pt>
          <cx:pt idx="86483">0</cx:pt>
          <cx:pt idx="86484">1</cx:pt>
          <cx:pt idx="86485">1</cx:pt>
          <cx:pt idx="86486">1</cx:pt>
          <cx:pt idx="86487">0</cx:pt>
          <cx:pt idx="86488">0</cx:pt>
          <cx:pt idx="86489">0</cx:pt>
          <cx:pt idx="86490">0</cx:pt>
          <cx:pt idx="86491">1</cx:pt>
          <cx:pt idx="86492">1</cx:pt>
          <cx:pt idx="86493">0</cx:pt>
          <cx:pt idx="86494">0</cx:pt>
          <cx:pt idx="86495">1</cx:pt>
          <cx:pt idx="86496">0</cx:pt>
          <cx:pt idx="86497">0</cx:pt>
          <cx:pt idx="86498">0</cx:pt>
          <cx:pt idx="86499">1</cx:pt>
          <cx:pt idx="86500">0</cx:pt>
          <cx:pt idx="86501">0</cx:pt>
          <cx:pt idx="86502">0</cx:pt>
          <cx:pt idx="86503">1</cx:pt>
          <cx:pt idx="86504">1</cx:pt>
          <cx:pt idx="86505">1</cx:pt>
          <cx:pt idx="86506">0</cx:pt>
          <cx:pt idx="86507">1</cx:pt>
          <cx:pt idx="86508">1</cx:pt>
          <cx:pt idx="86509">0</cx:pt>
          <cx:pt idx="86510">0</cx:pt>
          <cx:pt idx="86511">0</cx:pt>
          <cx:pt idx="86512">0</cx:pt>
          <cx:pt idx="86513">0</cx:pt>
          <cx:pt idx="86514">0</cx:pt>
          <cx:pt idx="86515">0</cx:pt>
          <cx:pt idx="86516">0</cx:pt>
          <cx:pt idx="86517">0</cx:pt>
          <cx:pt idx="86518">0</cx:pt>
          <cx:pt idx="86519">1</cx:pt>
          <cx:pt idx="86520">1</cx:pt>
          <cx:pt idx="86521">0</cx:pt>
          <cx:pt idx="86522">0</cx:pt>
          <cx:pt idx="86523">0</cx:pt>
          <cx:pt idx="86524">1</cx:pt>
          <cx:pt idx="86525">0</cx:pt>
          <cx:pt idx="86526">0</cx:pt>
          <cx:pt idx="86527">0</cx:pt>
          <cx:pt idx="86528">1</cx:pt>
          <cx:pt idx="86529">0</cx:pt>
          <cx:pt idx="86530">1</cx:pt>
          <cx:pt idx="86531">0</cx:pt>
          <cx:pt idx="86532">0</cx:pt>
          <cx:pt idx="86533">0</cx:pt>
          <cx:pt idx="86534">1</cx:pt>
          <cx:pt idx="86535">1</cx:pt>
          <cx:pt idx="86536">0</cx:pt>
          <cx:pt idx="86537">1</cx:pt>
          <cx:pt idx="86538">1</cx:pt>
          <cx:pt idx="86539">0</cx:pt>
          <cx:pt idx="86540">0</cx:pt>
          <cx:pt idx="86541">1</cx:pt>
          <cx:pt idx="86542">0</cx:pt>
          <cx:pt idx="86543">0</cx:pt>
          <cx:pt idx="86544">0</cx:pt>
          <cx:pt idx="86545">0</cx:pt>
          <cx:pt idx="86546">1</cx:pt>
          <cx:pt idx="86547">0</cx:pt>
          <cx:pt idx="86548">1</cx:pt>
          <cx:pt idx="86549">0</cx:pt>
          <cx:pt idx="86550">0</cx:pt>
          <cx:pt idx="86551">1</cx:pt>
          <cx:pt idx="86552">0</cx:pt>
          <cx:pt idx="86553">0</cx:pt>
          <cx:pt idx="86554">1</cx:pt>
          <cx:pt idx="86555">1</cx:pt>
          <cx:pt idx="86556">0</cx:pt>
          <cx:pt idx="86557">1</cx:pt>
          <cx:pt idx="86558">1</cx:pt>
          <cx:pt idx="86559">0</cx:pt>
          <cx:pt idx="86560">0</cx:pt>
          <cx:pt idx="86561">1</cx:pt>
          <cx:pt idx="86562">0</cx:pt>
          <cx:pt idx="86563">0</cx:pt>
          <cx:pt idx="86564">0</cx:pt>
          <cx:pt idx="86565">0</cx:pt>
          <cx:pt idx="86566">1</cx:pt>
          <cx:pt idx="86567">0</cx:pt>
          <cx:pt idx="86568">0</cx:pt>
          <cx:pt idx="86569">1</cx:pt>
          <cx:pt idx="86570">0</cx:pt>
          <cx:pt idx="86571">1</cx:pt>
          <cx:pt idx="86572">0</cx:pt>
          <cx:pt idx="86573">1</cx:pt>
          <cx:pt idx="86574">0</cx:pt>
          <cx:pt idx="86575">1</cx:pt>
          <cx:pt idx="86576">1</cx:pt>
          <cx:pt idx="86577">1</cx:pt>
          <cx:pt idx="86578">1</cx:pt>
          <cx:pt idx="86579">0</cx:pt>
          <cx:pt idx="86580">0</cx:pt>
          <cx:pt idx="86581">1</cx:pt>
          <cx:pt idx="86582">1</cx:pt>
          <cx:pt idx="86583">0</cx:pt>
          <cx:pt idx="86584">0</cx:pt>
          <cx:pt idx="86585">1</cx:pt>
          <cx:pt idx="86586">1</cx:pt>
          <cx:pt idx="86587">1</cx:pt>
          <cx:pt idx="86588">1</cx:pt>
          <cx:pt idx="86589">0</cx:pt>
          <cx:pt idx="86590">0</cx:pt>
          <cx:pt idx="86591">0</cx:pt>
          <cx:pt idx="86592">0</cx:pt>
          <cx:pt idx="86593">0</cx:pt>
          <cx:pt idx="86594">1</cx:pt>
          <cx:pt idx="86595">0</cx:pt>
          <cx:pt idx="86596">0</cx:pt>
          <cx:pt idx="86597">0</cx:pt>
          <cx:pt idx="86598">1</cx:pt>
          <cx:pt idx="86599">0</cx:pt>
          <cx:pt idx="86600">0</cx:pt>
          <cx:pt idx="86601">0</cx:pt>
          <cx:pt idx="86602">1</cx:pt>
          <cx:pt idx="86603">0</cx:pt>
          <cx:pt idx="86604">1</cx:pt>
          <cx:pt idx="86605">1</cx:pt>
          <cx:pt idx="86606">0</cx:pt>
          <cx:pt idx="86607">0</cx:pt>
          <cx:pt idx="86608">1</cx:pt>
          <cx:pt idx="86609">1</cx:pt>
          <cx:pt idx="86610">1</cx:pt>
          <cx:pt idx="86611">1</cx:pt>
          <cx:pt idx="86612">0</cx:pt>
          <cx:pt idx="86613">0</cx:pt>
          <cx:pt idx="86614">0</cx:pt>
          <cx:pt idx="86615">1</cx:pt>
          <cx:pt idx="86616">0</cx:pt>
          <cx:pt idx="86617">0</cx:pt>
          <cx:pt idx="86618">1</cx:pt>
          <cx:pt idx="86619">0</cx:pt>
          <cx:pt idx="86620">0</cx:pt>
          <cx:pt idx="86621">0</cx:pt>
          <cx:pt idx="86622">1</cx:pt>
          <cx:pt idx="86623">0</cx:pt>
          <cx:pt idx="86624">0</cx:pt>
          <cx:pt idx="86625">0</cx:pt>
          <cx:pt idx="86626">1</cx:pt>
          <cx:pt idx="86627">0</cx:pt>
          <cx:pt idx="86628">0</cx:pt>
          <cx:pt idx="86629">1</cx:pt>
          <cx:pt idx="86630">1</cx:pt>
          <cx:pt idx="86631">0</cx:pt>
          <cx:pt idx="86632">1</cx:pt>
          <cx:pt idx="86633">0</cx:pt>
          <cx:pt idx="86634">1</cx:pt>
          <cx:pt idx="86635">1</cx:pt>
          <cx:pt idx="86636">1</cx:pt>
          <cx:pt idx="86637">0</cx:pt>
          <cx:pt idx="86638">0</cx:pt>
          <cx:pt idx="86639">0</cx:pt>
          <cx:pt idx="86640">1</cx:pt>
          <cx:pt idx="86641">1</cx:pt>
          <cx:pt idx="86642">0</cx:pt>
          <cx:pt idx="86643">0</cx:pt>
          <cx:pt idx="86644">0</cx:pt>
          <cx:pt idx="86645">1</cx:pt>
          <cx:pt idx="86646">1</cx:pt>
          <cx:pt idx="86647">0</cx:pt>
          <cx:pt idx="86648">0</cx:pt>
          <cx:pt idx="86649">1</cx:pt>
          <cx:pt idx="86650">0</cx:pt>
          <cx:pt idx="86651">0</cx:pt>
          <cx:pt idx="86652">0</cx:pt>
          <cx:pt idx="86653">0</cx:pt>
          <cx:pt idx="86654">1</cx:pt>
          <cx:pt idx="86655">1</cx:pt>
          <cx:pt idx="86656">1</cx:pt>
          <cx:pt idx="86657">0</cx:pt>
          <cx:pt idx="86658">0</cx:pt>
          <cx:pt idx="86659">0</cx:pt>
          <cx:pt idx="86660">0</cx:pt>
          <cx:pt idx="86661">0</cx:pt>
          <cx:pt idx="86662">0</cx:pt>
          <cx:pt idx="86663">1</cx:pt>
          <cx:pt idx="86664">0</cx:pt>
          <cx:pt idx="86665">1</cx:pt>
          <cx:pt idx="86666">0</cx:pt>
          <cx:pt idx="86667">1</cx:pt>
          <cx:pt idx="86668">0</cx:pt>
          <cx:pt idx="86669">0</cx:pt>
          <cx:pt idx="86670">0</cx:pt>
          <cx:pt idx="86671">1</cx:pt>
          <cx:pt idx="86672">0</cx:pt>
          <cx:pt idx="86673">0</cx:pt>
          <cx:pt idx="86674">1</cx:pt>
          <cx:pt idx="86675">1</cx:pt>
          <cx:pt idx="86676">0</cx:pt>
          <cx:pt idx="86677">1</cx:pt>
          <cx:pt idx="86678">0</cx:pt>
          <cx:pt idx="86679">0</cx:pt>
          <cx:pt idx="86680">0</cx:pt>
          <cx:pt idx="86681">0</cx:pt>
          <cx:pt idx="86682">1</cx:pt>
          <cx:pt idx="86683">1</cx:pt>
          <cx:pt idx="86684">1</cx:pt>
          <cx:pt idx="86685">0</cx:pt>
          <cx:pt idx="86686">0</cx:pt>
          <cx:pt idx="86687">0</cx:pt>
          <cx:pt idx="86688">0</cx:pt>
          <cx:pt idx="86689">0</cx:pt>
          <cx:pt idx="86690">1</cx:pt>
          <cx:pt idx="86691">1</cx:pt>
          <cx:pt idx="86692">0</cx:pt>
          <cx:pt idx="86693">0</cx:pt>
          <cx:pt idx="86694">1</cx:pt>
          <cx:pt idx="86695">0</cx:pt>
          <cx:pt idx="86696">1</cx:pt>
          <cx:pt idx="86697">0</cx:pt>
          <cx:pt idx="86698">1</cx:pt>
          <cx:pt idx="86699">0</cx:pt>
          <cx:pt idx="86700">0</cx:pt>
          <cx:pt idx="86701">0</cx:pt>
          <cx:pt idx="86702">1</cx:pt>
          <cx:pt idx="86703">0</cx:pt>
          <cx:pt idx="86704">1</cx:pt>
          <cx:pt idx="86705">0</cx:pt>
          <cx:pt idx="86706">1</cx:pt>
          <cx:pt idx="86707">0</cx:pt>
          <cx:pt idx="86708">0</cx:pt>
          <cx:pt idx="86709">1</cx:pt>
          <cx:pt idx="86710">0</cx:pt>
          <cx:pt idx="86711">1</cx:pt>
          <cx:pt idx="86712">1</cx:pt>
          <cx:pt idx="86713">1</cx:pt>
          <cx:pt idx="86714">0</cx:pt>
          <cx:pt idx="86715">0</cx:pt>
          <cx:pt idx="86716">0</cx:pt>
          <cx:pt idx="86717">1</cx:pt>
          <cx:pt idx="86718">0</cx:pt>
          <cx:pt idx="86719">0</cx:pt>
          <cx:pt idx="86720">1</cx:pt>
          <cx:pt idx="86721">1</cx:pt>
          <cx:pt idx="86722">1</cx:pt>
          <cx:pt idx="86723">0</cx:pt>
          <cx:pt idx="86724">1</cx:pt>
          <cx:pt idx="86725">0</cx:pt>
          <cx:pt idx="86726">1</cx:pt>
          <cx:pt idx="86727">0</cx:pt>
          <cx:pt idx="86728">1</cx:pt>
          <cx:pt idx="86729">0</cx:pt>
          <cx:pt idx="86730">1</cx:pt>
          <cx:pt idx="86731">0</cx:pt>
          <cx:pt idx="86732">0</cx:pt>
          <cx:pt idx="86733">0</cx:pt>
          <cx:pt idx="86734">1</cx:pt>
          <cx:pt idx="86735">0</cx:pt>
          <cx:pt idx="86736">0</cx:pt>
          <cx:pt idx="86737">1</cx:pt>
          <cx:pt idx="86738">0</cx:pt>
          <cx:pt idx="86739">0</cx:pt>
          <cx:pt idx="86740">0</cx:pt>
          <cx:pt idx="86741">0</cx:pt>
          <cx:pt idx="86742">0</cx:pt>
          <cx:pt idx="86743">0</cx:pt>
          <cx:pt idx="86744">0</cx:pt>
          <cx:pt idx="86745">0</cx:pt>
          <cx:pt idx="86746">0</cx:pt>
          <cx:pt idx="86747">0</cx:pt>
          <cx:pt idx="86748">0</cx:pt>
          <cx:pt idx="86749">0</cx:pt>
          <cx:pt idx="86750">0</cx:pt>
          <cx:pt idx="86751">0</cx:pt>
          <cx:pt idx="86752">1</cx:pt>
          <cx:pt idx="86753">0</cx:pt>
          <cx:pt idx="86754">1</cx:pt>
          <cx:pt idx="86755">1</cx:pt>
          <cx:pt idx="86756">0</cx:pt>
          <cx:pt idx="86757">1</cx:pt>
          <cx:pt idx="86758">1</cx:pt>
          <cx:pt idx="86759">0</cx:pt>
          <cx:pt idx="86760">0</cx:pt>
          <cx:pt idx="86761">0</cx:pt>
          <cx:pt idx="86762">1</cx:pt>
          <cx:pt idx="86763">1</cx:pt>
          <cx:pt idx="86764">1</cx:pt>
          <cx:pt idx="86765">0</cx:pt>
          <cx:pt idx="86766">0</cx:pt>
          <cx:pt idx="86767">0</cx:pt>
          <cx:pt idx="86768">0</cx:pt>
          <cx:pt idx="86769">0</cx:pt>
          <cx:pt idx="86770">0</cx:pt>
          <cx:pt idx="86771">0</cx:pt>
          <cx:pt idx="86772">0</cx:pt>
          <cx:pt idx="86773">0</cx:pt>
          <cx:pt idx="86774">0</cx:pt>
          <cx:pt idx="86775">0</cx:pt>
          <cx:pt idx="86776">0</cx:pt>
          <cx:pt idx="86777">0</cx:pt>
          <cx:pt idx="86778">1</cx:pt>
          <cx:pt idx="86779">1</cx:pt>
          <cx:pt idx="86780">1</cx:pt>
          <cx:pt idx="86781">1</cx:pt>
          <cx:pt idx="86782">0</cx:pt>
          <cx:pt idx="86783">1</cx:pt>
          <cx:pt idx="86784">1</cx:pt>
          <cx:pt idx="86785">1</cx:pt>
          <cx:pt idx="86786">1</cx:pt>
          <cx:pt idx="86787">0</cx:pt>
          <cx:pt idx="86788">1</cx:pt>
          <cx:pt idx="86789">1</cx:pt>
          <cx:pt idx="86790">1</cx:pt>
          <cx:pt idx="86791">0</cx:pt>
          <cx:pt idx="86792">0</cx:pt>
          <cx:pt idx="86793">1</cx:pt>
          <cx:pt idx="86794">0</cx:pt>
          <cx:pt idx="86795">0</cx:pt>
          <cx:pt idx="86796">0</cx:pt>
          <cx:pt idx="86797">0</cx:pt>
          <cx:pt idx="86798">1</cx:pt>
          <cx:pt idx="86799">1</cx:pt>
          <cx:pt idx="86800">1</cx:pt>
          <cx:pt idx="86801">0</cx:pt>
          <cx:pt idx="86802">0</cx:pt>
          <cx:pt idx="86803">0</cx:pt>
          <cx:pt idx="86804">0</cx:pt>
          <cx:pt idx="86805">0</cx:pt>
          <cx:pt idx="86806">0</cx:pt>
          <cx:pt idx="86807">0</cx:pt>
          <cx:pt idx="86808">0</cx:pt>
          <cx:pt idx="86809">0</cx:pt>
          <cx:pt idx="86810">0</cx:pt>
          <cx:pt idx="86811">1</cx:pt>
          <cx:pt idx="86812">0</cx:pt>
          <cx:pt idx="86813">0</cx:pt>
          <cx:pt idx="86814">0</cx:pt>
          <cx:pt idx="86815">1</cx:pt>
          <cx:pt idx="86816">0</cx:pt>
          <cx:pt idx="86817">0</cx:pt>
          <cx:pt idx="86818">1</cx:pt>
          <cx:pt idx="86819">0</cx:pt>
          <cx:pt idx="86820">0</cx:pt>
          <cx:pt idx="86821">0</cx:pt>
          <cx:pt idx="86822">1</cx:pt>
          <cx:pt idx="86823">0</cx:pt>
          <cx:pt idx="86824">0</cx:pt>
          <cx:pt idx="86825">0</cx:pt>
          <cx:pt idx="86826">0</cx:pt>
          <cx:pt idx="86827">1</cx:pt>
          <cx:pt idx="86828">0</cx:pt>
          <cx:pt idx="86829">1</cx:pt>
          <cx:pt idx="86830">0</cx:pt>
          <cx:pt idx="86831">1</cx:pt>
          <cx:pt idx="86832">1</cx:pt>
          <cx:pt idx="86833">1</cx:pt>
          <cx:pt idx="86834">1</cx:pt>
          <cx:pt idx="86835">0</cx:pt>
          <cx:pt idx="86836">0</cx:pt>
          <cx:pt idx="86837">0</cx:pt>
          <cx:pt idx="86838">0</cx:pt>
          <cx:pt idx="86839">0</cx:pt>
          <cx:pt idx="86840">0</cx:pt>
          <cx:pt idx="86841">0</cx:pt>
          <cx:pt idx="86842">0</cx:pt>
          <cx:pt idx="86843">0</cx:pt>
          <cx:pt idx="86844">0</cx:pt>
          <cx:pt idx="86845">1</cx:pt>
          <cx:pt idx="86846">1</cx:pt>
          <cx:pt idx="86847">1</cx:pt>
          <cx:pt idx="86848">0</cx:pt>
          <cx:pt idx="86849">1</cx:pt>
          <cx:pt idx="86850">1</cx:pt>
          <cx:pt idx="86851">0</cx:pt>
          <cx:pt idx="86852">1</cx:pt>
          <cx:pt idx="86853">1</cx:pt>
          <cx:pt idx="86854">0</cx:pt>
          <cx:pt idx="86855">1</cx:pt>
          <cx:pt idx="86856">0</cx:pt>
          <cx:pt idx="86857">0</cx:pt>
          <cx:pt idx="86858">0</cx:pt>
          <cx:pt idx="86859">1</cx:pt>
          <cx:pt idx="86860">1</cx:pt>
          <cx:pt idx="86861">1</cx:pt>
          <cx:pt idx="86862">1</cx:pt>
          <cx:pt idx="86863">1</cx:pt>
          <cx:pt idx="86864">0</cx:pt>
          <cx:pt idx="86865">0</cx:pt>
          <cx:pt idx="86866">0</cx:pt>
          <cx:pt idx="86867">0</cx:pt>
          <cx:pt idx="86868">1</cx:pt>
          <cx:pt idx="86869">1</cx:pt>
          <cx:pt idx="86870">1</cx:pt>
          <cx:pt idx="86871">1</cx:pt>
          <cx:pt idx="86872">1</cx:pt>
          <cx:pt idx="86873">1</cx:pt>
          <cx:pt idx="86874">1</cx:pt>
          <cx:pt idx="86875">1</cx:pt>
          <cx:pt idx="86876">0</cx:pt>
          <cx:pt idx="86877">0</cx:pt>
          <cx:pt idx="86878">0</cx:pt>
          <cx:pt idx="86879">0</cx:pt>
          <cx:pt idx="86880">0</cx:pt>
          <cx:pt idx="86881">1</cx:pt>
          <cx:pt idx="86882">1</cx:pt>
          <cx:pt idx="86883">1</cx:pt>
          <cx:pt idx="86884">0</cx:pt>
          <cx:pt idx="86885">1</cx:pt>
          <cx:pt idx="86886">1</cx:pt>
          <cx:pt idx="86887">1</cx:pt>
          <cx:pt idx="86888">1</cx:pt>
          <cx:pt idx="86889">0</cx:pt>
          <cx:pt idx="86890">1</cx:pt>
          <cx:pt idx="86891">1</cx:pt>
          <cx:pt idx="86892">0</cx:pt>
          <cx:pt idx="86893">0</cx:pt>
          <cx:pt idx="86894">0</cx:pt>
          <cx:pt idx="86895">0</cx:pt>
          <cx:pt idx="86896">1</cx:pt>
          <cx:pt idx="86897">1</cx:pt>
          <cx:pt idx="86898">0</cx:pt>
          <cx:pt idx="86899">0</cx:pt>
          <cx:pt idx="86900">0</cx:pt>
          <cx:pt idx="86901">1</cx:pt>
          <cx:pt idx="86902">0</cx:pt>
          <cx:pt idx="86903">1</cx:pt>
          <cx:pt idx="86904">1</cx:pt>
          <cx:pt idx="86905">1</cx:pt>
          <cx:pt idx="86906">1</cx:pt>
          <cx:pt idx="86907">0</cx:pt>
          <cx:pt idx="86908">1</cx:pt>
          <cx:pt idx="86909">0</cx:pt>
          <cx:pt idx="86910">0</cx:pt>
          <cx:pt idx="86911">0</cx:pt>
          <cx:pt idx="86912">1</cx:pt>
          <cx:pt idx="86913">1</cx:pt>
          <cx:pt idx="86914">1</cx:pt>
          <cx:pt idx="86915">0</cx:pt>
          <cx:pt idx="86916">0</cx:pt>
          <cx:pt idx="86917">1</cx:pt>
          <cx:pt idx="86918">1</cx:pt>
          <cx:pt idx="86919">0</cx:pt>
          <cx:pt idx="86920">0</cx:pt>
          <cx:pt idx="86921">0</cx:pt>
          <cx:pt idx="86922">0</cx:pt>
          <cx:pt idx="86923">0</cx:pt>
          <cx:pt idx="86924">0</cx:pt>
          <cx:pt idx="86925">0</cx:pt>
          <cx:pt idx="86926">0</cx:pt>
          <cx:pt idx="86927">1</cx:pt>
          <cx:pt idx="86928">1</cx:pt>
          <cx:pt idx="86929">1</cx:pt>
          <cx:pt idx="86930">1</cx:pt>
          <cx:pt idx="86931">0</cx:pt>
          <cx:pt idx="86932">1</cx:pt>
          <cx:pt idx="86933">0</cx:pt>
          <cx:pt idx="86934">1</cx:pt>
          <cx:pt idx="86935">0</cx:pt>
          <cx:pt idx="86936">1</cx:pt>
          <cx:pt idx="86937">0</cx:pt>
          <cx:pt idx="86938">1</cx:pt>
          <cx:pt idx="86939">0</cx:pt>
          <cx:pt idx="86940">0</cx:pt>
          <cx:pt idx="86941">0</cx:pt>
          <cx:pt idx="86942">0</cx:pt>
          <cx:pt idx="86943">1</cx:pt>
          <cx:pt idx="86944">0</cx:pt>
          <cx:pt idx="86945">0</cx:pt>
          <cx:pt idx="86946">0</cx:pt>
          <cx:pt idx="86947">1</cx:pt>
          <cx:pt idx="86948">1</cx:pt>
          <cx:pt idx="86949">0</cx:pt>
          <cx:pt idx="86950">1</cx:pt>
          <cx:pt idx="86951">0</cx:pt>
          <cx:pt idx="86952">0</cx:pt>
          <cx:pt idx="86953">0</cx:pt>
          <cx:pt idx="86954">1</cx:pt>
          <cx:pt idx="86955">1</cx:pt>
          <cx:pt idx="86956">1</cx:pt>
          <cx:pt idx="86957">0</cx:pt>
          <cx:pt idx="86958">1</cx:pt>
          <cx:pt idx="86959">0</cx:pt>
          <cx:pt idx="86960">1</cx:pt>
          <cx:pt idx="86961">0</cx:pt>
          <cx:pt idx="86962">1</cx:pt>
          <cx:pt idx="86963">1</cx:pt>
          <cx:pt idx="86964">0</cx:pt>
          <cx:pt idx="86965">0</cx:pt>
          <cx:pt idx="86966">0</cx:pt>
          <cx:pt idx="86967">0</cx:pt>
          <cx:pt idx="86968">0</cx:pt>
          <cx:pt idx="86969">0</cx:pt>
          <cx:pt idx="86970">0</cx:pt>
          <cx:pt idx="86971">0</cx:pt>
          <cx:pt idx="86972">1</cx:pt>
          <cx:pt idx="86973">1</cx:pt>
          <cx:pt idx="86974">1</cx:pt>
          <cx:pt idx="86975">0</cx:pt>
          <cx:pt idx="86976">1</cx:pt>
          <cx:pt idx="86977">0</cx:pt>
          <cx:pt idx="86978">0</cx:pt>
          <cx:pt idx="86979">0</cx:pt>
          <cx:pt idx="86980">1</cx:pt>
          <cx:pt idx="86981">1</cx:pt>
          <cx:pt idx="86982">0</cx:pt>
          <cx:pt idx="86983">1</cx:pt>
          <cx:pt idx="86984">1</cx:pt>
          <cx:pt idx="86985">0</cx:pt>
          <cx:pt idx="86986">0</cx:pt>
          <cx:pt idx="86987">1</cx:pt>
          <cx:pt idx="86988">0</cx:pt>
          <cx:pt idx="86989">1</cx:pt>
          <cx:pt idx="86990">0</cx:pt>
          <cx:pt idx="86991">1</cx:pt>
          <cx:pt idx="86992">1</cx:pt>
          <cx:pt idx="86993">0</cx:pt>
          <cx:pt idx="86994">0</cx:pt>
          <cx:pt idx="86995">1</cx:pt>
          <cx:pt idx="86996">0</cx:pt>
          <cx:pt idx="86997">0</cx:pt>
          <cx:pt idx="86998">1</cx:pt>
          <cx:pt idx="86999">1</cx:pt>
          <cx:pt idx="87000">1</cx:pt>
          <cx:pt idx="87001">1</cx:pt>
          <cx:pt idx="87002">0</cx:pt>
          <cx:pt idx="87003">0</cx:pt>
          <cx:pt idx="87004">0</cx:pt>
          <cx:pt idx="87005">1</cx:pt>
          <cx:pt idx="87006">1</cx:pt>
          <cx:pt idx="87007">1</cx:pt>
          <cx:pt idx="87008">0</cx:pt>
          <cx:pt idx="87009">0</cx:pt>
          <cx:pt idx="87010">1</cx:pt>
          <cx:pt idx="87011">0</cx:pt>
          <cx:pt idx="87012">1</cx:pt>
          <cx:pt idx="87013">1</cx:pt>
          <cx:pt idx="87014">1</cx:pt>
          <cx:pt idx="87015">0</cx:pt>
          <cx:pt idx="87016">1</cx:pt>
          <cx:pt idx="87017">1</cx:pt>
          <cx:pt idx="87018">1</cx:pt>
          <cx:pt idx="87019">0</cx:pt>
          <cx:pt idx="87020">0</cx:pt>
          <cx:pt idx="87021">0</cx:pt>
          <cx:pt idx="87022">1</cx:pt>
          <cx:pt idx="87023">0</cx:pt>
          <cx:pt idx="87024">1</cx:pt>
          <cx:pt idx="87025">1</cx:pt>
          <cx:pt idx="87026">0</cx:pt>
          <cx:pt idx="87027">0</cx:pt>
          <cx:pt idx="87028">0</cx:pt>
          <cx:pt idx="87029">0</cx:pt>
          <cx:pt idx="87030">0</cx:pt>
          <cx:pt idx="87031">0</cx:pt>
          <cx:pt idx="87032">0</cx:pt>
          <cx:pt idx="87033">1</cx:pt>
          <cx:pt idx="87034">1</cx:pt>
          <cx:pt idx="87035">0</cx:pt>
          <cx:pt idx="87036">1</cx:pt>
          <cx:pt idx="87037">1</cx:pt>
          <cx:pt idx="87038">0</cx:pt>
          <cx:pt idx="87039">0</cx:pt>
          <cx:pt idx="87040">0</cx:pt>
          <cx:pt idx="87041">1</cx:pt>
          <cx:pt idx="87042">1</cx:pt>
          <cx:pt idx="87043">1</cx:pt>
          <cx:pt idx="87044">0</cx:pt>
          <cx:pt idx="87045">1</cx:pt>
          <cx:pt idx="87046">0</cx:pt>
          <cx:pt idx="87047">1</cx:pt>
          <cx:pt idx="87048">1</cx:pt>
          <cx:pt idx="87049">1</cx:pt>
          <cx:pt idx="87050">0</cx:pt>
          <cx:pt idx="87051">0</cx:pt>
          <cx:pt idx="87052">0</cx:pt>
          <cx:pt idx="87053">0</cx:pt>
          <cx:pt idx="87054">0</cx:pt>
          <cx:pt idx="87055">1</cx:pt>
          <cx:pt idx="87056">1</cx:pt>
          <cx:pt idx="87057">0</cx:pt>
          <cx:pt idx="87058">1</cx:pt>
          <cx:pt idx="87059">0</cx:pt>
          <cx:pt idx="87060">0</cx:pt>
          <cx:pt idx="87061">1</cx:pt>
          <cx:pt idx="87062">0</cx:pt>
          <cx:pt idx="87063">1</cx:pt>
          <cx:pt idx="87064">0</cx:pt>
          <cx:pt idx="87065">1</cx:pt>
          <cx:pt idx="87066">0</cx:pt>
          <cx:pt idx="87067">0</cx:pt>
          <cx:pt idx="87068">1</cx:pt>
          <cx:pt idx="87069">0</cx:pt>
          <cx:pt idx="87070">0</cx:pt>
          <cx:pt idx="87071">0</cx:pt>
          <cx:pt idx="87072">0</cx:pt>
          <cx:pt idx="87073">1</cx:pt>
          <cx:pt idx="87074">0</cx:pt>
          <cx:pt idx="87075">0</cx:pt>
          <cx:pt idx="87076">0</cx:pt>
          <cx:pt idx="87077">0</cx:pt>
          <cx:pt idx="87078">0</cx:pt>
          <cx:pt idx="87079">0</cx:pt>
          <cx:pt idx="87080">0</cx:pt>
          <cx:pt idx="87081">1</cx:pt>
          <cx:pt idx="87082">1</cx:pt>
          <cx:pt idx="87083">1</cx:pt>
          <cx:pt idx="87084">1</cx:pt>
          <cx:pt idx="87085">1</cx:pt>
          <cx:pt idx="87086">0</cx:pt>
          <cx:pt idx="87087">0</cx:pt>
          <cx:pt idx="87088">0</cx:pt>
          <cx:pt idx="87089">0</cx:pt>
          <cx:pt idx="87090">1</cx:pt>
          <cx:pt idx="87091">0</cx:pt>
          <cx:pt idx="87092">0</cx:pt>
          <cx:pt idx="87093">0</cx:pt>
          <cx:pt idx="87094">1</cx:pt>
          <cx:pt idx="87095">0</cx:pt>
          <cx:pt idx="87096">0</cx:pt>
          <cx:pt idx="87097">1</cx:pt>
          <cx:pt idx="87098">0</cx:pt>
          <cx:pt idx="87099">1</cx:pt>
          <cx:pt idx="87100">1</cx:pt>
          <cx:pt idx="87101">0</cx:pt>
          <cx:pt idx="87102">1</cx:pt>
          <cx:pt idx="87103">0</cx:pt>
          <cx:pt idx="87104">1</cx:pt>
          <cx:pt idx="87105">0</cx:pt>
          <cx:pt idx="87106">0</cx:pt>
          <cx:pt idx="87107">1</cx:pt>
          <cx:pt idx="87108">1</cx:pt>
          <cx:pt idx="87109">1</cx:pt>
          <cx:pt idx="87110">0</cx:pt>
          <cx:pt idx="87111">1</cx:pt>
          <cx:pt idx="87112">0</cx:pt>
          <cx:pt idx="87113">0</cx:pt>
          <cx:pt idx="87114">0</cx:pt>
          <cx:pt idx="87115">0</cx:pt>
          <cx:pt idx="87116">1</cx:pt>
          <cx:pt idx="87117">0</cx:pt>
          <cx:pt idx="87118">1</cx:pt>
          <cx:pt idx="87119">1</cx:pt>
          <cx:pt idx="87120">0</cx:pt>
          <cx:pt idx="87121">1</cx:pt>
          <cx:pt idx="87122">0</cx:pt>
          <cx:pt idx="87123">1</cx:pt>
          <cx:pt idx="87124">1</cx:pt>
          <cx:pt idx="87125">0</cx:pt>
          <cx:pt idx="87126">1</cx:pt>
          <cx:pt idx="87127">1</cx:pt>
          <cx:pt idx="87128">1</cx:pt>
          <cx:pt idx="87129">1</cx:pt>
          <cx:pt idx="87130">0</cx:pt>
          <cx:pt idx="87131">0</cx:pt>
          <cx:pt idx="87132">0</cx:pt>
          <cx:pt idx="87133">1</cx:pt>
          <cx:pt idx="87134">1</cx:pt>
          <cx:pt idx="87135">0</cx:pt>
          <cx:pt idx="87136">1</cx:pt>
          <cx:pt idx="87137">1</cx:pt>
          <cx:pt idx="87138">1</cx:pt>
          <cx:pt idx="87139">0</cx:pt>
          <cx:pt idx="87140">1</cx:pt>
          <cx:pt idx="87141">1</cx:pt>
          <cx:pt idx="87142">0</cx:pt>
          <cx:pt idx="87143">0</cx:pt>
          <cx:pt idx="87144">1</cx:pt>
          <cx:pt idx="87145">0</cx:pt>
          <cx:pt idx="87146">0</cx:pt>
          <cx:pt idx="87147">1</cx:pt>
          <cx:pt idx="87148">1</cx:pt>
          <cx:pt idx="87149">0</cx:pt>
          <cx:pt idx="87150">0</cx:pt>
          <cx:pt idx="87151">0</cx:pt>
          <cx:pt idx="87152">0</cx:pt>
          <cx:pt idx="87153">0</cx:pt>
          <cx:pt idx="87154">1</cx:pt>
          <cx:pt idx="87155">0</cx:pt>
          <cx:pt idx="87156">1</cx:pt>
          <cx:pt idx="87157">1</cx:pt>
          <cx:pt idx="87158">0</cx:pt>
          <cx:pt idx="87159">1</cx:pt>
          <cx:pt idx="87160">0</cx:pt>
          <cx:pt idx="87161">0</cx:pt>
          <cx:pt idx="87162">1</cx:pt>
          <cx:pt idx="87163">0</cx:pt>
          <cx:pt idx="87164">0</cx:pt>
          <cx:pt idx="87165">1</cx:pt>
          <cx:pt idx="87166">0</cx:pt>
          <cx:pt idx="87167">0</cx:pt>
          <cx:pt idx="87168">0</cx:pt>
          <cx:pt idx="87169">0</cx:pt>
          <cx:pt idx="87170">1</cx:pt>
          <cx:pt idx="87171">0</cx:pt>
          <cx:pt idx="87172">0</cx:pt>
          <cx:pt idx="87173">1</cx:pt>
          <cx:pt idx="87174">0</cx:pt>
          <cx:pt idx="87175">0</cx:pt>
          <cx:pt idx="87176">0</cx:pt>
          <cx:pt idx="87177">0</cx:pt>
          <cx:pt idx="87178">0</cx:pt>
          <cx:pt idx="87179">0</cx:pt>
          <cx:pt idx="87180">1</cx:pt>
          <cx:pt idx="87181">0</cx:pt>
          <cx:pt idx="87182">1</cx:pt>
          <cx:pt idx="87183">0</cx:pt>
          <cx:pt idx="87184">0</cx:pt>
          <cx:pt idx="87185">0</cx:pt>
          <cx:pt idx="87186">1</cx:pt>
          <cx:pt idx="87187">0</cx:pt>
          <cx:pt idx="87188">1</cx:pt>
          <cx:pt idx="87189">0</cx:pt>
          <cx:pt idx="87190">0</cx:pt>
          <cx:pt idx="87191">1</cx:pt>
          <cx:pt idx="87192">1</cx:pt>
          <cx:pt idx="87193">0</cx:pt>
          <cx:pt idx="87194">0</cx:pt>
          <cx:pt idx="87195">1</cx:pt>
          <cx:pt idx="87196">1</cx:pt>
          <cx:pt idx="87197">0</cx:pt>
          <cx:pt idx="87198">0</cx:pt>
          <cx:pt idx="87199">0</cx:pt>
          <cx:pt idx="87200">0</cx:pt>
          <cx:pt idx="87201">1</cx:pt>
          <cx:pt idx="87202">1</cx:pt>
          <cx:pt idx="87203">1</cx:pt>
          <cx:pt idx="87204">0</cx:pt>
          <cx:pt idx="87205">0</cx:pt>
          <cx:pt idx="87206">0</cx:pt>
          <cx:pt idx="87207">1</cx:pt>
          <cx:pt idx="87208">0</cx:pt>
          <cx:pt idx="87209">0</cx:pt>
          <cx:pt idx="87210">0</cx:pt>
          <cx:pt idx="87211">0</cx:pt>
          <cx:pt idx="87212">0</cx:pt>
          <cx:pt idx="87213">0</cx:pt>
          <cx:pt idx="87214">1</cx:pt>
          <cx:pt idx="87215">1</cx:pt>
          <cx:pt idx="87216">1</cx:pt>
          <cx:pt idx="87217">1</cx:pt>
          <cx:pt idx="87218">0</cx:pt>
          <cx:pt idx="87219">1</cx:pt>
          <cx:pt idx="87220">1</cx:pt>
          <cx:pt idx="87221">0</cx:pt>
          <cx:pt idx="87222">1</cx:pt>
          <cx:pt idx="87223">1</cx:pt>
          <cx:pt idx="87224">1</cx:pt>
          <cx:pt idx="87225">0</cx:pt>
          <cx:pt idx="87226">0</cx:pt>
          <cx:pt idx="87227">1</cx:pt>
          <cx:pt idx="87228">0</cx:pt>
          <cx:pt idx="87229">1</cx:pt>
          <cx:pt idx="87230">0</cx:pt>
          <cx:pt idx="87231">0</cx:pt>
          <cx:pt idx="87232">1</cx:pt>
          <cx:pt idx="87233">1</cx:pt>
          <cx:pt idx="87234">1</cx:pt>
          <cx:pt idx="87235">0</cx:pt>
          <cx:pt idx="87236">0</cx:pt>
          <cx:pt idx="87237">1</cx:pt>
          <cx:pt idx="87238">1</cx:pt>
          <cx:pt idx="87239">1</cx:pt>
          <cx:pt idx="87240">1</cx:pt>
          <cx:pt idx="87241">0</cx:pt>
          <cx:pt idx="87242">0</cx:pt>
          <cx:pt idx="87243">0</cx:pt>
          <cx:pt idx="87244">1</cx:pt>
          <cx:pt idx="87245">1</cx:pt>
          <cx:pt idx="87246">0</cx:pt>
          <cx:pt idx="87247">1</cx:pt>
          <cx:pt idx="87248">0</cx:pt>
          <cx:pt idx="87249">0</cx:pt>
          <cx:pt idx="87250">0</cx:pt>
          <cx:pt idx="87251">0</cx:pt>
          <cx:pt idx="87252">0</cx:pt>
          <cx:pt idx="87253">0</cx:pt>
          <cx:pt idx="87254">0</cx:pt>
          <cx:pt idx="87255">1</cx:pt>
          <cx:pt idx="87256">0</cx:pt>
          <cx:pt idx="87257">0</cx:pt>
          <cx:pt idx="87258">0</cx:pt>
          <cx:pt idx="87259">1</cx:pt>
          <cx:pt idx="87260">0</cx:pt>
          <cx:pt idx="87261">0</cx:pt>
          <cx:pt idx="87262">1</cx:pt>
          <cx:pt idx="87263">0</cx:pt>
          <cx:pt idx="87264">0</cx:pt>
          <cx:pt idx="87265">0</cx:pt>
          <cx:pt idx="87266">0</cx:pt>
          <cx:pt idx="87267">0</cx:pt>
          <cx:pt idx="87268">1</cx:pt>
          <cx:pt idx="87269">1</cx:pt>
          <cx:pt idx="87270">1</cx:pt>
          <cx:pt idx="87271">0</cx:pt>
          <cx:pt idx="87272">0</cx:pt>
          <cx:pt idx="87273">0</cx:pt>
          <cx:pt idx="87274">1</cx:pt>
          <cx:pt idx="87275">0</cx:pt>
          <cx:pt idx="87276">0</cx:pt>
          <cx:pt idx="87277">1</cx:pt>
          <cx:pt idx="87278">0</cx:pt>
          <cx:pt idx="87279">0</cx:pt>
          <cx:pt idx="87280">0</cx:pt>
          <cx:pt idx="87281">0</cx:pt>
          <cx:pt idx="87282">0</cx:pt>
          <cx:pt idx="87283">0</cx:pt>
          <cx:pt idx="87284">0</cx:pt>
          <cx:pt idx="87285">0</cx:pt>
          <cx:pt idx="87286">0</cx:pt>
          <cx:pt idx="87287">0</cx:pt>
          <cx:pt idx="87288">0</cx:pt>
          <cx:pt idx="87289">0</cx:pt>
          <cx:pt idx="87290">1</cx:pt>
          <cx:pt idx="87291">0</cx:pt>
          <cx:pt idx="87292">0</cx:pt>
          <cx:pt idx="87293">1</cx:pt>
          <cx:pt idx="87294">0</cx:pt>
          <cx:pt idx="87295">0</cx:pt>
          <cx:pt idx="87296">0</cx:pt>
          <cx:pt idx="87297">1</cx:pt>
          <cx:pt idx="87298">0</cx:pt>
          <cx:pt idx="87299">0</cx:pt>
          <cx:pt idx="87300">1</cx:pt>
          <cx:pt idx="87301">1</cx:pt>
          <cx:pt idx="87302">1</cx:pt>
          <cx:pt idx="87303">0</cx:pt>
          <cx:pt idx="87304">0</cx:pt>
          <cx:pt idx="87305">0</cx:pt>
          <cx:pt idx="87306">0</cx:pt>
          <cx:pt idx="87307">0</cx:pt>
          <cx:pt idx="87308">1</cx:pt>
          <cx:pt idx="87309">1</cx:pt>
          <cx:pt idx="87310">1</cx:pt>
          <cx:pt idx="87311">1</cx:pt>
          <cx:pt idx="87312">0</cx:pt>
          <cx:pt idx="87313">0</cx:pt>
          <cx:pt idx="87314">0</cx:pt>
          <cx:pt idx="87315">0</cx:pt>
          <cx:pt idx="87316">0</cx:pt>
          <cx:pt idx="87317">1</cx:pt>
          <cx:pt idx="87318">1</cx:pt>
          <cx:pt idx="87319">1</cx:pt>
          <cx:pt idx="87320">0</cx:pt>
          <cx:pt idx="87321">0</cx:pt>
          <cx:pt idx="87322">0</cx:pt>
          <cx:pt idx="87323">0</cx:pt>
          <cx:pt idx="87324">1</cx:pt>
          <cx:pt idx="87325">0</cx:pt>
          <cx:pt idx="87326">0</cx:pt>
          <cx:pt idx="87327">0</cx:pt>
          <cx:pt idx="87328">1</cx:pt>
          <cx:pt idx="87329">0</cx:pt>
          <cx:pt idx="87330">0</cx:pt>
          <cx:pt idx="87331">1</cx:pt>
          <cx:pt idx="87332">1</cx:pt>
          <cx:pt idx="87333">0</cx:pt>
          <cx:pt idx="87334">0</cx:pt>
          <cx:pt idx="87335">0</cx:pt>
          <cx:pt idx="87336">0</cx:pt>
          <cx:pt idx="87337">1</cx:pt>
          <cx:pt idx="87338">1</cx:pt>
          <cx:pt idx="87339">0</cx:pt>
          <cx:pt idx="87340">0</cx:pt>
          <cx:pt idx="87341">0</cx:pt>
          <cx:pt idx="87342">0</cx:pt>
          <cx:pt idx="87343">0</cx:pt>
          <cx:pt idx="87344">0</cx:pt>
          <cx:pt idx="87345">0</cx:pt>
          <cx:pt idx="87346">1</cx:pt>
          <cx:pt idx="87347">0</cx:pt>
          <cx:pt idx="87348">1</cx:pt>
          <cx:pt idx="87349">0</cx:pt>
          <cx:pt idx="87350">0</cx:pt>
          <cx:pt idx="87351">1</cx:pt>
          <cx:pt idx="87352">0</cx:pt>
          <cx:pt idx="87353">0</cx:pt>
          <cx:pt idx="87354">0</cx:pt>
          <cx:pt idx="87355">0</cx:pt>
          <cx:pt idx="87356">0</cx:pt>
          <cx:pt idx="87357">1</cx:pt>
          <cx:pt idx="87358">0</cx:pt>
          <cx:pt idx="87359">1</cx:pt>
          <cx:pt idx="87360">0</cx:pt>
          <cx:pt idx="87361">0</cx:pt>
          <cx:pt idx="87362">1</cx:pt>
          <cx:pt idx="87363">0</cx:pt>
          <cx:pt idx="87364">1</cx:pt>
          <cx:pt idx="87365">1</cx:pt>
          <cx:pt idx="87366">0</cx:pt>
          <cx:pt idx="87367">1</cx:pt>
          <cx:pt idx="87368">0</cx:pt>
          <cx:pt idx="87369">1</cx:pt>
          <cx:pt idx="87370">0</cx:pt>
          <cx:pt idx="87371">0</cx:pt>
          <cx:pt idx="87372">0</cx:pt>
          <cx:pt idx="87373">0</cx:pt>
          <cx:pt idx="87374">0</cx:pt>
          <cx:pt idx="87375">1</cx:pt>
          <cx:pt idx="87376">0</cx:pt>
          <cx:pt idx="87377">1</cx:pt>
          <cx:pt idx="87378">1</cx:pt>
          <cx:pt idx="87379">1</cx:pt>
          <cx:pt idx="87380">0</cx:pt>
          <cx:pt idx="87381">1</cx:pt>
          <cx:pt idx="87382">0</cx:pt>
          <cx:pt idx="87383">0</cx:pt>
          <cx:pt idx="87384">1</cx:pt>
          <cx:pt idx="87385">0</cx:pt>
          <cx:pt idx="87386">0</cx:pt>
          <cx:pt idx="87387">0</cx:pt>
          <cx:pt idx="87388">1</cx:pt>
          <cx:pt idx="87389">0</cx:pt>
          <cx:pt idx="87390">0</cx:pt>
          <cx:pt idx="87391">1</cx:pt>
          <cx:pt idx="87392">0</cx:pt>
          <cx:pt idx="87393">1</cx:pt>
          <cx:pt idx="87394">0</cx:pt>
          <cx:pt idx="87395">0</cx:pt>
          <cx:pt idx="87396">0</cx:pt>
          <cx:pt idx="87397">1</cx:pt>
          <cx:pt idx="87398">1</cx:pt>
          <cx:pt idx="87399">0</cx:pt>
          <cx:pt idx="87400">0</cx:pt>
          <cx:pt idx="87401">1</cx:pt>
          <cx:pt idx="87402">1</cx:pt>
          <cx:pt idx="87403">0</cx:pt>
          <cx:pt idx="87404">0</cx:pt>
          <cx:pt idx="87405">1</cx:pt>
          <cx:pt idx="87406">0</cx:pt>
          <cx:pt idx="87407">0</cx:pt>
          <cx:pt idx="87408">0</cx:pt>
          <cx:pt idx="87409">0</cx:pt>
          <cx:pt idx="87410">0</cx:pt>
          <cx:pt idx="87411">0</cx:pt>
          <cx:pt idx="87412">0</cx:pt>
          <cx:pt idx="87413">1</cx:pt>
          <cx:pt idx="87414">1</cx:pt>
          <cx:pt idx="87415">0</cx:pt>
          <cx:pt idx="87416">1</cx:pt>
          <cx:pt idx="87417">1</cx:pt>
          <cx:pt idx="87418">1</cx:pt>
          <cx:pt idx="87419">1</cx:pt>
          <cx:pt idx="87420">1</cx:pt>
          <cx:pt idx="87421">0</cx:pt>
          <cx:pt idx="87422">0</cx:pt>
          <cx:pt idx="87423">1</cx:pt>
          <cx:pt idx="87424">1</cx:pt>
          <cx:pt idx="87425">1</cx:pt>
          <cx:pt idx="87426">1</cx:pt>
          <cx:pt idx="87427">1</cx:pt>
          <cx:pt idx="87428">1</cx:pt>
          <cx:pt idx="87429">1</cx:pt>
          <cx:pt idx="87430">1</cx:pt>
          <cx:pt idx="87431">0</cx:pt>
          <cx:pt idx="87432">0</cx:pt>
          <cx:pt idx="87433">1</cx:pt>
          <cx:pt idx="87434">1</cx:pt>
          <cx:pt idx="87435">0</cx:pt>
          <cx:pt idx="87436">1</cx:pt>
          <cx:pt idx="87437">1</cx:pt>
          <cx:pt idx="87438">0</cx:pt>
          <cx:pt idx="87439">1</cx:pt>
          <cx:pt idx="87440">1</cx:pt>
          <cx:pt idx="87441">0</cx:pt>
          <cx:pt idx="87442">0</cx:pt>
          <cx:pt idx="87443">0</cx:pt>
          <cx:pt idx="87444">1</cx:pt>
          <cx:pt idx="87445">1</cx:pt>
          <cx:pt idx="87446">1</cx:pt>
          <cx:pt idx="87447">1</cx:pt>
          <cx:pt idx="87448">0</cx:pt>
          <cx:pt idx="87449">0</cx:pt>
          <cx:pt idx="87450">1</cx:pt>
          <cx:pt idx="87451">0</cx:pt>
          <cx:pt idx="87452">1</cx:pt>
          <cx:pt idx="87453">0</cx:pt>
          <cx:pt idx="87454">0</cx:pt>
          <cx:pt idx="87455">0</cx:pt>
          <cx:pt idx="87456">1</cx:pt>
          <cx:pt idx="87457">0</cx:pt>
          <cx:pt idx="87458">0</cx:pt>
          <cx:pt idx="87459">0</cx:pt>
          <cx:pt idx="87460">0</cx:pt>
          <cx:pt idx="87461">0</cx:pt>
          <cx:pt idx="87462">1</cx:pt>
          <cx:pt idx="87463">1</cx:pt>
          <cx:pt idx="87464">1</cx:pt>
          <cx:pt idx="87465">1</cx:pt>
          <cx:pt idx="87466">1</cx:pt>
          <cx:pt idx="87467">1</cx:pt>
          <cx:pt idx="87468">0</cx:pt>
          <cx:pt idx="87469">0</cx:pt>
          <cx:pt idx="87470">1</cx:pt>
          <cx:pt idx="87471">0</cx:pt>
          <cx:pt idx="87472">0</cx:pt>
          <cx:pt idx="87473">1</cx:pt>
          <cx:pt idx="87474">0</cx:pt>
          <cx:pt idx="87475">1</cx:pt>
          <cx:pt idx="87476">1</cx:pt>
          <cx:pt idx="87477">1</cx:pt>
          <cx:pt idx="87478">1</cx:pt>
          <cx:pt idx="87479">0</cx:pt>
          <cx:pt idx="87480">0</cx:pt>
          <cx:pt idx="87481">1</cx:pt>
          <cx:pt idx="87482">0</cx:pt>
          <cx:pt idx="87483">0</cx:pt>
          <cx:pt idx="87484">1</cx:pt>
          <cx:pt idx="87485">1</cx:pt>
          <cx:pt idx="87486">0</cx:pt>
          <cx:pt idx="87487">0</cx:pt>
          <cx:pt idx="87488">0</cx:pt>
          <cx:pt idx="87489">1</cx:pt>
          <cx:pt idx="87490">1</cx:pt>
          <cx:pt idx="87491">1</cx:pt>
          <cx:pt idx="87492">0</cx:pt>
          <cx:pt idx="87493">1</cx:pt>
          <cx:pt idx="87494">0</cx:pt>
          <cx:pt idx="87495">1</cx:pt>
          <cx:pt idx="87496">0</cx:pt>
          <cx:pt idx="87497">0</cx:pt>
          <cx:pt idx="87498">0</cx:pt>
          <cx:pt idx="87499">0</cx:pt>
          <cx:pt idx="87500">0</cx:pt>
          <cx:pt idx="87501">0</cx:pt>
          <cx:pt idx="87502">1</cx:pt>
          <cx:pt idx="87503">1</cx:pt>
          <cx:pt idx="87504">0</cx:pt>
          <cx:pt idx="87505">1</cx:pt>
          <cx:pt idx="87506">1</cx:pt>
          <cx:pt idx="87507">0</cx:pt>
          <cx:pt idx="87508">0</cx:pt>
          <cx:pt idx="87509">0</cx:pt>
          <cx:pt idx="87510">1</cx:pt>
          <cx:pt idx="87511">0</cx:pt>
          <cx:pt idx="87512">1</cx:pt>
          <cx:pt idx="87513">1</cx:pt>
          <cx:pt idx="87514">0</cx:pt>
          <cx:pt idx="87515">1</cx:pt>
          <cx:pt idx="87516">0</cx:pt>
          <cx:pt idx="87517">1</cx:pt>
          <cx:pt idx="87518">0</cx:pt>
          <cx:pt idx="87519">1</cx:pt>
          <cx:pt idx="87520">0</cx:pt>
          <cx:pt idx="87521">0</cx:pt>
          <cx:pt idx="87522">0</cx:pt>
          <cx:pt idx="87523">0</cx:pt>
          <cx:pt idx="87524">1</cx:pt>
          <cx:pt idx="87525">1</cx:pt>
          <cx:pt idx="87526">0</cx:pt>
          <cx:pt idx="87527">0</cx:pt>
          <cx:pt idx="87528">1</cx:pt>
          <cx:pt idx="87529">1</cx:pt>
          <cx:pt idx="87530">1</cx:pt>
          <cx:pt idx="87531">1</cx:pt>
          <cx:pt idx="87532">0</cx:pt>
          <cx:pt idx="87533">1</cx:pt>
          <cx:pt idx="87534">1</cx:pt>
          <cx:pt idx="87535">0</cx:pt>
          <cx:pt idx="87536">1</cx:pt>
          <cx:pt idx="87537">1</cx:pt>
          <cx:pt idx="87538">0</cx:pt>
          <cx:pt idx="87539">1</cx:pt>
          <cx:pt idx="87540">1</cx:pt>
          <cx:pt idx="87541">0</cx:pt>
          <cx:pt idx="87542">0</cx:pt>
          <cx:pt idx="87543">0</cx:pt>
          <cx:pt idx="87544">1</cx:pt>
          <cx:pt idx="87545">0</cx:pt>
          <cx:pt idx="87546">0</cx:pt>
          <cx:pt idx="87547">0</cx:pt>
          <cx:pt idx="87548">1</cx:pt>
          <cx:pt idx="87549">0</cx:pt>
          <cx:pt idx="87550">1</cx:pt>
          <cx:pt idx="87551">0</cx:pt>
          <cx:pt idx="87552">0</cx:pt>
          <cx:pt idx="87553">0</cx:pt>
          <cx:pt idx="87554">1</cx:pt>
          <cx:pt idx="87555">1</cx:pt>
          <cx:pt idx="87556">0</cx:pt>
          <cx:pt idx="87557">0</cx:pt>
          <cx:pt idx="87558">1</cx:pt>
          <cx:pt idx="87559">0</cx:pt>
          <cx:pt idx="87560">0</cx:pt>
          <cx:pt idx="87561">0</cx:pt>
          <cx:pt idx="87562">0</cx:pt>
          <cx:pt idx="87563">1</cx:pt>
          <cx:pt idx="87564">0</cx:pt>
          <cx:pt idx="87565">0</cx:pt>
          <cx:pt idx="87566">1</cx:pt>
          <cx:pt idx="87567">0</cx:pt>
          <cx:pt idx="87568">1</cx:pt>
          <cx:pt idx="87569">1</cx:pt>
          <cx:pt idx="87570">0</cx:pt>
          <cx:pt idx="87571">0</cx:pt>
          <cx:pt idx="87572">0</cx:pt>
          <cx:pt idx="87573">0</cx:pt>
          <cx:pt idx="87574">1</cx:pt>
          <cx:pt idx="87575">0</cx:pt>
          <cx:pt idx="87576">1</cx:pt>
          <cx:pt idx="87577">0</cx:pt>
          <cx:pt idx="87578">1</cx:pt>
          <cx:pt idx="87579">0</cx:pt>
          <cx:pt idx="87580">1</cx:pt>
          <cx:pt idx="87581">0</cx:pt>
          <cx:pt idx="87582">1</cx:pt>
          <cx:pt idx="87583">1</cx:pt>
          <cx:pt idx="87584">1</cx:pt>
          <cx:pt idx="87585">0</cx:pt>
          <cx:pt idx="87586">0</cx:pt>
          <cx:pt idx="87587">0</cx:pt>
          <cx:pt idx="87588">0</cx:pt>
          <cx:pt idx="87589">1</cx:pt>
          <cx:pt idx="87590">0</cx:pt>
          <cx:pt idx="87591">1</cx:pt>
          <cx:pt idx="87592">0</cx:pt>
          <cx:pt idx="87593">0</cx:pt>
          <cx:pt idx="87594">0</cx:pt>
          <cx:pt idx="87595">1</cx:pt>
          <cx:pt idx="87596">0</cx:pt>
          <cx:pt idx="87597">0</cx:pt>
          <cx:pt idx="87598">0</cx:pt>
          <cx:pt idx="87599">1</cx:pt>
          <cx:pt idx="87600">0</cx:pt>
          <cx:pt idx="87601">1</cx:pt>
          <cx:pt idx="87602">0</cx:pt>
          <cx:pt idx="87603">0</cx:pt>
          <cx:pt idx="87604">0</cx:pt>
          <cx:pt idx="87605">0</cx:pt>
          <cx:pt idx="87606">0</cx:pt>
          <cx:pt idx="87607">1</cx:pt>
          <cx:pt idx="87608">1</cx:pt>
          <cx:pt idx="87609">1</cx:pt>
          <cx:pt idx="87610">0</cx:pt>
          <cx:pt idx="87611">0</cx:pt>
          <cx:pt idx="87612">1</cx:pt>
          <cx:pt idx="87613">0</cx:pt>
          <cx:pt idx="87614">0</cx:pt>
          <cx:pt idx="87615">0</cx:pt>
          <cx:pt idx="87616">0</cx:pt>
          <cx:pt idx="87617">0</cx:pt>
          <cx:pt idx="87618">1</cx:pt>
          <cx:pt idx="87619">1</cx:pt>
          <cx:pt idx="87620">1</cx:pt>
          <cx:pt idx="87621">0</cx:pt>
          <cx:pt idx="87622">0</cx:pt>
          <cx:pt idx="87623">1</cx:pt>
          <cx:pt idx="87624">1</cx:pt>
          <cx:pt idx="87625">0</cx:pt>
          <cx:pt idx="87626">0</cx:pt>
          <cx:pt idx="87627">1</cx:pt>
          <cx:pt idx="87628">0</cx:pt>
          <cx:pt idx="87629">1</cx:pt>
          <cx:pt idx="87630">0</cx:pt>
          <cx:pt idx="87631">0</cx:pt>
          <cx:pt idx="87632">1</cx:pt>
          <cx:pt idx="87633">0</cx:pt>
          <cx:pt idx="87634">1</cx:pt>
          <cx:pt idx="87635">0</cx:pt>
          <cx:pt idx="87636">0</cx:pt>
          <cx:pt idx="87637">1</cx:pt>
          <cx:pt idx="87638">1</cx:pt>
          <cx:pt idx="87639">0</cx:pt>
          <cx:pt idx="87640">0</cx:pt>
          <cx:pt idx="87641">0</cx:pt>
          <cx:pt idx="87642">0</cx:pt>
          <cx:pt idx="87643">1</cx:pt>
          <cx:pt idx="87644">1</cx:pt>
          <cx:pt idx="87645">0</cx:pt>
          <cx:pt idx="87646">0</cx:pt>
          <cx:pt idx="87647">1</cx:pt>
          <cx:pt idx="87648">0</cx:pt>
          <cx:pt idx="87649">0</cx:pt>
          <cx:pt idx="87650">1</cx:pt>
          <cx:pt idx="87651">0</cx:pt>
          <cx:pt idx="87652">0</cx:pt>
          <cx:pt idx="87653">0</cx:pt>
          <cx:pt idx="87654">0</cx:pt>
          <cx:pt idx="87655">0</cx:pt>
          <cx:pt idx="87656">0</cx:pt>
          <cx:pt idx="87657">1</cx:pt>
          <cx:pt idx="87658">1</cx:pt>
          <cx:pt idx="87659">1</cx:pt>
          <cx:pt idx="87660">1</cx:pt>
          <cx:pt idx="87661">0</cx:pt>
          <cx:pt idx="87662">0</cx:pt>
          <cx:pt idx="87663">0</cx:pt>
          <cx:pt idx="87664">0</cx:pt>
          <cx:pt idx="87665">1</cx:pt>
          <cx:pt idx="87666">0</cx:pt>
          <cx:pt idx="87667">1</cx:pt>
          <cx:pt idx="87668">0</cx:pt>
          <cx:pt idx="87669">1</cx:pt>
          <cx:pt idx="87670">0</cx:pt>
          <cx:pt idx="87671">0</cx:pt>
          <cx:pt idx="87672">0</cx:pt>
          <cx:pt idx="87673">1</cx:pt>
          <cx:pt idx="87674">0</cx:pt>
          <cx:pt idx="87675">0</cx:pt>
          <cx:pt idx="87676">0</cx:pt>
          <cx:pt idx="87677">1</cx:pt>
          <cx:pt idx="87678">1</cx:pt>
          <cx:pt idx="87679">0</cx:pt>
          <cx:pt idx="87680">0</cx:pt>
          <cx:pt idx="87681">1</cx:pt>
          <cx:pt idx="87682">1</cx:pt>
          <cx:pt idx="87683">1</cx:pt>
          <cx:pt idx="87684">1</cx:pt>
          <cx:pt idx="87685">0</cx:pt>
          <cx:pt idx="87686">0</cx:pt>
          <cx:pt idx="87687">0</cx:pt>
          <cx:pt idx="87688">0</cx:pt>
          <cx:pt idx="87689">0</cx:pt>
          <cx:pt idx="87690">1</cx:pt>
          <cx:pt idx="87691">0</cx:pt>
          <cx:pt idx="87692">0</cx:pt>
          <cx:pt idx="87693">1</cx:pt>
          <cx:pt idx="87694">0</cx:pt>
          <cx:pt idx="87695">0</cx:pt>
          <cx:pt idx="87696">1</cx:pt>
          <cx:pt idx="87697">0</cx:pt>
          <cx:pt idx="87698">0</cx:pt>
          <cx:pt idx="87699">1</cx:pt>
          <cx:pt idx="87700">0</cx:pt>
          <cx:pt idx="87701">0</cx:pt>
          <cx:pt idx="87702">0</cx:pt>
          <cx:pt idx="87703">0</cx:pt>
          <cx:pt idx="87704">0</cx:pt>
          <cx:pt idx="87705">1</cx:pt>
          <cx:pt idx="87706">1</cx:pt>
          <cx:pt idx="87707">0</cx:pt>
          <cx:pt idx="87708">1</cx:pt>
          <cx:pt idx="87709">0</cx:pt>
          <cx:pt idx="87710">1</cx:pt>
          <cx:pt idx="87711">0</cx:pt>
          <cx:pt idx="87712">1</cx:pt>
          <cx:pt idx="87713">1</cx:pt>
          <cx:pt idx="87714">1</cx:pt>
          <cx:pt idx="87715">0</cx:pt>
          <cx:pt idx="87716">0</cx:pt>
          <cx:pt idx="87717">0</cx:pt>
          <cx:pt idx="87718">0</cx:pt>
          <cx:pt idx="87719">1</cx:pt>
          <cx:pt idx="87720">0</cx:pt>
          <cx:pt idx="87721">1</cx:pt>
          <cx:pt idx="87722">0</cx:pt>
          <cx:pt idx="87723">0</cx:pt>
          <cx:pt idx="87724">0</cx:pt>
          <cx:pt idx="87725">1</cx:pt>
          <cx:pt idx="87726">1</cx:pt>
          <cx:pt idx="87727">0</cx:pt>
          <cx:pt idx="87728">1</cx:pt>
          <cx:pt idx="87729">1</cx:pt>
          <cx:pt idx="87730">1</cx:pt>
          <cx:pt idx="87731">0</cx:pt>
          <cx:pt idx="87732">1</cx:pt>
          <cx:pt idx="87733">1</cx:pt>
          <cx:pt idx="87734">1</cx:pt>
          <cx:pt idx="87735">0</cx:pt>
          <cx:pt idx="87736">0</cx:pt>
          <cx:pt idx="87737">1</cx:pt>
          <cx:pt idx="87738">0</cx:pt>
          <cx:pt idx="87739">0</cx:pt>
          <cx:pt idx="87740">0</cx:pt>
          <cx:pt idx="87741">1</cx:pt>
          <cx:pt idx="87742">1</cx:pt>
          <cx:pt idx="87743">1</cx:pt>
          <cx:pt idx="87744">0</cx:pt>
          <cx:pt idx="87745">0</cx:pt>
          <cx:pt idx="87746">1</cx:pt>
          <cx:pt idx="87747">0</cx:pt>
          <cx:pt idx="87748">1</cx:pt>
          <cx:pt idx="87749">0</cx:pt>
          <cx:pt idx="87750">0</cx:pt>
          <cx:pt idx="87751">0</cx:pt>
          <cx:pt idx="87752">0</cx:pt>
          <cx:pt idx="87753">1</cx:pt>
          <cx:pt idx="87754">0</cx:pt>
          <cx:pt idx="87755">1</cx:pt>
          <cx:pt idx="87756">0</cx:pt>
          <cx:pt idx="87757">0</cx:pt>
          <cx:pt idx="87758">0</cx:pt>
          <cx:pt idx="87759">1</cx:pt>
          <cx:pt idx="87760">1</cx:pt>
          <cx:pt idx="87761">1</cx:pt>
          <cx:pt idx="87762">0</cx:pt>
          <cx:pt idx="87763">0</cx:pt>
          <cx:pt idx="87764">1</cx:pt>
          <cx:pt idx="87765">1</cx:pt>
          <cx:pt idx="87766">1</cx:pt>
          <cx:pt idx="87767">0</cx:pt>
          <cx:pt idx="87768">0</cx:pt>
          <cx:pt idx="87769">1</cx:pt>
          <cx:pt idx="87770">1</cx:pt>
          <cx:pt idx="87771">1</cx:pt>
          <cx:pt idx="87772">0</cx:pt>
          <cx:pt idx="87773">1</cx:pt>
          <cx:pt idx="87774">1</cx:pt>
          <cx:pt idx="87775">0</cx:pt>
          <cx:pt idx="87776">0</cx:pt>
          <cx:pt idx="87777">0</cx:pt>
          <cx:pt idx="87778">0</cx:pt>
          <cx:pt idx="87779">0</cx:pt>
          <cx:pt idx="87780">0</cx:pt>
          <cx:pt idx="87781">0</cx:pt>
          <cx:pt idx="87782">0</cx:pt>
          <cx:pt idx="87783">0</cx:pt>
          <cx:pt idx="87784">1</cx:pt>
          <cx:pt idx="87785">1</cx:pt>
          <cx:pt idx="87786">1</cx:pt>
          <cx:pt idx="87787">1</cx:pt>
          <cx:pt idx="87788">1</cx:pt>
          <cx:pt idx="87789">1</cx:pt>
          <cx:pt idx="87790">0</cx:pt>
          <cx:pt idx="87791">1</cx:pt>
          <cx:pt idx="87792">0</cx:pt>
          <cx:pt idx="87793">1</cx:pt>
          <cx:pt idx="87794">0</cx:pt>
          <cx:pt idx="87795">1</cx:pt>
          <cx:pt idx="87796">0</cx:pt>
          <cx:pt idx="87797">1</cx:pt>
          <cx:pt idx="87798">0</cx:pt>
          <cx:pt idx="87799">0</cx:pt>
          <cx:pt idx="87800">1</cx:pt>
          <cx:pt idx="87801">0</cx:pt>
          <cx:pt idx="87802">0</cx:pt>
          <cx:pt idx="87803">0</cx:pt>
          <cx:pt idx="87804">1</cx:pt>
          <cx:pt idx="87805">0</cx:pt>
          <cx:pt idx="87806">1</cx:pt>
          <cx:pt idx="87807">0</cx:pt>
          <cx:pt idx="87808">0</cx:pt>
          <cx:pt idx="87809">1</cx:pt>
          <cx:pt idx="87810">0</cx:pt>
          <cx:pt idx="87811">1</cx:pt>
          <cx:pt idx="87812">1</cx:pt>
          <cx:pt idx="87813">0</cx:pt>
          <cx:pt idx="87814">0</cx:pt>
          <cx:pt idx="87815">0</cx:pt>
          <cx:pt idx="87816">0</cx:pt>
          <cx:pt idx="87817">0</cx:pt>
          <cx:pt idx="87818">0</cx:pt>
          <cx:pt idx="87819">1</cx:pt>
          <cx:pt idx="87820">1</cx:pt>
          <cx:pt idx="87821">1</cx:pt>
          <cx:pt idx="87822">1</cx:pt>
          <cx:pt idx="87823">1</cx:pt>
          <cx:pt idx="87824">1</cx:pt>
          <cx:pt idx="87825">0</cx:pt>
          <cx:pt idx="87826">0</cx:pt>
          <cx:pt idx="87827">0</cx:pt>
          <cx:pt idx="87828">0</cx:pt>
          <cx:pt idx="87829">1</cx:pt>
          <cx:pt idx="87830">1</cx:pt>
          <cx:pt idx="87831">1</cx:pt>
          <cx:pt idx="87832">0</cx:pt>
          <cx:pt idx="87833">0</cx:pt>
          <cx:pt idx="87834">1</cx:pt>
          <cx:pt idx="87835">1</cx:pt>
          <cx:pt idx="87836">0</cx:pt>
          <cx:pt idx="87837">0</cx:pt>
          <cx:pt idx="87838">1</cx:pt>
          <cx:pt idx="87839">0</cx:pt>
          <cx:pt idx="87840">0</cx:pt>
          <cx:pt idx="87841">0</cx:pt>
          <cx:pt idx="87842">0</cx:pt>
          <cx:pt idx="87843">1</cx:pt>
          <cx:pt idx="87844">1</cx:pt>
          <cx:pt idx="87845">1</cx:pt>
          <cx:pt idx="87846">0</cx:pt>
          <cx:pt idx="87847">0</cx:pt>
          <cx:pt idx="87848">0</cx:pt>
          <cx:pt idx="87849">0</cx:pt>
          <cx:pt idx="87850">1</cx:pt>
          <cx:pt idx="87851">0</cx:pt>
          <cx:pt idx="87852">0</cx:pt>
          <cx:pt idx="87853">1</cx:pt>
          <cx:pt idx="87854">0</cx:pt>
          <cx:pt idx="87855">0</cx:pt>
          <cx:pt idx="87856">0</cx:pt>
          <cx:pt idx="87857">1</cx:pt>
          <cx:pt idx="87858">1</cx:pt>
          <cx:pt idx="87859">1</cx:pt>
          <cx:pt idx="87860">1</cx:pt>
          <cx:pt idx="87861">1</cx:pt>
          <cx:pt idx="87862">1</cx:pt>
          <cx:pt idx="87863">1</cx:pt>
          <cx:pt idx="87864">0</cx:pt>
          <cx:pt idx="87865">1</cx:pt>
          <cx:pt idx="87866">0</cx:pt>
          <cx:pt idx="87867">1</cx:pt>
          <cx:pt idx="87868">1</cx:pt>
          <cx:pt idx="87869">0</cx:pt>
          <cx:pt idx="87870">0</cx:pt>
          <cx:pt idx="87871">0</cx:pt>
          <cx:pt idx="87872">1</cx:pt>
          <cx:pt idx="87873">1</cx:pt>
          <cx:pt idx="87874">0</cx:pt>
          <cx:pt idx="87875">1</cx:pt>
          <cx:pt idx="87876">0</cx:pt>
          <cx:pt idx="87877">0</cx:pt>
          <cx:pt idx="87878">0</cx:pt>
          <cx:pt idx="87879">1</cx:pt>
          <cx:pt idx="87880">1</cx:pt>
          <cx:pt idx="87881">0</cx:pt>
          <cx:pt idx="87882">1</cx:pt>
          <cx:pt idx="87883">1</cx:pt>
          <cx:pt idx="87884">0</cx:pt>
          <cx:pt idx="87885">0</cx:pt>
          <cx:pt idx="87886">0</cx:pt>
          <cx:pt idx="87887">1</cx:pt>
          <cx:pt idx="87888">1</cx:pt>
          <cx:pt idx="87889">1</cx:pt>
          <cx:pt idx="87890">1</cx:pt>
          <cx:pt idx="87891">0</cx:pt>
          <cx:pt idx="87892">1</cx:pt>
          <cx:pt idx="87893">1</cx:pt>
          <cx:pt idx="87894">0</cx:pt>
          <cx:pt idx="87895">0</cx:pt>
          <cx:pt idx="87896">0</cx:pt>
          <cx:pt idx="87897">1</cx:pt>
          <cx:pt idx="87898">1</cx:pt>
          <cx:pt idx="87899">1</cx:pt>
          <cx:pt idx="87900">0</cx:pt>
          <cx:pt idx="87901">0</cx:pt>
          <cx:pt idx="87902">0</cx:pt>
          <cx:pt idx="87903">0</cx:pt>
          <cx:pt idx="87904">1</cx:pt>
          <cx:pt idx="87905">1</cx:pt>
          <cx:pt idx="87906">1</cx:pt>
          <cx:pt idx="87907">0</cx:pt>
          <cx:pt idx="87908">0</cx:pt>
          <cx:pt idx="87909">0</cx:pt>
          <cx:pt idx="87910">1</cx:pt>
          <cx:pt idx="87911">1</cx:pt>
          <cx:pt idx="87912">0</cx:pt>
          <cx:pt idx="87913">1</cx:pt>
          <cx:pt idx="87914">0</cx:pt>
          <cx:pt idx="87915">1</cx:pt>
          <cx:pt idx="87916">0</cx:pt>
          <cx:pt idx="87917">0</cx:pt>
          <cx:pt idx="87918">0</cx:pt>
          <cx:pt idx="87919">1</cx:pt>
          <cx:pt idx="87920">1</cx:pt>
          <cx:pt idx="87921">1</cx:pt>
          <cx:pt idx="87922">0</cx:pt>
          <cx:pt idx="87923">0</cx:pt>
          <cx:pt idx="87924">0</cx:pt>
          <cx:pt idx="87925">0</cx:pt>
          <cx:pt idx="87926">0</cx:pt>
          <cx:pt idx="87927">1</cx:pt>
          <cx:pt idx="87928">0</cx:pt>
          <cx:pt idx="87929">1</cx:pt>
          <cx:pt idx="87930">0</cx:pt>
          <cx:pt idx="87931">0</cx:pt>
          <cx:pt idx="87932">0</cx:pt>
          <cx:pt idx="87933">1</cx:pt>
          <cx:pt idx="87934">0</cx:pt>
          <cx:pt idx="87935">0</cx:pt>
          <cx:pt idx="87936">1</cx:pt>
          <cx:pt idx="87937">0</cx:pt>
          <cx:pt idx="87938">1</cx:pt>
          <cx:pt idx="87939">0</cx:pt>
          <cx:pt idx="87940">1</cx:pt>
          <cx:pt idx="87941">1</cx:pt>
          <cx:pt idx="87942">0</cx:pt>
          <cx:pt idx="87943">1</cx:pt>
          <cx:pt idx="87944">1</cx:pt>
          <cx:pt idx="87945">1</cx:pt>
          <cx:pt idx="87946">0</cx:pt>
          <cx:pt idx="87947">1</cx:pt>
          <cx:pt idx="87948">1</cx:pt>
          <cx:pt idx="87949">0</cx:pt>
          <cx:pt idx="87950">0</cx:pt>
          <cx:pt idx="87951">0</cx:pt>
          <cx:pt idx="87952">0</cx:pt>
          <cx:pt idx="87953">1</cx:pt>
          <cx:pt idx="87954">0</cx:pt>
          <cx:pt idx="87955">0</cx:pt>
          <cx:pt idx="87956">1</cx:pt>
          <cx:pt idx="87957">1</cx:pt>
          <cx:pt idx="87958">0</cx:pt>
          <cx:pt idx="87959">0</cx:pt>
          <cx:pt idx="87960">0</cx:pt>
          <cx:pt idx="87961">1</cx:pt>
          <cx:pt idx="87962">0</cx:pt>
          <cx:pt idx="87963">1</cx:pt>
          <cx:pt idx="87964">0</cx:pt>
          <cx:pt idx="87965">0</cx:pt>
          <cx:pt idx="87966">0</cx:pt>
          <cx:pt idx="87967">1</cx:pt>
          <cx:pt idx="87968">0</cx:pt>
          <cx:pt idx="87969">0</cx:pt>
          <cx:pt idx="87970">1</cx:pt>
          <cx:pt idx="87971">1</cx:pt>
          <cx:pt idx="87972">1</cx:pt>
          <cx:pt idx="87973">1</cx:pt>
          <cx:pt idx="87974">0</cx:pt>
          <cx:pt idx="87975">1</cx:pt>
          <cx:pt idx="87976">1</cx:pt>
          <cx:pt idx="87977">1</cx:pt>
          <cx:pt idx="87978">1</cx:pt>
          <cx:pt idx="87979">0</cx:pt>
          <cx:pt idx="87980">0</cx:pt>
          <cx:pt idx="87981">0</cx:pt>
          <cx:pt idx="87982">1</cx:pt>
          <cx:pt idx="87983">0</cx:pt>
          <cx:pt idx="87984">1</cx:pt>
          <cx:pt idx="87985">0</cx:pt>
          <cx:pt idx="87986">0</cx:pt>
          <cx:pt idx="87987">0</cx:pt>
          <cx:pt idx="87988">0</cx:pt>
          <cx:pt idx="87989">0</cx:pt>
          <cx:pt idx="87990">0</cx:pt>
          <cx:pt idx="87991">0</cx:pt>
          <cx:pt idx="87992">0</cx:pt>
          <cx:pt idx="87993">1</cx:pt>
          <cx:pt idx="87994">0</cx:pt>
          <cx:pt idx="87995">0</cx:pt>
          <cx:pt idx="87996">0</cx:pt>
          <cx:pt idx="87997">1</cx:pt>
          <cx:pt idx="87998">0</cx:pt>
          <cx:pt idx="87999">0</cx:pt>
          <cx:pt idx="88000">0</cx:pt>
          <cx:pt idx="88001">1</cx:pt>
          <cx:pt idx="88002">1</cx:pt>
          <cx:pt idx="88003">0</cx:pt>
          <cx:pt idx="88004">0</cx:pt>
          <cx:pt idx="88005">0</cx:pt>
          <cx:pt idx="88006">1</cx:pt>
          <cx:pt idx="88007">0</cx:pt>
          <cx:pt idx="88008">0</cx:pt>
          <cx:pt idx="88009">1</cx:pt>
          <cx:pt idx="88010">1</cx:pt>
          <cx:pt idx="88011">0</cx:pt>
          <cx:pt idx="88012">0</cx:pt>
          <cx:pt idx="88013">0</cx:pt>
          <cx:pt idx="88014">1</cx:pt>
          <cx:pt idx="88015">1</cx:pt>
          <cx:pt idx="88016">1</cx:pt>
          <cx:pt idx="88017">1</cx:pt>
          <cx:pt idx="88018">1</cx:pt>
          <cx:pt idx="88019">0</cx:pt>
          <cx:pt idx="88020">0</cx:pt>
          <cx:pt idx="88021">1</cx:pt>
          <cx:pt idx="88022">1</cx:pt>
          <cx:pt idx="88023">0</cx:pt>
          <cx:pt idx="88024">1</cx:pt>
          <cx:pt idx="88025">1</cx:pt>
          <cx:pt idx="88026">0</cx:pt>
          <cx:pt idx="88027">1</cx:pt>
          <cx:pt idx="88028">1</cx:pt>
          <cx:pt idx="88029">1</cx:pt>
          <cx:pt idx="88030">0</cx:pt>
          <cx:pt idx="88031">0</cx:pt>
          <cx:pt idx="88032">1</cx:pt>
          <cx:pt idx="88033">0</cx:pt>
          <cx:pt idx="88034">0</cx:pt>
          <cx:pt idx="88035">0</cx:pt>
          <cx:pt idx="88036">0</cx:pt>
          <cx:pt idx="88037">0</cx:pt>
          <cx:pt idx="88038">0</cx:pt>
          <cx:pt idx="88039">0</cx:pt>
          <cx:pt idx="88040">1</cx:pt>
          <cx:pt idx="88041">1</cx:pt>
          <cx:pt idx="88042">0</cx:pt>
          <cx:pt idx="88043">0</cx:pt>
          <cx:pt idx="88044">0</cx:pt>
          <cx:pt idx="88045">0</cx:pt>
          <cx:pt idx="88046">0</cx:pt>
          <cx:pt idx="88047">1</cx:pt>
          <cx:pt idx="88048">0</cx:pt>
          <cx:pt idx="88049">1</cx:pt>
          <cx:pt idx="88050">0</cx:pt>
          <cx:pt idx="88051">0</cx:pt>
          <cx:pt idx="88052">1</cx:pt>
          <cx:pt idx="88053">0</cx:pt>
          <cx:pt idx="88054">1</cx:pt>
          <cx:pt idx="88055">0</cx:pt>
          <cx:pt idx="88056">1</cx:pt>
          <cx:pt idx="88057">0</cx:pt>
          <cx:pt idx="88058">0</cx:pt>
          <cx:pt idx="88059">0</cx:pt>
          <cx:pt idx="88060">0</cx:pt>
          <cx:pt idx="88061">1</cx:pt>
          <cx:pt idx="88062">0</cx:pt>
          <cx:pt idx="88063">0</cx:pt>
          <cx:pt idx="88064">0</cx:pt>
          <cx:pt idx="88065">0</cx:pt>
          <cx:pt idx="88066">0</cx:pt>
          <cx:pt idx="88067">0</cx:pt>
          <cx:pt idx="88068">1</cx:pt>
          <cx:pt idx="88069">0</cx:pt>
          <cx:pt idx="88070">0</cx:pt>
          <cx:pt idx="88071">0</cx:pt>
          <cx:pt idx="88072">0</cx:pt>
          <cx:pt idx="88073">0</cx:pt>
          <cx:pt idx="88074">1</cx:pt>
          <cx:pt idx="88075">0</cx:pt>
          <cx:pt idx="88076">1</cx:pt>
          <cx:pt idx="88077">1</cx:pt>
          <cx:pt idx="88078">0</cx:pt>
          <cx:pt idx="88079">1</cx:pt>
          <cx:pt idx="88080">0</cx:pt>
          <cx:pt idx="88081">1</cx:pt>
          <cx:pt idx="88082">0</cx:pt>
          <cx:pt idx="88083">0</cx:pt>
          <cx:pt idx="88084">1</cx:pt>
          <cx:pt idx="88085">1</cx:pt>
          <cx:pt idx="88086">0</cx:pt>
          <cx:pt idx="88087">1</cx:pt>
          <cx:pt idx="88088">0</cx:pt>
          <cx:pt idx="88089">0</cx:pt>
          <cx:pt idx="88090">0</cx:pt>
          <cx:pt idx="88091">0</cx:pt>
          <cx:pt idx="88092">1</cx:pt>
          <cx:pt idx="88093">1</cx:pt>
          <cx:pt idx="88094">1</cx:pt>
          <cx:pt idx="88095">0</cx:pt>
          <cx:pt idx="88096">1</cx:pt>
          <cx:pt idx="88097">0</cx:pt>
          <cx:pt idx="88098">1</cx:pt>
          <cx:pt idx="88099">1</cx:pt>
          <cx:pt idx="88100">1</cx:pt>
          <cx:pt idx="88101">0</cx:pt>
          <cx:pt idx="88102">0</cx:pt>
          <cx:pt idx="88103">0</cx:pt>
          <cx:pt idx="88104">0</cx:pt>
          <cx:pt idx="88105">1</cx:pt>
          <cx:pt idx="88106">1</cx:pt>
          <cx:pt idx="88107">0</cx:pt>
          <cx:pt idx="88108">1</cx:pt>
          <cx:pt idx="88109">0</cx:pt>
          <cx:pt idx="88110">0</cx:pt>
          <cx:pt idx="88111">0</cx:pt>
          <cx:pt idx="88112">0</cx:pt>
          <cx:pt idx="88113">0</cx:pt>
          <cx:pt idx="88114">0</cx:pt>
          <cx:pt idx="88115">0</cx:pt>
          <cx:pt idx="88116">0</cx:pt>
          <cx:pt idx="88117">0</cx:pt>
          <cx:pt idx="88118">0</cx:pt>
          <cx:pt idx="88119">0</cx:pt>
          <cx:pt idx="88120">0</cx:pt>
          <cx:pt idx="88121">0</cx:pt>
          <cx:pt idx="88122">0</cx:pt>
          <cx:pt idx="88123">1</cx:pt>
          <cx:pt idx="88124">0</cx:pt>
          <cx:pt idx="88125">0</cx:pt>
          <cx:pt idx="88126">1</cx:pt>
          <cx:pt idx="88127">0</cx:pt>
          <cx:pt idx="88128">1</cx:pt>
          <cx:pt idx="88129">1</cx:pt>
          <cx:pt idx="88130">1</cx:pt>
          <cx:pt idx="88131">0</cx:pt>
          <cx:pt idx="88132">0</cx:pt>
          <cx:pt idx="88133">1</cx:pt>
          <cx:pt idx="88134">0</cx:pt>
          <cx:pt idx="88135">0</cx:pt>
          <cx:pt idx="88136">0</cx:pt>
          <cx:pt idx="88137">1</cx:pt>
          <cx:pt idx="88138">1</cx:pt>
          <cx:pt idx="88139">0</cx:pt>
          <cx:pt idx="88140">0</cx:pt>
          <cx:pt idx="88141">1</cx:pt>
          <cx:pt idx="88142">0</cx:pt>
          <cx:pt idx="88143">0</cx:pt>
          <cx:pt idx="88144">1</cx:pt>
          <cx:pt idx="88145">0</cx:pt>
          <cx:pt idx="88146">1</cx:pt>
          <cx:pt idx="88147">1</cx:pt>
          <cx:pt idx="88148">1</cx:pt>
          <cx:pt idx="88149">0</cx:pt>
          <cx:pt idx="88150">0</cx:pt>
          <cx:pt idx="88151">1</cx:pt>
          <cx:pt idx="88152">0</cx:pt>
          <cx:pt idx="88153">1</cx:pt>
          <cx:pt idx="88154">1</cx:pt>
          <cx:pt idx="88155">1</cx:pt>
          <cx:pt idx="88156">0</cx:pt>
          <cx:pt idx="88157">0</cx:pt>
          <cx:pt idx="88158">1</cx:pt>
          <cx:pt idx="88159">0</cx:pt>
          <cx:pt idx="88160">0</cx:pt>
          <cx:pt idx="88161">0</cx:pt>
          <cx:pt idx="88162">0</cx:pt>
          <cx:pt idx="88163">0</cx:pt>
          <cx:pt idx="88164">0</cx:pt>
          <cx:pt idx="88165">1</cx:pt>
          <cx:pt idx="88166">0</cx:pt>
          <cx:pt idx="88167">1</cx:pt>
          <cx:pt idx="88168">1</cx:pt>
          <cx:pt idx="88169">1</cx:pt>
          <cx:pt idx="88170">0</cx:pt>
          <cx:pt idx="88171">1</cx:pt>
          <cx:pt idx="88172">1</cx:pt>
          <cx:pt idx="88173">0</cx:pt>
          <cx:pt idx="88174">0</cx:pt>
          <cx:pt idx="88175">0</cx:pt>
          <cx:pt idx="88176">1</cx:pt>
          <cx:pt idx="88177">0</cx:pt>
          <cx:pt idx="88178">0</cx:pt>
          <cx:pt idx="88179">0</cx:pt>
          <cx:pt idx="88180">1</cx:pt>
          <cx:pt idx="88181">1</cx:pt>
          <cx:pt idx="88182">1</cx:pt>
          <cx:pt idx="88183">0</cx:pt>
          <cx:pt idx="88184">0</cx:pt>
          <cx:pt idx="88185">1</cx:pt>
          <cx:pt idx="88186">0</cx:pt>
          <cx:pt idx="88187">1</cx:pt>
          <cx:pt idx="88188">0</cx:pt>
          <cx:pt idx="88189">0</cx:pt>
          <cx:pt idx="88190">1</cx:pt>
          <cx:pt idx="88191">0</cx:pt>
          <cx:pt idx="88192">0</cx:pt>
          <cx:pt idx="88193">1</cx:pt>
          <cx:pt idx="88194">0</cx:pt>
          <cx:pt idx="88195">1</cx:pt>
          <cx:pt idx="88196">0</cx:pt>
          <cx:pt idx="88197">1</cx:pt>
          <cx:pt idx="88198">0</cx:pt>
          <cx:pt idx="88199">0</cx:pt>
          <cx:pt idx="88200">0</cx:pt>
          <cx:pt idx="88201">1</cx:pt>
          <cx:pt idx="88202">0</cx:pt>
          <cx:pt idx="88203">1</cx:pt>
          <cx:pt idx="88204">0</cx:pt>
          <cx:pt idx="88205">1</cx:pt>
          <cx:pt idx="88206">0</cx:pt>
          <cx:pt idx="88207">0</cx:pt>
          <cx:pt idx="88208">0</cx:pt>
          <cx:pt idx="88209">1</cx:pt>
          <cx:pt idx="88210">1</cx:pt>
          <cx:pt idx="88211">0</cx:pt>
          <cx:pt idx="88212">0</cx:pt>
          <cx:pt idx="88213">1</cx:pt>
          <cx:pt idx="88214">1</cx:pt>
          <cx:pt idx="88215">1</cx:pt>
          <cx:pt idx="88216">0</cx:pt>
          <cx:pt idx="88217">1</cx:pt>
          <cx:pt idx="88218">0</cx:pt>
          <cx:pt idx="88219">0</cx:pt>
          <cx:pt idx="88220">1</cx:pt>
          <cx:pt idx="88221">1</cx:pt>
          <cx:pt idx="88222">0</cx:pt>
          <cx:pt idx="88223">0</cx:pt>
          <cx:pt idx="88224">0</cx:pt>
          <cx:pt idx="88225">0</cx:pt>
          <cx:pt idx="88226">0</cx:pt>
          <cx:pt idx="88227">1</cx:pt>
          <cx:pt idx="88228">1</cx:pt>
          <cx:pt idx="88229">0</cx:pt>
          <cx:pt idx="88230">1</cx:pt>
          <cx:pt idx="88231">1</cx:pt>
          <cx:pt idx="88232">0</cx:pt>
          <cx:pt idx="88233">0</cx:pt>
          <cx:pt idx="88234">0</cx:pt>
          <cx:pt idx="88235">1</cx:pt>
          <cx:pt idx="88236">0</cx:pt>
          <cx:pt idx="88237">0</cx:pt>
          <cx:pt idx="88238">0</cx:pt>
          <cx:pt idx="88239">0</cx:pt>
          <cx:pt idx="88240">0</cx:pt>
          <cx:pt idx="88241">0</cx:pt>
          <cx:pt idx="88242">0</cx:pt>
          <cx:pt idx="88243">0</cx:pt>
          <cx:pt idx="88244">0</cx:pt>
          <cx:pt idx="88245">0</cx:pt>
          <cx:pt idx="88246">1</cx:pt>
          <cx:pt idx="88247">1</cx:pt>
          <cx:pt idx="88248">1</cx:pt>
          <cx:pt idx="88249">0</cx:pt>
          <cx:pt idx="88250">0</cx:pt>
          <cx:pt idx="88251">1</cx:pt>
          <cx:pt idx="88252">0</cx:pt>
          <cx:pt idx="88253">1</cx:pt>
          <cx:pt idx="88254">0</cx:pt>
          <cx:pt idx="88255">1</cx:pt>
          <cx:pt idx="88256">0</cx:pt>
          <cx:pt idx="88257">0</cx:pt>
          <cx:pt idx="88258">1</cx:pt>
          <cx:pt idx="88259">1</cx:pt>
          <cx:pt idx="88260">1</cx:pt>
          <cx:pt idx="88261">0</cx:pt>
          <cx:pt idx="88262">1</cx:pt>
          <cx:pt idx="88263">0</cx:pt>
          <cx:pt idx="88264">1</cx:pt>
          <cx:pt idx="88265">1</cx:pt>
          <cx:pt idx="88266">0</cx:pt>
          <cx:pt idx="88267">0</cx:pt>
          <cx:pt idx="88268">1</cx:pt>
          <cx:pt idx="88269">1</cx:pt>
          <cx:pt idx="88270">0</cx:pt>
          <cx:pt idx="88271">0</cx:pt>
          <cx:pt idx="88272">0</cx:pt>
          <cx:pt idx="88273">0</cx:pt>
          <cx:pt idx="88274">0</cx:pt>
          <cx:pt idx="88275">1</cx:pt>
          <cx:pt idx="88276">1</cx:pt>
          <cx:pt idx="88277">1</cx:pt>
          <cx:pt idx="88278">1</cx:pt>
          <cx:pt idx="88279">1</cx:pt>
          <cx:pt idx="88280">1</cx:pt>
          <cx:pt idx="88281">0</cx:pt>
          <cx:pt idx="88282">0</cx:pt>
          <cx:pt idx="88283">1</cx:pt>
          <cx:pt idx="88284">0</cx:pt>
          <cx:pt idx="88285">1</cx:pt>
          <cx:pt idx="88286">1</cx:pt>
          <cx:pt idx="88287">1</cx:pt>
          <cx:pt idx="88288">0</cx:pt>
          <cx:pt idx="88289">1</cx:pt>
          <cx:pt idx="88290">0</cx:pt>
          <cx:pt idx="88291">0</cx:pt>
          <cx:pt idx="88292">0</cx:pt>
          <cx:pt idx="88293">1</cx:pt>
          <cx:pt idx="88294">0</cx:pt>
          <cx:pt idx="88295">0</cx:pt>
          <cx:pt idx="88296">1</cx:pt>
          <cx:pt idx="88297">1</cx:pt>
          <cx:pt idx="88298">0</cx:pt>
          <cx:pt idx="88299">1</cx:pt>
          <cx:pt idx="88300">1</cx:pt>
          <cx:pt idx="88301">0</cx:pt>
          <cx:pt idx="88302">1</cx:pt>
          <cx:pt idx="88303">1</cx:pt>
          <cx:pt idx="88304">1</cx:pt>
          <cx:pt idx="88305">0</cx:pt>
          <cx:pt idx="88306">0</cx:pt>
          <cx:pt idx="88307">0</cx:pt>
          <cx:pt idx="88308">0</cx:pt>
          <cx:pt idx="88309">1</cx:pt>
          <cx:pt idx="88310">1</cx:pt>
          <cx:pt idx="88311">1</cx:pt>
          <cx:pt idx="88312">0</cx:pt>
          <cx:pt idx="88313">0</cx:pt>
          <cx:pt idx="88314">1</cx:pt>
          <cx:pt idx="88315">1</cx:pt>
          <cx:pt idx="88316">0</cx:pt>
          <cx:pt idx="88317">0</cx:pt>
          <cx:pt idx="88318">1</cx:pt>
          <cx:pt idx="88319">0</cx:pt>
          <cx:pt idx="88320">1</cx:pt>
          <cx:pt idx="88321">1</cx:pt>
          <cx:pt idx="88322">1</cx:pt>
          <cx:pt idx="88323">1</cx:pt>
          <cx:pt idx="88324">0</cx:pt>
          <cx:pt idx="88325">1</cx:pt>
          <cx:pt idx="88326">1</cx:pt>
          <cx:pt idx="88327">0</cx:pt>
          <cx:pt idx="88328">0</cx:pt>
          <cx:pt idx="88329">1</cx:pt>
          <cx:pt idx="88330">1</cx:pt>
          <cx:pt idx="88331">1</cx:pt>
          <cx:pt idx="88332">1</cx:pt>
          <cx:pt idx="88333">0</cx:pt>
          <cx:pt idx="88334">0</cx:pt>
          <cx:pt idx="88335">1</cx:pt>
          <cx:pt idx="88336">0</cx:pt>
          <cx:pt idx="88337">1</cx:pt>
          <cx:pt idx="88338">1</cx:pt>
          <cx:pt idx="88339">0</cx:pt>
          <cx:pt idx="88340">1</cx:pt>
          <cx:pt idx="88341">1</cx:pt>
          <cx:pt idx="88342">1</cx:pt>
          <cx:pt idx="88343">0</cx:pt>
          <cx:pt idx="88344">0</cx:pt>
          <cx:pt idx="88345">0</cx:pt>
          <cx:pt idx="88346">1</cx:pt>
          <cx:pt idx="88347">1</cx:pt>
          <cx:pt idx="88348">0</cx:pt>
          <cx:pt idx="88349">0</cx:pt>
          <cx:pt idx="88350">0</cx:pt>
          <cx:pt idx="88351">0</cx:pt>
          <cx:pt idx="88352">0</cx:pt>
          <cx:pt idx="88353">0</cx:pt>
          <cx:pt idx="88354">0</cx:pt>
          <cx:pt idx="88355">1</cx:pt>
          <cx:pt idx="88356">0</cx:pt>
          <cx:pt idx="88357">1</cx:pt>
          <cx:pt idx="88358">1</cx:pt>
          <cx:pt idx="88359">0</cx:pt>
          <cx:pt idx="88360">1</cx:pt>
          <cx:pt idx="88361">1</cx:pt>
          <cx:pt idx="88362">0</cx:pt>
          <cx:pt idx="88363">1</cx:pt>
          <cx:pt idx="88364">0</cx:pt>
          <cx:pt idx="88365">1</cx:pt>
          <cx:pt idx="88366">1</cx:pt>
          <cx:pt idx="88367">0</cx:pt>
          <cx:pt idx="88368">0</cx:pt>
          <cx:pt idx="88369">1</cx:pt>
          <cx:pt idx="88370">0</cx:pt>
          <cx:pt idx="88371">1</cx:pt>
          <cx:pt idx="88372">1</cx:pt>
          <cx:pt idx="88373">1</cx:pt>
          <cx:pt idx="88374">0</cx:pt>
          <cx:pt idx="88375">1</cx:pt>
          <cx:pt idx="88376">0</cx:pt>
          <cx:pt idx="88377">0</cx:pt>
          <cx:pt idx="88378">1</cx:pt>
          <cx:pt idx="88379">0</cx:pt>
          <cx:pt idx="88380">1</cx:pt>
          <cx:pt idx="88381">0</cx:pt>
          <cx:pt idx="88382">0</cx:pt>
          <cx:pt idx="88383">0</cx:pt>
          <cx:pt idx="88384">0</cx:pt>
          <cx:pt idx="88385">1</cx:pt>
          <cx:pt idx="88386">1</cx:pt>
          <cx:pt idx="88387">0</cx:pt>
          <cx:pt idx="88388">0</cx:pt>
          <cx:pt idx="88389">0</cx:pt>
          <cx:pt idx="88390">1</cx:pt>
          <cx:pt idx="88391">1</cx:pt>
          <cx:pt idx="88392">0</cx:pt>
          <cx:pt idx="88393">0</cx:pt>
          <cx:pt idx="88394">0</cx:pt>
          <cx:pt idx="88395">0</cx:pt>
          <cx:pt idx="88396">0</cx:pt>
          <cx:pt idx="88397">0</cx:pt>
          <cx:pt idx="88398">0</cx:pt>
          <cx:pt idx="88399">1</cx:pt>
          <cx:pt idx="88400">1</cx:pt>
          <cx:pt idx="88401">0</cx:pt>
          <cx:pt idx="88402">0</cx:pt>
          <cx:pt idx="88403">0</cx:pt>
          <cx:pt idx="88404">1</cx:pt>
          <cx:pt idx="88405">0</cx:pt>
          <cx:pt idx="88406">1</cx:pt>
          <cx:pt idx="88407">1</cx:pt>
          <cx:pt idx="88408">0</cx:pt>
          <cx:pt idx="88409">1</cx:pt>
          <cx:pt idx="88410">0</cx:pt>
          <cx:pt idx="88411">1</cx:pt>
          <cx:pt idx="88412">0</cx:pt>
          <cx:pt idx="88413">0</cx:pt>
          <cx:pt idx="88414">0</cx:pt>
          <cx:pt idx="88415">1</cx:pt>
          <cx:pt idx="88416">0</cx:pt>
          <cx:pt idx="88417">0</cx:pt>
          <cx:pt idx="88418">1</cx:pt>
          <cx:pt idx="88419">0</cx:pt>
          <cx:pt idx="88420">1</cx:pt>
          <cx:pt idx="88421">0</cx:pt>
          <cx:pt idx="88422">1</cx:pt>
          <cx:pt idx="88423">1</cx:pt>
          <cx:pt idx="88424">0</cx:pt>
          <cx:pt idx="88425">1</cx:pt>
          <cx:pt idx="88426">0</cx:pt>
          <cx:pt idx="88427">1</cx:pt>
          <cx:pt idx="88428">1</cx:pt>
          <cx:pt idx="88429">0</cx:pt>
          <cx:pt idx="88430">0</cx:pt>
          <cx:pt idx="88431">1</cx:pt>
          <cx:pt idx="88432">0</cx:pt>
          <cx:pt idx="88433">1</cx:pt>
          <cx:pt idx="88434">0</cx:pt>
          <cx:pt idx="88435">0</cx:pt>
          <cx:pt idx="88436">0</cx:pt>
          <cx:pt idx="88437">1</cx:pt>
          <cx:pt idx="88438">0</cx:pt>
          <cx:pt idx="88439">0</cx:pt>
          <cx:pt idx="88440">1</cx:pt>
          <cx:pt idx="88441">1</cx:pt>
          <cx:pt idx="88442">1</cx:pt>
          <cx:pt idx="88443">0</cx:pt>
          <cx:pt idx="88444">1</cx:pt>
          <cx:pt idx="88445">1</cx:pt>
          <cx:pt idx="88446">1</cx:pt>
          <cx:pt idx="88447">0</cx:pt>
          <cx:pt idx="88448">1</cx:pt>
          <cx:pt idx="88449">0</cx:pt>
          <cx:pt idx="88450">1</cx:pt>
          <cx:pt idx="88451">0</cx:pt>
          <cx:pt idx="88452">0</cx:pt>
          <cx:pt idx="88453">0</cx:pt>
          <cx:pt idx="88454">0</cx:pt>
          <cx:pt idx="88455">0</cx:pt>
          <cx:pt idx="88456">0</cx:pt>
          <cx:pt idx="88457">0</cx:pt>
          <cx:pt idx="88458">0</cx:pt>
          <cx:pt idx="88459">0</cx:pt>
          <cx:pt idx="88460">0</cx:pt>
          <cx:pt idx="88461">0</cx:pt>
          <cx:pt idx="88462">0</cx:pt>
          <cx:pt idx="88463">1</cx:pt>
          <cx:pt idx="88464">0</cx:pt>
          <cx:pt idx="88465">0</cx:pt>
          <cx:pt idx="88466">1</cx:pt>
          <cx:pt idx="88467">1</cx:pt>
          <cx:pt idx="88468">1</cx:pt>
          <cx:pt idx="88469">0</cx:pt>
          <cx:pt idx="88470">0</cx:pt>
          <cx:pt idx="88471">1</cx:pt>
          <cx:pt idx="88472">1</cx:pt>
          <cx:pt idx="88473">0</cx:pt>
          <cx:pt idx="88474">0</cx:pt>
          <cx:pt idx="88475">1</cx:pt>
          <cx:pt idx="88476">0</cx:pt>
          <cx:pt idx="88477">0</cx:pt>
          <cx:pt idx="88478">1</cx:pt>
          <cx:pt idx="88479">1</cx:pt>
          <cx:pt idx="88480">0</cx:pt>
          <cx:pt idx="88481">0</cx:pt>
          <cx:pt idx="88482">0</cx:pt>
          <cx:pt idx="88483">1</cx:pt>
          <cx:pt idx="88484">1</cx:pt>
          <cx:pt idx="88485">1</cx:pt>
          <cx:pt idx="88486">1</cx:pt>
          <cx:pt idx="88487">0</cx:pt>
          <cx:pt idx="88488">0</cx:pt>
          <cx:pt idx="88489">1</cx:pt>
          <cx:pt idx="88490">1</cx:pt>
          <cx:pt idx="88491">0</cx:pt>
          <cx:pt idx="88492">0</cx:pt>
          <cx:pt idx="88493">1</cx:pt>
          <cx:pt idx="88494">0</cx:pt>
          <cx:pt idx="88495">0</cx:pt>
          <cx:pt idx="88496">0</cx:pt>
          <cx:pt idx="88497">1</cx:pt>
          <cx:pt idx="88498">0</cx:pt>
          <cx:pt idx="88499">1</cx:pt>
          <cx:pt idx="88500">1</cx:pt>
          <cx:pt idx="88501">1</cx:pt>
          <cx:pt idx="88502">0</cx:pt>
          <cx:pt idx="88503">1</cx:pt>
          <cx:pt idx="88504">0</cx:pt>
          <cx:pt idx="88505">1</cx:pt>
          <cx:pt idx="88506">0</cx:pt>
          <cx:pt idx="88507">0</cx:pt>
          <cx:pt idx="88508">1</cx:pt>
          <cx:pt idx="88509">1</cx:pt>
          <cx:pt idx="88510">1</cx:pt>
          <cx:pt idx="88511">0</cx:pt>
          <cx:pt idx="88512">0</cx:pt>
          <cx:pt idx="88513">0</cx:pt>
          <cx:pt idx="88514">0</cx:pt>
          <cx:pt idx="88515">0</cx:pt>
          <cx:pt idx="88516">0</cx:pt>
          <cx:pt idx="88517">0</cx:pt>
          <cx:pt idx="88518">1</cx:pt>
          <cx:pt idx="88519">0</cx:pt>
          <cx:pt idx="88520">1</cx:pt>
          <cx:pt idx="88521">1</cx:pt>
          <cx:pt idx="88522">0</cx:pt>
          <cx:pt idx="88523">1</cx:pt>
          <cx:pt idx="88524">1</cx:pt>
          <cx:pt idx="88525">1</cx:pt>
          <cx:pt idx="88526">1</cx:pt>
          <cx:pt idx="88527">1</cx:pt>
          <cx:pt idx="88528">1</cx:pt>
          <cx:pt idx="88529">0</cx:pt>
          <cx:pt idx="88530">0</cx:pt>
          <cx:pt idx="88531">0</cx:pt>
          <cx:pt idx="88532">1</cx:pt>
          <cx:pt idx="88533">0</cx:pt>
          <cx:pt idx="88534">0</cx:pt>
          <cx:pt idx="88535">1</cx:pt>
          <cx:pt idx="88536">1</cx:pt>
          <cx:pt idx="88537">0</cx:pt>
          <cx:pt idx="88538">1</cx:pt>
          <cx:pt idx="88539">0</cx:pt>
          <cx:pt idx="88540">0</cx:pt>
          <cx:pt idx="88541">0</cx:pt>
          <cx:pt idx="88542">0</cx:pt>
          <cx:pt idx="88543">1</cx:pt>
          <cx:pt idx="88544">1</cx:pt>
          <cx:pt idx="88545">0</cx:pt>
          <cx:pt idx="88546">1</cx:pt>
          <cx:pt idx="88547">0</cx:pt>
          <cx:pt idx="88548">1</cx:pt>
          <cx:pt idx="88549">1</cx:pt>
          <cx:pt idx="88550">1</cx:pt>
          <cx:pt idx="88551">1</cx:pt>
          <cx:pt idx="88552">1</cx:pt>
          <cx:pt idx="88553">0</cx:pt>
          <cx:pt idx="88554">1</cx:pt>
          <cx:pt idx="88555">1</cx:pt>
          <cx:pt idx="88556">0</cx:pt>
          <cx:pt idx="88557">1</cx:pt>
          <cx:pt idx="88558">1</cx:pt>
          <cx:pt idx="88559">0</cx:pt>
          <cx:pt idx="88560">1</cx:pt>
          <cx:pt idx="88561">0</cx:pt>
          <cx:pt idx="88562">1</cx:pt>
          <cx:pt idx="88563">1</cx:pt>
          <cx:pt idx="88564">1</cx:pt>
          <cx:pt idx="88565">0</cx:pt>
          <cx:pt idx="88566">0</cx:pt>
          <cx:pt idx="88567">0</cx:pt>
          <cx:pt idx="88568">0</cx:pt>
          <cx:pt idx="88569">1</cx:pt>
          <cx:pt idx="88570">1</cx:pt>
          <cx:pt idx="88571">0</cx:pt>
          <cx:pt idx="88572">0</cx:pt>
          <cx:pt idx="88573">0</cx:pt>
          <cx:pt idx="88574">1</cx:pt>
          <cx:pt idx="88575">1</cx:pt>
          <cx:pt idx="88576">0</cx:pt>
          <cx:pt idx="88577">1</cx:pt>
          <cx:pt idx="88578">1</cx:pt>
          <cx:pt idx="88579">0</cx:pt>
          <cx:pt idx="88580">1</cx:pt>
          <cx:pt idx="88581">0</cx:pt>
          <cx:pt idx="88582">0</cx:pt>
          <cx:pt idx="88583">0</cx:pt>
          <cx:pt idx="88584">1</cx:pt>
          <cx:pt idx="88585">0</cx:pt>
          <cx:pt idx="88586">0</cx:pt>
          <cx:pt idx="88587">0</cx:pt>
          <cx:pt idx="88588">1</cx:pt>
          <cx:pt idx="88589">1</cx:pt>
          <cx:pt idx="88590">0</cx:pt>
          <cx:pt idx="88591">0</cx:pt>
          <cx:pt idx="88592">0</cx:pt>
          <cx:pt idx="88593">0</cx:pt>
          <cx:pt idx="88594">1</cx:pt>
          <cx:pt idx="88595">0</cx:pt>
          <cx:pt idx="88596">1</cx:pt>
          <cx:pt idx="88597">0</cx:pt>
          <cx:pt idx="88598">0</cx:pt>
          <cx:pt idx="88599">1</cx:pt>
          <cx:pt idx="88600">0</cx:pt>
          <cx:pt idx="88601">0</cx:pt>
          <cx:pt idx="88602">1</cx:pt>
          <cx:pt idx="88603">0</cx:pt>
          <cx:pt idx="88604">1</cx:pt>
          <cx:pt idx="88605">0</cx:pt>
          <cx:pt idx="88606">1</cx:pt>
          <cx:pt idx="88607">0</cx:pt>
          <cx:pt idx="88608">0</cx:pt>
          <cx:pt idx="88609">0</cx:pt>
          <cx:pt idx="88610">0</cx:pt>
          <cx:pt idx="88611">0</cx:pt>
          <cx:pt idx="88612">1</cx:pt>
          <cx:pt idx="88613">0</cx:pt>
          <cx:pt idx="88614">1</cx:pt>
          <cx:pt idx="88615">1</cx:pt>
          <cx:pt idx="88616">0</cx:pt>
          <cx:pt idx="88617">1</cx:pt>
          <cx:pt idx="88618">0</cx:pt>
          <cx:pt idx="88619">0</cx:pt>
          <cx:pt idx="88620">1</cx:pt>
          <cx:pt idx="88621">1</cx:pt>
          <cx:pt idx="88622">0</cx:pt>
          <cx:pt idx="88623">1</cx:pt>
          <cx:pt idx="88624">0</cx:pt>
          <cx:pt idx="88625">1</cx:pt>
          <cx:pt idx="88626">1</cx:pt>
          <cx:pt idx="88627">1</cx:pt>
          <cx:pt idx="88628">1</cx:pt>
          <cx:pt idx="88629">1</cx:pt>
          <cx:pt idx="88630">1</cx:pt>
          <cx:pt idx="88631">0</cx:pt>
          <cx:pt idx="88632">1</cx:pt>
          <cx:pt idx="88633">1</cx:pt>
          <cx:pt idx="88634">1</cx:pt>
          <cx:pt idx="88635">1</cx:pt>
          <cx:pt idx="88636">0</cx:pt>
          <cx:pt idx="88637">1</cx:pt>
          <cx:pt idx="88638">0</cx:pt>
          <cx:pt idx="88639">0</cx:pt>
          <cx:pt idx="88640">0</cx:pt>
          <cx:pt idx="88641">1</cx:pt>
          <cx:pt idx="88642">1</cx:pt>
          <cx:pt idx="88643">0</cx:pt>
          <cx:pt idx="88644">1</cx:pt>
          <cx:pt idx="88645">0</cx:pt>
          <cx:pt idx="88646">1</cx:pt>
          <cx:pt idx="88647">1</cx:pt>
          <cx:pt idx="88648">0</cx:pt>
          <cx:pt idx="88649">1</cx:pt>
          <cx:pt idx="88650">1</cx:pt>
          <cx:pt idx="88651">1</cx:pt>
          <cx:pt idx="88652">0</cx:pt>
          <cx:pt idx="88653">1</cx:pt>
          <cx:pt idx="88654">0</cx:pt>
          <cx:pt idx="88655">0</cx:pt>
          <cx:pt idx="88656">0</cx:pt>
          <cx:pt idx="88657">0</cx:pt>
          <cx:pt idx="88658">1</cx:pt>
          <cx:pt idx="88659">1</cx:pt>
          <cx:pt idx="88660">0</cx:pt>
          <cx:pt idx="88661">0</cx:pt>
          <cx:pt idx="88662">1</cx:pt>
          <cx:pt idx="88663">0</cx:pt>
          <cx:pt idx="88664">0</cx:pt>
          <cx:pt idx="88665">1</cx:pt>
          <cx:pt idx="88666">0</cx:pt>
          <cx:pt idx="88667">0</cx:pt>
          <cx:pt idx="88668">1</cx:pt>
          <cx:pt idx="88669">0</cx:pt>
          <cx:pt idx="88670">0</cx:pt>
          <cx:pt idx="88671">0</cx:pt>
          <cx:pt idx="88672">0</cx:pt>
          <cx:pt idx="88673">1</cx:pt>
          <cx:pt idx="88674">0</cx:pt>
          <cx:pt idx="88675">0</cx:pt>
          <cx:pt idx="88676">1</cx:pt>
          <cx:pt idx="88677">0</cx:pt>
          <cx:pt idx="88678">0</cx:pt>
          <cx:pt idx="88679">1</cx:pt>
          <cx:pt idx="88680">1</cx:pt>
          <cx:pt idx="88681">0</cx:pt>
          <cx:pt idx="88682">0</cx:pt>
          <cx:pt idx="88683">1</cx:pt>
          <cx:pt idx="88684">1</cx:pt>
          <cx:pt idx="88685">1</cx:pt>
          <cx:pt idx="88686">1</cx:pt>
          <cx:pt idx="88687">1</cx:pt>
          <cx:pt idx="88688">1</cx:pt>
          <cx:pt idx="88689">0</cx:pt>
          <cx:pt idx="88690">0</cx:pt>
          <cx:pt idx="88691">1</cx:pt>
          <cx:pt idx="88692">0</cx:pt>
          <cx:pt idx="88693">0</cx:pt>
          <cx:pt idx="88694">0</cx:pt>
          <cx:pt idx="88695">1</cx:pt>
          <cx:pt idx="88696">0</cx:pt>
          <cx:pt idx="88697">0</cx:pt>
          <cx:pt idx="88698">0</cx:pt>
          <cx:pt idx="88699">1</cx:pt>
          <cx:pt idx="88700">1</cx:pt>
          <cx:pt idx="88701">1</cx:pt>
          <cx:pt idx="88702">1</cx:pt>
          <cx:pt idx="88703">1</cx:pt>
          <cx:pt idx="88704">1</cx:pt>
          <cx:pt idx="88705">0</cx:pt>
          <cx:pt idx="88706">0</cx:pt>
          <cx:pt idx="88707">0</cx:pt>
          <cx:pt idx="88708">0</cx:pt>
          <cx:pt idx="88709">0</cx:pt>
          <cx:pt idx="88710">0</cx:pt>
          <cx:pt idx="88711">0</cx:pt>
          <cx:pt idx="88712">1</cx:pt>
          <cx:pt idx="88713">1</cx:pt>
          <cx:pt idx="88714">0</cx:pt>
          <cx:pt idx="88715">1</cx:pt>
          <cx:pt idx="88716">1</cx:pt>
          <cx:pt idx="88717">1</cx:pt>
          <cx:pt idx="88718">0</cx:pt>
          <cx:pt idx="88719">0</cx:pt>
          <cx:pt idx="88720">0</cx:pt>
          <cx:pt idx="88721">0</cx:pt>
          <cx:pt idx="88722">0</cx:pt>
          <cx:pt idx="88723">1</cx:pt>
          <cx:pt idx="88724">1</cx:pt>
          <cx:pt idx="88725">0</cx:pt>
          <cx:pt idx="88726">1</cx:pt>
          <cx:pt idx="88727">1</cx:pt>
          <cx:pt idx="88728">0</cx:pt>
          <cx:pt idx="88729">0</cx:pt>
          <cx:pt idx="88730">1</cx:pt>
          <cx:pt idx="88731">0</cx:pt>
          <cx:pt idx="88732">1</cx:pt>
          <cx:pt idx="88733">0</cx:pt>
          <cx:pt idx="88734">0</cx:pt>
          <cx:pt idx="88735">0</cx:pt>
          <cx:pt idx="88736">1</cx:pt>
          <cx:pt idx="88737">1</cx:pt>
          <cx:pt idx="88738">1</cx:pt>
          <cx:pt idx="88739">1</cx:pt>
          <cx:pt idx="88740">0</cx:pt>
          <cx:pt idx="88741">1</cx:pt>
          <cx:pt idx="88742">1</cx:pt>
          <cx:pt idx="88743">1</cx:pt>
          <cx:pt idx="88744">1</cx:pt>
          <cx:pt idx="88745">0</cx:pt>
          <cx:pt idx="88746">0</cx:pt>
          <cx:pt idx="88747">0</cx:pt>
          <cx:pt idx="88748">0</cx:pt>
          <cx:pt idx="88749">0</cx:pt>
          <cx:pt idx="88750">1</cx:pt>
          <cx:pt idx="88751">1</cx:pt>
          <cx:pt idx="88752">0</cx:pt>
          <cx:pt idx="88753">0</cx:pt>
          <cx:pt idx="88754">1</cx:pt>
          <cx:pt idx="88755">0</cx:pt>
          <cx:pt idx="88756">0</cx:pt>
          <cx:pt idx="88757">0</cx:pt>
          <cx:pt idx="88758">1</cx:pt>
          <cx:pt idx="88759">1</cx:pt>
          <cx:pt idx="88760">0</cx:pt>
          <cx:pt idx="88761">0</cx:pt>
          <cx:pt idx="88762">1</cx:pt>
          <cx:pt idx="88763">1</cx:pt>
          <cx:pt idx="88764">0</cx:pt>
          <cx:pt idx="88765">0</cx:pt>
          <cx:pt idx="88766">0</cx:pt>
          <cx:pt idx="88767">0</cx:pt>
          <cx:pt idx="88768">0</cx:pt>
          <cx:pt idx="88769">0</cx:pt>
          <cx:pt idx="88770">1</cx:pt>
          <cx:pt idx="88771">0</cx:pt>
          <cx:pt idx="88772">1</cx:pt>
          <cx:pt idx="88773">0</cx:pt>
          <cx:pt idx="88774">1</cx:pt>
          <cx:pt idx="88775">1</cx:pt>
          <cx:pt idx="88776">0</cx:pt>
          <cx:pt idx="88777">0</cx:pt>
          <cx:pt idx="88778">0</cx:pt>
          <cx:pt idx="88779">0</cx:pt>
          <cx:pt idx="88780">1</cx:pt>
          <cx:pt idx="88781">1</cx:pt>
          <cx:pt idx="88782">1</cx:pt>
          <cx:pt idx="88783">0</cx:pt>
          <cx:pt idx="88784">1</cx:pt>
          <cx:pt idx="88785">0</cx:pt>
          <cx:pt idx="88786">1</cx:pt>
          <cx:pt idx="88787">1</cx:pt>
          <cx:pt idx="88788">1</cx:pt>
          <cx:pt idx="88789">0</cx:pt>
          <cx:pt idx="88790">1</cx:pt>
          <cx:pt idx="88791">0</cx:pt>
          <cx:pt idx="88792">1</cx:pt>
          <cx:pt idx="88793">1</cx:pt>
          <cx:pt idx="88794">0</cx:pt>
          <cx:pt idx="88795">1</cx:pt>
          <cx:pt idx="88796">0</cx:pt>
          <cx:pt idx="88797">0</cx:pt>
          <cx:pt idx="88798">0</cx:pt>
          <cx:pt idx="88799">0</cx:pt>
          <cx:pt idx="88800">1</cx:pt>
          <cx:pt idx="88801">0</cx:pt>
          <cx:pt idx="88802">1</cx:pt>
          <cx:pt idx="88803">0</cx:pt>
          <cx:pt idx="88804">1</cx:pt>
          <cx:pt idx="88805">0</cx:pt>
          <cx:pt idx="88806">0</cx:pt>
          <cx:pt idx="88807">1</cx:pt>
          <cx:pt idx="88808">1</cx:pt>
          <cx:pt idx="88809">0</cx:pt>
          <cx:pt idx="88810">0</cx:pt>
          <cx:pt idx="88811">0</cx:pt>
          <cx:pt idx="88812">0</cx:pt>
          <cx:pt idx="88813">0</cx:pt>
          <cx:pt idx="88814">1</cx:pt>
          <cx:pt idx="88815">1</cx:pt>
          <cx:pt idx="88816">0</cx:pt>
          <cx:pt idx="88817">0</cx:pt>
          <cx:pt idx="88818">1</cx:pt>
          <cx:pt idx="88819">1</cx:pt>
          <cx:pt idx="88820">0</cx:pt>
          <cx:pt idx="88821">1</cx:pt>
          <cx:pt idx="88822">0</cx:pt>
          <cx:pt idx="88823">0</cx:pt>
          <cx:pt idx="88824">0</cx:pt>
          <cx:pt idx="88825">1</cx:pt>
          <cx:pt idx="88826">0</cx:pt>
          <cx:pt idx="88827">0</cx:pt>
          <cx:pt idx="88828">1</cx:pt>
          <cx:pt idx="88829">0</cx:pt>
          <cx:pt idx="88830">0</cx:pt>
          <cx:pt idx="88831">0</cx:pt>
          <cx:pt idx="88832">0</cx:pt>
          <cx:pt idx="88833">0</cx:pt>
          <cx:pt idx="88834">0</cx:pt>
          <cx:pt idx="88835">1</cx:pt>
          <cx:pt idx="88836">1</cx:pt>
          <cx:pt idx="88837">0</cx:pt>
          <cx:pt idx="88838">1</cx:pt>
          <cx:pt idx="88839">1</cx:pt>
          <cx:pt idx="88840">0</cx:pt>
          <cx:pt idx="88841">1</cx:pt>
          <cx:pt idx="88842">1</cx:pt>
          <cx:pt idx="88843">0</cx:pt>
          <cx:pt idx="88844">0</cx:pt>
          <cx:pt idx="88845">1</cx:pt>
          <cx:pt idx="88846">1</cx:pt>
          <cx:pt idx="88847">1</cx:pt>
          <cx:pt idx="88848">0</cx:pt>
          <cx:pt idx="88849">1</cx:pt>
          <cx:pt idx="88850">0</cx:pt>
          <cx:pt idx="88851">0</cx:pt>
          <cx:pt idx="88852">0</cx:pt>
          <cx:pt idx="88853">1</cx:pt>
          <cx:pt idx="88854">1</cx:pt>
          <cx:pt idx="88855">0</cx:pt>
          <cx:pt idx="88856">0</cx:pt>
          <cx:pt idx="88857">0</cx:pt>
          <cx:pt idx="88858">1</cx:pt>
          <cx:pt idx="88859">0</cx:pt>
          <cx:pt idx="88860">1</cx:pt>
          <cx:pt idx="88861">1</cx:pt>
          <cx:pt idx="88862">0</cx:pt>
          <cx:pt idx="88863">1</cx:pt>
          <cx:pt idx="88864">0</cx:pt>
          <cx:pt idx="88865">1</cx:pt>
          <cx:pt idx="88866">0</cx:pt>
          <cx:pt idx="88867">1</cx:pt>
          <cx:pt idx="88868">1</cx:pt>
          <cx:pt idx="88869">0</cx:pt>
          <cx:pt idx="88870">0</cx:pt>
          <cx:pt idx="88871">0</cx:pt>
          <cx:pt idx="88872">1</cx:pt>
          <cx:pt idx="88873">1</cx:pt>
          <cx:pt idx="88874">0</cx:pt>
          <cx:pt idx="88875">1</cx:pt>
          <cx:pt idx="88876">1</cx:pt>
          <cx:pt idx="88877">0</cx:pt>
          <cx:pt idx="88878">1</cx:pt>
          <cx:pt idx="88879">0</cx:pt>
          <cx:pt idx="88880">0</cx:pt>
          <cx:pt idx="88881">0</cx:pt>
          <cx:pt idx="88882">1</cx:pt>
          <cx:pt idx="88883">1</cx:pt>
          <cx:pt idx="88884">0</cx:pt>
          <cx:pt idx="88885">1</cx:pt>
          <cx:pt idx="88886">0</cx:pt>
          <cx:pt idx="88887">1</cx:pt>
          <cx:pt idx="88888">0</cx:pt>
          <cx:pt idx="88889">1</cx:pt>
          <cx:pt idx="88890">0</cx:pt>
          <cx:pt idx="88891">0</cx:pt>
          <cx:pt idx="88892">1</cx:pt>
          <cx:pt idx="88893">1</cx:pt>
          <cx:pt idx="88894">0</cx:pt>
          <cx:pt idx="88895">0</cx:pt>
          <cx:pt idx="88896">1</cx:pt>
          <cx:pt idx="88897">1</cx:pt>
          <cx:pt idx="88898">0</cx:pt>
          <cx:pt idx="88899">0</cx:pt>
          <cx:pt idx="88900">1</cx:pt>
          <cx:pt idx="88901">0</cx:pt>
          <cx:pt idx="88902">1</cx:pt>
          <cx:pt idx="88903">1</cx:pt>
          <cx:pt idx="88904">0</cx:pt>
          <cx:pt idx="88905">0</cx:pt>
          <cx:pt idx="88906">0</cx:pt>
          <cx:pt idx="88907">1</cx:pt>
          <cx:pt idx="88908">0</cx:pt>
          <cx:pt idx="88909">0</cx:pt>
          <cx:pt idx="88910">1</cx:pt>
          <cx:pt idx="88911">0</cx:pt>
          <cx:pt idx="88912">1</cx:pt>
          <cx:pt idx="88913">0</cx:pt>
          <cx:pt idx="88914">1</cx:pt>
          <cx:pt idx="88915">1</cx:pt>
          <cx:pt idx="88916">1</cx:pt>
          <cx:pt idx="88917">0</cx:pt>
          <cx:pt idx="88918">1</cx:pt>
          <cx:pt idx="88919">0</cx:pt>
          <cx:pt idx="88920">1</cx:pt>
          <cx:pt idx="88921">0</cx:pt>
          <cx:pt idx="88922">0</cx:pt>
          <cx:pt idx="88923">1</cx:pt>
          <cx:pt idx="88924">0</cx:pt>
          <cx:pt idx="88925">0</cx:pt>
          <cx:pt idx="88926">1</cx:pt>
          <cx:pt idx="88927">1</cx:pt>
          <cx:pt idx="88928">0</cx:pt>
          <cx:pt idx="88929">1</cx:pt>
          <cx:pt idx="88930">0</cx:pt>
          <cx:pt idx="88931">0</cx:pt>
          <cx:pt idx="88932">1</cx:pt>
          <cx:pt idx="88933">1</cx:pt>
          <cx:pt idx="88934">1</cx:pt>
          <cx:pt idx="88935">0</cx:pt>
          <cx:pt idx="88936">1</cx:pt>
          <cx:pt idx="88937">1</cx:pt>
          <cx:pt idx="88938">1</cx:pt>
          <cx:pt idx="88939">1</cx:pt>
          <cx:pt idx="88940">0</cx:pt>
          <cx:pt idx="88941">1</cx:pt>
          <cx:pt idx="88942">1</cx:pt>
          <cx:pt idx="88943">0</cx:pt>
          <cx:pt idx="88944">0</cx:pt>
          <cx:pt idx="88945">0</cx:pt>
          <cx:pt idx="88946">1</cx:pt>
          <cx:pt idx="88947">1</cx:pt>
          <cx:pt idx="88948">0</cx:pt>
          <cx:pt idx="88949">0</cx:pt>
          <cx:pt idx="88950">0</cx:pt>
          <cx:pt idx="88951">1</cx:pt>
          <cx:pt idx="88952">1</cx:pt>
          <cx:pt idx="88953">1</cx:pt>
          <cx:pt idx="88954">1</cx:pt>
          <cx:pt idx="88955">1</cx:pt>
          <cx:pt idx="88956">1</cx:pt>
          <cx:pt idx="88957">1</cx:pt>
          <cx:pt idx="88958">0</cx:pt>
          <cx:pt idx="88959">1</cx:pt>
          <cx:pt idx="88960">0</cx:pt>
          <cx:pt idx="88961">1</cx:pt>
          <cx:pt idx="88962">1</cx:pt>
          <cx:pt idx="88963">0</cx:pt>
          <cx:pt idx="88964">0</cx:pt>
          <cx:pt idx="88965">0</cx:pt>
          <cx:pt idx="88966">1</cx:pt>
          <cx:pt idx="88967">0</cx:pt>
          <cx:pt idx="88968">0</cx:pt>
          <cx:pt idx="88969">0</cx:pt>
          <cx:pt idx="88970">0</cx:pt>
          <cx:pt idx="88971">1</cx:pt>
          <cx:pt idx="88972">0</cx:pt>
          <cx:pt idx="88973">1</cx:pt>
          <cx:pt idx="88974">0</cx:pt>
          <cx:pt idx="88975">0</cx:pt>
          <cx:pt idx="88976">1</cx:pt>
          <cx:pt idx="88977">1</cx:pt>
          <cx:pt idx="88978">1</cx:pt>
          <cx:pt idx="88979">1</cx:pt>
          <cx:pt idx="88980">1</cx:pt>
          <cx:pt idx="88981">1</cx:pt>
          <cx:pt idx="88982">0</cx:pt>
          <cx:pt idx="88983">1</cx:pt>
          <cx:pt idx="88984">0</cx:pt>
          <cx:pt idx="88985">0</cx:pt>
          <cx:pt idx="88986">0</cx:pt>
          <cx:pt idx="88987">1</cx:pt>
          <cx:pt idx="88988">1</cx:pt>
          <cx:pt idx="88989">1</cx:pt>
          <cx:pt idx="88990">0</cx:pt>
          <cx:pt idx="88991">1</cx:pt>
          <cx:pt idx="88992">0</cx:pt>
          <cx:pt idx="88993">0</cx:pt>
          <cx:pt idx="88994">0</cx:pt>
          <cx:pt idx="88995">0</cx:pt>
          <cx:pt idx="88996">1</cx:pt>
          <cx:pt idx="88997">0</cx:pt>
          <cx:pt idx="88998">1</cx:pt>
          <cx:pt idx="88999">0</cx:pt>
          <cx:pt idx="89000">1</cx:pt>
          <cx:pt idx="89001">1</cx:pt>
          <cx:pt idx="89002">0</cx:pt>
          <cx:pt idx="89003">0</cx:pt>
          <cx:pt idx="89004">1</cx:pt>
          <cx:pt idx="89005">0</cx:pt>
          <cx:pt idx="89006">0</cx:pt>
          <cx:pt idx="89007">0</cx:pt>
          <cx:pt idx="89008">1</cx:pt>
          <cx:pt idx="89009">0</cx:pt>
          <cx:pt idx="89010">1</cx:pt>
          <cx:pt idx="89011">1</cx:pt>
          <cx:pt idx="89012">0</cx:pt>
          <cx:pt idx="89013">0</cx:pt>
          <cx:pt idx="89014">0</cx:pt>
          <cx:pt idx="89015">0</cx:pt>
          <cx:pt idx="89016">1</cx:pt>
          <cx:pt idx="89017">0</cx:pt>
          <cx:pt idx="89018">1</cx:pt>
          <cx:pt idx="89019">0</cx:pt>
          <cx:pt idx="89020">0</cx:pt>
          <cx:pt idx="89021">0</cx:pt>
          <cx:pt idx="89022">1</cx:pt>
          <cx:pt idx="89023">1</cx:pt>
          <cx:pt idx="89024">0</cx:pt>
          <cx:pt idx="89025">0</cx:pt>
          <cx:pt idx="89026">0</cx:pt>
          <cx:pt idx="89027">0</cx:pt>
          <cx:pt idx="89028">0</cx:pt>
          <cx:pt idx="89029">0</cx:pt>
          <cx:pt idx="89030">1</cx:pt>
          <cx:pt idx="89031">0</cx:pt>
          <cx:pt idx="89032">0</cx:pt>
          <cx:pt idx="89033">1</cx:pt>
          <cx:pt idx="89034">0</cx:pt>
          <cx:pt idx="89035">0</cx:pt>
          <cx:pt idx="89036">0</cx:pt>
          <cx:pt idx="89037">1</cx:pt>
          <cx:pt idx="89038">0</cx:pt>
          <cx:pt idx="89039">1</cx:pt>
          <cx:pt idx="89040">0</cx:pt>
          <cx:pt idx="89041">0</cx:pt>
          <cx:pt idx="89042">1</cx:pt>
          <cx:pt idx="89043">0</cx:pt>
          <cx:pt idx="89044">0</cx:pt>
          <cx:pt idx="89045">0</cx:pt>
          <cx:pt idx="89046">1</cx:pt>
          <cx:pt idx="89047">0</cx:pt>
          <cx:pt idx="89048">1</cx:pt>
          <cx:pt idx="89049">0</cx:pt>
          <cx:pt idx="89050">0</cx:pt>
          <cx:pt idx="89051">1</cx:pt>
          <cx:pt idx="89052">0</cx:pt>
          <cx:pt idx="89053">0</cx:pt>
          <cx:pt idx="89054">0</cx:pt>
          <cx:pt idx="89055">1</cx:pt>
          <cx:pt idx="89056">0</cx:pt>
          <cx:pt idx="89057">0</cx:pt>
          <cx:pt idx="89058">0</cx:pt>
          <cx:pt idx="89059">0</cx:pt>
          <cx:pt idx="89060">1</cx:pt>
          <cx:pt idx="89061">0</cx:pt>
          <cx:pt idx="89062">1</cx:pt>
          <cx:pt idx="89063">1</cx:pt>
          <cx:pt idx="89064">0</cx:pt>
          <cx:pt idx="89065">1</cx:pt>
          <cx:pt idx="89066">1</cx:pt>
          <cx:pt idx="89067">1</cx:pt>
          <cx:pt idx="89068">0</cx:pt>
          <cx:pt idx="89069">1</cx:pt>
          <cx:pt idx="89070">0</cx:pt>
          <cx:pt idx="89071">0</cx:pt>
          <cx:pt idx="89072">0</cx:pt>
          <cx:pt idx="89073">1</cx:pt>
          <cx:pt idx="89074">1</cx:pt>
          <cx:pt idx="89075">0</cx:pt>
          <cx:pt idx="89076">0</cx:pt>
          <cx:pt idx="89077">0</cx:pt>
          <cx:pt idx="89078">1</cx:pt>
          <cx:pt idx="89079">0</cx:pt>
          <cx:pt idx="89080">0</cx:pt>
          <cx:pt idx="89081">0</cx:pt>
          <cx:pt idx="89082">0</cx:pt>
          <cx:pt idx="89083">1</cx:pt>
          <cx:pt idx="89084">0</cx:pt>
          <cx:pt idx="89085">0</cx:pt>
          <cx:pt idx="89086">1</cx:pt>
          <cx:pt idx="89087">0</cx:pt>
          <cx:pt idx="89088">0</cx:pt>
          <cx:pt idx="89089">0</cx:pt>
          <cx:pt idx="89090">0</cx:pt>
          <cx:pt idx="89091">0</cx:pt>
          <cx:pt idx="89092">0</cx:pt>
          <cx:pt idx="89093">1</cx:pt>
          <cx:pt idx="89094">1</cx:pt>
          <cx:pt idx="89095">1</cx:pt>
          <cx:pt idx="89096">0</cx:pt>
          <cx:pt idx="89097">0</cx:pt>
          <cx:pt idx="89098">0</cx:pt>
          <cx:pt idx="89099">0</cx:pt>
          <cx:pt idx="89100">0</cx:pt>
          <cx:pt idx="89101">0</cx:pt>
          <cx:pt idx="89102">1</cx:pt>
          <cx:pt idx="89103">0</cx:pt>
          <cx:pt idx="89104">1</cx:pt>
          <cx:pt idx="89105">0</cx:pt>
          <cx:pt idx="89106">0</cx:pt>
          <cx:pt idx="89107">1</cx:pt>
          <cx:pt idx="89108">0</cx:pt>
          <cx:pt idx="89109">0</cx:pt>
          <cx:pt idx="89110">1</cx:pt>
          <cx:pt idx="89111">1</cx:pt>
          <cx:pt idx="89112">1</cx:pt>
          <cx:pt idx="89113">0</cx:pt>
          <cx:pt idx="89114">0</cx:pt>
          <cx:pt idx="89115">0</cx:pt>
          <cx:pt idx="89116">0</cx:pt>
          <cx:pt idx="89117">0</cx:pt>
          <cx:pt idx="89118">1</cx:pt>
          <cx:pt idx="89119">0</cx:pt>
          <cx:pt idx="89120">0</cx:pt>
          <cx:pt idx="89121">1</cx:pt>
          <cx:pt idx="89122">0</cx:pt>
          <cx:pt idx="89123">1</cx:pt>
          <cx:pt idx="89124">0</cx:pt>
          <cx:pt idx="89125">0</cx:pt>
          <cx:pt idx="89126">1</cx:pt>
          <cx:pt idx="89127">1</cx:pt>
          <cx:pt idx="89128">0</cx:pt>
          <cx:pt idx="89129">0</cx:pt>
          <cx:pt idx="89130">0</cx:pt>
          <cx:pt idx="89131">0</cx:pt>
          <cx:pt idx="89132">1</cx:pt>
          <cx:pt idx="89133">0</cx:pt>
          <cx:pt idx="89134">0</cx:pt>
          <cx:pt idx="89135">0</cx:pt>
          <cx:pt idx="89136">0</cx:pt>
          <cx:pt idx="89137">1</cx:pt>
          <cx:pt idx="89138">1</cx:pt>
          <cx:pt idx="89139">1</cx:pt>
          <cx:pt idx="89140">1</cx:pt>
          <cx:pt idx="89141">0</cx:pt>
          <cx:pt idx="89142">0</cx:pt>
          <cx:pt idx="89143">1</cx:pt>
          <cx:pt idx="89144">0</cx:pt>
          <cx:pt idx="89145">0</cx:pt>
          <cx:pt idx="89146">0</cx:pt>
          <cx:pt idx="89147">1</cx:pt>
          <cx:pt idx="89148">0</cx:pt>
          <cx:pt idx="89149">1</cx:pt>
          <cx:pt idx="89150">0</cx:pt>
          <cx:pt idx="89151">1</cx:pt>
          <cx:pt idx="89152">1</cx:pt>
          <cx:pt idx="89153">0</cx:pt>
          <cx:pt idx="89154">0</cx:pt>
          <cx:pt idx="89155">0</cx:pt>
          <cx:pt idx="89156">0</cx:pt>
          <cx:pt idx="89157">1</cx:pt>
          <cx:pt idx="89158">0</cx:pt>
          <cx:pt idx="89159">0</cx:pt>
          <cx:pt idx="89160">1</cx:pt>
          <cx:pt idx="89161">1</cx:pt>
          <cx:pt idx="89162">0</cx:pt>
          <cx:pt idx="89163">0</cx:pt>
          <cx:pt idx="89164">0</cx:pt>
          <cx:pt idx="89165">1</cx:pt>
          <cx:pt idx="89166">0</cx:pt>
          <cx:pt idx="89167">1</cx:pt>
          <cx:pt idx="89168">1</cx:pt>
          <cx:pt idx="89169">0</cx:pt>
          <cx:pt idx="89170">0</cx:pt>
          <cx:pt idx="89171">0</cx:pt>
          <cx:pt idx="89172">1</cx:pt>
          <cx:pt idx="89173">1</cx:pt>
          <cx:pt idx="89174">1</cx:pt>
          <cx:pt idx="89175">0</cx:pt>
          <cx:pt idx="89176">0</cx:pt>
          <cx:pt idx="89177">1</cx:pt>
          <cx:pt idx="89178">1</cx:pt>
          <cx:pt idx="89179">1</cx:pt>
          <cx:pt idx="89180">0</cx:pt>
          <cx:pt idx="89181">0</cx:pt>
          <cx:pt idx="89182">1</cx:pt>
          <cx:pt idx="89183">0</cx:pt>
          <cx:pt idx="89184">1</cx:pt>
          <cx:pt idx="89185">0</cx:pt>
          <cx:pt idx="89186">0</cx:pt>
          <cx:pt idx="89187">1</cx:pt>
          <cx:pt idx="89188">0</cx:pt>
          <cx:pt idx="89189">1</cx:pt>
          <cx:pt idx="89190">1</cx:pt>
          <cx:pt idx="89191">0</cx:pt>
          <cx:pt idx="89192">1</cx:pt>
          <cx:pt idx="89193">0</cx:pt>
          <cx:pt idx="89194">0</cx:pt>
          <cx:pt idx="89195">0</cx:pt>
          <cx:pt idx="89196">1</cx:pt>
          <cx:pt idx="89197">0</cx:pt>
          <cx:pt idx="89198">1</cx:pt>
          <cx:pt idx="89199">0</cx:pt>
          <cx:pt idx="89200">1</cx:pt>
          <cx:pt idx="89201">1</cx:pt>
          <cx:pt idx="89202">0</cx:pt>
          <cx:pt idx="89203">0</cx:pt>
          <cx:pt idx="89204">1</cx:pt>
          <cx:pt idx="89205">0</cx:pt>
          <cx:pt idx="89206">1</cx:pt>
          <cx:pt idx="89207">1</cx:pt>
          <cx:pt idx="89208">0</cx:pt>
          <cx:pt idx="89209">1</cx:pt>
          <cx:pt idx="89210">0</cx:pt>
          <cx:pt idx="89211">0</cx:pt>
          <cx:pt idx="89212">0</cx:pt>
          <cx:pt idx="89213">0</cx:pt>
          <cx:pt idx="89214">1</cx:pt>
          <cx:pt idx="89215">1</cx:pt>
          <cx:pt idx="89216">1</cx:pt>
          <cx:pt idx="89217">0</cx:pt>
          <cx:pt idx="89218">0</cx:pt>
          <cx:pt idx="89219">1</cx:pt>
          <cx:pt idx="89220">1</cx:pt>
          <cx:pt idx="89221">1</cx:pt>
          <cx:pt idx="89222">1</cx:pt>
          <cx:pt idx="89223">1</cx:pt>
          <cx:pt idx="89224">1</cx:pt>
          <cx:pt idx="89225">1</cx:pt>
          <cx:pt idx="89226">0</cx:pt>
          <cx:pt idx="89227">0</cx:pt>
          <cx:pt idx="89228">1</cx:pt>
          <cx:pt idx="89229">1</cx:pt>
          <cx:pt idx="89230">1</cx:pt>
          <cx:pt idx="89231">1</cx:pt>
          <cx:pt idx="89232">0</cx:pt>
          <cx:pt idx="89233">0</cx:pt>
          <cx:pt idx="89234">0</cx:pt>
          <cx:pt idx="89235">0</cx:pt>
          <cx:pt idx="89236">1</cx:pt>
          <cx:pt idx="89237">1</cx:pt>
          <cx:pt idx="89238">1</cx:pt>
          <cx:pt idx="89239">0</cx:pt>
          <cx:pt idx="89240">1</cx:pt>
          <cx:pt idx="89241">1</cx:pt>
          <cx:pt idx="89242">0</cx:pt>
          <cx:pt idx="89243">1</cx:pt>
          <cx:pt idx="89244">0</cx:pt>
          <cx:pt idx="89245">0</cx:pt>
          <cx:pt idx="89246">1</cx:pt>
          <cx:pt idx="89247">1</cx:pt>
          <cx:pt idx="89248">0</cx:pt>
          <cx:pt idx="89249">1</cx:pt>
          <cx:pt idx="89250">0</cx:pt>
          <cx:pt idx="89251">1</cx:pt>
          <cx:pt idx="89252">1</cx:pt>
          <cx:pt idx="89253">0</cx:pt>
          <cx:pt idx="89254">1</cx:pt>
          <cx:pt idx="89255">0</cx:pt>
          <cx:pt idx="89256">1</cx:pt>
          <cx:pt idx="89257">1</cx:pt>
          <cx:pt idx="89258">0</cx:pt>
          <cx:pt idx="89259">0</cx:pt>
          <cx:pt idx="89260">1</cx:pt>
          <cx:pt idx="89261">0</cx:pt>
          <cx:pt idx="89262">0</cx:pt>
          <cx:pt idx="89263">0</cx:pt>
          <cx:pt idx="89264">1</cx:pt>
          <cx:pt idx="89265">1</cx:pt>
          <cx:pt idx="89266">0</cx:pt>
          <cx:pt idx="89267">1</cx:pt>
          <cx:pt idx="89268">0</cx:pt>
          <cx:pt idx="89269">0</cx:pt>
          <cx:pt idx="89270">1</cx:pt>
          <cx:pt idx="89271">0</cx:pt>
          <cx:pt idx="89272">1</cx:pt>
          <cx:pt idx="89273">0</cx:pt>
          <cx:pt idx="89274">0</cx:pt>
          <cx:pt idx="89275">0</cx:pt>
          <cx:pt idx="89276">0</cx:pt>
          <cx:pt idx="89277">1</cx:pt>
          <cx:pt idx="89278">0</cx:pt>
          <cx:pt idx="89279">1</cx:pt>
          <cx:pt idx="89280">1</cx:pt>
          <cx:pt idx="89281">0</cx:pt>
          <cx:pt idx="89282">1</cx:pt>
          <cx:pt idx="89283">0</cx:pt>
          <cx:pt idx="89284">0</cx:pt>
          <cx:pt idx="89285">0</cx:pt>
          <cx:pt idx="89286">0</cx:pt>
          <cx:pt idx="89287">0</cx:pt>
          <cx:pt idx="89288">0</cx:pt>
          <cx:pt idx="89289">0</cx:pt>
          <cx:pt idx="89290">1</cx:pt>
          <cx:pt idx="89291">0</cx:pt>
          <cx:pt idx="89292">0</cx:pt>
          <cx:pt idx="89293">0</cx:pt>
          <cx:pt idx="89294">0</cx:pt>
          <cx:pt idx="89295">0</cx:pt>
          <cx:pt idx="89296">1</cx:pt>
          <cx:pt idx="89297">1</cx:pt>
          <cx:pt idx="89298">0</cx:pt>
          <cx:pt idx="89299">1</cx:pt>
          <cx:pt idx="89300">0</cx:pt>
          <cx:pt idx="89301">0</cx:pt>
          <cx:pt idx="89302">0</cx:pt>
          <cx:pt idx="89303">0</cx:pt>
          <cx:pt idx="89304">0</cx:pt>
          <cx:pt idx="89305">0</cx:pt>
          <cx:pt idx="89306">0</cx:pt>
          <cx:pt idx="89307">0</cx:pt>
          <cx:pt idx="89308">1</cx:pt>
          <cx:pt idx="89309">0</cx:pt>
          <cx:pt idx="89310">0</cx:pt>
          <cx:pt idx="89311">0</cx:pt>
          <cx:pt idx="89312">1</cx:pt>
          <cx:pt idx="89313">0</cx:pt>
          <cx:pt idx="89314">0</cx:pt>
          <cx:pt idx="89315">0</cx:pt>
          <cx:pt idx="89316">1</cx:pt>
          <cx:pt idx="89317">0</cx:pt>
          <cx:pt idx="89318">1</cx:pt>
          <cx:pt idx="89319">1</cx:pt>
          <cx:pt idx="89320">1</cx:pt>
          <cx:pt idx="89321">0</cx:pt>
          <cx:pt idx="89322">0</cx:pt>
          <cx:pt idx="89323">0</cx:pt>
          <cx:pt idx="89324">0</cx:pt>
          <cx:pt idx="89325">0</cx:pt>
          <cx:pt idx="89326">0</cx:pt>
          <cx:pt idx="89327">0</cx:pt>
          <cx:pt idx="89328">0</cx:pt>
          <cx:pt idx="89329">0</cx:pt>
          <cx:pt idx="89330">0</cx:pt>
          <cx:pt idx="89331">0</cx:pt>
          <cx:pt idx="89332">0</cx:pt>
          <cx:pt idx="89333">1</cx:pt>
          <cx:pt idx="89334">0</cx:pt>
          <cx:pt idx="89335">0</cx:pt>
          <cx:pt idx="89336">1</cx:pt>
          <cx:pt idx="89337">1</cx:pt>
          <cx:pt idx="89338">1</cx:pt>
          <cx:pt idx="89339">1</cx:pt>
          <cx:pt idx="89340">0</cx:pt>
          <cx:pt idx="89341">1</cx:pt>
          <cx:pt idx="89342">0</cx:pt>
          <cx:pt idx="89343">0</cx:pt>
          <cx:pt idx="89344">1</cx:pt>
          <cx:pt idx="89345">0</cx:pt>
          <cx:pt idx="89346">1</cx:pt>
          <cx:pt idx="89347">1</cx:pt>
          <cx:pt idx="89348">0</cx:pt>
          <cx:pt idx="89349">0</cx:pt>
          <cx:pt idx="89350">1</cx:pt>
          <cx:pt idx="89351">0</cx:pt>
          <cx:pt idx="89352">1</cx:pt>
          <cx:pt idx="89353">1</cx:pt>
          <cx:pt idx="89354">0</cx:pt>
          <cx:pt idx="89355">1</cx:pt>
          <cx:pt idx="89356">0</cx:pt>
          <cx:pt idx="89357">1</cx:pt>
          <cx:pt idx="89358">1</cx:pt>
          <cx:pt idx="89359">0</cx:pt>
          <cx:pt idx="89360">1</cx:pt>
          <cx:pt idx="89361">1</cx:pt>
          <cx:pt idx="89362">0</cx:pt>
          <cx:pt idx="89363">0</cx:pt>
          <cx:pt idx="89364">1</cx:pt>
          <cx:pt idx="89365">0</cx:pt>
          <cx:pt idx="89366">1</cx:pt>
          <cx:pt idx="89367">1</cx:pt>
          <cx:pt idx="89368">0</cx:pt>
          <cx:pt idx="89369">1</cx:pt>
          <cx:pt idx="89370">0</cx:pt>
          <cx:pt idx="89371">0</cx:pt>
          <cx:pt idx="89372">1</cx:pt>
          <cx:pt idx="89373">0</cx:pt>
          <cx:pt idx="89374">0</cx:pt>
          <cx:pt idx="89375">0</cx:pt>
          <cx:pt idx="89376">1</cx:pt>
          <cx:pt idx="89377">1</cx:pt>
          <cx:pt idx="89378">0</cx:pt>
          <cx:pt idx="89379">1</cx:pt>
          <cx:pt idx="89380">0</cx:pt>
          <cx:pt idx="89381">1</cx:pt>
          <cx:pt idx="89382">1</cx:pt>
          <cx:pt idx="89383">1</cx:pt>
          <cx:pt idx="89384">0</cx:pt>
          <cx:pt idx="89385">0</cx:pt>
          <cx:pt idx="89386">1</cx:pt>
          <cx:pt idx="89387">0</cx:pt>
          <cx:pt idx="89388">0</cx:pt>
          <cx:pt idx="89389">1</cx:pt>
          <cx:pt idx="89390">0</cx:pt>
          <cx:pt idx="89391">1</cx:pt>
          <cx:pt idx="89392">0</cx:pt>
          <cx:pt idx="89393">0</cx:pt>
          <cx:pt idx="89394">1</cx:pt>
          <cx:pt idx="89395">1</cx:pt>
          <cx:pt idx="89396">1</cx:pt>
          <cx:pt idx="89397">0</cx:pt>
          <cx:pt idx="89398">1</cx:pt>
          <cx:pt idx="89399">0</cx:pt>
          <cx:pt idx="89400">0</cx:pt>
          <cx:pt idx="89401">1</cx:pt>
          <cx:pt idx="89402">0</cx:pt>
          <cx:pt idx="89403">0</cx:pt>
          <cx:pt idx="89404">0</cx:pt>
          <cx:pt idx="89405">0</cx:pt>
          <cx:pt idx="89406">1</cx:pt>
          <cx:pt idx="89407">1</cx:pt>
          <cx:pt idx="89408">0</cx:pt>
          <cx:pt idx="89409">0</cx:pt>
          <cx:pt idx="89410">0</cx:pt>
          <cx:pt idx="89411">1</cx:pt>
          <cx:pt idx="89412">1</cx:pt>
          <cx:pt idx="89413">0</cx:pt>
          <cx:pt idx="89414">1</cx:pt>
          <cx:pt idx="89415">0</cx:pt>
          <cx:pt idx="89416">1</cx:pt>
          <cx:pt idx="89417">1</cx:pt>
          <cx:pt idx="89418">0</cx:pt>
          <cx:pt idx="89419">1</cx:pt>
          <cx:pt idx="89420">0</cx:pt>
          <cx:pt idx="89421">0</cx:pt>
          <cx:pt idx="89422">0</cx:pt>
          <cx:pt idx="89423">0</cx:pt>
          <cx:pt idx="89424">1</cx:pt>
          <cx:pt idx="89425">0</cx:pt>
          <cx:pt idx="89426">0</cx:pt>
          <cx:pt idx="89427">1</cx:pt>
          <cx:pt idx="89428">1</cx:pt>
          <cx:pt idx="89429">1</cx:pt>
          <cx:pt idx="89430">0</cx:pt>
          <cx:pt idx="89431">0</cx:pt>
          <cx:pt idx="89432">1</cx:pt>
          <cx:pt idx="89433">0</cx:pt>
          <cx:pt idx="89434">0</cx:pt>
          <cx:pt idx="89435">1</cx:pt>
          <cx:pt idx="89436">0</cx:pt>
          <cx:pt idx="89437">0</cx:pt>
          <cx:pt idx="89438">1</cx:pt>
          <cx:pt idx="89439">1</cx:pt>
          <cx:pt idx="89440">1</cx:pt>
          <cx:pt idx="89441">0</cx:pt>
          <cx:pt idx="89442">0</cx:pt>
          <cx:pt idx="89443">0</cx:pt>
          <cx:pt idx="89444">0</cx:pt>
          <cx:pt idx="89445">0</cx:pt>
          <cx:pt idx="89446">0</cx:pt>
          <cx:pt idx="89447">1</cx:pt>
          <cx:pt idx="89448">1</cx:pt>
          <cx:pt idx="89449">0</cx:pt>
          <cx:pt idx="89450">1</cx:pt>
          <cx:pt idx="89451">1</cx:pt>
          <cx:pt idx="89452">1</cx:pt>
          <cx:pt idx="89453">1</cx:pt>
          <cx:pt idx="89454">1</cx:pt>
          <cx:pt idx="89455">0</cx:pt>
          <cx:pt idx="89456">0</cx:pt>
          <cx:pt idx="89457">1</cx:pt>
          <cx:pt idx="89458">0</cx:pt>
          <cx:pt idx="89459">0</cx:pt>
          <cx:pt idx="89460">1</cx:pt>
          <cx:pt idx="89461">1</cx:pt>
          <cx:pt idx="89462">1</cx:pt>
          <cx:pt idx="89463">0</cx:pt>
          <cx:pt idx="89464">1</cx:pt>
          <cx:pt idx="89465">0</cx:pt>
          <cx:pt idx="89466">1</cx:pt>
          <cx:pt idx="89467">0</cx:pt>
          <cx:pt idx="89468">0</cx:pt>
          <cx:pt idx="89469">0</cx:pt>
          <cx:pt idx="89470">0</cx:pt>
          <cx:pt idx="89471">0</cx:pt>
          <cx:pt idx="89472">0</cx:pt>
          <cx:pt idx="89473">0</cx:pt>
          <cx:pt idx="89474">0</cx:pt>
          <cx:pt idx="89475">0</cx:pt>
          <cx:pt idx="89476">1</cx:pt>
          <cx:pt idx="89477">0</cx:pt>
          <cx:pt idx="89478">0</cx:pt>
          <cx:pt idx="89479">0</cx:pt>
          <cx:pt idx="89480">0</cx:pt>
          <cx:pt idx="89481">0</cx:pt>
          <cx:pt idx="89482">0</cx:pt>
          <cx:pt idx="89483">0</cx:pt>
          <cx:pt idx="89484">0</cx:pt>
          <cx:pt idx="89485">0</cx:pt>
          <cx:pt idx="89486">1</cx:pt>
          <cx:pt idx="89487">0</cx:pt>
          <cx:pt idx="89488">1</cx:pt>
          <cx:pt idx="89489">0</cx:pt>
          <cx:pt idx="89490">0</cx:pt>
          <cx:pt idx="89491">0</cx:pt>
          <cx:pt idx="89492">1</cx:pt>
          <cx:pt idx="89493">1</cx:pt>
          <cx:pt idx="89494">1</cx:pt>
          <cx:pt idx="89495">0</cx:pt>
          <cx:pt idx="89496">0</cx:pt>
          <cx:pt idx="89497">0</cx:pt>
          <cx:pt idx="89498">1</cx:pt>
          <cx:pt idx="89499">0</cx:pt>
          <cx:pt idx="89500">1</cx:pt>
          <cx:pt idx="89501">1</cx:pt>
          <cx:pt idx="89502">0</cx:pt>
          <cx:pt idx="89503">0</cx:pt>
          <cx:pt idx="89504">0</cx:pt>
          <cx:pt idx="89505">0</cx:pt>
          <cx:pt idx="89506">0</cx:pt>
          <cx:pt idx="89507">1</cx:pt>
          <cx:pt idx="89508">0</cx:pt>
          <cx:pt idx="89509">0</cx:pt>
          <cx:pt idx="89510">0</cx:pt>
          <cx:pt idx="89511">0</cx:pt>
          <cx:pt idx="89512">1</cx:pt>
          <cx:pt idx="89513">0</cx:pt>
          <cx:pt idx="89514">1</cx:pt>
          <cx:pt idx="89515">1</cx:pt>
          <cx:pt idx="89516">1</cx:pt>
          <cx:pt idx="89517">0</cx:pt>
          <cx:pt idx="89518">0</cx:pt>
          <cx:pt idx="89519">0</cx:pt>
          <cx:pt idx="89520">0</cx:pt>
          <cx:pt idx="89521">0</cx:pt>
          <cx:pt idx="89522">1</cx:pt>
          <cx:pt idx="89523">1</cx:pt>
          <cx:pt idx="89524">0</cx:pt>
          <cx:pt idx="89525">1</cx:pt>
          <cx:pt idx="89526">0</cx:pt>
          <cx:pt idx="89527">1</cx:pt>
          <cx:pt idx="89528">1</cx:pt>
          <cx:pt idx="89529">1</cx:pt>
          <cx:pt idx="89530">0</cx:pt>
          <cx:pt idx="89531">0</cx:pt>
          <cx:pt idx="89532">1</cx:pt>
          <cx:pt idx="89533">1</cx:pt>
          <cx:pt idx="89534">0</cx:pt>
          <cx:pt idx="89535">1</cx:pt>
          <cx:pt idx="89536">0</cx:pt>
          <cx:pt idx="89537">0</cx:pt>
          <cx:pt idx="89538">1</cx:pt>
          <cx:pt idx="89539">0</cx:pt>
          <cx:pt idx="89540">0</cx:pt>
          <cx:pt idx="89541">1</cx:pt>
          <cx:pt idx="89542">0</cx:pt>
          <cx:pt idx="89543">0</cx:pt>
          <cx:pt idx="89544">0</cx:pt>
          <cx:pt idx="89545">0</cx:pt>
          <cx:pt idx="89546">0</cx:pt>
          <cx:pt idx="89547">0</cx:pt>
          <cx:pt idx="89548">1</cx:pt>
          <cx:pt idx="89549">1</cx:pt>
          <cx:pt idx="89550">0</cx:pt>
          <cx:pt idx="89551">1</cx:pt>
          <cx:pt idx="89552">0</cx:pt>
          <cx:pt idx="89553">1</cx:pt>
          <cx:pt idx="89554">0</cx:pt>
          <cx:pt idx="89555">1</cx:pt>
          <cx:pt idx="89556">0</cx:pt>
          <cx:pt idx="89557">1</cx:pt>
          <cx:pt idx="89558">0</cx:pt>
          <cx:pt idx="89559">1</cx:pt>
          <cx:pt idx="89560">1</cx:pt>
          <cx:pt idx="89561">0</cx:pt>
          <cx:pt idx="89562">1</cx:pt>
          <cx:pt idx="89563">1</cx:pt>
          <cx:pt idx="89564">0</cx:pt>
          <cx:pt idx="89565">0</cx:pt>
          <cx:pt idx="89566">1</cx:pt>
          <cx:pt idx="89567">1</cx:pt>
          <cx:pt idx="89568">1</cx:pt>
          <cx:pt idx="89569">0</cx:pt>
          <cx:pt idx="89570">1</cx:pt>
          <cx:pt idx="89571">0</cx:pt>
          <cx:pt idx="89572">0</cx:pt>
          <cx:pt idx="89573">0</cx:pt>
          <cx:pt idx="89574">0</cx:pt>
          <cx:pt idx="89575">0</cx:pt>
          <cx:pt idx="89576">0</cx:pt>
          <cx:pt idx="89577">1</cx:pt>
          <cx:pt idx="89578">1</cx:pt>
          <cx:pt idx="89579">0</cx:pt>
          <cx:pt idx="89580">1</cx:pt>
          <cx:pt idx="89581">1</cx:pt>
          <cx:pt idx="89582">0</cx:pt>
          <cx:pt idx="89583">1</cx:pt>
          <cx:pt idx="89584">1</cx:pt>
          <cx:pt idx="89585">1</cx:pt>
          <cx:pt idx="89586">0</cx:pt>
          <cx:pt idx="89587">0</cx:pt>
          <cx:pt idx="89588">0</cx:pt>
          <cx:pt idx="89589">1</cx:pt>
          <cx:pt idx="89590">1</cx:pt>
          <cx:pt idx="89591">1</cx:pt>
          <cx:pt idx="89592">1</cx:pt>
          <cx:pt idx="89593">0</cx:pt>
          <cx:pt idx="89594">0</cx:pt>
          <cx:pt idx="89595">0</cx:pt>
          <cx:pt idx="89596">0</cx:pt>
          <cx:pt idx="89597">0</cx:pt>
          <cx:pt idx="89598">0</cx:pt>
          <cx:pt idx="89599">1</cx:pt>
          <cx:pt idx="89600">0</cx:pt>
          <cx:pt idx="89601">1</cx:pt>
          <cx:pt idx="89602">0</cx:pt>
          <cx:pt idx="89603">1</cx:pt>
          <cx:pt idx="89604">1</cx:pt>
          <cx:pt idx="89605">0</cx:pt>
          <cx:pt idx="89606">0</cx:pt>
          <cx:pt idx="89607">1</cx:pt>
          <cx:pt idx="89608">1</cx:pt>
          <cx:pt idx="89609">0</cx:pt>
          <cx:pt idx="89610">1</cx:pt>
          <cx:pt idx="89611">1</cx:pt>
          <cx:pt idx="89612">0</cx:pt>
          <cx:pt idx="89613">0</cx:pt>
          <cx:pt idx="89614">1</cx:pt>
          <cx:pt idx="89615">1</cx:pt>
          <cx:pt idx="89616">0</cx:pt>
          <cx:pt idx="89617">0</cx:pt>
          <cx:pt idx="89618">1</cx:pt>
          <cx:pt idx="89619">0</cx:pt>
          <cx:pt idx="89620">1</cx:pt>
          <cx:pt idx="89621">0</cx:pt>
          <cx:pt idx="89622">0</cx:pt>
          <cx:pt idx="89623">1</cx:pt>
          <cx:pt idx="89624">0</cx:pt>
          <cx:pt idx="89625">1</cx:pt>
          <cx:pt idx="89626">0</cx:pt>
          <cx:pt idx="89627">1</cx:pt>
          <cx:pt idx="89628">1</cx:pt>
          <cx:pt idx="89629">0</cx:pt>
          <cx:pt idx="89630">0</cx:pt>
          <cx:pt idx="89631">0</cx:pt>
          <cx:pt idx="89632">0</cx:pt>
          <cx:pt idx="89633">0</cx:pt>
          <cx:pt idx="89634">0</cx:pt>
          <cx:pt idx="89635">0</cx:pt>
          <cx:pt idx="89636">1</cx:pt>
          <cx:pt idx="89637">1</cx:pt>
          <cx:pt idx="89638">0</cx:pt>
          <cx:pt idx="89639">0</cx:pt>
          <cx:pt idx="89640">0</cx:pt>
          <cx:pt idx="89641">0</cx:pt>
          <cx:pt idx="89642">0</cx:pt>
          <cx:pt idx="89643">0</cx:pt>
          <cx:pt idx="89644">0</cx:pt>
          <cx:pt idx="89645">0</cx:pt>
          <cx:pt idx="89646">1</cx:pt>
          <cx:pt idx="89647">1</cx:pt>
          <cx:pt idx="89648">1</cx:pt>
          <cx:pt idx="89649">0</cx:pt>
          <cx:pt idx="89650">0</cx:pt>
          <cx:pt idx="89651">0</cx:pt>
          <cx:pt idx="89652">1</cx:pt>
          <cx:pt idx="89653">0</cx:pt>
          <cx:pt idx="89654">1</cx:pt>
          <cx:pt idx="89655">1</cx:pt>
          <cx:pt idx="89656">0</cx:pt>
          <cx:pt idx="89657">0</cx:pt>
          <cx:pt idx="89658">0</cx:pt>
          <cx:pt idx="89659">1</cx:pt>
          <cx:pt idx="89660">1</cx:pt>
          <cx:pt idx="89661">1</cx:pt>
          <cx:pt idx="89662">1</cx:pt>
          <cx:pt idx="89663">1</cx:pt>
          <cx:pt idx="89664">1</cx:pt>
          <cx:pt idx="89665">0</cx:pt>
          <cx:pt idx="89666">0</cx:pt>
          <cx:pt idx="89667">1</cx:pt>
          <cx:pt idx="89668">1</cx:pt>
          <cx:pt idx="89669">1</cx:pt>
          <cx:pt idx="89670">0</cx:pt>
          <cx:pt idx="89671">0</cx:pt>
          <cx:pt idx="89672">1</cx:pt>
          <cx:pt idx="89673">1</cx:pt>
          <cx:pt idx="89674">1</cx:pt>
          <cx:pt idx="89675">0</cx:pt>
          <cx:pt idx="89676">1</cx:pt>
          <cx:pt idx="89677">1</cx:pt>
          <cx:pt idx="89678">0</cx:pt>
          <cx:pt idx="89679">0</cx:pt>
          <cx:pt idx="89680">0</cx:pt>
          <cx:pt idx="89681">1</cx:pt>
          <cx:pt idx="89682">0</cx:pt>
          <cx:pt idx="89683">1</cx:pt>
          <cx:pt idx="89684">1</cx:pt>
          <cx:pt idx="89685">1</cx:pt>
          <cx:pt idx="89686">1</cx:pt>
          <cx:pt idx="89687">0</cx:pt>
          <cx:pt idx="89688">0</cx:pt>
          <cx:pt idx="89689">1</cx:pt>
          <cx:pt idx="89690">1</cx:pt>
          <cx:pt idx="89691">1</cx:pt>
          <cx:pt idx="89692">0</cx:pt>
          <cx:pt idx="89693">0</cx:pt>
          <cx:pt idx="89694">0</cx:pt>
          <cx:pt idx="89695">1</cx:pt>
          <cx:pt idx="89696">1</cx:pt>
          <cx:pt idx="89697">0</cx:pt>
          <cx:pt idx="89698">1</cx:pt>
          <cx:pt idx="89699">0</cx:pt>
          <cx:pt idx="89700">0</cx:pt>
          <cx:pt idx="89701">0</cx:pt>
          <cx:pt idx="89702">1</cx:pt>
          <cx:pt idx="89703">1</cx:pt>
          <cx:pt idx="89704">0</cx:pt>
          <cx:pt idx="89705">0</cx:pt>
          <cx:pt idx="89706">1</cx:pt>
          <cx:pt idx="89707">0</cx:pt>
          <cx:pt idx="89708">0</cx:pt>
          <cx:pt idx="89709">0</cx:pt>
          <cx:pt idx="89710">0</cx:pt>
          <cx:pt idx="89711">1</cx:pt>
          <cx:pt idx="89712">1</cx:pt>
          <cx:pt idx="89713">0</cx:pt>
          <cx:pt idx="89714">0</cx:pt>
          <cx:pt idx="89715">0</cx:pt>
          <cx:pt idx="89716">1</cx:pt>
          <cx:pt idx="89717">0</cx:pt>
          <cx:pt idx="89718">1</cx:pt>
          <cx:pt idx="89719">0</cx:pt>
          <cx:pt idx="89720">0</cx:pt>
          <cx:pt idx="89721">1</cx:pt>
          <cx:pt idx="89722">0</cx:pt>
          <cx:pt idx="89723">1</cx:pt>
          <cx:pt idx="89724">0</cx:pt>
          <cx:pt idx="89725">0</cx:pt>
          <cx:pt idx="89726">0</cx:pt>
          <cx:pt idx="89727">0</cx:pt>
          <cx:pt idx="89728">1</cx:pt>
          <cx:pt idx="89729">0</cx:pt>
          <cx:pt idx="89730">1</cx:pt>
          <cx:pt idx="89731">1</cx:pt>
          <cx:pt idx="89732">1</cx:pt>
          <cx:pt idx="89733">1</cx:pt>
          <cx:pt idx="89734">0</cx:pt>
          <cx:pt idx="89735">0</cx:pt>
          <cx:pt idx="89736">0</cx:pt>
          <cx:pt idx="89737">0</cx:pt>
          <cx:pt idx="89738">0</cx:pt>
          <cx:pt idx="89739">1</cx:pt>
          <cx:pt idx="89740">0</cx:pt>
          <cx:pt idx="89741">0</cx:pt>
          <cx:pt idx="89742">1</cx:pt>
          <cx:pt idx="89743">1</cx:pt>
          <cx:pt idx="89744">0</cx:pt>
          <cx:pt idx="89745">0</cx:pt>
          <cx:pt idx="89746">1</cx:pt>
          <cx:pt idx="89747">0</cx:pt>
          <cx:pt idx="89748">0</cx:pt>
          <cx:pt idx="89749">1</cx:pt>
          <cx:pt idx="89750">1</cx:pt>
          <cx:pt idx="89751">1</cx:pt>
          <cx:pt idx="89752">1</cx:pt>
          <cx:pt idx="89753">0</cx:pt>
          <cx:pt idx="89754">0</cx:pt>
          <cx:pt idx="89755">1</cx:pt>
          <cx:pt idx="89756">1</cx:pt>
          <cx:pt idx="89757">1</cx:pt>
          <cx:pt idx="89758">1</cx:pt>
          <cx:pt idx="89759">1</cx:pt>
          <cx:pt idx="89760">0</cx:pt>
          <cx:pt idx="89761">1</cx:pt>
          <cx:pt idx="89762">1</cx:pt>
          <cx:pt idx="89763">0</cx:pt>
          <cx:pt idx="89764">1</cx:pt>
          <cx:pt idx="89765">1</cx:pt>
          <cx:pt idx="89766">1</cx:pt>
          <cx:pt idx="89767">1</cx:pt>
          <cx:pt idx="89768">0</cx:pt>
          <cx:pt idx="89769">1</cx:pt>
          <cx:pt idx="89770">1</cx:pt>
          <cx:pt idx="89771">0</cx:pt>
          <cx:pt idx="89772">0</cx:pt>
          <cx:pt idx="89773">0</cx:pt>
          <cx:pt idx="89774">0</cx:pt>
          <cx:pt idx="89775">1</cx:pt>
          <cx:pt idx="89776">1</cx:pt>
          <cx:pt idx="89777">0</cx:pt>
          <cx:pt idx="89778">1</cx:pt>
          <cx:pt idx="89779">0</cx:pt>
          <cx:pt idx="89780">0</cx:pt>
          <cx:pt idx="89781">1</cx:pt>
          <cx:pt idx="89782">1</cx:pt>
          <cx:pt idx="89783">0</cx:pt>
          <cx:pt idx="89784">0</cx:pt>
          <cx:pt idx="89785">0</cx:pt>
          <cx:pt idx="89786">0</cx:pt>
          <cx:pt idx="89787">1</cx:pt>
          <cx:pt idx="89788">0</cx:pt>
          <cx:pt idx="89789">1</cx:pt>
          <cx:pt idx="89790">1</cx:pt>
          <cx:pt idx="89791">0</cx:pt>
          <cx:pt idx="89792">1</cx:pt>
          <cx:pt idx="89793">0</cx:pt>
          <cx:pt idx="89794">1</cx:pt>
          <cx:pt idx="89795">1</cx:pt>
          <cx:pt idx="89796">1</cx:pt>
          <cx:pt idx="89797">1</cx:pt>
          <cx:pt idx="89798">0</cx:pt>
          <cx:pt idx="89799">0</cx:pt>
          <cx:pt idx="89800">0</cx:pt>
          <cx:pt idx="89801">1</cx:pt>
          <cx:pt idx="89802">0</cx:pt>
          <cx:pt idx="89803">1</cx:pt>
          <cx:pt idx="89804">0</cx:pt>
          <cx:pt idx="89805">0</cx:pt>
          <cx:pt idx="89806">0</cx:pt>
          <cx:pt idx="89807">0</cx:pt>
          <cx:pt idx="89808">1</cx:pt>
          <cx:pt idx="89809">0</cx:pt>
          <cx:pt idx="89810">0</cx:pt>
          <cx:pt idx="89811">1</cx:pt>
          <cx:pt idx="89812">0</cx:pt>
          <cx:pt idx="89813">0</cx:pt>
          <cx:pt idx="89814">1</cx:pt>
          <cx:pt idx="89815">0</cx:pt>
          <cx:pt idx="89816">0</cx:pt>
          <cx:pt idx="89817">0</cx:pt>
          <cx:pt idx="89818">1</cx:pt>
          <cx:pt idx="89819">0</cx:pt>
          <cx:pt idx="89820">1</cx:pt>
          <cx:pt idx="89821">0</cx:pt>
          <cx:pt idx="89822">1</cx:pt>
          <cx:pt idx="89823">1</cx:pt>
          <cx:pt idx="89824">1</cx:pt>
          <cx:pt idx="89825">1</cx:pt>
          <cx:pt idx="89826">1</cx:pt>
          <cx:pt idx="89827">0</cx:pt>
          <cx:pt idx="89828">0</cx:pt>
          <cx:pt idx="89829">0</cx:pt>
          <cx:pt idx="89830">1</cx:pt>
          <cx:pt idx="89831">1</cx:pt>
          <cx:pt idx="89832">0</cx:pt>
          <cx:pt idx="89833">0</cx:pt>
          <cx:pt idx="89834">1</cx:pt>
          <cx:pt idx="89835">0</cx:pt>
          <cx:pt idx="89836">0</cx:pt>
          <cx:pt idx="89837">0</cx:pt>
          <cx:pt idx="89838">1</cx:pt>
          <cx:pt idx="89839">0</cx:pt>
          <cx:pt idx="89840">1</cx:pt>
          <cx:pt idx="89841">1</cx:pt>
          <cx:pt idx="89842">0</cx:pt>
          <cx:pt idx="89843">0</cx:pt>
          <cx:pt idx="89844">1</cx:pt>
          <cx:pt idx="89845">0</cx:pt>
          <cx:pt idx="89846">0</cx:pt>
          <cx:pt idx="89847">0</cx:pt>
          <cx:pt idx="89848">0</cx:pt>
          <cx:pt idx="89849">1</cx:pt>
          <cx:pt idx="89850">0</cx:pt>
          <cx:pt idx="89851">1</cx:pt>
          <cx:pt idx="89852">0</cx:pt>
          <cx:pt idx="89853">1</cx:pt>
          <cx:pt idx="89854">0</cx:pt>
          <cx:pt idx="89855">1</cx:pt>
          <cx:pt idx="89856">0</cx:pt>
          <cx:pt idx="89857">1</cx:pt>
          <cx:pt idx="89858">0</cx:pt>
          <cx:pt idx="89859">0</cx:pt>
          <cx:pt idx="89860">1</cx:pt>
          <cx:pt idx="89861">0</cx:pt>
          <cx:pt idx="89862">1</cx:pt>
          <cx:pt idx="89863">0</cx:pt>
          <cx:pt idx="89864">0</cx:pt>
          <cx:pt idx="89865">1</cx:pt>
          <cx:pt idx="89866">0</cx:pt>
          <cx:pt idx="89867">0</cx:pt>
          <cx:pt idx="89868">1</cx:pt>
          <cx:pt idx="89869">1</cx:pt>
          <cx:pt idx="89870">1</cx:pt>
          <cx:pt idx="89871">0</cx:pt>
          <cx:pt idx="89872">0</cx:pt>
          <cx:pt idx="89873">0</cx:pt>
          <cx:pt idx="89874">0</cx:pt>
          <cx:pt idx="89875">1</cx:pt>
          <cx:pt idx="89876">1</cx:pt>
          <cx:pt idx="89877">0</cx:pt>
          <cx:pt idx="89878">0</cx:pt>
          <cx:pt idx="89879">0</cx:pt>
          <cx:pt idx="89880">0</cx:pt>
          <cx:pt idx="89881">1</cx:pt>
          <cx:pt idx="89882">1</cx:pt>
          <cx:pt idx="89883">1</cx:pt>
          <cx:pt idx="89884">1</cx:pt>
          <cx:pt idx="89885">1</cx:pt>
          <cx:pt idx="89886">0</cx:pt>
          <cx:pt idx="89887">0</cx:pt>
          <cx:pt idx="89888">1</cx:pt>
          <cx:pt idx="89889">0</cx:pt>
          <cx:pt idx="89890">0</cx:pt>
          <cx:pt idx="89891">0</cx:pt>
          <cx:pt idx="89892">1</cx:pt>
          <cx:pt idx="89893">0</cx:pt>
          <cx:pt idx="89894">0</cx:pt>
          <cx:pt idx="89895">0</cx:pt>
          <cx:pt idx="89896">0</cx:pt>
          <cx:pt idx="89897">1</cx:pt>
          <cx:pt idx="89898">0</cx:pt>
          <cx:pt idx="89899">0</cx:pt>
          <cx:pt idx="89900">0</cx:pt>
          <cx:pt idx="89901">1</cx:pt>
          <cx:pt idx="89902">1</cx:pt>
          <cx:pt idx="89903">1</cx:pt>
          <cx:pt idx="89904">1</cx:pt>
          <cx:pt idx="89905">0</cx:pt>
          <cx:pt idx="89906">1</cx:pt>
          <cx:pt idx="89907">1</cx:pt>
          <cx:pt idx="89908">1</cx:pt>
          <cx:pt idx="89909">0</cx:pt>
          <cx:pt idx="89910">1</cx:pt>
          <cx:pt idx="89911">0</cx:pt>
          <cx:pt idx="89912">1</cx:pt>
          <cx:pt idx="89913">1</cx:pt>
          <cx:pt idx="89914">0</cx:pt>
          <cx:pt idx="89915">1</cx:pt>
          <cx:pt idx="89916">0</cx:pt>
          <cx:pt idx="89917">0</cx:pt>
          <cx:pt idx="89918">1</cx:pt>
          <cx:pt idx="89919">1</cx:pt>
          <cx:pt idx="89920">0</cx:pt>
          <cx:pt idx="89921">1</cx:pt>
          <cx:pt idx="89922">1</cx:pt>
          <cx:pt idx="89923">1</cx:pt>
          <cx:pt idx="89924">1</cx:pt>
          <cx:pt idx="89925">0</cx:pt>
          <cx:pt idx="89926">1</cx:pt>
          <cx:pt idx="89927">1</cx:pt>
          <cx:pt idx="89928">1</cx:pt>
          <cx:pt idx="89929">1</cx:pt>
          <cx:pt idx="89930">1</cx:pt>
          <cx:pt idx="89931">0</cx:pt>
          <cx:pt idx="89932">1</cx:pt>
          <cx:pt idx="89933">1</cx:pt>
          <cx:pt idx="89934">1</cx:pt>
          <cx:pt idx="89935">0</cx:pt>
          <cx:pt idx="89936">1</cx:pt>
          <cx:pt idx="89937">1</cx:pt>
          <cx:pt idx="89938">0</cx:pt>
          <cx:pt idx="89939">1</cx:pt>
          <cx:pt idx="89940">1</cx:pt>
          <cx:pt idx="89941">1</cx:pt>
          <cx:pt idx="89942">1</cx:pt>
          <cx:pt idx="89943">0</cx:pt>
          <cx:pt idx="89944">0</cx:pt>
          <cx:pt idx="89945">0</cx:pt>
          <cx:pt idx="89946">1</cx:pt>
          <cx:pt idx="89947">0</cx:pt>
          <cx:pt idx="89948">1</cx:pt>
          <cx:pt idx="89949">0</cx:pt>
          <cx:pt idx="89950">1</cx:pt>
          <cx:pt idx="89951">0</cx:pt>
          <cx:pt idx="89952">0</cx:pt>
          <cx:pt idx="89953">1</cx:pt>
          <cx:pt idx="89954">0</cx:pt>
          <cx:pt idx="89955">0</cx:pt>
          <cx:pt idx="89956">0</cx:pt>
          <cx:pt idx="89957">1</cx:pt>
          <cx:pt idx="89958">1</cx:pt>
          <cx:pt idx="89959">1</cx:pt>
          <cx:pt idx="89960">1</cx:pt>
          <cx:pt idx="89961">0</cx:pt>
          <cx:pt idx="89962">0</cx:pt>
          <cx:pt idx="89963">0</cx:pt>
          <cx:pt idx="89964">0</cx:pt>
          <cx:pt idx="89965">0</cx:pt>
          <cx:pt idx="89966">0</cx:pt>
          <cx:pt idx="89967">0</cx:pt>
          <cx:pt idx="89968">0</cx:pt>
          <cx:pt idx="89969">1</cx:pt>
          <cx:pt idx="89970">1</cx:pt>
          <cx:pt idx="89971">1</cx:pt>
          <cx:pt idx="89972">1</cx:pt>
          <cx:pt idx="89973">1</cx:pt>
          <cx:pt idx="89974">0</cx:pt>
          <cx:pt idx="89975">0</cx:pt>
          <cx:pt idx="89976">0</cx:pt>
          <cx:pt idx="89977">1</cx:pt>
          <cx:pt idx="89978">1</cx:pt>
          <cx:pt idx="89979">0</cx:pt>
          <cx:pt idx="89980">0</cx:pt>
          <cx:pt idx="89981">1</cx:pt>
          <cx:pt idx="89982">0</cx:pt>
          <cx:pt idx="89983">0</cx:pt>
          <cx:pt idx="89984">0</cx:pt>
          <cx:pt idx="89985">1</cx:pt>
          <cx:pt idx="89986">1</cx:pt>
          <cx:pt idx="89987">0</cx:pt>
          <cx:pt idx="89988">0</cx:pt>
          <cx:pt idx="89989">1</cx:pt>
          <cx:pt idx="89990">0</cx:pt>
          <cx:pt idx="89991">0</cx:pt>
          <cx:pt idx="89992">0</cx:pt>
          <cx:pt idx="89993">0</cx:pt>
          <cx:pt idx="89994">0</cx:pt>
          <cx:pt idx="89995">1</cx:pt>
          <cx:pt idx="89996">1</cx:pt>
          <cx:pt idx="89997">0</cx:pt>
          <cx:pt idx="89998">0</cx:pt>
          <cx:pt idx="89999">1</cx:pt>
          <cx:pt idx="90000">0</cx:pt>
          <cx:pt idx="90001">0</cx:pt>
          <cx:pt idx="90002">1</cx:pt>
          <cx:pt idx="90003">1</cx:pt>
          <cx:pt idx="90004">1</cx:pt>
          <cx:pt idx="90005">0</cx:pt>
          <cx:pt idx="90006">1</cx:pt>
          <cx:pt idx="90007">0</cx:pt>
          <cx:pt idx="90008">0</cx:pt>
          <cx:pt idx="90009">0</cx:pt>
          <cx:pt idx="90010">0</cx:pt>
          <cx:pt idx="90011">1</cx:pt>
          <cx:pt idx="90012">0</cx:pt>
          <cx:pt idx="90013">1</cx:pt>
          <cx:pt idx="90014">1</cx:pt>
          <cx:pt idx="90015">0</cx:pt>
          <cx:pt idx="90016">1</cx:pt>
          <cx:pt idx="90017">0</cx:pt>
          <cx:pt idx="90018">1</cx:pt>
          <cx:pt idx="90019">1</cx:pt>
          <cx:pt idx="90020">0</cx:pt>
          <cx:pt idx="90021">0</cx:pt>
          <cx:pt idx="90022">0</cx:pt>
          <cx:pt idx="90023">0</cx:pt>
          <cx:pt idx="90024">1</cx:pt>
          <cx:pt idx="90025">0</cx:pt>
          <cx:pt idx="90026">0</cx:pt>
          <cx:pt idx="90027">1</cx:pt>
          <cx:pt idx="90028">0</cx:pt>
          <cx:pt idx="90029">0</cx:pt>
          <cx:pt idx="90030">0</cx:pt>
          <cx:pt idx="90031">0</cx:pt>
          <cx:pt idx="90032">0</cx:pt>
          <cx:pt idx="90033">1</cx:pt>
          <cx:pt idx="90034">1</cx:pt>
          <cx:pt idx="90035">0</cx:pt>
          <cx:pt idx="90036">0</cx:pt>
          <cx:pt idx="90037">0</cx:pt>
          <cx:pt idx="90038">1</cx:pt>
          <cx:pt idx="90039">0</cx:pt>
          <cx:pt idx="90040">0</cx:pt>
          <cx:pt idx="90041">0</cx:pt>
          <cx:pt idx="90042">0</cx:pt>
          <cx:pt idx="90043">1</cx:pt>
          <cx:pt idx="90044">0</cx:pt>
          <cx:pt idx="90045">0</cx:pt>
          <cx:pt idx="90046">0</cx:pt>
          <cx:pt idx="90047">1</cx:pt>
          <cx:pt idx="90048">0</cx:pt>
          <cx:pt idx="90049">1</cx:pt>
          <cx:pt idx="90050">0</cx:pt>
          <cx:pt idx="90051">0</cx:pt>
          <cx:pt idx="90052">0</cx:pt>
          <cx:pt idx="90053">1</cx:pt>
          <cx:pt idx="90054">0</cx:pt>
          <cx:pt idx="90055">1</cx:pt>
          <cx:pt idx="90056">1</cx:pt>
          <cx:pt idx="90057">0</cx:pt>
          <cx:pt idx="90058">0</cx:pt>
          <cx:pt idx="90059">0</cx:pt>
          <cx:pt idx="90060">1</cx:pt>
          <cx:pt idx="90061">0</cx:pt>
          <cx:pt idx="90062">1</cx:pt>
          <cx:pt idx="90063">0</cx:pt>
          <cx:pt idx="90064">0</cx:pt>
          <cx:pt idx="90065">1</cx:pt>
          <cx:pt idx="90066">1</cx:pt>
          <cx:pt idx="90067">0</cx:pt>
          <cx:pt idx="90068">0</cx:pt>
          <cx:pt idx="90069">0</cx:pt>
          <cx:pt idx="90070">1</cx:pt>
          <cx:pt idx="90071">1</cx:pt>
          <cx:pt idx="90072">1</cx:pt>
          <cx:pt idx="90073">0</cx:pt>
          <cx:pt idx="90074">0</cx:pt>
          <cx:pt idx="90075">1</cx:pt>
          <cx:pt idx="90076">1</cx:pt>
          <cx:pt idx="90077">1</cx:pt>
          <cx:pt idx="90078">0</cx:pt>
          <cx:pt idx="90079">0</cx:pt>
          <cx:pt idx="90080">0</cx:pt>
          <cx:pt idx="90081">1</cx:pt>
          <cx:pt idx="90082">1</cx:pt>
          <cx:pt idx="90083">0</cx:pt>
          <cx:pt idx="90084">0</cx:pt>
          <cx:pt idx="90085">1</cx:pt>
          <cx:pt idx="90086">0</cx:pt>
          <cx:pt idx="90087">1</cx:pt>
          <cx:pt idx="90088">0</cx:pt>
          <cx:pt idx="90089">1</cx:pt>
          <cx:pt idx="90090">1</cx:pt>
          <cx:pt idx="90091">0</cx:pt>
          <cx:pt idx="90092">0</cx:pt>
          <cx:pt idx="90093">1</cx:pt>
          <cx:pt idx="90094">1</cx:pt>
          <cx:pt idx="90095">1</cx:pt>
          <cx:pt idx="90096">0</cx:pt>
          <cx:pt idx="90097">0</cx:pt>
          <cx:pt idx="90098">0</cx:pt>
          <cx:pt idx="90099">0</cx:pt>
          <cx:pt idx="90100">1</cx:pt>
          <cx:pt idx="90101">1</cx:pt>
          <cx:pt idx="90102">1</cx:pt>
          <cx:pt idx="90103">1</cx:pt>
          <cx:pt idx="90104">0</cx:pt>
          <cx:pt idx="90105">1</cx:pt>
          <cx:pt idx="90106">0</cx:pt>
          <cx:pt idx="90107">0</cx:pt>
          <cx:pt idx="90108">1</cx:pt>
          <cx:pt idx="90109">1</cx:pt>
          <cx:pt idx="90110">1</cx:pt>
          <cx:pt idx="90111">0</cx:pt>
          <cx:pt idx="90112">0</cx:pt>
          <cx:pt idx="90113">0</cx:pt>
          <cx:pt idx="90114">1</cx:pt>
          <cx:pt idx="90115">0</cx:pt>
          <cx:pt idx="90116">0</cx:pt>
          <cx:pt idx="90117">1</cx:pt>
          <cx:pt idx="90118">1</cx:pt>
          <cx:pt idx="90119">1</cx:pt>
          <cx:pt idx="90120">0</cx:pt>
          <cx:pt idx="90121">1</cx:pt>
          <cx:pt idx="90122">0</cx:pt>
          <cx:pt idx="90123">1</cx:pt>
          <cx:pt idx="90124">0</cx:pt>
          <cx:pt idx="90125">0</cx:pt>
          <cx:pt idx="90126">0</cx:pt>
          <cx:pt idx="90127">1</cx:pt>
          <cx:pt idx="90128">1</cx:pt>
          <cx:pt idx="90129">1</cx:pt>
          <cx:pt idx="90130">0</cx:pt>
          <cx:pt idx="90131">0</cx:pt>
          <cx:pt idx="90132">1</cx:pt>
          <cx:pt idx="90133">0</cx:pt>
          <cx:pt idx="90134">1</cx:pt>
          <cx:pt idx="90135">1</cx:pt>
          <cx:pt idx="90136">0</cx:pt>
          <cx:pt idx="90137">0</cx:pt>
          <cx:pt idx="90138">0</cx:pt>
          <cx:pt idx="90139">0</cx:pt>
          <cx:pt idx="90140">0</cx:pt>
          <cx:pt idx="90141">0</cx:pt>
          <cx:pt idx="90142">1</cx:pt>
          <cx:pt idx="90143">1</cx:pt>
          <cx:pt idx="90144">0</cx:pt>
          <cx:pt idx="90145">1</cx:pt>
          <cx:pt idx="90146">1</cx:pt>
          <cx:pt idx="90147">0</cx:pt>
          <cx:pt idx="90148">0</cx:pt>
          <cx:pt idx="90149">1</cx:pt>
          <cx:pt idx="90150">0</cx:pt>
          <cx:pt idx="90151">1</cx:pt>
          <cx:pt idx="90152">1</cx:pt>
          <cx:pt idx="90153">0</cx:pt>
          <cx:pt idx="90154">0</cx:pt>
          <cx:pt idx="90155">0</cx:pt>
          <cx:pt idx="90156">1</cx:pt>
          <cx:pt idx="90157">1</cx:pt>
          <cx:pt idx="90158">1</cx:pt>
          <cx:pt idx="90159">0</cx:pt>
          <cx:pt idx="90160">1</cx:pt>
          <cx:pt idx="90161">1</cx:pt>
          <cx:pt idx="90162">1</cx:pt>
          <cx:pt idx="90163">0</cx:pt>
          <cx:pt idx="90164">0</cx:pt>
          <cx:pt idx="90165">0</cx:pt>
          <cx:pt idx="90166">1</cx:pt>
          <cx:pt idx="90167">0</cx:pt>
          <cx:pt idx="90168">0</cx:pt>
          <cx:pt idx="90169">1</cx:pt>
          <cx:pt idx="90170">1</cx:pt>
          <cx:pt idx="90171">0</cx:pt>
          <cx:pt idx="90172">0</cx:pt>
          <cx:pt idx="90173">0</cx:pt>
          <cx:pt idx="90174">1</cx:pt>
          <cx:pt idx="90175">0</cx:pt>
          <cx:pt idx="90176">0</cx:pt>
          <cx:pt idx="90177">0</cx:pt>
          <cx:pt idx="90178">0</cx:pt>
          <cx:pt idx="90179">0</cx:pt>
          <cx:pt idx="90180">1</cx:pt>
          <cx:pt idx="90181">1</cx:pt>
          <cx:pt idx="90182">1</cx:pt>
          <cx:pt idx="90183">1</cx:pt>
          <cx:pt idx="90184">1</cx:pt>
          <cx:pt idx="90185">0</cx:pt>
          <cx:pt idx="90186">1</cx:pt>
          <cx:pt idx="90187">1</cx:pt>
          <cx:pt idx="90188">0</cx:pt>
          <cx:pt idx="90189">1</cx:pt>
          <cx:pt idx="90190">0</cx:pt>
          <cx:pt idx="90191">0</cx:pt>
          <cx:pt idx="90192">0</cx:pt>
          <cx:pt idx="90193">0</cx:pt>
          <cx:pt idx="90194">1</cx:pt>
          <cx:pt idx="90195">0</cx:pt>
          <cx:pt idx="90196">1</cx:pt>
          <cx:pt idx="90197">1</cx:pt>
          <cx:pt idx="90198">1</cx:pt>
          <cx:pt idx="90199">0</cx:pt>
          <cx:pt idx="90200">1</cx:pt>
          <cx:pt idx="90201">0</cx:pt>
          <cx:pt idx="90202">1</cx:pt>
          <cx:pt idx="90203">0</cx:pt>
          <cx:pt idx="90204">1</cx:pt>
          <cx:pt idx="90205">1</cx:pt>
          <cx:pt idx="90206">1</cx:pt>
          <cx:pt idx="90207">1</cx:pt>
          <cx:pt idx="90208">1</cx:pt>
          <cx:pt idx="90209">0</cx:pt>
          <cx:pt idx="90210">1</cx:pt>
          <cx:pt idx="90211">1</cx:pt>
          <cx:pt idx="90212">1</cx:pt>
          <cx:pt idx="90213">1</cx:pt>
          <cx:pt idx="90214">1</cx:pt>
          <cx:pt idx="90215">0</cx:pt>
          <cx:pt idx="90216">0</cx:pt>
          <cx:pt idx="90217">0</cx:pt>
          <cx:pt idx="90218">1</cx:pt>
          <cx:pt idx="90219">0</cx:pt>
          <cx:pt idx="90220">1</cx:pt>
          <cx:pt idx="90221">0</cx:pt>
          <cx:pt idx="90222">0</cx:pt>
          <cx:pt idx="90223">0</cx:pt>
          <cx:pt idx="90224">0</cx:pt>
          <cx:pt idx="90225">0</cx:pt>
          <cx:pt idx="90226">1</cx:pt>
          <cx:pt idx="90227">0</cx:pt>
          <cx:pt idx="90228">1</cx:pt>
          <cx:pt idx="90229">0</cx:pt>
          <cx:pt idx="90230">0</cx:pt>
          <cx:pt idx="90231">0</cx:pt>
          <cx:pt idx="90232">1</cx:pt>
          <cx:pt idx="90233">1</cx:pt>
          <cx:pt idx="90234">0</cx:pt>
          <cx:pt idx="90235">0</cx:pt>
          <cx:pt idx="90236">0</cx:pt>
          <cx:pt idx="90237">0</cx:pt>
          <cx:pt idx="90238">1</cx:pt>
          <cx:pt idx="90239">1</cx:pt>
          <cx:pt idx="90240">1</cx:pt>
          <cx:pt idx="90241">0</cx:pt>
          <cx:pt idx="90242">0</cx:pt>
          <cx:pt idx="90243">1</cx:pt>
          <cx:pt idx="90244">1</cx:pt>
          <cx:pt idx="90245">1</cx:pt>
          <cx:pt idx="90246">1</cx:pt>
          <cx:pt idx="90247">1</cx:pt>
          <cx:pt idx="90248">1</cx:pt>
          <cx:pt idx="90249">1</cx:pt>
          <cx:pt idx="90250">1</cx:pt>
          <cx:pt idx="90251">0</cx:pt>
          <cx:pt idx="90252">1</cx:pt>
          <cx:pt idx="90253">0</cx:pt>
          <cx:pt idx="90254">0</cx:pt>
          <cx:pt idx="90255">0</cx:pt>
          <cx:pt idx="90256">1</cx:pt>
          <cx:pt idx="90257">1</cx:pt>
          <cx:pt idx="90258">1</cx:pt>
          <cx:pt idx="90259">1</cx:pt>
          <cx:pt idx="90260">0</cx:pt>
          <cx:pt idx="90261">1</cx:pt>
          <cx:pt idx="90262">0</cx:pt>
          <cx:pt idx="90263">1</cx:pt>
          <cx:pt idx="90264">1</cx:pt>
          <cx:pt idx="90265">1</cx:pt>
          <cx:pt idx="90266">0</cx:pt>
          <cx:pt idx="90267">0</cx:pt>
          <cx:pt idx="90268">1</cx:pt>
          <cx:pt idx="90269">0</cx:pt>
          <cx:pt idx="90270">0</cx:pt>
          <cx:pt idx="90271">1</cx:pt>
          <cx:pt idx="90272">1</cx:pt>
          <cx:pt idx="90273">0</cx:pt>
          <cx:pt idx="90274">1</cx:pt>
          <cx:pt idx="90275">0</cx:pt>
          <cx:pt idx="90276">1</cx:pt>
          <cx:pt idx="90277">1</cx:pt>
          <cx:pt idx="90278">1</cx:pt>
          <cx:pt idx="90279">0</cx:pt>
          <cx:pt idx="90280">1</cx:pt>
          <cx:pt idx="90281">1</cx:pt>
          <cx:pt idx="90282">0</cx:pt>
          <cx:pt idx="90283">0</cx:pt>
          <cx:pt idx="90284">0</cx:pt>
          <cx:pt idx="90285">0</cx:pt>
          <cx:pt idx="90286">0</cx:pt>
          <cx:pt idx="90287">1</cx:pt>
          <cx:pt idx="90288">0</cx:pt>
          <cx:pt idx="90289">0</cx:pt>
          <cx:pt idx="90290">1</cx:pt>
          <cx:pt idx="90291">0</cx:pt>
          <cx:pt idx="90292">0</cx:pt>
          <cx:pt idx="90293">1</cx:pt>
          <cx:pt idx="90294">1</cx:pt>
          <cx:pt idx="90295">0</cx:pt>
          <cx:pt idx="90296">1</cx:pt>
          <cx:pt idx="90297">1</cx:pt>
          <cx:pt idx="90298">0</cx:pt>
          <cx:pt idx="90299">0</cx:pt>
          <cx:pt idx="90300">0</cx:pt>
          <cx:pt idx="90301">0</cx:pt>
          <cx:pt idx="90302">0</cx:pt>
          <cx:pt idx="90303">1</cx:pt>
          <cx:pt idx="90304">0</cx:pt>
          <cx:pt idx="90305">1</cx:pt>
          <cx:pt idx="90306">1</cx:pt>
          <cx:pt idx="90307">0</cx:pt>
          <cx:pt idx="90308">0</cx:pt>
          <cx:pt idx="90309">1</cx:pt>
          <cx:pt idx="90310">1</cx:pt>
          <cx:pt idx="90311">1</cx:pt>
          <cx:pt idx="90312">1</cx:pt>
          <cx:pt idx="90313">1</cx:pt>
          <cx:pt idx="90314">1</cx:pt>
          <cx:pt idx="90315">0</cx:pt>
          <cx:pt idx="90316">0</cx:pt>
          <cx:pt idx="90317">0</cx:pt>
          <cx:pt idx="90318">0</cx:pt>
          <cx:pt idx="90319">0</cx:pt>
          <cx:pt idx="90320">0</cx:pt>
          <cx:pt idx="90321">1</cx:pt>
          <cx:pt idx="90322">1</cx:pt>
          <cx:pt idx="90323">1</cx:pt>
          <cx:pt idx="90324">1</cx:pt>
          <cx:pt idx="90325">1</cx:pt>
          <cx:pt idx="90326">1</cx:pt>
          <cx:pt idx="90327">0</cx:pt>
          <cx:pt idx="90328">1</cx:pt>
          <cx:pt idx="90329">0</cx:pt>
          <cx:pt idx="90330">1</cx:pt>
          <cx:pt idx="90331">1</cx:pt>
          <cx:pt idx="90332">0</cx:pt>
          <cx:pt idx="90333">0</cx:pt>
          <cx:pt idx="90334">1</cx:pt>
          <cx:pt idx="90335">0</cx:pt>
          <cx:pt idx="90336">1</cx:pt>
          <cx:pt idx="90337">1</cx:pt>
          <cx:pt idx="90338">1</cx:pt>
          <cx:pt idx="90339">0</cx:pt>
          <cx:pt idx="90340">1</cx:pt>
          <cx:pt idx="90341">0</cx:pt>
          <cx:pt idx="90342">1</cx:pt>
          <cx:pt idx="90343">0</cx:pt>
          <cx:pt idx="90344">0</cx:pt>
          <cx:pt idx="90345">0</cx:pt>
          <cx:pt idx="90346">1</cx:pt>
          <cx:pt idx="90347">1</cx:pt>
          <cx:pt idx="90348">1</cx:pt>
          <cx:pt idx="90349">0</cx:pt>
          <cx:pt idx="90350">1</cx:pt>
          <cx:pt idx="90351">0</cx:pt>
          <cx:pt idx="90352">1</cx:pt>
          <cx:pt idx="90353">0</cx:pt>
          <cx:pt idx="90354">0</cx:pt>
          <cx:pt idx="90355">1</cx:pt>
          <cx:pt idx="90356">1</cx:pt>
          <cx:pt idx="90357">0</cx:pt>
          <cx:pt idx="90358">1</cx:pt>
          <cx:pt idx="90359">0</cx:pt>
          <cx:pt idx="90360">0</cx:pt>
          <cx:pt idx="90361">0</cx:pt>
          <cx:pt idx="90362">0</cx:pt>
          <cx:pt idx="90363">0</cx:pt>
          <cx:pt idx="90364">1</cx:pt>
          <cx:pt idx="90365">1</cx:pt>
          <cx:pt idx="90366">0</cx:pt>
          <cx:pt idx="90367">1</cx:pt>
          <cx:pt idx="90368">1</cx:pt>
          <cx:pt idx="90369">1</cx:pt>
          <cx:pt idx="90370">0</cx:pt>
          <cx:pt idx="90371">0</cx:pt>
          <cx:pt idx="90372">0</cx:pt>
          <cx:pt idx="90373">0</cx:pt>
          <cx:pt idx="90374">1</cx:pt>
          <cx:pt idx="90375">0</cx:pt>
          <cx:pt idx="90376">1</cx:pt>
          <cx:pt idx="90377">0</cx:pt>
          <cx:pt idx="90378">1</cx:pt>
          <cx:pt idx="90379">0</cx:pt>
          <cx:pt idx="90380">1</cx:pt>
          <cx:pt idx="90381">1</cx:pt>
          <cx:pt idx="90382">1</cx:pt>
          <cx:pt idx="90383">0</cx:pt>
          <cx:pt idx="90384">1</cx:pt>
          <cx:pt idx="90385">1</cx:pt>
          <cx:pt idx="90386">0</cx:pt>
          <cx:pt idx="90387">1</cx:pt>
          <cx:pt idx="90388">0</cx:pt>
          <cx:pt idx="90389">0</cx:pt>
          <cx:pt idx="90390">1</cx:pt>
          <cx:pt idx="90391">1</cx:pt>
          <cx:pt idx="90392">1</cx:pt>
          <cx:pt idx="90393">1</cx:pt>
          <cx:pt idx="90394">1</cx:pt>
          <cx:pt idx="90395">0</cx:pt>
          <cx:pt idx="90396">1</cx:pt>
          <cx:pt idx="90397">1</cx:pt>
          <cx:pt idx="90398">0</cx:pt>
          <cx:pt idx="90399">1</cx:pt>
          <cx:pt idx="90400">0</cx:pt>
          <cx:pt idx="90401">1</cx:pt>
          <cx:pt idx="90402">1</cx:pt>
          <cx:pt idx="90403">0</cx:pt>
          <cx:pt idx="90404">1</cx:pt>
          <cx:pt idx="90405">1</cx:pt>
          <cx:pt idx="90406">0</cx:pt>
          <cx:pt idx="90407">1</cx:pt>
          <cx:pt idx="90408">0</cx:pt>
          <cx:pt idx="90409">0</cx:pt>
          <cx:pt idx="90410">1</cx:pt>
          <cx:pt idx="90411">1</cx:pt>
          <cx:pt idx="90412">0</cx:pt>
          <cx:pt idx="90413">1</cx:pt>
          <cx:pt idx="90414">1</cx:pt>
          <cx:pt idx="90415">1</cx:pt>
          <cx:pt idx="90416">1</cx:pt>
          <cx:pt idx="90417">1</cx:pt>
          <cx:pt idx="90418">0</cx:pt>
          <cx:pt idx="90419">1</cx:pt>
          <cx:pt idx="90420">0</cx:pt>
          <cx:pt idx="90421">1</cx:pt>
          <cx:pt idx="90422">1</cx:pt>
          <cx:pt idx="90423">0</cx:pt>
          <cx:pt idx="90424">0</cx:pt>
          <cx:pt idx="90425">0</cx:pt>
          <cx:pt idx="90426">0</cx:pt>
          <cx:pt idx="90427">0</cx:pt>
          <cx:pt idx="90428">0</cx:pt>
          <cx:pt idx="90429">0</cx:pt>
          <cx:pt idx="90430">0</cx:pt>
          <cx:pt idx="90431">1</cx:pt>
          <cx:pt idx="90432">0</cx:pt>
          <cx:pt idx="90433">0</cx:pt>
          <cx:pt idx="90434">0</cx:pt>
          <cx:pt idx="90435">0</cx:pt>
          <cx:pt idx="90436">0</cx:pt>
          <cx:pt idx="90437">1</cx:pt>
          <cx:pt idx="90438">0</cx:pt>
          <cx:pt idx="90439">1</cx:pt>
          <cx:pt idx="90440">0</cx:pt>
          <cx:pt idx="90441">1</cx:pt>
          <cx:pt idx="90442">0</cx:pt>
          <cx:pt idx="90443">1</cx:pt>
          <cx:pt idx="90444">0</cx:pt>
          <cx:pt idx="90445">0</cx:pt>
          <cx:pt idx="90446">1</cx:pt>
          <cx:pt idx="90447">0</cx:pt>
          <cx:pt idx="90448">1</cx:pt>
          <cx:pt idx="90449">1</cx:pt>
          <cx:pt idx="90450">1</cx:pt>
          <cx:pt idx="90451">0</cx:pt>
          <cx:pt idx="90452">1</cx:pt>
          <cx:pt idx="90453">1</cx:pt>
          <cx:pt idx="90454">1</cx:pt>
          <cx:pt idx="90455">1</cx:pt>
          <cx:pt idx="90456">0</cx:pt>
          <cx:pt idx="90457">1</cx:pt>
          <cx:pt idx="90458">1</cx:pt>
          <cx:pt idx="90459">0</cx:pt>
          <cx:pt idx="90460">0</cx:pt>
          <cx:pt idx="90461">1</cx:pt>
          <cx:pt idx="90462">1</cx:pt>
          <cx:pt idx="90463">0</cx:pt>
          <cx:pt idx="90464">1</cx:pt>
          <cx:pt idx="90465">0</cx:pt>
          <cx:pt idx="90466">1</cx:pt>
          <cx:pt idx="90467">1</cx:pt>
          <cx:pt idx="90468">1</cx:pt>
          <cx:pt idx="90469">1</cx:pt>
          <cx:pt idx="90470">1</cx:pt>
          <cx:pt idx="90471">0</cx:pt>
          <cx:pt idx="90472">1</cx:pt>
          <cx:pt idx="90473">0</cx:pt>
          <cx:pt idx="90474">1</cx:pt>
          <cx:pt idx="90475">1</cx:pt>
          <cx:pt idx="90476">0</cx:pt>
          <cx:pt idx="90477">0</cx:pt>
          <cx:pt idx="90478">0</cx:pt>
          <cx:pt idx="90479">0</cx:pt>
          <cx:pt idx="90480">1</cx:pt>
          <cx:pt idx="90481">1</cx:pt>
          <cx:pt idx="90482">1</cx:pt>
          <cx:pt idx="90483">0</cx:pt>
          <cx:pt idx="90484">0</cx:pt>
          <cx:pt idx="90485">1</cx:pt>
          <cx:pt idx="90486">1</cx:pt>
          <cx:pt idx="90487">0</cx:pt>
          <cx:pt idx="90488">1</cx:pt>
          <cx:pt idx="90489">1</cx:pt>
          <cx:pt idx="90490">0</cx:pt>
          <cx:pt idx="90491">0</cx:pt>
          <cx:pt idx="90492">0</cx:pt>
          <cx:pt idx="90493">0</cx:pt>
          <cx:pt idx="90494">1</cx:pt>
          <cx:pt idx="90495">1</cx:pt>
          <cx:pt idx="90496">0</cx:pt>
          <cx:pt idx="90497">0</cx:pt>
          <cx:pt idx="90498">1</cx:pt>
          <cx:pt idx="90499">0</cx:pt>
          <cx:pt idx="90500">1</cx:pt>
          <cx:pt idx="90501">0</cx:pt>
          <cx:pt idx="90502">1</cx:pt>
          <cx:pt idx="90503">1</cx:pt>
          <cx:pt idx="90504">0</cx:pt>
          <cx:pt idx="90505">1</cx:pt>
          <cx:pt idx="90506">1</cx:pt>
          <cx:pt idx="90507">0</cx:pt>
          <cx:pt idx="90508">0</cx:pt>
          <cx:pt idx="90509">1</cx:pt>
          <cx:pt idx="90510">1</cx:pt>
          <cx:pt idx="90511">1</cx:pt>
          <cx:pt idx="90512">1</cx:pt>
          <cx:pt idx="90513">1</cx:pt>
          <cx:pt idx="90514">1</cx:pt>
          <cx:pt idx="90515">1</cx:pt>
          <cx:pt idx="90516">1</cx:pt>
          <cx:pt idx="90517">0</cx:pt>
          <cx:pt idx="90518">0</cx:pt>
          <cx:pt idx="90519">0</cx:pt>
          <cx:pt idx="90520">0</cx:pt>
          <cx:pt idx="90521">1</cx:pt>
          <cx:pt idx="90522">0</cx:pt>
          <cx:pt idx="90523">0</cx:pt>
          <cx:pt idx="90524">1</cx:pt>
          <cx:pt idx="90525">0</cx:pt>
          <cx:pt idx="90526">0</cx:pt>
          <cx:pt idx="90527">0</cx:pt>
          <cx:pt idx="90528">1</cx:pt>
          <cx:pt idx="90529">1</cx:pt>
          <cx:pt idx="90530">0</cx:pt>
          <cx:pt idx="90531">0</cx:pt>
          <cx:pt idx="90532">1</cx:pt>
          <cx:pt idx="90533">0</cx:pt>
          <cx:pt idx="90534">1</cx:pt>
          <cx:pt idx="90535">0</cx:pt>
          <cx:pt idx="90536">0</cx:pt>
          <cx:pt idx="90537">0</cx:pt>
          <cx:pt idx="90538">0</cx:pt>
          <cx:pt idx="90539">0</cx:pt>
          <cx:pt idx="90540">1</cx:pt>
          <cx:pt idx="90541">0</cx:pt>
          <cx:pt idx="90542">0</cx:pt>
          <cx:pt idx="90543">0</cx:pt>
          <cx:pt idx="90544">0</cx:pt>
          <cx:pt idx="90545">1</cx:pt>
          <cx:pt idx="90546">1</cx:pt>
          <cx:pt idx="90547">0</cx:pt>
          <cx:pt idx="90548">0</cx:pt>
          <cx:pt idx="90549">1</cx:pt>
          <cx:pt idx="90550">0</cx:pt>
          <cx:pt idx="90551">1</cx:pt>
          <cx:pt idx="90552">0</cx:pt>
          <cx:pt idx="90553">0</cx:pt>
          <cx:pt idx="90554">0</cx:pt>
          <cx:pt idx="90555">1</cx:pt>
          <cx:pt idx="90556">1</cx:pt>
          <cx:pt idx="90557">0</cx:pt>
          <cx:pt idx="90558">0</cx:pt>
          <cx:pt idx="90559">0</cx:pt>
          <cx:pt idx="90560">1</cx:pt>
          <cx:pt idx="90561">1</cx:pt>
          <cx:pt idx="90562">0</cx:pt>
          <cx:pt idx="90563">0</cx:pt>
          <cx:pt idx="90564">1</cx:pt>
          <cx:pt idx="90565">1</cx:pt>
          <cx:pt idx="90566">1</cx:pt>
          <cx:pt idx="90567">1</cx:pt>
          <cx:pt idx="90568">1</cx:pt>
          <cx:pt idx="90569">1</cx:pt>
          <cx:pt idx="90570">0</cx:pt>
          <cx:pt idx="90571">0</cx:pt>
          <cx:pt idx="90572">0</cx:pt>
          <cx:pt idx="90573">0</cx:pt>
          <cx:pt idx="90574">1</cx:pt>
          <cx:pt idx="90575">0</cx:pt>
          <cx:pt idx="90576">0</cx:pt>
          <cx:pt idx="90577">0</cx:pt>
          <cx:pt idx="90578">0</cx:pt>
          <cx:pt idx="90579">1</cx:pt>
          <cx:pt idx="90580">0</cx:pt>
          <cx:pt idx="90581">0</cx:pt>
          <cx:pt idx="90582">0</cx:pt>
          <cx:pt idx="90583">0</cx:pt>
          <cx:pt idx="90584">0</cx:pt>
          <cx:pt idx="90585">0</cx:pt>
          <cx:pt idx="90586">0</cx:pt>
          <cx:pt idx="90587">1</cx:pt>
          <cx:pt idx="90588">0</cx:pt>
          <cx:pt idx="90589">1</cx:pt>
          <cx:pt idx="90590">0</cx:pt>
          <cx:pt idx="90591">0</cx:pt>
          <cx:pt idx="90592">0</cx:pt>
          <cx:pt idx="90593">0</cx:pt>
          <cx:pt idx="90594">0</cx:pt>
          <cx:pt idx="90595">1</cx:pt>
          <cx:pt idx="90596">0</cx:pt>
          <cx:pt idx="90597">1</cx:pt>
          <cx:pt idx="90598">1</cx:pt>
          <cx:pt idx="90599">1</cx:pt>
          <cx:pt idx="90600">1</cx:pt>
          <cx:pt idx="90601">1</cx:pt>
          <cx:pt idx="90602">0</cx:pt>
          <cx:pt idx="90603">1</cx:pt>
          <cx:pt idx="90604">0</cx:pt>
          <cx:pt idx="90605">1</cx:pt>
          <cx:pt idx="90606">0</cx:pt>
          <cx:pt idx="90607">1</cx:pt>
          <cx:pt idx="90608">1</cx:pt>
          <cx:pt idx="90609">0</cx:pt>
          <cx:pt idx="90610">1</cx:pt>
          <cx:pt idx="90611">0</cx:pt>
          <cx:pt idx="90612">1</cx:pt>
          <cx:pt idx="90613">1</cx:pt>
          <cx:pt idx="90614">1</cx:pt>
          <cx:pt idx="90615">0</cx:pt>
          <cx:pt idx="90616">0</cx:pt>
          <cx:pt idx="90617">0</cx:pt>
          <cx:pt idx="90618">0</cx:pt>
          <cx:pt idx="90619">1</cx:pt>
          <cx:pt idx="90620">1</cx:pt>
          <cx:pt idx="90621">1</cx:pt>
          <cx:pt idx="90622">0</cx:pt>
          <cx:pt idx="90623">1</cx:pt>
          <cx:pt idx="90624">1</cx:pt>
          <cx:pt idx="90625">0</cx:pt>
          <cx:pt idx="90626">1</cx:pt>
          <cx:pt idx="90627">0</cx:pt>
          <cx:pt idx="90628">1</cx:pt>
          <cx:pt idx="90629">0</cx:pt>
          <cx:pt idx="90630">1</cx:pt>
          <cx:pt idx="90631">1</cx:pt>
          <cx:pt idx="90632">1</cx:pt>
          <cx:pt idx="90633">0</cx:pt>
          <cx:pt idx="90634">1</cx:pt>
          <cx:pt idx="90635">0</cx:pt>
          <cx:pt idx="90636">1</cx:pt>
          <cx:pt idx="90637">0</cx:pt>
          <cx:pt idx="90638">1</cx:pt>
          <cx:pt idx="90639">0</cx:pt>
          <cx:pt idx="90640">1</cx:pt>
          <cx:pt idx="90641">0</cx:pt>
          <cx:pt idx="90642">0</cx:pt>
          <cx:pt idx="90643">1</cx:pt>
          <cx:pt idx="90644">1</cx:pt>
          <cx:pt idx="90645">1</cx:pt>
          <cx:pt idx="90646">0</cx:pt>
          <cx:pt idx="90647">0</cx:pt>
          <cx:pt idx="90648">1</cx:pt>
          <cx:pt idx="90649">1</cx:pt>
          <cx:pt idx="90650">0</cx:pt>
          <cx:pt idx="90651">1</cx:pt>
          <cx:pt idx="90652">0</cx:pt>
          <cx:pt idx="90653">0</cx:pt>
          <cx:pt idx="90654">1</cx:pt>
          <cx:pt idx="90655">0</cx:pt>
          <cx:pt idx="90656">0</cx:pt>
          <cx:pt idx="90657">0</cx:pt>
          <cx:pt idx="90658">1</cx:pt>
          <cx:pt idx="90659">0</cx:pt>
          <cx:pt idx="90660">1</cx:pt>
          <cx:pt idx="90661">0</cx:pt>
          <cx:pt idx="90662">0</cx:pt>
          <cx:pt idx="90663">1</cx:pt>
          <cx:pt idx="90664">1</cx:pt>
          <cx:pt idx="90665">1</cx:pt>
          <cx:pt idx="90666">1</cx:pt>
          <cx:pt idx="90667">1</cx:pt>
          <cx:pt idx="90668">0</cx:pt>
          <cx:pt idx="90669">0</cx:pt>
          <cx:pt idx="90670">1</cx:pt>
          <cx:pt idx="90671">1</cx:pt>
          <cx:pt idx="90672">1</cx:pt>
          <cx:pt idx="90673">0</cx:pt>
          <cx:pt idx="90674">1</cx:pt>
          <cx:pt idx="90675">0</cx:pt>
          <cx:pt idx="90676">1</cx:pt>
          <cx:pt idx="90677">0</cx:pt>
          <cx:pt idx="90678">1</cx:pt>
          <cx:pt idx="90679">1</cx:pt>
          <cx:pt idx="90680">0</cx:pt>
          <cx:pt idx="90681">1</cx:pt>
          <cx:pt idx="90682">0</cx:pt>
          <cx:pt idx="90683">0</cx:pt>
          <cx:pt idx="90684">0</cx:pt>
          <cx:pt idx="90685">0</cx:pt>
          <cx:pt idx="90686">1</cx:pt>
          <cx:pt idx="90687">0</cx:pt>
          <cx:pt idx="90688">0</cx:pt>
          <cx:pt idx="90689">1</cx:pt>
          <cx:pt idx="90690">0</cx:pt>
          <cx:pt idx="90691">0</cx:pt>
          <cx:pt idx="90692">0</cx:pt>
          <cx:pt idx="90693">0</cx:pt>
          <cx:pt idx="90694">0</cx:pt>
          <cx:pt idx="90695">0</cx:pt>
          <cx:pt idx="90696">0</cx:pt>
          <cx:pt idx="90697">0</cx:pt>
          <cx:pt idx="90698">1</cx:pt>
          <cx:pt idx="90699">1</cx:pt>
          <cx:pt idx="90700">0</cx:pt>
          <cx:pt idx="90701">1</cx:pt>
          <cx:pt idx="90702">0</cx:pt>
          <cx:pt idx="90703">0</cx:pt>
          <cx:pt idx="90704">0</cx:pt>
          <cx:pt idx="90705">1</cx:pt>
          <cx:pt idx="90706">1</cx:pt>
          <cx:pt idx="90707">0</cx:pt>
          <cx:pt idx="90708">1</cx:pt>
          <cx:pt idx="90709">1</cx:pt>
          <cx:pt idx="90710">1</cx:pt>
          <cx:pt idx="90711">0</cx:pt>
          <cx:pt idx="90712">0</cx:pt>
          <cx:pt idx="90713">0</cx:pt>
          <cx:pt idx="90714">0</cx:pt>
          <cx:pt idx="90715">1</cx:pt>
          <cx:pt idx="90716">1</cx:pt>
          <cx:pt idx="90717">1</cx:pt>
          <cx:pt idx="90718">1</cx:pt>
          <cx:pt idx="90719">0</cx:pt>
          <cx:pt idx="90720">0</cx:pt>
          <cx:pt idx="90721">0</cx:pt>
          <cx:pt idx="90722">0</cx:pt>
          <cx:pt idx="90723">1</cx:pt>
          <cx:pt idx="90724">0</cx:pt>
          <cx:pt idx="90725">1</cx:pt>
          <cx:pt idx="90726">1</cx:pt>
          <cx:pt idx="90727">1</cx:pt>
          <cx:pt idx="90728">0</cx:pt>
          <cx:pt idx="90729">1</cx:pt>
          <cx:pt idx="90730">1</cx:pt>
          <cx:pt idx="90731">1</cx:pt>
          <cx:pt idx="90732">0</cx:pt>
          <cx:pt idx="90733">0</cx:pt>
          <cx:pt idx="90734">0</cx:pt>
          <cx:pt idx="90735">0</cx:pt>
          <cx:pt idx="90736">1</cx:pt>
          <cx:pt idx="90737">1</cx:pt>
          <cx:pt idx="90738">1</cx:pt>
          <cx:pt idx="90739">1</cx:pt>
          <cx:pt idx="90740">1</cx:pt>
          <cx:pt idx="90741">1</cx:pt>
          <cx:pt idx="90742">0</cx:pt>
          <cx:pt idx="90743">0</cx:pt>
          <cx:pt idx="90744">1</cx:pt>
          <cx:pt idx="90745">0</cx:pt>
          <cx:pt idx="90746">1</cx:pt>
          <cx:pt idx="90747">0</cx:pt>
          <cx:pt idx="90748">0</cx:pt>
          <cx:pt idx="90749">0</cx:pt>
          <cx:pt idx="90750">0</cx:pt>
          <cx:pt idx="90751">0</cx:pt>
          <cx:pt idx="90752">0</cx:pt>
          <cx:pt idx="90753">0</cx:pt>
          <cx:pt idx="90754">0</cx:pt>
          <cx:pt idx="90755">0</cx:pt>
          <cx:pt idx="90756">1</cx:pt>
          <cx:pt idx="90757">1</cx:pt>
          <cx:pt idx="90758">0</cx:pt>
          <cx:pt idx="90759">1</cx:pt>
          <cx:pt idx="90760">0</cx:pt>
          <cx:pt idx="90761">1</cx:pt>
          <cx:pt idx="90762">1</cx:pt>
          <cx:pt idx="90763">1</cx:pt>
          <cx:pt idx="90764">1</cx:pt>
          <cx:pt idx="90765">0</cx:pt>
          <cx:pt idx="90766">0</cx:pt>
          <cx:pt idx="90767">0</cx:pt>
          <cx:pt idx="90768">0</cx:pt>
          <cx:pt idx="90769">1</cx:pt>
          <cx:pt idx="90770">0</cx:pt>
          <cx:pt idx="90771">0</cx:pt>
          <cx:pt idx="90772">1</cx:pt>
          <cx:pt idx="90773">1</cx:pt>
          <cx:pt idx="90774">1</cx:pt>
          <cx:pt idx="90775">0</cx:pt>
          <cx:pt idx="90776">0</cx:pt>
          <cx:pt idx="90777">0</cx:pt>
          <cx:pt idx="90778">0</cx:pt>
          <cx:pt idx="90779">0</cx:pt>
          <cx:pt idx="90780">0</cx:pt>
          <cx:pt idx="90781">1</cx:pt>
          <cx:pt idx="90782">0</cx:pt>
          <cx:pt idx="90783">0</cx:pt>
          <cx:pt idx="90784">1</cx:pt>
          <cx:pt idx="90785">0</cx:pt>
          <cx:pt idx="90786">1</cx:pt>
          <cx:pt idx="90787">0</cx:pt>
          <cx:pt idx="90788">0</cx:pt>
          <cx:pt idx="90789">0</cx:pt>
          <cx:pt idx="90790">1</cx:pt>
          <cx:pt idx="90791">0</cx:pt>
          <cx:pt idx="90792">0</cx:pt>
          <cx:pt idx="90793">0</cx:pt>
          <cx:pt idx="90794">0</cx:pt>
          <cx:pt idx="90795">1</cx:pt>
          <cx:pt idx="90796">1</cx:pt>
          <cx:pt idx="90797">1</cx:pt>
          <cx:pt idx="90798">1</cx:pt>
          <cx:pt idx="90799">0</cx:pt>
          <cx:pt idx="90800">0</cx:pt>
          <cx:pt idx="90801">0</cx:pt>
          <cx:pt idx="90802">0</cx:pt>
          <cx:pt idx="90803">0</cx:pt>
          <cx:pt idx="90804">1</cx:pt>
          <cx:pt idx="90805">1</cx:pt>
          <cx:pt idx="90806">0</cx:pt>
          <cx:pt idx="90807">1</cx:pt>
          <cx:pt idx="90808">1</cx:pt>
          <cx:pt idx="90809">0</cx:pt>
          <cx:pt idx="90810">0</cx:pt>
          <cx:pt idx="90811">1</cx:pt>
          <cx:pt idx="90812">0</cx:pt>
          <cx:pt idx="90813">1</cx:pt>
          <cx:pt idx="90814">1</cx:pt>
          <cx:pt idx="90815">1</cx:pt>
          <cx:pt idx="90816">1</cx:pt>
          <cx:pt idx="90817">1</cx:pt>
          <cx:pt idx="90818">0</cx:pt>
          <cx:pt idx="90819">1</cx:pt>
          <cx:pt idx="90820">0</cx:pt>
          <cx:pt idx="90821">1</cx:pt>
          <cx:pt idx="90822">1</cx:pt>
          <cx:pt idx="90823">0</cx:pt>
          <cx:pt idx="90824">0</cx:pt>
          <cx:pt idx="90825">0</cx:pt>
          <cx:pt idx="90826">1</cx:pt>
          <cx:pt idx="90827">0</cx:pt>
          <cx:pt idx="90828">1</cx:pt>
          <cx:pt idx="90829">0</cx:pt>
          <cx:pt idx="90830">0</cx:pt>
          <cx:pt idx="90831">1</cx:pt>
          <cx:pt idx="90832">1</cx:pt>
          <cx:pt idx="90833">1</cx:pt>
          <cx:pt idx="90834">1</cx:pt>
          <cx:pt idx="90835">0</cx:pt>
          <cx:pt idx="90836">1</cx:pt>
          <cx:pt idx="90837">0</cx:pt>
          <cx:pt idx="90838">0</cx:pt>
          <cx:pt idx="90839">1</cx:pt>
          <cx:pt idx="90840">1</cx:pt>
          <cx:pt idx="90841">0</cx:pt>
          <cx:pt idx="90842">1</cx:pt>
          <cx:pt idx="90843">1</cx:pt>
          <cx:pt idx="90844">0</cx:pt>
          <cx:pt idx="90845">0</cx:pt>
          <cx:pt idx="90846">1</cx:pt>
          <cx:pt idx="90847">0</cx:pt>
          <cx:pt idx="90848">0</cx:pt>
          <cx:pt idx="90849">1</cx:pt>
          <cx:pt idx="90850">0</cx:pt>
          <cx:pt idx="90851">1</cx:pt>
          <cx:pt idx="90852">0</cx:pt>
          <cx:pt idx="90853">0</cx:pt>
          <cx:pt idx="90854">1</cx:pt>
          <cx:pt idx="90855">1</cx:pt>
          <cx:pt idx="90856">0</cx:pt>
          <cx:pt idx="90857">1</cx:pt>
          <cx:pt idx="90858">0</cx:pt>
          <cx:pt idx="90859">0</cx:pt>
          <cx:pt idx="90860">0</cx:pt>
          <cx:pt idx="90861">0</cx:pt>
          <cx:pt idx="90862">0</cx:pt>
          <cx:pt idx="90863">0</cx:pt>
          <cx:pt idx="90864">0</cx:pt>
          <cx:pt idx="90865">0</cx:pt>
          <cx:pt idx="90866">0</cx:pt>
          <cx:pt idx="90867">0</cx:pt>
          <cx:pt idx="90868">0</cx:pt>
          <cx:pt idx="90869">1</cx:pt>
          <cx:pt idx="90870">0</cx:pt>
          <cx:pt idx="90871">0</cx:pt>
          <cx:pt idx="90872">0</cx:pt>
          <cx:pt idx="90873">0</cx:pt>
          <cx:pt idx="90874">0</cx:pt>
          <cx:pt idx="90875">1</cx:pt>
          <cx:pt idx="90876">1</cx:pt>
          <cx:pt idx="90877">0</cx:pt>
          <cx:pt idx="90878">0</cx:pt>
          <cx:pt idx="90879">1</cx:pt>
          <cx:pt idx="90880">0</cx:pt>
          <cx:pt idx="90881">1</cx:pt>
          <cx:pt idx="90882">1</cx:pt>
          <cx:pt idx="90883">1</cx:pt>
          <cx:pt idx="90884">1</cx:pt>
          <cx:pt idx="90885">0</cx:pt>
          <cx:pt idx="90886">1</cx:pt>
          <cx:pt idx="90887">1</cx:pt>
          <cx:pt idx="90888">1</cx:pt>
          <cx:pt idx="90889">0</cx:pt>
          <cx:pt idx="90890">0</cx:pt>
          <cx:pt idx="90891">1</cx:pt>
          <cx:pt idx="90892">1</cx:pt>
          <cx:pt idx="90893">0</cx:pt>
          <cx:pt idx="90894">1</cx:pt>
          <cx:pt idx="90895">0</cx:pt>
          <cx:pt idx="90896">0</cx:pt>
          <cx:pt idx="90897">1</cx:pt>
          <cx:pt idx="90898">0</cx:pt>
          <cx:pt idx="90899">0</cx:pt>
          <cx:pt idx="90900">0</cx:pt>
          <cx:pt idx="90901">0</cx:pt>
          <cx:pt idx="90902">1</cx:pt>
          <cx:pt idx="90903">1</cx:pt>
          <cx:pt idx="90904">0</cx:pt>
          <cx:pt idx="90905">1</cx:pt>
          <cx:pt idx="90906">0</cx:pt>
          <cx:pt idx="90907">0</cx:pt>
          <cx:pt idx="90908">1</cx:pt>
          <cx:pt idx="90909">0</cx:pt>
          <cx:pt idx="90910">0</cx:pt>
          <cx:pt idx="90911">0</cx:pt>
          <cx:pt idx="90912">0</cx:pt>
          <cx:pt idx="90913">1</cx:pt>
          <cx:pt idx="90914">1</cx:pt>
          <cx:pt idx="90915">0</cx:pt>
          <cx:pt idx="90916">0</cx:pt>
          <cx:pt idx="90917">1</cx:pt>
          <cx:pt idx="90918">0</cx:pt>
          <cx:pt idx="90919">1</cx:pt>
          <cx:pt idx="90920">1</cx:pt>
          <cx:pt idx="90921">0</cx:pt>
          <cx:pt idx="90922">0</cx:pt>
          <cx:pt idx="90923">0</cx:pt>
          <cx:pt idx="90924">0</cx:pt>
          <cx:pt idx="90925">1</cx:pt>
          <cx:pt idx="90926">0</cx:pt>
          <cx:pt idx="90927">1</cx:pt>
          <cx:pt idx="90928">1</cx:pt>
          <cx:pt idx="90929">1</cx:pt>
          <cx:pt idx="90930">0</cx:pt>
          <cx:pt idx="90931">1</cx:pt>
          <cx:pt idx="90932">1</cx:pt>
          <cx:pt idx="90933">0</cx:pt>
          <cx:pt idx="90934">0</cx:pt>
          <cx:pt idx="90935">1</cx:pt>
          <cx:pt idx="90936">0</cx:pt>
          <cx:pt idx="90937">1</cx:pt>
          <cx:pt idx="90938">1</cx:pt>
          <cx:pt idx="90939">1</cx:pt>
          <cx:pt idx="90940">1</cx:pt>
          <cx:pt idx="90941">1</cx:pt>
          <cx:pt idx="90942">0</cx:pt>
          <cx:pt idx="90943">1</cx:pt>
          <cx:pt idx="90944">1</cx:pt>
          <cx:pt idx="90945">1</cx:pt>
          <cx:pt idx="90946">1</cx:pt>
          <cx:pt idx="90947">1</cx:pt>
          <cx:pt idx="90948">0</cx:pt>
          <cx:pt idx="90949">1</cx:pt>
          <cx:pt idx="90950">1</cx:pt>
          <cx:pt idx="90951">1</cx:pt>
          <cx:pt idx="90952">0</cx:pt>
          <cx:pt idx="90953">0</cx:pt>
          <cx:pt idx="90954">0</cx:pt>
          <cx:pt idx="90955">0</cx:pt>
          <cx:pt idx="90956">0</cx:pt>
          <cx:pt idx="90957">1</cx:pt>
          <cx:pt idx="90958">0</cx:pt>
          <cx:pt idx="90959">1</cx:pt>
          <cx:pt idx="90960">1</cx:pt>
          <cx:pt idx="90961">0</cx:pt>
          <cx:pt idx="90962">0</cx:pt>
          <cx:pt idx="90963">0</cx:pt>
          <cx:pt idx="90964">0</cx:pt>
          <cx:pt idx="90965">1</cx:pt>
          <cx:pt idx="90966">1</cx:pt>
          <cx:pt idx="90967">0</cx:pt>
          <cx:pt idx="90968">1</cx:pt>
          <cx:pt idx="90969">0</cx:pt>
          <cx:pt idx="90970">0</cx:pt>
          <cx:pt idx="90971">0</cx:pt>
          <cx:pt idx="90972">1</cx:pt>
          <cx:pt idx="90973">0</cx:pt>
          <cx:pt idx="90974">1</cx:pt>
          <cx:pt idx="90975">1</cx:pt>
          <cx:pt idx="90976">0</cx:pt>
          <cx:pt idx="90977">1</cx:pt>
          <cx:pt idx="90978">0</cx:pt>
          <cx:pt idx="90979">0</cx:pt>
          <cx:pt idx="90980">1</cx:pt>
          <cx:pt idx="90981">0</cx:pt>
          <cx:pt idx="90982">1</cx:pt>
          <cx:pt idx="90983">1</cx:pt>
          <cx:pt idx="90984">0</cx:pt>
          <cx:pt idx="90985">0</cx:pt>
          <cx:pt idx="90986">0</cx:pt>
          <cx:pt idx="90987">1</cx:pt>
          <cx:pt idx="90988">1</cx:pt>
          <cx:pt idx="90989">1</cx:pt>
          <cx:pt idx="90990">0</cx:pt>
          <cx:pt idx="90991">1</cx:pt>
          <cx:pt idx="90992">0</cx:pt>
          <cx:pt idx="90993">0</cx:pt>
          <cx:pt idx="90994">0</cx:pt>
          <cx:pt idx="90995">0</cx:pt>
          <cx:pt idx="90996">0</cx:pt>
          <cx:pt idx="90997">0</cx:pt>
          <cx:pt idx="90998">0</cx:pt>
          <cx:pt idx="90999">0</cx:pt>
          <cx:pt idx="91000">0</cx:pt>
          <cx:pt idx="91001">1</cx:pt>
          <cx:pt idx="91002">1</cx:pt>
          <cx:pt idx="91003">0</cx:pt>
          <cx:pt idx="91004">0</cx:pt>
          <cx:pt idx="91005">0</cx:pt>
          <cx:pt idx="91006">0</cx:pt>
          <cx:pt idx="91007">0</cx:pt>
          <cx:pt idx="91008">0</cx:pt>
          <cx:pt idx="91009">0</cx:pt>
          <cx:pt idx="91010">1</cx:pt>
          <cx:pt idx="91011">1</cx:pt>
          <cx:pt idx="91012">0</cx:pt>
          <cx:pt idx="91013">0</cx:pt>
          <cx:pt idx="91014">0</cx:pt>
          <cx:pt idx="91015">0</cx:pt>
          <cx:pt idx="91016">0</cx:pt>
          <cx:pt idx="91017">1</cx:pt>
          <cx:pt idx="91018">0</cx:pt>
          <cx:pt idx="91019">0</cx:pt>
          <cx:pt idx="91020">0</cx:pt>
          <cx:pt idx="91021">0</cx:pt>
          <cx:pt idx="91022">0</cx:pt>
          <cx:pt idx="91023">1</cx:pt>
          <cx:pt idx="91024">1</cx:pt>
          <cx:pt idx="91025">0</cx:pt>
          <cx:pt idx="91026">0</cx:pt>
          <cx:pt idx="91027">0</cx:pt>
          <cx:pt idx="91028">0</cx:pt>
          <cx:pt idx="91029">1</cx:pt>
          <cx:pt idx="91030">1</cx:pt>
          <cx:pt idx="91031">0</cx:pt>
          <cx:pt idx="91032">1</cx:pt>
          <cx:pt idx="91033">1</cx:pt>
          <cx:pt idx="91034">0</cx:pt>
          <cx:pt idx="91035">0</cx:pt>
          <cx:pt idx="91036">0</cx:pt>
          <cx:pt idx="91037">0</cx:pt>
          <cx:pt idx="91038">0</cx:pt>
          <cx:pt idx="91039">0</cx:pt>
          <cx:pt idx="91040">0</cx:pt>
          <cx:pt idx="91041">1</cx:pt>
          <cx:pt idx="91042">1</cx:pt>
          <cx:pt idx="91043">0</cx:pt>
          <cx:pt idx="91044">0</cx:pt>
          <cx:pt idx="91045">0</cx:pt>
          <cx:pt idx="91046">1</cx:pt>
          <cx:pt idx="91047">0</cx:pt>
          <cx:pt idx="91048">1</cx:pt>
          <cx:pt idx="91049">0</cx:pt>
          <cx:pt idx="91050">0</cx:pt>
          <cx:pt idx="91051">0</cx:pt>
          <cx:pt idx="91052">0</cx:pt>
          <cx:pt idx="91053">0</cx:pt>
          <cx:pt idx="91054">0</cx:pt>
          <cx:pt idx="91055">0</cx:pt>
          <cx:pt idx="91056">0</cx:pt>
          <cx:pt idx="91057">0</cx:pt>
          <cx:pt idx="91058">1</cx:pt>
          <cx:pt idx="91059">1</cx:pt>
          <cx:pt idx="91060">1</cx:pt>
          <cx:pt idx="91061">1</cx:pt>
          <cx:pt idx="91062">1</cx:pt>
          <cx:pt idx="91063">1</cx:pt>
          <cx:pt idx="91064">1</cx:pt>
          <cx:pt idx="91065">0</cx:pt>
          <cx:pt idx="91066">0</cx:pt>
          <cx:pt idx="91067">1</cx:pt>
          <cx:pt idx="91068">1</cx:pt>
          <cx:pt idx="91069">0</cx:pt>
          <cx:pt idx="91070">1</cx:pt>
          <cx:pt idx="91071">0</cx:pt>
          <cx:pt idx="91072">0</cx:pt>
          <cx:pt idx="91073">0</cx:pt>
          <cx:pt idx="91074">0</cx:pt>
          <cx:pt idx="91075">1</cx:pt>
          <cx:pt idx="91076">0</cx:pt>
          <cx:pt idx="91077">0</cx:pt>
          <cx:pt idx="91078">0</cx:pt>
          <cx:pt idx="91079">1</cx:pt>
          <cx:pt idx="91080">0</cx:pt>
          <cx:pt idx="91081">0</cx:pt>
          <cx:pt idx="91082">1</cx:pt>
          <cx:pt idx="91083">0</cx:pt>
          <cx:pt idx="91084">0</cx:pt>
          <cx:pt idx="91085">0</cx:pt>
          <cx:pt idx="91086">0</cx:pt>
          <cx:pt idx="91087">0</cx:pt>
          <cx:pt idx="91088">1</cx:pt>
          <cx:pt idx="91089">1</cx:pt>
          <cx:pt idx="91090">0</cx:pt>
          <cx:pt idx="91091">1</cx:pt>
          <cx:pt idx="91092">1</cx:pt>
          <cx:pt idx="91093">1</cx:pt>
          <cx:pt idx="91094">0</cx:pt>
          <cx:pt idx="91095">1</cx:pt>
          <cx:pt idx="91096">1</cx:pt>
          <cx:pt idx="91097">0</cx:pt>
          <cx:pt idx="91098">1</cx:pt>
          <cx:pt idx="91099">0</cx:pt>
          <cx:pt idx="91100">0</cx:pt>
          <cx:pt idx="91101">0</cx:pt>
          <cx:pt idx="91102">0</cx:pt>
          <cx:pt idx="91103">1</cx:pt>
          <cx:pt idx="91104">0</cx:pt>
          <cx:pt idx="91105">0</cx:pt>
          <cx:pt idx="91106">1</cx:pt>
          <cx:pt idx="91107">0</cx:pt>
          <cx:pt idx="91108">0</cx:pt>
          <cx:pt idx="91109">0</cx:pt>
          <cx:pt idx="91110">0</cx:pt>
          <cx:pt idx="91111">0</cx:pt>
          <cx:pt idx="91112">0</cx:pt>
          <cx:pt idx="91113">1</cx:pt>
          <cx:pt idx="91114">0</cx:pt>
          <cx:pt idx="91115">1</cx:pt>
          <cx:pt idx="91116">0</cx:pt>
          <cx:pt idx="91117">0</cx:pt>
          <cx:pt idx="91118">0</cx:pt>
          <cx:pt idx="91119">1</cx:pt>
          <cx:pt idx="91120">0</cx:pt>
          <cx:pt idx="91121">0</cx:pt>
          <cx:pt idx="91122">0</cx:pt>
          <cx:pt idx="91123">1</cx:pt>
          <cx:pt idx="91124">0</cx:pt>
          <cx:pt idx="91125">0</cx:pt>
          <cx:pt idx="91126">0</cx:pt>
          <cx:pt idx="91127">0</cx:pt>
          <cx:pt idx="91128">0</cx:pt>
          <cx:pt idx="91129">0</cx:pt>
          <cx:pt idx="91130">0</cx:pt>
          <cx:pt idx="91131">0</cx:pt>
          <cx:pt idx="91132">0</cx:pt>
          <cx:pt idx="91133">0</cx:pt>
          <cx:pt idx="91134">0</cx:pt>
          <cx:pt idx="91135">0</cx:pt>
          <cx:pt idx="91136">0</cx:pt>
          <cx:pt idx="91137">0</cx:pt>
          <cx:pt idx="91138">1</cx:pt>
          <cx:pt idx="91139">0</cx:pt>
          <cx:pt idx="91140">0</cx:pt>
          <cx:pt idx="91141">1</cx:pt>
          <cx:pt idx="91142">0</cx:pt>
          <cx:pt idx="91143">1</cx:pt>
          <cx:pt idx="91144">1</cx:pt>
          <cx:pt idx="91145">1</cx:pt>
          <cx:pt idx="91146">1</cx:pt>
          <cx:pt idx="91147">1</cx:pt>
          <cx:pt idx="91148">1</cx:pt>
          <cx:pt idx="91149">0</cx:pt>
          <cx:pt idx="91150">1</cx:pt>
          <cx:pt idx="91151">1</cx:pt>
          <cx:pt idx="91152">1</cx:pt>
          <cx:pt idx="91153">0</cx:pt>
          <cx:pt idx="91154">1</cx:pt>
          <cx:pt idx="91155">1</cx:pt>
          <cx:pt idx="91156">1</cx:pt>
          <cx:pt idx="91157">0</cx:pt>
          <cx:pt idx="91158">1</cx:pt>
          <cx:pt idx="91159">0</cx:pt>
          <cx:pt idx="91160">0</cx:pt>
          <cx:pt idx="91161">0</cx:pt>
          <cx:pt idx="91162">0</cx:pt>
          <cx:pt idx="91163">0</cx:pt>
          <cx:pt idx="91164">0</cx:pt>
          <cx:pt idx="91165">0</cx:pt>
          <cx:pt idx="91166">0</cx:pt>
          <cx:pt idx="91167">0</cx:pt>
          <cx:pt idx="91168">1</cx:pt>
          <cx:pt idx="91169">1</cx:pt>
          <cx:pt idx="91170">1</cx:pt>
          <cx:pt idx="91171">0</cx:pt>
          <cx:pt idx="91172">1</cx:pt>
          <cx:pt idx="91173">0</cx:pt>
          <cx:pt idx="91174">1</cx:pt>
          <cx:pt idx="91175">0</cx:pt>
          <cx:pt idx="91176">0</cx:pt>
          <cx:pt idx="91177">1</cx:pt>
          <cx:pt idx="91178">0</cx:pt>
          <cx:pt idx="91179">1</cx:pt>
          <cx:pt idx="91180">0</cx:pt>
          <cx:pt idx="91181">1</cx:pt>
          <cx:pt idx="91182">0</cx:pt>
          <cx:pt idx="91183">1</cx:pt>
          <cx:pt idx="91184">1</cx:pt>
          <cx:pt idx="91185">0</cx:pt>
          <cx:pt idx="91186">1</cx:pt>
          <cx:pt idx="91187">0</cx:pt>
          <cx:pt idx="91188">1</cx:pt>
          <cx:pt idx="91189">1</cx:pt>
          <cx:pt idx="91190">0</cx:pt>
          <cx:pt idx="91191">1</cx:pt>
          <cx:pt idx="91192">0</cx:pt>
          <cx:pt idx="91193">1</cx:pt>
          <cx:pt idx="91194">0</cx:pt>
          <cx:pt idx="91195">0</cx:pt>
          <cx:pt idx="91196">1</cx:pt>
          <cx:pt idx="91197">1</cx:pt>
          <cx:pt idx="91198">1</cx:pt>
          <cx:pt idx="91199">0</cx:pt>
          <cx:pt idx="91200">1</cx:pt>
          <cx:pt idx="91201">1</cx:pt>
          <cx:pt idx="91202">1</cx:pt>
          <cx:pt idx="91203">1</cx:pt>
          <cx:pt idx="91204">0</cx:pt>
          <cx:pt idx="91205">0</cx:pt>
          <cx:pt idx="91206">0</cx:pt>
          <cx:pt idx="91207">1</cx:pt>
          <cx:pt idx="91208">1</cx:pt>
          <cx:pt idx="91209">0</cx:pt>
          <cx:pt idx="91210">0</cx:pt>
          <cx:pt idx="91211">0</cx:pt>
          <cx:pt idx="91212">0</cx:pt>
          <cx:pt idx="91213">1</cx:pt>
          <cx:pt idx="91214">0</cx:pt>
          <cx:pt idx="91215">0</cx:pt>
          <cx:pt idx="91216">1</cx:pt>
          <cx:pt idx="91217">0</cx:pt>
          <cx:pt idx="91218">1</cx:pt>
          <cx:pt idx="91219">0</cx:pt>
          <cx:pt idx="91220">1</cx:pt>
          <cx:pt idx="91221">0</cx:pt>
          <cx:pt idx="91222">1</cx:pt>
          <cx:pt idx="91223">0</cx:pt>
          <cx:pt idx="91224">0</cx:pt>
          <cx:pt idx="91225">1</cx:pt>
          <cx:pt idx="91226">0</cx:pt>
          <cx:pt idx="91227">0</cx:pt>
          <cx:pt idx="91228">0</cx:pt>
          <cx:pt idx="91229">0</cx:pt>
          <cx:pt idx="91230">0</cx:pt>
          <cx:pt idx="91231">1</cx:pt>
          <cx:pt idx="91232">1</cx:pt>
          <cx:pt idx="91233">1</cx:pt>
          <cx:pt idx="91234">0</cx:pt>
          <cx:pt idx="91235">0</cx:pt>
          <cx:pt idx="91236">0</cx:pt>
          <cx:pt idx="91237">0</cx:pt>
          <cx:pt idx="91238">1</cx:pt>
          <cx:pt idx="91239">0</cx:pt>
          <cx:pt idx="91240">1</cx:pt>
          <cx:pt idx="91241">0</cx:pt>
          <cx:pt idx="91242">1</cx:pt>
          <cx:pt idx="91243">0</cx:pt>
          <cx:pt idx="91244">0</cx:pt>
          <cx:pt idx="91245">0</cx:pt>
          <cx:pt idx="91246">0</cx:pt>
          <cx:pt idx="91247">0</cx:pt>
          <cx:pt idx="91248">0</cx:pt>
          <cx:pt idx="91249">0</cx:pt>
          <cx:pt idx="91250">1</cx:pt>
          <cx:pt idx="91251">1</cx:pt>
          <cx:pt idx="91252">0</cx:pt>
          <cx:pt idx="91253">1</cx:pt>
          <cx:pt idx="91254">1</cx:pt>
          <cx:pt idx="91255">1</cx:pt>
          <cx:pt idx="91256">0</cx:pt>
          <cx:pt idx="91257">0</cx:pt>
          <cx:pt idx="91258">0</cx:pt>
          <cx:pt idx="91259">0</cx:pt>
          <cx:pt idx="91260">1</cx:pt>
          <cx:pt idx="91261">1</cx:pt>
          <cx:pt idx="91262">1</cx:pt>
          <cx:pt idx="91263">0</cx:pt>
          <cx:pt idx="91264">0</cx:pt>
          <cx:pt idx="91265">0</cx:pt>
          <cx:pt idx="91266">0</cx:pt>
          <cx:pt idx="91267">1</cx:pt>
          <cx:pt idx="91268">0</cx:pt>
          <cx:pt idx="91269">0</cx:pt>
          <cx:pt idx="91270">1</cx:pt>
          <cx:pt idx="91271">0</cx:pt>
          <cx:pt idx="91272">1</cx:pt>
          <cx:pt idx="91273">0</cx:pt>
          <cx:pt idx="91274">1</cx:pt>
          <cx:pt idx="91275">1</cx:pt>
          <cx:pt idx="91276">1</cx:pt>
          <cx:pt idx="91277">0</cx:pt>
          <cx:pt idx="91278">1</cx:pt>
          <cx:pt idx="91279">0</cx:pt>
          <cx:pt idx="91280">0</cx:pt>
          <cx:pt idx="91281">0</cx:pt>
          <cx:pt idx="91282">0</cx:pt>
          <cx:pt idx="91283">0</cx:pt>
          <cx:pt idx="91284">1</cx:pt>
          <cx:pt idx="91285">0</cx:pt>
          <cx:pt idx="91286">0</cx:pt>
          <cx:pt idx="91287">0</cx:pt>
          <cx:pt idx="91288">0</cx:pt>
          <cx:pt idx="91289">1</cx:pt>
          <cx:pt idx="91290">0</cx:pt>
          <cx:pt idx="91291">1</cx:pt>
          <cx:pt idx="91292">0</cx:pt>
          <cx:pt idx="91293">1</cx:pt>
          <cx:pt idx="91294">0</cx:pt>
          <cx:pt idx="91295">0</cx:pt>
          <cx:pt idx="91296">0</cx:pt>
          <cx:pt idx="91297">0</cx:pt>
          <cx:pt idx="91298">1</cx:pt>
          <cx:pt idx="91299">1</cx:pt>
          <cx:pt idx="91300">0</cx:pt>
          <cx:pt idx="91301">0</cx:pt>
          <cx:pt idx="91302">0</cx:pt>
          <cx:pt idx="91303">0</cx:pt>
          <cx:pt idx="91304">1</cx:pt>
          <cx:pt idx="91305">1</cx:pt>
          <cx:pt idx="91306">0</cx:pt>
          <cx:pt idx="91307">1</cx:pt>
          <cx:pt idx="91308">0</cx:pt>
          <cx:pt idx="91309">0</cx:pt>
          <cx:pt idx="91310">0</cx:pt>
          <cx:pt idx="91311">0</cx:pt>
          <cx:pt idx="91312">0</cx:pt>
          <cx:pt idx="91313">0</cx:pt>
          <cx:pt idx="91314">0</cx:pt>
          <cx:pt idx="91315">0</cx:pt>
          <cx:pt idx="91316">1</cx:pt>
          <cx:pt idx="91317">1</cx:pt>
          <cx:pt idx="91318">0</cx:pt>
          <cx:pt idx="91319">0</cx:pt>
          <cx:pt idx="91320">0</cx:pt>
          <cx:pt idx="91321">1</cx:pt>
          <cx:pt idx="91322">0</cx:pt>
          <cx:pt idx="91323">0</cx:pt>
          <cx:pt idx="91324">1</cx:pt>
          <cx:pt idx="91325">0</cx:pt>
          <cx:pt idx="91326">1</cx:pt>
          <cx:pt idx="91327">0</cx:pt>
          <cx:pt idx="91328">0</cx:pt>
          <cx:pt idx="91329">1</cx:pt>
          <cx:pt idx="91330">1</cx:pt>
          <cx:pt idx="91331">1</cx:pt>
          <cx:pt idx="91332">1</cx:pt>
          <cx:pt idx="91333">0</cx:pt>
          <cx:pt idx="91334">0</cx:pt>
          <cx:pt idx="91335">0</cx:pt>
          <cx:pt idx="91336">1</cx:pt>
          <cx:pt idx="91337">1</cx:pt>
          <cx:pt idx="91338">1</cx:pt>
          <cx:pt idx="91339">0</cx:pt>
          <cx:pt idx="91340">1</cx:pt>
          <cx:pt idx="91341">1</cx:pt>
          <cx:pt idx="91342">0</cx:pt>
          <cx:pt idx="91343">0</cx:pt>
          <cx:pt idx="91344">1</cx:pt>
          <cx:pt idx="91345">0</cx:pt>
          <cx:pt idx="91346">0</cx:pt>
          <cx:pt idx="91347">1</cx:pt>
          <cx:pt idx="91348">1</cx:pt>
          <cx:pt idx="91349">0</cx:pt>
          <cx:pt idx="91350">1</cx:pt>
          <cx:pt idx="91351">0</cx:pt>
          <cx:pt idx="91352">1</cx:pt>
          <cx:pt idx="91353">0</cx:pt>
          <cx:pt idx="91354">0</cx:pt>
          <cx:pt idx="91355">1</cx:pt>
          <cx:pt idx="91356">0</cx:pt>
          <cx:pt idx="91357">0</cx:pt>
          <cx:pt idx="91358">0</cx:pt>
          <cx:pt idx="91359">0</cx:pt>
          <cx:pt idx="91360">1</cx:pt>
          <cx:pt idx="91361">0</cx:pt>
          <cx:pt idx="91362">0</cx:pt>
          <cx:pt idx="91363">0</cx:pt>
          <cx:pt idx="91364">0</cx:pt>
          <cx:pt idx="91365">1</cx:pt>
          <cx:pt idx="91366">1</cx:pt>
          <cx:pt idx="91367">0</cx:pt>
          <cx:pt idx="91368">1</cx:pt>
          <cx:pt idx="91369">0</cx:pt>
          <cx:pt idx="91370">0</cx:pt>
          <cx:pt idx="91371">0</cx:pt>
          <cx:pt idx="91372">1</cx:pt>
          <cx:pt idx="91373">0</cx:pt>
          <cx:pt idx="91374">1</cx:pt>
          <cx:pt idx="91375">1</cx:pt>
          <cx:pt idx="91376">1</cx:pt>
          <cx:pt idx="91377">1</cx:pt>
          <cx:pt idx="91378">0</cx:pt>
          <cx:pt idx="91379">0</cx:pt>
          <cx:pt idx="91380">0</cx:pt>
          <cx:pt idx="91381">0</cx:pt>
          <cx:pt idx="91382">1</cx:pt>
          <cx:pt idx="91383">0</cx:pt>
          <cx:pt idx="91384">1</cx:pt>
          <cx:pt idx="91385">1</cx:pt>
          <cx:pt idx="91386">0</cx:pt>
          <cx:pt idx="91387">1</cx:pt>
          <cx:pt idx="91388">1</cx:pt>
          <cx:pt idx="91389">0</cx:pt>
          <cx:pt idx="91390">0</cx:pt>
          <cx:pt idx="91391">1</cx:pt>
          <cx:pt idx="91392">0</cx:pt>
          <cx:pt idx="91393">1</cx:pt>
          <cx:pt idx="91394">1</cx:pt>
          <cx:pt idx="91395">0</cx:pt>
          <cx:pt idx="91396">0</cx:pt>
          <cx:pt idx="91397">1</cx:pt>
          <cx:pt idx="91398">1</cx:pt>
          <cx:pt idx="91399">0</cx:pt>
          <cx:pt idx="91400">0</cx:pt>
          <cx:pt idx="91401">1</cx:pt>
          <cx:pt idx="91402">1</cx:pt>
          <cx:pt idx="91403">0</cx:pt>
          <cx:pt idx="91404">1</cx:pt>
          <cx:pt idx="91405">0</cx:pt>
          <cx:pt idx="91406">1</cx:pt>
          <cx:pt idx="91407">1</cx:pt>
          <cx:pt idx="91408">0</cx:pt>
          <cx:pt idx="91409">0</cx:pt>
          <cx:pt idx="91410">1</cx:pt>
          <cx:pt idx="91411">0</cx:pt>
          <cx:pt idx="91412">0</cx:pt>
          <cx:pt idx="91413">0</cx:pt>
          <cx:pt idx="91414">1</cx:pt>
          <cx:pt idx="91415">0</cx:pt>
          <cx:pt idx="91416">0</cx:pt>
          <cx:pt idx="91417">1</cx:pt>
          <cx:pt idx="91418">1</cx:pt>
          <cx:pt idx="91419">0</cx:pt>
          <cx:pt idx="91420">0</cx:pt>
          <cx:pt idx="91421">1</cx:pt>
          <cx:pt idx="91422">1</cx:pt>
          <cx:pt idx="91423">1</cx:pt>
          <cx:pt idx="91424">0</cx:pt>
          <cx:pt idx="91425">0</cx:pt>
          <cx:pt idx="91426">0</cx:pt>
          <cx:pt idx="91427">0</cx:pt>
          <cx:pt idx="91428">0</cx:pt>
          <cx:pt idx="91429">0</cx:pt>
          <cx:pt idx="91430">1</cx:pt>
          <cx:pt idx="91431">0</cx:pt>
          <cx:pt idx="91432">1</cx:pt>
          <cx:pt idx="91433">1</cx:pt>
          <cx:pt idx="91434">0</cx:pt>
          <cx:pt idx="91435">1</cx:pt>
          <cx:pt idx="91436">1</cx:pt>
          <cx:pt idx="91437">0</cx:pt>
          <cx:pt idx="91438">0</cx:pt>
          <cx:pt idx="91439">1</cx:pt>
          <cx:pt idx="91440">0</cx:pt>
          <cx:pt idx="91441">0</cx:pt>
          <cx:pt idx="91442">1</cx:pt>
          <cx:pt idx="91443">0</cx:pt>
          <cx:pt idx="91444">1</cx:pt>
          <cx:pt idx="91445">1</cx:pt>
          <cx:pt idx="91446">0</cx:pt>
          <cx:pt idx="91447">1</cx:pt>
          <cx:pt idx="91448">0</cx:pt>
          <cx:pt idx="91449">0</cx:pt>
          <cx:pt idx="91450">0</cx:pt>
          <cx:pt idx="91451">0</cx:pt>
          <cx:pt idx="91452">0</cx:pt>
          <cx:pt idx="91453">0</cx:pt>
          <cx:pt idx="91454">0</cx:pt>
          <cx:pt idx="91455">1</cx:pt>
          <cx:pt idx="91456">0</cx:pt>
          <cx:pt idx="91457">0</cx:pt>
          <cx:pt idx="91458">0</cx:pt>
          <cx:pt idx="91459">0</cx:pt>
          <cx:pt idx="91460">0</cx:pt>
          <cx:pt idx="91461">0</cx:pt>
          <cx:pt idx="91462">1</cx:pt>
          <cx:pt idx="91463">1</cx:pt>
          <cx:pt idx="91464">1</cx:pt>
          <cx:pt idx="91465">0</cx:pt>
          <cx:pt idx="91466">1</cx:pt>
          <cx:pt idx="91467">1</cx:pt>
          <cx:pt idx="91468">0</cx:pt>
          <cx:pt idx="91469">1</cx:pt>
          <cx:pt idx="91470">1</cx:pt>
          <cx:pt idx="91471">0</cx:pt>
          <cx:pt idx="91472">0</cx:pt>
          <cx:pt idx="91473">0</cx:pt>
          <cx:pt idx="91474">0</cx:pt>
          <cx:pt idx="91475">1</cx:pt>
          <cx:pt idx="91476">1</cx:pt>
          <cx:pt idx="91477">0</cx:pt>
          <cx:pt idx="91478">0</cx:pt>
          <cx:pt idx="91479">1</cx:pt>
          <cx:pt idx="91480">1</cx:pt>
          <cx:pt idx="91481">0</cx:pt>
          <cx:pt idx="91482">1</cx:pt>
          <cx:pt idx="91483">1</cx:pt>
          <cx:pt idx="91484">1</cx:pt>
          <cx:pt idx="91485">0</cx:pt>
          <cx:pt idx="91486">0</cx:pt>
          <cx:pt idx="91487">0</cx:pt>
          <cx:pt idx="91488">0</cx:pt>
          <cx:pt idx="91489">1</cx:pt>
          <cx:pt idx="91490">1</cx:pt>
          <cx:pt idx="91491">0</cx:pt>
          <cx:pt idx="91492">0</cx:pt>
          <cx:pt idx="91493">1</cx:pt>
          <cx:pt idx="91494">1</cx:pt>
          <cx:pt idx="91495">1</cx:pt>
          <cx:pt idx="91496">0</cx:pt>
          <cx:pt idx="91497">0</cx:pt>
          <cx:pt idx="91498">0</cx:pt>
          <cx:pt idx="91499">0</cx:pt>
          <cx:pt idx="91500">1</cx:pt>
          <cx:pt idx="91501">0</cx:pt>
          <cx:pt idx="91502">0</cx:pt>
          <cx:pt idx="91503">0</cx:pt>
          <cx:pt idx="91504">0</cx:pt>
          <cx:pt idx="91505">1</cx:pt>
          <cx:pt idx="91506">0</cx:pt>
          <cx:pt idx="91507">0</cx:pt>
          <cx:pt idx="91508">0</cx:pt>
          <cx:pt idx="91509">0</cx:pt>
          <cx:pt idx="91510">0</cx:pt>
          <cx:pt idx="91511">1</cx:pt>
          <cx:pt idx="91512">1</cx:pt>
          <cx:pt idx="91513">0</cx:pt>
          <cx:pt idx="91514">0</cx:pt>
          <cx:pt idx="91515">0</cx:pt>
          <cx:pt idx="91516">1</cx:pt>
          <cx:pt idx="91517">0</cx:pt>
          <cx:pt idx="91518">0</cx:pt>
          <cx:pt idx="91519">1</cx:pt>
          <cx:pt idx="91520">0</cx:pt>
          <cx:pt idx="91521">1</cx:pt>
          <cx:pt idx="91522">1</cx:pt>
          <cx:pt idx="91523">1</cx:pt>
          <cx:pt idx="91524">0</cx:pt>
          <cx:pt idx="91525">0</cx:pt>
          <cx:pt idx="91526">0</cx:pt>
          <cx:pt idx="91527">0</cx:pt>
          <cx:pt idx="91528">0</cx:pt>
          <cx:pt idx="91529">1</cx:pt>
          <cx:pt idx="91530">0</cx:pt>
          <cx:pt idx="91531">1</cx:pt>
          <cx:pt idx="91532">0</cx:pt>
          <cx:pt idx="91533">0</cx:pt>
          <cx:pt idx="91534">1</cx:pt>
          <cx:pt idx="91535">0</cx:pt>
          <cx:pt idx="91536">1</cx:pt>
          <cx:pt idx="91537">0</cx:pt>
          <cx:pt idx="91538">1</cx:pt>
          <cx:pt idx="91539">1</cx:pt>
          <cx:pt idx="91540">0</cx:pt>
          <cx:pt idx="91541">0</cx:pt>
          <cx:pt idx="91542">1</cx:pt>
          <cx:pt idx="91543">1</cx:pt>
          <cx:pt idx="91544">0</cx:pt>
          <cx:pt idx="91545">0</cx:pt>
          <cx:pt idx="91546">1</cx:pt>
          <cx:pt idx="91547">0</cx:pt>
          <cx:pt idx="91548">0</cx:pt>
          <cx:pt idx="91549">0</cx:pt>
          <cx:pt idx="91550">0</cx:pt>
          <cx:pt idx="91551">1</cx:pt>
          <cx:pt idx="91552">0</cx:pt>
          <cx:pt idx="91553">0</cx:pt>
          <cx:pt idx="91554">0</cx:pt>
          <cx:pt idx="91555">0</cx:pt>
          <cx:pt idx="91556">0</cx:pt>
          <cx:pt idx="91557">0</cx:pt>
          <cx:pt idx="91558">0</cx:pt>
          <cx:pt idx="91559">1</cx:pt>
          <cx:pt idx="91560">0</cx:pt>
          <cx:pt idx="91561">0</cx:pt>
          <cx:pt idx="91562">0</cx:pt>
          <cx:pt idx="91563">1</cx:pt>
          <cx:pt idx="91564">1</cx:pt>
          <cx:pt idx="91565">1</cx:pt>
          <cx:pt idx="91566">0</cx:pt>
          <cx:pt idx="91567">0</cx:pt>
          <cx:pt idx="91568">1</cx:pt>
          <cx:pt idx="91569">0</cx:pt>
          <cx:pt idx="91570">0</cx:pt>
          <cx:pt idx="91571">1</cx:pt>
          <cx:pt idx="91572">0</cx:pt>
          <cx:pt idx="91573">0</cx:pt>
          <cx:pt idx="91574">0</cx:pt>
          <cx:pt idx="91575">1</cx:pt>
          <cx:pt idx="91576">0</cx:pt>
          <cx:pt idx="91577">0</cx:pt>
          <cx:pt idx="91578">0</cx:pt>
          <cx:pt idx="91579">0</cx:pt>
          <cx:pt idx="91580">1</cx:pt>
          <cx:pt idx="91581">1</cx:pt>
          <cx:pt idx="91582">0</cx:pt>
          <cx:pt idx="91583">1</cx:pt>
          <cx:pt idx="91584">1</cx:pt>
          <cx:pt idx="91585">1</cx:pt>
          <cx:pt idx="91586">1</cx:pt>
          <cx:pt idx="91587">1</cx:pt>
          <cx:pt idx="91588">0</cx:pt>
          <cx:pt idx="91589">0</cx:pt>
          <cx:pt idx="91590">1</cx:pt>
          <cx:pt idx="91591">1</cx:pt>
          <cx:pt idx="91592">0</cx:pt>
          <cx:pt idx="91593">1</cx:pt>
          <cx:pt idx="91594">0</cx:pt>
          <cx:pt idx="91595">0</cx:pt>
          <cx:pt idx="91596">1</cx:pt>
          <cx:pt idx="91597">1</cx:pt>
          <cx:pt idx="91598">0</cx:pt>
          <cx:pt idx="91599">1</cx:pt>
          <cx:pt idx="91600">1</cx:pt>
          <cx:pt idx="91601">0</cx:pt>
          <cx:pt idx="91602">0</cx:pt>
          <cx:pt idx="91603">1</cx:pt>
          <cx:pt idx="91604">1</cx:pt>
          <cx:pt idx="91605">0</cx:pt>
          <cx:pt idx="91606">0</cx:pt>
          <cx:pt idx="91607">0</cx:pt>
          <cx:pt idx="91608">0</cx:pt>
          <cx:pt idx="91609">1</cx:pt>
          <cx:pt idx="91610">0</cx:pt>
          <cx:pt idx="91611">0</cx:pt>
          <cx:pt idx="91612">0</cx:pt>
          <cx:pt idx="91613">0</cx:pt>
          <cx:pt idx="91614">1</cx:pt>
          <cx:pt idx="91615">1</cx:pt>
          <cx:pt idx="91616">1</cx:pt>
          <cx:pt idx="91617">0</cx:pt>
          <cx:pt idx="91618">1</cx:pt>
          <cx:pt idx="91619">1</cx:pt>
          <cx:pt idx="91620">0</cx:pt>
          <cx:pt idx="91621">1</cx:pt>
          <cx:pt idx="91622">0</cx:pt>
          <cx:pt idx="91623">0</cx:pt>
          <cx:pt idx="91624">0</cx:pt>
          <cx:pt idx="91625">1</cx:pt>
          <cx:pt idx="91626">0</cx:pt>
          <cx:pt idx="91627">0</cx:pt>
          <cx:pt idx="91628">0</cx:pt>
          <cx:pt idx="91629">0</cx:pt>
          <cx:pt idx="91630">1</cx:pt>
          <cx:pt idx="91631">0</cx:pt>
          <cx:pt idx="91632">1</cx:pt>
          <cx:pt idx="91633">1</cx:pt>
          <cx:pt idx="91634">1</cx:pt>
          <cx:pt idx="91635">1</cx:pt>
          <cx:pt idx="91636">1</cx:pt>
          <cx:pt idx="91637">0</cx:pt>
          <cx:pt idx="91638">1</cx:pt>
          <cx:pt idx="91639">0</cx:pt>
          <cx:pt idx="91640">1</cx:pt>
          <cx:pt idx="91641">0</cx:pt>
          <cx:pt idx="91642">1</cx:pt>
          <cx:pt idx="91643">1</cx:pt>
          <cx:pt idx="91644">0</cx:pt>
          <cx:pt idx="91645">1</cx:pt>
          <cx:pt idx="91646">1</cx:pt>
          <cx:pt idx="91647">1</cx:pt>
          <cx:pt idx="91648">0</cx:pt>
          <cx:pt idx="91649">1</cx:pt>
          <cx:pt idx="91650">0</cx:pt>
          <cx:pt idx="91651">0</cx:pt>
          <cx:pt idx="91652">1</cx:pt>
          <cx:pt idx="91653">1</cx:pt>
          <cx:pt idx="91654">0</cx:pt>
          <cx:pt idx="91655">0</cx:pt>
          <cx:pt idx="91656">1</cx:pt>
          <cx:pt idx="91657">1</cx:pt>
          <cx:pt idx="91658">0</cx:pt>
          <cx:pt idx="91659">0</cx:pt>
          <cx:pt idx="91660">0</cx:pt>
          <cx:pt idx="91661">0</cx:pt>
          <cx:pt idx="91662">1</cx:pt>
          <cx:pt idx="91663">0</cx:pt>
          <cx:pt idx="91664">0</cx:pt>
          <cx:pt idx="91665">1</cx:pt>
          <cx:pt idx="91666">1</cx:pt>
          <cx:pt idx="91667">1</cx:pt>
          <cx:pt idx="91668">0</cx:pt>
          <cx:pt idx="91669">0</cx:pt>
          <cx:pt idx="91670">1</cx:pt>
          <cx:pt idx="91671">0</cx:pt>
          <cx:pt idx="91672">1</cx:pt>
          <cx:pt idx="91673">0</cx:pt>
          <cx:pt idx="91674">0</cx:pt>
          <cx:pt idx="91675">0</cx:pt>
          <cx:pt idx="91676">0</cx:pt>
          <cx:pt idx="91677">1</cx:pt>
          <cx:pt idx="91678">1</cx:pt>
          <cx:pt idx="91679">0</cx:pt>
          <cx:pt idx="91680">0</cx:pt>
          <cx:pt idx="91681">0</cx:pt>
          <cx:pt idx="91682">0</cx:pt>
          <cx:pt idx="91683">0</cx:pt>
          <cx:pt idx="91684">1</cx:pt>
          <cx:pt idx="91685">1</cx:pt>
          <cx:pt idx="91686">1</cx:pt>
          <cx:pt idx="91687">1</cx:pt>
          <cx:pt idx="91688">1</cx:pt>
          <cx:pt idx="91689">0</cx:pt>
          <cx:pt idx="91690">1</cx:pt>
          <cx:pt idx="91691">1</cx:pt>
          <cx:pt idx="91692">0</cx:pt>
          <cx:pt idx="91693">0</cx:pt>
          <cx:pt idx="91694">0</cx:pt>
          <cx:pt idx="91695">1</cx:pt>
          <cx:pt idx="91696">0</cx:pt>
          <cx:pt idx="91697">1</cx:pt>
          <cx:pt idx="91698">1</cx:pt>
          <cx:pt idx="91699">1</cx:pt>
          <cx:pt idx="91700">0</cx:pt>
          <cx:pt idx="91701">0</cx:pt>
          <cx:pt idx="91702">1</cx:pt>
          <cx:pt idx="91703">0</cx:pt>
          <cx:pt idx="91704">1</cx:pt>
          <cx:pt idx="91705">1</cx:pt>
          <cx:pt idx="91706">1</cx:pt>
          <cx:pt idx="91707">0</cx:pt>
          <cx:pt idx="91708">0</cx:pt>
          <cx:pt idx="91709">0</cx:pt>
          <cx:pt idx="91710">1</cx:pt>
          <cx:pt idx="91711">1</cx:pt>
          <cx:pt idx="91712">1</cx:pt>
          <cx:pt idx="91713">0</cx:pt>
          <cx:pt idx="91714">1</cx:pt>
          <cx:pt idx="91715">1</cx:pt>
          <cx:pt idx="91716">1</cx:pt>
          <cx:pt idx="91717">0</cx:pt>
          <cx:pt idx="91718">1</cx:pt>
          <cx:pt idx="91719">1</cx:pt>
          <cx:pt idx="91720">0</cx:pt>
          <cx:pt idx="91721">0</cx:pt>
          <cx:pt idx="91722">0</cx:pt>
          <cx:pt idx="91723">1</cx:pt>
          <cx:pt idx="91724">0</cx:pt>
          <cx:pt idx="91725">1</cx:pt>
          <cx:pt idx="91726">0</cx:pt>
          <cx:pt idx="91727">0</cx:pt>
          <cx:pt idx="91728">1</cx:pt>
          <cx:pt idx="91729">0</cx:pt>
          <cx:pt idx="91730">0</cx:pt>
          <cx:pt idx="91731">1</cx:pt>
          <cx:pt idx="91732">1</cx:pt>
          <cx:pt idx="91733">1</cx:pt>
          <cx:pt idx="91734">1</cx:pt>
          <cx:pt idx="91735">1</cx:pt>
          <cx:pt idx="91736">0</cx:pt>
          <cx:pt idx="91737">1</cx:pt>
          <cx:pt idx="91738">1</cx:pt>
          <cx:pt idx="91739">0</cx:pt>
          <cx:pt idx="91740">1</cx:pt>
          <cx:pt idx="91741">0</cx:pt>
          <cx:pt idx="91742">0</cx:pt>
          <cx:pt idx="91743">1</cx:pt>
          <cx:pt idx="91744">0</cx:pt>
          <cx:pt idx="91745">1</cx:pt>
          <cx:pt idx="91746">1</cx:pt>
          <cx:pt idx="91747">0</cx:pt>
          <cx:pt idx="91748">1</cx:pt>
          <cx:pt idx="91749">1</cx:pt>
          <cx:pt idx="91750">1</cx:pt>
          <cx:pt idx="91751">1</cx:pt>
          <cx:pt idx="91752">1</cx:pt>
          <cx:pt idx="91753">0</cx:pt>
          <cx:pt idx="91754">0</cx:pt>
          <cx:pt idx="91755">0</cx:pt>
          <cx:pt idx="91756">0</cx:pt>
          <cx:pt idx="91757">1</cx:pt>
          <cx:pt idx="91758">0</cx:pt>
          <cx:pt idx="91759">0</cx:pt>
          <cx:pt idx="91760">0</cx:pt>
          <cx:pt idx="91761">1</cx:pt>
          <cx:pt idx="91762">1</cx:pt>
          <cx:pt idx="91763">0</cx:pt>
          <cx:pt idx="91764">0</cx:pt>
          <cx:pt idx="91765">1</cx:pt>
          <cx:pt idx="91766">1</cx:pt>
          <cx:pt idx="91767">1</cx:pt>
          <cx:pt idx="91768">0</cx:pt>
          <cx:pt idx="91769">0</cx:pt>
          <cx:pt idx="91770">1</cx:pt>
          <cx:pt idx="91771">1</cx:pt>
          <cx:pt idx="91772">0</cx:pt>
          <cx:pt idx="91773">0</cx:pt>
          <cx:pt idx="91774">1</cx:pt>
          <cx:pt idx="91775">0</cx:pt>
          <cx:pt idx="91776">1</cx:pt>
          <cx:pt idx="91777">1</cx:pt>
          <cx:pt idx="91778">1</cx:pt>
          <cx:pt idx="91779">0</cx:pt>
          <cx:pt idx="91780">0</cx:pt>
          <cx:pt idx="91781">0</cx:pt>
          <cx:pt idx="91782">0</cx:pt>
          <cx:pt idx="91783">1</cx:pt>
          <cx:pt idx="91784">0</cx:pt>
          <cx:pt idx="91785">0</cx:pt>
          <cx:pt idx="91786">0</cx:pt>
          <cx:pt idx="91787">1</cx:pt>
          <cx:pt idx="91788">0</cx:pt>
          <cx:pt idx="91789">0</cx:pt>
          <cx:pt idx="91790">0</cx:pt>
          <cx:pt idx="91791">0</cx:pt>
          <cx:pt idx="91792">0</cx:pt>
          <cx:pt idx="91793">1</cx:pt>
          <cx:pt idx="91794">1</cx:pt>
          <cx:pt idx="91795">1</cx:pt>
          <cx:pt idx="91796">1</cx:pt>
          <cx:pt idx="91797">0</cx:pt>
          <cx:pt idx="91798">0</cx:pt>
          <cx:pt idx="91799">0</cx:pt>
          <cx:pt idx="91800">1</cx:pt>
          <cx:pt idx="91801">1</cx:pt>
          <cx:pt idx="91802">0</cx:pt>
          <cx:pt idx="91803">1</cx:pt>
          <cx:pt idx="91804">1</cx:pt>
          <cx:pt idx="91805">1</cx:pt>
          <cx:pt idx="91806">1</cx:pt>
          <cx:pt idx="91807">1</cx:pt>
          <cx:pt idx="91808">1</cx:pt>
          <cx:pt idx="91809">0</cx:pt>
          <cx:pt idx="91810">1</cx:pt>
          <cx:pt idx="91811">1</cx:pt>
          <cx:pt idx="91812">1</cx:pt>
          <cx:pt idx="91813">0</cx:pt>
          <cx:pt idx="91814">1</cx:pt>
          <cx:pt idx="91815">1</cx:pt>
          <cx:pt idx="91816">0</cx:pt>
          <cx:pt idx="91817">0</cx:pt>
          <cx:pt idx="91818">0</cx:pt>
          <cx:pt idx="91819">0</cx:pt>
          <cx:pt idx="91820">0</cx:pt>
          <cx:pt idx="91821">0</cx:pt>
          <cx:pt idx="91822">1</cx:pt>
          <cx:pt idx="91823">0</cx:pt>
          <cx:pt idx="91824">0</cx:pt>
          <cx:pt idx="91825">0</cx:pt>
          <cx:pt idx="91826">0</cx:pt>
          <cx:pt idx="91827">1</cx:pt>
          <cx:pt idx="91828">0</cx:pt>
          <cx:pt idx="91829">0</cx:pt>
          <cx:pt idx="91830">0</cx:pt>
          <cx:pt idx="91831">0</cx:pt>
          <cx:pt idx="91832">0</cx:pt>
          <cx:pt idx="91833">0</cx:pt>
          <cx:pt idx="91834">0</cx:pt>
          <cx:pt idx="91835">0</cx:pt>
          <cx:pt idx="91836">1</cx:pt>
          <cx:pt idx="91837">0</cx:pt>
          <cx:pt idx="91838">0</cx:pt>
          <cx:pt idx="91839">0</cx:pt>
          <cx:pt idx="91840">0</cx:pt>
          <cx:pt idx="91841">0</cx:pt>
          <cx:pt idx="91842">1</cx:pt>
          <cx:pt idx="91843">0</cx:pt>
          <cx:pt idx="91844">0</cx:pt>
          <cx:pt idx="91845">0</cx:pt>
          <cx:pt idx="91846">1</cx:pt>
          <cx:pt idx="91847">1</cx:pt>
          <cx:pt idx="91848">0</cx:pt>
          <cx:pt idx="91849">0</cx:pt>
          <cx:pt idx="91850">1</cx:pt>
          <cx:pt idx="91851">0</cx:pt>
          <cx:pt idx="91852">0</cx:pt>
          <cx:pt idx="91853">1</cx:pt>
          <cx:pt idx="91854">1</cx:pt>
          <cx:pt idx="91855">1</cx:pt>
          <cx:pt idx="91856">0</cx:pt>
          <cx:pt idx="91857">1</cx:pt>
          <cx:pt idx="91858">0</cx:pt>
          <cx:pt idx="91859">0</cx:pt>
          <cx:pt idx="91860">0</cx:pt>
          <cx:pt idx="91861">0</cx:pt>
          <cx:pt idx="91862">0</cx:pt>
          <cx:pt idx="91863">0</cx:pt>
          <cx:pt idx="91864">1</cx:pt>
          <cx:pt idx="91865">0</cx:pt>
          <cx:pt idx="91866">1</cx:pt>
          <cx:pt idx="91867">1</cx:pt>
          <cx:pt idx="91868">0</cx:pt>
          <cx:pt idx="91869">0</cx:pt>
          <cx:pt idx="91870">0</cx:pt>
          <cx:pt idx="91871">1</cx:pt>
          <cx:pt idx="91872">0</cx:pt>
          <cx:pt idx="91873">0</cx:pt>
          <cx:pt idx="91874">0</cx:pt>
          <cx:pt idx="91875">0</cx:pt>
          <cx:pt idx="91876">0</cx:pt>
          <cx:pt idx="91877">1</cx:pt>
          <cx:pt idx="91878">0</cx:pt>
          <cx:pt idx="91879">0</cx:pt>
          <cx:pt idx="91880">0</cx:pt>
          <cx:pt idx="91881">0</cx:pt>
          <cx:pt idx="91882">0</cx:pt>
          <cx:pt idx="91883">1</cx:pt>
          <cx:pt idx="91884">1</cx:pt>
          <cx:pt idx="91885">0</cx:pt>
          <cx:pt idx="91886">0</cx:pt>
          <cx:pt idx="91887">1</cx:pt>
          <cx:pt idx="91888">1</cx:pt>
          <cx:pt idx="91889">1</cx:pt>
          <cx:pt idx="91890">0</cx:pt>
          <cx:pt idx="91891">0</cx:pt>
          <cx:pt idx="91892">0</cx:pt>
          <cx:pt idx="91893">0</cx:pt>
          <cx:pt idx="91894">1</cx:pt>
          <cx:pt idx="91895">0</cx:pt>
          <cx:pt idx="91896">1</cx:pt>
          <cx:pt idx="91897">0</cx:pt>
          <cx:pt idx="91898">0</cx:pt>
          <cx:pt idx="91899">1</cx:pt>
          <cx:pt idx="91900">1</cx:pt>
          <cx:pt idx="91901">0</cx:pt>
          <cx:pt idx="91902">0</cx:pt>
          <cx:pt idx="91903">0</cx:pt>
          <cx:pt idx="91904">0</cx:pt>
          <cx:pt idx="91905">1</cx:pt>
          <cx:pt idx="91906">1</cx:pt>
          <cx:pt idx="91907">0</cx:pt>
          <cx:pt idx="91908">0</cx:pt>
          <cx:pt idx="91909">0</cx:pt>
          <cx:pt idx="91910">1</cx:pt>
          <cx:pt idx="91911">0</cx:pt>
          <cx:pt idx="91912">0</cx:pt>
          <cx:pt idx="91913">1</cx:pt>
          <cx:pt idx="91914">0</cx:pt>
          <cx:pt idx="91915">1</cx:pt>
          <cx:pt idx="91916">0</cx:pt>
          <cx:pt idx="91917">1</cx:pt>
          <cx:pt idx="91918">1</cx:pt>
          <cx:pt idx="91919">1</cx:pt>
          <cx:pt idx="91920">0</cx:pt>
          <cx:pt idx="91921">0</cx:pt>
          <cx:pt idx="91922">0</cx:pt>
          <cx:pt idx="91923">1</cx:pt>
          <cx:pt idx="91924">0</cx:pt>
          <cx:pt idx="91925">0</cx:pt>
          <cx:pt idx="91926">1</cx:pt>
          <cx:pt idx="91927">0</cx:pt>
          <cx:pt idx="91928">0</cx:pt>
          <cx:pt idx="91929">1</cx:pt>
          <cx:pt idx="91930">0</cx:pt>
          <cx:pt idx="91931">0</cx:pt>
          <cx:pt idx="91932">1</cx:pt>
          <cx:pt idx="91933">1</cx:pt>
          <cx:pt idx="91934">0</cx:pt>
          <cx:pt idx="91935">1</cx:pt>
          <cx:pt idx="91936">1</cx:pt>
          <cx:pt idx="91937">0</cx:pt>
          <cx:pt idx="91938">1</cx:pt>
          <cx:pt idx="91939">1</cx:pt>
          <cx:pt idx="91940">1</cx:pt>
          <cx:pt idx="91941">1</cx:pt>
          <cx:pt idx="91942">1</cx:pt>
          <cx:pt idx="91943">0</cx:pt>
          <cx:pt idx="91944">0</cx:pt>
          <cx:pt idx="91945">0</cx:pt>
          <cx:pt idx="91946">0</cx:pt>
          <cx:pt idx="91947">1</cx:pt>
          <cx:pt idx="91948">0</cx:pt>
          <cx:pt idx="91949">1</cx:pt>
          <cx:pt idx="91950">1</cx:pt>
          <cx:pt idx="91951">1</cx:pt>
          <cx:pt idx="91952">1</cx:pt>
          <cx:pt idx="91953">1</cx:pt>
          <cx:pt idx="91954">0</cx:pt>
          <cx:pt idx="91955">0</cx:pt>
          <cx:pt idx="91956">0</cx:pt>
          <cx:pt idx="91957">1</cx:pt>
          <cx:pt idx="91958">1</cx:pt>
          <cx:pt idx="91959">1</cx:pt>
          <cx:pt idx="91960">1</cx:pt>
          <cx:pt idx="91961">1</cx:pt>
          <cx:pt idx="91962">1</cx:pt>
          <cx:pt idx="91963">0</cx:pt>
          <cx:pt idx="91964">0</cx:pt>
          <cx:pt idx="91965">1</cx:pt>
          <cx:pt idx="91966">0</cx:pt>
          <cx:pt idx="91967">1</cx:pt>
          <cx:pt idx="91968">0</cx:pt>
          <cx:pt idx="91969">1</cx:pt>
          <cx:pt idx="91970">0</cx:pt>
          <cx:pt idx="91971">0</cx:pt>
          <cx:pt idx="91972">1</cx:pt>
          <cx:pt idx="91973">1</cx:pt>
          <cx:pt idx="91974">0</cx:pt>
          <cx:pt idx="91975">1</cx:pt>
          <cx:pt idx="91976">0</cx:pt>
          <cx:pt idx="91977">1</cx:pt>
          <cx:pt idx="91978">0</cx:pt>
          <cx:pt idx="91979">1</cx:pt>
          <cx:pt idx="91980">0</cx:pt>
          <cx:pt idx="91981">1</cx:pt>
          <cx:pt idx="91982">0</cx:pt>
          <cx:pt idx="91983">1</cx:pt>
          <cx:pt idx="91984">1</cx:pt>
          <cx:pt idx="91985">0</cx:pt>
          <cx:pt idx="91986">0</cx:pt>
          <cx:pt idx="91987">0</cx:pt>
          <cx:pt idx="91988">0</cx:pt>
          <cx:pt idx="91989">1</cx:pt>
          <cx:pt idx="91990">0</cx:pt>
          <cx:pt idx="91991">0</cx:pt>
          <cx:pt idx="91992">0</cx:pt>
          <cx:pt idx="91993">0</cx:pt>
          <cx:pt idx="91994">1</cx:pt>
          <cx:pt idx="91995">1</cx:pt>
          <cx:pt idx="91996">1</cx:pt>
          <cx:pt idx="91997">1</cx:pt>
          <cx:pt idx="91998">0</cx:pt>
          <cx:pt idx="91999">1</cx:pt>
          <cx:pt idx="92000">0</cx:pt>
          <cx:pt idx="92001">0</cx:pt>
          <cx:pt idx="92002">0</cx:pt>
          <cx:pt idx="92003">1</cx:pt>
          <cx:pt idx="92004">1</cx:pt>
          <cx:pt idx="92005">1</cx:pt>
          <cx:pt idx="92006">0</cx:pt>
          <cx:pt idx="92007">1</cx:pt>
          <cx:pt idx="92008">1</cx:pt>
          <cx:pt idx="92009">0</cx:pt>
          <cx:pt idx="92010">1</cx:pt>
          <cx:pt idx="92011">0</cx:pt>
          <cx:pt idx="92012">1</cx:pt>
          <cx:pt idx="92013">1</cx:pt>
          <cx:pt idx="92014">1</cx:pt>
          <cx:pt idx="92015">1</cx:pt>
          <cx:pt idx="92016">1</cx:pt>
          <cx:pt idx="92017">0</cx:pt>
          <cx:pt idx="92018">0</cx:pt>
          <cx:pt idx="92019">0</cx:pt>
          <cx:pt idx="92020">1</cx:pt>
          <cx:pt idx="92021">0</cx:pt>
          <cx:pt idx="92022">0</cx:pt>
          <cx:pt idx="92023">1</cx:pt>
          <cx:pt idx="92024">0</cx:pt>
          <cx:pt idx="92025">1</cx:pt>
          <cx:pt idx="92026">0</cx:pt>
          <cx:pt idx="92027">0</cx:pt>
          <cx:pt idx="92028">0</cx:pt>
          <cx:pt idx="92029">1</cx:pt>
          <cx:pt idx="92030">0</cx:pt>
          <cx:pt idx="92031">0</cx:pt>
          <cx:pt idx="92032">0</cx:pt>
          <cx:pt idx="92033">1</cx:pt>
          <cx:pt idx="92034">1</cx:pt>
          <cx:pt idx="92035">1</cx:pt>
          <cx:pt idx="92036">0</cx:pt>
          <cx:pt idx="92037">1</cx:pt>
          <cx:pt idx="92038">1</cx:pt>
          <cx:pt idx="92039">1</cx:pt>
          <cx:pt idx="92040">0</cx:pt>
          <cx:pt idx="92041">0</cx:pt>
          <cx:pt idx="92042">0</cx:pt>
          <cx:pt idx="92043">0</cx:pt>
          <cx:pt idx="92044">0</cx:pt>
          <cx:pt idx="92045">1</cx:pt>
          <cx:pt idx="92046">1</cx:pt>
          <cx:pt idx="92047">0</cx:pt>
          <cx:pt idx="92048">0</cx:pt>
          <cx:pt idx="92049">1</cx:pt>
          <cx:pt idx="92050">0</cx:pt>
          <cx:pt idx="92051">0</cx:pt>
          <cx:pt idx="92052">0</cx:pt>
          <cx:pt idx="92053">1</cx:pt>
          <cx:pt idx="92054">1</cx:pt>
          <cx:pt idx="92055">1</cx:pt>
          <cx:pt idx="92056">0</cx:pt>
          <cx:pt idx="92057">1</cx:pt>
          <cx:pt idx="92058">0</cx:pt>
          <cx:pt idx="92059">1</cx:pt>
          <cx:pt idx="92060">1</cx:pt>
          <cx:pt idx="92061">1</cx:pt>
          <cx:pt idx="92062">0</cx:pt>
          <cx:pt idx="92063">0</cx:pt>
          <cx:pt idx="92064">0</cx:pt>
          <cx:pt idx="92065">0</cx:pt>
          <cx:pt idx="92066">1</cx:pt>
          <cx:pt idx="92067">1</cx:pt>
          <cx:pt idx="92068">1</cx:pt>
          <cx:pt idx="92069">0</cx:pt>
          <cx:pt idx="92070">1</cx:pt>
          <cx:pt idx="92071">0</cx:pt>
          <cx:pt idx="92072">1</cx:pt>
          <cx:pt idx="92073">0</cx:pt>
          <cx:pt idx="92074">0</cx:pt>
          <cx:pt idx="92075">0</cx:pt>
          <cx:pt idx="92076">0</cx:pt>
          <cx:pt idx="92077">1</cx:pt>
          <cx:pt idx="92078">0</cx:pt>
          <cx:pt idx="92079">1</cx:pt>
          <cx:pt idx="92080">0</cx:pt>
          <cx:pt idx="92081">1</cx:pt>
          <cx:pt idx="92082">1</cx:pt>
          <cx:pt idx="92083">0</cx:pt>
          <cx:pt idx="92084">0</cx:pt>
          <cx:pt idx="92085">0</cx:pt>
          <cx:pt idx="92086">0</cx:pt>
          <cx:pt idx="92087">0</cx:pt>
          <cx:pt idx="92088">1</cx:pt>
          <cx:pt idx="92089">0</cx:pt>
          <cx:pt idx="92090">1</cx:pt>
          <cx:pt idx="92091">0</cx:pt>
          <cx:pt idx="92092">1</cx:pt>
          <cx:pt idx="92093">0</cx:pt>
          <cx:pt idx="92094">1</cx:pt>
          <cx:pt idx="92095">0</cx:pt>
          <cx:pt idx="92096">1</cx:pt>
          <cx:pt idx="92097">1</cx:pt>
          <cx:pt idx="92098">1</cx:pt>
          <cx:pt idx="92099">0</cx:pt>
          <cx:pt idx="92100">0</cx:pt>
          <cx:pt idx="92101">0</cx:pt>
          <cx:pt idx="92102">0</cx:pt>
          <cx:pt idx="92103">0</cx:pt>
          <cx:pt idx="92104">1</cx:pt>
          <cx:pt idx="92105">1</cx:pt>
          <cx:pt idx="92106">1</cx:pt>
          <cx:pt idx="92107">0</cx:pt>
          <cx:pt idx="92108">0</cx:pt>
          <cx:pt idx="92109">0</cx:pt>
          <cx:pt idx="92110">1</cx:pt>
          <cx:pt idx="92111">0</cx:pt>
          <cx:pt idx="92112">0</cx:pt>
          <cx:pt idx="92113">0</cx:pt>
          <cx:pt idx="92114">0</cx:pt>
          <cx:pt idx="92115">0</cx:pt>
          <cx:pt idx="92116">0</cx:pt>
          <cx:pt idx="92117">0</cx:pt>
          <cx:pt idx="92118">1</cx:pt>
          <cx:pt idx="92119">0</cx:pt>
          <cx:pt idx="92120">0</cx:pt>
          <cx:pt idx="92121">0</cx:pt>
          <cx:pt idx="92122">1</cx:pt>
          <cx:pt idx="92123">0</cx:pt>
          <cx:pt idx="92124">0</cx:pt>
          <cx:pt idx="92125">1</cx:pt>
          <cx:pt idx="92126">0</cx:pt>
          <cx:pt idx="92127">1</cx:pt>
          <cx:pt idx="92128">0</cx:pt>
          <cx:pt idx="92129">0</cx:pt>
          <cx:pt idx="92130">1</cx:pt>
          <cx:pt idx="92131">0</cx:pt>
          <cx:pt idx="92132">1</cx:pt>
          <cx:pt idx="92133">1</cx:pt>
          <cx:pt idx="92134">0</cx:pt>
          <cx:pt idx="92135">0</cx:pt>
          <cx:pt idx="92136">0</cx:pt>
          <cx:pt idx="92137">0</cx:pt>
          <cx:pt idx="92138">0</cx:pt>
          <cx:pt idx="92139">0</cx:pt>
          <cx:pt idx="92140">1</cx:pt>
          <cx:pt idx="92141">0</cx:pt>
          <cx:pt idx="92142">1</cx:pt>
          <cx:pt idx="92143">1</cx:pt>
          <cx:pt idx="92144">1</cx:pt>
          <cx:pt idx="92145">1</cx:pt>
          <cx:pt idx="92146">0</cx:pt>
          <cx:pt idx="92147">0</cx:pt>
          <cx:pt idx="92148">1</cx:pt>
          <cx:pt idx="92149">0</cx:pt>
          <cx:pt idx="92150">0</cx:pt>
          <cx:pt idx="92151">1</cx:pt>
          <cx:pt idx="92152">1</cx:pt>
          <cx:pt idx="92153">1</cx:pt>
          <cx:pt idx="92154">0</cx:pt>
          <cx:pt idx="92155">0</cx:pt>
          <cx:pt idx="92156">1</cx:pt>
          <cx:pt idx="92157">1</cx:pt>
          <cx:pt idx="92158">1</cx:pt>
          <cx:pt idx="92159">0</cx:pt>
          <cx:pt idx="92160">1</cx:pt>
          <cx:pt idx="92161">1</cx:pt>
          <cx:pt idx="92162">1</cx:pt>
          <cx:pt idx="92163">1</cx:pt>
          <cx:pt idx="92164">0</cx:pt>
          <cx:pt idx="92165">0</cx:pt>
          <cx:pt idx="92166">1</cx:pt>
          <cx:pt idx="92167">0</cx:pt>
          <cx:pt idx="92168">0</cx:pt>
          <cx:pt idx="92169">0</cx:pt>
          <cx:pt idx="92170">0</cx:pt>
          <cx:pt idx="92171">1</cx:pt>
          <cx:pt idx="92172">0</cx:pt>
          <cx:pt idx="92173">0</cx:pt>
          <cx:pt idx="92174">0</cx:pt>
          <cx:pt idx="92175">1</cx:pt>
          <cx:pt idx="92176">0</cx:pt>
          <cx:pt idx="92177">1</cx:pt>
          <cx:pt idx="92178">0</cx:pt>
          <cx:pt idx="92179">1</cx:pt>
          <cx:pt idx="92180">0</cx:pt>
          <cx:pt idx="92181">1</cx:pt>
          <cx:pt idx="92182">1</cx:pt>
          <cx:pt idx="92183">1</cx:pt>
          <cx:pt idx="92184">1</cx:pt>
          <cx:pt idx="92185">1</cx:pt>
          <cx:pt idx="92186">0</cx:pt>
          <cx:pt idx="92187">1</cx:pt>
          <cx:pt idx="92188">0</cx:pt>
          <cx:pt idx="92189">0</cx:pt>
          <cx:pt idx="92190">1</cx:pt>
          <cx:pt idx="92191">0</cx:pt>
          <cx:pt idx="92192">1</cx:pt>
          <cx:pt idx="92193">0</cx:pt>
          <cx:pt idx="92194">0</cx:pt>
          <cx:pt idx="92195">0</cx:pt>
          <cx:pt idx="92196">1</cx:pt>
          <cx:pt idx="92197">1</cx:pt>
          <cx:pt idx="92198">0</cx:pt>
          <cx:pt idx="92199">0</cx:pt>
          <cx:pt idx="92200">0</cx:pt>
          <cx:pt idx="92201">0</cx:pt>
          <cx:pt idx="92202">0</cx:pt>
          <cx:pt idx="92203">0</cx:pt>
          <cx:pt idx="92204">0</cx:pt>
          <cx:pt idx="92205">1</cx:pt>
          <cx:pt idx="92206">0</cx:pt>
          <cx:pt idx="92207">1</cx:pt>
          <cx:pt idx="92208">0</cx:pt>
          <cx:pt idx="92209">0</cx:pt>
          <cx:pt idx="92210">0</cx:pt>
          <cx:pt idx="92211">0</cx:pt>
          <cx:pt idx="92212">1</cx:pt>
          <cx:pt idx="92213">1</cx:pt>
          <cx:pt idx="92214">0</cx:pt>
          <cx:pt idx="92215">1</cx:pt>
          <cx:pt idx="92216">0</cx:pt>
          <cx:pt idx="92217">1</cx:pt>
          <cx:pt idx="92218">0</cx:pt>
          <cx:pt idx="92219">0</cx:pt>
          <cx:pt idx="92220">1</cx:pt>
          <cx:pt idx="92221">1</cx:pt>
          <cx:pt idx="92222">0</cx:pt>
          <cx:pt idx="92223">0</cx:pt>
          <cx:pt idx="92224">1</cx:pt>
          <cx:pt idx="92225">1</cx:pt>
          <cx:pt idx="92226">0</cx:pt>
          <cx:pt idx="92227">1</cx:pt>
          <cx:pt idx="92228">1</cx:pt>
          <cx:pt idx="92229">0</cx:pt>
          <cx:pt idx="92230">1</cx:pt>
          <cx:pt idx="92231">0</cx:pt>
          <cx:pt idx="92232">0</cx:pt>
          <cx:pt idx="92233">1</cx:pt>
          <cx:pt idx="92234">1</cx:pt>
          <cx:pt idx="92235">0</cx:pt>
          <cx:pt idx="92236">0</cx:pt>
          <cx:pt idx="92237">0</cx:pt>
          <cx:pt idx="92238">1</cx:pt>
          <cx:pt idx="92239">1</cx:pt>
          <cx:pt idx="92240">1</cx:pt>
          <cx:pt idx="92241">0</cx:pt>
          <cx:pt idx="92242">0</cx:pt>
          <cx:pt idx="92243">1</cx:pt>
          <cx:pt idx="92244">1</cx:pt>
          <cx:pt idx="92245">1</cx:pt>
          <cx:pt idx="92246">0</cx:pt>
          <cx:pt idx="92247">0</cx:pt>
          <cx:pt idx="92248">0</cx:pt>
          <cx:pt idx="92249">0</cx:pt>
          <cx:pt idx="92250">1</cx:pt>
          <cx:pt idx="92251">0</cx:pt>
          <cx:pt idx="92252">1</cx:pt>
          <cx:pt idx="92253">0</cx:pt>
          <cx:pt idx="92254">0</cx:pt>
          <cx:pt idx="92255">0</cx:pt>
          <cx:pt idx="92256">1</cx:pt>
          <cx:pt idx="92257">0</cx:pt>
          <cx:pt idx="92258">1</cx:pt>
          <cx:pt idx="92259">1</cx:pt>
          <cx:pt idx="92260">1</cx:pt>
          <cx:pt idx="92261">0</cx:pt>
          <cx:pt idx="92262">1</cx:pt>
          <cx:pt idx="92263">0</cx:pt>
          <cx:pt idx="92264">0</cx:pt>
          <cx:pt idx="92265">0</cx:pt>
          <cx:pt idx="92266">0</cx:pt>
          <cx:pt idx="92267">0</cx:pt>
          <cx:pt idx="92268">0</cx:pt>
          <cx:pt idx="92269">0</cx:pt>
          <cx:pt idx="92270">0</cx:pt>
          <cx:pt idx="92271">0</cx:pt>
          <cx:pt idx="92272">0</cx:pt>
          <cx:pt idx="92273">1</cx:pt>
          <cx:pt idx="92274">0</cx:pt>
          <cx:pt idx="92275">0</cx:pt>
          <cx:pt idx="92276">0</cx:pt>
          <cx:pt idx="92277">0</cx:pt>
          <cx:pt idx="92278">1</cx:pt>
          <cx:pt idx="92279">0</cx:pt>
          <cx:pt idx="92280">1</cx:pt>
          <cx:pt idx="92281">1</cx:pt>
          <cx:pt idx="92282">1</cx:pt>
          <cx:pt idx="92283">0</cx:pt>
          <cx:pt idx="92284">0</cx:pt>
          <cx:pt idx="92285">1</cx:pt>
          <cx:pt idx="92286">1</cx:pt>
          <cx:pt idx="92287">1</cx:pt>
          <cx:pt idx="92288">1</cx:pt>
          <cx:pt idx="92289">1</cx:pt>
          <cx:pt idx="92290">1</cx:pt>
          <cx:pt idx="92291">0</cx:pt>
          <cx:pt idx="92292">1</cx:pt>
          <cx:pt idx="92293">0</cx:pt>
          <cx:pt idx="92294">1</cx:pt>
          <cx:pt idx="92295">1</cx:pt>
          <cx:pt idx="92296">0</cx:pt>
          <cx:pt idx="92297">1</cx:pt>
          <cx:pt idx="92298">0</cx:pt>
          <cx:pt idx="92299">0</cx:pt>
          <cx:pt idx="92300">1</cx:pt>
          <cx:pt idx="92301">1</cx:pt>
          <cx:pt idx="92302">1</cx:pt>
          <cx:pt idx="92303">0</cx:pt>
          <cx:pt idx="92304">1</cx:pt>
          <cx:pt idx="92305">0</cx:pt>
          <cx:pt idx="92306">0</cx:pt>
          <cx:pt idx="92307">0</cx:pt>
          <cx:pt idx="92308">0</cx:pt>
          <cx:pt idx="92309">1</cx:pt>
          <cx:pt idx="92310">1</cx:pt>
          <cx:pt idx="92311">0</cx:pt>
          <cx:pt idx="92312">0</cx:pt>
          <cx:pt idx="92313">1</cx:pt>
          <cx:pt idx="92314">1</cx:pt>
          <cx:pt idx="92315">0</cx:pt>
          <cx:pt idx="92316">1</cx:pt>
          <cx:pt idx="92317">1</cx:pt>
          <cx:pt idx="92318">1</cx:pt>
          <cx:pt idx="92319">0</cx:pt>
          <cx:pt idx="92320">0</cx:pt>
          <cx:pt idx="92321">0</cx:pt>
          <cx:pt idx="92322">0</cx:pt>
          <cx:pt idx="92323">1</cx:pt>
          <cx:pt idx="92324">1</cx:pt>
          <cx:pt idx="92325">1</cx:pt>
          <cx:pt idx="92326">1</cx:pt>
          <cx:pt idx="92327">1</cx:pt>
          <cx:pt idx="92328">1</cx:pt>
          <cx:pt idx="92329">1</cx:pt>
          <cx:pt idx="92330">1</cx:pt>
          <cx:pt idx="92331">0</cx:pt>
          <cx:pt idx="92332">1</cx:pt>
          <cx:pt idx="92333">0</cx:pt>
          <cx:pt idx="92334">1</cx:pt>
          <cx:pt idx="92335">0</cx:pt>
          <cx:pt idx="92336">0</cx:pt>
          <cx:pt idx="92337">0</cx:pt>
          <cx:pt idx="92338">0</cx:pt>
          <cx:pt idx="92339">0</cx:pt>
          <cx:pt idx="92340">1</cx:pt>
          <cx:pt idx="92341">1</cx:pt>
          <cx:pt idx="92342">1</cx:pt>
          <cx:pt idx="92343">1</cx:pt>
          <cx:pt idx="92344">1</cx:pt>
          <cx:pt idx="92345">1</cx:pt>
          <cx:pt idx="92346">0</cx:pt>
          <cx:pt idx="92347">0</cx:pt>
          <cx:pt idx="92348">0</cx:pt>
          <cx:pt idx="92349">0</cx:pt>
          <cx:pt idx="92350">0</cx:pt>
          <cx:pt idx="92351">0</cx:pt>
          <cx:pt idx="92352">1</cx:pt>
          <cx:pt idx="92353">0</cx:pt>
          <cx:pt idx="92354">1</cx:pt>
          <cx:pt idx="92355">0</cx:pt>
          <cx:pt idx="92356">0</cx:pt>
          <cx:pt idx="92357">0</cx:pt>
          <cx:pt idx="92358">1</cx:pt>
          <cx:pt idx="92359">1</cx:pt>
          <cx:pt idx="92360">1</cx:pt>
          <cx:pt idx="92361">1</cx:pt>
          <cx:pt idx="92362">0</cx:pt>
          <cx:pt idx="92363">0</cx:pt>
          <cx:pt idx="92364">0</cx:pt>
          <cx:pt idx="92365">0</cx:pt>
          <cx:pt idx="92366">0</cx:pt>
          <cx:pt idx="92367">1</cx:pt>
          <cx:pt idx="92368">0</cx:pt>
          <cx:pt idx="92369">0</cx:pt>
          <cx:pt idx="92370">0</cx:pt>
          <cx:pt idx="92371">1</cx:pt>
          <cx:pt idx="92372">0</cx:pt>
          <cx:pt idx="92373">0</cx:pt>
          <cx:pt idx="92374">0</cx:pt>
          <cx:pt idx="92375">0</cx:pt>
          <cx:pt idx="92376">0</cx:pt>
          <cx:pt idx="92377">1</cx:pt>
          <cx:pt idx="92378">0</cx:pt>
          <cx:pt idx="92379">1</cx:pt>
          <cx:pt idx="92380">0</cx:pt>
          <cx:pt idx="92381">1</cx:pt>
          <cx:pt idx="92382">1</cx:pt>
          <cx:pt idx="92383">0</cx:pt>
          <cx:pt idx="92384">0</cx:pt>
          <cx:pt idx="92385">0</cx:pt>
          <cx:pt idx="92386">0</cx:pt>
          <cx:pt idx="92387">0</cx:pt>
          <cx:pt idx="92388">1</cx:pt>
          <cx:pt idx="92389">0</cx:pt>
          <cx:pt idx="92390">1</cx:pt>
          <cx:pt idx="92391">0</cx:pt>
          <cx:pt idx="92392">1</cx:pt>
          <cx:pt idx="92393">0</cx:pt>
          <cx:pt idx="92394">0</cx:pt>
          <cx:pt idx="92395">0</cx:pt>
          <cx:pt idx="92396">1</cx:pt>
          <cx:pt idx="92397">0</cx:pt>
          <cx:pt idx="92398">1</cx:pt>
          <cx:pt idx="92399">0</cx:pt>
          <cx:pt idx="92400">1</cx:pt>
          <cx:pt idx="92401">0</cx:pt>
          <cx:pt idx="92402">0</cx:pt>
          <cx:pt idx="92403">0</cx:pt>
          <cx:pt idx="92404">1</cx:pt>
          <cx:pt idx="92405">0</cx:pt>
          <cx:pt idx="92406">1</cx:pt>
          <cx:pt idx="92407">0</cx:pt>
          <cx:pt idx="92408">0</cx:pt>
          <cx:pt idx="92409">0</cx:pt>
          <cx:pt idx="92410">1</cx:pt>
          <cx:pt idx="92411">1</cx:pt>
          <cx:pt idx="92412">0</cx:pt>
          <cx:pt idx="92413">1</cx:pt>
          <cx:pt idx="92414">0</cx:pt>
          <cx:pt idx="92415">0</cx:pt>
          <cx:pt idx="92416">1</cx:pt>
          <cx:pt idx="92417">1</cx:pt>
          <cx:pt idx="92418">1</cx:pt>
          <cx:pt idx="92419">0</cx:pt>
          <cx:pt idx="92420">1</cx:pt>
          <cx:pt idx="92421">1</cx:pt>
          <cx:pt idx="92422">1</cx:pt>
          <cx:pt idx="92423">0</cx:pt>
          <cx:pt idx="92424">1</cx:pt>
          <cx:pt idx="92425">1</cx:pt>
          <cx:pt idx="92426">0</cx:pt>
          <cx:pt idx="92427">1</cx:pt>
          <cx:pt idx="92428">0</cx:pt>
          <cx:pt idx="92429">0</cx:pt>
          <cx:pt idx="92430">1</cx:pt>
          <cx:pt idx="92431">0</cx:pt>
          <cx:pt idx="92432">0</cx:pt>
          <cx:pt idx="92433">0</cx:pt>
          <cx:pt idx="92434">0</cx:pt>
          <cx:pt idx="92435">0</cx:pt>
          <cx:pt idx="92436">1</cx:pt>
          <cx:pt idx="92437">0</cx:pt>
          <cx:pt idx="92438">0</cx:pt>
          <cx:pt idx="92439">0</cx:pt>
          <cx:pt idx="92440">1</cx:pt>
          <cx:pt idx="92441">1</cx:pt>
          <cx:pt idx="92442">1</cx:pt>
          <cx:pt idx="92443">1</cx:pt>
          <cx:pt idx="92444">0</cx:pt>
          <cx:pt idx="92445">1</cx:pt>
          <cx:pt idx="92446">0</cx:pt>
          <cx:pt idx="92447">1</cx:pt>
          <cx:pt idx="92448">1</cx:pt>
          <cx:pt idx="92449">0</cx:pt>
          <cx:pt idx="92450">0</cx:pt>
          <cx:pt idx="92451">1</cx:pt>
          <cx:pt idx="92452">1</cx:pt>
          <cx:pt idx="92453">1</cx:pt>
          <cx:pt idx="92454">0</cx:pt>
          <cx:pt idx="92455">0</cx:pt>
          <cx:pt idx="92456">1</cx:pt>
          <cx:pt idx="92457">0</cx:pt>
          <cx:pt idx="92458">0</cx:pt>
          <cx:pt idx="92459">0</cx:pt>
          <cx:pt idx="92460">1</cx:pt>
          <cx:pt idx="92461">0</cx:pt>
          <cx:pt idx="92462">0</cx:pt>
          <cx:pt idx="92463">1</cx:pt>
          <cx:pt idx="92464">0</cx:pt>
          <cx:pt idx="92465">0</cx:pt>
          <cx:pt idx="92466">0</cx:pt>
          <cx:pt idx="92467">0</cx:pt>
          <cx:pt idx="92468">0</cx:pt>
          <cx:pt idx="92469">1</cx:pt>
          <cx:pt idx="92470">1</cx:pt>
          <cx:pt idx="92471">0</cx:pt>
          <cx:pt idx="92472">0</cx:pt>
          <cx:pt idx="92473">0</cx:pt>
          <cx:pt idx="92474">0</cx:pt>
          <cx:pt idx="92475">0</cx:pt>
          <cx:pt idx="92476">0</cx:pt>
          <cx:pt idx="92477">0</cx:pt>
          <cx:pt idx="92478">1</cx:pt>
          <cx:pt idx="92479">1</cx:pt>
          <cx:pt idx="92480">0</cx:pt>
          <cx:pt idx="92481">1</cx:pt>
          <cx:pt idx="92482">1</cx:pt>
          <cx:pt idx="92483">0</cx:pt>
          <cx:pt idx="92484">0</cx:pt>
          <cx:pt idx="92485">0</cx:pt>
          <cx:pt idx="92486">1</cx:pt>
          <cx:pt idx="92487">1</cx:pt>
          <cx:pt idx="92488">1</cx:pt>
          <cx:pt idx="92489">0</cx:pt>
          <cx:pt idx="92490">0</cx:pt>
          <cx:pt idx="92491">0</cx:pt>
          <cx:pt idx="92492">0</cx:pt>
          <cx:pt idx="92493">0</cx:pt>
          <cx:pt idx="92494">0</cx:pt>
          <cx:pt idx="92495">0</cx:pt>
          <cx:pt idx="92496">0</cx:pt>
          <cx:pt idx="92497">1</cx:pt>
          <cx:pt idx="92498">0</cx:pt>
          <cx:pt idx="92499">0</cx:pt>
          <cx:pt idx="92500">0</cx:pt>
          <cx:pt idx="92501">1</cx:pt>
          <cx:pt idx="92502">1</cx:pt>
          <cx:pt idx="92503">1</cx:pt>
          <cx:pt idx="92504">1</cx:pt>
          <cx:pt idx="92505">1</cx:pt>
          <cx:pt idx="92506">0</cx:pt>
          <cx:pt idx="92507">0</cx:pt>
          <cx:pt idx="92508">1</cx:pt>
          <cx:pt idx="92509">1</cx:pt>
          <cx:pt idx="92510">1</cx:pt>
          <cx:pt idx="92511">0</cx:pt>
          <cx:pt idx="92512">0</cx:pt>
          <cx:pt idx="92513">1</cx:pt>
          <cx:pt idx="92514">0</cx:pt>
          <cx:pt idx="92515">1</cx:pt>
          <cx:pt idx="92516">0</cx:pt>
          <cx:pt idx="92517">1</cx:pt>
          <cx:pt idx="92518">1</cx:pt>
          <cx:pt idx="92519">0</cx:pt>
          <cx:pt idx="92520">1</cx:pt>
          <cx:pt idx="92521">0</cx:pt>
          <cx:pt idx="92522">0</cx:pt>
          <cx:pt idx="92523">1</cx:pt>
          <cx:pt idx="92524">0</cx:pt>
          <cx:pt idx="92525">0</cx:pt>
          <cx:pt idx="92526">1</cx:pt>
          <cx:pt idx="92527">0</cx:pt>
          <cx:pt idx="92528">1</cx:pt>
          <cx:pt idx="92529">0</cx:pt>
          <cx:pt idx="92530">0</cx:pt>
          <cx:pt idx="92531">1</cx:pt>
          <cx:pt idx="92532">1</cx:pt>
          <cx:pt idx="92533">0</cx:pt>
          <cx:pt idx="92534">0</cx:pt>
          <cx:pt idx="92535">0</cx:pt>
          <cx:pt idx="92536">0</cx:pt>
          <cx:pt idx="92537">0</cx:pt>
          <cx:pt idx="92538">0</cx:pt>
          <cx:pt idx="92539">0</cx:pt>
          <cx:pt idx="92540">0</cx:pt>
          <cx:pt idx="92541">1</cx:pt>
          <cx:pt idx="92542">1</cx:pt>
          <cx:pt idx="92543">0</cx:pt>
          <cx:pt idx="92544">0</cx:pt>
          <cx:pt idx="92545">1</cx:pt>
          <cx:pt idx="92546">0</cx:pt>
          <cx:pt idx="92547">0</cx:pt>
          <cx:pt idx="92548">1</cx:pt>
          <cx:pt idx="92549">0</cx:pt>
          <cx:pt idx="92550">0</cx:pt>
          <cx:pt idx="92551">1</cx:pt>
          <cx:pt idx="92552">0</cx:pt>
          <cx:pt idx="92553">1</cx:pt>
          <cx:pt idx="92554">0</cx:pt>
          <cx:pt idx="92555">1</cx:pt>
          <cx:pt idx="92556">0</cx:pt>
          <cx:pt idx="92557">0</cx:pt>
          <cx:pt idx="92558">1</cx:pt>
          <cx:pt idx="92559">0</cx:pt>
          <cx:pt idx="92560">1</cx:pt>
          <cx:pt idx="92561">0</cx:pt>
          <cx:pt idx="92562">1</cx:pt>
          <cx:pt idx="92563">0</cx:pt>
          <cx:pt idx="92564">1</cx:pt>
          <cx:pt idx="92565">0</cx:pt>
          <cx:pt idx="92566">0</cx:pt>
          <cx:pt idx="92567">1</cx:pt>
          <cx:pt idx="92568">0</cx:pt>
          <cx:pt idx="92569">0</cx:pt>
          <cx:pt idx="92570">1</cx:pt>
          <cx:pt idx="92571">0</cx:pt>
          <cx:pt idx="92572">0</cx:pt>
          <cx:pt idx="92573">0</cx:pt>
          <cx:pt idx="92574">0</cx:pt>
          <cx:pt idx="92575">0</cx:pt>
          <cx:pt idx="92576">0</cx:pt>
          <cx:pt idx="92577">1</cx:pt>
          <cx:pt idx="92578">0</cx:pt>
          <cx:pt idx="92579">0</cx:pt>
          <cx:pt idx="92580">1</cx:pt>
          <cx:pt idx="92581">1</cx:pt>
          <cx:pt idx="92582">0</cx:pt>
          <cx:pt idx="92583">0</cx:pt>
          <cx:pt idx="92584">0</cx:pt>
          <cx:pt idx="92585">1</cx:pt>
          <cx:pt idx="92586">1</cx:pt>
          <cx:pt idx="92587">0</cx:pt>
          <cx:pt idx="92588">0</cx:pt>
          <cx:pt idx="92589">0</cx:pt>
          <cx:pt idx="92590">0</cx:pt>
          <cx:pt idx="92591">1</cx:pt>
          <cx:pt idx="92592">0</cx:pt>
          <cx:pt idx="92593">1</cx:pt>
          <cx:pt idx="92594">0</cx:pt>
          <cx:pt idx="92595">0</cx:pt>
          <cx:pt idx="92596">0</cx:pt>
          <cx:pt idx="92597">1</cx:pt>
          <cx:pt idx="92598">0</cx:pt>
          <cx:pt idx="92599">0</cx:pt>
          <cx:pt idx="92600">0</cx:pt>
          <cx:pt idx="92601">1</cx:pt>
          <cx:pt idx="92602">1</cx:pt>
          <cx:pt idx="92603">1</cx:pt>
          <cx:pt idx="92604">0</cx:pt>
          <cx:pt idx="92605">0</cx:pt>
          <cx:pt idx="92606">0</cx:pt>
          <cx:pt idx="92607">0</cx:pt>
          <cx:pt idx="92608">0</cx:pt>
          <cx:pt idx="92609">0</cx:pt>
          <cx:pt idx="92610">0</cx:pt>
          <cx:pt idx="92611">1</cx:pt>
          <cx:pt idx="92612">0</cx:pt>
          <cx:pt idx="92613">1</cx:pt>
          <cx:pt idx="92614">1</cx:pt>
          <cx:pt idx="92615">0</cx:pt>
          <cx:pt idx="92616">1</cx:pt>
          <cx:pt idx="92617">1</cx:pt>
          <cx:pt idx="92618">0</cx:pt>
          <cx:pt idx="92619">0</cx:pt>
          <cx:pt idx="92620">1</cx:pt>
          <cx:pt idx="92621">0</cx:pt>
          <cx:pt idx="92622">0</cx:pt>
          <cx:pt idx="92623">1</cx:pt>
          <cx:pt idx="92624">1</cx:pt>
          <cx:pt idx="92625">1</cx:pt>
          <cx:pt idx="92626">0</cx:pt>
          <cx:pt idx="92627">1</cx:pt>
          <cx:pt idx="92628">1</cx:pt>
          <cx:pt idx="92629">1</cx:pt>
          <cx:pt idx="92630">0</cx:pt>
          <cx:pt idx="92631">0</cx:pt>
          <cx:pt idx="92632">0</cx:pt>
          <cx:pt idx="92633">0</cx:pt>
          <cx:pt idx="92634">1</cx:pt>
          <cx:pt idx="92635">0</cx:pt>
          <cx:pt idx="92636">0</cx:pt>
          <cx:pt idx="92637">1</cx:pt>
          <cx:pt idx="92638">0</cx:pt>
          <cx:pt idx="92639">0</cx:pt>
          <cx:pt idx="92640">0</cx:pt>
          <cx:pt idx="92641">1</cx:pt>
          <cx:pt idx="92642">0</cx:pt>
          <cx:pt idx="92643">0</cx:pt>
          <cx:pt idx="92644">1</cx:pt>
          <cx:pt idx="92645">0</cx:pt>
          <cx:pt idx="92646">0</cx:pt>
          <cx:pt idx="92647">0</cx:pt>
          <cx:pt idx="92648">1</cx:pt>
          <cx:pt idx="92649">0</cx:pt>
          <cx:pt idx="92650">0</cx:pt>
          <cx:pt idx="92651">1</cx:pt>
          <cx:pt idx="92652">1</cx:pt>
          <cx:pt idx="92653">0</cx:pt>
          <cx:pt idx="92654">1</cx:pt>
          <cx:pt idx="92655">0</cx:pt>
          <cx:pt idx="92656">1</cx:pt>
          <cx:pt idx="92657">1</cx:pt>
          <cx:pt idx="92658">0</cx:pt>
          <cx:pt idx="92659">0</cx:pt>
          <cx:pt idx="92660">0</cx:pt>
          <cx:pt idx="92661">1</cx:pt>
          <cx:pt idx="92662">0</cx:pt>
          <cx:pt idx="92663">0</cx:pt>
          <cx:pt idx="92664">1</cx:pt>
          <cx:pt idx="92665">0</cx:pt>
          <cx:pt idx="92666">0</cx:pt>
          <cx:pt idx="92667">0</cx:pt>
          <cx:pt idx="92668">0</cx:pt>
          <cx:pt idx="92669">0</cx:pt>
          <cx:pt idx="92670">0</cx:pt>
          <cx:pt idx="92671">1</cx:pt>
          <cx:pt idx="92672">0</cx:pt>
          <cx:pt idx="92673">0</cx:pt>
          <cx:pt idx="92674">0</cx:pt>
          <cx:pt idx="92675">1</cx:pt>
          <cx:pt idx="92676">0</cx:pt>
          <cx:pt idx="92677">0</cx:pt>
          <cx:pt idx="92678">0</cx:pt>
          <cx:pt idx="92679">1</cx:pt>
          <cx:pt idx="92680">1</cx:pt>
          <cx:pt idx="92681">0</cx:pt>
          <cx:pt idx="92682">1</cx:pt>
          <cx:pt idx="92683">0</cx:pt>
          <cx:pt idx="92684">1</cx:pt>
          <cx:pt idx="92685">0</cx:pt>
          <cx:pt idx="92686">0</cx:pt>
          <cx:pt idx="92687">1</cx:pt>
          <cx:pt idx="92688">1</cx:pt>
          <cx:pt idx="92689">0</cx:pt>
          <cx:pt idx="92690">0</cx:pt>
          <cx:pt idx="92691">1</cx:pt>
          <cx:pt idx="92692">0</cx:pt>
          <cx:pt idx="92693">0</cx:pt>
          <cx:pt idx="92694">1</cx:pt>
          <cx:pt idx="92695">1</cx:pt>
          <cx:pt idx="92696">0</cx:pt>
          <cx:pt idx="92697">0</cx:pt>
          <cx:pt idx="92698">0</cx:pt>
          <cx:pt idx="92699">1</cx:pt>
          <cx:pt idx="92700">1</cx:pt>
          <cx:pt idx="92701">1</cx:pt>
          <cx:pt idx="92702">0</cx:pt>
          <cx:pt idx="92703">1</cx:pt>
          <cx:pt idx="92704">0</cx:pt>
          <cx:pt idx="92705">1</cx:pt>
          <cx:pt idx="92706">0</cx:pt>
          <cx:pt idx="92707">1</cx:pt>
          <cx:pt idx="92708">0</cx:pt>
          <cx:pt idx="92709">0</cx:pt>
          <cx:pt idx="92710">1</cx:pt>
          <cx:pt idx="92711">0</cx:pt>
          <cx:pt idx="92712">0</cx:pt>
          <cx:pt idx="92713">0</cx:pt>
          <cx:pt idx="92714">0</cx:pt>
          <cx:pt idx="92715">1</cx:pt>
          <cx:pt idx="92716">0</cx:pt>
          <cx:pt idx="92717">0</cx:pt>
          <cx:pt idx="92718">0</cx:pt>
          <cx:pt idx="92719">1</cx:pt>
          <cx:pt idx="92720">1</cx:pt>
          <cx:pt idx="92721">1</cx:pt>
          <cx:pt idx="92722">0</cx:pt>
          <cx:pt idx="92723">1</cx:pt>
          <cx:pt idx="92724">0</cx:pt>
          <cx:pt idx="92725">0</cx:pt>
          <cx:pt idx="92726">1</cx:pt>
          <cx:pt idx="92727">1</cx:pt>
          <cx:pt idx="92728">1</cx:pt>
          <cx:pt idx="92729">1</cx:pt>
          <cx:pt idx="92730">1</cx:pt>
          <cx:pt idx="92731">1</cx:pt>
          <cx:pt idx="92732">1</cx:pt>
          <cx:pt idx="92733">0</cx:pt>
          <cx:pt idx="92734">0</cx:pt>
          <cx:pt idx="92735">1</cx:pt>
          <cx:pt idx="92736">0</cx:pt>
          <cx:pt idx="92737">0</cx:pt>
          <cx:pt idx="92738">0</cx:pt>
          <cx:pt idx="92739">0</cx:pt>
          <cx:pt idx="92740">1</cx:pt>
          <cx:pt idx="92741">0</cx:pt>
          <cx:pt idx="92742">0</cx:pt>
          <cx:pt idx="92743">0</cx:pt>
          <cx:pt idx="92744">0</cx:pt>
          <cx:pt idx="92745">1</cx:pt>
          <cx:pt idx="92746">0</cx:pt>
          <cx:pt idx="92747">0</cx:pt>
          <cx:pt idx="92748">0</cx:pt>
          <cx:pt idx="92749">0</cx:pt>
          <cx:pt idx="92750">0</cx:pt>
          <cx:pt idx="92751">0</cx:pt>
          <cx:pt idx="92752">0</cx:pt>
          <cx:pt idx="92753">0</cx:pt>
          <cx:pt idx="92754">1</cx:pt>
          <cx:pt idx="92755">1</cx:pt>
          <cx:pt idx="92756">0</cx:pt>
          <cx:pt idx="92757">1</cx:pt>
          <cx:pt idx="92758">1</cx:pt>
          <cx:pt idx="92759">0</cx:pt>
          <cx:pt idx="92760">0</cx:pt>
          <cx:pt idx="92761">0</cx:pt>
          <cx:pt idx="92762">1</cx:pt>
          <cx:pt idx="92763">1</cx:pt>
          <cx:pt idx="92764">0</cx:pt>
          <cx:pt idx="92765">0</cx:pt>
          <cx:pt idx="92766">1</cx:pt>
          <cx:pt idx="92767">0</cx:pt>
          <cx:pt idx="92768">0</cx:pt>
          <cx:pt idx="92769">0</cx:pt>
          <cx:pt idx="92770">0</cx:pt>
          <cx:pt idx="92771">0</cx:pt>
          <cx:pt idx="92772">1</cx:pt>
          <cx:pt idx="92773">0</cx:pt>
          <cx:pt idx="92774">0</cx:pt>
          <cx:pt idx="92775">1</cx:pt>
          <cx:pt idx="92776">0</cx:pt>
          <cx:pt idx="92777">0</cx:pt>
          <cx:pt idx="92778">0</cx:pt>
          <cx:pt idx="92779">0</cx:pt>
          <cx:pt idx="92780">1</cx:pt>
          <cx:pt idx="92781">1</cx:pt>
          <cx:pt idx="92782">1</cx:pt>
          <cx:pt idx="92783">0</cx:pt>
          <cx:pt idx="92784">0</cx:pt>
          <cx:pt idx="92785">0</cx:pt>
          <cx:pt idx="92786">0</cx:pt>
          <cx:pt idx="92787">1</cx:pt>
          <cx:pt idx="92788">0</cx:pt>
          <cx:pt idx="92789">1</cx:pt>
          <cx:pt idx="92790">0</cx:pt>
          <cx:pt idx="92791">0</cx:pt>
          <cx:pt idx="92792">1</cx:pt>
          <cx:pt idx="92793">0</cx:pt>
          <cx:pt idx="92794">0</cx:pt>
          <cx:pt idx="92795">0</cx:pt>
          <cx:pt idx="92796">0</cx:pt>
          <cx:pt idx="92797">0</cx:pt>
          <cx:pt idx="92798">0</cx:pt>
          <cx:pt idx="92799">0</cx:pt>
          <cx:pt idx="92800">0</cx:pt>
          <cx:pt idx="92801">0</cx:pt>
          <cx:pt idx="92802">0</cx:pt>
          <cx:pt idx="92803">0</cx:pt>
          <cx:pt idx="92804">1</cx:pt>
          <cx:pt idx="92805">1</cx:pt>
          <cx:pt idx="92806">0</cx:pt>
          <cx:pt idx="92807">0</cx:pt>
          <cx:pt idx="92808">0</cx:pt>
          <cx:pt idx="92809">0</cx:pt>
          <cx:pt idx="92810">1</cx:pt>
          <cx:pt idx="92811">0</cx:pt>
          <cx:pt idx="92812">0</cx:pt>
          <cx:pt idx="92813">1</cx:pt>
          <cx:pt idx="92814">1</cx:pt>
          <cx:pt idx="92815">1</cx:pt>
          <cx:pt idx="92816">0</cx:pt>
          <cx:pt idx="92817">0</cx:pt>
          <cx:pt idx="92818">0</cx:pt>
          <cx:pt idx="92819">0</cx:pt>
          <cx:pt idx="92820">0</cx:pt>
          <cx:pt idx="92821">0</cx:pt>
          <cx:pt idx="92822">1</cx:pt>
          <cx:pt idx="92823">0</cx:pt>
          <cx:pt idx="92824">0</cx:pt>
          <cx:pt idx="92825">1</cx:pt>
          <cx:pt idx="92826">0</cx:pt>
          <cx:pt idx="92827">1</cx:pt>
          <cx:pt idx="92828">0</cx:pt>
          <cx:pt idx="92829">1</cx:pt>
          <cx:pt idx="92830">0</cx:pt>
          <cx:pt idx="92831">0</cx:pt>
          <cx:pt idx="92832">0</cx:pt>
          <cx:pt idx="92833">0</cx:pt>
          <cx:pt idx="92834">0</cx:pt>
          <cx:pt idx="92835">1</cx:pt>
          <cx:pt idx="92836">0</cx:pt>
          <cx:pt idx="92837">0</cx:pt>
          <cx:pt idx="92838">1</cx:pt>
          <cx:pt idx="92839">0</cx:pt>
          <cx:pt idx="92840">1</cx:pt>
          <cx:pt idx="92841">1</cx:pt>
          <cx:pt idx="92842">1</cx:pt>
          <cx:pt idx="92843">0</cx:pt>
          <cx:pt idx="92844">1</cx:pt>
          <cx:pt idx="92845">1</cx:pt>
          <cx:pt idx="92846">1</cx:pt>
          <cx:pt idx="92847">0</cx:pt>
          <cx:pt idx="92848">0</cx:pt>
          <cx:pt idx="92849">0</cx:pt>
          <cx:pt idx="92850">0</cx:pt>
          <cx:pt idx="92851">0</cx:pt>
          <cx:pt idx="92852">1</cx:pt>
          <cx:pt idx="92853">0</cx:pt>
          <cx:pt idx="92854">0</cx:pt>
          <cx:pt idx="92855">0</cx:pt>
          <cx:pt idx="92856">0</cx:pt>
          <cx:pt idx="92857">1</cx:pt>
          <cx:pt idx="92858">0</cx:pt>
          <cx:pt idx="92859">0</cx:pt>
          <cx:pt idx="92860">0</cx:pt>
          <cx:pt idx="92861">0</cx:pt>
          <cx:pt idx="92862">0</cx:pt>
          <cx:pt idx="92863">0</cx:pt>
          <cx:pt idx="92864">0</cx:pt>
          <cx:pt idx="92865">1</cx:pt>
          <cx:pt idx="92866">0</cx:pt>
          <cx:pt idx="92867">0</cx:pt>
          <cx:pt idx="92868">1</cx:pt>
          <cx:pt idx="92869">0</cx:pt>
          <cx:pt idx="92870">0</cx:pt>
          <cx:pt idx="92871">0</cx:pt>
          <cx:pt idx="92872">0</cx:pt>
          <cx:pt idx="92873">1</cx:pt>
          <cx:pt idx="92874">1</cx:pt>
          <cx:pt idx="92875">1</cx:pt>
          <cx:pt idx="92876">1</cx:pt>
          <cx:pt idx="92877">1</cx:pt>
          <cx:pt idx="92878">1</cx:pt>
          <cx:pt idx="92879">0</cx:pt>
          <cx:pt idx="92880">0</cx:pt>
          <cx:pt idx="92881">1</cx:pt>
          <cx:pt idx="92882">1</cx:pt>
          <cx:pt idx="92883">0</cx:pt>
          <cx:pt idx="92884">1</cx:pt>
          <cx:pt idx="92885">0</cx:pt>
          <cx:pt idx="92886">0</cx:pt>
          <cx:pt idx="92887">1</cx:pt>
          <cx:pt idx="92888">1</cx:pt>
          <cx:pt idx="92889">0</cx:pt>
          <cx:pt idx="92890">1</cx:pt>
          <cx:pt idx="92891">0</cx:pt>
          <cx:pt idx="92892">0</cx:pt>
          <cx:pt idx="92893">0</cx:pt>
          <cx:pt idx="92894">0</cx:pt>
          <cx:pt idx="92895">0</cx:pt>
          <cx:pt idx="92896">0</cx:pt>
          <cx:pt idx="92897">1</cx:pt>
          <cx:pt idx="92898">0</cx:pt>
          <cx:pt idx="92899">1</cx:pt>
          <cx:pt idx="92900">1</cx:pt>
          <cx:pt idx="92901">0</cx:pt>
          <cx:pt idx="92902">1</cx:pt>
          <cx:pt idx="92903">0</cx:pt>
          <cx:pt idx="92904">0</cx:pt>
          <cx:pt idx="92905">0</cx:pt>
          <cx:pt idx="92906">0</cx:pt>
          <cx:pt idx="92907">0</cx:pt>
          <cx:pt idx="92908">1</cx:pt>
          <cx:pt idx="92909">0</cx:pt>
          <cx:pt idx="92910">0</cx:pt>
          <cx:pt idx="92911">1</cx:pt>
          <cx:pt idx="92912">0</cx:pt>
          <cx:pt idx="92913">0</cx:pt>
          <cx:pt idx="92914">0</cx:pt>
          <cx:pt idx="92915">0</cx:pt>
          <cx:pt idx="92916">1</cx:pt>
          <cx:pt idx="92917">0</cx:pt>
          <cx:pt idx="92918">1</cx:pt>
          <cx:pt idx="92919">1</cx:pt>
          <cx:pt idx="92920">1</cx:pt>
          <cx:pt idx="92921">0</cx:pt>
          <cx:pt idx="92922">0</cx:pt>
          <cx:pt idx="92923">0</cx:pt>
          <cx:pt idx="92924">0</cx:pt>
          <cx:pt idx="92925">0</cx:pt>
          <cx:pt idx="92926">0</cx:pt>
          <cx:pt idx="92927">0</cx:pt>
          <cx:pt idx="92928">0</cx:pt>
          <cx:pt idx="92929">0</cx:pt>
          <cx:pt idx="92930">0</cx:pt>
          <cx:pt idx="92931">0</cx:pt>
          <cx:pt idx="92932">0</cx:pt>
          <cx:pt idx="92933">0</cx:pt>
          <cx:pt idx="92934">0</cx:pt>
          <cx:pt idx="92935">0</cx:pt>
          <cx:pt idx="92936">0</cx:pt>
          <cx:pt idx="92937">1</cx:pt>
          <cx:pt idx="92938">1</cx:pt>
          <cx:pt idx="92939">0</cx:pt>
          <cx:pt idx="92940">0</cx:pt>
          <cx:pt idx="92941">0</cx:pt>
          <cx:pt idx="92942">0</cx:pt>
          <cx:pt idx="92943">0</cx:pt>
          <cx:pt idx="92944">0</cx:pt>
          <cx:pt idx="92945">1</cx:pt>
          <cx:pt idx="92946">0</cx:pt>
          <cx:pt idx="92947">1</cx:pt>
          <cx:pt idx="92948">0</cx:pt>
          <cx:pt idx="92949">1</cx:pt>
          <cx:pt idx="92950">1</cx:pt>
          <cx:pt idx="92951">0</cx:pt>
          <cx:pt idx="92952">1</cx:pt>
          <cx:pt idx="92953">1</cx:pt>
          <cx:pt idx="92954">1</cx:pt>
          <cx:pt idx="92955">1</cx:pt>
          <cx:pt idx="92956">1</cx:pt>
          <cx:pt idx="92957">1</cx:pt>
          <cx:pt idx="92958">0</cx:pt>
          <cx:pt idx="92959">0</cx:pt>
          <cx:pt idx="92960">1</cx:pt>
          <cx:pt idx="92961">1</cx:pt>
          <cx:pt idx="92962">1</cx:pt>
          <cx:pt idx="92963">1</cx:pt>
          <cx:pt idx="92964">1</cx:pt>
          <cx:pt idx="92965">1</cx:pt>
          <cx:pt idx="92966">0</cx:pt>
          <cx:pt idx="92967">0</cx:pt>
          <cx:pt idx="92968">1</cx:pt>
          <cx:pt idx="92969">1</cx:pt>
          <cx:pt idx="92970">0</cx:pt>
          <cx:pt idx="92971">1</cx:pt>
          <cx:pt idx="92972">1</cx:pt>
          <cx:pt idx="92973">1</cx:pt>
          <cx:pt idx="92974">0</cx:pt>
          <cx:pt idx="92975">1</cx:pt>
          <cx:pt idx="92976">0</cx:pt>
          <cx:pt idx="92977">0</cx:pt>
          <cx:pt idx="92978">1</cx:pt>
          <cx:pt idx="92979">0</cx:pt>
          <cx:pt idx="92980">0</cx:pt>
          <cx:pt idx="92981">0</cx:pt>
          <cx:pt idx="92982">0</cx:pt>
          <cx:pt idx="92983">1</cx:pt>
          <cx:pt idx="92984">1</cx:pt>
          <cx:pt idx="92985">0</cx:pt>
          <cx:pt idx="92986">0</cx:pt>
          <cx:pt idx="92987">0</cx:pt>
          <cx:pt idx="92988">0</cx:pt>
          <cx:pt idx="92989">1</cx:pt>
          <cx:pt idx="92990">0</cx:pt>
          <cx:pt idx="92991">0</cx:pt>
          <cx:pt idx="92992">1</cx:pt>
          <cx:pt idx="92993">1</cx:pt>
          <cx:pt idx="92994">0</cx:pt>
          <cx:pt idx="92995">0</cx:pt>
          <cx:pt idx="92996">1</cx:pt>
          <cx:pt idx="92997">0</cx:pt>
          <cx:pt idx="92998">0</cx:pt>
          <cx:pt idx="92999">0</cx:pt>
          <cx:pt idx="93000">1</cx:pt>
          <cx:pt idx="93001">0</cx:pt>
          <cx:pt idx="93002">0</cx:pt>
          <cx:pt idx="93003">0</cx:pt>
          <cx:pt idx="93004">1</cx:pt>
          <cx:pt idx="93005">0</cx:pt>
          <cx:pt idx="93006">0</cx:pt>
          <cx:pt idx="93007">0</cx:pt>
          <cx:pt idx="93008">0</cx:pt>
          <cx:pt idx="93009">1</cx:pt>
          <cx:pt idx="93010">0</cx:pt>
          <cx:pt idx="93011">1</cx:pt>
          <cx:pt idx="93012">0</cx:pt>
          <cx:pt idx="93013">0</cx:pt>
          <cx:pt idx="93014">0</cx:pt>
          <cx:pt idx="93015">0</cx:pt>
          <cx:pt idx="93016">0</cx:pt>
          <cx:pt idx="93017">0</cx:pt>
          <cx:pt idx="93018">0</cx:pt>
          <cx:pt idx="93019">0</cx:pt>
          <cx:pt idx="93020">0</cx:pt>
          <cx:pt idx="93021">0</cx:pt>
          <cx:pt idx="93022">1</cx:pt>
          <cx:pt idx="93023">0</cx:pt>
          <cx:pt idx="93024">1</cx:pt>
          <cx:pt idx="93025">0</cx:pt>
          <cx:pt idx="93026">0</cx:pt>
          <cx:pt idx="93027">1</cx:pt>
          <cx:pt idx="93028">0</cx:pt>
          <cx:pt idx="93029">0</cx:pt>
          <cx:pt idx="93030">0</cx:pt>
          <cx:pt idx="93031">1</cx:pt>
          <cx:pt idx="93032">0</cx:pt>
          <cx:pt idx="93033">0</cx:pt>
          <cx:pt idx="93034">0</cx:pt>
          <cx:pt idx="93035">1</cx:pt>
          <cx:pt idx="93036">1</cx:pt>
          <cx:pt idx="93037">0</cx:pt>
          <cx:pt idx="93038">0</cx:pt>
          <cx:pt idx="93039">0</cx:pt>
          <cx:pt idx="93040">1</cx:pt>
          <cx:pt idx="93041">1</cx:pt>
          <cx:pt idx="93042">0</cx:pt>
          <cx:pt idx="93043">0</cx:pt>
          <cx:pt idx="93044">0</cx:pt>
          <cx:pt idx="93045">1</cx:pt>
          <cx:pt idx="93046">0</cx:pt>
          <cx:pt idx="93047">0</cx:pt>
          <cx:pt idx="93048">1</cx:pt>
          <cx:pt idx="93049">1</cx:pt>
          <cx:pt idx="93050">1</cx:pt>
          <cx:pt idx="93051">1</cx:pt>
          <cx:pt idx="93052">1</cx:pt>
          <cx:pt idx="93053">1</cx:pt>
          <cx:pt idx="93054">1</cx:pt>
          <cx:pt idx="93055">0</cx:pt>
          <cx:pt idx="93056">0</cx:pt>
          <cx:pt idx="93057">0</cx:pt>
          <cx:pt idx="93058">1</cx:pt>
          <cx:pt idx="93059">0</cx:pt>
          <cx:pt idx="93060">0</cx:pt>
          <cx:pt idx="93061">0</cx:pt>
          <cx:pt idx="93062">0</cx:pt>
          <cx:pt idx="93063">0</cx:pt>
          <cx:pt idx="93064">1</cx:pt>
          <cx:pt idx="93065">1</cx:pt>
          <cx:pt idx="93066">0</cx:pt>
          <cx:pt idx="93067">0</cx:pt>
          <cx:pt idx="93068">1</cx:pt>
          <cx:pt idx="93069">1</cx:pt>
          <cx:pt idx="93070">0</cx:pt>
          <cx:pt idx="93071">0</cx:pt>
          <cx:pt idx="93072">0</cx:pt>
          <cx:pt idx="93073">0</cx:pt>
          <cx:pt idx="93074">1</cx:pt>
          <cx:pt idx="93075">1</cx:pt>
          <cx:pt idx="93076">1</cx:pt>
          <cx:pt idx="93077">0</cx:pt>
          <cx:pt idx="93078">0</cx:pt>
          <cx:pt idx="93079">0</cx:pt>
          <cx:pt idx="93080">0</cx:pt>
          <cx:pt idx="93081">1</cx:pt>
          <cx:pt idx="93082">0</cx:pt>
          <cx:pt idx="93083">0</cx:pt>
          <cx:pt idx="93084">0</cx:pt>
          <cx:pt idx="93085">0</cx:pt>
          <cx:pt idx="93086">1</cx:pt>
          <cx:pt idx="93087">0</cx:pt>
          <cx:pt idx="93088">0</cx:pt>
          <cx:pt idx="93089">1</cx:pt>
          <cx:pt idx="93090">1</cx:pt>
          <cx:pt idx="93091">1</cx:pt>
          <cx:pt idx="93092">0</cx:pt>
          <cx:pt idx="93093">0</cx:pt>
          <cx:pt idx="93094">0</cx:pt>
          <cx:pt idx="93095">0</cx:pt>
          <cx:pt idx="93096">1</cx:pt>
          <cx:pt idx="93097">0</cx:pt>
          <cx:pt idx="93098">1</cx:pt>
          <cx:pt idx="93099">0</cx:pt>
          <cx:pt idx="93100">0</cx:pt>
          <cx:pt idx="93101">1</cx:pt>
          <cx:pt idx="93102">0</cx:pt>
          <cx:pt idx="93103">0</cx:pt>
          <cx:pt idx="93104">1</cx:pt>
          <cx:pt idx="93105">0</cx:pt>
          <cx:pt idx="93106">0</cx:pt>
          <cx:pt idx="93107">1</cx:pt>
          <cx:pt idx="93108">1</cx:pt>
          <cx:pt idx="93109">0</cx:pt>
          <cx:pt idx="93110">1</cx:pt>
          <cx:pt idx="93111">0</cx:pt>
          <cx:pt idx="93112">0</cx:pt>
          <cx:pt idx="93113">1</cx:pt>
          <cx:pt idx="93114">1</cx:pt>
          <cx:pt idx="93115">0</cx:pt>
          <cx:pt idx="93116">1</cx:pt>
          <cx:pt idx="93117">1</cx:pt>
          <cx:pt idx="93118">1</cx:pt>
          <cx:pt idx="93119">1</cx:pt>
          <cx:pt idx="93120">0</cx:pt>
          <cx:pt idx="93121">0</cx:pt>
          <cx:pt idx="93122">1</cx:pt>
          <cx:pt idx="93123">0</cx:pt>
          <cx:pt idx="93124">1</cx:pt>
          <cx:pt idx="93125">1</cx:pt>
          <cx:pt idx="93126">1</cx:pt>
          <cx:pt idx="93127">0</cx:pt>
          <cx:pt idx="93128">0</cx:pt>
          <cx:pt idx="93129">1</cx:pt>
          <cx:pt idx="93130">1</cx:pt>
          <cx:pt idx="93131">0</cx:pt>
          <cx:pt idx="93132">0</cx:pt>
          <cx:pt idx="93133">0</cx:pt>
          <cx:pt idx="93134">0</cx:pt>
          <cx:pt idx="93135">1</cx:pt>
          <cx:pt idx="93136">0</cx:pt>
          <cx:pt idx="93137">0</cx:pt>
          <cx:pt idx="93138">1</cx:pt>
          <cx:pt idx="93139">1</cx:pt>
          <cx:pt idx="93140">0</cx:pt>
          <cx:pt idx="93141">0</cx:pt>
          <cx:pt idx="93142">0</cx:pt>
          <cx:pt idx="93143">1</cx:pt>
          <cx:pt idx="93144">0</cx:pt>
          <cx:pt idx="93145">0</cx:pt>
          <cx:pt idx="93146">1</cx:pt>
          <cx:pt idx="93147">1</cx:pt>
          <cx:pt idx="93148">1</cx:pt>
          <cx:pt idx="93149">0</cx:pt>
          <cx:pt idx="93150">0</cx:pt>
          <cx:pt idx="93151">1</cx:pt>
          <cx:pt idx="93152">0</cx:pt>
          <cx:pt idx="93153">0</cx:pt>
          <cx:pt idx="93154">0</cx:pt>
          <cx:pt idx="93155">0</cx:pt>
          <cx:pt idx="93156">0</cx:pt>
          <cx:pt idx="93157">1</cx:pt>
          <cx:pt idx="93158">1</cx:pt>
          <cx:pt idx="93159">1</cx:pt>
          <cx:pt idx="93160">1</cx:pt>
          <cx:pt idx="93161">0</cx:pt>
          <cx:pt idx="93162">1</cx:pt>
          <cx:pt idx="93163">0</cx:pt>
          <cx:pt idx="93164">0</cx:pt>
          <cx:pt idx="93165">1</cx:pt>
          <cx:pt idx="93166">0</cx:pt>
          <cx:pt idx="93167">0</cx:pt>
          <cx:pt idx="93168">0</cx:pt>
          <cx:pt idx="93169">0</cx:pt>
          <cx:pt idx="93170">1</cx:pt>
          <cx:pt idx="93171">1</cx:pt>
          <cx:pt idx="93172">1</cx:pt>
          <cx:pt idx="93173">1</cx:pt>
          <cx:pt idx="93174">0</cx:pt>
          <cx:pt idx="93175">0</cx:pt>
          <cx:pt idx="93176">0</cx:pt>
          <cx:pt idx="93177">1</cx:pt>
          <cx:pt idx="93178">0</cx:pt>
          <cx:pt idx="93179">0</cx:pt>
          <cx:pt idx="93180">0</cx:pt>
          <cx:pt idx="93181">0</cx:pt>
          <cx:pt idx="93182">1</cx:pt>
          <cx:pt idx="93183">0</cx:pt>
          <cx:pt idx="93184">0</cx:pt>
          <cx:pt idx="93185">1</cx:pt>
          <cx:pt idx="93186">1</cx:pt>
          <cx:pt idx="93187">1</cx:pt>
          <cx:pt idx="93188">0</cx:pt>
          <cx:pt idx="93189">1</cx:pt>
          <cx:pt idx="93190">0</cx:pt>
          <cx:pt idx="93191">0</cx:pt>
          <cx:pt idx="93192">0</cx:pt>
          <cx:pt idx="93193">1</cx:pt>
          <cx:pt idx="93194">0</cx:pt>
          <cx:pt idx="93195">1</cx:pt>
          <cx:pt idx="93196">1</cx:pt>
          <cx:pt idx="93197">1</cx:pt>
          <cx:pt idx="93198">1</cx:pt>
          <cx:pt idx="93199">0</cx:pt>
          <cx:pt idx="93200">0</cx:pt>
          <cx:pt idx="93201">0</cx:pt>
          <cx:pt idx="93202">1</cx:pt>
          <cx:pt idx="93203">0</cx:pt>
          <cx:pt idx="93204">1</cx:pt>
          <cx:pt idx="93205">0</cx:pt>
          <cx:pt idx="93206">0</cx:pt>
          <cx:pt idx="93207">0</cx:pt>
          <cx:pt idx="93208">1</cx:pt>
          <cx:pt idx="93209">1</cx:pt>
          <cx:pt idx="93210">0</cx:pt>
          <cx:pt idx="93211">1</cx:pt>
          <cx:pt idx="93212">1</cx:pt>
          <cx:pt idx="93213">1</cx:pt>
          <cx:pt idx="93214">1</cx:pt>
          <cx:pt idx="93215">0</cx:pt>
          <cx:pt idx="93216">1</cx:pt>
          <cx:pt idx="93217">1</cx:pt>
          <cx:pt idx="93218">0</cx:pt>
          <cx:pt idx="93219">0</cx:pt>
          <cx:pt idx="93220">0</cx:pt>
          <cx:pt idx="93221">0</cx:pt>
          <cx:pt idx="93222">0</cx:pt>
          <cx:pt idx="93223">1</cx:pt>
          <cx:pt idx="93224">1</cx:pt>
          <cx:pt idx="93225">0</cx:pt>
          <cx:pt idx="93226">0</cx:pt>
          <cx:pt idx="93227">0</cx:pt>
          <cx:pt idx="93228">0</cx:pt>
          <cx:pt idx="93229">0</cx:pt>
          <cx:pt idx="93230">0</cx:pt>
          <cx:pt idx="93231">0</cx:pt>
          <cx:pt idx="93232">1</cx:pt>
          <cx:pt idx="93233">1</cx:pt>
          <cx:pt idx="93234">0</cx:pt>
          <cx:pt idx="93235">0</cx:pt>
          <cx:pt idx="93236">0</cx:pt>
          <cx:pt idx="93237">1</cx:pt>
          <cx:pt idx="93238">0</cx:pt>
          <cx:pt idx="93239">1</cx:pt>
          <cx:pt idx="93240">1</cx:pt>
          <cx:pt idx="93241">0</cx:pt>
          <cx:pt idx="93242">1</cx:pt>
          <cx:pt idx="93243">0</cx:pt>
          <cx:pt idx="93244">0</cx:pt>
          <cx:pt idx="93245">0</cx:pt>
          <cx:pt idx="93246">0</cx:pt>
          <cx:pt idx="93247">0</cx:pt>
          <cx:pt idx="93248">0</cx:pt>
          <cx:pt idx="93249">1</cx:pt>
          <cx:pt idx="93250">0</cx:pt>
          <cx:pt idx="93251">0</cx:pt>
          <cx:pt idx="93252">0</cx:pt>
          <cx:pt idx="93253">0</cx:pt>
          <cx:pt idx="93254">1</cx:pt>
          <cx:pt idx="93255">0</cx:pt>
          <cx:pt idx="93256">1</cx:pt>
          <cx:pt idx="93257">0</cx:pt>
          <cx:pt idx="93258">1</cx:pt>
          <cx:pt idx="93259">0</cx:pt>
          <cx:pt idx="93260">0</cx:pt>
          <cx:pt idx="93261">1</cx:pt>
          <cx:pt idx="93262">0</cx:pt>
          <cx:pt idx="93263">0</cx:pt>
          <cx:pt idx="93264">1</cx:pt>
          <cx:pt idx="93265">1</cx:pt>
          <cx:pt idx="93266">0</cx:pt>
          <cx:pt idx="93267">1</cx:pt>
          <cx:pt idx="93268">0</cx:pt>
          <cx:pt idx="93269">0</cx:pt>
          <cx:pt idx="93270">0</cx:pt>
          <cx:pt idx="93271">1</cx:pt>
          <cx:pt idx="93272">1</cx:pt>
          <cx:pt idx="93273">1</cx:pt>
          <cx:pt idx="93274">1</cx:pt>
          <cx:pt idx="93275">0</cx:pt>
          <cx:pt idx="93276">1</cx:pt>
          <cx:pt idx="93277">1</cx:pt>
          <cx:pt idx="93278">0</cx:pt>
          <cx:pt idx="93279">0</cx:pt>
          <cx:pt idx="93280">1</cx:pt>
          <cx:pt idx="93281">0</cx:pt>
          <cx:pt idx="93282">1</cx:pt>
          <cx:pt idx="93283">0</cx:pt>
          <cx:pt idx="93284">1</cx:pt>
          <cx:pt idx="93285">1</cx:pt>
          <cx:pt idx="93286">0</cx:pt>
          <cx:pt idx="93287">1</cx:pt>
          <cx:pt idx="93288">0</cx:pt>
          <cx:pt idx="93289">0</cx:pt>
          <cx:pt idx="93290">0</cx:pt>
          <cx:pt idx="93291">0</cx:pt>
          <cx:pt idx="93292">0</cx:pt>
          <cx:pt idx="93293">0</cx:pt>
          <cx:pt idx="93294">1</cx:pt>
          <cx:pt idx="93295">1</cx:pt>
          <cx:pt idx="93296">1</cx:pt>
          <cx:pt idx="93297">0</cx:pt>
          <cx:pt idx="93298">1</cx:pt>
          <cx:pt idx="93299">0</cx:pt>
          <cx:pt idx="93300">1</cx:pt>
          <cx:pt idx="93301">1</cx:pt>
          <cx:pt idx="93302">1</cx:pt>
          <cx:pt idx="93303">0</cx:pt>
          <cx:pt idx="93304">0</cx:pt>
          <cx:pt idx="93305">0</cx:pt>
          <cx:pt idx="93306">0</cx:pt>
          <cx:pt idx="93307">0</cx:pt>
          <cx:pt idx="93308">0</cx:pt>
          <cx:pt idx="93309">1</cx:pt>
          <cx:pt idx="93310">0</cx:pt>
          <cx:pt idx="93311">0</cx:pt>
          <cx:pt idx="93312">0</cx:pt>
          <cx:pt idx="93313">1</cx:pt>
          <cx:pt idx="93314">0</cx:pt>
          <cx:pt idx="93315">1</cx:pt>
          <cx:pt idx="93316">0</cx:pt>
          <cx:pt idx="93317">0</cx:pt>
          <cx:pt idx="93318">0</cx:pt>
          <cx:pt idx="93319">1</cx:pt>
          <cx:pt idx="93320">1</cx:pt>
          <cx:pt idx="93321">0</cx:pt>
          <cx:pt idx="93322">0</cx:pt>
          <cx:pt idx="93323">0</cx:pt>
          <cx:pt idx="93324">0</cx:pt>
          <cx:pt idx="93325">0</cx:pt>
          <cx:pt idx="93326">1</cx:pt>
          <cx:pt idx="93327">0</cx:pt>
          <cx:pt idx="93328">0</cx:pt>
          <cx:pt idx="93329">0</cx:pt>
          <cx:pt idx="93330">0</cx:pt>
          <cx:pt idx="93331">1</cx:pt>
          <cx:pt idx="93332">1</cx:pt>
          <cx:pt idx="93333">0</cx:pt>
          <cx:pt idx="93334">1</cx:pt>
          <cx:pt idx="93335">0</cx:pt>
          <cx:pt idx="93336">0</cx:pt>
          <cx:pt idx="93337">0</cx:pt>
          <cx:pt idx="93338">0</cx:pt>
          <cx:pt idx="93339">1</cx:pt>
          <cx:pt idx="93340">0</cx:pt>
          <cx:pt idx="93341">0</cx:pt>
          <cx:pt idx="93342">0</cx:pt>
          <cx:pt idx="93343">1</cx:pt>
          <cx:pt idx="93344">0</cx:pt>
          <cx:pt idx="93345">1</cx:pt>
          <cx:pt idx="93346">0</cx:pt>
          <cx:pt idx="93347">0</cx:pt>
          <cx:pt idx="93348">1</cx:pt>
          <cx:pt idx="93349">0</cx:pt>
          <cx:pt idx="93350">1</cx:pt>
          <cx:pt idx="93351">0</cx:pt>
          <cx:pt idx="93352">1</cx:pt>
          <cx:pt idx="93353">0</cx:pt>
          <cx:pt idx="93354">0</cx:pt>
          <cx:pt idx="93355">0</cx:pt>
          <cx:pt idx="93356">1</cx:pt>
          <cx:pt idx="93357">1</cx:pt>
          <cx:pt idx="93358">0</cx:pt>
          <cx:pt idx="93359">0</cx:pt>
          <cx:pt idx="93360">1</cx:pt>
          <cx:pt idx="93361">1</cx:pt>
          <cx:pt idx="93362">1</cx:pt>
          <cx:pt idx="93363">0</cx:pt>
          <cx:pt idx="93364">1</cx:pt>
          <cx:pt idx="93365">0</cx:pt>
          <cx:pt idx="93366">0</cx:pt>
          <cx:pt idx="93367">0</cx:pt>
          <cx:pt idx="93368">1</cx:pt>
          <cx:pt idx="93369">1</cx:pt>
          <cx:pt idx="93370">0</cx:pt>
          <cx:pt idx="93371">1</cx:pt>
          <cx:pt idx="93372">1</cx:pt>
          <cx:pt idx="93373">0</cx:pt>
          <cx:pt idx="93374">1</cx:pt>
          <cx:pt idx="93375">1</cx:pt>
          <cx:pt idx="93376">0</cx:pt>
          <cx:pt idx="93377">1</cx:pt>
          <cx:pt idx="93378">1</cx:pt>
          <cx:pt idx="93379">0</cx:pt>
          <cx:pt idx="93380">0</cx:pt>
          <cx:pt idx="93381">0</cx:pt>
          <cx:pt idx="93382">0</cx:pt>
          <cx:pt idx="93383">0</cx:pt>
          <cx:pt idx="93384">0</cx:pt>
          <cx:pt idx="93385">1</cx:pt>
          <cx:pt idx="93386">0</cx:pt>
          <cx:pt idx="93387">1</cx:pt>
          <cx:pt idx="93388">1</cx:pt>
          <cx:pt idx="93389">1</cx:pt>
          <cx:pt idx="93390">1</cx:pt>
          <cx:pt idx="93391">0</cx:pt>
          <cx:pt idx="93392">0</cx:pt>
          <cx:pt idx="93393">0</cx:pt>
          <cx:pt idx="93394">0</cx:pt>
          <cx:pt idx="93395">1</cx:pt>
          <cx:pt idx="93396">0</cx:pt>
          <cx:pt idx="93397">0</cx:pt>
          <cx:pt idx="93398">1</cx:pt>
          <cx:pt idx="93399">1</cx:pt>
          <cx:pt idx="93400">1</cx:pt>
          <cx:pt idx="93401">1</cx:pt>
          <cx:pt idx="93402">1</cx:pt>
          <cx:pt idx="93403">0</cx:pt>
          <cx:pt idx="93404">1</cx:pt>
          <cx:pt idx="93405">1</cx:pt>
          <cx:pt idx="93406">0</cx:pt>
          <cx:pt idx="93407">1</cx:pt>
          <cx:pt idx="93408">1</cx:pt>
          <cx:pt idx="93409">1</cx:pt>
          <cx:pt idx="93410">1</cx:pt>
          <cx:pt idx="93411">1</cx:pt>
          <cx:pt idx="93412">1</cx:pt>
          <cx:pt idx="93413">0</cx:pt>
          <cx:pt idx="93414">1</cx:pt>
          <cx:pt idx="93415">1</cx:pt>
          <cx:pt idx="93416">0</cx:pt>
          <cx:pt idx="93417">0</cx:pt>
          <cx:pt idx="93418">1</cx:pt>
          <cx:pt idx="93419">0</cx:pt>
          <cx:pt idx="93420">1</cx:pt>
          <cx:pt idx="93421">0</cx:pt>
          <cx:pt idx="93422">1</cx:pt>
          <cx:pt idx="93423">0</cx:pt>
          <cx:pt idx="93424">0</cx:pt>
          <cx:pt idx="93425">0</cx:pt>
          <cx:pt idx="93426">1</cx:pt>
          <cx:pt idx="93427">0</cx:pt>
          <cx:pt idx="93428">0</cx:pt>
          <cx:pt idx="93429">0</cx:pt>
          <cx:pt idx="93430">1</cx:pt>
          <cx:pt idx="93431">0</cx:pt>
          <cx:pt idx="93432">1</cx:pt>
          <cx:pt idx="93433">0</cx:pt>
          <cx:pt idx="93434">1</cx:pt>
          <cx:pt idx="93435">1</cx:pt>
          <cx:pt idx="93436">0</cx:pt>
          <cx:pt idx="93437">0</cx:pt>
          <cx:pt idx="93438">0</cx:pt>
          <cx:pt idx="93439">0</cx:pt>
          <cx:pt idx="93440">1</cx:pt>
          <cx:pt idx="93441">0</cx:pt>
          <cx:pt idx="93442">0</cx:pt>
          <cx:pt idx="93443">0</cx:pt>
          <cx:pt idx="93444">0</cx:pt>
          <cx:pt idx="93445">1</cx:pt>
          <cx:pt idx="93446">0</cx:pt>
          <cx:pt idx="93447">1</cx:pt>
          <cx:pt idx="93448">0</cx:pt>
          <cx:pt idx="93449">0</cx:pt>
          <cx:pt idx="93450">0</cx:pt>
          <cx:pt idx="93451">0</cx:pt>
          <cx:pt idx="93452">0</cx:pt>
          <cx:pt idx="93453">1</cx:pt>
          <cx:pt idx="93454">0</cx:pt>
          <cx:pt idx="93455">0</cx:pt>
          <cx:pt idx="93456">1</cx:pt>
          <cx:pt idx="93457">0</cx:pt>
          <cx:pt idx="93458">1</cx:pt>
          <cx:pt idx="93459">0</cx:pt>
          <cx:pt idx="93460">0</cx:pt>
          <cx:pt idx="93461">1</cx:pt>
          <cx:pt idx="93462">1</cx:pt>
          <cx:pt idx="93463">1</cx:pt>
          <cx:pt idx="93464">1</cx:pt>
          <cx:pt idx="93465">0</cx:pt>
          <cx:pt idx="93466">1</cx:pt>
          <cx:pt idx="93467">1</cx:pt>
          <cx:pt idx="93468">1</cx:pt>
          <cx:pt idx="93469">1</cx:pt>
          <cx:pt idx="93470">1</cx:pt>
          <cx:pt idx="93471">0</cx:pt>
          <cx:pt idx="93472">1</cx:pt>
          <cx:pt idx="93473">0</cx:pt>
          <cx:pt idx="93474">1</cx:pt>
          <cx:pt idx="93475">0</cx:pt>
          <cx:pt idx="93476">0</cx:pt>
          <cx:pt idx="93477">1</cx:pt>
          <cx:pt idx="93478">1</cx:pt>
          <cx:pt idx="93479">0</cx:pt>
          <cx:pt idx="93480">1</cx:pt>
          <cx:pt idx="93481">0</cx:pt>
          <cx:pt idx="93482">0</cx:pt>
          <cx:pt idx="93483">1</cx:pt>
          <cx:pt idx="93484">0</cx:pt>
          <cx:pt idx="93485">0</cx:pt>
          <cx:pt idx="93486">0</cx:pt>
          <cx:pt idx="93487">0</cx:pt>
          <cx:pt idx="93488">0</cx:pt>
          <cx:pt idx="93489">1</cx:pt>
          <cx:pt idx="93490">0</cx:pt>
          <cx:pt idx="93491">0</cx:pt>
          <cx:pt idx="93492">0</cx:pt>
          <cx:pt idx="93493">0</cx:pt>
          <cx:pt idx="93494">1</cx:pt>
          <cx:pt idx="93495">0</cx:pt>
          <cx:pt idx="93496">1</cx:pt>
          <cx:pt idx="93497">1</cx:pt>
          <cx:pt idx="93498">0</cx:pt>
          <cx:pt idx="93499">1</cx:pt>
          <cx:pt idx="93500">0</cx:pt>
          <cx:pt idx="93501">0</cx:pt>
          <cx:pt idx="93502">1</cx:pt>
          <cx:pt idx="93503">0</cx:pt>
          <cx:pt idx="93504">0</cx:pt>
          <cx:pt idx="93505">0</cx:pt>
          <cx:pt idx="93506">0</cx:pt>
          <cx:pt idx="93507">1</cx:pt>
          <cx:pt idx="93508">0</cx:pt>
          <cx:pt idx="93509">0</cx:pt>
          <cx:pt idx="93510">1</cx:pt>
          <cx:pt idx="93511">1</cx:pt>
          <cx:pt idx="93512">1</cx:pt>
          <cx:pt idx="93513">0</cx:pt>
          <cx:pt idx="93514">0</cx:pt>
          <cx:pt idx="93515">0</cx:pt>
          <cx:pt idx="93516">1</cx:pt>
          <cx:pt idx="93517">1</cx:pt>
          <cx:pt idx="93518">1</cx:pt>
          <cx:pt idx="93519">0</cx:pt>
          <cx:pt idx="93520">1</cx:pt>
          <cx:pt idx="93521">0</cx:pt>
          <cx:pt idx="93522">0</cx:pt>
          <cx:pt idx="93523">0</cx:pt>
          <cx:pt idx="93524">0</cx:pt>
          <cx:pt idx="93525">0</cx:pt>
          <cx:pt idx="93526">0</cx:pt>
          <cx:pt idx="93527">0</cx:pt>
          <cx:pt idx="93528">1</cx:pt>
          <cx:pt idx="93529">0</cx:pt>
          <cx:pt idx="93530">0</cx:pt>
          <cx:pt idx="93531">0</cx:pt>
          <cx:pt idx="93532">0</cx:pt>
          <cx:pt idx="93533">0</cx:pt>
          <cx:pt idx="93534">0</cx:pt>
          <cx:pt idx="93535">1</cx:pt>
          <cx:pt idx="93536">1</cx:pt>
          <cx:pt idx="93537">0</cx:pt>
          <cx:pt idx="93538">1</cx:pt>
          <cx:pt idx="93539">1</cx:pt>
          <cx:pt idx="93540">1</cx:pt>
          <cx:pt idx="93541">0</cx:pt>
          <cx:pt idx="93542">0</cx:pt>
          <cx:pt idx="93543">0</cx:pt>
          <cx:pt idx="93544">0</cx:pt>
          <cx:pt idx="93545">0</cx:pt>
          <cx:pt idx="93546">1</cx:pt>
          <cx:pt idx="93547">1</cx:pt>
          <cx:pt idx="93548">1</cx:pt>
          <cx:pt idx="93549">1</cx:pt>
          <cx:pt idx="93550">0</cx:pt>
          <cx:pt idx="93551">0</cx:pt>
          <cx:pt idx="93552">0</cx:pt>
          <cx:pt idx="93553">1</cx:pt>
          <cx:pt idx="93554">1</cx:pt>
          <cx:pt idx="93555">1</cx:pt>
          <cx:pt idx="93556">1</cx:pt>
          <cx:pt idx="93557">0</cx:pt>
          <cx:pt idx="93558">0</cx:pt>
          <cx:pt idx="93559">0</cx:pt>
          <cx:pt idx="93560">1</cx:pt>
          <cx:pt idx="93561">0</cx:pt>
          <cx:pt idx="93562">0</cx:pt>
          <cx:pt idx="93563">1</cx:pt>
          <cx:pt idx="93564">1</cx:pt>
          <cx:pt idx="93565">0</cx:pt>
          <cx:pt idx="93566">1</cx:pt>
          <cx:pt idx="93567">0</cx:pt>
          <cx:pt idx="93568">1</cx:pt>
          <cx:pt idx="93569">1</cx:pt>
          <cx:pt idx="93570">0</cx:pt>
          <cx:pt idx="93571">1</cx:pt>
          <cx:pt idx="93572">1</cx:pt>
          <cx:pt idx="93573">0</cx:pt>
          <cx:pt idx="93574">1</cx:pt>
          <cx:pt idx="93575">0</cx:pt>
          <cx:pt idx="93576">0</cx:pt>
          <cx:pt idx="93577">0</cx:pt>
          <cx:pt idx="93578">0</cx:pt>
          <cx:pt idx="93579">1</cx:pt>
          <cx:pt idx="93580">0</cx:pt>
          <cx:pt idx="93581">1</cx:pt>
          <cx:pt idx="93582">0</cx:pt>
          <cx:pt idx="93583">1</cx:pt>
          <cx:pt idx="93584">0</cx:pt>
          <cx:pt idx="93585">1</cx:pt>
          <cx:pt idx="93586">0</cx:pt>
          <cx:pt idx="93587">1</cx:pt>
          <cx:pt idx="93588">1</cx:pt>
          <cx:pt idx="93589">0</cx:pt>
          <cx:pt idx="93590">1</cx:pt>
          <cx:pt idx="93591">1</cx:pt>
          <cx:pt idx="93592">0</cx:pt>
          <cx:pt idx="93593">1</cx:pt>
          <cx:pt idx="93594">1</cx:pt>
          <cx:pt idx="93595">0</cx:pt>
          <cx:pt idx="93596">0</cx:pt>
          <cx:pt idx="93597">0</cx:pt>
          <cx:pt idx="93598">0</cx:pt>
          <cx:pt idx="93599">0</cx:pt>
          <cx:pt idx="93600">0</cx:pt>
          <cx:pt idx="93601">1</cx:pt>
          <cx:pt idx="93602">0</cx:pt>
          <cx:pt idx="93603">0</cx:pt>
          <cx:pt idx="93604">0</cx:pt>
          <cx:pt idx="93605">0</cx:pt>
          <cx:pt idx="93606">0</cx:pt>
          <cx:pt idx="93607">0</cx:pt>
          <cx:pt idx="93608">0</cx:pt>
          <cx:pt idx="93609">0</cx:pt>
          <cx:pt idx="93610">1</cx:pt>
          <cx:pt idx="93611">0</cx:pt>
          <cx:pt idx="93612">0</cx:pt>
          <cx:pt idx="93613">1</cx:pt>
          <cx:pt idx="93614">1</cx:pt>
          <cx:pt idx="93615">0</cx:pt>
          <cx:pt idx="93616">1</cx:pt>
          <cx:pt idx="93617">1</cx:pt>
          <cx:pt idx="93618">1</cx:pt>
          <cx:pt idx="93619">0</cx:pt>
          <cx:pt idx="93620">0</cx:pt>
          <cx:pt idx="93621">0</cx:pt>
          <cx:pt idx="93622">0</cx:pt>
          <cx:pt idx="93623">0</cx:pt>
          <cx:pt idx="93624">0</cx:pt>
          <cx:pt idx="93625">1</cx:pt>
          <cx:pt idx="93626">1</cx:pt>
          <cx:pt idx="93627">0</cx:pt>
          <cx:pt idx="93628">1</cx:pt>
          <cx:pt idx="93629">1</cx:pt>
          <cx:pt idx="93630">0</cx:pt>
          <cx:pt idx="93631">0</cx:pt>
          <cx:pt idx="93632">0</cx:pt>
          <cx:pt idx="93633">0</cx:pt>
          <cx:pt idx="93634">0</cx:pt>
          <cx:pt idx="93635">1</cx:pt>
          <cx:pt idx="93636">1</cx:pt>
          <cx:pt idx="93637">1</cx:pt>
          <cx:pt idx="93638">0</cx:pt>
          <cx:pt idx="93639">1</cx:pt>
          <cx:pt idx="93640">1</cx:pt>
          <cx:pt idx="93641">0</cx:pt>
          <cx:pt idx="93642">1</cx:pt>
          <cx:pt idx="93643">0</cx:pt>
          <cx:pt idx="93644">0</cx:pt>
          <cx:pt idx="93645">1</cx:pt>
          <cx:pt idx="93646">1</cx:pt>
          <cx:pt idx="93647">1</cx:pt>
          <cx:pt idx="93648">0</cx:pt>
          <cx:pt idx="93649">1</cx:pt>
          <cx:pt idx="93650">1</cx:pt>
          <cx:pt idx="93651">1</cx:pt>
          <cx:pt idx="93652">1</cx:pt>
          <cx:pt idx="93653">1</cx:pt>
          <cx:pt idx="93654">0</cx:pt>
          <cx:pt idx="93655">1</cx:pt>
          <cx:pt idx="93656">1</cx:pt>
          <cx:pt idx="93657">0</cx:pt>
          <cx:pt idx="93658">0</cx:pt>
          <cx:pt idx="93659">0</cx:pt>
          <cx:pt idx="93660">1</cx:pt>
          <cx:pt idx="93661">0</cx:pt>
          <cx:pt idx="93662">0</cx:pt>
          <cx:pt idx="93663">0</cx:pt>
          <cx:pt idx="93664">0</cx:pt>
          <cx:pt idx="93665">1</cx:pt>
          <cx:pt idx="93666">1</cx:pt>
          <cx:pt idx="93667">1</cx:pt>
          <cx:pt idx="93668">1</cx:pt>
          <cx:pt idx="93669">1</cx:pt>
          <cx:pt idx="93670">1</cx:pt>
          <cx:pt idx="93671">1</cx:pt>
          <cx:pt idx="93672">0</cx:pt>
          <cx:pt idx="93673">0</cx:pt>
          <cx:pt idx="93674">0</cx:pt>
          <cx:pt idx="93675">1</cx:pt>
          <cx:pt idx="93676">0</cx:pt>
          <cx:pt idx="93677">1</cx:pt>
          <cx:pt idx="93678">0</cx:pt>
          <cx:pt idx="93679">1</cx:pt>
          <cx:pt idx="93680">0</cx:pt>
          <cx:pt idx="93681">0</cx:pt>
          <cx:pt idx="93682">0</cx:pt>
          <cx:pt idx="93683">0</cx:pt>
          <cx:pt idx="93684">1</cx:pt>
          <cx:pt idx="93685">0</cx:pt>
          <cx:pt idx="93686">0</cx:pt>
          <cx:pt idx="93687">0</cx:pt>
          <cx:pt idx="93688">0</cx:pt>
          <cx:pt idx="93689">0</cx:pt>
          <cx:pt idx="93690">0</cx:pt>
          <cx:pt idx="93691">0</cx:pt>
          <cx:pt idx="93692">1</cx:pt>
          <cx:pt idx="93693">1</cx:pt>
          <cx:pt idx="93694">1</cx:pt>
          <cx:pt idx="93695">0</cx:pt>
          <cx:pt idx="93696">1</cx:pt>
          <cx:pt idx="93697">0</cx:pt>
          <cx:pt idx="93698">0</cx:pt>
          <cx:pt idx="93699">1</cx:pt>
          <cx:pt idx="93700">0</cx:pt>
          <cx:pt idx="93701">0</cx:pt>
          <cx:pt idx="93702">1</cx:pt>
          <cx:pt idx="93703">0</cx:pt>
          <cx:pt idx="93704">0</cx:pt>
          <cx:pt idx="93705">1</cx:pt>
          <cx:pt idx="93706">0</cx:pt>
          <cx:pt idx="93707">0</cx:pt>
          <cx:pt idx="93708">1</cx:pt>
          <cx:pt idx="93709">0</cx:pt>
          <cx:pt idx="93710">1</cx:pt>
          <cx:pt idx="93711">0</cx:pt>
          <cx:pt idx="93712">1</cx:pt>
          <cx:pt idx="93713">1</cx:pt>
          <cx:pt idx="93714">1</cx:pt>
          <cx:pt idx="93715">0</cx:pt>
          <cx:pt idx="93716">0</cx:pt>
          <cx:pt idx="93717">1</cx:pt>
          <cx:pt idx="93718">1</cx:pt>
          <cx:pt idx="93719">0</cx:pt>
          <cx:pt idx="93720">0</cx:pt>
          <cx:pt idx="93721">1</cx:pt>
          <cx:pt idx="93722">0</cx:pt>
          <cx:pt idx="93723">0</cx:pt>
          <cx:pt idx="93724">1</cx:pt>
          <cx:pt idx="93725">1</cx:pt>
          <cx:pt idx="93726">1</cx:pt>
          <cx:pt idx="93727">1</cx:pt>
          <cx:pt idx="93728">0</cx:pt>
          <cx:pt idx="93729">0</cx:pt>
          <cx:pt idx="93730">0</cx:pt>
          <cx:pt idx="93731">0</cx:pt>
          <cx:pt idx="93732">0</cx:pt>
          <cx:pt idx="93733">0</cx:pt>
          <cx:pt idx="93734">1</cx:pt>
          <cx:pt idx="93735">0</cx:pt>
          <cx:pt idx="93736">0</cx:pt>
          <cx:pt idx="93737">0</cx:pt>
          <cx:pt idx="93738">1</cx:pt>
          <cx:pt idx="93739">0</cx:pt>
          <cx:pt idx="93740">0</cx:pt>
          <cx:pt idx="93741">0</cx:pt>
          <cx:pt idx="93742">0</cx:pt>
          <cx:pt idx="93743">1</cx:pt>
          <cx:pt idx="93744">1</cx:pt>
          <cx:pt idx="93745">1</cx:pt>
          <cx:pt idx="93746">1</cx:pt>
          <cx:pt idx="93747">1</cx:pt>
          <cx:pt idx="93748">1</cx:pt>
          <cx:pt idx="93749">0</cx:pt>
          <cx:pt idx="93750">1</cx:pt>
          <cx:pt idx="93751">0</cx:pt>
          <cx:pt idx="93752">0</cx:pt>
          <cx:pt idx="93753">1</cx:pt>
          <cx:pt idx="93754">0</cx:pt>
          <cx:pt idx="93755">1</cx:pt>
          <cx:pt idx="93756">0</cx:pt>
          <cx:pt idx="93757">0</cx:pt>
          <cx:pt idx="93758">0</cx:pt>
          <cx:pt idx="93759">0</cx:pt>
          <cx:pt idx="93760">1</cx:pt>
          <cx:pt idx="93761">0</cx:pt>
          <cx:pt idx="93762">0</cx:pt>
          <cx:pt idx="93763">0</cx:pt>
          <cx:pt idx="93764">1</cx:pt>
          <cx:pt idx="93765">0</cx:pt>
          <cx:pt idx="93766">0</cx:pt>
          <cx:pt idx="93767">0</cx:pt>
          <cx:pt idx="93768">1</cx:pt>
          <cx:pt idx="93769">1</cx:pt>
          <cx:pt idx="93770">1</cx:pt>
          <cx:pt idx="93771">1</cx:pt>
          <cx:pt idx="93772">0</cx:pt>
          <cx:pt idx="93773">0</cx:pt>
          <cx:pt idx="93774">1</cx:pt>
          <cx:pt idx="93775">0</cx:pt>
          <cx:pt idx="93776">1</cx:pt>
          <cx:pt idx="93777">0</cx:pt>
          <cx:pt idx="93778">1</cx:pt>
          <cx:pt idx="93779">0</cx:pt>
          <cx:pt idx="93780">0</cx:pt>
          <cx:pt idx="93781">1</cx:pt>
          <cx:pt idx="93782">0</cx:pt>
          <cx:pt idx="93783">1</cx:pt>
          <cx:pt idx="93784">1</cx:pt>
          <cx:pt idx="93785">0</cx:pt>
          <cx:pt idx="93786">0</cx:pt>
          <cx:pt idx="93787">0</cx:pt>
          <cx:pt idx="93788">1</cx:pt>
          <cx:pt idx="93789">1</cx:pt>
          <cx:pt idx="93790">1</cx:pt>
          <cx:pt idx="93791">0</cx:pt>
          <cx:pt idx="93792">1</cx:pt>
          <cx:pt idx="93793">1</cx:pt>
          <cx:pt idx="93794">0</cx:pt>
          <cx:pt idx="93795">0</cx:pt>
          <cx:pt idx="93796">1</cx:pt>
          <cx:pt idx="93797">1</cx:pt>
          <cx:pt idx="93798">0</cx:pt>
          <cx:pt idx="93799">1</cx:pt>
          <cx:pt idx="93800">1</cx:pt>
          <cx:pt idx="93801">0</cx:pt>
          <cx:pt idx="93802">1</cx:pt>
          <cx:pt idx="93803">1</cx:pt>
          <cx:pt idx="93804">0</cx:pt>
          <cx:pt idx="93805">0</cx:pt>
          <cx:pt idx="93806">1</cx:pt>
          <cx:pt idx="93807">1</cx:pt>
          <cx:pt idx="93808">0</cx:pt>
          <cx:pt idx="93809">0</cx:pt>
          <cx:pt idx="93810">0</cx:pt>
          <cx:pt idx="93811">0</cx:pt>
          <cx:pt idx="93812">1</cx:pt>
          <cx:pt idx="93813">1</cx:pt>
          <cx:pt idx="93814">1</cx:pt>
          <cx:pt idx="93815">0</cx:pt>
          <cx:pt idx="93816">0</cx:pt>
          <cx:pt idx="93817">1</cx:pt>
          <cx:pt idx="93818">0</cx:pt>
          <cx:pt idx="93819">1</cx:pt>
          <cx:pt idx="93820">0</cx:pt>
          <cx:pt idx="93821">1</cx:pt>
          <cx:pt idx="93822">0</cx:pt>
          <cx:pt idx="93823">0</cx:pt>
          <cx:pt idx="93824">1</cx:pt>
          <cx:pt idx="93825">0</cx:pt>
          <cx:pt idx="93826">0</cx:pt>
          <cx:pt idx="93827">1</cx:pt>
          <cx:pt idx="93828">1</cx:pt>
          <cx:pt idx="93829">0</cx:pt>
          <cx:pt idx="93830">1</cx:pt>
          <cx:pt idx="93831">0</cx:pt>
          <cx:pt idx="93832">0</cx:pt>
          <cx:pt idx="93833">0</cx:pt>
          <cx:pt idx="93834">0</cx:pt>
          <cx:pt idx="93835">1</cx:pt>
          <cx:pt idx="93836">0</cx:pt>
          <cx:pt idx="93837">0</cx:pt>
          <cx:pt idx="93838">1</cx:pt>
          <cx:pt idx="93839">0</cx:pt>
          <cx:pt idx="93840">0</cx:pt>
          <cx:pt idx="93841">1</cx:pt>
          <cx:pt idx="93842">0</cx:pt>
          <cx:pt idx="93843">1</cx:pt>
          <cx:pt idx="93844">0</cx:pt>
          <cx:pt idx="93845">0</cx:pt>
          <cx:pt idx="93846">0</cx:pt>
          <cx:pt idx="93847">1</cx:pt>
          <cx:pt idx="93848">0</cx:pt>
          <cx:pt idx="93849">1</cx:pt>
          <cx:pt idx="93850">0</cx:pt>
          <cx:pt idx="93851">0</cx:pt>
          <cx:pt idx="93852">0</cx:pt>
          <cx:pt idx="93853">0</cx:pt>
          <cx:pt idx="93854">1</cx:pt>
          <cx:pt idx="93855">1</cx:pt>
          <cx:pt idx="93856">0</cx:pt>
          <cx:pt idx="93857">0</cx:pt>
          <cx:pt idx="93858">1</cx:pt>
          <cx:pt idx="93859">0</cx:pt>
          <cx:pt idx="93860">0</cx:pt>
          <cx:pt idx="93861">0</cx:pt>
          <cx:pt idx="93862">0</cx:pt>
          <cx:pt idx="93863">0</cx:pt>
          <cx:pt idx="93864">0</cx:pt>
          <cx:pt idx="93865">0</cx:pt>
          <cx:pt idx="93866">0</cx:pt>
          <cx:pt idx="93867">0</cx:pt>
          <cx:pt idx="93868">0</cx:pt>
          <cx:pt idx="93869">0</cx:pt>
          <cx:pt idx="93870">1</cx:pt>
          <cx:pt idx="93871">0</cx:pt>
          <cx:pt idx="93872">0</cx:pt>
          <cx:pt idx="93873">0</cx:pt>
          <cx:pt idx="93874">0</cx:pt>
          <cx:pt idx="93875">0</cx:pt>
          <cx:pt idx="93876">0</cx:pt>
          <cx:pt idx="93877">0</cx:pt>
          <cx:pt idx="93878">1</cx:pt>
          <cx:pt idx="93879">0</cx:pt>
          <cx:pt idx="93880">0</cx:pt>
          <cx:pt idx="93881">0</cx:pt>
          <cx:pt idx="93882">1</cx:pt>
          <cx:pt idx="93883">0</cx:pt>
          <cx:pt idx="93884">0</cx:pt>
          <cx:pt idx="93885">1</cx:pt>
          <cx:pt idx="93886">0</cx:pt>
          <cx:pt idx="93887">1</cx:pt>
          <cx:pt idx="93888">0</cx:pt>
          <cx:pt idx="93889">0</cx:pt>
          <cx:pt idx="93890">1</cx:pt>
          <cx:pt idx="93891">0</cx:pt>
          <cx:pt idx="93892">1</cx:pt>
          <cx:pt idx="93893">0</cx:pt>
          <cx:pt idx="93894">1</cx:pt>
          <cx:pt idx="93895">1</cx:pt>
          <cx:pt idx="93896">0</cx:pt>
          <cx:pt idx="93897">1</cx:pt>
          <cx:pt idx="93898">0</cx:pt>
          <cx:pt idx="93899">0</cx:pt>
          <cx:pt idx="93900">1</cx:pt>
          <cx:pt idx="93901">0</cx:pt>
          <cx:pt idx="93902">0</cx:pt>
          <cx:pt idx="93903">0</cx:pt>
          <cx:pt idx="93904">0</cx:pt>
          <cx:pt idx="93905">0</cx:pt>
          <cx:pt idx="93906">0</cx:pt>
          <cx:pt idx="93907">1</cx:pt>
          <cx:pt idx="93908">0</cx:pt>
          <cx:pt idx="93909">0</cx:pt>
          <cx:pt idx="93910">0</cx:pt>
          <cx:pt idx="93911">1</cx:pt>
          <cx:pt idx="93912">0</cx:pt>
          <cx:pt idx="93913">0</cx:pt>
          <cx:pt idx="93914">1</cx:pt>
          <cx:pt idx="93915">0</cx:pt>
          <cx:pt idx="93916">1</cx:pt>
          <cx:pt idx="93917">1</cx:pt>
          <cx:pt idx="93918">0</cx:pt>
          <cx:pt idx="93919">1</cx:pt>
          <cx:pt idx="93920">0</cx:pt>
          <cx:pt idx="93921">0</cx:pt>
          <cx:pt idx="93922">1</cx:pt>
          <cx:pt idx="93923">0</cx:pt>
          <cx:pt idx="93924">0</cx:pt>
          <cx:pt idx="93925">1</cx:pt>
          <cx:pt idx="93926">0</cx:pt>
          <cx:pt idx="93927">0</cx:pt>
          <cx:pt idx="93928">0</cx:pt>
          <cx:pt idx="93929">0</cx:pt>
          <cx:pt idx="93930">1</cx:pt>
          <cx:pt idx="93931">0</cx:pt>
          <cx:pt idx="93932">0</cx:pt>
          <cx:pt idx="93933">0</cx:pt>
          <cx:pt idx="93934">1</cx:pt>
          <cx:pt idx="93935">1</cx:pt>
          <cx:pt idx="93936">1</cx:pt>
          <cx:pt idx="93937">0</cx:pt>
          <cx:pt idx="93938">0</cx:pt>
          <cx:pt idx="93939">1</cx:pt>
          <cx:pt idx="93940">1</cx:pt>
          <cx:pt idx="93941">1</cx:pt>
          <cx:pt idx="93942">1</cx:pt>
          <cx:pt idx="93943">1</cx:pt>
          <cx:pt idx="93944">0</cx:pt>
          <cx:pt idx="93945">1</cx:pt>
          <cx:pt idx="93946">0</cx:pt>
          <cx:pt idx="93947">0</cx:pt>
          <cx:pt idx="93948">0</cx:pt>
          <cx:pt idx="93949">1</cx:pt>
          <cx:pt idx="93950">0</cx:pt>
          <cx:pt idx="93951">1</cx:pt>
          <cx:pt idx="93952">1</cx:pt>
          <cx:pt idx="93953">0</cx:pt>
          <cx:pt idx="93954">1</cx:pt>
          <cx:pt idx="93955">1</cx:pt>
          <cx:pt idx="93956">0</cx:pt>
          <cx:pt idx="93957">0</cx:pt>
          <cx:pt idx="93958">1</cx:pt>
          <cx:pt idx="93959">0</cx:pt>
          <cx:pt idx="93960">0</cx:pt>
          <cx:pt idx="93961">0</cx:pt>
          <cx:pt idx="93962">1</cx:pt>
          <cx:pt idx="93963">0</cx:pt>
          <cx:pt idx="93964">1</cx:pt>
          <cx:pt idx="93965">0</cx:pt>
          <cx:pt idx="93966">1</cx:pt>
          <cx:pt idx="93967">1</cx:pt>
          <cx:pt idx="93968">1</cx:pt>
          <cx:pt idx="93969">0</cx:pt>
          <cx:pt idx="93970">0</cx:pt>
          <cx:pt idx="93971">1</cx:pt>
          <cx:pt idx="93972">1</cx:pt>
          <cx:pt idx="93973">0</cx:pt>
          <cx:pt idx="93974">0</cx:pt>
          <cx:pt idx="93975">0</cx:pt>
          <cx:pt idx="93976">0</cx:pt>
          <cx:pt idx="93977">0</cx:pt>
          <cx:pt idx="93978">1</cx:pt>
          <cx:pt idx="93979">1</cx:pt>
          <cx:pt idx="93980">0</cx:pt>
          <cx:pt idx="93981">0</cx:pt>
          <cx:pt idx="93982">1</cx:pt>
          <cx:pt idx="93983">0</cx:pt>
          <cx:pt idx="93984">0</cx:pt>
          <cx:pt idx="93985">0</cx:pt>
          <cx:pt idx="93986">1</cx:pt>
          <cx:pt idx="93987">0</cx:pt>
          <cx:pt idx="93988">1</cx:pt>
          <cx:pt idx="93989">0</cx:pt>
          <cx:pt idx="93990">0</cx:pt>
          <cx:pt idx="93991">1</cx:pt>
          <cx:pt idx="93992">0</cx:pt>
          <cx:pt idx="93993">0</cx:pt>
          <cx:pt idx="93994">0</cx:pt>
          <cx:pt idx="93995">1</cx:pt>
          <cx:pt idx="93996">1</cx:pt>
          <cx:pt idx="93997">1</cx:pt>
          <cx:pt idx="93998">0</cx:pt>
          <cx:pt idx="93999">1</cx:pt>
          <cx:pt idx="94000">1</cx:pt>
          <cx:pt idx="94001">0</cx:pt>
          <cx:pt idx="94002">0</cx:pt>
          <cx:pt idx="94003">1</cx:pt>
          <cx:pt idx="94004">0</cx:pt>
          <cx:pt idx="94005">0</cx:pt>
          <cx:pt idx="94006">0</cx:pt>
          <cx:pt idx="94007">1</cx:pt>
          <cx:pt idx="94008">0</cx:pt>
          <cx:pt idx="94009">0</cx:pt>
          <cx:pt idx="94010">0</cx:pt>
          <cx:pt idx="94011">0</cx:pt>
          <cx:pt idx="94012">0</cx:pt>
          <cx:pt idx="94013">1</cx:pt>
          <cx:pt idx="94014">0</cx:pt>
          <cx:pt idx="94015">0</cx:pt>
          <cx:pt idx="94016">0</cx:pt>
          <cx:pt idx="94017">1</cx:pt>
          <cx:pt idx="94018">0</cx:pt>
          <cx:pt idx="94019">1</cx:pt>
          <cx:pt idx="94020">0</cx:pt>
          <cx:pt idx="94021">0</cx:pt>
          <cx:pt idx="94022">0</cx:pt>
          <cx:pt idx="94023">1</cx:pt>
          <cx:pt idx="94024">0</cx:pt>
          <cx:pt idx="94025">0</cx:pt>
          <cx:pt idx="94026">1</cx:pt>
          <cx:pt idx="94027">0</cx:pt>
          <cx:pt idx="94028">0</cx:pt>
          <cx:pt idx="94029">0</cx:pt>
          <cx:pt idx="94030">1</cx:pt>
          <cx:pt idx="94031">1</cx:pt>
          <cx:pt idx="94032">1</cx:pt>
          <cx:pt idx="94033">1</cx:pt>
          <cx:pt idx="94034">1</cx:pt>
          <cx:pt idx="94035">0</cx:pt>
          <cx:pt idx="94036">1</cx:pt>
          <cx:pt idx="94037">1</cx:pt>
          <cx:pt idx="94038">0</cx:pt>
          <cx:pt idx="94039">1</cx:pt>
          <cx:pt idx="94040">1</cx:pt>
          <cx:pt idx="94041">0</cx:pt>
          <cx:pt idx="94042">1</cx:pt>
          <cx:pt idx="94043">0</cx:pt>
          <cx:pt idx="94044">1</cx:pt>
          <cx:pt idx="94045">1</cx:pt>
          <cx:pt idx="94046">0</cx:pt>
          <cx:pt idx="94047">0</cx:pt>
          <cx:pt idx="94048">0</cx:pt>
          <cx:pt idx="94049">0</cx:pt>
          <cx:pt idx="94050">1</cx:pt>
          <cx:pt idx="94051">1</cx:pt>
          <cx:pt idx="94052">1</cx:pt>
          <cx:pt idx="94053">1</cx:pt>
          <cx:pt idx="94054">1</cx:pt>
          <cx:pt idx="94055">1</cx:pt>
          <cx:pt idx="94056">0</cx:pt>
          <cx:pt idx="94057">1</cx:pt>
          <cx:pt idx="94058">1</cx:pt>
          <cx:pt idx="94059">1</cx:pt>
          <cx:pt idx="94060">0</cx:pt>
          <cx:pt idx="94061">0</cx:pt>
          <cx:pt idx="94062">0</cx:pt>
          <cx:pt idx="94063">0</cx:pt>
          <cx:pt idx="94064">1</cx:pt>
          <cx:pt idx="94065">0</cx:pt>
          <cx:pt idx="94066">1</cx:pt>
          <cx:pt idx="94067">0</cx:pt>
          <cx:pt idx="94068">0</cx:pt>
          <cx:pt idx="94069">0</cx:pt>
          <cx:pt idx="94070">0</cx:pt>
          <cx:pt idx="94071">1</cx:pt>
          <cx:pt idx="94072">0</cx:pt>
          <cx:pt idx="94073">0</cx:pt>
          <cx:pt idx="94074">1</cx:pt>
          <cx:pt idx="94075">0</cx:pt>
          <cx:pt idx="94076">1</cx:pt>
          <cx:pt idx="94077">0</cx:pt>
          <cx:pt idx="94078">0</cx:pt>
          <cx:pt idx="94079">0</cx:pt>
          <cx:pt idx="94080">1</cx:pt>
          <cx:pt idx="94081">0</cx:pt>
          <cx:pt idx="94082">0</cx:pt>
          <cx:pt idx="94083">0</cx:pt>
          <cx:pt idx="94084">0</cx:pt>
          <cx:pt idx="94085">0</cx:pt>
          <cx:pt idx="94086">0</cx:pt>
          <cx:pt idx="94087">0</cx:pt>
          <cx:pt idx="94088">0</cx:pt>
          <cx:pt idx="94089">0</cx:pt>
          <cx:pt idx="94090">1</cx:pt>
          <cx:pt idx="94091">0</cx:pt>
          <cx:pt idx="94092">0</cx:pt>
          <cx:pt idx="94093">1</cx:pt>
          <cx:pt idx="94094">0</cx:pt>
          <cx:pt idx="94095">0</cx:pt>
          <cx:pt idx="94096">1</cx:pt>
          <cx:pt idx="94097">1</cx:pt>
          <cx:pt idx="94098">0</cx:pt>
          <cx:pt idx="94099">0</cx:pt>
          <cx:pt idx="94100">0</cx:pt>
          <cx:pt idx="94101">0</cx:pt>
          <cx:pt idx="94102">0</cx:pt>
          <cx:pt idx="94103">0</cx:pt>
          <cx:pt idx="94104">1</cx:pt>
          <cx:pt idx="94105">1</cx:pt>
          <cx:pt idx="94106">0</cx:pt>
          <cx:pt idx="94107">1</cx:pt>
          <cx:pt idx="94108">0</cx:pt>
          <cx:pt idx="94109">1</cx:pt>
          <cx:pt idx="94110">1</cx:pt>
          <cx:pt idx="94111">0</cx:pt>
          <cx:pt idx="94112">0</cx:pt>
          <cx:pt idx="94113">0</cx:pt>
          <cx:pt idx="94114">0</cx:pt>
          <cx:pt idx="94115">0</cx:pt>
          <cx:pt idx="94116">0</cx:pt>
          <cx:pt idx="94117">1</cx:pt>
          <cx:pt idx="94118">1</cx:pt>
          <cx:pt idx="94119">0</cx:pt>
          <cx:pt idx="94120">0</cx:pt>
          <cx:pt idx="94121">0</cx:pt>
          <cx:pt idx="94122">1</cx:pt>
          <cx:pt idx="94123">1</cx:pt>
          <cx:pt idx="94124">1</cx:pt>
          <cx:pt idx="94125">1</cx:pt>
          <cx:pt idx="94126">0</cx:pt>
          <cx:pt idx="94127">0</cx:pt>
          <cx:pt idx="94128">0</cx:pt>
          <cx:pt idx="94129">0</cx:pt>
          <cx:pt idx="94130">0</cx:pt>
          <cx:pt idx="94131">0</cx:pt>
          <cx:pt idx="94132">0</cx:pt>
          <cx:pt idx="94133">1</cx:pt>
          <cx:pt idx="94134">0</cx:pt>
          <cx:pt idx="94135">0</cx:pt>
          <cx:pt idx="94136">0</cx:pt>
          <cx:pt idx="94137">0</cx:pt>
          <cx:pt idx="94138">0</cx:pt>
          <cx:pt idx="94139">0</cx:pt>
          <cx:pt idx="94140">0</cx:pt>
          <cx:pt idx="94141">1</cx:pt>
          <cx:pt idx="94142">1</cx:pt>
          <cx:pt idx="94143">1</cx:pt>
          <cx:pt idx="94144">0</cx:pt>
          <cx:pt idx="94145">1</cx:pt>
          <cx:pt idx="94146">0</cx:pt>
          <cx:pt idx="94147">1</cx:pt>
          <cx:pt idx="94148">1</cx:pt>
          <cx:pt idx="94149">1</cx:pt>
          <cx:pt idx="94150">0</cx:pt>
          <cx:pt idx="94151">1</cx:pt>
          <cx:pt idx="94152">0</cx:pt>
          <cx:pt idx="94153">0</cx:pt>
          <cx:pt idx="94154">0</cx:pt>
          <cx:pt idx="94155">0</cx:pt>
          <cx:pt idx="94156">1</cx:pt>
          <cx:pt idx="94157">0</cx:pt>
          <cx:pt idx="94158">0</cx:pt>
          <cx:pt idx="94159">0</cx:pt>
          <cx:pt idx="94160">1</cx:pt>
          <cx:pt idx="94161">1</cx:pt>
          <cx:pt idx="94162">0</cx:pt>
          <cx:pt idx="94163">1</cx:pt>
          <cx:pt idx="94164">1</cx:pt>
          <cx:pt idx="94165">0</cx:pt>
          <cx:pt idx="94166">0</cx:pt>
          <cx:pt idx="94167">0</cx:pt>
          <cx:pt idx="94168">0</cx:pt>
          <cx:pt idx="94169">1</cx:pt>
          <cx:pt idx="94170">1</cx:pt>
          <cx:pt idx="94171">0</cx:pt>
          <cx:pt idx="94172">1</cx:pt>
          <cx:pt idx="94173">1</cx:pt>
          <cx:pt idx="94174">1</cx:pt>
          <cx:pt idx="94175">1</cx:pt>
          <cx:pt idx="94176">1</cx:pt>
          <cx:pt idx="94177">0</cx:pt>
          <cx:pt idx="94178">0</cx:pt>
          <cx:pt idx="94179">0</cx:pt>
          <cx:pt idx="94180">1</cx:pt>
          <cx:pt idx="94181">0</cx:pt>
          <cx:pt idx="94182">1</cx:pt>
          <cx:pt idx="94183">1</cx:pt>
          <cx:pt idx="94184">1</cx:pt>
          <cx:pt idx="94185">0</cx:pt>
          <cx:pt idx="94186">0</cx:pt>
          <cx:pt idx="94187">1</cx:pt>
          <cx:pt idx="94188">1</cx:pt>
          <cx:pt idx="94189">0</cx:pt>
          <cx:pt idx="94190">0</cx:pt>
          <cx:pt idx="94191">0</cx:pt>
          <cx:pt idx="94192">0</cx:pt>
          <cx:pt idx="94193">1</cx:pt>
          <cx:pt idx="94194">1</cx:pt>
          <cx:pt idx="94195">0</cx:pt>
          <cx:pt idx="94196">0</cx:pt>
          <cx:pt idx="94197">1</cx:pt>
          <cx:pt idx="94198">1</cx:pt>
          <cx:pt idx="94199">1</cx:pt>
          <cx:pt idx="94200">1</cx:pt>
          <cx:pt idx="94201">0</cx:pt>
          <cx:pt idx="94202">1</cx:pt>
          <cx:pt idx="94203">0</cx:pt>
          <cx:pt idx="94204">0</cx:pt>
          <cx:pt idx="94205">0</cx:pt>
          <cx:pt idx="94206">0</cx:pt>
          <cx:pt idx="94207">1</cx:pt>
          <cx:pt idx="94208">1</cx:pt>
          <cx:pt idx="94209">1</cx:pt>
          <cx:pt idx="94210">0</cx:pt>
          <cx:pt idx="94211">1</cx:pt>
          <cx:pt idx="94212">0</cx:pt>
          <cx:pt idx="94213">0</cx:pt>
          <cx:pt idx="94214">0</cx:pt>
          <cx:pt idx="94215">0</cx:pt>
          <cx:pt idx="94216">1</cx:pt>
          <cx:pt idx="94217">0</cx:pt>
          <cx:pt idx="94218">0</cx:pt>
          <cx:pt idx="94219">1</cx:pt>
          <cx:pt idx="94220">1</cx:pt>
          <cx:pt idx="94221">0</cx:pt>
          <cx:pt idx="94222">0</cx:pt>
          <cx:pt idx="94223">1</cx:pt>
          <cx:pt idx="94224">1</cx:pt>
          <cx:pt idx="94225">0</cx:pt>
          <cx:pt idx="94226">0</cx:pt>
          <cx:pt idx="94227">1</cx:pt>
          <cx:pt idx="94228">1</cx:pt>
          <cx:pt idx="94229">0</cx:pt>
          <cx:pt idx="94230">1</cx:pt>
          <cx:pt idx="94231">1</cx:pt>
          <cx:pt idx="94232">0</cx:pt>
          <cx:pt idx="94233">1</cx:pt>
          <cx:pt idx="94234">1</cx:pt>
          <cx:pt idx="94235">0</cx:pt>
          <cx:pt idx="94236">0</cx:pt>
          <cx:pt idx="94237">0</cx:pt>
          <cx:pt idx="94238">0</cx:pt>
          <cx:pt idx="94239">0</cx:pt>
          <cx:pt idx="94240">0</cx:pt>
          <cx:pt idx="94241">1</cx:pt>
          <cx:pt idx="94242">1</cx:pt>
          <cx:pt idx="94243">0</cx:pt>
          <cx:pt idx="94244">0</cx:pt>
          <cx:pt idx="94245">1</cx:pt>
          <cx:pt idx="94246">1</cx:pt>
          <cx:pt idx="94247">0</cx:pt>
          <cx:pt idx="94248">1</cx:pt>
          <cx:pt idx="94249">1</cx:pt>
          <cx:pt idx="94250">0</cx:pt>
          <cx:pt idx="94251">0</cx:pt>
          <cx:pt idx="94252">0</cx:pt>
          <cx:pt idx="94253">1</cx:pt>
          <cx:pt idx="94254">1</cx:pt>
          <cx:pt idx="94255">1</cx:pt>
          <cx:pt idx="94256">0</cx:pt>
          <cx:pt idx="94257">0</cx:pt>
          <cx:pt idx="94258">0</cx:pt>
          <cx:pt idx="94259">0</cx:pt>
          <cx:pt idx="94260">0</cx:pt>
          <cx:pt idx="94261">0</cx:pt>
          <cx:pt idx="94262">1</cx:pt>
          <cx:pt idx="94263">0</cx:pt>
          <cx:pt idx="94264">1</cx:pt>
          <cx:pt idx="94265">1</cx:pt>
          <cx:pt idx="94266">0</cx:pt>
          <cx:pt idx="94267">0</cx:pt>
          <cx:pt idx="94268">0</cx:pt>
          <cx:pt idx="94269">0</cx:pt>
          <cx:pt idx="94270">1</cx:pt>
          <cx:pt idx="94271">0</cx:pt>
          <cx:pt idx="94272">0</cx:pt>
          <cx:pt idx="94273">0</cx:pt>
          <cx:pt idx="94274">0</cx:pt>
          <cx:pt idx="94275">1</cx:pt>
          <cx:pt idx="94276">0</cx:pt>
          <cx:pt idx="94277">0</cx:pt>
          <cx:pt idx="94278">0</cx:pt>
          <cx:pt idx="94279">0</cx:pt>
          <cx:pt idx="94280">0</cx:pt>
          <cx:pt idx="94281">1</cx:pt>
          <cx:pt idx="94282">0</cx:pt>
          <cx:pt idx="94283">1</cx:pt>
          <cx:pt idx="94284">0</cx:pt>
          <cx:pt idx="94285">1</cx:pt>
          <cx:pt idx="94286">1</cx:pt>
          <cx:pt idx="94287">0</cx:pt>
          <cx:pt idx="94288">0</cx:pt>
          <cx:pt idx="94289">0</cx:pt>
          <cx:pt idx="94290">1</cx:pt>
          <cx:pt idx="94291">0</cx:pt>
          <cx:pt idx="94292">0</cx:pt>
          <cx:pt idx="94293">0</cx:pt>
          <cx:pt idx="94294">0</cx:pt>
          <cx:pt idx="94295">1</cx:pt>
          <cx:pt idx="94296">0</cx:pt>
          <cx:pt idx="94297">0</cx:pt>
          <cx:pt idx="94298">1</cx:pt>
          <cx:pt idx="94299">1</cx:pt>
          <cx:pt idx="94300">1</cx:pt>
          <cx:pt idx="94301">1</cx:pt>
          <cx:pt idx="94302">1</cx:pt>
          <cx:pt idx="94303">0</cx:pt>
          <cx:pt idx="94304">0</cx:pt>
          <cx:pt idx="94305">1</cx:pt>
          <cx:pt idx="94306">1</cx:pt>
          <cx:pt idx="94307">1</cx:pt>
          <cx:pt idx="94308">0</cx:pt>
          <cx:pt idx="94309">1</cx:pt>
          <cx:pt idx="94310">0</cx:pt>
          <cx:pt idx="94311">1</cx:pt>
          <cx:pt idx="94312">1</cx:pt>
          <cx:pt idx="94313">1</cx:pt>
          <cx:pt idx="94314">1</cx:pt>
          <cx:pt idx="94315">0</cx:pt>
          <cx:pt idx="94316">0</cx:pt>
          <cx:pt idx="94317">0</cx:pt>
          <cx:pt idx="94318">0</cx:pt>
          <cx:pt idx="94319">0</cx:pt>
          <cx:pt idx="94320">0</cx:pt>
          <cx:pt idx="94321">1</cx:pt>
          <cx:pt idx="94322">1</cx:pt>
          <cx:pt idx="94323">0</cx:pt>
          <cx:pt idx="94324">0</cx:pt>
          <cx:pt idx="94325">1</cx:pt>
          <cx:pt idx="94326">1</cx:pt>
          <cx:pt idx="94327">1</cx:pt>
          <cx:pt idx="94328">0</cx:pt>
          <cx:pt idx="94329">0</cx:pt>
          <cx:pt idx="94330">0</cx:pt>
          <cx:pt idx="94331">1</cx:pt>
          <cx:pt idx="94332">0</cx:pt>
          <cx:pt idx="94333">0</cx:pt>
          <cx:pt idx="94334">0</cx:pt>
          <cx:pt idx="94335">0</cx:pt>
          <cx:pt idx="94336">0</cx:pt>
          <cx:pt idx="94337">0</cx:pt>
          <cx:pt idx="94338">0</cx:pt>
          <cx:pt idx="94339">0</cx:pt>
          <cx:pt idx="94340">1</cx:pt>
          <cx:pt idx="94341">1</cx:pt>
          <cx:pt idx="94342">1</cx:pt>
          <cx:pt idx="94343">0</cx:pt>
          <cx:pt idx="94344">1</cx:pt>
          <cx:pt idx="94345">0</cx:pt>
          <cx:pt idx="94346">0</cx:pt>
          <cx:pt idx="94347">0</cx:pt>
          <cx:pt idx="94348">0</cx:pt>
          <cx:pt idx="94349">0</cx:pt>
          <cx:pt idx="94350">1</cx:pt>
          <cx:pt idx="94351">0</cx:pt>
          <cx:pt idx="94352">1</cx:pt>
          <cx:pt idx="94353">1</cx:pt>
          <cx:pt idx="94354">0</cx:pt>
          <cx:pt idx="94355">0</cx:pt>
          <cx:pt idx="94356">1</cx:pt>
          <cx:pt idx="94357">1</cx:pt>
          <cx:pt idx="94358">0</cx:pt>
          <cx:pt idx="94359">0</cx:pt>
          <cx:pt idx="94360">0</cx:pt>
          <cx:pt idx="94361">0</cx:pt>
          <cx:pt idx="94362">0</cx:pt>
          <cx:pt idx="94363">0</cx:pt>
          <cx:pt idx="94364">0</cx:pt>
          <cx:pt idx="94365">0</cx:pt>
          <cx:pt idx="94366">1</cx:pt>
          <cx:pt idx="94367">0</cx:pt>
          <cx:pt idx="94368">0</cx:pt>
          <cx:pt idx="94369">0</cx:pt>
          <cx:pt idx="94370">0</cx:pt>
          <cx:pt idx="94371">1</cx:pt>
          <cx:pt idx="94372">1</cx:pt>
          <cx:pt idx="94373">0</cx:pt>
          <cx:pt idx="94374">1</cx:pt>
          <cx:pt idx="94375">1</cx:pt>
          <cx:pt idx="94376">0</cx:pt>
          <cx:pt idx="94377">0</cx:pt>
          <cx:pt idx="94378">0</cx:pt>
          <cx:pt idx="94379">0</cx:pt>
          <cx:pt idx="94380">0</cx:pt>
          <cx:pt idx="94381">0</cx:pt>
          <cx:pt idx="94382">1</cx:pt>
          <cx:pt idx="94383">1</cx:pt>
          <cx:pt idx="94384">0</cx:pt>
          <cx:pt idx="94385">0</cx:pt>
          <cx:pt idx="94386">1</cx:pt>
          <cx:pt idx="94387">1</cx:pt>
          <cx:pt idx="94388">1</cx:pt>
          <cx:pt idx="94389">1</cx:pt>
          <cx:pt idx="94390">0</cx:pt>
          <cx:pt idx="94391">0</cx:pt>
          <cx:pt idx="94392">0</cx:pt>
          <cx:pt idx="94393">1</cx:pt>
          <cx:pt idx="94394">0</cx:pt>
          <cx:pt idx="94395">0</cx:pt>
          <cx:pt idx="94396">1</cx:pt>
          <cx:pt idx="94397">0</cx:pt>
          <cx:pt idx="94398">0</cx:pt>
          <cx:pt idx="94399">1</cx:pt>
          <cx:pt idx="94400">0</cx:pt>
          <cx:pt idx="94401">1</cx:pt>
          <cx:pt idx="94402">0</cx:pt>
          <cx:pt idx="94403">0</cx:pt>
          <cx:pt idx="94404">0</cx:pt>
          <cx:pt idx="94405">0</cx:pt>
          <cx:pt idx="94406">0</cx:pt>
          <cx:pt idx="94407">1</cx:pt>
          <cx:pt idx="94408">0</cx:pt>
          <cx:pt idx="94409">0</cx:pt>
          <cx:pt idx="94410">0</cx:pt>
          <cx:pt idx="94411">1</cx:pt>
          <cx:pt idx="94412">1</cx:pt>
          <cx:pt idx="94413">0</cx:pt>
          <cx:pt idx="94414">1</cx:pt>
          <cx:pt idx="94415">0</cx:pt>
          <cx:pt idx="94416">1</cx:pt>
          <cx:pt idx="94417">1</cx:pt>
          <cx:pt idx="94418">0</cx:pt>
          <cx:pt idx="94419">0</cx:pt>
          <cx:pt idx="94420">0</cx:pt>
          <cx:pt idx="94421">0</cx:pt>
          <cx:pt idx="94422">0</cx:pt>
          <cx:pt idx="94423">0</cx:pt>
          <cx:pt idx="94424">0</cx:pt>
          <cx:pt idx="94425">0</cx:pt>
          <cx:pt idx="94426">1</cx:pt>
          <cx:pt idx="94427">0</cx:pt>
          <cx:pt idx="94428">0</cx:pt>
          <cx:pt idx="94429">0</cx:pt>
          <cx:pt idx="94430">1</cx:pt>
          <cx:pt idx="94431">1</cx:pt>
          <cx:pt idx="94432">0</cx:pt>
          <cx:pt idx="94433">1</cx:pt>
          <cx:pt idx="94434">1</cx:pt>
          <cx:pt idx="94435">0</cx:pt>
          <cx:pt idx="94436">1</cx:pt>
          <cx:pt idx="94437">1</cx:pt>
          <cx:pt idx="94438">1</cx:pt>
          <cx:pt idx="94439">0</cx:pt>
          <cx:pt idx="94440">0</cx:pt>
          <cx:pt idx="94441">0</cx:pt>
          <cx:pt idx="94442">1</cx:pt>
          <cx:pt idx="94443">1</cx:pt>
          <cx:pt idx="94444">1</cx:pt>
          <cx:pt idx="94445">1</cx:pt>
          <cx:pt idx="94446">1</cx:pt>
          <cx:pt idx="94447">1</cx:pt>
          <cx:pt idx="94448">0</cx:pt>
          <cx:pt idx="94449">1</cx:pt>
          <cx:pt idx="94450">0</cx:pt>
          <cx:pt idx="94451">0</cx:pt>
          <cx:pt idx="94452">0</cx:pt>
          <cx:pt idx="94453">0</cx:pt>
          <cx:pt idx="94454">1</cx:pt>
          <cx:pt idx="94455">0</cx:pt>
          <cx:pt idx="94456">0</cx:pt>
          <cx:pt idx="94457">0</cx:pt>
          <cx:pt idx="94458">0</cx:pt>
          <cx:pt idx="94459">1</cx:pt>
          <cx:pt idx="94460">1</cx:pt>
          <cx:pt idx="94461">1</cx:pt>
          <cx:pt idx="94462">1</cx:pt>
          <cx:pt idx="94463">0</cx:pt>
          <cx:pt idx="94464">0</cx:pt>
          <cx:pt idx="94465">0</cx:pt>
          <cx:pt idx="94466">0</cx:pt>
          <cx:pt idx="94467">1</cx:pt>
          <cx:pt idx="94468">1</cx:pt>
          <cx:pt idx="94469">0</cx:pt>
          <cx:pt idx="94470">1</cx:pt>
          <cx:pt idx="94471">1</cx:pt>
          <cx:pt idx="94472">1</cx:pt>
          <cx:pt idx="94473">0</cx:pt>
          <cx:pt idx="94474">0</cx:pt>
          <cx:pt idx="94475">0</cx:pt>
          <cx:pt idx="94476">1</cx:pt>
          <cx:pt idx="94477">1</cx:pt>
          <cx:pt idx="94478">1</cx:pt>
          <cx:pt idx="94479">1</cx:pt>
          <cx:pt idx="94480">1</cx:pt>
          <cx:pt idx="94481">1</cx:pt>
          <cx:pt idx="94482">1</cx:pt>
          <cx:pt idx="94483">1</cx:pt>
          <cx:pt idx="94484">0</cx:pt>
          <cx:pt idx="94485">1</cx:pt>
          <cx:pt idx="94486">0</cx:pt>
          <cx:pt idx="94487">1</cx:pt>
          <cx:pt idx="94488">1</cx:pt>
          <cx:pt idx="94489">1</cx:pt>
          <cx:pt idx="94490">0</cx:pt>
          <cx:pt idx="94491">0</cx:pt>
          <cx:pt idx="94492">1</cx:pt>
          <cx:pt idx="94493">0</cx:pt>
          <cx:pt idx="94494">0</cx:pt>
          <cx:pt idx="94495">1</cx:pt>
          <cx:pt idx="94496">0</cx:pt>
          <cx:pt idx="94497">0</cx:pt>
          <cx:pt idx="94498">1</cx:pt>
          <cx:pt idx="94499">0</cx:pt>
          <cx:pt idx="94500">1</cx:pt>
          <cx:pt idx="94501">1</cx:pt>
          <cx:pt idx="94502">0</cx:pt>
          <cx:pt idx="94503">1</cx:pt>
          <cx:pt idx="94504">0</cx:pt>
          <cx:pt idx="94505">0</cx:pt>
          <cx:pt idx="94506">0</cx:pt>
          <cx:pt idx="94507">0</cx:pt>
          <cx:pt idx="94508">1</cx:pt>
          <cx:pt idx="94509">1</cx:pt>
          <cx:pt idx="94510">1</cx:pt>
          <cx:pt idx="94511">1</cx:pt>
          <cx:pt idx="94512">0</cx:pt>
          <cx:pt idx="94513">0</cx:pt>
          <cx:pt idx="94514">1</cx:pt>
          <cx:pt idx="94515">0</cx:pt>
          <cx:pt idx="94516">0</cx:pt>
          <cx:pt idx="94517">0</cx:pt>
          <cx:pt idx="94518">0</cx:pt>
          <cx:pt idx="94519">0</cx:pt>
          <cx:pt idx="94520">0</cx:pt>
          <cx:pt idx="94521">0</cx:pt>
          <cx:pt idx="94522">0</cx:pt>
          <cx:pt idx="94523">1</cx:pt>
          <cx:pt idx="94524">0</cx:pt>
          <cx:pt idx="94525">0</cx:pt>
          <cx:pt idx="94526">1</cx:pt>
          <cx:pt idx="94527">0</cx:pt>
          <cx:pt idx="94528">0</cx:pt>
          <cx:pt idx="94529">0</cx:pt>
          <cx:pt idx="94530">0</cx:pt>
          <cx:pt idx="94531">0</cx:pt>
          <cx:pt idx="94532">0</cx:pt>
          <cx:pt idx="94533">0</cx:pt>
          <cx:pt idx="94534">0</cx:pt>
          <cx:pt idx="94535">0</cx:pt>
          <cx:pt idx="94536">1</cx:pt>
          <cx:pt idx="94537">0</cx:pt>
          <cx:pt idx="94538">1</cx:pt>
          <cx:pt idx="94539">1</cx:pt>
          <cx:pt idx="94540">1</cx:pt>
          <cx:pt idx="94541">0</cx:pt>
          <cx:pt idx="94542">1</cx:pt>
          <cx:pt idx="94543">0</cx:pt>
          <cx:pt idx="94544">1</cx:pt>
          <cx:pt idx="94545">1</cx:pt>
          <cx:pt idx="94546">0</cx:pt>
          <cx:pt idx="94547">1</cx:pt>
          <cx:pt idx="94548">1</cx:pt>
          <cx:pt idx="94549">1</cx:pt>
          <cx:pt idx="94550">1</cx:pt>
          <cx:pt idx="94551">0</cx:pt>
          <cx:pt idx="94552">1</cx:pt>
          <cx:pt idx="94553">1</cx:pt>
          <cx:pt idx="94554">0</cx:pt>
          <cx:pt idx="94555">0</cx:pt>
          <cx:pt idx="94556">0</cx:pt>
          <cx:pt idx="94557">0</cx:pt>
          <cx:pt idx="94558">0</cx:pt>
          <cx:pt idx="94559">0</cx:pt>
          <cx:pt idx="94560">1</cx:pt>
          <cx:pt idx="94561">0</cx:pt>
          <cx:pt idx="94562">0</cx:pt>
          <cx:pt idx="94563">0</cx:pt>
          <cx:pt idx="94564">1</cx:pt>
          <cx:pt idx="94565">1</cx:pt>
          <cx:pt idx="94566">0</cx:pt>
          <cx:pt idx="94567">0</cx:pt>
          <cx:pt idx="94568">0</cx:pt>
          <cx:pt idx="94569">1</cx:pt>
          <cx:pt idx="94570">0</cx:pt>
          <cx:pt idx="94571">1</cx:pt>
          <cx:pt idx="94572">0</cx:pt>
          <cx:pt idx="94573">1</cx:pt>
          <cx:pt idx="94574">1</cx:pt>
          <cx:pt idx="94575">0</cx:pt>
          <cx:pt idx="94576">1</cx:pt>
          <cx:pt idx="94577">0</cx:pt>
          <cx:pt idx="94578">0</cx:pt>
          <cx:pt idx="94579">0</cx:pt>
          <cx:pt idx="94580">0</cx:pt>
          <cx:pt idx="94581">0</cx:pt>
          <cx:pt idx="94582">1</cx:pt>
          <cx:pt idx="94583">0</cx:pt>
          <cx:pt idx="94584">0</cx:pt>
          <cx:pt idx="94585">0</cx:pt>
          <cx:pt idx="94586">0</cx:pt>
          <cx:pt idx="94587">0</cx:pt>
          <cx:pt idx="94588">0</cx:pt>
          <cx:pt idx="94589">0</cx:pt>
          <cx:pt idx="94590">0</cx:pt>
          <cx:pt idx="94591">1</cx:pt>
          <cx:pt idx="94592">0</cx:pt>
          <cx:pt idx="94593">0</cx:pt>
          <cx:pt idx="94594">0</cx:pt>
          <cx:pt idx="94595">1</cx:pt>
          <cx:pt idx="94596">0</cx:pt>
          <cx:pt idx="94597">0</cx:pt>
          <cx:pt idx="94598">1</cx:pt>
          <cx:pt idx="94599">1</cx:pt>
          <cx:pt idx="94600">0</cx:pt>
          <cx:pt idx="94601">0</cx:pt>
          <cx:pt idx="94602">0</cx:pt>
          <cx:pt idx="94603">0</cx:pt>
          <cx:pt idx="94604">1</cx:pt>
          <cx:pt idx="94605">1</cx:pt>
          <cx:pt idx="94606">1</cx:pt>
          <cx:pt idx="94607">1</cx:pt>
          <cx:pt idx="94608">1</cx:pt>
          <cx:pt idx="94609">0</cx:pt>
          <cx:pt idx="94610">1</cx:pt>
          <cx:pt idx="94611">0</cx:pt>
          <cx:pt idx="94612">1</cx:pt>
          <cx:pt idx="94613">1</cx:pt>
          <cx:pt idx="94614">1</cx:pt>
          <cx:pt idx="94615">0</cx:pt>
          <cx:pt idx="94616">0</cx:pt>
          <cx:pt idx="94617">1</cx:pt>
          <cx:pt idx="94618">1</cx:pt>
          <cx:pt idx="94619">1</cx:pt>
          <cx:pt idx="94620">0</cx:pt>
          <cx:pt idx="94621">0</cx:pt>
          <cx:pt idx="94622">0</cx:pt>
          <cx:pt idx="94623">0</cx:pt>
          <cx:pt idx="94624">0</cx:pt>
          <cx:pt idx="94625">0</cx:pt>
          <cx:pt idx="94626">1</cx:pt>
          <cx:pt idx="94627">0</cx:pt>
          <cx:pt idx="94628">0</cx:pt>
          <cx:pt idx="94629">0</cx:pt>
          <cx:pt idx="94630">1</cx:pt>
          <cx:pt idx="94631">0</cx:pt>
          <cx:pt idx="94632">0</cx:pt>
          <cx:pt idx="94633">0</cx:pt>
          <cx:pt idx="94634">0</cx:pt>
          <cx:pt idx="94635">1</cx:pt>
          <cx:pt idx="94636">0</cx:pt>
          <cx:pt idx="94637">1</cx:pt>
          <cx:pt idx="94638">1</cx:pt>
          <cx:pt idx="94639">1</cx:pt>
          <cx:pt idx="94640">0</cx:pt>
          <cx:pt idx="94641">0</cx:pt>
          <cx:pt idx="94642">0</cx:pt>
          <cx:pt idx="94643">1</cx:pt>
          <cx:pt idx="94644">0</cx:pt>
          <cx:pt idx="94645">1</cx:pt>
          <cx:pt idx="94646">1</cx:pt>
          <cx:pt idx="94647">0</cx:pt>
          <cx:pt idx="94648">1</cx:pt>
          <cx:pt idx="94649">0</cx:pt>
          <cx:pt idx="94650">0</cx:pt>
          <cx:pt idx="94651">0</cx:pt>
          <cx:pt idx="94652">1</cx:pt>
          <cx:pt idx="94653">1</cx:pt>
          <cx:pt idx="94654">1</cx:pt>
          <cx:pt idx="94655">0</cx:pt>
          <cx:pt idx="94656">0</cx:pt>
          <cx:pt idx="94657">1</cx:pt>
          <cx:pt idx="94658">0</cx:pt>
          <cx:pt idx="94659">1</cx:pt>
          <cx:pt idx="94660">1</cx:pt>
          <cx:pt idx="94661">0</cx:pt>
          <cx:pt idx="94662">0</cx:pt>
          <cx:pt idx="94663">0</cx:pt>
          <cx:pt idx="94664">0</cx:pt>
          <cx:pt idx="94665">0</cx:pt>
          <cx:pt idx="94666">1</cx:pt>
          <cx:pt idx="94667">0</cx:pt>
          <cx:pt idx="94668">1</cx:pt>
          <cx:pt idx="94669">0</cx:pt>
          <cx:pt idx="94670">0</cx:pt>
          <cx:pt idx="94671">1</cx:pt>
          <cx:pt idx="94672">1</cx:pt>
          <cx:pt idx="94673">0</cx:pt>
          <cx:pt idx="94674">1</cx:pt>
          <cx:pt idx="94675">1</cx:pt>
          <cx:pt idx="94676">1</cx:pt>
          <cx:pt idx="94677">1</cx:pt>
          <cx:pt idx="94678">0</cx:pt>
          <cx:pt idx="94679">0</cx:pt>
          <cx:pt idx="94680">0</cx:pt>
          <cx:pt idx="94681">0</cx:pt>
          <cx:pt idx="94682">1</cx:pt>
          <cx:pt idx="94683">1</cx:pt>
          <cx:pt idx="94684">0</cx:pt>
          <cx:pt idx="94685">1</cx:pt>
          <cx:pt idx="94686">1</cx:pt>
          <cx:pt idx="94687">0</cx:pt>
          <cx:pt idx="94688">0</cx:pt>
          <cx:pt idx="94689">1</cx:pt>
          <cx:pt idx="94690">1</cx:pt>
          <cx:pt idx="94691">1</cx:pt>
          <cx:pt idx="94692">1</cx:pt>
          <cx:pt idx="94693">0</cx:pt>
          <cx:pt idx="94694">0</cx:pt>
          <cx:pt idx="94695">1</cx:pt>
          <cx:pt idx="94696">0</cx:pt>
          <cx:pt idx="94697">0</cx:pt>
          <cx:pt idx="94698">1</cx:pt>
          <cx:pt idx="94699">1</cx:pt>
          <cx:pt idx="94700">1</cx:pt>
          <cx:pt idx="94701">1</cx:pt>
          <cx:pt idx="94702">0</cx:pt>
          <cx:pt idx="94703">0</cx:pt>
          <cx:pt idx="94704">0</cx:pt>
          <cx:pt idx="94705">0</cx:pt>
          <cx:pt idx="94706">1</cx:pt>
          <cx:pt idx="94707">0</cx:pt>
          <cx:pt idx="94708">0</cx:pt>
          <cx:pt idx="94709">1</cx:pt>
          <cx:pt idx="94710">0</cx:pt>
          <cx:pt idx="94711">0</cx:pt>
          <cx:pt idx="94712">1</cx:pt>
          <cx:pt idx="94713">1</cx:pt>
          <cx:pt idx="94714">0</cx:pt>
          <cx:pt idx="94715">1</cx:pt>
          <cx:pt idx="94716">0</cx:pt>
          <cx:pt idx="94717">1</cx:pt>
          <cx:pt idx="94718">0</cx:pt>
          <cx:pt idx="94719">0</cx:pt>
          <cx:pt idx="94720">1</cx:pt>
          <cx:pt idx="94721">1</cx:pt>
          <cx:pt idx="94722">0</cx:pt>
          <cx:pt idx="94723">0</cx:pt>
          <cx:pt idx="94724">0</cx:pt>
          <cx:pt idx="94725">1</cx:pt>
          <cx:pt idx="94726">1</cx:pt>
          <cx:pt idx="94727">1</cx:pt>
          <cx:pt idx="94728">1</cx:pt>
          <cx:pt idx="94729">1</cx:pt>
          <cx:pt idx="94730">0</cx:pt>
          <cx:pt idx="94731">0</cx:pt>
          <cx:pt idx="94732">1</cx:pt>
          <cx:pt idx="94733">0</cx:pt>
          <cx:pt idx="94734">1</cx:pt>
          <cx:pt idx="94735">0</cx:pt>
          <cx:pt idx="94736">0</cx:pt>
          <cx:pt idx="94737">0</cx:pt>
          <cx:pt idx="94738">1</cx:pt>
          <cx:pt idx="94739">1</cx:pt>
          <cx:pt idx="94740">0</cx:pt>
          <cx:pt idx="94741">0</cx:pt>
          <cx:pt idx="94742">1</cx:pt>
          <cx:pt idx="94743">1</cx:pt>
          <cx:pt idx="94744">0</cx:pt>
          <cx:pt idx="94745">1</cx:pt>
          <cx:pt idx="94746">0</cx:pt>
          <cx:pt idx="94747">0</cx:pt>
          <cx:pt idx="94748">1</cx:pt>
          <cx:pt idx="94749">0</cx:pt>
          <cx:pt idx="94750">1</cx:pt>
          <cx:pt idx="94751">1</cx:pt>
          <cx:pt idx="94752">0</cx:pt>
          <cx:pt idx="94753">1</cx:pt>
          <cx:pt idx="94754">1</cx:pt>
          <cx:pt idx="94755">0</cx:pt>
          <cx:pt idx="94756">0</cx:pt>
          <cx:pt idx="94757">0</cx:pt>
          <cx:pt idx="94758">0</cx:pt>
          <cx:pt idx="94759">1</cx:pt>
          <cx:pt idx="94760">1</cx:pt>
          <cx:pt idx="94761">0</cx:pt>
          <cx:pt idx="94762">1</cx:pt>
          <cx:pt idx="94763">1</cx:pt>
          <cx:pt idx="94764">0</cx:pt>
          <cx:pt idx="94765">1</cx:pt>
          <cx:pt idx="94766">1</cx:pt>
          <cx:pt idx="94767">0</cx:pt>
          <cx:pt idx="94768">0</cx:pt>
          <cx:pt idx="94769">0</cx:pt>
          <cx:pt idx="94770">0</cx:pt>
          <cx:pt idx="94771">1</cx:pt>
          <cx:pt idx="94772">1</cx:pt>
          <cx:pt idx="94773">0</cx:pt>
          <cx:pt idx="94774">1</cx:pt>
          <cx:pt idx="94775">0</cx:pt>
          <cx:pt idx="94776">0</cx:pt>
          <cx:pt idx="94777">1</cx:pt>
          <cx:pt idx="94778">0</cx:pt>
          <cx:pt idx="94779">1</cx:pt>
          <cx:pt idx="94780">0</cx:pt>
          <cx:pt idx="94781">0</cx:pt>
          <cx:pt idx="94782">1</cx:pt>
          <cx:pt idx="94783">0</cx:pt>
          <cx:pt idx="94784">1</cx:pt>
          <cx:pt idx="94785">1</cx:pt>
          <cx:pt idx="94786">0</cx:pt>
          <cx:pt idx="94787">0</cx:pt>
          <cx:pt idx="94788">0</cx:pt>
          <cx:pt idx="94789">1</cx:pt>
          <cx:pt idx="94790">1</cx:pt>
          <cx:pt idx="94791">1</cx:pt>
          <cx:pt idx="94792">1</cx:pt>
          <cx:pt idx="94793">1</cx:pt>
          <cx:pt idx="94794">0</cx:pt>
          <cx:pt idx="94795">0</cx:pt>
          <cx:pt idx="94796">0</cx:pt>
          <cx:pt idx="94797">0</cx:pt>
          <cx:pt idx="94798">0</cx:pt>
          <cx:pt idx="94799">0</cx:pt>
          <cx:pt idx="94800">0</cx:pt>
          <cx:pt idx="94801">1</cx:pt>
          <cx:pt idx="94802">0</cx:pt>
          <cx:pt idx="94803">1</cx:pt>
          <cx:pt idx="94804">1</cx:pt>
          <cx:pt idx="94805">1</cx:pt>
          <cx:pt idx="94806">1</cx:pt>
          <cx:pt idx="94807">0</cx:pt>
          <cx:pt idx="94808">0</cx:pt>
          <cx:pt idx="94809">1</cx:pt>
          <cx:pt idx="94810">1</cx:pt>
          <cx:pt idx="94811">1</cx:pt>
          <cx:pt idx="94812">0</cx:pt>
          <cx:pt idx="94813">0</cx:pt>
          <cx:pt idx="94814">1</cx:pt>
          <cx:pt idx="94815">0</cx:pt>
          <cx:pt idx="94816">0</cx:pt>
          <cx:pt idx="94817">1</cx:pt>
          <cx:pt idx="94818">0</cx:pt>
          <cx:pt idx="94819">0</cx:pt>
          <cx:pt idx="94820">0</cx:pt>
          <cx:pt idx="94821">1</cx:pt>
          <cx:pt idx="94822">1</cx:pt>
          <cx:pt idx="94823">0</cx:pt>
          <cx:pt idx="94824">1</cx:pt>
          <cx:pt idx="94825">0</cx:pt>
          <cx:pt idx="94826">0</cx:pt>
          <cx:pt idx="94827">1</cx:pt>
          <cx:pt idx="94828">1</cx:pt>
          <cx:pt idx="94829">1</cx:pt>
          <cx:pt idx="94830">0</cx:pt>
          <cx:pt idx="94831">0</cx:pt>
          <cx:pt idx="94832">0</cx:pt>
          <cx:pt idx="94833">0</cx:pt>
          <cx:pt idx="94834">1</cx:pt>
          <cx:pt idx="94835">0</cx:pt>
          <cx:pt idx="94836">1</cx:pt>
          <cx:pt idx="94837">0</cx:pt>
          <cx:pt idx="94838">0</cx:pt>
          <cx:pt idx="94839">1</cx:pt>
          <cx:pt idx="94840">0</cx:pt>
          <cx:pt idx="94841">1</cx:pt>
          <cx:pt idx="94842">0</cx:pt>
          <cx:pt idx="94843">1</cx:pt>
          <cx:pt idx="94844">0</cx:pt>
          <cx:pt idx="94845">0</cx:pt>
          <cx:pt idx="94846">0</cx:pt>
          <cx:pt idx="94847">0</cx:pt>
          <cx:pt idx="94848">0</cx:pt>
          <cx:pt idx="94849">1</cx:pt>
          <cx:pt idx="94850">0</cx:pt>
          <cx:pt idx="94851">0</cx:pt>
          <cx:pt idx="94852">0</cx:pt>
          <cx:pt idx="94853">0</cx:pt>
          <cx:pt idx="94854">0</cx:pt>
          <cx:pt idx="94855">0</cx:pt>
          <cx:pt idx="94856">0</cx:pt>
          <cx:pt idx="94857">1</cx:pt>
          <cx:pt idx="94858">0</cx:pt>
          <cx:pt idx="94859">1</cx:pt>
          <cx:pt idx="94860">0</cx:pt>
          <cx:pt idx="94861">0</cx:pt>
          <cx:pt idx="94862">0</cx:pt>
          <cx:pt idx="94863">1</cx:pt>
          <cx:pt idx="94864">1</cx:pt>
          <cx:pt idx="94865">1</cx:pt>
          <cx:pt idx="94866">0</cx:pt>
          <cx:pt idx="94867">1</cx:pt>
          <cx:pt idx="94868">1</cx:pt>
          <cx:pt idx="94869">1</cx:pt>
          <cx:pt idx="94870">1</cx:pt>
          <cx:pt idx="94871">0</cx:pt>
          <cx:pt idx="94872">0</cx:pt>
          <cx:pt idx="94873">1</cx:pt>
          <cx:pt idx="94874">1</cx:pt>
          <cx:pt idx="94875">1</cx:pt>
          <cx:pt idx="94876">0</cx:pt>
          <cx:pt idx="94877">1</cx:pt>
          <cx:pt idx="94878">0</cx:pt>
          <cx:pt idx="94879">1</cx:pt>
          <cx:pt idx="94880">0</cx:pt>
          <cx:pt idx="94881">1</cx:pt>
          <cx:pt idx="94882">1</cx:pt>
          <cx:pt idx="94883">0</cx:pt>
          <cx:pt idx="94884">0</cx:pt>
          <cx:pt idx="94885">0</cx:pt>
          <cx:pt idx="94886">0</cx:pt>
          <cx:pt idx="94887">1</cx:pt>
          <cx:pt idx="94888">1</cx:pt>
          <cx:pt idx="94889">1</cx:pt>
          <cx:pt idx="94890">0</cx:pt>
          <cx:pt idx="94891">0</cx:pt>
          <cx:pt idx="94892">1</cx:pt>
          <cx:pt idx="94893">1</cx:pt>
          <cx:pt idx="94894">0</cx:pt>
          <cx:pt idx="94895">0</cx:pt>
          <cx:pt idx="94896">1</cx:pt>
          <cx:pt idx="94897">1</cx:pt>
          <cx:pt idx="94898">0</cx:pt>
          <cx:pt idx="94899">0</cx:pt>
          <cx:pt idx="94900">0</cx:pt>
          <cx:pt idx="94901">0</cx:pt>
          <cx:pt idx="94902">0</cx:pt>
          <cx:pt idx="94903">0</cx:pt>
          <cx:pt idx="94904">0</cx:pt>
          <cx:pt idx="94905">0</cx:pt>
          <cx:pt idx="94906">0</cx:pt>
          <cx:pt idx="94907">0</cx:pt>
          <cx:pt idx="94908">0</cx:pt>
          <cx:pt idx="94909">0</cx:pt>
          <cx:pt idx="94910">0</cx:pt>
          <cx:pt idx="94911">1</cx:pt>
          <cx:pt idx="94912">0</cx:pt>
          <cx:pt idx="94913">1</cx:pt>
          <cx:pt idx="94914">1</cx:pt>
          <cx:pt idx="94915">0</cx:pt>
          <cx:pt idx="94916">0</cx:pt>
          <cx:pt idx="94917">1</cx:pt>
          <cx:pt idx="94918">0</cx:pt>
          <cx:pt idx="94919">1</cx:pt>
          <cx:pt idx="94920">0</cx:pt>
          <cx:pt idx="94921">0</cx:pt>
          <cx:pt idx="94922">0</cx:pt>
          <cx:pt idx="94923">0</cx:pt>
          <cx:pt idx="94924">1</cx:pt>
          <cx:pt idx="94925">0</cx:pt>
          <cx:pt idx="94926">1</cx:pt>
          <cx:pt idx="94927">1</cx:pt>
          <cx:pt idx="94928">1</cx:pt>
          <cx:pt idx="94929">0</cx:pt>
          <cx:pt idx="94930">1</cx:pt>
          <cx:pt idx="94931">1</cx:pt>
          <cx:pt idx="94932">1</cx:pt>
          <cx:pt idx="94933">0</cx:pt>
          <cx:pt idx="94934">0</cx:pt>
          <cx:pt idx="94935">0</cx:pt>
          <cx:pt idx="94936">1</cx:pt>
          <cx:pt idx="94937">1</cx:pt>
          <cx:pt idx="94938">0</cx:pt>
          <cx:pt idx="94939">0</cx:pt>
          <cx:pt idx="94940">1</cx:pt>
          <cx:pt idx="94941">0</cx:pt>
          <cx:pt idx="94942">1</cx:pt>
          <cx:pt idx="94943">1</cx:pt>
          <cx:pt idx="94944">0</cx:pt>
          <cx:pt idx="94945">1</cx:pt>
          <cx:pt idx="94946">0</cx:pt>
          <cx:pt idx="94947">1</cx:pt>
          <cx:pt idx="94948">1</cx:pt>
          <cx:pt idx="94949">0</cx:pt>
          <cx:pt idx="94950">1</cx:pt>
          <cx:pt idx="94951">0</cx:pt>
          <cx:pt idx="94952">0</cx:pt>
          <cx:pt idx="94953">1</cx:pt>
          <cx:pt idx="94954">0</cx:pt>
          <cx:pt idx="94955">0</cx:pt>
          <cx:pt idx="94956">1</cx:pt>
          <cx:pt idx="94957">0</cx:pt>
          <cx:pt idx="94958">0</cx:pt>
          <cx:pt idx="94959">1</cx:pt>
          <cx:pt idx="94960">0</cx:pt>
          <cx:pt idx="94961">0</cx:pt>
          <cx:pt idx="94962">1</cx:pt>
          <cx:pt idx="94963">1</cx:pt>
          <cx:pt idx="94964">0</cx:pt>
          <cx:pt idx="94965">1</cx:pt>
          <cx:pt idx="94966">1</cx:pt>
          <cx:pt idx="94967">0</cx:pt>
          <cx:pt idx="94968">0</cx:pt>
          <cx:pt idx="94969">1</cx:pt>
          <cx:pt idx="94970">1</cx:pt>
          <cx:pt idx="94971">0</cx:pt>
          <cx:pt idx="94972">0</cx:pt>
          <cx:pt idx="94973">0</cx:pt>
          <cx:pt idx="94974">1</cx:pt>
          <cx:pt idx="94975">1</cx:pt>
          <cx:pt idx="94976">1</cx:pt>
          <cx:pt idx="94977">1</cx:pt>
          <cx:pt idx="94978">1</cx:pt>
          <cx:pt idx="94979">1</cx:pt>
          <cx:pt idx="94980">1</cx:pt>
          <cx:pt idx="94981">0</cx:pt>
          <cx:pt idx="94982">1</cx:pt>
          <cx:pt idx="94983">1</cx:pt>
          <cx:pt idx="94984">0</cx:pt>
          <cx:pt idx="94985">0</cx:pt>
          <cx:pt idx="94986">0</cx:pt>
          <cx:pt idx="94987">0</cx:pt>
          <cx:pt idx="94988">1</cx:pt>
          <cx:pt idx="94989">0</cx:pt>
          <cx:pt idx="94990">1</cx:pt>
          <cx:pt idx="94991">1</cx:pt>
          <cx:pt idx="94992">1</cx:pt>
          <cx:pt idx="94993">0</cx:pt>
          <cx:pt idx="94994">1</cx:pt>
          <cx:pt idx="94995">0</cx:pt>
          <cx:pt idx="94996">1</cx:pt>
          <cx:pt idx="94997">1</cx:pt>
          <cx:pt idx="94998">0</cx:pt>
          <cx:pt idx="94999">1</cx:pt>
          <cx:pt idx="95000">0</cx:pt>
          <cx:pt idx="95001">1</cx:pt>
          <cx:pt idx="95002">0</cx:pt>
          <cx:pt idx="95003">0</cx:pt>
          <cx:pt idx="95004">0</cx:pt>
          <cx:pt idx="95005">0</cx:pt>
          <cx:pt idx="95006">1</cx:pt>
          <cx:pt idx="95007">0</cx:pt>
          <cx:pt idx="95008">0</cx:pt>
          <cx:pt idx="95009">0</cx:pt>
          <cx:pt idx="95010">0</cx:pt>
          <cx:pt idx="95011">1</cx:pt>
          <cx:pt idx="95012">0</cx:pt>
          <cx:pt idx="95013">1</cx:pt>
          <cx:pt idx="95014">0</cx:pt>
          <cx:pt idx="95015">0</cx:pt>
          <cx:pt idx="95016">0</cx:pt>
          <cx:pt idx="95017">0</cx:pt>
          <cx:pt idx="95018">1</cx:pt>
          <cx:pt idx="95019">1</cx:pt>
          <cx:pt idx="95020">0</cx:pt>
          <cx:pt idx="95021">1</cx:pt>
          <cx:pt idx="95022">1</cx:pt>
          <cx:pt idx="95023">1</cx:pt>
          <cx:pt idx="95024">1</cx:pt>
          <cx:pt idx="95025">0</cx:pt>
          <cx:pt idx="95026">1</cx:pt>
          <cx:pt idx="95027">0</cx:pt>
          <cx:pt idx="95028">1</cx:pt>
          <cx:pt idx="95029">0</cx:pt>
          <cx:pt idx="95030">0</cx:pt>
          <cx:pt idx="95031">0</cx:pt>
          <cx:pt idx="95032">0</cx:pt>
          <cx:pt idx="95033">0</cx:pt>
          <cx:pt idx="95034">0</cx:pt>
          <cx:pt idx="95035">0</cx:pt>
          <cx:pt idx="95036">1</cx:pt>
          <cx:pt idx="95037">0</cx:pt>
          <cx:pt idx="95038">1</cx:pt>
          <cx:pt idx="95039">1</cx:pt>
          <cx:pt idx="95040">1</cx:pt>
          <cx:pt idx="95041">0</cx:pt>
          <cx:pt idx="95042">0</cx:pt>
          <cx:pt idx="95043">1</cx:pt>
          <cx:pt idx="95044">1</cx:pt>
          <cx:pt idx="95045">0</cx:pt>
          <cx:pt idx="95046">0</cx:pt>
          <cx:pt idx="95047">0</cx:pt>
          <cx:pt idx="95048">0</cx:pt>
          <cx:pt idx="95049">1</cx:pt>
          <cx:pt idx="95050">0</cx:pt>
          <cx:pt idx="95051">1</cx:pt>
          <cx:pt idx="95052">1</cx:pt>
          <cx:pt idx="95053">0</cx:pt>
          <cx:pt idx="95054">0</cx:pt>
          <cx:pt idx="95055">0</cx:pt>
          <cx:pt idx="95056">1</cx:pt>
          <cx:pt idx="95057">0</cx:pt>
          <cx:pt idx="95058">0</cx:pt>
          <cx:pt idx="95059">0</cx:pt>
          <cx:pt idx="95060">1</cx:pt>
          <cx:pt idx="95061">1</cx:pt>
          <cx:pt idx="95062">0</cx:pt>
          <cx:pt idx="95063">0</cx:pt>
          <cx:pt idx="95064">0</cx:pt>
          <cx:pt idx="95065">0</cx:pt>
          <cx:pt idx="95066">1</cx:pt>
          <cx:pt idx="95067">0</cx:pt>
          <cx:pt idx="95068">1</cx:pt>
          <cx:pt idx="95069">0</cx:pt>
          <cx:pt idx="95070">0</cx:pt>
          <cx:pt idx="95071">1</cx:pt>
          <cx:pt idx="95072">0</cx:pt>
          <cx:pt idx="95073">1</cx:pt>
          <cx:pt idx="95074">0</cx:pt>
          <cx:pt idx="95075">1</cx:pt>
          <cx:pt idx="95076">0</cx:pt>
          <cx:pt idx="95077">0</cx:pt>
          <cx:pt idx="95078">1</cx:pt>
          <cx:pt idx="95079">1</cx:pt>
          <cx:pt idx="95080">0</cx:pt>
          <cx:pt idx="95081">0</cx:pt>
          <cx:pt idx="95082">0</cx:pt>
          <cx:pt idx="95083">0</cx:pt>
          <cx:pt idx="95084">0</cx:pt>
          <cx:pt idx="95085">1</cx:pt>
          <cx:pt idx="95086">0</cx:pt>
          <cx:pt idx="95087">1</cx:pt>
          <cx:pt idx="95088">1</cx:pt>
          <cx:pt idx="95089">0</cx:pt>
          <cx:pt idx="95090">0</cx:pt>
          <cx:pt idx="95091">1</cx:pt>
          <cx:pt idx="95092">1</cx:pt>
          <cx:pt idx="95093">0</cx:pt>
          <cx:pt idx="95094">0</cx:pt>
          <cx:pt idx="95095">1</cx:pt>
          <cx:pt idx="95096">0</cx:pt>
          <cx:pt idx="95097">1</cx:pt>
          <cx:pt idx="95098">1</cx:pt>
          <cx:pt idx="95099">0</cx:pt>
          <cx:pt idx="95100">1</cx:pt>
          <cx:pt idx="95101">0</cx:pt>
          <cx:pt idx="95102">0</cx:pt>
          <cx:pt idx="95103">1</cx:pt>
          <cx:pt idx="95104">1</cx:pt>
          <cx:pt idx="95105">0</cx:pt>
          <cx:pt idx="95106">0</cx:pt>
          <cx:pt idx="95107">0</cx:pt>
          <cx:pt idx="95108">0</cx:pt>
          <cx:pt idx="95109">1</cx:pt>
          <cx:pt idx="95110">1</cx:pt>
          <cx:pt idx="95111">0</cx:pt>
          <cx:pt idx="95112">0</cx:pt>
          <cx:pt idx="95113">0</cx:pt>
          <cx:pt idx="95114">0</cx:pt>
          <cx:pt idx="95115">0</cx:pt>
          <cx:pt idx="95116">1</cx:pt>
          <cx:pt idx="95117">0</cx:pt>
          <cx:pt idx="95118">0</cx:pt>
          <cx:pt idx="95119">1</cx:pt>
          <cx:pt idx="95120">0</cx:pt>
          <cx:pt idx="95121">0</cx:pt>
          <cx:pt idx="95122">0</cx:pt>
          <cx:pt idx="95123">0</cx:pt>
          <cx:pt idx="95124">0</cx:pt>
          <cx:pt idx="95125">0</cx:pt>
          <cx:pt idx="95126">0</cx:pt>
          <cx:pt idx="95127">0</cx:pt>
          <cx:pt idx="95128">1</cx:pt>
          <cx:pt idx="95129">0</cx:pt>
          <cx:pt idx="95130">1</cx:pt>
          <cx:pt idx="95131">1</cx:pt>
          <cx:pt idx="95132">1</cx:pt>
          <cx:pt idx="95133">0</cx:pt>
          <cx:pt idx="95134">1</cx:pt>
          <cx:pt idx="95135">1</cx:pt>
          <cx:pt idx="95136">0</cx:pt>
          <cx:pt idx="95137">0</cx:pt>
          <cx:pt idx="95138">1</cx:pt>
          <cx:pt idx="95139">0</cx:pt>
          <cx:pt idx="95140">0</cx:pt>
          <cx:pt idx="95141">0</cx:pt>
          <cx:pt idx="95142">0</cx:pt>
          <cx:pt idx="95143">0</cx:pt>
          <cx:pt idx="95144">0</cx:pt>
          <cx:pt idx="95145">0</cx:pt>
          <cx:pt idx="95146">0</cx:pt>
          <cx:pt idx="95147">1</cx:pt>
          <cx:pt idx="95148">1</cx:pt>
          <cx:pt idx="95149">0</cx:pt>
          <cx:pt idx="95150">0</cx:pt>
          <cx:pt idx="95151">0</cx:pt>
          <cx:pt idx="95152">0</cx:pt>
          <cx:pt idx="95153">0</cx:pt>
          <cx:pt idx="95154">1</cx:pt>
          <cx:pt idx="95155">0</cx:pt>
          <cx:pt idx="95156">1</cx:pt>
          <cx:pt idx="95157">1</cx:pt>
          <cx:pt idx="95158">0</cx:pt>
          <cx:pt idx="95159">1</cx:pt>
          <cx:pt idx="95160">1</cx:pt>
          <cx:pt idx="95161">1</cx:pt>
          <cx:pt idx="95162">1</cx:pt>
          <cx:pt idx="95163">0</cx:pt>
          <cx:pt idx="95164">1</cx:pt>
          <cx:pt idx="95165">0</cx:pt>
          <cx:pt idx="95166">1</cx:pt>
          <cx:pt idx="95167">0</cx:pt>
          <cx:pt idx="95168">0</cx:pt>
          <cx:pt idx="95169">0</cx:pt>
          <cx:pt idx="95170">0</cx:pt>
          <cx:pt idx="95171">0</cx:pt>
          <cx:pt idx="95172">0</cx:pt>
          <cx:pt idx="95173">0</cx:pt>
          <cx:pt idx="95174">0</cx:pt>
          <cx:pt idx="95175">0</cx:pt>
          <cx:pt idx="95176">0</cx:pt>
          <cx:pt idx="95177">1</cx:pt>
          <cx:pt idx="95178">1</cx:pt>
          <cx:pt idx="95179">0</cx:pt>
          <cx:pt idx="95180">1</cx:pt>
          <cx:pt idx="95181">1</cx:pt>
          <cx:pt idx="95182">0</cx:pt>
          <cx:pt idx="95183">1</cx:pt>
          <cx:pt idx="95184">0</cx:pt>
          <cx:pt idx="95185">0</cx:pt>
          <cx:pt idx="95186">1</cx:pt>
          <cx:pt idx="95187">1</cx:pt>
          <cx:pt idx="95188">0</cx:pt>
          <cx:pt idx="95189">1</cx:pt>
          <cx:pt idx="95190">0</cx:pt>
          <cx:pt idx="95191">0</cx:pt>
          <cx:pt idx="95192">0</cx:pt>
          <cx:pt idx="95193">0</cx:pt>
          <cx:pt idx="95194">1</cx:pt>
          <cx:pt idx="95195">0</cx:pt>
          <cx:pt idx="95196">1</cx:pt>
          <cx:pt idx="95197">1</cx:pt>
          <cx:pt idx="95198">1</cx:pt>
          <cx:pt idx="95199">1</cx:pt>
          <cx:pt idx="95200">0</cx:pt>
          <cx:pt idx="95201">0</cx:pt>
          <cx:pt idx="95202">1</cx:pt>
          <cx:pt idx="95203">1</cx:pt>
          <cx:pt idx="95204">0</cx:pt>
          <cx:pt idx="95205">1</cx:pt>
          <cx:pt idx="95206">1</cx:pt>
          <cx:pt idx="95207">0</cx:pt>
          <cx:pt idx="95208">1</cx:pt>
          <cx:pt idx="95209">0</cx:pt>
          <cx:pt idx="95210">0</cx:pt>
          <cx:pt idx="95211">1</cx:pt>
          <cx:pt idx="95212">0</cx:pt>
          <cx:pt idx="95213">1</cx:pt>
          <cx:pt idx="95214">0</cx:pt>
          <cx:pt idx="95215">1</cx:pt>
          <cx:pt idx="95216">0</cx:pt>
          <cx:pt idx="95217">0</cx:pt>
          <cx:pt idx="95218">0</cx:pt>
          <cx:pt idx="95219">1</cx:pt>
          <cx:pt idx="95220">1</cx:pt>
          <cx:pt idx="95221">0</cx:pt>
          <cx:pt idx="95222">1</cx:pt>
          <cx:pt idx="95223">0</cx:pt>
          <cx:pt idx="95224">1</cx:pt>
          <cx:pt idx="95225">0</cx:pt>
          <cx:pt idx="95226">1</cx:pt>
          <cx:pt idx="95227">1</cx:pt>
          <cx:pt idx="95228">0</cx:pt>
          <cx:pt idx="95229">1</cx:pt>
          <cx:pt idx="95230">0</cx:pt>
          <cx:pt idx="95231">0</cx:pt>
          <cx:pt idx="95232">0</cx:pt>
          <cx:pt idx="95233">0</cx:pt>
          <cx:pt idx="95234">1</cx:pt>
          <cx:pt idx="95235">1</cx:pt>
          <cx:pt idx="95236">1</cx:pt>
          <cx:pt idx="95237">0</cx:pt>
          <cx:pt idx="95238">0</cx:pt>
          <cx:pt idx="95239">1</cx:pt>
          <cx:pt idx="95240">0</cx:pt>
          <cx:pt idx="95241">1</cx:pt>
          <cx:pt idx="95242">1</cx:pt>
          <cx:pt idx="95243">0</cx:pt>
          <cx:pt idx="95244">0</cx:pt>
          <cx:pt idx="95245">0</cx:pt>
          <cx:pt idx="95246">1</cx:pt>
          <cx:pt idx="95247">0</cx:pt>
          <cx:pt idx="95248">1</cx:pt>
          <cx:pt idx="95249">0</cx:pt>
          <cx:pt idx="95250">0</cx:pt>
          <cx:pt idx="95251">0</cx:pt>
          <cx:pt idx="95252">0</cx:pt>
          <cx:pt idx="95253">1</cx:pt>
          <cx:pt idx="95254">0</cx:pt>
          <cx:pt idx="95255">0</cx:pt>
          <cx:pt idx="95256">0</cx:pt>
          <cx:pt idx="95257">1</cx:pt>
          <cx:pt idx="95258">0</cx:pt>
          <cx:pt idx="95259">0</cx:pt>
          <cx:pt idx="95260">1</cx:pt>
          <cx:pt idx="95261">1</cx:pt>
          <cx:pt idx="95262">1</cx:pt>
          <cx:pt idx="95263">1</cx:pt>
          <cx:pt idx="95264">1</cx:pt>
          <cx:pt idx="95265">1</cx:pt>
          <cx:pt idx="95266">0</cx:pt>
          <cx:pt idx="95267">0</cx:pt>
          <cx:pt idx="95268">0</cx:pt>
          <cx:pt idx="95269">0</cx:pt>
          <cx:pt idx="95270">1</cx:pt>
          <cx:pt idx="95271">0</cx:pt>
          <cx:pt idx="95272">0</cx:pt>
          <cx:pt idx="95273">0</cx:pt>
          <cx:pt idx="95274">0</cx:pt>
          <cx:pt idx="95275">0</cx:pt>
          <cx:pt idx="95276">0</cx:pt>
          <cx:pt idx="95277">0</cx:pt>
          <cx:pt idx="95278">0</cx:pt>
          <cx:pt idx="95279">1</cx:pt>
          <cx:pt idx="95280">1</cx:pt>
          <cx:pt idx="95281">0</cx:pt>
          <cx:pt idx="95282">0</cx:pt>
          <cx:pt idx="95283">0</cx:pt>
          <cx:pt idx="95284">0</cx:pt>
          <cx:pt idx="95285">1</cx:pt>
          <cx:pt idx="95286">1</cx:pt>
          <cx:pt idx="95287">0</cx:pt>
          <cx:pt idx="95288">1</cx:pt>
          <cx:pt idx="95289">0</cx:pt>
          <cx:pt idx="95290">0</cx:pt>
          <cx:pt idx="95291">0</cx:pt>
          <cx:pt idx="95292">0</cx:pt>
          <cx:pt idx="95293">0</cx:pt>
          <cx:pt idx="95294">0</cx:pt>
          <cx:pt idx="95295">0</cx:pt>
          <cx:pt idx="95296">0</cx:pt>
          <cx:pt idx="95297">1</cx:pt>
          <cx:pt idx="95298">0</cx:pt>
          <cx:pt idx="95299">0</cx:pt>
          <cx:pt idx="95300">1</cx:pt>
          <cx:pt idx="95301">0</cx:pt>
          <cx:pt idx="95302">0</cx:pt>
          <cx:pt idx="95303">1</cx:pt>
          <cx:pt idx="95304">0</cx:pt>
          <cx:pt idx="95305">0</cx:pt>
          <cx:pt idx="95306">1</cx:pt>
          <cx:pt idx="95307">1</cx:pt>
          <cx:pt idx="95308">0</cx:pt>
          <cx:pt idx="95309">1</cx:pt>
          <cx:pt idx="95310">1</cx:pt>
          <cx:pt idx="95311">1</cx:pt>
          <cx:pt idx="95312">0</cx:pt>
          <cx:pt idx="95313">1</cx:pt>
          <cx:pt idx="95314">0</cx:pt>
          <cx:pt idx="95315">0</cx:pt>
          <cx:pt idx="95316">1</cx:pt>
          <cx:pt idx="95317">0</cx:pt>
          <cx:pt idx="95318">0</cx:pt>
          <cx:pt idx="95319">1</cx:pt>
          <cx:pt idx="95320">1</cx:pt>
          <cx:pt idx="95321">1</cx:pt>
          <cx:pt idx="95322">1</cx:pt>
          <cx:pt idx="95323">0</cx:pt>
          <cx:pt idx="95324">0</cx:pt>
          <cx:pt idx="95325">1</cx:pt>
          <cx:pt idx="95326">0</cx:pt>
          <cx:pt idx="95327">0</cx:pt>
          <cx:pt idx="95328">0</cx:pt>
          <cx:pt idx="95329">1</cx:pt>
          <cx:pt idx="95330">0</cx:pt>
          <cx:pt idx="95331">1</cx:pt>
          <cx:pt idx="95332">0</cx:pt>
          <cx:pt idx="95333">1</cx:pt>
          <cx:pt idx="95334">1</cx:pt>
          <cx:pt idx="95335">0</cx:pt>
          <cx:pt idx="95336">1</cx:pt>
          <cx:pt idx="95337">0</cx:pt>
          <cx:pt idx="95338">1</cx:pt>
          <cx:pt idx="95339">1</cx:pt>
          <cx:pt idx="95340">1</cx:pt>
          <cx:pt idx="95341">0</cx:pt>
          <cx:pt idx="95342">1</cx:pt>
          <cx:pt idx="95343">1</cx:pt>
          <cx:pt idx="95344">1</cx:pt>
          <cx:pt idx="95345">0</cx:pt>
          <cx:pt idx="95346">0</cx:pt>
          <cx:pt idx="95347">0</cx:pt>
          <cx:pt idx="95348">1</cx:pt>
          <cx:pt idx="95349">0</cx:pt>
          <cx:pt idx="95350">0</cx:pt>
          <cx:pt idx="95351">0</cx:pt>
          <cx:pt idx="95352">1</cx:pt>
          <cx:pt idx="95353">0</cx:pt>
          <cx:pt idx="95354">1</cx:pt>
          <cx:pt idx="95355">0</cx:pt>
          <cx:pt idx="95356">0</cx:pt>
          <cx:pt idx="95357">0</cx:pt>
          <cx:pt idx="95358">0</cx:pt>
          <cx:pt idx="95359">1</cx:pt>
          <cx:pt idx="95360">0</cx:pt>
          <cx:pt idx="95361">1</cx:pt>
          <cx:pt idx="95362">1</cx:pt>
          <cx:pt idx="95363">0</cx:pt>
          <cx:pt idx="95364">1</cx:pt>
          <cx:pt idx="95365">0</cx:pt>
          <cx:pt idx="95366">1</cx:pt>
          <cx:pt idx="95367">1</cx:pt>
          <cx:pt idx="95368">0</cx:pt>
          <cx:pt idx="95369">1</cx:pt>
          <cx:pt idx="95370">0</cx:pt>
          <cx:pt idx="95371">0</cx:pt>
          <cx:pt idx="95372">0</cx:pt>
          <cx:pt idx="95373">1</cx:pt>
          <cx:pt idx="95374">1</cx:pt>
          <cx:pt idx="95375">1</cx:pt>
          <cx:pt idx="95376">0</cx:pt>
          <cx:pt idx="95377">0</cx:pt>
          <cx:pt idx="95378">0</cx:pt>
          <cx:pt idx="95379">0</cx:pt>
          <cx:pt idx="95380">1</cx:pt>
          <cx:pt idx="95381">0</cx:pt>
          <cx:pt idx="95382">1</cx:pt>
          <cx:pt idx="95383">0</cx:pt>
          <cx:pt idx="95384">0</cx:pt>
          <cx:pt idx="95385">1</cx:pt>
          <cx:pt idx="95386">1</cx:pt>
          <cx:pt idx="95387">1</cx:pt>
          <cx:pt idx="95388">0</cx:pt>
          <cx:pt idx="95389">0</cx:pt>
          <cx:pt idx="95390">1</cx:pt>
          <cx:pt idx="95391">1</cx:pt>
          <cx:pt idx="95392">1</cx:pt>
          <cx:pt idx="95393">0</cx:pt>
          <cx:pt idx="95394">0</cx:pt>
          <cx:pt idx="95395">0</cx:pt>
          <cx:pt idx="95396">1</cx:pt>
          <cx:pt idx="95397">1</cx:pt>
          <cx:pt idx="95398">1</cx:pt>
          <cx:pt idx="95399">0</cx:pt>
          <cx:pt idx="95400">1</cx:pt>
          <cx:pt idx="95401">0</cx:pt>
          <cx:pt idx="95402">1</cx:pt>
          <cx:pt idx="95403">0</cx:pt>
          <cx:pt idx="95404">1</cx:pt>
          <cx:pt idx="95405">0</cx:pt>
          <cx:pt idx="95406">0</cx:pt>
          <cx:pt idx="95407">1</cx:pt>
          <cx:pt idx="95408">0</cx:pt>
          <cx:pt idx="95409">0</cx:pt>
          <cx:pt idx="95410">0</cx:pt>
          <cx:pt idx="95411">0</cx:pt>
          <cx:pt idx="95412">1</cx:pt>
          <cx:pt idx="95413">0</cx:pt>
          <cx:pt idx="95414">0</cx:pt>
          <cx:pt idx="95415">1</cx:pt>
          <cx:pt idx="95416">0</cx:pt>
          <cx:pt idx="95417">0</cx:pt>
          <cx:pt idx="95418">1</cx:pt>
          <cx:pt idx="95419">0</cx:pt>
          <cx:pt idx="95420">0</cx:pt>
          <cx:pt idx="95421">0</cx:pt>
          <cx:pt idx="95422">1</cx:pt>
          <cx:pt idx="95423">0</cx:pt>
          <cx:pt idx="95424">0</cx:pt>
          <cx:pt idx="95425">1</cx:pt>
          <cx:pt idx="95426">0</cx:pt>
          <cx:pt idx="95427">1</cx:pt>
          <cx:pt idx="95428">0</cx:pt>
          <cx:pt idx="95429">1</cx:pt>
          <cx:pt idx="95430">1</cx:pt>
          <cx:pt idx="95431">0</cx:pt>
          <cx:pt idx="95432">1</cx:pt>
          <cx:pt idx="95433">0</cx:pt>
          <cx:pt idx="95434">0</cx:pt>
          <cx:pt idx="95435">0</cx:pt>
          <cx:pt idx="95436">0</cx:pt>
          <cx:pt idx="95437">0</cx:pt>
          <cx:pt idx="95438">0</cx:pt>
          <cx:pt idx="95439">0</cx:pt>
          <cx:pt idx="95440">0</cx:pt>
          <cx:pt idx="95441">0</cx:pt>
          <cx:pt idx="95442">1</cx:pt>
          <cx:pt idx="95443">0</cx:pt>
          <cx:pt idx="95444">0</cx:pt>
          <cx:pt idx="95445">0</cx:pt>
          <cx:pt idx="95446">0</cx:pt>
          <cx:pt idx="95447">0</cx:pt>
          <cx:pt idx="95448">0</cx:pt>
          <cx:pt idx="95449">1</cx:pt>
          <cx:pt idx="95450">0</cx:pt>
          <cx:pt idx="95451">0</cx:pt>
          <cx:pt idx="95452">0</cx:pt>
          <cx:pt idx="95453">1</cx:pt>
          <cx:pt idx="95454">1</cx:pt>
          <cx:pt idx="95455">0</cx:pt>
          <cx:pt idx="95456">1</cx:pt>
          <cx:pt idx="95457">0</cx:pt>
          <cx:pt idx="95458">0</cx:pt>
          <cx:pt idx="95459">0</cx:pt>
          <cx:pt idx="95460">1</cx:pt>
          <cx:pt idx="95461">1</cx:pt>
          <cx:pt idx="95462">0</cx:pt>
          <cx:pt idx="95463">0</cx:pt>
          <cx:pt idx="95464">1</cx:pt>
          <cx:pt idx="95465">0</cx:pt>
          <cx:pt idx="95466">0</cx:pt>
          <cx:pt idx="95467">0</cx:pt>
          <cx:pt idx="95468">0</cx:pt>
          <cx:pt idx="95469">1</cx:pt>
          <cx:pt idx="95470">0</cx:pt>
          <cx:pt idx="95471">0</cx:pt>
          <cx:pt idx="95472">1</cx:pt>
          <cx:pt idx="95473">0</cx:pt>
          <cx:pt idx="95474">1</cx:pt>
          <cx:pt idx="95475">1</cx:pt>
          <cx:pt idx="95476">0</cx:pt>
          <cx:pt idx="95477">0</cx:pt>
          <cx:pt idx="95478">0</cx:pt>
          <cx:pt idx="95479">1</cx:pt>
          <cx:pt idx="95480">0</cx:pt>
          <cx:pt idx="95481">0</cx:pt>
          <cx:pt idx="95482">1</cx:pt>
          <cx:pt idx="95483">0</cx:pt>
          <cx:pt idx="95484">1</cx:pt>
          <cx:pt idx="95485">0</cx:pt>
          <cx:pt idx="95486">1</cx:pt>
          <cx:pt idx="95487">1</cx:pt>
          <cx:pt idx="95488">0</cx:pt>
          <cx:pt idx="95489">1</cx:pt>
          <cx:pt idx="95490">1</cx:pt>
          <cx:pt idx="95491">0</cx:pt>
          <cx:pt idx="95492">1</cx:pt>
          <cx:pt idx="95493">0</cx:pt>
          <cx:pt idx="95494">1</cx:pt>
          <cx:pt idx="95495">1</cx:pt>
          <cx:pt idx="95496">0</cx:pt>
          <cx:pt idx="95497">1</cx:pt>
          <cx:pt idx="95498">0</cx:pt>
          <cx:pt idx="95499">1</cx:pt>
          <cx:pt idx="95500">0</cx:pt>
          <cx:pt idx="95501">1</cx:pt>
          <cx:pt idx="95502">1</cx:pt>
          <cx:pt idx="95503">0</cx:pt>
          <cx:pt idx="95504">0</cx:pt>
          <cx:pt idx="95505">0</cx:pt>
          <cx:pt idx="95506">0</cx:pt>
          <cx:pt idx="95507">0</cx:pt>
          <cx:pt idx="95508">1</cx:pt>
          <cx:pt idx="95509">0</cx:pt>
          <cx:pt idx="95510">0</cx:pt>
          <cx:pt idx="95511">0</cx:pt>
          <cx:pt idx="95512">0</cx:pt>
          <cx:pt idx="95513">1</cx:pt>
          <cx:pt idx="95514">0</cx:pt>
          <cx:pt idx="95515">0</cx:pt>
          <cx:pt idx="95516">0</cx:pt>
          <cx:pt idx="95517">1</cx:pt>
          <cx:pt idx="95518">0</cx:pt>
          <cx:pt idx="95519">0</cx:pt>
          <cx:pt idx="95520">0</cx:pt>
          <cx:pt idx="95521">1</cx:pt>
          <cx:pt idx="95522">1</cx:pt>
          <cx:pt idx="95523">0</cx:pt>
          <cx:pt idx="95524">0</cx:pt>
          <cx:pt idx="95525">1</cx:pt>
          <cx:pt idx="95526">0</cx:pt>
          <cx:pt idx="95527">1</cx:pt>
          <cx:pt idx="95528">1</cx:pt>
          <cx:pt idx="95529">0</cx:pt>
          <cx:pt idx="95530">1</cx:pt>
          <cx:pt idx="95531">0</cx:pt>
          <cx:pt idx="95532">0</cx:pt>
          <cx:pt idx="95533">0</cx:pt>
          <cx:pt idx="95534">0</cx:pt>
          <cx:pt idx="95535">0</cx:pt>
          <cx:pt idx="95536">0</cx:pt>
          <cx:pt idx="95537">0</cx:pt>
          <cx:pt idx="95538">0</cx:pt>
          <cx:pt idx="95539">0</cx:pt>
          <cx:pt idx="95540">1</cx:pt>
          <cx:pt idx="95541">1</cx:pt>
          <cx:pt idx="95542">0</cx:pt>
          <cx:pt idx="95543">0</cx:pt>
          <cx:pt idx="95544">0</cx:pt>
          <cx:pt idx="95545">1</cx:pt>
          <cx:pt idx="95546">0</cx:pt>
          <cx:pt idx="95547">0</cx:pt>
          <cx:pt idx="95548">0</cx:pt>
          <cx:pt idx="95549">1</cx:pt>
          <cx:pt idx="95550">1</cx:pt>
          <cx:pt idx="95551">0</cx:pt>
          <cx:pt idx="95552">1</cx:pt>
          <cx:pt idx="95553">0</cx:pt>
          <cx:pt idx="95554">1</cx:pt>
          <cx:pt idx="95555">0</cx:pt>
          <cx:pt idx="95556">0</cx:pt>
          <cx:pt idx="95557">1</cx:pt>
          <cx:pt idx="95558">1</cx:pt>
          <cx:pt idx="95559">0</cx:pt>
          <cx:pt idx="95560">0</cx:pt>
          <cx:pt idx="95561">0</cx:pt>
          <cx:pt idx="95562">0</cx:pt>
          <cx:pt idx="95563">0</cx:pt>
          <cx:pt idx="95564">0</cx:pt>
          <cx:pt idx="95565">1</cx:pt>
          <cx:pt idx="95566">0</cx:pt>
          <cx:pt idx="95567">0</cx:pt>
          <cx:pt idx="95568">0</cx:pt>
          <cx:pt idx="95569">1</cx:pt>
          <cx:pt idx="95570">1</cx:pt>
          <cx:pt idx="95571">0</cx:pt>
          <cx:pt idx="95572">1</cx:pt>
          <cx:pt idx="95573">1</cx:pt>
          <cx:pt idx="95574">1</cx:pt>
          <cx:pt idx="95575">1</cx:pt>
          <cx:pt idx="95576">0</cx:pt>
          <cx:pt idx="95577">1</cx:pt>
          <cx:pt idx="95578">0</cx:pt>
          <cx:pt idx="95579">0</cx:pt>
          <cx:pt idx="95580">0</cx:pt>
          <cx:pt idx="95581">1</cx:pt>
          <cx:pt idx="95582">0</cx:pt>
          <cx:pt idx="95583">1</cx:pt>
          <cx:pt idx="95584">1</cx:pt>
          <cx:pt idx="95585">1</cx:pt>
          <cx:pt idx="95586">0</cx:pt>
          <cx:pt idx="95587">1</cx:pt>
          <cx:pt idx="95588">1</cx:pt>
          <cx:pt idx="95589">0</cx:pt>
          <cx:pt idx="95590">0</cx:pt>
          <cx:pt idx="95591">1</cx:pt>
          <cx:pt idx="95592">0</cx:pt>
          <cx:pt idx="95593">0</cx:pt>
          <cx:pt idx="95594">0</cx:pt>
          <cx:pt idx="95595">1</cx:pt>
          <cx:pt idx="95596">0</cx:pt>
          <cx:pt idx="95597">1</cx:pt>
          <cx:pt idx="95598">1</cx:pt>
          <cx:pt idx="95599">1</cx:pt>
          <cx:pt idx="95600">1</cx:pt>
          <cx:pt idx="95601">1</cx:pt>
          <cx:pt idx="95602">0</cx:pt>
          <cx:pt idx="95603">1</cx:pt>
          <cx:pt idx="95604">1</cx:pt>
          <cx:pt idx="95605">1</cx:pt>
          <cx:pt idx="95606">0</cx:pt>
          <cx:pt idx="95607">0</cx:pt>
          <cx:pt idx="95608">1</cx:pt>
          <cx:pt idx="95609">0</cx:pt>
          <cx:pt idx="95610">1</cx:pt>
          <cx:pt idx="95611">0</cx:pt>
          <cx:pt idx="95612">0</cx:pt>
          <cx:pt idx="95613">1</cx:pt>
          <cx:pt idx="95614">1</cx:pt>
          <cx:pt idx="95615">0</cx:pt>
          <cx:pt idx="95616">1</cx:pt>
          <cx:pt idx="95617">0</cx:pt>
          <cx:pt idx="95618">0</cx:pt>
          <cx:pt idx="95619">0</cx:pt>
          <cx:pt idx="95620">1</cx:pt>
          <cx:pt idx="95621">1</cx:pt>
          <cx:pt idx="95622">1</cx:pt>
          <cx:pt idx="95623">1</cx:pt>
          <cx:pt idx="95624">1</cx:pt>
          <cx:pt idx="95625">1</cx:pt>
          <cx:pt idx="95626">0</cx:pt>
          <cx:pt idx="95627">1</cx:pt>
          <cx:pt idx="95628">0</cx:pt>
          <cx:pt idx="95629">1</cx:pt>
          <cx:pt idx="95630">0</cx:pt>
          <cx:pt idx="95631">0</cx:pt>
          <cx:pt idx="95632">0</cx:pt>
          <cx:pt idx="95633">0</cx:pt>
          <cx:pt idx="95634">0</cx:pt>
          <cx:pt idx="95635">1</cx:pt>
          <cx:pt idx="95636">1</cx:pt>
          <cx:pt idx="95637">0</cx:pt>
          <cx:pt idx="95638">1</cx:pt>
          <cx:pt idx="95639">0</cx:pt>
          <cx:pt idx="95640">1</cx:pt>
          <cx:pt idx="95641">0</cx:pt>
          <cx:pt idx="95642">0</cx:pt>
          <cx:pt idx="95643">0</cx:pt>
          <cx:pt idx="95644">1</cx:pt>
          <cx:pt idx="95645">1</cx:pt>
          <cx:pt idx="95646">0</cx:pt>
          <cx:pt idx="95647">1</cx:pt>
          <cx:pt idx="95648">0</cx:pt>
          <cx:pt idx="95649">1</cx:pt>
          <cx:pt idx="95650">0</cx:pt>
          <cx:pt idx="95651">0</cx:pt>
          <cx:pt idx="95652">0</cx:pt>
          <cx:pt idx="95653">1</cx:pt>
          <cx:pt idx="95654">1</cx:pt>
          <cx:pt idx="95655">0</cx:pt>
          <cx:pt idx="95656">1</cx:pt>
          <cx:pt idx="95657">0</cx:pt>
          <cx:pt idx="95658">1</cx:pt>
          <cx:pt idx="95659">0</cx:pt>
          <cx:pt idx="95660">1</cx:pt>
          <cx:pt idx="95661">0</cx:pt>
          <cx:pt idx="95662">0</cx:pt>
          <cx:pt idx="95663">0</cx:pt>
          <cx:pt idx="95664">1</cx:pt>
          <cx:pt idx="95665">1</cx:pt>
          <cx:pt idx="95666">0</cx:pt>
          <cx:pt idx="95667">0</cx:pt>
          <cx:pt idx="95668">1</cx:pt>
          <cx:pt idx="95669">1</cx:pt>
          <cx:pt idx="95670">1</cx:pt>
          <cx:pt idx="95671">0</cx:pt>
          <cx:pt idx="95672">1</cx:pt>
          <cx:pt idx="95673">0</cx:pt>
          <cx:pt idx="95674">0</cx:pt>
          <cx:pt idx="95675">0</cx:pt>
          <cx:pt idx="95676">1</cx:pt>
          <cx:pt idx="95677">0</cx:pt>
          <cx:pt idx="95678">0</cx:pt>
          <cx:pt idx="95679">0</cx:pt>
          <cx:pt idx="95680">1</cx:pt>
          <cx:pt idx="95681">1</cx:pt>
          <cx:pt idx="95682">1</cx:pt>
          <cx:pt idx="95683">0</cx:pt>
          <cx:pt idx="95684">0</cx:pt>
          <cx:pt idx="95685">1</cx:pt>
          <cx:pt idx="95686">0</cx:pt>
          <cx:pt idx="95687">0</cx:pt>
          <cx:pt idx="95688">1</cx:pt>
          <cx:pt idx="95689">0</cx:pt>
          <cx:pt idx="95690">0</cx:pt>
          <cx:pt idx="95691">0</cx:pt>
          <cx:pt idx="95692">0</cx:pt>
          <cx:pt idx="95693">1</cx:pt>
          <cx:pt idx="95694">1</cx:pt>
          <cx:pt idx="95695">0</cx:pt>
          <cx:pt idx="95696">0</cx:pt>
          <cx:pt idx="95697">0</cx:pt>
          <cx:pt idx="95698">1</cx:pt>
          <cx:pt idx="95699">0</cx:pt>
          <cx:pt idx="95700">1</cx:pt>
          <cx:pt idx="95701">0</cx:pt>
          <cx:pt idx="95702">1</cx:pt>
          <cx:pt idx="95703">1</cx:pt>
          <cx:pt idx="95704">0</cx:pt>
          <cx:pt idx="95705">0</cx:pt>
          <cx:pt idx="95706">0</cx:pt>
          <cx:pt idx="95707">0</cx:pt>
          <cx:pt idx="95708">1</cx:pt>
          <cx:pt idx="95709">0</cx:pt>
          <cx:pt idx="95710">1</cx:pt>
          <cx:pt idx="95711">0</cx:pt>
          <cx:pt idx="95712">1</cx:pt>
          <cx:pt idx="95713">0</cx:pt>
          <cx:pt idx="95714">1</cx:pt>
          <cx:pt idx="95715">1</cx:pt>
          <cx:pt idx="95716">0</cx:pt>
          <cx:pt idx="95717">1</cx:pt>
          <cx:pt idx="95718">1</cx:pt>
          <cx:pt idx="95719">1</cx:pt>
          <cx:pt idx="95720">0</cx:pt>
          <cx:pt idx="95721">1</cx:pt>
          <cx:pt idx="95722">0</cx:pt>
          <cx:pt idx="95723">1</cx:pt>
          <cx:pt idx="95724">1</cx:pt>
          <cx:pt idx="95725">0</cx:pt>
          <cx:pt idx="95726">0</cx:pt>
          <cx:pt idx="95727">0</cx:pt>
          <cx:pt idx="95728">0</cx:pt>
          <cx:pt idx="95729">0</cx:pt>
          <cx:pt idx="95730">0</cx:pt>
          <cx:pt idx="95731">0</cx:pt>
          <cx:pt idx="95732">0</cx:pt>
          <cx:pt idx="95733">1</cx:pt>
          <cx:pt idx="95734">1</cx:pt>
          <cx:pt idx="95735">0</cx:pt>
          <cx:pt idx="95736">1</cx:pt>
          <cx:pt idx="95737">1</cx:pt>
          <cx:pt idx="95738">1</cx:pt>
          <cx:pt idx="95739">0</cx:pt>
          <cx:pt idx="95740">0</cx:pt>
          <cx:pt idx="95741">0</cx:pt>
          <cx:pt idx="95742">1</cx:pt>
          <cx:pt idx="95743">1</cx:pt>
          <cx:pt idx="95744">1</cx:pt>
          <cx:pt idx="95745">0</cx:pt>
          <cx:pt idx="95746">1</cx:pt>
          <cx:pt idx="95747">0</cx:pt>
          <cx:pt idx="95748">1</cx:pt>
          <cx:pt idx="95749">1</cx:pt>
          <cx:pt idx="95750">0</cx:pt>
          <cx:pt idx="95751">0</cx:pt>
          <cx:pt idx="95752">1</cx:pt>
          <cx:pt idx="95753">0</cx:pt>
          <cx:pt idx="95754">1</cx:pt>
          <cx:pt idx="95755">0</cx:pt>
          <cx:pt idx="95756">0</cx:pt>
          <cx:pt idx="95757">1</cx:pt>
          <cx:pt idx="95758">1</cx:pt>
          <cx:pt idx="95759">1</cx:pt>
          <cx:pt idx="95760">0</cx:pt>
          <cx:pt idx="95761">1</cx:pt>
          <cx:pt idx="95762">1</cx:pt>
          <cx:pt idx="95763">0</cx:pt>
          <cx:pt idx="95764">0</cx:pt>
          <cx:pt idx="95765">1</cx:pt>
          <cx:pt idx="95766">1</cx:pt>
          <cx:pt idx="95767">1</cx:pt>
          <cx:pt idx="95768">0</cx:pt>
          <cx:pt idx="95769">1</cx:pt>
          <cx:pt idx="95770">1</cx:pt>
          <cx:pt idx="95771">0</cx:pt>
          <cx:pt idx="95772">0</cx:pt>
          <cx:pt idx="95773">0</cx:pt>
          <cx:pt idx="95774">0</cx:pt>
          <cx:pt idx="95775">0</cx:pt>
          <cx:pt idx="95776">1</cx:pt>
          <cx:pt idx="95777">1</cx:pt>
          <cx:pt idx="95778">1</cx:pt>
          <cx:pt idx="95779">0</cx:pt>
          <cx:pt idx="95780">1</cx:pt>
          <cx:pt idx="95781">0</cx:pt>
          <cx:pt idx="95782">0</cx:pt>
          <cx:pt idx="95783">1</cx:pt>
          <cx:pt idx="95784">1</cx:pt>
          <cx:pt idx="95785">0</cx:pt>
          <cx:pt idx="95786">0</cx:pt>
          <cx:pt idx="95787">1</cx:pt>
          <cx:pt idx="95788">1</cx:pt>
          <cx:pt idx="95789">0</cx:pt>
          <cx:pt idx="95790">1</cx:pt>
          <cx:pt idx="95791">0</cx:pt>
          <cx:pt idx="95792">0</cx:pt>
          <cx:pt idx="95793">0</cx:pt>
          <cx:pt idx="95794">1</cx:pt>
          <cx:pt idx="95795">1</cx:pt>
          <cx:pt idx="95796">0</cx:pt>
          <cx:pt idx="95797">1</cx:pt>
          <cx:pt idx="95798">0</cx:pt>
          <cx:pt idx="95799">0</cx:pt>
          <cx:pt idx="95800">1</cx:pt>
          <cx:pt idx="95801">0</cx:pt>
          <cx:pt idx="95802">0</cx:pt>
          <cx:pt idx="95803">0</cx:pt>
          <cx:pt idx="95804">0</cx:pt>
          <cx:pt idx="95805">1</cx:pt>
          <cx:pt idx="95806">1</cx:pt>
          <cx:pt idx="95807">0</cx:pt>
          <cx:pt idx="95808">0</cx:pt>
          <cx:pt idx="95809">0</cx:pt>
          <cx:pt idx="95810">0</cx:pt>
          <cx:pt idx="95811">1</cx:pt>
          <cx:pt idx="95812">0</cx:pt>
          <cx:pt idx="95813">0</cx:pt>
          <cx:pt idx="95814">0</cx:pt>
          <cx:pt idx="95815">0</cx:pt>
          <cx:pt idx="95816">0</cx:pt>
          <cx:pt idx="95817">1</cx:pt>
          <cx:pt idx="95818">0</cx:pt>
          <cx:pt idx="95819">0</cx:pt>
          <cx:pt idx="95820">0</cx:pt>
          <cx:pt idx="95821">1</cx:pt>
          <cx:pt idx="95822">0</cx:pt>
          <cx:pt idx="95823">1</cx:pt>
          <cx:pt idx="95824">0</cx:pt>
          <cx:pt idx="95825">1</cx:pt>
          <cx:pt idx="95826">1</cx:pt>
          <cx:pt idx="95827">0</cx:pt>
          <cx:pt idx="95828">0</cx:pt>
          <cx:pt idx="95829">1</cx:pt>
          <cx:pt idx="95830">1</cx:pt>
          <cx:pt idx="95831">1</cx:pt>
          <cx:pt idx="95832">0</cx:pt>
          <cx:pt idx="95833">0</cx:pt>
          <cx:pt idx="95834">0</cx:pt>
          <cx:pt idx="95835">0</cx:pt>
          <cx:pt idx="95836">1</cx:pt>
          <cx:pt idx="95837">0</cx:pt>
          <cx:pt idx="95838">1</cx:pt>
          <cx:pt idx="95839">1</cx:pt>
          <cx:pt idx="95840">0</cx:pt>
          <cx:pt idx="95841">0</cx:pt>
          <cx:pt idx="95842">1</cx:pt>
          <cx:pt idx="95843">1</cx:pt>
          <cx:pt idx="95844">0</cx:pt>
          <cx:pt idx="95845">1</cx:pt>
          <cx:pt idx="95846">1</cx:pt>
          <cx:pt idx="95847">0</cx:pt>
          <cx:pt idx="95848">0</cx:pt>
          <cx:pt idx="95849">0</cx:pt>
          <cx:pt idx="95850">0</cx:pt>
          <cx:pt idx="95851">1</cx:pt>
          <cx:pt idx="95852">0</cx:pt>
          <cx:pt idx="95853">1</cx:pt>
          <cx:pt idx="95854">0</cx:pt>
          <cx:pt idx="95855">1</cx:pt>
          <cx:pt idx="95856">0</cx:pt>
          <cx:pt idx="95857">1</cx:pt>
          <cx:pt idx="95858">1</cx:pt>
          <cx:pt idx="95859">0</cx:pt>
          <cx:pt idx="95860">0</cx:pt>
          <cx:pt idx="95861">0</cx:pt>
          <cx:pt idx="95862">0</cx:pt>
          <cx:pt idx="95863">0</cx:pt>
          <cx:pt idx="95864">1</cx:pt>
          <cx:pt idx="95865">1</cx:pt>
          <cx:pt idx="95866">1</cx:pt>
          <cx:pt idx="95867">0</cx:pt>
          <cx:pt idx="95868">1</cx:pt>
          <cx:pt idx="95869">1</cx:pt>
          <cx:pt idx="95870">1</cx:pt>
          <cx:pt idx="95871">1</cx:pt>
          <cx:pt idx="95872">0</cx:pt>
          <cx:pt idx="95873">1</cx:pt>
          <cx:pt idx="95874">0</cx:pt>
          <cx:pt idx="95875">0</cx:pt>
          <cx:pt idx="95876">0</cx:pt>
          <cx:pt idx="95877">1</cx:pt>
          <cx:pt idx="95878">1</cx:pt>
          <cx:pt idx="95879">0</cx:pt>
          <cx:pt idx="95880">1</cx:pt>
          <cx:pt idx="95881">0</cx:pt>
          <cx:pt idx="95882">0</cx:pt>
          <cx:pt idx="95883">0</cx:pt>
          <cx:pt idx="95884">0</cx:pt>
          <cx:pt idx="95885">1</cx:pt>
          <cx:pt idx="95886">1</cx:pt>
          <cx:pt idx="95887">0</cx:pt>
          <cx:pt idx="95888">0</cx:pt>
          <cx:pt idx="95889">1</cx:pt>
          <cx:pt idx="95890">1</cx:pt>
          <cx:pt idx="95891">0</cx:pt>
          <cx:pt idx="95892">1</cx:pt>
          <cx:pt idx="95893">0</cx:pt>
          <cx:pt idx="95894">1</cx:pt>
          <cx:pt idx="95895">1</cx:pt>
          <cx:pt idx="95896">0</cx:pt>
          <cx:pt idx="95897">0</cx:pt>
          <cx:pt idx="95898">1</cx:pt>
          <cx:pt idx="95899">0</cx:pt>
          <cx:pt idx="95900">0</cx:pt>
          <cx:pt idx="95901">0</cx:pt>
          <cx:pt idx="95902">1</cx:pt>
          <cx:pt idx="95903">1</cx:pt>
          <cx:pt idx="95904">1</cx:pt>
          <cx:pt idx="95905">0</cx:pt>
          <cx:pt idx="95906">0</cx:pt>
          <cx:pt idx="95907">1</cx:pt>
          <cx:pt idx="95908">1</cx:pt>
          <cx:pt idx="95909">1</cx:pt>
          <cx:pt idx="95910">1</cx:pt>
          <cx:pt idx="95911">1</cx:pt>
          <cx:pt idx="95912">1</cx:pt>
          <cx:pt idx="95913">0</cx:pt>
          <cx:pt idx="95914">1</cx:pt>
          <cx:pt idx="95915">1</cx:pt>
          <cx:pt idx="95916">0</cx:pt>
          <cx:pt idx="95917">0</cx:pt>
          <cx:pt idx="95918">1</cx:pt>
          <cx:pt idx="95919">0</cx:pt>
          <cx:pt idx="95920">0</cx:pt>
          <cx:pt idx="95921">0</cx:pt>
          <cx:pt idx="95922">1</cx:pt>
          <cx:pt idx="95923">0</cx:pt>
          <cx:pt idx="95924">1</cx:pt>
          <cx:pt idx="95925">0</cx:pt>
          <cx:pt idx="95926">0</cx:pt>
          <cx:pt idx="95927">0</cx:pt>
          <cx:pt idx="95928">0</cx:pt>
          <cx:pt idx="95929">0</cx:pt>
          <cx:pt idx="95930">1</cx:pt>
          <cx:pt idx="95931">1</cx:pt>
          <cx:pt idx="95932">0</cx:pt>
          <cx:pt idx="95933">1</cx:pt>
          <cx:pt idx="95934">0</cx:pt>
          <cx:pt idx="95935">0</cx:pt>
          <cx:pt idx="95936">0</cx:pt>
          <cx:pt idx="95937">0</cx:pt>
          <cx:pt idx="95938">1</cx:pt>
          <cx:pt idx="95939">1</cx:pt>
          <cx:pt idx="95940">1</cx:pt>
          <cx:pt idx="95941">0</cx:pt>
          <cx:pt idx="95942">1</cx:pt>
          <cx:pt idx="95943">1</cx:pt>
          <cx:pt idx="95944">1</cx:pt>
          <cx:pt idx="95945">0</cx:pt>
          <cx:pt idx="95946">0</cx:pt>
          <cx:pt idx="95947">0</cx:pt>
          <cx:pt idx="95948">0</cx:pt>
          <cx:pt idx="95949">1</cx:pt>
          <cx:pt idx="95950">0</cx:pt>
          <cx:pt idx="95951">0</cx:pt>
          <cx:pt idx="95952">0</cx:pt>
          <cx:pt idx="95953">0</cx:pt>
          <cx:pt idx="95954">1</cx:pt>
          <cx:pt idx="95955">0</cx:pt>
          <cx:pt idx="95956">1</cx:pt>
          <cx:pt idx="95957">0</cx:pt>
          <cx:pt idx="95958">0</cx:pt>
          <cx:pt idx="95959">0</cx:pt>
          <cx:pt idx="95960">1</cx:pt>
          <cx:pt idx="95961">1</cx:pt>
          <cx:pt idx="95962">0</cx:pt>
          <cx:pt idx="95963">1</cx:pt>
          <cx:pt idx="95964">0</cx:pt>
          <cx:pt idx="95965">0</cx:pt>
          <cx:pt idx="95966">0</cx:pt>
          <cx:pt idx="95967">0</cx:pt>
          <cx:pt idx="95968">0</cx:pt>
          <cx:pt idx="95969">1</cx:pt>
          <cx:pt idx="95970">1</cx:pt>
          <cx:pt idx="95971">0</cx:pt>
          <cx:pt idx="95972">0</cx:pt>
          <cx:pt idx="95973">0</cx:pt>
          <cx:pt idx="95974">0</cx:pt>
          <cx:pt idx="95975">0</cx:pt>
          <cx:pt idx="95976">0</cx:pt>
          <cx:pt idx="95977">0</cx:pt>
          <cx:pt idx="95978">0</cx:pt>
          <cx:pt idx="95979">0</cx:pt>
          <cx:pt idx="95980">0</cx:pt>
          <cx:pt idx="95981">0</cx:pt>
          <cx:pt idx="95982">0</cx:pt>
          <cx:pt idx="95983">0</cx:pt>
          <cx:pt idx="95984">0</cx:pt>
          <cx:pt idx="95985">0</cx:pt>
          <cx:pt idx="95986">1</cx:pt>
          <cx:pt idx="95987">1</cx:pt>
          <cx:pt idx="95988">0</cx:pt>
          <cx:pt idx="95989">1</cx:pt>
          <cx:pt idx="95990">0</cx:pt>
          <cx:pt idx="95991">0</cx:pt>
          <cx:pt idx="95992">1</cx:pt>
          <cx:pt idx="95993">0</cx:pt>
          <cx:pt idx="95994">0</cx:pt>
          <cx:pt idx="95995">0</cx:pt>
          <cx:pt idx="95996">1</cx:pt>
          <cx:pt idx="95997">0</cx:pt>
          <cx:pt idx="95998">0</cx:pt>
          <cx:pt idx="95999">1</cx:pt>
          <cx:pt idx="96000">0</cx:pt>
          <cx:pt idx="96001">0</cx:pt>
          <cx:pt idx="96002">1</cx:pt>
          <cx:pt idx="96003">0</cx:pt>
          <cx:pt idx="96004">0</cx:pt>
          <cx:pt idx="96005">1</cx:pt>
          <cx:pt idx="96006">0</cx:pt>
          <cx:pt idx="96007">1</cx:pt>
          <cx:pt idx="96008">1</cx:pt>
          <cx:pt idx="96009">0</cx:pt>
          <cx:pt idx="96010">0</cx:pt>
          <cx:pt idx="96011">0</cx:pt>
          <cx:pt idx="96012">0</cx:pt>
          <cx:pt idx="96013">0</cx:pt>
          <cx:pt idx="96014">0</cx:pt>
          <cx:pt idx="96015">0</cx:pt>
          <cx:pt idx="96016">1</cx:pt>
          <cx:pt idx="96017">1</cx:pt>
          <cx:pt idx="96018">0</cx:pt>
          <cx:pt idx="96019">0</cx:pt>
          <cx:pt idx="96020">0</cx:pt>
          <cx:pt idx="96021">0</cx:pt>
          <cx:pt idx="96022">0</cx:pt>
          <cx:pt idx="96023">0</cx:pt>
          <cx:pt idx="96024">1</cx:pt>
          <cx:pt idx="96025">0</cx:pt>
          <cx:pt idx="96026">0</cx:pt>
          <cx:pt idx="96027">0</cx:pt>
          <cx:pt idx="96028">0</cx:pt>
          <cx:pt idx="96029">1</cx:pt>
          <cx:pt idx="96030">1</cx:pt>
          <cx:pt idx="96031">0</cx:pt>
          <cx:pt idx="96032">0</cx:pt>
          <cx:pt idx="96033">1</cx:pt>
          <cx:pt idx="96034">1</cx:pt>
          <cx:pt idx="96035">0</cx:pt>
          <cx:pt idx="96036">1</cx:pt>
          <cx:pt idx="96037">1</cx:pt>
          <cx:pt idx="96038">0</cx:pt>
          <cx:pt idx="96039">1</cx:pt>
          <cx:pt idx="96040">1</cx:pt>
          <cx:pt idx="96041">0</cx:pt>
          <cx:pt idx="96042">0</cx:pt>
          <cx:pt idx="96043">1</cx:pt>
          <cx:pt idx="96044">0</cx:pt>
          <cx:pt idx="96045">0</cx:pt>
          <cx:pt idx="96046">0</cx:pt>
          <cx:pt idx="96047">0</cx:pt>
          <cx:pt idx="96048">1</cx:pt>
          <cx:pt idx="96049">0</cx:pt>
          <cx:pt idx="96050">0</cx:pt>
          <cx:pt idx="96051">0</cx:pt>
          <cx:pt idx="96052">0</cx:pt>
          <cx:pt idx="96053">1</cx:pt>
          <cx:pt idx="96054">1</cx:pt>
          <cx:pt idx="96055">0</cx:pt>
          <cx:pt idx="96056">0</cx:pt>
          <cx:pt idx="96057">0</cx:pt>
          <cx:pt idx="96058">0</cx:pt>
          <cx:pt idx="96059">0</cx:pt>
          <cx:pt idx="96060">1</cx:pt>
          <cx:pt idx="96061">0</cx:pt>
          <cx:pt idx="96062">1</cx:pt>
          <cx:pt idx="96063">0</cx:pt>
          <cx:pt idx="96064">1</cx:pt>
          <cx:pt idx="96065">0</cx:pt>
          <cx:pt idx="96066">1</cx:pt>
          <cx:pt idx="96067">1</cx:pt>
          <cx:pt idx="96068">0</cx:pt>
          <cx:pt idx="96069">1</cx:pt>
          <cx:pt idx="96070">0</cx:pt>
          <cx:pt idx="96071">0</cx:pt>
          <cx:pt idx="96072">0</cx:pt>
          <cx:pt idx="96073">1</cx:pt>
          <cx:pt idx="96074">1</cx:pt>
          <cx:pt idx="96075">1</cx:pt>
          <cx:pt idx="96076">1</cx:pt>
          <cx:pt idx="96077">1</cx:pt>
          <cx:pt idx="96078">0</cx:pt>
          <cx:pt idx="96079">0</cx:pt>
          <cx:pt idx="96080">0</cx:pt>
          <cx:pt idx="96081">0</cx:pt>
          <cx:pt idx="96082">0</cx:pt>
          <cx:pt idx="96083">0</cx:pt>
          <cx:pt idx="96084">0</cx:pt>
          <cx:pt idx="96085">1</cx:pt>
          <cx:pt idx="96086">0</cx:pt>
          <cx:pt idx="96087">0</cx:pt>
          <cx:pt idx="96088">1</cx:pt>
          <cx:pt idx="96089">0</cx:pt>
          <cx:pt idx="96090">0</cx:pt>
          <cx:pt idx="96091">0</cx:pt>
          <cx:pt idx="96092">0</cx:pt>
          <cx:pt idx="96093">1</cx:pt>
          <cx:pt idx="96094">1</cx:pt>
          <cx:pt idx="96095">0</cx:pt>
          <cx:pt idx="96096">0</cx:pt>
          <cx:pt idx="96097">0</cx:pt>
          <cx:pt idx="96098">1</cx:pt>
          <cx:pt idx="96099">1</cx:pt>
          <cx:pt idx="96100">0</cx:pt>
          <cx:pt idx="96101">0</cx:pt>
          <cx:pt idx="96102">1</cx:pt>
          <cx:pt idx="96103">1</cx:pt>
          <cx:pt idx="96104">0</cx:pt>
          <cx:pt idx="96105">1</cx:pt>
          <cx:pt idx="96106">1</cx:pt>
          <cx:pt idx="96107">0</cx:pt>
          <cx:pt idx="96108">1</cx:pt>
          <cx:pt idx="96109">0</cx:pt>
          <cx:pt idx="96110">0</cx:pt>
          <cx:pt idx="96111">0</cx:pt>
          <cx:pt idx="96112">0</cx:pt>
          <cx:pt idx="96113">1</cx:pt>
          <cx:pt idx="96114">0</cx:pt>
          <cx:pt idx="96115">1</cx:pt>
          <cx:pt idx="96116">1</cx:pt>
          <cx:pt idx="96117">0</cx:pt>
          <cx:pt idx="96118">0</cx:pt>
          <cx:pt idx="96119">0</cx:pt>
          <cx:pt idx="96120">1</cx:pt>
          <cx:pt idx="96121">0</cx:pt>
          <cx:pt idx="96122">0</cx:pt>
          <cx:pt idx="96123">0</cx:pt>
          <cx:pt idx="96124">1</cx:pt>
          <cx:pt idx="96125">1</cx:pt>
          <cx:pt idx="96126">1</cx:pt>
          <cx:pt idx="96127">1</cx:pt>
          <cx:pt idx="96128">0</cx:pt>
          <cx:pt idx="96129">1</cx:pt>
          <cx:pt idx="96130">0</cx:pt>
          <cx:pt idx="96131">1</cx:pt>
          <cx:pt idx="96132">1</cx:pt>
          <cx:pt idx="96133">1</cx:pt>
          <cx:pt idx="96134">1</cx:pt>
          <cx:pt idx="96135">0</cx:pt>
          <cx:pt idx="96136">1</cx:pt>
          <cx:pt idx="96137">0</cx:pt>
          <cx:pt idx="96138">0</cx:pt>
          <cx:pt idx="96139">1</cx:pt>
          <cx:pt idx="96140">1</cx:pt>
          <cx:pt idx="96141">1</cx:pt>
          <cx:pt idx="96142">0</cx:pt>
          <cx:pt idx="96143">1</cx:pt>
          <cx:pt idx="96144">0</cx:pt>
          <cx:pt idx="96145">0</cx:pt>
          <cx:pt idx="96146">1</cx:pt>
          <cx:pt idx="96147">1</cx:pt>
          <cx:pt idx="96148">0</cx:pt>
          <cx:pt idx="96149">0</cx:pt>
          <cx:pt idx="96150">1</cx:pt>
          <cx:pt idx="96151">0</cx:pt>
          <cx:pt idx="96152">0</cx:pt>
          <cx:pt idx="96153">1</cx:pt>
          <cx:pt idx="96154">0</cx:pt>
          <cx:pt idx="96155">1</cx:pt>
          <cx:pt idx="96156">1</cx:pt>
          <cx:pt idx="96157">0</cx:pt>
          <cx:pt idx="96158">0</cx:pt>
          <cx:pt idx="96159">0</cx:pt>
          <cx:pt idx="96160">1</cx:pt>
          <cx:pt idx="96161">0</cx:pt>
          <cx:pt idx="96162">1</cx:pt>
          <cx:pt idx="96163">1</cx:pt>
          <cx:pt idx="96164">0</cx:pt>
          <cx:pt idx="96165">0</cx:pt>
          <cx:pt idx="96166">1</cx:pt>
          <cx:pt idx="96167">0</cx:pt>
          <cx:pt idx="96168">1</cx:pt>
          <cx:pt idx="96169">0</cx:pt>
          <cx:pt idx="96170">0</cx:pt>
          <cx:pt idx="96171">1</cx:pt>
          <cx:pt idx="96172">0</cx:pt>
          <cx:pt idx="96173">0</cx:pt>
          <cx:pt idx="96174">0</cx:pt>
          <cx:pt idx="96175">1</cx:pt>
          <cx:pt idx="96176">1</cx:pt>
          <cx:pt idx="96177">1</cx:pt>
          <cx:pt idx="96178">0</cx:pt>
          <cx:pt idx="96179">0</cx:pt>
          <cx:pt idx="96180">0</cx:pt>
          <cx:pt idx="96181">1</cx:pt>
          <cx:pt idx="96182">1</cx:pt>
          <cx:pt idx="96183">1</cx:pt>
          <cx:pt idx="96184">1</cx:pt>
          <cx:pt idx="96185">0</cx:pt>
          <cx:pt idx="96186">1</cx:pt>
          <cx:pt idx="96187">1</cx:pt>
          <cx:pt idx="96188">0</cx:pt>
          <cx:pt idx="96189">1</cx:pt>
          <cx:pt idx="96190">0</cx:pt>
          <cx:pt idx="96191">1</cx:pt>
          <cx:pt idx="96192">1</cx:pt>
          <cx:pt idx="96193">0</cx:pt>
          <cx:pt idx="96194">0</cx:pt>
          <cx:pt idx="96195">0</cx:pt>
          <cx:pt idx="96196">0</cx:pt>
          <cx:pt idx="96197">0</cx:pt>
          <cx:pt idx="96198">1</cx:pt>
          <cx:pt idx="96199">0</cx:pt>
          <cx:pt idx="96200">1</cx:pt>
          <cx:pt idx="96201">0</cx:pt>
          <cx:pt idx="96202">1</cx:pt>
          <cx:pt idx="96203">0</cx:pt>
          <cx:pt idx="96204">0</cx:pt>
          <cx:pt idx="96205">1</cx:pt>
          <cx:pt idx="96206">0</cx:pt>
          <cx:pt idx="96207">0</cx:pt>
          <cx:pt idx="96208">0</cx:pt>
          <cx:pt idx="96209">0</cx:pt>
          <cx:pt idx="96210">0</cx:pt>
          <cx:pt idx="96211">0</cx:pt>
          <cx:pt idx="96212">0</cx:pt>
          <cx:pt idx="96213">1</cx:pt>
          <cx:pt idx="96214">0</cx:pt>
          <cx:pt idx="96215">0</cx:pt>
          <cx:pt idx="96216">1</cx:pt>
          <cx:pt idx="96217">1</cx:pt>
          <cx:pt idx="96218">0</cx:pt>
          <cx:pt idx="96219">1</cx:pt>
          <cx:pt idx="96220">0</cx:pt>
          <cx:pt idx="96221">1</cx:pt>
          <cx:pt idx="96222">0</cx:pt>
          <cx:pt idx="96223">1</cx:pt>
          <cx:pt idx="96224">1</cx:pt>
          <cx:pt idx="96225">0</cx:pt>
          <cx:pt idx="96226">1</cx:pt>
          <cx:pt idx="96227">0</cx:pt>
          <cx:pt idx="96228">0</cx:pt>
          <cx:pt idx="96229">0</cx:pt>
          <cx:pt idx="96230">0</cx:pt>
          <cx:pt idx="96231">1</cx:pt>
          <cx:pt idx="96232">0</cx:pt>
          <cx:pt idx="96233">0</cx:pt>
          <cx:pt idx="96234">1</cx:pt>
          <cx:pt idx="96235">1</cx:pt>
          <cx:pt idx="96236">1</cx:pt>
          <cx:pt idx="96237">1</cx:pt>
          <cx:pt idx="96238">0</cx:pt>
          <cx:pt idx="96239">1</cx:pt>
          <cx:pt idx="96240">0</cx:pt>
          <cx:pt idx="96241">1</cx:pt>
          <cx:pt idx="96242">1</cx:pt>
          <cx:pt idx="96243">1</cx:pt>
          <cx:pt idx="96244">1</cx:pt>
          <cx:pt idx="96245">1</cx:pt>
          <cx:pt idx="96246">0</cx:pt>
          <cx:pt idx="96247">0</cx:pt>
          <cx:pt idx="96248">1</cx:pt>
          <cx:pt idx="96249">0</cx:pt>
          <cx:pt idx="96250">0</cx:pt>
          <cx:pt idx="96251">0</cx:pt>
          <cx:pt idx="96252">0</cx:pt>
          <cx:pt idx="96253">0</cx:pt>
          <cx:pt idx="96254">1</cx:pt>
          <cx:pt idx="96255">1</cx:pt>
          <cx:pt idx="96256">1</cx:pt>
          <cx:pt idx="96257">0</cx:pt>
          <cx:pt idx="96258">1</cx:pt>
          <cx:pt idx="96259">0</cx:pt>
          <cx:pt idx="96260">1</cx:pt>
          <cx:pt idx="96261">0</cx:pt>
          <cx:pt idx="96262">0</cx:pt>
          <cx:pt idx="96263">0</cx:pt>
          <cx:pt idx="96264">0</cx:pt>
          <cx:pt idx="96265">1</cx:pt>
          <cx:pt idx="96266">0</cx:pt>
          <cx:pt idx="96267">1</cx:pt>
          <cx:pt idx="96268">0</cx:pt>
          <cx:pt idx="96269">0</cx:pt>
          <cx:pt idx="96270">1</cx:pt>
          <cx:pt idx="96271">1</cx:pt>
          <cx:pt idx="96272">0</cx:pt>
          <cx:pt idx="96273">0</cx:pt>
          <cx:pt idx="96274">1</cx:pt>
          <cx:pt idx="96275">1</cx:pt>
          <cx:pt idx="96276">1</cx:pt>
          <cx:pt idx="96277">0</cx:pt>
          <cx:pt idx="96278">0</cx:pt>
          <cx:pt idx="96279">0</cx:pt>
          <cx:pt idx="96280">1</cx:pt>
          <cx:pt idx="96281">1</cx:pt>
          <cx:pt idx="96282">1</cx:pt>
          <cx:pt idx="96283">0</cx:pt>
          <cx:pt idx="96284">1</cx:pt>
          <cx:pt idx="96285">0</cx:pt>
          <cx:pt idx="96286">0</cx:pt>
          <cx:pt idx="96287">1</cx:pt>
          <cx:pt idx="96288">0</cx:pt>
          <cx:pt idx="96289">0</cx:pt>
          <cx:pt idx="96290">0</cx:pt>
          <cx:pt idx="96291">0</cx:pt>
          <cx:pt idx="96292">0</cx:pt>
          <cx:pt idx="96293">1</cx:pt>
          <cx:pt idx="96294">0</cx:pt>
          <cx:pt idx="96295">0</cx:pt>
          <cx:pt idx="96296">0</cx:pt>
          <cx:pt idx="96297">1</cx:pt>
          <cx:pt idx="96298">1</cx:pt>
          <cx:pt idx="96299">0</cx:pt>
          <cx:pt idx="96300">1</cx:pt>
          <cx:pt idx="96301">0</cx:pt>
          <cx:pt idx="96302">1</cx:pt>
          <cx:pt idx="96303">0</cx:pt>
          <cx:pt idx="96304">1</cx:pt>
          <cx:pt idx="96305">0</cx:pt>
          <cx:pt idx="96306">1</cx:pt>
          <cx:pt idx="96307">1</cx:pt>
          <cx:pt idx="96308">0</cx:pt>
          <cx:pt idx="96309">0</cx:pt>
          <cx:pt idx="96310">0</cx:pt>
          <cx:pt idx="96311">0</cx:pt>
          <cx:pt idx="96312">0</cx:pt>
          <cx:pt idx="96313">0</cx:pt>
          <cx:pt idx="96314">0</cx:pt>
          <cx:pt idx="96315">0</cx:pt>
          <cx:pt idx="96316">0</cx:pt>
          <cx:pt idx="96317">1</cx:pt>
          <cx:pt idx="96318">0</cx:pt>
          <cx:pt idx="96319">0</cx:pt>
          <cx:pt idx="96320">1</cx:pt>
          <cx:pt idx="96321">0</cx:pt>
          <cx:pt idx="96322">0</cx:pt>
          <cx:pt idx="96323">0</cx:pt>
          <cx:pt idx="96324">0</cx:pt>
          <cx:pt idx="96325">1</cx:pt>
          <cx:pt idx="96326">0</cx:pt>
          <cx:pt idx="96327">1</cx:pt>
          <cx:pt idx="96328">0</cx:pt>
          <cx:pt idx="96329">0</cx:pt>
          <cx:pt idx="96330">1</cx:pt>
          <cx:pt idx="96331">0</cx:pt>
          <cx:pt idx="96332">1</cx:pt>
          <cx:pt idx="96333">0</cx:pt>
          <cx:pt idx="96334">1</cx:pt>
          <cx:pt idx="96335">0</cx:pt>
          <cx:pt idx="96336">1</cx:pt>
          <cx:pt idx="96337">0</cx:pt>
          <cx:pt idx="96338">1</cx:pt>
          <cx:pt idx="96339">0</cx:pt>
          <cx:pt idx="96340">0</cx:pt>
          <cx:pt idx="96341">1</cx:pt>
          <cx:pt idx="96342">1</cx:pt>
          <cx:pt idx="96343">0</cx:pt>
          <cx:pt idx="96344">0</cx:pt>
          <cx:pt idx="96345">0</cx:pt>
          <cx:pt idx="96346">1</cx:pt>
          <cx:pt idx="96347">0</cx:pt>
          <cx:pt idx="96348">1</cx:pt>
          <cx:pt idx="96349">0</cx:pt>
          <cx:pt idx="96350">1</cx:pt>
          <cx:pt idx="96351">0</cx:pt>
          <cx:pt idx="96352">0</cx:pt>
          <cx:pt idx="96353">0</cx:pt>
          <cx:pt idx="96354">0</cx:pt>
          <cx:pt idx="96355">1</cx:pt>
          <cx:pt idx="96356">1</cx:pt>
          <cx:pt idx="96357">0</cx:pt>
          <cx:pt idx="96358">1</cx:pt>
          <cx:pt idx="96359">1</cx:pt>
          <cx:pt idx="96360">0</cx:pt>
          <cx:pt idx="96361">0</cx:pt>
          <cx:pt idx="96362">1</cx:pt>
          <cx:pt idx="96363">0</cx:pt>
          <cx:pt idx="96364">0</cx:pt>
          <cx:pt idx="96365">0</cx:pt>
          <cx:pt idx="96366">0</cx:pt>
          <cx:pt idx="96367">1</cx:pt>
          <cx:pt idx="96368">0</cx:pt>
          <cx:pt idx="96369">0</cx:pt>
          <cx:pt idx="96370">0</cx:pt>
          <cx:pt idx="96371">1</cx:pt>
          <cx:pt idx="96372">0</cx:pt>
          <cx:pt idx="96373">1</cx:pt>
          <cx:pt idx="96374">0</cx:pt>
          <cx:pt idx="96375">1</cx:pt>
          <cx:pt idx="96376">1</cx:pt>
          <cx:pt idx="96377">1</cx:pt>
          <cx:pt idx="96378">1</cx:pt>
          <cx:pt idx="96379">1</cx:pt>
          <cx:pt idx="96380">0</cx:pt>
          <cx:pt idx="96381">0</cx:pt>
          <cx:pt idx="96382">0</cx:pt>
          <cx:pt idx="96383">0</cx:pt>
          <cx:pt idx="96384">0</cx:pt>
          <cx:pt idx="96385">1</cx:pt>
          <cx:pt idx="96386">1</cx:pt>
          <cx:pt idx="96387">0</cx:pt>
          <cx:pt idx="96388">0</cx:pt>
          <cx:pt idx="96389">1</cx:pt>
          <cx:pt idx="96390">0</cx:pt>
          <cx:pt idx="96391">0</cx:pt>
          <cx:pt idx="96392">1</cx:pt>
          <cx:pt idx="96393">1</cx:pt>
          <cx:pt idx="96394">0</cx:pt>
          <cx:pt idx="96395">0</cx:pt>
          <cx:pt idx="96396">1</cx:pt>
          <cx:pt idx="96397">0</cx:pt>
          <cx:pt idx="96398">1</cx:pt>
          <cx:pt idx="96399">0</cx:pt>
          <cx:pt idx="96400">0</cx:pt>
          <cx:pt idx="96401">1</cx:pt>
          <cx:pt idx="96402">0</cx:pt>
          <cx:pt idx="96403">0</cx:pt>
          <cx:pt idx="96404">0</cx:pt>
          <cx:pt idx="96405">0</cx:pt>
          <cx:pt idx="96406">0</cx:pt>
          <cx:pt idx="96407">1</cx:pt>
          <cx:pt idx="96408">0</cx:pt>
          <cx:pt idx="96409">1</cx:pt>
          <cx:pt idx="96410">0</cx:pt>
          <cx:pt idx="96411">0</cx:pt>
          <cx:pt idx="96412">1</cx:pt>
          <cx:pt idx="96413">1</cx:pt>
          <cx:pt idx="96414">0</cx:pt>
          <cx:pt idx="96415">0</cx:pt>
          <cx:pt idx="96416">0</cx:pt>
          <cx:pt idx="96417">0</cx:pt>
          <cx:pt idx="96418">1</cx:pt>
          <cx:pt idx="96419">1</cx:pt>
          <cx:pt idx="96420">0</cx:pt>
          <cx:pt idx="96421">1</cx:pt>
          <cx:pt idx="96422">1</cx:pt>
          <cx:pt idx="96423">1</cx:pt>
          <cx:pt idx="96424">0</cx:pt>
          <cx:pt idx="96425">1</cx:pt>
          <cx:pt idx="96426">1</cx:pt>
          <cx:pt idx="96427">1</cx:pt>
          <cx:pt idx="96428">0</cx:pt>
          <cx:pt idx="96429">0</cx:pt>
          <cx:pt idx="96430">0</cx:pt>
          <cx:pt idx="96431">0</cx:pt>
          <cx:pt idx="96432">1</cx:pt>
          <cx:pt idx="96433">1</cx:pt>
          <cx:pt idx="96434">0</cx:pt>
          <cx:pt idx="96435">0</cx:pt>
          <cx:pt idx="96436">0</cx:pt>
          <cx:pt idx="96437">1</cx:pt>
          <cx:pt idx="96438">0</cx:pt>
          <cx:pt idx="96439">1</cx:pt>
          <cx:pt idx="96440">1</cx:pt>
          <cx:pt idx="96441">1</cx:pt>
          <cx:pt idx="96442">1</cx:pt>
          <cx:pt idx="96443">1</cx:pt>
          <cx:pt idx="96444">0</cx:pt>
          <cx:pt idx="96445">0</cx:pt>
          <cx:pt idx="96446">0</cx:pt>
          <cx:pt idx="96447">1</cx:pt>
          <cx:pt idx="96448">1</cx:pt>
          <cx:pt idx="96449">1</cx:pt>
          <cx:pt idx="96450">1</cx:pt>
          <cx:pt idx="96451">1</cx:pt>
          <cx:pt idx="96452">1</cx:pt>
          <cx:pt idx="96453">0</cx:pt>
          <cx:pt idx="96454">0</cx:pt>
          <cx:pt idx="96455">1</cx:pt>
          <cx:pt idx="96456">0</cx:pt>
          <cx:pt idx="96457">0</cx:pt>
          <cx:pt idx="96458">0</cx:pt>
          <cx:pt idx="96459">1</cx:pt>
          <cx:pt idx="96460">0</cx:pt>
          <cx:pt idx="96461">1</cx:pt>
          <cx:pt idx="96462">1</cx:pt>
          <cx:pt idx="96463">0</cx:pt>
          <cx:pt idx="96464">0</cx:pt>
          <cx:pt idx="96465">0</cx:pt>
          <cx:pt idx="96466">0</cx:pt>
          <cx:pt idx="96467">1</cx:pt>
          <cx:pt idx="96468">1</cx:pt>
          <cx:pt idx="96469">0</cx:pt>
          <cx:pt idx="96470">0</cx:pt>
          <cx:pt idx="96471">0</cx:pt>
          <cx:pt idx="96472">0</cx:pt>
          <cx:pt idx="96473">1</cx:pt>
          <cx:pt idx="96474">0</cx:pt>
          <cx:pt idx="96475">1</cx:pt>
          <cx:pt idx="96476">1</cx:pt>
          <cx:pt idx="96477">0</cx:pt>
          <cx:pt idx="96478">1</cx:pt>
          <cx:pt idx="96479">0</cx:pt>
          <cx:pt idx="96480">1</cx:pt>
          <cx:pt idx="96481">0</cx:pt>
          <cx:pt idx="96482">0</cx:pt>
          <cx:pt idx="96483">1</cx:pt>
          <cx:pt idx="96484">0</cx:pt>
          <cx:pt idx="96485">0</cx:pt>
          <cx:pt idx="96486">1</cx:pt>
          <cx:pt idx="96487">0</cx:pt>
          <cx:pt idx="96488">0</cx:pt>
          <cx:pt idx="96489">0</cx:pt>
          <cx:pt idx="96490">0</cx:pt>
          <cx:pt idx="96491">0</cx:pt>
          <cx:pt idx="96492">0</cx:pt>
          <cx:pt idx="96493">1</cx:pt>
          <cx:pt idx="96494">0</cx:pt>
          <cx:pt idx="96495">0</cx:pt>
          <cx:pt idx="96496">1</cx:pt>
          <cx:pt idx="96497">1</cx:pt>
          <cx:pt idx="96498">0</cx:pt>
          <cx:pt idx="96499">1</cx:pt>
          <cx:pt idx="96500">0</cx:pt>
          <cx:pt idx="96501">0</cx:pt>
          <cx:pt idx="96502">0</cx:pt>
          <cx:pt idx="96503">0</cx:pt>
          <cx:pt idx="96504">0</cx:pt>
          <cx:pt idx="96505">1</cx:pt>
          <cx:pt idx="96506">0</cx:pt>
          <cx:pt idx="96507">0</cx:pt>
          <cx:pt idx="96508">0</cx:pt>
          <cx:pt idx="96509">0</cx:pt>
          <cx:pt idx="96510">0</cx:pt>
          <cx:pt idx="96511">1</cx:pt>
          <cx:pt idx="96512">1</cx:pt>
          <cx:pt idx="96513">0</cx:pt>
          <cx:pt idx="96514">0</cx:pt>
          <cx:pt idx="96515">0</cx:pt>
          <cx:pt idx="96516">0</cx:pt>
          <cx:pt idx="96517">0</cx:pt>
          <cx:pt idx="96518">0</cx:pt>
          <cx:pt idx="96519">1</cx:pt>
          <cx:pt idx="96520">1</cx:pt>
          <cx:pt idx="96521">1</cx:pt>
          <cx:pt idx="96522">0</cx:pt>
          <cx:pt idx="96523">1</cx:pt>
          <cx:pt idx="96524">0</cx:pt>
          <cx:pt idx="96525">0</cx:pt>
          <cx:pt idx="96526">0</cx:pt>
          <cx:pt idx="96527">1</cx:pt>
          <cx:pt idx="96528">0</cx:pt>
          <cx:pt idx="96529">0</cx:pt>
          <cx:pt idx="96530">1</cx:pt>
          <cx:pt idx="96531">1</cx:pt>
          <cx:pt idx="96532">0</cx:pt>
          <cx:pt idx="96533">1</cx:pt>
          <cx:pt idx="96534">0</cx:pt>
          <cx:pt idx="96535">1</cx:pt>
          <cx:pt idx="96536">0</cx:pt>
          <cx:pt idx="96537">0</cx:pt>
          <cx:pt idx="96538">0</cx:pt>
          <cx:pt idx="96539">0</cx:pt>
          <cx:pt idx="96540">1</cx:pt>
          <cx:pt idx="96541">0</cx:pt>
          <cx:pt idx="96542">1</cx:pt>
          <cx:pt idx="96543">1</cx:pt>
          <cx:pt idx="96544">0</cx:pt>
          <cx:pt idx="96545">1</cx:pt>
          <cx:pt idx="96546">0</cx:pt>
          <cx:pt idx="96547">1</cx:pt>
          <cx:pt idx="96548">1</cx:pt>
          <cx:pt idx="96549">0</cx:pt>
          <cx:pt idx="96550">1</cx:pt>
          <cx:pt idx="96551">1</cx:pt>
          <cx:pt idx="96552">1</cx:pt>
          <cx:pt idx="96553">0</cx:pt>
          <cx:pt idx="96554">0</cx:pt>
          <cx:pt idx="96555">0</cx:pt>
          <cx:pt idx="96556">0</cx:pt>
          <cx:pt idx="96557">0</cx:pt>
          <cx:pt idx="96558">0</cx:pt>
          <cx:pt idx="96559">0</cx:pt>
          <cx:pt idx="96560">1</cx:pt>
          <cx:pt idx="96561">1</cx:pt>
          <cx:pt idx="96562">1</cx:pt>
          <cx:pt idx="96563">1</cx:pt>
          <cx:pt idx="96564">1</cx:pt>
          <cx:pt idx="96565">1</cx:pt>
          <cx:pt idx="96566">1</cx:pt>
          <cx:pt idx="96567">0</cx:pt>
          <cx:pt idx="96568">0</cx:pt>
          <cx:pt idx="96569">0</cx:pt>
          <cx:pt idx="96570">1</cx:pt>
          <cx:pt idx="96571">0</cx:pt>
          <cx:pt idx="96572">1</cx:pt>
          <cx:pt idx="96573">0</cx:pt>
          <cx:pt idx="96574">1</cx:pt>
          <cx:pt idx="96575">0</cx:pt>
          <cx:pt idx="96576">0</cx:pt>
          <cx:pt idx="96577">1</cx:pt>
          <cx:pt idx="96578">1</cx:pt>
          <cx:pt idx="96579">0</cx:pt>
          <cx:pt idx="96580">1</cx:pt>
          <cx:pt idx="96581">0</cx:pt>
          <cx:pt idx="96582">1</cx:pt>
          <cx:pt idx="96583">0</cx:pt>
          <cx:pt idx="96584">0</cx:pt>
          <cx:pt idx="96585">1</cx:pt>
          <cx:pt idx="96586">0</cx:pt>
          <cx:pt idx="96587">1</cx:pt>
          <cx:pt idx="96588">1</cx:pt>
          <cx:pt idx="96589">0</cx:pt>
          <cx:pt idx="96590">0</cx:pt>
          <cx:pt idx="96591">0</cx:pt>
          <cx:pt idx="96592">1</cx:pt>
          <cx:pt idx="96593">1</cx:pt>
          <cx:pt idx="96594">0</cx:pt>
          <cx:pt idx="96595">1</cx:pt>
          <cx:pt idx="96596">1</cx:pt>
          <cx:pt idx="96597">0</cx:pt>
          <cx:pt idx="96598">0</cx:pt>
          <cx:pt idx="96599">0</cx:pt>
          <cx:pt idx="96600">0</cx:pt>
          <cx:pt idx="96601">0</cx:pt>
          <cx:pt idx="96602">1</cx:pt>
          <cx:pt idx="96603">0</cx:pt>
          <cx:pt idx="96604">0</cx:pt>
          <cx:pt idx="96605">0</cx:pt>
          <cx:pt idx="96606">0</cx:pt>
          <cx:pt idx="96607">0</cx:pt>
          <cx:pt idx="96608">1</cx:pt>
          <cx:pt idx="96609">0</cx:pt>
          <cx:pt idx="96610">0</cx:pt>
          <cx:pt idx="96611">1</cx:pt>
          <cx:pt idx="96612">0</cx:pt>
          <cx:pt idx="96613">0</cx:pt>
          <cx:pt idx="96614">0</cx:pt>
          <cx:pt idx="96615">0</cx:pt>
          <cx:pt idx="96616">0</cx:pt>
          <cx:pt idx="96617">1</cx:pt>
          <cx:pt idx="96618">0</cx:pt>
          <cx:pt idx="96619">0</cx:pt>
          <cx:pt idx="96620">0</cx:pt>
          <cx:pt idx="96621">1</cx:pt>
          <cx:pt idx="96622">0</cx:pt>
          <cx:pt idx="96623">0</cx:pt>
          <cx:pt idx="96624">1</cx:pt>
          <cx:pt idx="96625">1</cx:pt>
          <cx:pt idx="96626">1</cx:pt>
          <cx:pt idx="96627">1</cx:pt>
          <cx:pt idx="96628">1</cx:pt>
          <cx:pt idx="96629">1</cx:pt>
          <cx:pt idx="96630">1</cx:pt>
          <cx:pt idx="96631">0</cx:pt>
          <cx:pt idx="96632">1</cx:pt>
          <cx:pt idx="96633">0</cx:pt>
          <cx:pt idx="96634">1</cx:pt>
          <cx:pt idx="96635">1</cx:pt>
          <cx:pt idx="96636">1</cx:pt>
          <cx:pt idx="96637">1</cx:pt>
          <cx:pt idx="96638">0</cx:pt>
          <cx:pt idx="96639">0</cx:pt>
          <cx:pt idx="96640">1</cx:pt>
          <cx:pt idx="96641">1</cx:pt>
          <cx:pt idx="96642">0</cx:pt>
          <cx:pt idx="96643">0</cx:pt>
          <cx:pt idx="96644">0</cx:pt>
          <cx:pt idx="96645">1</cx:pt>
          <cx:pt idx="96646">1</cx:pt>
          <cx:pt idx="96647">0</cx:pt>
          <cx:pt idx="96648">1</cx:pt>
          <cx:pt idx="96649">1</cx:pt>
          <cx:pt idx="96650">0</cx:pt>
          <cx:pt idx="96651">0</cx:pt>
          <cx:pt idx="96652">0</cx:pt>
          <cx:pt idx="96653">0</cx:pt>
          <cx:pt idx="96654">0</cx:pt>
          <cx:pt idx="96655">0</cx:pt>
          <cx:pt idx="96656">1</cx:pt>
          <cx:pt idx="96657">0</cx:pt>
          <cx:pt idx="96658">0</cx:pt>
          <cx:pt idx="96659">0</cx:pt>
          <cx:pt idx="96660">0</cx:pt>
          <cx:pt idx="96661">0</cx:pt>
          <cx:pt idx="96662">1</cx:pt>
          <cx:pt idx="96663">0</cx:pt>
          <cx:pt idx="96664">0</cx:pt>
          <cx:pt idx="96665">1</cx:pt>
          <cx:pt idx="96666">0</cx:pt>
          <cx:pt idx="96667">1</cx:pt>
          <cx:pt idx="96668">1</cx:pt>
          <cx:pt idx="96669">0</cx:pt>
          <cx:pt idx="96670">1</cx:pt>
          <cx:pt idx="96671">1</cx:pt>
          <cx:pt idx="96672">1</cx:pt>
          <cx:pt idx="96673">0</cx:pt>
          <cx:pt idx="96674">0</cx:pt>
          <cx:pt idx="96675">1</cx:pt>
          <cx:pt idx="96676">1</cx:pt>
          <cx:pt idx="96677">0</cx:pt>
          <cx:pt idx="96678">1</cx:pt>
          <cx:pt idx="96679">0</cx:pt>
          <cx:pt idx="96680">0</cx:pt>
          <cx:pt idx="96681">1</cx:pt>
          <cx:pt idx="96682">0</cx:pt>
          <cx:pt idx="96683">0</cx:pt>
          <cx:pt idx="96684">1</cx:pt>
          <cx:pt idx="96685">1</cx:pt>
          <cx:pt idx="96686">1</cx:pt>
          <cx:pt idx="96687">1</cx:pt>
          <cx:pt idx="96688">0</cx:pt>
          <cx:pt idx="96689">0</cx:pt>
          <cx:pt idx="96690">0</cx:pt>
          <cx:pt idx="96691">0</cx:pt>
          <cx:pt idx="96692">1</cx:pt>
          <cx:pt idx="96693">1</cx:pt>
          <cx:pt idx="96694">1</cx:pt>
          <cx:pt idx="96695">0</cx:pt>
          <cx:pt idx="96696">0</cx:pt>
          <cx:pt idx="96697">1</cx:pt>
          <cx:pt idx="96698">1</cx:pt>
          <cx:pt idx="96699">0</cx:pt>
          <cx:pt idx="96700">0</cx:pt>
          <cx:pt idx="96701">0</cx:pt>
          <cx:pt idx="96702">1</cx:pt>
          <cx:pt idx="96703">0</cx:pt>
          <cx:pt idx="96704">0</cx:pt>
          <cx:pt idx="96705">0</cx:pt>
          <cx:pt idx="96706">0</cx:pt>
          <cx:pt idx="96707">0</cx:pt>
          <cx:pt idx="96708">0</cx:pt>
          <cx:pt idx="96709">0</cx:pt>
          <cx:pt idx="96710">1</cx:pt>
          <cx:pt idx="96711">0</cx:pt>
          <cx:pt idx="96712">1</cx:pt>
          <cx:pt idx="96713">1</cx:pt>
          <cx:pt idx="96714">1</cx:pt>
          <cx:pt idx="96715">1</cx:pt>
          <cx:pt idx="96716">0</cx:pt>
          <cx:pt idx="96717">1</cx:pt>
          <cx:pt idx="96718">0</cx:pt>
          <cx:pt idx="96719">1</cx:pt>
          <cx:pt idx="96720">1</cx:pt>
          <cx:pt idx="96721">1</cx:pt>
          <cx:pt idx="96722">1</cx:pt>
          <cx:pt idx="96723">0</cx:pt>
          <cx:pt idx="96724">1</cx:pt>
          <cx:pt idx="96725">1</cx:pt>
          <cx:pt idx="96726">0</cx:pt>
          <cx:pt idx="96727">1</cx:pt>
          <cx:pt idx="96728">1</cx:pt>
          <cx:pt idx="96729">0</cx:pt>
          <cx:pt idx="96730">0</cx:pt>
          <cx:pt idx="96731">0</cx:pt>
          <cx:pt idx="96732">1</cx:pt>
          <cx:pt idx="96733">1</cx:pt>
          <cx:pt idx="96734">1</cx:pt>
          <cx:pt idx="96735">0</cx:pt>
          <cx:pt idx="96736">0</cx:pt>
          <cx:pt idx="96737">0</cx:pt>
          <cx:pt idx="96738">0</cx:pt>
          <cx:pt idx="96739">1</cx:pt>
          <cx:pt idx="96740">1</cx:pt>
          <cx:pt idx="96741">0</cx:pt>
          <cx:pt idx="96742">0</cx:pt>
          <cx:pt idx="96743">0</cx:pt>
          <cx:pt idx="96744">0</cx:pt>
          <cx:pt idx="96745">0</cx:pt>
          <cx:pt idx="96746">1</cx:pt>
          <cx:pt idx="96747">1</cx:pt>
          <cx:pt idx="96748">0</cx:pt>
          <cx:pt idx="96749">0</cx:pt>
          <cx:pt idx="96750">1</cx:pt>
          <cx:pt idx="96751">1</cx:pt>
          <cx:pt idx="96752">0</cx:pt>
          <cx:pt idx="96753">1</cx:pt>
          <cx:pt idx="96754">0</cx:pt>
          <cx:pt idx="96755">0</cx:pt>
          <cx:pt idx="96756">1</cx:pt>
          <cx:pt idx="96757">0</cx:pt>
          <cx:pt idx="96758">1</cx:pt>
          <cx:pt idx="96759">1</cx:pt>
          <cx:pt idx="96760">1</cx:pt>
          <cx:pt idx="96761">1</cx:pt>
          <cx:pt idx="96762">0</cx:pt>
          <cx:pt idx="96763">0</cx:pt>
          <cx:pt idx="96764">0</cx:pt>
          <cx:pt idx="96765">1</cx:pt>
          <cx:pt idx="96766">0</cx:pt>
          <cx:pt idx="96767">1</cx:pt>
          <cx:pt idx="96768">0</cx:pt>
          <cx:pt idx="96769">1</cx:pt>
          <cx:pt idx="96770">1</cx:pt>
          <cx:pt idx="96771">0</cx:pt>
          <cx:pt idx="96772">0</cx:pt>
          <cx:pt idx="96773">1</cx:pt>
          <cx:pt idx="96774">0</cx:pt>
          <cx:pt idx="96775">0</cx:pt>
          <cx:pt idx="96776">0</cx:pt>
          <cx:pt idx="96777">0</cx:pt>
          <cx:pt idx="96778">1</cx:pt>
          <cx:pt idx="96779">0</cx:pt>
          <cx:pt idx="96780">0</cx:pt>
          <cx:pt idx="96781">1</cx:pt>
          <cx:pt idx="96782">1</cx:pt>
          <cx:pt idx="96783">0</cx:pt>
          <cx:pt idx="96784">1</cx:pt>
          <cx:pt idx="96785">1</cx:pt>
          <cx:pt idx="96786">0</cx:pt>
          <cx:pt idx="96787">1</cx:pt>
          <cx:pt idx="96788">1</cx:pt>
          <cx:pt idx="96789">0</cx:pt>
          <cx:pt idx="96790">1</cx:pt>
          <cx:pt idx="96791">0</cx:pt>
          <cx:pt idx="96792">0</cx:pt>
          <cx:pt idx="96793">1</cx:pt>
          <cx:pt idx="96794">0</cx:pt>
          <cx:pt idx="96795">0</cx:pt>
          <cx:pt idx="96796">0</cx:pt>
          <cx:pt idx="96797">0</cx:pt>
          <cx:pt idx="96798">1</cx:pt>
          <cx:pt idx="96799">1</cx:pt>
          <cx:pt idx="96800">0</cx:pt>
          <cx:pt idx="96801">1</cx:pt>
          <cx:pt idx="96802">0</cx:pt>
          <cx:pt idx="96803">1</cx:pt>
          <cx:pt idx="96804">1</cx:pt>
          <cx:pt idx="96805">0</cx:pt>
          <cx:pt idx="96806">1</cx:pt>
          <cx:pt idx="96807">1</cx:pt>
          <cx:pt idx="96808">0</cx:pt>
          <cx:pt idx="96809">1</cx:pt>
          <cx:pt idx="96810">1</cx:pt>
          <cx:pt idx="96811">1</cx:pt>
          <cx:pt idx="96812">1</cx:pt>
          <cx:pt idx="96813">1</cx:pt>
          <cx:pt idx="96814">0</cx:pt>
          <cx:pt idx="96815">0</cx:pt>
          <cx:pt idx="96816">1</cx:pt>
          <cx:pt idx="96817">0</cx:pt>
          <cx:pt idx="96818">0</cx:pt>
          <cx:pt idx="96819">0</cx:pt>
          <cx:pt idx="96820">1</cx:pt>
          <cx:pt idx="96821">1</cx:pt>
          <cx:pt idx="96822">0</cx:pt>
          <cx:pt idx="96823">0</cx:pt>
          <cx:pt idx="96824">0</cx:pt>
          <cx:pt idx="96825">1</cx:pt>
          <cx:pt idx="96826">0</cx:pt>
          <cx:pt idx="96827">0</cx:pt>
          <cx:pt idx="96828">1</cx:pt>
          <cx:pt idx="96829">0</cx:pt>
          <cx:pt idx="96830">1</cx:pt>
          <cx:pt idx="96831">0</cx:pt>
          <cx:pt idx="96832">0</cx:pt>
          <cx:pt idx="96833">1</cx:pt>
          <cx:pt idx="96834">0</cx:pt>
          <cx:pt idx="96835">1</cx:pt>
          <cx:pt idx="96836">1</cx:pt>
          <cx:pt idx="96837">0</cx:pt>
          <cx:pt idx="96838">0</cx:pt>
          <cx:pt idx="96839">0</cx:pt>
          <cx:pt idx="96840">0</cx:pt>
          <cx:pt idx="96841">1</cx:pt>
          <cx:pt idx="96842">0</cx:pt>
          <cx:pt idx="96843">0</cx:pt>
          <cx:pt idx="96844">1</cx:pt>
          <cx:pt idx="96845">0</cx:pt>
          <cx:pt idx="96846">0</cx:pt>
          <cx:pt idx="96847">0</cx:pt>
          <cx:pt idx="96848">1</cx:pt>
          <cx:pt idx="96849">1</cx:pt>
          <cx:pt idx="96850">0</cx:pt>
          <cx:pt idx="96851">0</cx:pt>
          <cx:pt idx="96852">0</cx:pt>
          <cx:pt idx="96853">1</cx:pt>
          <cx:pt idx="96854">0</cx:pt>
          <cx:pt idx="96855">0</cx:pt>
          <cx:pt idx="96856">0</cx:pt>
          <cx:pt idx="96857">0</cx:pt>
          <cx:pt idx="96858">0</cx:pt>
          <cx:pt idx="96859">1</cx:pt>
          <cx:pt idx="96860">1</cx:pt>
          <cx:pt idx="96861">1</cx:pt>
          <cx:pt idx="96862">0</cx:pt>
          <cx:pt idx="96863">0</cx:pt>
          <cx:pt idx="96864">1</cx:pt>
          <cx:pt idx="96865">1</cx:pt>
          <cx:pt idx="96866">0</cx:pt>
          <cx:pt idx="96867">0</cx:pt>
          <cx:pt idx="96868">0</cx:pt>
          <cx:pt idx="96869">1</cx:pt>
          <cx:pt idx="96870">1</cx:pt>
          <cx:pt idx="96871">0</cx:pt>
          <cx:pt idx="96872">0</cx:pt>
          <cx:pt idx="96873">1</cx:pt>
          <cx:pt idx="96874">1</cx:pt>
          <cx:pt idx="96875">1</cx:pt>
          <cx:pt idx="96876">1</cx:pt>
          <cx:pt idx="96877">0</cx:pt>
          <cx:pt idx="96878">0</cx:pt>
          <cx:pt idx="96879">0</cx:pt>
          <cx:pt idx="96880">1</cx:pt>
          <cx:pt idx="96881">0</cx:pt>
          <cx:pt idx="96882">0</cx:pt>
          <cx:pt idx="96883">0</cx:pt>
          <cx:pt idx="96884">1</cx:pt>
          <cx:pt idx="96885">0</cx:pt>
          <cx:pt idx="96886">0</cx:pt>
          <cx:pt idx="96887">1</cx:pt>
          <cx:pt idx="96888">0</cx:pt>
          <cx:pt idx="96889">1</cx:pt>
          <cx:pt idx="96890">1</cx:pt>
          <cx:pt idx="96891">1</cx:pt>
          <cx:pt idx="96892">1</cx:pt>
          <cx:pt idx="96893">0</cx:pt>
          <cx:pt idx="96894">1</cx:pt>
          <cx:pt idx="96895">1</cx:pt>
          <cx:pt idx="96896">0</cx:pt>
          <cx:pt idx="96897">0</cx:pt>
          <cx:pt idx="96898">1</cx:pt>
          <cx:pt idx="96899">0</cx:pt>
          <cx:pt idx="96900">0</cx:pt>
          <cx:pt idx="96901">0</cx:pt>
          <cx:pt idx="96902">0</cx:pt>
          <cx:pt idx="96903">0</cx:pt>
          <cx:pt idx="96904">0</cx:pt>
          <cx:pt idx="96905">1</cx:pt>
          <cx:pt idx="96906">0</cx:pt>
          <cx:pt idx="96907">0</cx:pt>
          <cx:pt idx="96908">1</cx:pt>
          <cx:pt idx="96909">0</cx:pt>
          <cx:pt idx="96910">1</cx:pt>
          <cx:pt idx="96911">0</cx:pt>
          <cx:pt idx="96912">0</cx:pt>
          <cx:pt idx="96913">0</cx:pt>
          <cx:pt idx="96914">1</cx:pt>
          <cx:pt idx="96915">0</cx:pt>
          <cx:pt idx="96916">0</cx:pt>
          <cx:pt idx="96917">1</cx:pt>
          <cx:pt idx="96918">1</cx:pt>
          <cx:pt idx="96919">1</cx:pt>
          <cx:pt idx="96920">0</cx:pt>
          <cx:pt idx="96921">1</cx:pt>
          <cx:pt idx="96922">0</cx:pt>
          <cx:pt idx="96923">1</cx:pt>
          <cx:pt idx="96924">0</cx:pt>
          <cx:pt idx="96925">1</cx:pt>
          <cx:pt idx="96926">0</cx:pt>
          <cx:pt idx="96927">1</cx:pt>
          <cx:pt idx="96928">0</cx:pt>
          <cx:pt idx="96929">1</cx:pt>
          <cx:pt idx="96930">1</cx:pt>
          <cx:pt idx="96931">0</cx:pt>
          <cx:pt idx="96932">1</cx:pt>
          <cx:pt idx="96933">0</cx:pt>
          <cx:pt idx="96934">1</cx:pt>
          <cx:pt idx="96935">0</cx:pt>
          <cx:pt idx="96936">1</cx:pt>
          <cx:pt idx="96937">1</cx:pt>
          <cx:pt idx="96938">0</cx:pt>
          <cx:pt idx="96939">1</cx:pt>
          <cx:pt idx="96940">0</cx:pt>
          <cx:pt idx="96941">0</cx:pt>
          <cx:pt idx="96942">0</cx:pt>
          <cx:pt idx="96943">0</cx:pt>
          <cx:pt idx="96944">0</cx:pt>
          <cx:pt idx="96945">0</cx:pt>
          <cx:pt idx="96946">0</cx:pt>
          <cx:pt idx="96947">1</cx:pt>
          <cx:pt idx="96948">0</cx:pt>
          <cx:pt idx="96949">1</cx:pt>
          <cx:pt idx="96950">1</cx:pt>
          <cx:pt idx="96951">0</cx:pt>
          <cx:pt idx="96952">1</cx:pt>
          <cx:pt idx="96953">0</cx:pt>
          <cx:pt idx="96954">0</cx:pt>
          <cx:pt idx="96955">1</cx:pt>
          <cx:pt idx="96956">1</cx:pt>
          <cx:pt idx="96957">1</cx:pt>
          <cx:pt idx="96958">1</cx:pt>
          <cx:pt idx="96959">1</cx:pt>
          <cx:pt idx="96960">1</cx:pt>
          <cx:pt idx="96961">1</cx:pt>
          <cx:pt idx="96962">0</cx:pt>
          <cx:pt idx="96963">1</cx:pt>
          <cx:pt idx="96964">1</cx:pt>
          <cx:pt idx="96965">1</cx:pt>
          <cx:pt idx="96966">0</cx:pt>
          <cx:pt idx="96967">1</cx:pt>
          <cx:pt idx="96968">0</cx:pt>
          <cx:pt idx="96969">0</cx:pt>
          <cx:pt idx="96970">0</cx:pt>
          <cx:pt idx="96971">0</cx:pt>
          <cx:pt idx="96972">1</cx:pt>
          <cx:pt idx="96973">1</cx:pt>
          <cx:pt idx="96974">0</cx:pt>
          <cx:pt idx="96975">1</cx:pt>
          <cx:pt idx="96976">0</cx:pt>
          <cx:pt idx="96977">0</cx:pt>
          <cx:pt idx="96978">0</cx:pt>
          <cx:pt idx="96979">1</cx:pt>
          <cx:pt idx="96980">1</cx:pt>
          <cx:pt idx="96981">0</cx:pt>
          <cx:pt idx="96982">1</cx:pt>
          <cx:pt idx="96983">0</cx:pt>
          <cx:pt idx="96984">1</cx:pt>
          <cx:pt idx="96985">0</cx:pt>
          <cx:pt idx="96986">1</cx:pt>
          <cx:pt idx="96987">1</cx:pt>
          <cx:pt idx="96988">1</cx:pt>
          <cx:pt idx="96989">1</cx:pt>
          <cx:pt idx="96990">0</cx:pt>
          <cx:pt idx="96991">1</cx:pt>
          <cx:pt idx="96992">1</cx:pt>
          <cx:pt idx="96993">0</cx:pt>
          <cx:pt idx="96994">0</cx:pt>
          <cx:pt idx="96995">0</cx:pt>
          <cx:pt idx="96996">1</cx:pt>
          <cx:pt idx="96997">1</cx:pt>
          <cx:pt idx="96998">0</cx:pt>
          <cx:pt idx="96999">0</cx:pt>
          <cx:pt idx="97000">0</cx:pt>
          <cx:pt idx="97001">0</cx:pt>
          <cx:pt idx="97002">0</cx:pt>
          <cx:pt idx="97003">1</cx:pt>
          <cx:pt idx="97004">0</cx:pt>
          <cx:pt idx="97005">0</cx:pt>
          <cx:pt idx="97006">0</cx:pt>
          <cx:pt idx="97007">1</cx:pt>
          <cx:pt idx="97008">0</cx:pt>
          <cx:pt idx="97009">1</cx:pt>
          <cx:pt idx="97010">1</cx:pt>
          <cx:pt idx="97011">1</cx:pt>
          <cx:pt idx="97012">1</cx:pt>
          <cx:pt idx="97013">1</cx:pt>
          <cx:pt idx="97014">1</cx:pt>
          <cx:pt idx="97015">1</cx:pt>
          <cx:pt idx="97016">1</cx:pt>
          <cx:pt idx="97017">0</cx:pt>
          <cx:pt idx="97018">0</cx:pt>
          <cx:pt idx="97019">1</cx:pt>
          <cx:pt idx="97020">0</cx:pt>
          <cx:pt idx="97021">1</cx:pt>
          <cx:pt idx="97022">1</cx:pt>
          <cx:pt idx="97023">0</cx:pt>
          <cx:pt idx="97024">1</cx:pt>
          <cx:pt idx="97025">0</cx:pt>
          <cx:pt idx="97026">0</cx:pt>
          <cx:pt idx="97027">0</cx:pt>
          <cx:pt idx="97028">1</cx:pt>
          <cx:pt idx="97029">1</cx:pt>
          <cx:pt idx="97030">0</cx:pt>
          <cx:pt idx="97031">0</cx:pt>
          <cx:pt idx="97032">1</cx:pt>
          <cx:pt idx="97033">1</cx:pt>
          <cx:pt idx="97034">1</cx:pt>
          <cx:pt idx="97035">0</cx:pt>
          <cx:pt idx="97036">1</cx:pt>
          <cx:pt idx="97037">1</cx:pt>
          <cx:pt idx="97038">0</cx:pt>
          <cx:pt idx="97039">0</cx:pt>
          <cx:pt idx="97040">0</cx:pt>
          <cx:pt idx="97041">0</cx:pt>
          <cx:pt idx="97042">1</cx:pt>
          <cx:pt idx="97043">0</cx:pt>
          <cx:pt idx="97044">0</cx:pt>
          <cx:pt idx="97045">0</cx:pt>
          <cx:pt idx="97046">1</cx:pt>
          <cx:pt idx="97047">1</cx:pt>
          <cx:pt idx="97048">1</cx:pt>
          <cx:pt idx="97049">1</cx:pt>
          <cx:pt idx="97050">1</cx:pt>
          <cx:pt idx="97051">1</cx:pt>
          <cx:pt idx="97052">0</cx:pt>
          <cx:pt idx="97053">0</cx:pt>
          <cx:pt idx="97054">1</cx:pt>
          <cx:pt idx="97055">0</cx:pt>
          <cx:pt idx="97056">0</cx:pt>
          <cx:pt idx="97057">1</cx:pt>
          <cx:pt idx="97058">0</cx:pt>
          <cx:pt idx="97059">0</cx:pt>
          <cx:pt idx="97060">1</cx:pt>
          <cx:pt idx="97061">0</cx:pt>
          <cx:pt idx="97062">0</cx:pt>
          <cx:pt idx="97063">1</cx:pt>
          <cx:pt idx="97064">0</cx:pt>
          <cx:pt idx="97065">1</cx:pt>
          <cx:pt idx="97066">0</cx:pt>
          <cx:pt idx="97067">0</cx:pt>
          <cx:pt idx="97068">1</cx:pt>
          <cx:pt idx="97069">0</cx:pt>
          <cx:pt idx="97070">0</cx:pt>
          <cx:pt idx="97071">0</cx:pt>
          <cx:pt idx="97072">1</cx:pt>
          <cx:pt idx="97073">0</cx:pt>
          <cx:pt idx="97074">1</cx:pt>
          <cx:pt idx="97075">1</cx:pt>
          <cx:pt idx="97076">0</cx:pt>
          <cx:pt idx="97077">0</cx:pt>
          <cx:pt idx="97078">0</cx:pt>
          <cx:pt idx="97079">0</cx:pt>
          <cx:pt idx="97080">0</cx:pt>
          <cx:pt idx="97081">0</cx:pt>
          <cx:pt idx="97082">0</cx:pt>
          <cx:pt idx="97083">0</cx:pt>
          <cx:pt idx="97084">1</cx:pt>
          <cx:pt idx="97085">0</cx:pt>
          <cx:pt idx="97086">0</cx:pt>
          <cx:pt idx="97087">0</cx:pt>
          <cx:pt idx="97088">0</cx:pt>
          <cx:pt idx="97089">0</cx:pt>
          <cx:pt idx="97090">1</cx:pt>
          <cx:pt idx="97091">1</cx:pt>
          <cx:pt idx="97092">1</cx:pt>
          <cx:pt idx="97093">1</cx:pt>
          <cx:pt idx="97094">0</cx:pt>
          <cx:pt idx="97095">0</cx:pt>
          <cx:pt idx="97096">1</cx:pt>
          <cx:pt idx="97097">0</cx:pt>
          <cx:pt idx="97098">0</cx:pt>
          <cx:pt idx="97099">0</cx:pt>
          <cx:pt idx="97100">1</cx:pt>
          <cx:pt idx="97101">1</cx:pt>
          <cx:pt idx="97102">1</cx:pt>
          <cx:pt idx="97103">0</cx:pt>
          <cx:pt idx="97104">0</cx:pt>
          <cx:pt idx="97105">1</cx:pt>
          <cx:pt idx="97106">1</cx:pt>
          <cx:pt idx="97107">1</cx:pt>
          <cx:pt idx="97108">1</cx:pt>
          <cx:pt idx="97109">1</cx:pt>
          <cx:pt idx="97110">0</cx:pt>
          <cx:pt idx="97111">0</cx:pt>
          <cx:pt idx="97112">1</cx:pt>
          <cx:pt idx="97113">0</cx:pt>
          <cx:pt idx="97114">0</cx:pt>
          <cx:pt idx="97115">0</cx:pt>
          <cx:pt idx="97116">0</cx:pt>
          <cx:pt idx="97117">1</cx:pt>
          <cx:pt idx="97118">1</cx:pt>
          <cx:pt idx="97119">1</cx:pt>
          <cx:pt idx="97120">1</cx:pt>
          <cx:pt idx="97121">1</cx:pt>
          <cx:pt idx="97122">0</cx:pt>
          <cx:pt idx="97123">1</cx:pt>
          <cx:pt idx="97124">1</cx:pt>
          <cx:pt idx="97125">1</cx:pt>
          <cx:pt idx="97126">0</cx:pt>
          <cx:pt idx="97127">0</cx:pt>
          <cx:pt idx="97128">0</cx:pt>
          <cx:pt idx="97129">1</cx:pt>
          <cx:pt idx="97130">1</cx:pt>
          <cx:pt idx="97131">1</cx:pt>
          <cx:pt idx="97132">0</cx:pt>
          <cx:pt idx="97133">0</cx:pt>
          <cx:pt idx="97134">0</cx:pt>
          <cx:pt idx="97135">0</cx:pt>
          <cx:pt idx="97136">0</cx:pt>
          <cx:pt idx="97137">1</cx:pt>
          <cx:pt idx="97138">1</cx:pt>
          <cx:pt idx="97139">1</cx:pt>
          <cx:pt idx="97140">0</cx:pt>
          <cx:pt idx="97141">0</cx:pt>
          <cx:pt idx="97142">1</cx:pt>
          <cx:pt idx="97143">0</cx:pt>
          <cx:pt idx="97144">1</cx:pt>
          <cx:pt idx="97145">1</cx:pt>
          <cx:pt idx="97146">0</cx:pt>
          <cx:pt idx="97147">0</cx:pt>
          <cx:pt idx="97148">0</cx:pt>
          <cx:pt idx="97149">1</cx:pt>
          <cx:pt idx="97150">1</cx:pt>
          <cx:pt idx="97151">0</cx:pt>
          <cx:pt idx="97152">0</cx:pt>
          <cx:pt idx="97153">0</cx:pt>
          <cx:pt idx="97154">0</cx:pt>
          <cx:pt idx="97155">0</cx:pt>
          <cx:pt idx="97156">0</cx:pt>
          <cx:pt idx="97157">1</cx:pt>
          <cx:pt idx="97158">1</cx:pt>
          <cx:pt idx="97159">0</cx:pt>
          <cx:pt idx="97160">0</cx:pt>
          <cx:pt idx="97161">1</cx:pt>
          <cx:pt idx="97162">0</cx:pt>
          <cx:pt idx="97163">1</cx:pt>
          <cx:pt idx="97164">0</cx:pt>
          <cx:pt idx="97165">0</cx:pt>
          <cx:pt idx="97166">1</cx:pt>
          <cx:pt idx="97167">1</cx:pt>
          <cx:pt idx="97168">1</cx:pt>
          <cx:pt idx="97169">1</cx:pt>
          <cx:pt idx="97170">0</cx:pt>
          <cx:pt idx="97171">0</cx:pt>
          <cx:pt idx="97172">1</cx:pt>
          <cx:pt idx="97173">1</cx:pt>
          <cx:pt idx="97174">1</cx:pt>
          <cx:pt idx="97175">1</cx:pt>
          <cx:pt idx="97176">1</cx:pt>
          <cx:pt idx="97177">0</cx:pt>
          <cx:pt idx="97178">1</cx:pt>
          <cx:pt idx="97179">1</cx:pt>
          <cx:pt idx="97180">1</cx:pt>
          <cx:pt idx="97181">1</cx:pt>
          <cx:pt idx="97182">0</cx:pt>
          <cx:pt idx="97183">0</cx:pt>
          <cx:pt idx="97184">1</cx:pt>
          <cx:pt idx="97185">0</cx:pt>
          <cx:pt idx="97186">0</cx:pt>
          <cx:pt idx="97187">1</cx:pt>
          <cx:pt idx="97188">1</cx:pt>
          <cx:pt idx="97189">0</cx:pt>
          <cx:pt idx="97190">1</cx:pt>
          <cx:pt idx="97191">0</cx:pt>
          <cx:pt idx="97192">0</cx:pt>
          <cx:pt idx="97193">0</cx:pt>
          <cx:pt idx="97194">0</cx:pt>
          <cx:pt idx="97195">0</cx:pt>
          <cx:pt idx="97196">0</cx:pt>
          <cx:pt idx="97197">1</cx:pt>
          <cx:pt idx="97198">0</cx:pt>
          <cx:pt idx="97199">1</cx:pt>
          <cx:pt idx="97200">1</cx:pt>
          <cx:pt idx="97201">0</cx:pt>
          <cx:pt idx="97202">0</cx:pt>
          <cx:pt idx="97203">0</cx:pt>
          <cx:pt idx="97204">1</cx:pt>
          <cx:pt idx="97205">0</cx:pt>
          <cx:pt idx="97206">0</cx:pt>
          <cx:pt idx="97207">0</cx:pt>
          <cx:pt idx="97208">1</cx:pt>
          <cx:pt idx="97209">0</cx:pt>
          <cx:pt idx="97210">0</cx:pt>
          <cx:pt idx="97211">0</cx:pt>
          <cx:pt idx="97212">0</cx:pt>
          <cx:pt idx="97213">1</cx:pt>
          <cx:pt idx="97214">0</cx:pt>
          <cx:pt idx="97215">0</cx:pt>
          <cx:pt idx="97216">0</cx:pt>
          <cx:pt idx="97217">0</cx:pt>
          <cx:pt idx="97218">1</cx:pt>
          <cx:pt idx="97219">0</cx:pt>
          <cx:pt idx="97220">0</cx:pt>
          <cx:pt idx="97221">1</cx:pt>
          <cx:pt idx="97222">1</cx:pt>
          <cx:pt idx="97223">0</cx:pt>
          <cx:pt idx="97224">1</cx:pt>
          <cx:pt idx="97225">0</cx:pt>
          <cx:pt idx="97226">1</cx:pt>
          <cx:pt idx="97227">1</cx:pt>
          <cx:pt idx="97228">1</cx:pt>
          <cx:pt idx="97229">0</cx:pt>
          <cx:pt idx="97230">0</cx:pt>
          <cx:pt idx="97231">1</cx:pt>
          <cx:pt idx="97232">0</cx:pt>
          <cx:pt idx="97233">1</cx:pt>
          <cx:pt idx="97234">1</cx:pt>
          <cx:pt idx="97235">0</cx:pt>
          <cx:pt idx="97236">0</cx:pt>
          <cx:pt idx="97237">0</cx:pt>
          <cx:pt idx="97238">0</cx:pt>
          <cx:pt idx="97239">0</cx:pt>
          <cx:pt idx="97240">0</cx:pt>
          <cx:pt idx="97241">0</cx:pt>
          <cx:pt idx="97242">0</cx:pt>
          <cx:pt idx="97243">0</cx:pt>
          <cx:pt idx="97244">0</cx:pt>
          <cx:pt idx="97245">0</cx:pt>
          <cx:pt idx="97246">0</cx:pt>
          <cx:pt idx="97247">1</cx:pt>
          <cx:pt idx="97248">1</cx:pt>
          <cx:pt idx="97249">0</cx:pt>
          <cx:pt idx="97250">1</cx:pt>
          <cx:pt idx="97251">1</cx:pt>
          <cx:pt idx="97252">0</cx:pt>
          <cx:pt idx="97253">0</cx:pt>
          <cx:pt idx="97254">0</cx:pt>
          <cx:pt idx="97255">0</cx:pt>
          <cx:pt idx="97256">1</cx:pt>
          <cx:pt idx="97257">1</cx:pt>
          <cx:pt idx="97258">0</cx:pt>
          <cx:pt idx="97259">0</cx:pt>
          <cx:pt idx="97260">0</cx:pt>
          <cx:pt idx="97261">1</cx:pt>
          <cx:pt idx="97262">0</cx:pt>
          <cx:pt idx="97263">1</cx:pt>
          <cx:pt idx="97264">0</cx:pt>
          <cx:pt idx="97265">0</cx:pt>
          <cx:pt idx="97266">0</cx:pt>
          <cx:pt idx="97267">0</cx:pt>
          <cx:pt idx="97268">0</cx:pt>
          <cx:pt idx="97269">1</cx:pt>
          <cx:pt idx="97270">0</cx:pt>
          <cx:pt idx="97271">0</cx:pt>
          <cx:pt idx="97272">1</cx:pt>
          <cx:pt idx="97273">0</cx:pt>
          <cx:pt idx="97274">1</cx:pt>
          <cx:pt idx="97275">0</cx:pt>
          <cx:pt idx="97276">0</cx:pt>
          <cx:pt idx="97277">1</cx:pt>
          <cx:pt idx="97278">0</cx:pt>
          <cx:pt idx="97279">1</cx:pt>
          <cx:pt idx="97280">1</cx:pt>
          <cx:pt idx="97281">0</cx:pt>
          <cx:pt idx="97282">1</cx:pt>
          <cx:pt idx="97283">1</cx:pt>
          <cx:pt idx="97284">0</cx:pt>
          <cx:pt idx="97285">1</cx:pt>
          <cx:pt idx="97286">0</cx:pt>
          <cx:pt idx="97287">1</cx:pt>
          <cx:pt idx="97288">0</cx:pt>
          <cx:pt idx="97289">0</cx:pt>
          <cx:pt idx="97290">1</cx:pt>
          <cx:pt idx="97291">1</cx:pt>
          <cx:pt idx="97292">0</cx:pt>
          <cx:pt idx="97293">0</cx:pt>
          <cx:pt idx="97294">1</cx:pt>
          <cx:pt idx="97295">1</cx:pt>
          <cx:pt idx="97296">0</cx:pt>
          <cx:pt idx="97297">0</cx:pt>
          <cx:pt idx="97298">1</cx:pt>
          <cx:pt idx="97299">0</cx:pt>
          <cx:pt idx="97300">0</cx:pt>
          <cx:pt idx="97301">1</cx:pt>
          <cx:pt idx="97302">0</cx:pt>
          <cx:pt idx="97303">0</cx:pt>
          <cx:pt idx="97304">0</cx:pt>
          <cx:pt idx="97305">0</cx:pt>
          <cx:pt idx="97306">0</cx:pt>
          <cx:pt idx="97307">0</cx:pt>
          <cx:pt idx="97308">0</cx:pt>
          <cx:pt idx="97309">0</cx:pt>
          <cx:pt idx="97310">1</cx:pt>
          <cx:pt idx="97311">0</cx:pt>
          <cx:pt idx="97312">1</cx:pt>
          <cx:pt idx="97313">1</cx:pt>
          <cx:pt idx="97314">0</cx:pt>
          <cx:pt idx="97315">1</cx:pt>
          <cx:pt idx="97316">1</cx:pt>
          <cx:pt idx="97317">0</cx:pt>
          <cx:pt idx="97318">0</cx:pt>
          <cx:pt idx="97319">1</cx:pt>
          <cx:pt idx="97320">1</cx:pt>
          <cx:pt idx="97321">0</cx:pt>
          <cx:pt idx="97322">0</cx:pt>
          <cx:pt idx="97323">0</cx:pt>
          <cx:pt idx="97324">0</cx:pt>
          <cx:pt idx="97325">0</cx:pt>
          <cx:pt idx="97326">0</cx:pt>
          <cx:pt idx="97327">1</cx:pt>
          <cx:pt idx="97328">0</cx:pt>
          <cx:pt idx="97329">0</cx:pt>
          <cx:pt idx="97330">0</cx:pt>
          <cx:pt idx="97331">1</cx:pt>
          <cx:pt idx="97332">1</cx:pt>
          <cx:pt idx="97333">0</cx:pt>
          <cx:pt idx="97334">1</cx:pt>
          <cx:pt idx="97335">1</cx:pt>
          <cx:pt idx="97336">0</cx:pt>
          <cx:pt idx="97337">0</cx:pt>
          <cx:pt idx="97338">1</cx:pt>
          <cx:pt idx="97339">1</cx:pt>
          <cx:pt idx="97340">1</cx:pt>
          <cx:pt idx="97341">0</cx:pt>
          <cx:pt idx="97342">0</cx:pt>
          <cx:pt idx="97343">1</cx:pt>
          <cx:pt idx="97344">0</cx:pt>
          <cx:pt idx="97345">0</cx:pt>
          <cx:pt idx="97346">0</cx:pt>
          <cx:pt idx="97347">1</cx:pt>
          <cx:pt idx="97348">0</cx:pt>
          <cx:pt idx="97349">1</cx:pt>
          <cx:pt idx="97350">0</cx:pt>
          <cx:pt idx="97351">0</cx:pt>
          <cx:pt idx="97352">0</cx:pt>
          <cx:pt idx="97353">0</cx:pt>
          <cx:pt idx="97354">1</cx:pt>
          <cx:pt idx="97355">1</cx:pt>
          <cx:pt idx="97356">0</cx:pt>
          <cx:pt idx="97357">1</cx:pt>
          <cx:pt idx="97358">0</cx:pt>
          <cx:pt idx="97359">1</cx:pt>
          <cx:pt idx="97360">0</cx:pt>
          <cx:pt idx="97361">0</cx:pt>
          <cx:pt idx="97362">1</cx:pt>
          <cx:pt idx="97363">1</cx:pt>
          <cx:pt idx="97364">1</cx:pt>
          <cx:pt idx="97365">0</cx:pt>
          <cx:pt idx="97366">1</cx:pt>
          <cx:pt idx="97367">0</cx:pt>
          <cx:pt idx="97368">1</cx:pt>
          <cx:pt idx="97369">0</cx:pt>
          <cx:pt idx="97370">1</cx:pt>
          <cx:pt idx="97371">0</cx:pt>
          <cx:pt idx="97372">0</cx:pt>
          <cx:pt idx="97373">1</cx:pt>
          <cx:pt idx="97374">0</cx:pt>
          <cx:pt idx="97375">0</cx:pt>
          <cx:pt idx="97376">1</cx:pt>
          <cx:pt idx="97377">1</cx:pt>
          <cx:pt idx="97378">1</cx:pt>
          <cx:pt idx="97379">0</cx:pt>
          <cx:pt idx="97380">0</cx:pt>
          <cx:pt idx="97381">0</cx:pt>
          <cx:pt idx="97382">0</cx:pt>
          <cx:pt idx="97383">0</cx:pt>
          <cx:pt idx="97384">0</cx:pt>
          <cx:pt idx="97385">0</cx:pt>
          <cx:pt idx="97386">0</cx:pt>
          <cx:pt idx="97387">0</cx:pt>
          <cx:pt idx="97388">1</cx:pt>
          <cx:pt idx="97389">0</cx:pt>
          <cx:pt idx="97390">0</cx:pt>
          <cx:pt idx="97391">1</cx:pt>
          <cx:pt idx="97392">1</cx:pt>
          <cx:pt idx="97393">1</cx:pt>
          <cx:pt idx="97394">0</cx:pt>
          <cx:pt idx="97395">1</cx:pt>
          <cx:pt idx="97396">1</cx:pt>
          <cx:pt idx="97397">0</cx:pt>
          <cx:pt idx="97398">0</cx:pt>
          <cx:pt idx="97399">0</cx:pt>
          <cx:pt idx="97400">1</cx:pt>
          <cx:pt idx="97401">1</cx:pt>
          <cx:pt idx="97402">0</cx:pt>
          <cx:pt idx="97403">1</cx:pt>
          <cx:pt idx="97404">0</cx:pt>
          <cx:pt idx="97405">0</cx:pt>
          <cx:pt idx="97406">0</cx:pt>
          <cx:pt idx="97407">1</cx:pt>
          <cx:pt idx="97408">0</cx:pt>
          <cx:pt idx="97409">1</cx:pt>
          <cx:pt idx="97410">0</cx:pt>
          <cx:pt idx="97411">0</cx:pt>
          <cx:pt idx="97412">0</cx:pt>
          <cx:pt idx="97413">0</cx:pt>
          <cx:pt idx="97414">1</cx:pt>
          <cx:pt idx="97415">0</cx:pt>
          <cx:pt idx="97416">0</cx:pt>
          <cx:pt idx="97417">0</cx:pt>
          <cx:pt idx="97418">0</cx:pt>
          <cx:pt idx="97419">0</cx:pt>
          <cx:pt idx="97420">1</cx:pt>
          <cx:pt idx="97421">0</cx:pt>
          <cx:pt idx="97422">0</cx:pt>
          <cx:pt idx="97423">0</cx:pt>
          <cx:pt idx="97424">1</cx:pt>
          <cx:pt idx="97425">0</cx:pt>
          <cx:pt idx="97426">1</cx:pt>
          <cx:pt idx="97427">1</cx:pt>
          <cx:pt idx="97428">1</cx:pt>
          <cx:pt idx="97429">1</cx:pt>
          <cx:pt idx="97430">1</cx:pt>
          <cx:pt idx="97431">0</cx:pt>
          <cx:pt idx="97432">0</cx:pt>
          <cx:pt idx="97433">1</cx:pt>
          <cx:pt idx="97434">1</cx:pt>
          <cx:pt idx="97435">1</cx:pt>
          <cx:pt idx="97436">1</cx:pt>
          <cx:pt idx="97437">0</cx:pt>
          <cx:pt idx="97438">1</cx:pt>
          <cx:pt idx="97439">1</cx:pt>
          <cx:pt idx="97440">0</cx:pt>
          <cx:pt idx="97441">1</cx:pt>
          <cx:pt idx="97442">1</cx:pt>
          <cx:pt idx="97443">0</cx:pt>
          <cx:pt idx="97444">0</cx:pt>
          <cx:pt idx="97445">1</cx:pt>
          <cx:pt idx="97446">0</cx:pt>
          <cx:pt idx="97447">1</cx:pt>
          <cx:pt idx="97448">0</cx:pt>
          <cx:pt idx="97449">0</cx:pt>
          <cx:pt idx="97450">0</cx:pt>
          <cx:pt idx="97451">1</cx:pt>
          <cx:pt idx="97452">0</cx:pt>
          <cx:pt idx="97453">1</cx:pt>
          <cx:pt idx="97454">0</cx:pt>
          <cx:pt idx="97455">1</cx:pt>
          <cx:pt idx="97456">1</cx:pt>
          <cx:pt idx="97457">1</cx:pt>
          <cx:pt idx="97458">0</cx:pt>
          <cx:pt idx="97459">0</cx:pt>
          <cx:pt idx="97460">1</cx:pt>
          <cx:pt idx="97461">0</cx:pt>
          <cx:pt idx="97462">0</cx:pt>
          <cx:pt idx="97463">0</cx:pt>
          <cx:pt idx="97464">0</cx:pt>
          <cx:pt idx="97465">0</cx:pt>
          <cx:pt idx="97466">1</cx:pt>
          <cx:pt idx="97467">0</cx:pt>
          <cx:pt idx="97468">0</cx:pt>
          <cx:pt idx="97469">1</cx:pt>
          <cx:pt idx="97470">1</cx:pt>
          <cx:pt idx="97471">1</cx:pt>
          <cx:pt idx="97472">1</cx:pt>
          <cx:pt idx="97473">0</cx:pt>
          <cx:pt idx="97474">1</cx:pt>
          <cx:pt idx="97475">0</cx:pt>
          <cx:pt idx="97476">1</cx:pt>
          <cx:pt idx="97477">1</cx:pt>
          <cx:pt idx="97478">0</cx:pt>
          <cx:pt idx="97479">1</cx:pt>
          <cx:pt idx="97480">1</cx:pt>
          <cx:pt idx="97481">0</cx:pt>
          <cx:pt idx="97482">0</cx:pt>
          <cx:pt idx="97483">1</cx:pt>
          <cx:pt idx="97484">1</cx:pt>
          <cx:pt idx="97485">1</cx:pt>
          <cx:pt idx="97486">1</cx:pt>
          <cx:pt idx="97487">1</cx:pt>
          <cx:pt idx="97488">1</cx:pt>
          <cx:pt idx="97489">1</cx:pt>
          <cx:pt idx="97490">1</cx:pt>
          <cx:pt idx="97491">1</cx:pt>
          <cx:pt idx="97492">1</cx:pt>
          <cx:pt idx="97493">0</cx:pt>
          <cx:pt idx="97494">0</cx:pt>
          <cx:pt idx="97495">1</cx:pt>
          <cx:pt idx="97496">0</cx:pt>
          <cx:pt idx="97497">0</cx:pt>
          <cx:pt idx="97498">0</cx:pt>
          <cx:pt idx="97499">0</cx:pt>
          <cx:pt idx="97500">1</cx:pt>
          <cx:pt idx="97501">0</cx:pt>
          <cx:pt idx="97502">1</cx:pt>
          <cx:pt idx="97503">0</cx:pt>
          <cx:pt idx="97504">0</cx:pt>
          <cx:pt idx="97505">1</cx:pt>
          <cx:pt idx="97506">1</cx:pt>
          <cx:pt idx="97507">0</cx:pt>
          <cx:pt idx="97508">0</cx:pt>
          <cx:pt idx="97509">1</cx:pt>
          <cx:pt idx="97510">1</cx:pt>
          <cx:pt idx="97511">1</cx:pt>
          <cx:pt idx="97512">1</cx:pt>
          <cx:pt idx="97513">0</cx:pt>
          <cx:pt idx="97514">1</cx:pt>
          <cx:pt idx="97515">1</cx:pt>
          <cx:pt idx="97516">0</cx:pt>
          <cx:pt idx="97517">0</cx:pt>
          <cx:pt idx="97518">0</cx:pt>
          <cx:pt idx="97519">1</cx:pt>
          <cx:pt idx="97520">0</cx:pt>
          <cx:pt idx="97521">0</cx:pt>
          <cx:pt idx="97522">1</cx:pt>
          <cx:pt idx="97523">0</cx:pt>
          <cx:pt idx="97524">1</cx:pt>
          <cx:pt idx="97525">1</cx:pt>
          <cx:pt idx="97526">0</cx:pt>
          <cx:pt idx="97527">0</cx:pt>
          <cx:pt idx="97528">0</cx:pt>
          <cx:pt idx="97529">0</cx:pt>
          <cx:pt idx="97530">0</cx:pt>
          <cx:pt idx="97531">0</cx:pt>
          <cx:pt idx="97532">0</cx:pt>
          <cx:pt idx="97533">1</cx:pt>
          <cx:pt idx="97534">0</cx:pt>
          <cx:pt idx="97535">0</cx:pt>
          <cx:pt idx="97536">1</cx:pt>
          <cx:pt idx="97537">1</cx:pt>
          <cx:pt idx="97538">1</cx:pt>
          <cx:pt idx="97539">0</cx:pt>
          <cx:pt idx="97540">1</cx:pt>
          <cx:pt idx="97541">0</cx:pt>
          <cx:pt idx="97542">1</cx:pt>
          <cx:pt idx="97543">1</cx:pt>
          <cx:pt idx="97544">1</cx:pt>
          <cx:pt idx="97545">1</cx:pt>
          <cx:pt idx="97546">1</cx:pt>
          <cx:pt idx="97547">0</cx:pt>
          <cx:pt idx="97548">0</cx:pt>
          <cx:pt idx="97549">1</cx:pt>
          <cx:pt idx="97550">0</cx:pt>
          <cx:pt idx="97551">0</cx:pt>
          <cx:pt idx="97552">1</cx:pt>
          <cx:pt idx="97553">0</cx:pt>
          <cx:pt idx="97554">0</cx:pt>
          <cx:pt idx="97555">1</cx:pt>
          <cx:pt idx="97556">0</cx:pt>
          <cx:pt idx="97557">1</cx:pt>
          <cx:pt idx="97558">1</cx:pt>
          <cx:pt idx="97559">0</cx:pt>
          <cx:pt idx="97560">0</cx:pt>
          <cx:pt idx="97561">1</cx:pt>
          <cx:pt idx="97562">1</cx:pt>
          <cx:pt idx="97563">1</cx:pt>
          <cx:pt idx="97564">0</cx:pt>
          <cx:pt idx="97565">0</cx:pt>
          <cx:pt idx="97566">0</cx:pt>
          <cx:pt idx="97567">0</cx:pt>
          <cx:pt idx="97568">0</cx:pt>
          <cx:pt idx="97569">0</cx:pt>
          <cx:pt idx="97570">1</cx:pt>
          <cx:pt idx="97571">0</cx:pt>
          <cx:pt idx="97572">1</cx:pt>
          <cx:pt idx="97573">0</cx:pt>
          <cx:pt idx="97574">0</cx:pt>
          <cx:pt idx="97575">0</cx:pt>
          <cx:pt idx="97576">1</cx:pt>
          <cx:pt idx="97577">1</cx:pt>
          <cx:pt idx="97578">1</cx:pt>
          <cx:pt idx="97579">1</cx:pt>
          <cx:pt idx="97580">0</cx:pt>
          <cx:pt idx="97581">0</cx:pt>
          <cx:pt idx="97582">1</cx:pt>
          <cx:pt idx="97583">0</cx:pt>
          <cx:pt idx="97584">0</cx:pt>
          <cx:pt idx="97585">0</cx:pt>
          <cx:pt idx="97586">1</cx:pt>
          <cx:pt idx="97587">1</cx:pt>
          <cx:pt idx="97588">1</cx:pt>
          <cx:pt idx="97589">0</cx:pt>
          <cx:pt idx="97590">0</cx:pt>
          <cx:pt idx="97591">1</cx:pt>
          <cx:pt idx="97592">0</cx:pt>
          <cx:pt idx="97593">0</cx:pt>
          <cx:pt idx="97594">1</cx:pt>
          <cx:pt idx="97595">1</cx:pt>
          <cx:pt idx="97596">1</cx:pt>
          <cx:pt idx="97597">1</cx:pt>
          <cx:pt idx="97598">0</cx:pt>
          <cx:pt idx="97599">1</cx:pt>
          <cx:pt idx="97600">0</cx:pt>
          <cx:pt idx="97601">1</cx:pt>
          <cx:pt idx="97602">0</cx:pt>
          <cx:pt idx="97603">1</cx:pt>
          <cx:pt idx="97604">0</cx:pt>
          <cx:pt idx="97605">0</cx:pt>
          <cx:pt idx="97606">0</cx:pt>
          <cx:pt idx="97607">1</cx:pt>
          <cx:pt idx="97608">0</cx:pt>
          <cx:pt idx="97609">0</cx:pt>
          <cx:pt idx="97610">0</cx:pt>
          <cx:pt idx="97611">0</cx:pt>
          <cx:pt idx="97612">0</cx:pt>
          <cx:pt idx="97613">0</cx:pt>
          <cx:pt idx="97614">0</cx:pt>
          <cx:pt idx="97615">0</cx:pt>
          <cx:pt idx="97616">1</cx:pt>
          <cx:pt idx="97617">0</cx:pt>
          <cx:pt idx="97618">1</cx:pt>
          <cx:pt idx="97619">0</cx:pt>
          <cx:pt idx="97620">1</cx:pt>
          <cx:pt idx="97621">1</cx:pt>
          <cx:pt idx="97622">0</cx:pt>
          <cx:pt idx="97623">0</cx:pt>
          <cx:pt idx="97624">1</cx:pt>
          <cx:pt idx="97625">1</cx:pt>
          <cx:pt idx="97626">0</cx:pt>
          <cx:pt idx="97627">0</cx:pt>
          <cx:pt idx="97628">0</cx:pt>
          <cx:pt idx="97629">0</cx:pt>
          <cx:pt idx="97630">1</cx:pt>
          <cx:pt idx="97631">0</cx:pt>
          <cx:pt idx="97632">1</cx:pt>
          <cx:pt idx="97633">1</cx:pt>
          <cx:pt idx="97634">1</cx:pt>
          <cx:pt idx="97635">0</cx:pt>
          <cx:pt idx="97636">1</cx:pt>
          <cx:pt idx="97637">0</cx:pt>
          <cx:pt idx="97638">1</cx:pt>
          <cx:pt idx="97639">0</cx:pt>
          <cx:pt idx="97640">0</cx:pt>
          <cx:pt idx="97641">0</cx:pt>
          <cx:pt idx="97642">0</cx:pt>
          <cx:pt idx="97643">1</cx:pt>
          <cx:pt idx="97644">0</cx:pt>
          <cx:pt idx="97645">0</cx:pt>
          <cx:pt idx="97646">1</cx:pt>
          <cx:pt idx="97647">1</cx:pt>
          <cx:pt idx="97648">1</cx:pt>
          <cx:pt idx="97649">0</cx:pt>
          <cx:pt idx="97650">0</cx:pt>
          <cx:pt idx="97651">0</cx:pt>
          <cx:pt idx="97652">0</cx:pt>
          <cx:pt idx="97653">1</cx:pt>
          <cx:pt idx="97654">0</cx:pt>
          <cx:pt idx="97655">0</cx:pt>
          <cx:pt idx="97656">1</cx:pt>
          <cx:pt idx="97657">0</cx:pt>
          <cx:pt idx="97658">0</cx:pt>
          <cx:pt idx="97659">0</cx:pt>
          <cx:pt idx="97660">0</cx:pt>
          <cx:pt idx="97661">0</cx:pt>
          <cx:pt idx="97662">1</cx:pt>
          <cx:pt idx="97663">1</cx:pt>
          <cx:pt idx="97664">0</cx:pt>
          <cx:pt idx="97665">0</cx:pt>
          <cx:pt idx="97666">0</cx:pt>
          <cx:pt idx="97667">0</cx:pt>
          <cx:pt idx="97668">0</cx:pt>
          <cx:pt idx="97669">1</cx:pt>
          <cx:pt idx="97670">0</cx:pt>
          <cx:pt idx="97671">1</cx:pt>
          <cx:pt idx="97672">0</cx:pt>
          <cx:pt idx="97673">0</cx:pt>
          <cx:pt idx="97674">0</cx:pt>
          <cx:pt idx="97675">1</cx:pt>
          <cx:pt idx="97676">1</cx:pt>
          <cx:pt idx="97677">1</cx:pt>
          <cx:pt idx="97678">0</cx:pt>
          <cx:pt idx="97679">1</cx:pt>
          <cx:pt idx="97680">1</cx:pt>
          <cx:pt idx="97681">0</cx:pt>
          <cx:pt idx="97682">1</cx:pt>
          <cx:pt idx="97683">0</cx:pt>
          <cx:pt idx="97684">0</cx:pt>
          <cx:pt idx="97685">0</cx:pt>
          <cx:pt idx="97686">0</cx:pt>
          <cx:pt idx="97687">1</cx:pt>
          <cx:pt idx="97688">1</cx:pt>
          <cx:pt idx="97689">0</cx:pt>
          <cx:pt idx="97690">0</cx:pt>
          <cx:pt idx="97691">0</cx:pt>
          <cx:pt idx="97692">1</cx:pt>
          <cx:pt idx="97693">0</cx:pt>
          <cx:pt idx="97694">0</cx:pt>
          <cx:pt idx="97695">0</cx:pt>
          <cx:pt idx="97696">0</cx:pt>
          <cx:pt idx="97697">0</cx:pt>
          <cx:pt idx="97698">1</cx:pt>
          <cx:pt idx="97699">0</cx:pt>
          <cx:pt idx="97700">0</cx:pt>
          <cx:pt idx="97701">0</cx:pt>
          <cx:pt idx="97702">1</cx:pt>
          <cx:pt idx="97703">0</cx:pt>
          <cx:pt idx="97704">0</cx:pt>
          <cx:pt idx="97705">1</cx:pt>
          <cx:pt idx="97706">0</cx:pt>
          <cx:pt idx="97707">0</cx:pt>
          <cx:pt idx="97708">1</cx:pt>
          <cx:pt idx="97709">0</cx:pt>
          <cx:pt idx="97710">0</cx:pt>
          <cx:pt idx="97711">1</cx:pt>
          <cx:pt idx="97712">0</cx:pt>
          <cx:pt idx="97713">1</cx:pt>
          <cx:pt idx="97714">0</cx:pt>
          <cx:pt idx="97715">1</cx:pt>
          <cx:pt idx="97716">0</cx:pt>
          <cx:pt idx="97717">0</cx:pt>
          <cx:pt idx="97718">1</cx:pt>
          <cx:pt idx="97719">1</cx:pt>
          <cx:pt idx="97720">1</cx:pt>
          <cx:pt idx="97721">0</cx:pt>
          <cx:pt idx="97722">1</cx:pt>
          <cx:pt idx="97723">0</cx:pt>
          <cx:pt idx="97724">1</cx:pt>
          <cx:pt idx="97725">0</cx:pt>
          <cx:pt idx="97726">1</cx:pt>
          <cx:pt idx="97727">1</cx:pt>
          <cx:pt idx="97728">0</cx:pt>
          <cx:pt idx="97729">0</cx:pt>
          <cx:pt idx="97730">0</cx:pt>
          <cx:pt idx="97731">0</cx:pt>
          <cx:pt idx="97732">1</cx:pt>
          <cx:pt idx="97733">0</cx:pt>
          <cx:pt idx="97734">0</cx:pt>
          <cx:pt idx="97735">0</cx:pt>
          <cx:pt idx="97736">1</cx:pt>
          <cx:pt idx="97737">1</cx:pt>
          <cx:pt idx="97738">0</cx:pt>
          <cx:pt idx="97739">1</cx:pt>
          <cx:pt idx="97740">0</cx:pt>
          <cx:pt idx="97741">0</cx:pt>
          <cx:pt idx="97742">1</cx:pt>
          <cx:pt idx="97743">1</cx:pt>
          <cx:pt idx="97744">1</cx:pt>
          <cx:pt idx="97745">0</cx:pt>
          <cx:pt idx="97746">1</cx:pt>
          <cx:pt idx="97747">0</cx:pt>
          <cx:pt idx="97748">1</cx:pt>
          <cx:pt idx="97749">0</cx:pt>
          <cx:pt idx="97750">1</cx:pt>
          <cx:pt idx="97751">1</cx:pt>
          <cx:pt idx="97752">0</cx:pt>
          <cx:pt idx="97753">1</cx:pt>
          <cx:pt idx="97754">0</cx:pt>
          <cx:pt idx="97755">1</cx:pt>
          <cx:pt idx="97756">0</cx:pt>
          <cx:pt idx="97757">0</cx:pt>
          <cx:pt idx="97758">1</cx:pt>
          <cx:pt idx="97759">1</cx:pt>
          <cx:pt idx="97760">1</cx:pt>
          <cx:pt idx="97761">1</cx:pt>
          <cx:pt idx="97762">1</cx:pt>
          <cx:pt idx="97763">0</cx:pt>
          <cx:pt idx="97764">1</cx:pt>
          <cx:pt idx="97765">0</cx:pt>
          <cx:pt idx="97766">1</cx:pt>
          <cx:pt idx="97767">0</cx:pt>
          <cx:pt idx="97768">0</cx:pt>
          <cx:pt idx="97769">1</cx:pt>
          <cx:pt idx="97770">1</cx:pt>
          <cx:pt idx="97771">1</cx:pt>
          <cx:pt idx="97772">0</cx:pt>
          <cx:pt idx="97773">1</cx:pt>
          <cx:pt idx="97774">1</cx:pt>
          <cx:pt idx="97775">1</cx:pt>
          <cx:pt idx="97776">1</cx:pt>
          <cx:pt idx="97777">1</cx:pt>
          <cx:pt idx="97778">1</cx:pt>
          <cx:pt idx="97779">1</cx:pt>
          <cx:pt idx="97780">0</cx:pt>
          <cx:pt idx="97781">1</cx:pt>
          <cx:pt idx="97782">0</cx:pt>
          <cx:pt idx="97783">0</cx:pt>
          <cx:pt idx="97784">1</cx:pt>
          <cx:pt idx="97785">0</cx:pt>
          <cx:pt idx="97786">0</cx:pt>
          <cx:pt idx="97787">1</cx:pt>
          <cx:pt idx="97788">0</cx:pt>
          <cx:pt idx="97789">0</cx:pt>
          <cx:pt idx="97790">0</cx:pt>
          <cx:pt idx="97791">0</cx:pt>
          <cx:pt idx="97792">0</cx:pt>
          <cx:pt idx="97793">1</cx:pt>
          <cx:pt idx="97794">0</cx:pt>
          <cx:pt idx="97795">1</cx:pt>
          <cx:pt idx="97796">0</cx:pt>
          <cx:pt idx="97797">0</cx:pt>
          <cx:pt idx="97798">0</cx:pt>
          <cx:pt idx="97799">0</cx:pt>
          <cx:pt idx="97800">1</cx:pt>
          <cx:pt idx="97801">0</cx:pt>
          <cx:pt idx="97802">1</cx:pt>
          <cx:pt idx="97803">0</cx:pt>
          <cx:pt idx="97804">0</cx:pt>
          <cx:pt idx="97805">0</cx:pt>
          <cx:pt idx="97806">0</cx:pt>
          <cx:pt idx="97807">1</cx:pt>
          <cx:pt idx="97808">1</cx:pt>
          <cx:pt idx="97809">1</cx:pt>
          <cx:pt idx="97810">0</cx:pt>
          <cx:pt idx="97811">0</cx:pt>
          <cx:pt idx="97812">1</cx:pt>
          <cx:pt idx="97813">1</cx:pt>
          <cx:pt idx="97814">0</cx:pt>
          <cx:pt idx="97815">0</cx:pt>
          <cx:pt idx="97816">1</cx:pt>
          <cx:pt idx="97817">0</cx:pt>
          <cx:pt idx="97818">0</cx:pt>
          <cx:pt idx="97819">0</cx:pt>
          <cx:pt idx="97820">0</cx:pt>
          <cx:pt idx="97821">0</cx:pt>
          <cx:pt idx="97822">0</cx:pt>
          <cx:pt idx="97823">0</cx:pt>
          <cx:pt idx="97824">0</cx:pt>
          <cx:pt idx="97825">0</cx:pt>
          <cx:pt idx="97826">1</cx:pt>
          <cx:pt idx="97827">0</cx:pt>
          <cx:pt idx="97828">1</cx:pt>
          <cx:pt idx="97829">1</cx:pt>
          <cx:pt idx="97830">0</cx:pt>
          <cx:pt idx="97831">1</cx:pt>
          <cx:pt idx="97832">0</cx:pt>
          <cx:pt idx="97833">0</cx:pt>
          <cx:pt idx="97834">0</cx:pt>
          <cx:pt idx="97835">1</cx:pt>
          <cx:pt idx="97836">1</cx:pt>
          <cx:pt idx="97837">1</cx:pt>
          <cx:pt idx="97838">0</cx:pt>
          <cx:pt idx="97839">1</cx:pt>
          <cx:pt idx="97840">1</cx:pt>
          <cx:pt idx="97841">1</cx:pt>
          <cx:pt idx="97842">0</cx:pt>
          <cx:pt idx="97843">0</cx:pt>
          <cx:pt idx="97844">1</cx:pt>
          <cx:pt idx="97845">0</cx:pt>
          <cx:pt idx="97846">0</cx:pt>
          <cx:pt idx="97847">1</cx:pt>
          <cx:pt idx="97848">0</cx:pt>
          <cx:pt idx="97849">0</cx:pt>
          <cx:pt idx="97850">1</cx:pt>
          <cx:pt idx="97851">0</cx:pt>
          <cx:pt idx="97852">0</cx:pt>
          <cx:pt idx="97853">1</cx:pt>
          <cx:pt idx="97854">1</cx:pt>
          <cx:pt idx="97855">0</cx:pt>
          <cx:pt idx="97856">0</cx:pt>
          <cx:pt idx="97857">1</cx:pt>
          <cx:pt idx="97858">1</cx:pt>
          <cx:pt idx="97859">0</cx:pt>
          <cx:pt idx="97860">0</cx:pt>
          <cx:pt idx="97861">1</cx:pt>
          <cx:pt idx="97862">1</cx:pt>
          <cx:pt idx="97863">0</cx:pt>
          <cx:pt idx="97864">0</cx:pt>
          <cx:pt idx="97865">0</cx:pt>
          <cx:pt idx="97866">1</cx:pt>
          <cx:pt idx="97867">1</cx:pt>
          <cx:pt idx="97868">1</cx:pt>
          <cx:pt idx="97869">1</cx:pt>
          <cx:pt idx="97870">0</cx:pt>
          <cx:pt idx="97871">1</cx:pt>
          <cx:pt idx="97872">0</cx:pt>
          <cx:pt idx="97873">0</cx:pt>
          <cx:pt idx="97874">0</cx:pt>
          <cx:pt idx="97875">0</cx:pt>
          <cx:pt idx="97876">1</cx:pt>
          <cx:pt idx="97877">0</cx:pt>
          <cx:pt idx="97878">1</cx:pt>
          <cx:pt idx="97879">1</cx:pt>
          <cx:pt idx="97880">1</cx:pt>
          <cx:pt idx="97881">0</cx:pt>
          <cx:pt idx="97882">0</cx:pt>
          <cx:pt idx="97883">0</cx:pt>
          <cx:pt idx="97884">1</cx:pt>
          <cx:pt idx="97885">0</cx:pt>
          <cx:pt idx="97886">1</cx:pt>
          <cx:pt idx="97887">1</cx:pt>
          <cx:pt idx="97888">0</cx:pt>
          <cx:pt idx="97889">0</cx:pt>
          <cx:pt idx="97890">0</cx:pt>
          <cx:pt idx="97891">1</cx:pt>
          <cx:pt idx="97892">0</cx:pt>
          <cx:pt idx="97893">0</cx:pt>
          <cx:pt idx="97894">1</cx:pt>
          <cx:pt idx="97895">1</cx:pt>
          <cx:pt idx="97896">0</cx:pt>
          <cx:pt idx="97897">1</cx:pt>
          <cx:pt idx="97898">1</cx:pt>
          <cx:pt idx="97899">1</cx:pt>
          <cx:pt idx="97900">1</cx:pt>
          <cx:pt idx="97901">0</cx:pt>
          <cx:pt idx="97902">0</cx:pt>
          <cx:pt idx="97903">0</cx:pt>
          <cx:pt idx="97904">0</cx:pt>
          <cx:pt idx="97905">0</cx:pt>
          <cx:pt idx="97906">0</cx:pt>
          <cx:pt idx="97907">0</cx:pt>
          <cx:pt idx="97908">1</cx:pt>
          <cx:pt idx="97909">1</cx:pt>
          <cx:pt idx="97910">1</cx:pt>
          <cx:pt idx="97911">0</cx:pt>
          <cx:pt idx="97912">0</cx:pt>
          <cx:pt idx="97913">0</cx:pt>
          <cx:pt idx="97914">0</cx:pt>
          <cx:pt idx="97915">0</cx:pt>
          <cx:pt idx="97916">0</cx:pt>
          <cx:pt idx="97917">0</cx:pt>
          <cx:pt idx="97918">1</cx:pt>
          <cx:pt idx="97919">0</cx:pt>
          <cx:pt idx="97920">0</cx:pt>
          <cx:pt idx="97921">0</cx:pt>
          <cx:pt idx="97922">0</cx:pt>
          <cx:pt idx="97923">1</cx:pt>
          <cx:pt idx="97924">0</cx:pt>
          <cx:pt idx="97925">0</cx:pt>
          <cx:pt idx="97926">1</cx:pt>
          <cx:pt idx="97927">1</cx:pt>
          <cx:pt idx="97928">1</cx:pt>
          <cx:pt idx="97929">0</cx:pt>
          <cx:pt idx="97930">1</cx:pt>
          <cx:pt idx="97931">1</cx:pt>
          <cx:pt idx="97932">1</cx:pt>
          <cx:pt idx="97933">0</cx:pt>
          <cx:pt idx="97934">1</cx:pt>
          <cx:pt idx="97935">0</cx:pt>
          <cx:pt idx="97936">1</cx:pt>
          <cx:pt idx="97937">0</cx:pt>
          <cx:pt idx="97938">0</cx:pt>
          <cx:pt idx="97939">0</cx:pt>
          <cx:pt idx="97940">0</cx:pt>
          <cx:pt idx="97941">1</cx:pt>
          <cx:pt idx="97942">1</cx:pt>
          <cx:pt idx="97943">1</cx:pt>
          <cx:pt idx="97944">0</cx:pt>
          <cx:pt idx="97945">0</cx:pt>
          <cx:pt idx="97946">0</cx:pt>
          <cx:pt idx="97947">0</cx:pt>
          <cx:pt idx="97948">0</cx:pt>
          <cx:pt idx="97949">1</cx:pt>
          <cx:pt idx="97950">1</cx:pt>
          <cx:pt idx="97951">1</cx:pt>
          <cx:pt idx="97952">0</cx:pt>
          <cx:pt idx="97953">0</cx:pt>
          <cx:pt idx="97954">0</cx:pt>
          <cx:pt idx="97955">1</cx:pt>
          <cx:pt idx="97956">0</cx:pt>
          <cx:pt idx="97957">0</cx:pt>
          <cx:pt idx="97958">0</cx:pt>
          <cx:pt idx="97959">1</cx:pt>
          <cx:pt idx="97960">0</cx:pt>
          <cx:pt idx="97961">1</cx:pt>
          <cx:pt idx="97962">0</cx:pt>
          <cx:pt idx="97963">0</cx:pt>
          <cx:pt idx="97964">0</cx:pt>
          <cx:pt idx="97965">0</cx:pt>
          <cx:pt idx="97966">1</cx:pt>
          <cx:pt idx="97967">0</cx:pt>
          <cx:pt idx="97968">1</cx:pt>
          <cx:pt idx="97969">1</cx:pt>
          <cx:pt idx="97970">0</cx:pt>
          <cx:pt idx="97971">1</cx:pt>
          <cx:pt idx="97972">0</cx:pt>
          <cx:pt idx="97973">0</cx:pt>
          <cx:pt idx="97974">1</cx:pt>
          <cx:pt idx="97975">0</cx:pt>
          <cx:pt idx="97976">0</cx:pt>
          <cx:pt idx="97977">1</cx:pt>
          <cx:pt idx="97978">0</cx:pt>
          <cx:pt idx="97979">1</cx:pt>
          <cx:pt idx="97980">0</cx:pt>
          <cx:pt idx="97981">0</cx:pt>
          <cx:pt idx="97982">1</cx:pt>
          <cx:pt idx="97983">0</cx:pt>
          <cx:pt idx="97984">1</cx:pt>
          <cx:pt idx="97985">0</cx:pt>
          <cx:pt idx="97986">0</cx:pt>
          <cx:pt idx="97987">1</cx:pt>
          <cx:pt idx="97988">0</cx:pt>
          <cx:pt idx="97989">1</cx:pt>
          <cx:pt idx="97990">0</cx:pt>
          <cx:pt idx="97991">0</cx:pt>
          <cx:pt idx="97992">0</cx:pt>
          <cx:pt idx="97993">0</cx:pt>
          <cx:pt idx="97994">0</cx:pt>
          <cx:pt idx="97995">1</cx:pt>
          <cx:pt idx="97996">0</cx:pt>
          <cx:pt idx="97997">1</cx:pt>
          <cx:pt idx="97998">0</cx:pt>
          <cx:pt idx="97999">0</cx:pt>
          <cx:pt idx="98000">1</cx:pt>
          <cx:pt idx="98001">0</cx:pt>
          <cx:pt idx="98002">0</cx:pt>
          <cx:pt idx="98003">1</cx:pt>
          <cx:pt idx="98004">0</cx:pt>
          <cx:pt idx="98005">1</cx:pt>
          <cx:pt idx="98006">1</cx:pt>
          <cx:pt idx="98007">0</cx:pt>
          <cx:pt idx="98008">1</cx:pt>
          <cx:pt idx="98009">0</cx:pt>
          <cx:pt idx="98010">0</cx:pt>
          <cx:pt idx="98011">0</cx:pt>
          <cx:pt idx="98012">1</cx:pt>
          <cx:pt idx="98013">1</cx:pt>
          <cx:pt idx="98014">0</cx:pt>
          <cx:pt idx="98015">1</cx:pt>
          <cx:pt idx="98016">1</cx:pt>
          <cx:pt idx="98017">1</cx:pt>
          <cx:pt idx="98018">1</cx:pt>
          <cx:pt idx="98019">1</cx:pt>
          <cx:pt idx="98020">1</cx:pt>
          <cx:pt idx="98021">1</cx:pt>
          <cx:pt idx="98022">1</cx:pt>
          <cx:pt idx="98023">0</cx:pt>
          <cx:pt idx="98024">1</cx:pt>
          <cx:pt idx="98025">0</cx:pt>
          <cx:pt idx="98026">1</cx:pt>
          <cx:pt idx="98027">1</cx:pt>
          <cx:pt idx="98028">0</cx:pt>
          <cx:pt idx="98029">0</cx:pt>
          <cx:pt idx="98030">0</cx:pt>
          <cx:pt idx="98031">1</cx:pt>
          <cx:pt idx="98032">0</cx:pt>
          <cx:pt idx="98033">1</cx:pt>
          <cx:pt idx="98034">1</cx:pt>
          <cx:pt idx="98035">1</cx:pt>
          <cx:pt idx="98036">0</cx:pt>
          <cx:pt idx="98037">0</cx:pt>
          <cx:pt idx="98038">1</cx:pt>
          <cx:pt idx="98039">1</cx:pt>
          <cx:pt idx="98040">0</cx:pt>
          <cx:pt idx="98041">0</cx:pt>
          <cx:pt idx="98042">0</cx:pt>
          <cx:pt idx="98043">0</cx:pt>
          <cx:pt idx="98044">0</cx:pt>
          <cx:pt idx="98045">0</cx:pt>
          <cx:pt idx="98046">1</cx:pt>
          <cx:pt idx="98047">0</cx:pt>
          <cx:pt idx="98048">1</cx:pt>
          <cx:pt idx="98049">0</cx:pt>
          <cx:pt idx="98050">0</cx:pt>
          <cx:pt idx="98051">1</cx:pt>
          <cx:pt idx="98052">1</cx:pt>
          <cx:pt idx="98053">0</cx:pt>
          <cx:pt idx="98054">0</cx:pt>
          <cx:pt idx="98055">1</cx:pt>
          <cx:pt idx="98056">0</cx:pt>
          <cx:pt idx="98057">0</cx:pt>
          <cx:pt idx="98058">1</cx:pt>
          <cx:pt idx="98059">0</cx:pt>
          <cx:pt idx="98060">1</cx:pt>
          <cx:pt idx="98061">0</cx:pt>
          <cx:pt idx="98062">0</cx:pt>
          <cx:pt idx="98063">1</cx:pt>
          <cx:pt idx="98064">1</cx:pt>
          <cx:pt idx="98065">0</cx:pt>
          <cx:pt idx="98066">0</cx:pt>
          <cx:pt idx="98067">1</cx:pt>
          <cx:pt idx="98068">0</cx:pt>
          <cx:pt idx="98069">1</cx:pt>
          <cx:pt idx="98070">0</cx:pt>
          <cx:pt idx="98071">0</cx:pt>
          <cx:pt idx="98072">0</cx:pt>
          <cx:pt idx="98073">0</cx:pt>
          <cx:pt idx="98074">1</cx:pt>
          <cx:pt idx="98075">0</cx:pt>
          <cx:pt idx="98076">0</cx:pt>
          <cx:pt idx="98077">0</cx:pt>
          <cx:pt idx="98078">0</cx:pt>
          <cx:pt idx="98079">1</cx:pt>
          <cx:pt idx="98080">1</cx:pt>
          <cx:pt idx="98081">0</cx:pt>
          <cx:pt idx="98082">0</cx:pt>
          <cx:pt idx="98083">0</cx:pt>
          <cx:pt idx="98084">0</cx:pt>
          <cx:pt idx="98085">1</cx:pt>
          <cx:pt idx="98086">0</cx:pt>
          <cx:pt idx="98087">0</cx:pt>
          <cx:pt idx="98088">0</cx:pt>
          <cx:pt idx="98089">0</cx:pt>
          <cx:pt idx="98090">0</cx:pt>
          <cx:pt idx="98091">0</cx:pt>
          <cx:pt idx="98092">1</cx:pt>
          <cx:pt idx="98093">1</cx:pt>
          <cx:pt idx="98094">1</cx:pt>
          <cx:pt idx="98095">0</cx:pt>
          <cx:pt idx="98096">0</cx:pt>
          <cx:pt idx="98097">1</cx:pt>
          <cx:pt idx="98098">0</cx:pt>
          <cx:pt idx="98099">0</cx:pt>
          <cx:pt idx="98100">1</cx:pt>
          <cx:pt idx="98101">0</cx:pt>
          <cx:pt idx="98102">0</cx:pt>
          <cx:pt idx="98103">1</cx:pt>
          <cx:pt idx="98104">0</cx:pt>
          <cx:pt idx="98105">0</cx:pt>
          <cx:pt idx="98106">1</cx:pt>
          <cx:pt idx="98107">0</cx:pt>
          <cx:pt idx="98108">0</cx:pt>
          <cx:pt idx="98109">1</cx:pt>
          <cx:pt idx="98110">0</cx:pt>
          <cx:pt idx="98111">0</cx:pt>
          <cx:pt idx="98112">0</cx:pt>
          <cx:pt idx="98113">0</cx:pt>
          <cx:pt idx="98114">1</cx:pt>
          <cx:pt idx="98115">1</cx:pt>
          <cx:pt idx="98116">0</cx:pt>
          <cx:pt idx="98117">1</cx:pt>
          <cx:pt idx="98118">0</cx:pt>
          <cx:pt idx="98119">1</cx:pt>
          <cx:pt idx="98120">1</cx:pt>
          <cx:pt idx="98121">0</cx:pt>
          <cx:pt idx="98122">1</cx:pt>
          <cx:pt idx="98123">1</cx:pt>
          <cx:pt idx="98124">0</cx:pt>
          <cx:pt idx="98125">1</cx:pt>
          <cx:pt idx="98126">0</cx:pt>
          <cx:pt idx="98127">1</cx:pt>
          <cx:pt idx="98128">0</cx:pt>
          <cx:pt idx="98129">1</cx:pt>
          <cx:pt idx="98130">1</cx:pt>
          <cx:pt idx="98131">1</cx:pt>
          <cx:pt idx="98132">1</cx:pt>
          <cx:pt idx="98133">1</cx:pt>
          <cx:pt idx="98134">0</cx:pt>
          <cx:pt idx="98135">0</cx:pt>
          <cx:pt idx="98136">0</cx:pt>
          <cx:pt idx="98137">1</cx:pt>
          <cx:pt idx="98138">1</cx:pt>
          <cx:pt idx="98139">0</cx:pt>
          <cx:pt idx="98140">1</cx:pt>
          <cx:pt idx="98141">0</cx:pt>
          <cx:pt idx="98142">1</cx:pt>
          <cx:pt idx="98143">0</cx:pt>
          <cx:pt idx="98144">0</cx:pt>
          <cx:pt idx="98145">0</cx:pt>
          <cx:pt idx="98146">0</cx:pt>
          <cx:pt idx="98147">0</cx:pt>
          <cx:pt idx="98148">0</cx:pt>
          <cx:pt idx="98149">0</cx:pt>
          <cx:pt idx="98150">0</cx:pt>
          <cx:pt idx="98151">1</cx:pt>
          <cx:pt idx="98152">0</cx:pt>
          <cx:pt idx="98153">1</cx:pt>
          <cx:pt idx="98154">1</cx:pt>
          <cx:pt idx="98155">0</cx:pt>
          <cx:pt idx="98156">0</cx:pt>
          <cx:pt idx="98157">0</cx:pt>
          <cx:pt idx="98158">1</cx:pt>
          <cx:pt idx="98159">1</cx:pt>
          <cx:pt idx="98160">0</cx:pt>
          <cx:pt idx="98161">1</cx:pt>
          <cx:pt idx="98162">0</cx:pt>
          <cx:pt idx="98163">1</cx:pt>
          <cx:pt idx="98164">1</cx:pt>
          <cx:pt idx="98165">0</cx:pt>
          <cx:pt idx="98166">0</cx:pt>
          <cx:pt idx="98167">0</cx:pt>
          <cx:pt idx="98168">0</cx:pt>
          <cx:pt idx="98169">0</cx:pt>
          <cx:pt idx="98170">1</cx:pt>
          <cx:pt idx="98171">0</cx:pt>
          <cx:pt idx="98172">0</cx:pt>
          <cx:pt idx="98173">1</cx:pt>
          <cx:pt idx="98174">1</cx:pt>
          <cx:pt idx="98175">0</cx:pt>
          <cx:pt idx="98176">0</cx:pt>
          <cx:pt idx="98177">1</cx:pt>
          <cx:pt idx="98178">0</cx:pt>
          <cx:pt idx="98179">1</cx:pt>
          <cx:pt idx="98180">0</cx:pt>
          <cx:pt idx="98181">0</cx:pt>
          <cx:pt idx="98182">0</cx:pt>
          <cx:pt idx="98183">0</cx:pt>
          <cx:pt idx="98184">1</cx:pt>
          <cx:pt idx="98185">1</cx:pt>
          <cx:pt idx="98186">0</cx:pt>
          <cx:pt idx="98187">1</cx:pt>
          <cx:pt idx="98188">1</cx:pt>
          <cx:pt idx="98189">0</cx:pt>
          <cx:pt idx="98190">0</cx:pt>
          <cx:pt idx="98191">1</cx:pt>
          <cx:pt idx="98192">1</cx:pt>
          <cx:pt idx="98193">1</cx:pt>
          <cx:pt idx="98194">0</cx:pt>
          <cx:pt idx="98195">1</cx:pt>
          <cx:pt idx="98196">0</cx:pt>
          <cx:pt idx="98197">0</cx:pt>
          <cx:pt idx="98198">1</cx:pt>
          <cx:pt idx="98199">0</cx:pt>
          <cx:pt idx="98200">0</cx:pt>
          <cx:pt idx="98201">0</cx:pt>
          <cx:pt idx="98202">1</cx:pt>
          <cx:pt idx="98203">0</cx:pt>
          <cx:pt idx="98204">1</cx:pt>
          <cx:pt idx="98205">1</cx:pt>
          <cx:pt idx="98206">0</cx:pt>
          <cx:pt idx="98207">1</cx:pt>
          <cx:pt idx="98208">1</cx:pt>
          <cx:pt idx="98209">0</cx:pt>
          <cx:pt idx="98210">1</cx:pt>
          <cx:pt idx="98211">1</cx:pt>
          <cx:pt idx="98212">1</cx:pt>
          <cx:pt idx="98213">0</cx:pt>
          <cx:pt idx="98214">0</cx:pt>
          <cx:pt idx="98215">0</cx:pt>
          <cx:pt idx="98216">0</cx:pt>
          <cx:pt idx="98217">0</cx:pt>
          <cx:pt idx="98218">0</cx:pt>
          <cx:pt idx="98219">1</cx:pt>
          <cx:pt idx="98220">0</cx:pt>
          <cx:pt idx="98221">1</cx:pt>
          <cx:pt idx="98222">0</cx:pt>
          <cx:pt idx="98223">0</cx:pt>
          <cx:pt idx="98224">0</cx:pt>
          <cx:pt idx="98225">0</cx:pt>
          <cx:pt idx="98226">0</cx:pt>
          <cx:pt idx="98227">0</cx:pt>
          <cx:pt idx="98228">1</cx:pt>
          <cx:pt idx="98229">1</cx:pt>
          <cx:pt idx="98230">0</cx:pt>
          <cx:pt idx="98231">1</cx:pt>
          <cx:pt idx="98232">1</cx:pt>
          <cx:pt idx="98233">0</cx:pt>
          <cx:pt idx="98234">1</cx:pt>
          <cx:pt idx="98235">1</cx:pt>
          <cx:pt idx="98236">0</cx:pt>
          <cx:pt idx="98237">0</cx:pt>
          <cx:pt idx="98238">0</cx:pt>
          <cx:pt idx="98239">0</cx:pt>
          <cx:pt idx="98240">0</cx:pt>
          <cx:pt idx="98241">0</cx:pt>
          <cx:pt idx="98242">0</cx:pt>
          <cx:pt idx="98243">1</cx:pt>
          <cx:pt idx="98244">0</cx:pt>
          <cx:pt idx="98245">1</cx:pt>
          <cx:pt idx="98246">0</cx:pt>
          <cx:pt idx="98247">0</cx:pt>
          <cx:pt idx="98248">0</cx:pt>
          <cx:pt idx="98249">0</cx:pt>
          <cx:pt idx="98250">0</cx:pt>
          <cx:pt idx="98251">1</cx:pt>
          <cx:pt idx="98252">0</cx:pt>
          <cx:pt idx="98253">1</cx:pt>
          <cx:pt idx="98254">0</cx:pt>
          <cx:pt idx="98255">1</cx:pt>
          <cx:pt idx="98256">1</cx:pt>
          <cx:pt idx="98257">1</cx:pt>
          <cx:pt idx="98258">1</cx:pt>
          <cx:pt idx="98259">1</cx:pt>
          <cx:pt idx="98260">0</cx:pt>
          <cx:pt idx="98261">0</cx:pt>
          <cx:pt idx="98262">0</cx:pt>
          <cx:pt idx="98263">1</cx:pt>
          <cx:pt idx="98264">1</cx:pt>
          <cx:pt idx="98265">1</cx:pt>
          <cx:pt idx="98266">0</cx:pt>
          <cx:pt idx="98267">0</cx:pt>
          <cx:pt idx="98268">1</cx:pt>
          <cx:pt idx="98269">0</cx:pt>
          <cx:pt idx="98270">0</cx:pt>
          <cx:pt idx="98271">0</cx:pt>
          <cx:pt idx="98272">0</cx:pt>
          <cx:pt idx="98273">1</cx:pt>
          <cx:pt idx="98274">0</cx:pt>
          <cx:pt idx="98275">1</cx:pt>
          <cx:pt idx="98276">1</cx:pt>
          <cx:pt idx="98277">1</cx:pt>
          <cx:pt idx="98278">1</cx:pt>
          <cx:pt idx="98279">0</cx:pt>
          <cx:pt idx="98280">0</cx:pt>
          <cx:pt idx="98281">0</cx:pt>
          <cx:pt idx="98282">0</cx:pt>
          <cx:pt idx="98283">1</cx:pt>
          <cx:pt idx="98284">0</cx:pt>
          <cx:pt idx="98285">1</cx:pt>
          <cx:pt idx="98286">1</cx:pt>
          <cx:pt idx="98287">0</cx:pt>
          <cx:pt idx="98288">1</cx:pt>
          <cx:pt idx="98289">0</cx:pt>
          <cx:pt idx="98290">1</cx:pt>
          <cx:pt idx="98291">0</cx:pt>
          <cx:pt idx="98292">0</cx:pt>
          <cx:pt idx="98293">1</cx:pt>
          <cx:pt idx="98294">1</cx:pt>
          <cx:pt idx="98295">1</cx:pt>
          <cx:pt idx="98296">1</cx:pt>
          <cx:pt idx="98297">1</cx:pt>
          <cx:pt idx="98298">1</cx:pt>
          <cx:pt idx="98299">1</cx:pt>
          <cx:pt idx="98300">0</cx:pt>
          <cx:pt idx="98301">0</cx:pt>
          <cx:pt idx="98302">1</cx:pt>
          <cx:pt idx="98303">1</cx:pt>
          <cx:pt idx="98304">1</cx:pt>
          <cx:pt idx="98305">0</cx:pt>
          <cx:pt idx="98306">1</cx:pt>
          <cx:pt idx="98307">0</cx:pt>
          <cx:pt idx="98308">0</cx:pt>
          <cx:pt idx="98309">1</cx:pt>
          <cx:pt idx="98310">0</cx:pt>
          <cx:pt idx="98311">0</cx:pt>
          <cx:pt idx="98312">0</cx:pt>
          <cx:pt idx="98313">0</cx:pt>
          <cx:pt idx="98314">0</cx:pt>
          <cx:pt idx="98315">0</cx:pt>
          <cx:pt idx="98316">1</cx:pt>
          <cx:pt idx="98317">0</cx:pt>
          <cx:pt idx="98318">1</cx:pt>
          <cx:pt idx="98319">0</cx:pt>
          <cx:pt idx="98320">1</cx:pt>
          <cx:pt idx="98321">1</cx:pt>
          <cx:pt idx="98322">0</cx:pt>
          <cx:pt idx="98323">1</cx:pt>
          <cx:pt idx="98324">0</cx:pt>
          <cx:pt idx="98325">0</cx:pt>
          <cx:pt idx="98326">1</cx:pt>
          <cx:pt idx="98327">1</cx:pt>
          <cx:pt idx="98328">0</cx:pt>
          <cx:pt idx="98329">0</cx:pt>
          <cx:pt idx="98330">1</cx:pt>
          <cx:pt idx="98331">1</cx:pt>
          <cx:pt idx="98332">0</cx:pt>
          <cx:pt idx="98333">0</cx:pt>
          <cx:pt idx="98334">1</cx:pt>
          <cx:pt idx="98335">0</cx:pt>
          <cx:pt idx="98336">0</cx:pt>
          <cx:pt idx="98337">1</cx:pt>
          <cx:pt idx="98338">0</cx:pt>
          <cx:pt idx="98339">0</cx:pt>
          <cx:pt idx="98340">1</cx:pt>
          <cx:pt idx="98341">0</cx:pt>
          <cx:pt idx="98342">0</cx:pt>
          <cx:pt idx="98343">0</cx:pt>
          <cx:pt idx="98344">0</cx:pt>
          <cx:pt idx="98345">1</cx:pt>
          <cx:pt idx="98346">1</cx:pt>
          <cx:pt idx="98347">0</cx:pt>
          <cx:pt idx="98348">1</cx:pt>
          <cx:pt idx="98349">1</cx:pt>
          <cx:pt idx="98350">1</cx:pt>
          <cx:pt idx="98351">0</cx:pt>
          <cx:pt idx="98352">1</cx:pt>
          <cx:pt idx="98353">1</cx:pt>
          <cx:pt idx="98354">0</cx:pt>
          <cx:pt idx="98355">0</cx:pt>
          <cx:pt idx="98356">1</cx:pt>
          <cx:pt idx="98357">1</cx:pt>
          <cx:pt idx="98358">0</cx:pt>
          <cx:pt idx="98359">0</cx:pt>
          <cx:pt idx="98360">1</cx:pt>
          <cx:pt idx="98361">0</cx:pt>
          <cx:pt idx="98362">0</cx:pt>
          <cx:pt idx="98363">0</cx:pt>
          <cx:pt idx="98364">0</cx:pt>
          <cx:pt idx="98365">0</cx:pt>
          <cx:pt idx="98366">0</cx:pt>
          <cx:pt idx="98367">0</cx:pt>
          <cx:pt idx="98368">0</cx:pt>
          <cx:pt idx="98369">1</cx:pt>
          <cx:pt idx="98370">0</cx:pt>
          <cx:pt idx="98371">0</cx:pt>
          <cx:pt idx="98372">0</cx:pt>
          <cx:pt idx="98373">0</cx:pt>
          <cx:pt idx="98374">0</cx:pt>
          <cx:pt idx="98375">0</cx:pt>
          <cx:pt idx="98376">0</cx:pt>
          <cx:pt idx="98377">0</cx:pt>
          <cx:pt idx="98378">1</cx:pt>
          <cx:pt idx="98379">1</cx:pt>
          <cx:pt idx="98380">0</cx:pt>
          <cx:pt idx="98381">0</cx:pt>
          <cx:pt idx="98382">0</cx:pt>
          <cx:pt idx="98383">0</cx:pt>
          <cx:pt idx="98384">0</cx:pt>
          <cx:pt idx="98385">1</cx:pt>
          <cx:pt idx="98386">1</cx:pt>
          <cx:pt idx="98387">0</cx:pt>
          <cx:pt idx="98388">1</cx:pt>
          <cx:pt idx="98389">0</cx:pt>
          <cx:pt idx="98390">0</cx:pt>
          <cx:pt idx="98391">1</cx:pt>
          <cx:pt idx="98392">0</cx:pt>
          <cx:pt idx="98393">1</cx:pt>
          <cx:pt idx="98394">0</cx:pt>
          <cx:pt idx="98395">0</cx:pt>
          <cx:pt idx="98396">0</cx:pt>
          <cx:pt idx="98397">1</cx:pt>
          <cx:pt idx="98398">0</cx:pt>
          <cx:pt idx="98399">0</cx:pt>
          <cx:pt idx="98400">1</cx:pt>
          <cx:pt idx="98401">1</cx:pt>
          <cx:pt idx="98402">0</cx:pt>
          <cx:pt idx="98403">0</cx:pt>
          <cx:pt idx="98404">0</cx:pt>
          <cx:pt idx="98405">1</cx:pt>
          <cx:pt idx="98406">1</cx:pt>
          <cx:pt idx="98407">1</cx:pt>
          <cx:pt idx="98408">1</cx:pt>
          <cx:pt idx="98409">0</cx:pt>
          <cx:pt idx="98410">1</cx:pt>
          <cx:pt idx="98411">1</cx:pt>
          <cx:pt idx="98412">1</cx:pt>
          <cx:pt idx="98413">0</cx:pt>
          <cx:pt idx="98414">1</cx:pt>
          <cx:pt idx="98415">0</cx:pt>
          <cx:pt idx="98416">0</cx:pt>
          <cx:pt idx="98417">0</cx:pt>
          <cx:pt idx="98418">0</cx:pt>
          <cx:pt idx="98419">1</cx:pt>
          <cx:pt idx="98420">0</cx:pt>
          <cx:pt idx="98421">0</cx:pt>
          <cx:pt idx="98422">1</cx:pt>
          <cx:pt idx="98423">1</cx:pt>
          <cx:pt idx="98424">0</cx:pt>
          <cx:pt idx="98425">0</cx:pt>
          <cx:pt idx="98426">0</cx:pt>
          <cx:pt idx="98427">1</cx:pt>
          <cx:pt idx="98428">0</cx:pt>
          <cx:pt idx="98429">0</cx:pt>
          <cx:pt idx="98430">1</cx:pt>
          <cx:pt idx="98431">1</cx:pt>
          <cx:pt idx="98432">0</cx:pt>
          <cx:pt idx="98433">1</cx:pt>
          <cx:pt idx="98434">0</cx:pt>
          <cx:pt idx="98435">1</cx:pt>
          <cx:pt idx="98436">1</cx:pt>
          <cx:pt idx="98437">0</cx:pt>
          <cx:pt idx="98438">1</cx:pt>
          <cx:pt idx="98439">1</cx:pt>
          <cx:pt idx="98440">0</cx:pt>
          <cx:pt idx="98441">0</cx:pt>
          <cx:pt idx="98442">0</cx:pt>
          <cx:pt idx="98443">1</cx:pt>
          <cx:pt idx="98444">0</cx:pt>
          <cx:pt idx="98445">0</cx:pt>
          <cx:pt idx="98446">1</cx:pt>
          <cx:pt idx="98447">1</cx:pt>
          <cx:pt idx="98448">1</cx:pt>
          <cx:pt idx="98449">0</cx:pt>
          <cx:pt idx="98450">0</cx:pt>
          <cx:pt idx="98451">0</cx:pt>
          <cx:pt idx="98452">1</cx:pt>
          <cx:pt idx="98453">0</cx:pt>
          <cx:pt idx="98454">0</cx:pt>
          <cx:pt idx="98455">0</cx:pt>
          <cx:pt idx="98456">0</cx:pt>
          <cx:pt idx="98457">0</cx:pt>
          <cx:pt idx="98458">1</cx:pt>
          <cx:pt idx="98459">1</cx:pt>
          <cx:pt idx="98460">0</cx:pt>
          <cx:pt idx="98461">0</cx:pt>
          <cx:pt idx="98462">0</cx:pt>
          <cx:pt idx="98463">0</cx:pt>
          <cx:pt idx="98464">1</cx:pt>
          <cx:pt idx="98465">1</cx:pt>
          <cx:pt idx="98466">0</cx:pt>
          <cx:pt idx="98467">1</cx:pt>
          <cx:pt idx="98468">1</cx:pt>
          <cx:pt idx="98469">1</cx:pt>
          <cx:pt idx="98470">1</cx:pt>
          <cx:pt idx="98471">0</cx:pt>
          <cx:pt idx="98472">1</cx:pt>
          <cx:pt idx="98473">1</cx:pt>
          <cx:pt idx="98474">0</cx:pt>
          <cx:pt idx="98475">0</cx:pt>
          <cx:pt idx="98476">1</cx:pt>
          <cx:pt idx="98477">1</cx:pt>
          <cx:pt idx="98478">1</cx:pt>
          <cx:pt idx="98479">0</cx:pt>
          <cx:pt idx="98480">0</cx:pt>
          <cx:pt idx="98481">0</cx:pt>
          <cx:pt idx="98482">0</cx:pt>
          <cx:pt idx="98483">1</cx:pt>
          <cx:pt idx="98484">1</cx:pt>
          <cx:pt idx="98485">1</cx:pt>
          <cx:pt idx="98486">1</cx:pt>
          <cx:pt idx="98487">0</cx:pt>
          <cx:pt idx="98488">1</cx:pt>
          <cx:pt idx="98489">1</cx:pt>
          <cx:pt idx="98490">1</cx:pt>
          <cx:pt idx="98491">1</cx:pt>
          <cx:pt idx="98492">0</cx:pt>
          <cx:pt idx="98493">0</cx:pt>
          <cx:pt idx="98494">0</cx:pt>
          <cx:pt idx="98495">0</cx:pt>
          <cx:pt idx="98496">1</cx:pt>
          <cx:pt idx="98497">0</cx:pt>
          <cx:pt idx="98498">1</cx:pt>
          <cx:pt idx="98499">0</cx:pt>
          <cx:pt idx="98500">0</cx:pt>
          <cx:pt idx="98501">0</cx:pt>
          <cx:pt idx="98502">1</cx:pt>
          <cx:pt idx="98503">1</cx:pt>
          <cx:pt idx="98504">0</cx:pt>
          <cx:pt idx="98505">1</cx:pt>
          <cx:pt idx="98506">1</cx:pt>
          <cx:pt idx="98507">0</cx:pt>
          <cx:pt idx="98508">0</cx:pt>
          <cx:pt idx="98509">1</cx:pt>
          <cx:pt idx="98510">1</cx:pt>
          <cx:pt idx="98511">0</cx:pt>
          <cx:pt idx="98512">0</cx:pt>
          <cx:pt idx="98513">1</cx:pt>
          <cx:pt idx="98514">0</cx:pt>
          <cx:pt idx="98515">0</cx:pt>
          <cx:pt idx="98516">0</cx:pt>
          <cx:pt idx="98517">1</cx:pt>
          <cx:pt idx="98518">0</cx:pt>
          <cx:pt idx="98519">0</cx:pt>
          <cx:pt idx="98520">0</cx:pt>
          <cx:pt idx="98521">0</cx:pt>
          <cx:pt idx="98522">1</cx:pt>
          <cx:pt idx="98523">1</cx:pt>
          <cx:pt idx="98524">0</cx:pt>
          <cx:pt idx="98525">1</cx:pt>
          <cx:pt idx="98526">0</cx:pt>
          <cx:pt idx="98527">0</cx:pt>
          <cx:pt idx="98528">1</cx:pt>
          <cx:pt idx="98529">1</cx:pt>
          <cx:pt idx="98530">0</cx:pt>
          <cx:pt idx="98531">0</cx:pt>
          <cx:pt idx="98532">0</cx:pt>
          <cx:pt idx="98533">1</cx:pt>
          <cx:pt idx="98534">1</cx:pt>
          <cx:pt idx="98535">1</cx:pt>
          <cx:pt idx="98536">1</cx:pt>
          <cx:pt idx="98537">0</cx:pt>
          <cx:pt idx="98538">1</cx:pt>
          <cx:pt idx="98539">1</cx:pt>
          <cx:pt idx="98540">1</cx:pt>
          <cx:pt idx="98541">0</cx:pt>
          <cx:pt idx="98542">0</cx:pt>
          <cx:pt idx="98543">0</cx:pt>
          <cx:pt idx="98544">0</cx:pt>
          <cx:pt idx="98545">0</cx:pt>
          <cx:pt idx="98546">1</cx:pt>
          <cx:pt idx="98547">0</cx:pt>
          <cx:pt idx="98548">1</cx:pt>
          <cx:pt idx="98549">1</cx:pt>
          <cx:pt idx="98550">1</cx:pt>
          <cx:pt idx="98551">0</cx:pt>
          <cx:pt idx="98552">1</cx:pt>
          <cx:pt idx="98553">0</cx:pt>
          <cx:pt idx="98554">1</cx:pt>
          <cx:pt idx="98555">0</cx:pt>
          <cx:pt idx="98556">0</cx:pt>
          <cx:pt idx="98557">0</cx:pt>
          <cx:pt idx="98558">0</cx:pt>
          <cx:pt idx="98559">0</cx:pt>
          <cx:pt idx="98560">0</cx:pt>
          <cx:pt idx="98561">0</cx:pt>
          <cx:pt idx="98562">0</cx:pt>
          <cx:pt idx="98563">0</cx:pt>
          <cx:pt idx="98564">1</cx:pt>
          <cx:pt idx="98565">0</cx:pt>
          <cx:pt idx="98566">1</cx:pt>
          <cx:pt idx="98567">1</cx:pt>
          <cx:pt idx="98568">0</cx:pt>
          <cx:pt idx="98569">1</cx:pt>
          <cx:pt idx="98570">1</cx:pt>
          <cx:pt idx="98571">0</cx:pt>
          <cx:pt idx="98572">1</cx:pt>
          <cx:pt idx="98573">0</cx:pt>
          <cx:pt idx="98574">0</cx:pt>
          <cx:pt idx="98575">1</cx:pt>
          <cx:pt idx="98576">0</cx:pt>
          <cx:pt idx="98577">0</cx:pt>
          <cx:pt idx="98578">1</cx:pt>
          <cx:pt idx="98579">1</cx:pt>
          <cx:pt idx="98580">0</cx:pt>
          <cx:pt idx="98581">0</cx:pt>
          <cx:pt idx="98582">0</cx:pt>
          <cx:pt idx="98583">0</cx:pt>
          <cx:pt idx="98584">1</cx:pt>
          <cx:pt idx="98585">1</cx:pt>
          <cx:pt idx="98586">1</cx:pt>
          <cx:pt idx="98587">1</cx:pt>
          <cx:pt idx="98588">1</cx:pt>
          <cx:pt idx="98589">1</cx:pt>
          <cx:pt idx="98590">0</cx:pt>
          <cx:pt idx="98591">1</cx:pt>
          <cx:pt idx="98592">1</cx:pt>
          <cx:pt idx="98593">1</cx:pt>
          <cx:pt idx="98594">0</cx:pt>
          <cx:pt idx="98595">0</cx:pt>
          <cx:pt idx="98596">0</cx:pt>
          <cx:pt idx="98597">1</cx:pt>
          <cx:pt idx="98598">1</cx:pt>
          <cx:pt idx="98599">0</cx:pt>
          <cx:pt idx="98600">1</cx:pt>
          <cx:pt idx="98601">1</cx:pt>
          <cx:pt idx="98602">0</cx:pt>
          <cx:pt idx="98603">1</cx:pt>
          <cx:pt idx="98604">1</cx:pt>
          <cx:pt idx="98605">1</cx:pt>
          <cx:pt idx="98606">1</cx:pt>
          <cx:pt idx="98607">1</cx:pt>
          <cx:pt idx="98608">0</cx:pt>
          <cx:pt idx="98609">0</cx:pt>
          <cx:pt idx="98610">0</cx:pt>
          <cx:pt idx="98611">0</cx:pt>
          <cx:pt idx="98612">1</cx:pt>
          <cx:pt idx="98613">0</cx:pt>
          <cx:pt idx="98614">0</cx:pt>
          <cx:pt idx="98615">0</cx:pt>
          <cx:pt idx="98616">1</cx:pt>
          <cx:pt idx="98617">0</cx:pt>
          <cx:pt idx="98618">1</cx:pt>
          <cx:pt idx="98619">0</cx:pt>
          <cx:pt idx="98620">1</cx:pt>
          <cx:pt idx="98621">0</cx:pt>
          <cx:pt idx="98622">0</cx:pt>
          <cx:pt idx="98623">0</cx:pt>
          <cx:pt idx="98624">0</cx:pt>
          <cx:pt idx="98625">1</cx:pt>
          <cx:pt idx="98626">1</cx:pt>
          <cx:pt idx="98627">0</cx:pt>
          <cx:pt idx="98628">0</cx:pt>
          <cx:pt idx="98629">1</cx:pt>
          <cx:pt idx="98630">0</cx:pt>
          <cx:pt idx="98631">1</cx:pt>
          <cx:pt idx="98632">1</cx:pt>
          <cx:pt idx="98633">1</cx:pt>
          <cx:pt idx="98634">0</cx:pt>
          <cx:pt idx="98635">0</cx:pt>
          <cx:pt idx="98636">0</cx:pt>
          <cx:pt idx="98637">1</cx:pt>
          <cx:pt idx="98638">0</cx:pt>
          <cx:pt idx="98639">0</cx:pt>
          <cx:pt idx="98640">0</cx:pt>
          <cx:pt idx="98641">0</cx:pt>
          <cx:pt idx="98642">1</cx:pt>
          <cx:pt idx="98643">0</cx:pt>
          <cx:pt idx="98644">0</cx:pt>
          <cx:pt idx="98645">0</cx:pt>
          <cx:pt idx="98646">1</cx:pt>
          <cx:pt idx="98647">0</cx:pt>
          <cx:pt idx="98648">1</cx:pt>
          <cx:pt idx="98649">1</cx:pt>
          <cx:pt idx="98650">1</cx:pt>
          <cx:pt idx="98651">1</cx:pt>
          <cx:pt idx="98652">0</cx:pt>
          <cx:pt idx="98653">0</cx:pt>
          <cx:pt idx="98654">0</cx:pt>
          <cx:pt idx="98655">0</cx:pt>
          <cx:pt idx="98656">1</cx:pt>
          <cx:pt idx="98657">1</cx:pt>
          <cx:pt idx="98658">1</cx:pt>
          <cx:pt idx="98659">0</cx:pt>
          <cx:pt idx="98660">0</cx:pt>
          <cx:pt idx="98661">0</cx:pt>
          <cx:pt idx="98662">0</cx:pt>
          <cx:pt idx="98663">1</cx:pt>
          <cx:pt idx="98664">1</cx:pt>
          <cx:pt idx="98665">1</cx:pt>
          <cx:pt idx="98666">0</cx:pt>
          <cx:pt idx="98667">0</cx:pt>
          <cx:pt idx="98668">1</cx:pt>
          <cx:pt idx="98669">0</cx:pt>
          <cx:pt idx="98670">0</cx:pt>
          <cx:pt idx="98671">1</cx:pt>
          <cx:pt idx="98672">1</cx:pt>
          <cx:pt idx="98673">0</cx:pt>
          <cx:pt idx="98674">0</cx:pt>
          <cx:pt idx="98675">0</cx:pt>
          <cx:pt idx="98676">0</cx:pt>
          <cx:pt idx="98677">0</cx:pt>
          <cx:pt idx="98678">1</cx:pt>
          <cx:pt idx="98679">1</cx:pt>
          <cx:pt idx="98680">0</cx:pt>
          <cx:pt idx="98681">0</cx:pt>
          <cx:pt idx="98682">1</cx:pt>
          <cx:pt idx="98683">1</cx:pt>
          <cx:pt idx="98684">1</cx:pt>
          <cx:pt idx="98685">0</cx:pt>
          <cx:pt idx="98686">1</cx:pt>
          <cx:pt idx="98687">0</cx:pt>
          <cx:pt idx="98688">0</cx:pt>
          <cx:pt idx="98689">0</cx:pt>
          <cx:pt idx="98690">1</cx:pt>
          <cx:pt idx="98691">0</cx:pt>
          <cx:pt idx="98692">0</cx:pt>
          <cx:pt idx="98693">0</cx:pt>
          <cx:pt idx="98694">0</cx:pt>
          <cx:pt idx="98695">0</cx:pt>
          <cx:pt idx="98696">0</cx:pt>
          <cx:pt idx="98697">1</cx:pt>
          <cx:pt idx="98698">1</cx:pt>
          <cx:pt idx="98699">1</cx:pt>
          <cx:pt idx="98700">0</cx:pt>
          <cx:pt idx="98701">1</cx:pt>
          <cx:pt idx="98702">1</cx:pt>
          <cx:pt idx="98703">0</cx:pt>
          <cx:pt idx="98704">1</cx:pt>
          <cx:pt idx="98705">0</cx:pt>
          <cx:pt idx="98706">1</cx:pt>
          <cx:pt idx="98707">1</cx:pt>
          <cx:pt idx="98708">0</cx:pt>
          <cx:pt idx="98709">0</cx:pt>
          <cx:pt idx="98710">1</cx:pt>
          <cx:pt idx="98711">0</cx:pt>
          <cx:pt idx="98712">0</cx:pt>
          <cx:pt idx="98713">1</cx:pt>
          <cx:pt idx="98714">1</cx:pt>
          <cx:pt idx="98715">1</cx:pt>
          <cx:pt idx="98716">1</cx:pt>
          <cx:pt idx="98717">0</cx:pt>
          <cx:pt idx="98718">0</cx:pt>
          <cx:pt idx="98719">0</cx:pt>
          <cx:pt idx="98720">1</cx:pt>
          <cx:pt idx="98721">1</cx:pt>
          <cx:pt idx="98722">0</cx:pt>
          <cx:pt idx="98723">0</cx:pt>
          <cx:pt idx="98724">0</cx:pt>
          <cx:pt idx="98725">0</cx:pt>
          <cx:pt idx="98726">1</cx:pt>
          <cx:pt idx="98727">0</cx:pt>
          <cx:pt idx="98728">0</cx:pt>
          <cx:pt idx="98729">0</cx:pt>
          <cx:pt idx="98730">0</cx:pt>
          <cx:pt idx="98731">1</cx:pt>
          <cx:pt idx="98732">1</cx:pt>
          <cx:pt idx="98733">1</cx:pt>
          <cx:pt idx="98734">1</cx:pt>
          <cx:pt idx="98735">0</cx:pt>
          <cx:pt idx="98736">1</cx:pt>
          <cx:pt idx="98737">0</cx:pt>
          <cx:pt idx="98738">0</cx:pt>
          <cx:pt idx="98739">0</cx:pt>
          <cx:pt idx="98740">0</cx:pt>
          <cx:pt idx="98741">1</cx:pt>
          <cx:pt idx="98742">1</cx:pt>
          <cx:pt idx="98743">0</cx:pt>
          <cx:pt idx="98744">0</cx:pt>
          <cx:pt idx="98745">0</cx:pt>
          <cx:pt idx="98746">1</cx:pt>
          <cx:pt idx="98747">1</cx:pt>
          <cx:pt idx="98748">0</cx:pt>
          <cx:pt idx="98749">0</cx:pt>
          <cx:pt idx="98750">1</cx:pt>
          <cx:pt idx="98751">0</cx:pt>
          <cx:pt idx="98752">0</cx:pt>
          <cx:pt idx="98753">0</cx:pt>
          <cx:pt idx="98754">1</cx:pt>
          <cx:pt idx="98755">0</cx:pt>
          <cx:pt idx="98756">0</cx:pt>
          <cx:pt idx="98757">1</cx:pt>
          <cx:pt idx="98758">0</cx:pt>
          <cx:pt idx="98759">1</cx:pt>
          <cx:pt idx="98760">1</cx:pt>
          <cx:pt idx="98761">0</cx:pt>
          <cx:pt idx="98762">1</cx:pt>
          <cx:pt idx="98763">0</cx:pt>
          <cx:pt idx="98764">1</cx:pt>
          <cx:pt idx="98765">0</cx:pt>
          <cx:pt idx="98766">0</cx:pt>
          <cx:pt idx="98767">0</cx:pt>
          <cx:pt idx="98768">1</cx:pt>
          <cx:pt idx="98769">1</cx:pt>
          <cx:pt idx="98770">0</cx:pt>
          <cx:pt idx="98771">1</cx:pt>
          <cx:pt idx="98772">0</cx:pt>
          <cx:pt idx="98773">0</cx:pt>
          <cx:pt idx="98774">0</cx:pt>
          <cx:pt idx="98775">0</cx:pt>
          <cx:pt idx="98776">1</cx:pt>
          <cx:pt idx="98777">0</cx:pt>
          <cx:pt idx="98778">0</cx:pt>
          <cx:pt idx="98779">1</cx:pt>
          <cx:pt idx="98780">1</cx:pt>
          <cx:pt idx="98781">0</cx:pt>
          <cx:pt idx="98782">0</cx:pt>
          <cx:pt idx="98783">1</cx:pt>
          <cx:pt idx="98784">0</cx:pt>
          <cx:pt idx="98785">1</cx:pt>
          <cx:pt idx="98786">0</cx:pt>
          <cx:pt idx="98787">0</cx:pt>
          <cx:pt idx="98788">1</cx:pt>
          <cx:pt idx="98789">1</cx:pt>
          <cx:pt idx="98790">0</cx:pt>
          <cx:pt idx="98791">0</cx:pt>
          <cx:pt idx="98792">1</cx:pt>
          <cx:pt idx="98793">0</cx:pt>
          <cx:pt idx="98794">1</cx:pt>
          <cx:pt idx="98795">1</cx:pt>
          <cx:pt idx="98796">0</cx:pt>
          <cx:pt idx="98797">0</cx:pt>
          <cx:pt idx="98798">1</cx:pt>
          <cx:pt idx="98799">1</cx:pt>
          <cx:pt idx="98800">1</cx:pt>
          <cx:pt idx="98801">1</cx:pt>
          <cx:pt idx="98802">0</cx:pt>
          <cx:pt idx="98803">1</cx:pt>
          <cx:pt idx="98804">0</cx:pt>
          <cx:pt idx="98805">0</cx:pt>
          <cx:pt idx="98806">1</cx:pt>
          <cx:pt idx="98807">1</cx:pt>
          <cx:pt idx="98808">0</cx:pt>
          <cx:pt idx="98809">1</cx:pt>
          <cx:pt idx="98810">1</cx:pt>
          <cx:pt idx="98811">0</cx:pt>
          <cx:pt idx="98812">0</cx:pt>
          <cx:pt idx="98813">0</cx:pt>
          <cx:pt idx="98814">0</cx:pt>
          <cx:pt idx="98815">0</cx:pt>
          <cx:pt idx="98816">0</cx:pt>
          <cx:pt idx="98817">1</cx:pt>
          <cx:pt idx="98818">0</cx:pt>
          <cx:pt idx="98819">0</cx:pt>
          <cx:pt idx="98820">1</cx:pt>
          <cx:pt idx="98821">0</cx:pt>
          <cx:pt idx="98822">1</cx:pt>
          <cx:pt idx="98823">0</cx:pt>
          <cx:pt idx="98824">1</cx:pt>
          <cx:pt idx="98825">0</cx:pt>
          <cx:pt idx="98826">0</cx:pt>
          <cx:pt idx="98827">1</cx:pt>
          <cx:pt idx="98828">1</cx:pt>
          <cx:pt idx="98829">0</cx:pt>
          <cx:pt idx="98830">1</cx:pt>
          <cx:pt idx="98831">1</cx:pt>
          <cx:pt idx="98832">0</cx:pt>
          <cx:pt idx="98833">1</cx:pt>
          <cx:pt idx="98834">0</cx:pt>
          <cx:pt idx="98835">0</cx:pt>
          <cx:pt idx="98836">0</cx:pt>
          <cx:pt idx="98837">1</cx:pt>
          <cx:pt idx="98838">0</cx:pt>
          <cx:pt idx="98839">0</cx:pt>
          <cx:pt idx="98840">0</cx:pt>
          <cx:pt idx="98841">0</cx:pt>
          <cx:pt idx="98842">1</cx:pt>
          <cx:pt idx="98843">0</cx:pt>
          <cx:pt idx="98844">0</cx:pt>
          <cx:pt idx="98845">1</cx:pt>
          <cx:pt idx="98846">1</cx:pt>
          <cx:pt idx="98847">1</cx:pt>
          <cx:pt idx="98848">0</cx:pt>
          <cx:pt idx="98849">1</cx:pt>
          <cx:pt idx="98850">0</cx:pt>
          <cx:pt idx="98851">0</cx:pt>
          <cx:pt idx="98852">0</cx:pt>
          <cx:pt idx="98853">1</cx:pt>
          <cx:pt idx="98854">0</cx:pt>
          <cx:pt idx="98855">1</cx:pt>
          <cx:pt idx="98856">1</cx:pt>
          <cx:pt idx="98857">0</cx:pt>
          <cx:pt idx="98858">0</cx:pt>
          <cx:pt idx="98859">1</cx:pt>
          <cx:pt idx="98860">1</cx:pt>
          <cx:pt idx="98861">1</cx:pt>
          <cx:pt idx="98862">1</cx:pt>
          <cx:pt idx="98863">0</cx:pt>
          <cx:pt idx="98864">1</cx:pt>
          <cx:pt idx="98865">1</cx:pt>
          <cx:pt idx="98866">1</cx:pt>
          <cx:pt idx="98867">0</cx:pt>
          <cx:pt idx="98868">0</cx:pt>
          <cx:pt idx="98869">0</cx:pt>
          <cx:pt idx="98870">1</cx:pt>
          <cx:pt idx="98871">1</cx:pt>
          <cx:pt idx="98872">1</cx:pt>
          <cx:pt idx="98873">0</cx:pt>
          <cx:pt idx="98874">0</cx:pt>
          <cx:pt idx="98875">1</cx:pt>
          <cx:pt idx="98876">0</cx:pt>
          <cx:pt idx="98877">0</cx:pt>
          <cx:pt idx="98878">0</cx:pt>
          <cx:pt idx="98879">1</cx:pt>
          <cx:pt idx="98880">0</cx:pt>
          <cx:pt idx="98881">1</cx:pt>
          <cx:pt idx="98882">0</cx:pt>
          <cx:pt idx="98883">0</cx:pt>
          <cx:pt idx="98884">0</cx:pt>
          <cx:pt idx="98885">0</cx:pt>
          <cx:pt idx="98886">0</cx:pt>
          <cx:pt idx="98887">1</cx:pt>
          <cx:pt idx="98888">1</cx:pt>
          <cx:pt idx="98889">0</cx:pt>
          <cx:pt idx="98890">0</cx:pt>
          <cx:pt idx="98891">0</cx:pt>
          <cx:pt idx="98892">0</cx:pt>
          <cx:pt idx="98893">0</cx:pt>
          <cx:pt idx="98894">1</cx:pt>
          <cx:pt idx="98895">0</cx:pt>
          <cx:pt idx="98896">0</cx:pt>
          <cx:pt idx="98897">0</cx:pt>
          <cx:pt idx="98898">0</cx:pt>
          <cx:pt idx="98899">0</cx:pt>
          <cx:pt idx="98900">0</cx:pt>
          <cx:pt idx="98901">1</cx:pt>
          <cx:pt idx="98902">0</cx:pt>
          <cx:pt idx="98903">0</cx:pt>
          <cx:pt idx="98904">0</cx:pt>
          <cx:pt idx="98905">1</cx:pt>
          <cx:pt idx="98906">0</cx:pt>
          <cx:pt idx="98907">1</cx:pt>
          <cx:pt idx="98908">0</cx:pt>
          <cx:pt idx="98909">0</cx:pt>
          <cx:pt idx="98910">0</cx:pt>
          <cx:pt idx="98911">0</cx:pt>
          <cx:pt idx="98912">1</cx:pt>
          <cx:pt idx="98913">0</cx:pt>
          <cx:pt idx="98914">0</cx:pt>
          <cx:pt idx="98915">0</cx:pt>
          <cx:pt idx="98916">0</cx:pt>
          <cx:pt idx="98917">0</cx:pt>
          <cx:pt idx="98918">1</cx:pt>
          <cx:pt idx="98919">1</cx:pt>
          <cx:pt idx="98920">0</cx:pt>
          <cx:pt idx="98921">0</cx:pt>
          <cx:pt idx="98922">1</cx:pt>
          <cx:pt idx="98923">0</cx:pt>
          <cx:pt idx="98924">0</cx:pt>
          <cx:pt idx="98925">0</cx:pt>
          <cx:pt idx="98926">1</cx:pt>
          <cx:pt idx="98927">1</cx:pt>
          <cx:pt idx="98928">1</cx:pt>
          <cx:pt idx="98929">0</cx:pt>
          <cx:pt idx="98930">1</cx:pt>
          <cx:pt idx="98931">1</cx:pt>
          <cx:pt idx="98932">0</cx:pt>
          <cx:pt idx="98933">1</cx:pt>
          <cx:pt idx="98934">0</cx:pt>
          <cx:pt idx="98935">0</cx:pt>
          <cx:pt idx="98936">1</cx:pt>
          <cx:pt idx="98937">0</cx:pt>
          <cx:pt idx="98938">0</cx:pt>
          <cx:pt idx="98939">0</cx:pt>
          <cx:pt idx="98940">0</cx:pt>
          <cx:pt idx="98941">0</cx:pt>
          <cx:pt idx="98942">0</cx:pt>
          <cx:pt idx="98943">1</cx:pt>
          <cx:pt idx="98944">1</cx:pt>
          <cx:pt idx="98945">0</cx:pt>
          <cx:pt idx="98946">1</cx:pt>
          <cx:pt idx="98947">0</cx:pt>
          <cx:pt idx="98948">0</cx:pt>
          <cx:pt idx="98949">1</cx:pt>
          <cx:pt idx="98950">0</cx:pt>
          <cx:pt idx="98951">1</cx:pt>
          <cx:pt idx="98952">0</cx:pt>
          <cx:pt idx="98953">0</cx:pt>
          <cx:pt idx="98954">0</cx:pt>
          <cx:pt idx="98955">1</cx:pt>
          <cx:pt idx="98956">1</cx:pt>
          <cx:pt idx="98957">1</cx:pt>
          <cx:pt idx="98958">0</cx:pt>
          <cx:pt idx="98959">1</cx:pt>
          <cx:pt idx="98960">0</cx:pt>
          <cx:pt idx="98961">0</cx:pt>
          <cx:pt idx="98962">1</cx:pt>
          <cx:pt idx="98963">0</cx:pt>
          <cx:pt idx="98964">0</cx:pt>
          <cx:pt idx="98965">0</cx:pt>
          <cx:pt idx="98966">1</cx:pt>
          <cx:pt idx="98967">1</cx:pt>
          <cx:pt idx="98968">1</cx:pt>
          <cx:pt idx="98969">1</cx:pt>
          <cx:pt idx="98970">0</cx:pt>
          <cx:pt idx="98971">1</cx:pt>
          <cx:pt idx="98972">1</cx:pt>
          <cx:pt idx="98973">0</cx:pt>
          <cx:pt idx="98974">0</cx:pt>
          <cx:pt idx="98975">1</cx:pt>
          <cx:pt idx="98976">0</cx:pt>
          <cx:pt idx="98977">0</cx:pt>
          <cx:pt idx="98978">0</cx:pt>
          <cx:pt idx="98979">1</cx:pt>
          <cx:pt idx="98980">1</cx:pt>
          <cx:pt idx="98981">0</cx:pt>
          <cx:pt idx="98982">1</cx:pt>
          <cx:pt idx="98983">0</cx:pt>
          <cx:pt idx="98984">0</cx:pt>
          <cx:pt idx="98985">0</cx:pt>
          <cx:pt idx="98986">0</cx:pt>
          <cx:pt idx="98987">1</cx:pt>
          <cx:pt idx="98988">0</cx:pt>
          <cx:pt idx="98989">0</cx:pt>
          <cx:pt idx="98990">1</cx:pt>
          <cx:pt idx="98991">1</cx:pt>
          <cx:pt idx="98992">0</cx:pt>
          <cx:pt idx="98993">1</cx:pt>
          <cx:pt idx="98994">0</cx:pt>
          <cx:pt idx="98995">1</cx:pt>
          <cx:pt idx="98996">0</cx:pt>
          <cx:pt idx="98997">1</cx:pt>
          <cx:pt idx="98998">0</cx:pt>
          <cx:pt idx="98999">0</cx:pt>
          <cx:pt idx="99000">0</cx:pt>
          <cx:pt idx="99001">0</cx:pt>
          <cx:pt idx="99002">0</cx:pt>
          <cx:pt idx="99003">0</cx:pt>
          <cx:pt idx="99004">0</cx:pt>
          <cx:pt idx="99005">1</cx:pt>
          <cx:pt idx="99006">1</cx:pt>
          <cx:pt idx="99007">0</cx:pt>
          <cx:pt idx="99008">0</cx:pt>
          <cx:pt idx="99009">1</cx:pt>
          <cx:pt idx="99010">0</cx:pt>
          <cx:pt idx="99011">0</cx:pt>
          <cx:pt idx="99012">1</cx:pt>
          <cx:pt idx="99013">1</cx:pt>
          <cx:pt idx="99014">0</cx:pt>
          <cx:pt idx="99015">0</cx:pt>
          <cx:pt idx="99016">1</cx:pt>
          <cx:pt idx="99017">0</cx:pt>
          <cx:pt idx="99018">0</cx:pt>
          <cx:pt idx="99019">1</cx:pt>
          <cx:pt idx="99020">0</cx:pt>
          <cx:pt idx="99021">1</cx:pt>
          <cx:pt idx="99022">1</cx:pt>
          <cx:pt idx="99023">1</cx:pt>
          <cx:pt idx="99024">1</cx:pt>
          <cx:pt idx="99025">0</cx:pt>
          <cx:pt idx="99026">0</cx:pt>
          <cx:pt idx="99027">0</cx:pt>
          <cx:pt idx="99028">1</cx:pt>
          <cx:pt idx="99029">1</cx:pt>
          <cx:pt idx="99030">1</cx:pt>
          <cx:pt idx="99031">1</cx:pt>
          <cx:pt idx="99032">1</cx:pt>
          <cx:pt idx="99033">0</cx:pt>
          <cx:pt idx="99034">1</cx:pt>
          <cx:pt idx="99035">0</cx:pt>
          <cx:pt idx="99036">1</cx:pt>
          <cx:pt idx="99037">1</cx:pt>
          <cx:pt idx="99038">0</cx:pt>
          <cx:pt idx="99039">0</cx:pt>
          <cx:pt idx="99040">0</cx:pt>
          <cx:pt idx="99041">0</cx:pt>
          <cx:pt idx="99042">1</cx:pt>
          <cx:pt idx="99043">0</cx:pt>
          <cx:pt idx="99044">0</cx:pt>
          <cx:pt idx="99045">0</cx:pt>
          <cx:pt idx="99046">0</cx:pt>
          <cx:pt idx="99047">0</cx:pt>
          <cx:pt idx="99048">1</cx:pt>
          <cx:pt idx="99049">0</cx:pt>
          <cx:pt idx="99050">0</cx:pt>
          <cx:pt idx="99051">0</cx:pt>
          <cx:pt idx="99052">0</cx:pt>
          <cx:pt idx="99053">1</cx:pt>
          <cx:pt idx="99054">0</cx:pt>
          <cx:pt idx="99055">0</cx:pt>
          <cx:pt idx="99056">1</cx:pt>
          <cx:pt idx="99057">1</cx:pt>
          <cx:pt idx="99058">0</cx:pt>
          <cx:pt idx="99059">0</cx:pt>
          <cx:pt idx="99060">1</cx:pt>
          <cx:pt idx="99061">1</cx:pt>
          <cx:pt idx="99062">1</cx:pt>
          <cx:pt idx="99063">0</cx:pt>
          <cx:pt idx="99064">1</cx:pt>
          <cx:pt idx="99065">1</cx:pt>
          <cx:pt idx="99066">0</cx:pt>
          <cx:pt idx="99067">1</cx:pt>
          <cx:pt idx="99068">0</cx:pt>
          <cx:pt idx="99069">0</cx:pt>
          <cx:pt idx="99070">1</cx:pt>
          <cx:pt idx="99071">1</cx:pt>
          <cx:pt idx="99072">1</cx:pt>
          <cx:pt idx="99073">0</cx:pt>
          <cx:pt idx="99074">0</cx:pt>
          <cx:pt idx="99075">0</cx:pt>
          <cx:pt idx="99076">0</cx:pt>
          <cx:pt idx="99077">1</cx:pt>
          <cx:pt idx="99078">1</cx:pt>
          <cx:pt idx="99079">1</cx:pt>
          <cx:pt idx="99080">1</cx:pt>
          <cx:pt idx="99081">1</cx:pt>
          <cx:pt idx="99082">0</cx:pt>
          <cx:pt idx="99083">0</cx:pt>
          <cx:pt idx="99084">1</cx:pt>
          <cx:pt idx="99085">1</cx:pt>
          <cx:pt idx="99086">0</cx:pt>
          <cx:pt idx="99087">1</cx:pt>
          <cx:pt idx="99088">1</cx:pt>
          <cx:pt idx="99089">0</cx:pt>
          <cx:pt idx="99090">0</cx:pt>
          <cx:pt idx="99091">0</cx:pt>
          <cx:pt idx="99092">0</cx:pt>
          <cx:pt idx="99093">1</cx:pt>
          <cx:pt idx="99094">1</cx:pt>
          <cx:pt idx="99095">0</cx:pt>
          <cx:pt idx="99096">0</cx:pt>
          <cx:pt idx="99097">1</cx:pt>
          <cx:pt idx="99098">0</cx:pt>
          <cx:pt idx="99099">0</cx:pt>
          <cx:pt idx="99100">0</cx:pt>
          <cx:pt idx="99101">1</cx:pt>
          <cx:pt idx="99102">1</cx:pt>
          <cx:pt idx="99103">0</cx:pt>
          <cx:pt idx="99104">0</cx:pt>
          <cx:pt idx="99105">1</cx:pt>
          <cx:pt idx="99106">1</cx:pt>
          <cx:pt idx="99107">0</cx:pt>
          <cx:pt idx="99108">0</cx:pt>
          <cx:pt idx="99109">1</cx:pt>
          <cx:pt idx="99110">1</cx:pt>
          <cx:pt idx="99111">0</cx:pt>
          <cx:pt idx="99112">0</cx:pt>
          <cx:pt idx="99113">1</cx:pt>
          <cx:pt idx="99114">1</cx:pt>
          <cx:pt idx="99115">1</cx:pt>
          <cx:pt idx="99116">1</cx:pt>
          <cx:pt idx="99117">1</cx:pt>
          <cx:pt idx="99118">1</cx:pt>
          <cx:pt idx="99119">0</cx:pt>
          <cx:pt idx="99120">1</cx:pt>
          <cx:pt idx="99121">1</cx:pt>
          <cx:pt idx="99122">0</cx:pt>
          <cx:pt idx="99123">0</cx:pt>
          <cx:pt idx="99124">1</cx:pt>
          <cx:pt idx="99125">1</cx:pt>
          <cx:pt idx="99126">1</cx:pt>
          <cx:pt idx="99127">1</cx:pt>
          <cx:pt idx="99128">0</cx:pt>
          <cx:pt idx="99129">0</cx:pt>
          <cx:pt idx="99130">0</cx:pt>
          <cx:pt idx="99131">0</cx:pt>
          <cx:pt idx="99132">0</cx:pt>
          <cx:pt idx="99133">1</cx:pt>
          <cx:pt idx="99134">0</cx:pt>
          <cx:pt idx="99135">1</cx:pt>
          <cx:pt idx="99136">0</cx:pt>
          <cx:pt idx="99137">1</cx:pt>
          <cx:pt idx="99138">1</cx:pt>
          <cx:pt idx="99139">1</cx:pt>
          <cx:pt idx="99140">0</cx:pt>
          <cx:pt idx="99141">1</cx:pt>
          <cx:pt idx="99142">0</cx:pt>
          <cx:pt idx="99143">0</cx:pt>
          <cx:pt idx="99144">0</cx:pt>
          <cx:pt idx="99145">1</cx:pt>
          <cx:pt idx="99146">0</cx:pt>
          <cx:pt idx="99147">0</cx:pt>
          <cx:pt idx="99148">0</cx:pt>
          <cx:pt idx="99149">1</cx:pt>
          <cx:pt idx="99150">1</cx:pt>
          <cx:pt idx="99151">1</cx:pt>
          <cx:pt idx="99152">1</cx:pt>
          <cx:pt idx="99153">0</cx:pt>
          <cx:pt idx="99154">0</cx:pt>
          <cx:pt idx="99155">0</cx:pt>
          <cx:pt idx="99156">1</cx:pt>
          <cx:pt idx="99157">0</cx:pt>
          <cx:pt idx="99158">1</cx:pt>
          <cx:pt idx="99159">1</cx:pt>
          <cx:pt idx="99160">0</cx:pt>
          <cx:pt idx="99161">0</cx:pt>
          <cx:pt idx="99162">1</cx:pt>
          <cx:pt idx="99163">0</cx:pt>
          <cx:pt idx="99164">1</cx:pt>
          <cx:pt idx="99165">0</cx:pt>
          <cx:pt idx="99166">0</cx:pt>
          <cx:pt idx="99167">0</cx:pt>
          <cx:pt idx="99168">1</cx:pt>
          <cx:pt idx="99169">0</cx:pt>
          <cx:pt idx="99170">1</cx:pt>
          <cx:pt idx="99171">1</cx:pt>
          <cx:pt idx="99172">0</cx:pt>
          <cx:pt idx="99173">1</cx:pt>
          <cx:pt idx="99174">0</cx:pt>
          <cx:pt idx="99175">1</cx:pt>
          <cx:pt idx="99176">0</cx:pt>
          <cx:pt idx="99177">1</cx:pt>
          <cx:pt idx="99178">0</cx:pt>
          <cx:pt idx="99179">0</cx:pt>
          <cx:pt idx="99180">0</cx:pt>
          <cx:pt idx="99181">0</cx:pt>
          <cx:pt idx="99182">0</cx:pt>
          <cx:pt idx="99183">0</cx:pt>
          <cx:pt idx="99184">1</cx:pt>
          <cx:pt idx="99185">1</cx:pt>
          <cx:pt idx="99186">0</cx:pt>
          <cx:pt idx="99187">1</cx:pt>
          <cx:pt idx="99188">0</cx:pt>
          <cx:pt idx="99189">0</cx:pt>
          <cx:pt idx="99190">1</cx:pt>
          <cx:pt idx="99191">0</cx:pt>
          <cx:pt idx="99192">0</cx:pt>
          <cx:pt idx="99193">0</cx:pt>
          <cx:pt idx="99194">0</cx:pt>
          <cx:pt idx="99195">0</cx:pt>
          <cx:pt idx="99196">1</cx:pt>
          <cx:pt idx="99197">1</cx:pt>
          <cx:pt idx="99198">1</cx:pt>
          <cx:pt idx="99199">0</cx:pt>
          <cx:pt idx="99200">1</cx:pt>
          <cx:pt idx="99201">1</cx:pt>
          <cx:pt idx="99202">0</cx:pt>
          <cx:pt idx="99203">0</cx:pt>
          <cx:pt idx="99204">0</cx:pt>
          <cx:pt idx="99205">1</cx:pt>
          <cx:pt idx="99206">0</cx:pt>
          <cx:pt idx="99207">1</cx:pt>
          <cx:pt idx="99208">0</cx:pt>
          <cx:pt idx="99209">0</cx:pt>
          <cx:pt idx="99210">1</cx:pt>
          <cx:pt idx="99211">1</cx:pt>
          <cx:pt idx="99212">1</cx:pt>
          <cx:pt idx="99213">0</cx:pt>
          <cx:pt idx="99214">1</cx:pt>
          <cx:pt idx="99215">1</cx:pt>
          <cx:pt idx="99216">1</cx:pt>
          <cx:pt idx="99217">1</cx:pt>
          <cx:pt idx="99218">1</cx:pt>
          <cx:pt idx="99219">1</cx:pt>
          <cx:pt idx="99220">0</cx:pt>
          <cx:pt idx="99221">0</cx:pt>
          <cx:pt idx="99222">0</cx:pt>
          <cx:pt idx="99223">0</cx:pt>
          <cx:pt idx="99224">1</cx:pt>
          <cx:pt idx="99225">0</cx:pt>
          <cx:pt idx="99226">1</cx:pt>
          <cx:pt idx="99227">0</cx:pt>
          <cx:pt idx="99228">1</cx:pt>
          <cx:pt idx="99229">1</cx:pt>
          <cx:pt idx="99230">0</cx:pt>
          <cx:pt idx="99231">1</cx:pt>
          <cx:pt idx="99232">0</cx:pt>
          <cx:pt idx="99233">0</cx:pt>
          <cx:pt idx="99234">0</cx:pt>
          <cx:pt idx="99235">0</cx:pt>
          <cx:pt idx="99236">1</cx:pt>
          <cx:pt idx="99237">1</cx:pt>
          <cx:pt idx="99238">1</cx:pt>
          <cx:pt idx="99239">0</cx:pt>
          <cx:pt idx="99240">0</cx:pt>
          <cx:pt idx="99241">0</cx:pt>
          <cx:pt idx="99242">0</cx:pt>
          <cx:pt idx="99243">1</cx:pt>
          <cx:pt idx="99244">0</cx:pt>
          <cx:pt idx="99245">1</cx:pt>
          <cx:pt idx="99246">0</cx:pt>
          <cx:pt idx="99247">1</cx:pt>
          <cx:pt idx="99248">0</cx:pt>
          <cx:pt idx="99249">0</cx:pt>
          <cx:pt idx="99250">0</cx:pt>
          <cx:pt idx="99251">1</cx:pt>
          <cx:pt idx="99252">0</cx:pt>
          <cx:pt idx="99253">0</cx:pt>
          <cx:pt idx="99254">1</cx:pt>
          <cx:pt idx="99255">0</cx:pt>
          <cx:pt idx="99256">0</cx:pt>
          <cx:pt idx="99257">0</cx:pt>
          <cx:pt idx="99258">0</cx:pt>
          <cx:pt idx="99259">1</cx:pt>
          <cx:pt idx="99260">0</cx:pt>
          <cx:pt idx="99261">1</cx:pt>
          <cx:pt idx="99262">0</cx:pt>
          <cx:pt idx="99263">0</cx:pt>
          <cx:pt idx="99264">0</cx:pt>
          <cx:pt idx="99265">0</cx:pt>
          <cx:pt idx="99266">1</cx:pt>
          <cx:pt idx="99267">1</cx:pt>
          <cx:pt idx="99268">0</cx:pt>
          <cx:pt idx="99269">1</cx:pt>
          <cx:pt idx="99270">1</cx:pt>
          <cx:pt idx="99271">0</cx:pt>
          <cx:pt idx="99272">0</cx:pt>
          <cx:pt idx="99273">0</cx:pt>
          <cx:pt idx="99274">0</cx:pt>
          <cx:pt idx="99275">0</cx:pt>
          <cx:pt idx="99276">0</cx:pt>
          <cx:pt idx="99277">0</cx:pt>
          <cx:pt idx="99278">0</cx:pt>
          <cx:pt idx="99279">1</cx:pt>
          <cx:pt idx="99280">1</cx:pt>
          <cx:pt idx="99281">1</cx:pt>
          <cx:pt idx="99282">1</cx:pt>
          <cx:pt idx="99283">0</cx:pt>
          <cx:pt idx="99284">0</cx:pt>
          <cx:pt idx="99285">0</cx:pt>
          <cx:pt idx="99286">0</cx:pt>
          <cx:pt idx="99287">1</cx:pt>
          <cx:pt idx="99288">1</cx:pt>
          <cx:pt idx="99289">0</cx:pt>
          <cx:pt idx="99290">0</cx:pt>
          <cx:pt idx="99291">0</cx:pt>
          <cx:pt idx="99292">0</cx:pt>
          <cx:pt idx="99293">1</cx:pt>
          <cx:pt idx="99294">1</cx:pt>
          <cx:pt idx="99295">0</cx:pt>
          <cx:pt idx="99296">0</cx:pt>
          <cx:pt idx="99297">0</cx:pt>
          <cx:pt idx="99298">0</cx:pt>
          <cx:pt idx="99299">0</cx:pt>
          <cx:pt idx="99300">1</cx:pt>
          <cx:pt idx="99301">0</cx:pt>
          <cx:pt idx="99302">0</cx:pt>
          <cx:pt idx="99303">1</cx:pt>
          <cx:pt idx="99304">1</cx:pt>
          <cx:pt idx="99305">0</cx:pt>
          <cx:pt idx="99306">1</cx:pt>
          <cx:pt idx="99307">0</cx:pt>
          <cx:pt idx="99308">1</cx:pt>
          <cx:pt idx="99309">1</cx:pt>
          <cx:pt idx="99310">0</cx:pt>
          <cx:pt idx="99311">1</cx:pt>
          <cx:pt idx="99312">1</cx:pt>
          <cx:pt idx="99313">0</cx:pt>
          <cx:pt idx="99314">0</cx:pt>
          <cx:pt idx="99315">0</cx:pt>
          <cx:pt idx="99316">0</cx:pt>
          <cx:pt idx="99317">0</cx:pt>
          <cx:pt idx="99318">0</cx:pt>
          <cx:pt idx="99319">1</cx:pt>
          <cx:pt idx="99320">1</cx:pt>
          <cx:pt idx="99321">0</cx:pt>
          <cx:pt idx="99322">0</cx:pt>
          <cx:pt idx="99323">0</cx:pt>
          <cx:pt idx="99324">1</cx:pt>
          <cx:pt idx="99325">1</cx:pt>
          <cx:pt idx="99326">0</cx:pt>
          <cx:pt idx="99327">1</cx:pt>
          <cx:pt idx="99328">1</cx:pt>
          <cx:pt idx="99329">0</cx:pt>
          <cx:pt idx="99330">1</cx:pt>
          <cx:pt idx="99331">0</cx:pt>
          <cx:pt idx="99332">0</cx:pt>
          <cx:pt idx="99333">1</cx:pt>
          <cx:pt idx="99334">0</cx:pt>
          <cx:pt idx="99335">0</cx:pt>
          <cx:pt idx="99336">1</cx:pt>
          <cx:pt idx="99337">0</cx:pt>
          <cx:pt idx="99338">0</cx:pt>
          <cx:pt idx="99339">0</cx:pt>
          <cx:pt idx="99340">0</cx:pt>
          <cx:pt idx="99341">0</cx:pt>
          <cx:pt idx="99342">1</cx:pt>
          <cx:pt idx="99343">0</cx:pt>
          <cx:pt idx="99344">0</cx:pt>
          <cx:pt idx="99345">0</cx:pt>
          <cx:pt idx="99346">0</cx:pt>
          <cx:pt idx="99347">0</cx:pt>
          <cx:pt idx="99348">1</cx:pt>
          <cx:pt idx="99349">0</cx:pt>
          <cx:pt idx="99350">0</cx:pt>
          <cx:pt idx="99351">1</cx:pt>
          <cx:pt idx="99352">1</cx:pt>
          <cx:pt idx="99353">1</cx:pt>
          <cx:pt idx="99354">0</cx:pt>
          <cx:pt idx="99355">0</cx:pt>
          <cx:pt idx="99356">1</cx:pt>
          <cx:pt idx="99357">0</cx:pt>
          <cx:pt idx="99358">0</cx:pt>
          <cx:pt idx="99359">1</cx:pt>
          <cx:pt idx="99360">1</cx:pt>
          <cx:pt idx="99361">0</cx:pt>
          <cx:pt idx="99362">1</cx:pt>
          <cx:pt idx="99363">1</cx:pt>
          <cx:pt idx="99364">0</cx:pt>
          <cx:pt idx="99365">0</cx:pt>
          <cx:pt idx="99366">1</cx:pt>
          <cx:pt idx="99367">1</cx:pt>
          <cx:pt idx="99368">1</cx:pt>
          <cx:pt idx="99369">1</cx:pt>
          <cx:pt idx="99370">0</cx:pt>
          <cx:pt idx="99371">1</cx:pt>
          <cx:pt idx="99372">0</cx:pt>
          <cx:pt idx="99373">0</cx:pt>
          <cx:pt idx="99374">1</cx:pt>
          <cx:pt idx="99375">1</cx:pt>
          <cx:pt idx="99376">0</cx:pt>
          <cx:pt idx="99377">1</cx:pt>
          <cx:pt idx="99378">1</cx:pt>
          <cx:pt idx="99379">1</cx:pt>
          <cx:pt idx="99380">0</cx:pt>
          <cx:pt idx="99381">0</cx:pt>
          <cx:pt idx="99382">1</cx:pt>
          <cx:pt idx="99383">0</cx:pt>
          <cx:pt idx="99384">1</cx:pt>
          <cx:pt idx="99385">0</cx:pt>
          <cx:pt idx="99386">0</cx:pt>
          <cx:pt idx="99387">1</cx:pt>
          <cx:pt idx="99388">0</cx:pt>
          <cx:pt idx="99389">1</cx:pt>
          <cx:pt idx="99390">0</cx:pt>
          <cx:pt idx="99391">1</cx:pt>
          <cx:pt idx="99392">0</cx:pt>
          <cx:pt idx="99393">0</cx:pt>
          <cx:pt idx="99394">1</cx:pt>
          <cx:pt idx="99395">0</cx:pt>
          <cx:pt idx="99396">1</cx:pt>
          <cx:pt idx="99397">1</cx:pt>
          <cx:pt idx="99398">0</cx:pt>
          <cx:pt idx="99399">0</cx:pt>
          <cx:pt idx="99400">1</cx:pt>
          <cx:pt idx="99401">0</cx:pt>
          <cx:pt idx="99402">1</cx:pt>
          <cx:pt idx="99403">1</cx:pt>
          <cx:pt idx="99404">1</cx:pt>
          <cx:pt idx="99405">0</cx:pt>
          <cx:pt idx="99406">0</cx:pt>
          <cx:pt idx="99407">1</cx:pt>
          <cx:pt idx="99408">0</cx:pt>
          <cx:pt idx="99409">1</cx:pt>
          <cx:pt idx="99410">0</cx:pt>
          <cx:pt idx="99411">1</cx:pt>
          <cx:pt idx="99412">1</cx:pt>
          <cx:pt idx="99413">0</cx:pt>
          <cx:pt idx="99414">0</cx:pt>
          <cx:pt idx="99415">0</cx:pt>
          <cx:pt idx="99416">0</cx:pt>
          <cx:pt idx="99417">0</cx:pt>
          <cx:pt idx="99418">0</cx:pt>
          <cx:pt idx="99419">1</cx:pt>
          <cx:pt idx="99420">0</cx:pt>
          <cx:pt idx="99421">0</cx:pt>
          <cx:pt idx="99422">1</cx:pt>
          <cx:pt idx="99423">1</cx:pt>
          <cx:pt idx="99424">0</cx:pt>
          <cx:pt idx="99425">0</cx:pt>
          <cx:pt idx="99426">0</cx:pt>
          <cx:pt idx="99427">0</cx:pt>
          <cx:pt idx="99428">1</cx:pt>
          <cx:pt idx="99429">0</cx:pt>
          <cx:pt idx="99430">1</cx:pt>
          <cx:pt idx="99431">0</cx:pt>
          <cx:pt idx="99432">0</cx:pt>
          <cx:pt idx="99433">0</cx:pt>
          <cx:pt idx="99434">0</cx:pt>
          <cx:pt idx="99435">0</cx:pt>
          <cx:pt idx="99436">0</cx:pt>
          <cx:pt idx="99437">1</cx:pt>
          <cx:pt idx="99438">1</cx:pt>
          <cx:pt idx="99439">1</cx:pt>
          <cx:pt idx="99440">0</cx:pt>
          <cx:pt idx="99441">0</cx:pt>
          <cx:pt idx="99442">0</cx:pt>
          <cx:pt idx="99443">1</cx:pt>
          <cx:pt idx="99444">1</cx:pt>
          <cx:pt idx="99445">0</cx:pt>
          <cx:pt idx="99446">0</cx:pt>
          <cx:pt idx="99447">0</cx:pt>
          <cx:pt idx="99448">1</cx:pt>
          <cx:pt idx="99449">1</cx:pt>
          <cx:pt idx="99450">0</cx:pt>
          <cx:pt idx="99451">0</cx:pt>
          <cx:pt idx="99452">1</cx:pt>
          <cx:pt idx="99453">1</cx:pt>
          <cx:pt idx="99454">1</cx:pt>
          <cx:pt idx="99455">0</cx:pt>
          <cx:pt idx="99456">0</cx:pt>
          <cx:pt idx="99457">1</cx:pt>
          <cx:pt idx="99458">1</cx:pt>
          <cx:pt idx="99459">1</cx:pt>
          <cx:pt idx="99460">0</cx:pt>
          <cx:pt idx="99461">1</cx:pt>
          <cx:pt idx="99462">0</cx:pt>
          <cx:pt idx="99463">1</cx:pt>
          <cx:pt idx="99464">1</cx:pt>
          <cx:pt idx="99465">1</cx:pt>
          <cx:pt idx="99466">0</cx:pt>
          <cx:pt idx="99467">0</cx:pt>
          <cx:pt idx="99468">1</cx:pt>
          <cx:pt idx="99469">0</cx:pt>
          <cx:pt idx="99470">1</cx:pt>
          <cx:pt idx="99471">0</cx:pt>
          <cx:pt idx="99472">0</cx:pt>
          <cx:pt idx="99473">1</cx:pt>
          <cx:pt idx="99474">0</cx:pt>
          <cx:pt idx="99475">0</cx:pt>
          <cx:pt idx="99476">1</cx:pt>
          <cx:pt idx="99477">1</cx:pt>
          <cx:pt idx="99478">1</cx:pt>
          <cx:pt idx="99479">0</cx:pt>
          <cx:pt idx="99480">1</cx:pt>
          <cx:pt idx="99481">1</cx:pt>
          <cx:pt idx="99482">1</cx:pt>
          <cx:pt idx="99483">1</cx:pt>
          <cx:pt idx="99484">1</cx:pt>
          <cx:pt idx="99485">0</cx:pt>
          <cx:pt idx="99486">0</cx:pt>
          <cx:pt idx="99487">0</cx:pt>
          <cx:pt idx="99488">0</cx:pt>
          <cx:pt idx="99489">1</cx:pt>
          <cx:pt idx="99490">1</cx:pt>
          <cx:pt idx="99491">1</cx:pt>
          <cx:pt idx="99492">0</cx:pt>
          <cx:pt idx="99493">0</cx:pt>
          <cx:pt idx="99494">0</cx:pt>
          <cx:pt idx="99495">0</cx:pt>
          <cx:pt idx="99496">0</cx:pt>
          <cx:pt idx="99497">0</cx:pt>
          <cx:pt idx="99498">1</cx:pt>
          <cx:pt idx="99499">0</cx:pt>
          <cx:pt idx="99500">1</cx:pt>
          <cx:pt idx="99501">1</cx:pt>
          <cx:pt idx="99502">0</cx:pt>
          <cx:pt idx="99503">1</cx:pt>
          <cx:pt idx="99504">0</cx:pt>
          <cx:pt idx="99505">0</cx:pt>
          <cx:pt idx="99506">1</cx:pt>
          <cx:pt idx="99507">0</cx:pt>
          <cx:pt idx="99508">1</cx:pt>
          <cx:pt idx="99509">0</cx:pt>
          <cx:pt idx="99510">0</cx:pt>
          <cx:pt idx="99511">0</cx:pt>
          <cx:pt idx="99512">0</cx:pt>
          <cx:pt idx="99513">0</cx:pt>
          <cx:pt idx="99514">0</cx:pt>
          <cx:pt idx="99515">0</cx:pt>
          <cx:pt idx="99516">1</cx:pt>
          <cx:pt idx="99517">0</cx:pt>
          <cx:pt idx="99518">0</cx:pt>
          <cx:pt idx="99519">1</cx:pt>
          <cx:pt idx="99520">0</cx:pt>
          <cx:pt idx="99521">1</cx:pt>
          <cx:pt idx="99522">1</cx:pt>
          <cx:pt idx="99523">0</cx:pt>
          <cx:pt idx="99524">1</cx:pt>
          <cx:pt idx="99525">1</cx:pt>
          <cx:pt idx="99526">0</cx:pt>
          <cx:pt idx="99527">1</cx:pt>
          <cx:pt idx="99528">0</cx:pt>
          <cx:pt idx="99529">1</cx:pt>
          <cx:pt idx="99530">0</cx:pt>
          <cx:pt idx="99531">1</cx:pt>
          <cx:pt idx="99532">1</cx:pt>
          <cx:pt idx="99533">0</cx:pt>
          <cx:pt idx="99534">1</cx:pt>
          <cx:pt idx="99535">0</cx:pt>
          <cx:pt idx="99536">1</cx:pt>
          <cx:pt idx="99537">1</cx:pt>
          <cx:pt idx="99538">0</cx:pt>
          <cx:pt idx="99539">0</cx:pt>
          <cx:pt idx="99540">1</cx:pt>
          <cx:pt idx="99541">0</cx:pt>
          <cx:pt idx="99542">0</cx:pt>
          <cx:pt idx="99543">0</cx:pt>
          <cx:pt idx="99544">0</cx:pt>
          <cx:pt idx="99545">0</cx:pt>
          <cx:pt idx="99546">0</cx:pt>
          <cx:pt idx="99547">0</cx:pt>
          <cx:pt idx="99548">0</cx:pt>
          <cx:pt idx="99549">0</cx:pt>
          <cx:pt idx="99550">0</cx:pt>
          <cx:pt idx="99551">0</cx:pt>
          <cx:pt idx="99552">1</cx:pt>
          <cx:pt idx="99553">1</cx:pt>
          <cx:pt idx="99554">0</cx:pt>
          <cx:pt idx="99555">1</cx:pt>
          <cx:pt idx="99556">1</cx:pt>
          <cx:pt idx="99557">0</cx:pt>
          <cx:pt idx="99558">0</cx:pt>
          <cx:pt idx="99559">1</cx:pt>
          <cx:pt idx="99560">1</cx:pt>
          <cx:pt idx="99561">0</cx:pt>
          <cx:pt idx="99562">0</cx:pt>
          <cx:pt idx="99563">1</cx:pt>
          <cx:pt idx="99564">1</cx:pt>
          <cx:pt idx="99565">1</cx:pt>
          <cx:pt idx="99566">0</cx:pt>
          <cx:pt idx="99567">0</cx:pt>
          <cx:pt idx="99568">0</cx:pt>
          <cx:pt idx="99569">1</cx:pt>
          <cx:pt idx="99570">0</cx:pt>
          <cx:pt idx="99571">1</cx:pt>
          <cx:pt idx="99572">0</cx:pt>
          <cx:pt idx="99573">0</cx:pt>
          <cx:pt idx="99574">0</cx:pt>
          <cx:pt idx="99575">1</cx:pt>
          <cx:pt idx="99576">0</cx:pt>
          <cx:pt idx="99577">1</cx:pt>
          <cx:pt idx="99578">1</cx:pt>
          <cx:pt idx="99579">0</cx:pt>
          <cx:pt idx="99580">1</cx:pt>
          <cx:pt idx="99581">1</cx:pt>
          <cx:pt idx="99582">1</cx:pt>
          <cx:pt idx="99583">0</cx:pt>
          <cx:pt idx="99584">0</cx:pt>
          <cx:pt idx="99585">1</cx:pt>
          <cx:pt idx="99586">1</cx:pt>
          <cx:pt idx="99587">0</cx:pt>
          <cx:pt idx="99588">1</cx:pt>
          <cx:pt idx="99589">0</cx:pt>
          <cx:pt idx="99590">0</cx:pt>
          <cx:pt idx="99591">1</cx:pt>
          <cx:pt idx="99592">1</cx:pt>
          <cx:pt idx="99593">0</cx:pt>
          <cx:pt idx="99594">1</cx:pt>
          <cx:pt idx="99595">0</cx:pt>
          <cx:pt idx="99596">1</cx:pt>
          <cx:pt idx="99597">0</cx:pt>
          <cx:pt idx="99598">0</cx:pt>
          <cx:pt idx="99599">1</cx:pt>
          <cx:pt idx="99600">0</cx:pt>
          <cx:pt idx="99601">0</cx:pt>
          <cx:pt idx="99602">1</cx:pt>
          <cx:pt idx="99603">0</cx:pt>
          <cx:pt idx="99604">1</cx:pt>
          <cx:pt idx="99605">0</cx:pt>
          <cx:pt idx="99606">0</cx:pt>
          <cx:pt idx="99607">1</cx:pt>
          <cx:pt idx="99608">1</cx:pt>
          <cx:pt idx="99609">0</cx:pt>
          <cx:pt idx="99610">1</cx:pt>
          <cx:pt idx="99611">1</cx:pt>
          <cx:pt idx="99612">0</cx:pt>
          <cx:pt idx="99613">1</cx:pt>
          <cx:pt idx="99614">1</cx:pt>
          <cx:pt idx="99615">1</cx:pt>
          <cx:pt idx="99616">1</cx:pt>
          <cx:pt idx="99617">1</cx:pt>
          <cx:pt idx="99618">0</cx:pt>
          <cx:pt idx="99619">0</cx:pt>
          <cx:pt idx="99620">1</cx:pt>
          <cx:pt idx="99621">1</cx:pt>
          <cx:pt idx="99622">0</cx:pt>
          <cx:pt idx="99623">1</cx:pt>
          <cx:pt idx="99624">1</cx:pt>
          <cx:pt idx="99625">1</cx:pt>
          <cx:pt idx="99626">0</cx:pt>
          <cx:pt idx="99627">1</cx:pt>
          <cx:pt idx="99628">1</cx:pt>
          <cx:pt idx="99629">0</cx:pt>
          <cx:pt idx="99630">0</cx:pt>
          <cx:pt idx="99631">1</cx:pt>
          <cx:pt idx="99632">1</cx:pt>
          <cx:pt idx="99633">0</cx:pt>
          <cx:pt idx="99634">0</cx:pt>
          <cx:pt idx="99635">1</cx:pt>
          <cx:pt idx="99636">0</cx:pt>
          <cx:pt idx="99637">1</cx:pt>
          <cx:pt idx="99638">0</cx:pt>
          <cx:pt idx="99639">1</cx:pt>
          <cx:pt idx="99640">0</cx:pt>
          <cx:pt idx="99641">0</cx:pt>
          <cx:pt idx="99642">0</cx:pt>
          <cx:pt idx="99643">0</cx:pt>
          <cx:pt idx="99644">1</cx:pt>
          <cx:pt idx="99645">0</cx:pt>
          <cx:pt idx="99646">0</cx:pt>
          <cx:pt idx="99647">1</cx:pt>
          <cx:pt idx="99648">1</cx:pt>
          <cx:pt idx="99649">1</cx:pt>
          <cx:pt idx="99650">0</cx:pt>
          <cx:pt idx="99651">0</cx:pt>
          <cx:pt idx="99652">0</cx:pt>
          <cx:pt idx="99653">0</cx:pt>
          <cx:pt idx="99654">0</cx:pt>
          <cx:pt idx="99655">0</cx:pt>
          <cx:pt idx="99656">0</cx:pt>
          <cx:pt idx="99657">0</cx:pt>
          <cx:pt idx="99658">0</cx:pt>
          <cx:pt idx="99659">0</cx:pt>
          <cx:pt idx="99660">0</cx:pt>
          <cx:pt idx="99661">1</cx:pt>
          <cx:pt idx="99662">1</cx:pt>
          <cx:pt idx="99663">0</cx:pt>
          <cx:pt idx="99664">1</cx:pt>
          <cx:pt idx="99665">0</cx:pt>
          <cx:pt idx="99666">1</cx:pt>
          <cx:pt idx="99667">1</cx:pt>
          <cx:pt idx="99668">1</cx:pt>
          <cx:pt idx="99669">1</cx:pt>
          <cx:pt idx="99670">1</cx:pt>
          <cx:pt idx="99671">0</cx:pt>
          <cx:pt idx="99672">1</cx:pt>
          <cx:pt idx="99673">0</cx:pt>
          <cx:pt idx="99674">0</cx:pt>
          <cx:pt idx="99675">0</cx:pt>
          <cx:pt idx="99676">1</cx:pt>
          <cx:pt idx="99677">0</cx:pt>
          <cx:pt idx="99678">0</cx:pt>
          <cx:pt idx="99679">1</cx:pt>
          <cx:pt idx="99680">0</cx:pt>
          <cx:pt idx="99681">1</cx:pt>
          <cx:pt idx="99682">1</cx:pt>
          <cx:pt idx="99683">0</cx:pt>
          <cx:pt idx="99684">0</cx:pt>
          <cx:pt idx="99685">1</cx:pt>
          <cx:pt idx="99686">0</cx:pt>
          <cx:pt idx="99687">1</cx:pt>
          <cx:pt idx="99688">0</cx:pt>
          <cx:pt idx="99689">0</cx:pt>
          <cx:pt idx="99690">1</cx:pt>
          <cx:pt idx="99691">0</cx:pt>
          <cx:pt idx="99692">0</cx:pt>
          <cx:pt idx="99693">1</cx:pt>
          <cx:pt idx="99694">0</cx:pt>
          <cx:pt idx="99695">1</cx:pt>
          <cx:pt idx="99696">0</cx:pt>
          <cx:pt idx="99697">1</cx:pt>
          <cx:pt idx="99698">0</cx:pt>
          <cx:pt idx="99699">1</cx:pt>
          <cx:pt idx="99700">0</cx:pt>
          <cx:pt idx="99701">1</cx:pt>
          <cx:pt idx="99702">0</cx:pt>
          <cx:pt idx="99703">1</cx:pt>
          <cx:pt idx="99704">0</cx:pt>
          <cx:pt idx="99705">0</cx:pt>
          <cx:pt idx="99706">0</cx:pt>
          <cx:pt idx="99707">0</cx:pt>
          <cx:pt idx="99708">1</cx:pt>
          <cx:pt idx="99709">0</cx:pt>
          <cx:pt idx="99710">1</cx:pt>
          <cx:pt idx="99711">0</cx:pt>
          <cx:pt idx="99712">0</cx:pt>
          <cx:pt idx="99713">1</cx:pt>
          <cx:pt idx="99714">0</cx:pt>
          <cx:pt idx="99715">0</cx:pt>
          <cx:pt idx="99716">1</cx:pt>
          <cx:pt idx="99717">0</cx:pt>
          <cx:pt idx="99718">0</cx:pt>
          <cx:pt idx="99719">1</cx:pt>
          <cx:pt idx="99720">1</cx:pt>
          <cx:pt idx="99721">0</cx:pt>
          <cx:pt idx="99722">1</cx:pt>
          <cx:pt idx="99723">0</cx:pt>
          <cx:pt idx="99724">0</cx:pt>
          <cx:pt idx="99725">0</cx:pt>
          <cx:pt idx="99726">0</cx:pt>
          <cx:pt idx="99727">0</cx:pt>
          <cx:pt idx="99728">1</cx:pt>
          <cx:pt idx="99729">0</cx:pt>
          <cx:pt idx="99730">0</cx:pt>
          <cx:pt idx="99731">0</cx:pt>
          <cx:pt idx="99732">1</cx:pt>
          <cx:pt idx="99733">0</cx:pt>
          <cx:pt idx="99734">0</cx:pt>
          <cx:pt idx="99735">1</cx:pt>
          <cx:pt idx="99736">0</cx:pt>
          <cx:pt idx="99737">0</cx:pt>
          <cx:pt idx="99738">1</cx:pt>
          <cx:pt idx="99739">0</cx:pt>
          <cx:pt idx="99740">1</cx:pt>
          <cx:pt idx="99741">0</cx:pt>
          <cx:pt idx="99742">0</cx:pt>
          <cx:pt idx="99743">0</cx:pt>
          <cx:pt idx="99744">1</cx:pt>
          <cx:pt idx="99745">0</cx:pt>
          <cx:pt idx="99746">0</cx:pt>
          <cx:pt idx="99747">1</cx:pt>
          <cx:pt idx="99748">1</cx:pt>
          <cx:pt idx="99749">1</cx:pt>
          <cx:pt idx="99750">1</cx:pt>
          <cx:pt idx="99751">1</cx:pt>
          <cx:pt idx="99752">0</cx:pt>
          <cx:pt idx="99753">0</cx:pt>
          <cx:pt idx="99754">0</cx:pt>
          <cx:pt idx="99755">1</cx:pt>
          <cx:pt idx="99756">0</cx:pt>
          <cx:pt idx="99757">0</cx:pt>
          <cx:pt idx="99758">0</cx:pt>
          <cx:pt idx="99759">0</cx:pt>
          <cx:pt idx="99760">0</cx:pt>
          <cx:pt idx="99761">0</cx:pt>
          <cx:pt idx="99762">0</cx:pt>
          <cx:pt idx="99763">1</cx:pt>
          <cx:pt idx="99764">0</cx:pt>
          <cx:pt idx="99765">0</cx:pt>
          <cx:pt idx="99766">0</cx:pt>
          <cx:pt idx="99767">1</cx:pt>
          <cx:pt idx="99768">0</cx:pt>
          <cx:pt idx="99769">0</cx:pt>
          <cx:pt idx="99770">0</cx:pt>
          <cx:pt idx="99771">0</cx:pt>
          <cx:pt idx="99772">0</cx:pt>
          <cx:pt idx="99773">0</cx:pt>
          <cx:pt idx="99774">1</cx:pt>
          <cx:pt idx="99775">1</cx:pt>
          <cx:pt idx="99776">1</cx:pt>
          <cx:pt idx="99777">0</cx:pt>
          <cx:pt idx="99778">1</cx:pt>
          <cx:pt idx="99779">0</cx:pt>
          <cx:pt idx="99780">0</cx:pt>
          <cx:pt idx="99781">0</cx:pt>
          <cx:pt idx="99782">1</cx:pt>
          <cx:pt idx="99783">0</cx:pt>
          <cx:pt idx="99784">0</cx:pt>
          <cx:pt idx="99785">0</cx:pt>
          <cx:pt idx="99786">1</cx:pt>
          <cx:pt idx="99787">0</cx:pt>
          <cx:pt idx="99788">1</cx:pt>
          <cx:pt idx="99789">0</cx:pt>
          <cx:pt idx="99790">0</cx:pt>
          <cx:pt idx="99791">1</cx:pt>
          <cx:pt idx="99792">0</cx:pt>
          <cx:pt idx="99793">1</cx:pt>
          <cx:pt idx="99794">1</cx:pt>
          <cx:pt idx="99795">0</cx:pt>
          <cx:pt idx="99796">1</cx:pt>
          <cx:pt idx="99797">0</cx:pt>
          <cx:pt idx="99798">0</cx:pt>
          <cx:pt idx="99799">0</cx:pt>
          <cx:pt idx="99800">1</cx:pt>
          <cx:pt idx="99801">0</cx:pt>
          <cx:pt idx="99802">0</cx:pt>
          <cx:pt idx="99803">1</cx:pt>
          <cx:pt idx="99804">1</cx:pt>
          <cx:pt idx="99805">1</cx:pt>
          <cx:pt idx="99806">0</cx:pt>
          <cx:pt idx="99807">0</cx:pt>
          <cx:pt idx="99808">1</cx:pt>
          <cx:pt idx="99809">1</cx:pt>
          <cx:pt idx="99810">0</cx:pt>
          <cx:pt idx="99811">1</cx:pt>
          <cx:pt idx="99812">0</cx:pt>
          <cx:pt idx="99813">0</cx:pt>
          <cx:pt idx="99814">1</cx:pt>
          <cx:pt idx="99815">1</cx:pt>
          <cx:pt idx="99816">1</cx:pt>
          <cx:pt idx="99817">1</cx:pt>
          <cx:pt idx="99818">0</cx:pt>
          <cx:pt idx="99819">0</cx:pt>
          <cx:pt idx="99820">1</cx:pt>
          <cx:pt idx="99821">0</cx:pt>
          <cx:pt idx="99822">0</cx:pt>
          <cx:pt idx="99823">0</cx:pt>
          <cx:pt idx="99824">0</cx:pt>
          <cx:pt idx="99825">1</cx:pt>
          <cx:pt idx="99826">1</cx:pt>
          <cx:pt idx="99827">1</cx:pt>
          <cx:pt idx="99828">1</cx:pt>
          <cx:pt idx="99829">1</cx:pt>
          <cx:pt idx="99830">0</cx:pt>
          <cx:pt idx="99831">0</cx:pt>
          <cx:pt idx="99832">0</cx:pt>
          <cx:pt idx="99833">0</cx:pt>
          <cx:pt idx="99834">1</cx:pt>
          <cx:pt idx="99835">1</cx:pt>
          <cx:pt idx="99836">0</cx:pt>
          <cx:pt idx="99837">1</cx:pt>
          <cx:pt idx="99838">1</cx:pt>
          <cx:pt idx="99839">1</cx:pt>
          <cx:pt idx="99840">1</cx:pt>
          <cx:pt idx="99841">0</cx:pt>
          <cx:pt idx="99842">0</cx:pt>
          <cx:pt idx="99843">0</cx:pt>
          <cx:pt idx="99844">1</cx:pt>
          <cx:pt idx="99845">0</cx:pt>
          <cx:pt idx="99846">0</cx:pt>
          <cx:pt idx="99847">0</cx:pt>
          <cx:pt idx="99848">1</cx:pt>
          <cx:pt idx="99849">0</cx:pt>
          <cx:pt idx="99850">0</cx:pt>
          <cx:pt idx="99851">0</cx:pt>
          <cx:pt idx="99852">1</cx:pt>
          <cx:pt idx="99853">1</cx:pt>
          <cx:pt idx="99854">0</cx:pt>
          <cx:pt idx="99855">0</cx:pt>
          <cx:pt idx="99856">0</cx:pt>
          <cx:pt idx="99857">1</cx:pt>
          <cx:pt idx="99858">1</cx:pt>
          <cx:pt idx="99859">0</cx:pt>
          <cx:pt idx="99860">0</cx:pt>
          <cx:pt idx="99861">0</cx:pt>
          <cx:pt idx="99862">1</cx:pt>
          <cx:pt idx="99863">0</cx:pt>
          <cx:pt idx="99864">0</cx:pt>
          <cx:pt idx="99865">1</cx:pt>
          <cx:pt idx="99866">0</cx:pt>
          <cx:pt idx="99867">0</cx:pt>
          <cx:pt idx="99868">0</cx:pt>
          <cx:pt idx="99869">1</cx:pt>
          <cx:pt idx="99870">1</cx:pt>
          <cx:pt idx="99871">1</cx:pt>
          <cx:pt idx="99872">0</cx:pt>
          <cx:pt idx="99873">1</cx:pt>
          <cx:pt idx="99874">0</cx:pt>
          <cx:pt idx="99875">1</cx:pt>
          <cx:pt idx="99876">0</cx:pt>
          <cx:pt idx="99877">1</cx:pt>
          <cx:pt idx="99878">0</cx:pt>
          <cx:pt idx="99879">1</cx:pt>
          <cx:pt idx="99880">1</cx:pt>
          <cx:pt idx="99881">1</cx:pt>
          <cx:pt idx="99882">1</cx:pt>
          <cx:pt idx="99883">1</cx:pt>
          <cx:pt idx="99884">1</cx:pt>
          <cx:pt idx="99885">0</cx:pt>
          <cx:pt idx="99886">0</cx:pt>
          <cx:pt idx="99887">1</cx:pt>
          <cx:pt idx="99888">0</cx:pt>
          <cx:pt idx="99889">1</cx:pt>
          <cx:pt idx="99890">1</cx:pt>
          <cx:pt idx="99891">1</cx:pt>
          <cx:pt idx="99892">0</cx:pt>
          <cx:pt idx="99893">0</cx:pt>
          <cx:pt idx="99894">0</cx:pt>
          <cx:pt idx="99895">1</cx:pt>
          <cx:pt idx="99896">0</cx:pt>
          <cx:pt idx="99897">0</cx:pt>
          <cx:pt idx="99898">1</cx:pt>
          <cx:pt idx="99899">0</cx:pt>
          <cx:pt idx="99900">0</cx:pt>
          <cx:pt idx="99901">1</cx:pt>
          <cx:pt idx="99902">0</cx:pt>
          <cx:pt idx="99903">0</cx:pt>
          <cx:pt idx="99904">0</cx:pt>
          <cx:pt idx="99905">0</cx:pt>
          <cx:pt idx="99906">1</cx:pt>
          <cx:pt idx="99907">0</cx:pt>
          <cx:pt idx="99908">0</cx:pt>
          <cx:pt idx="99909">1</cx:pt>
          <cx:pt idx="99910">0</cx:pt>
          <cx:pt idx="99911">0</cx:pt>
          <cx:pt idx="99912">0</cx:pt>
          <cx:pt idx="99913">0</cx:pt>
          <cx:pt idx="99914">0</cx:pt>
          <cx:pt idx="99915">0</cx:pt>
          <cx:pt idx="99916">0</cx:pt>
          <cx:pt idx="99917">0</cx:pt>
          <cx:pt idx="99918">0</cx:pt>
          <cx:pt idx="99919">1</cx:pt>
          <cx:pt idx="99920">0</cx:pt>
          <cx:pt idx="99921">1</cx:pt>
          <cx:pt idx="99922">0</cx:pt>
          <cx:pt idx="99923">0</cx:pt>
          <cx:pt idx="99924">0</cx:pt>
          <cx:pt idx="99925">1</cx:pt>
          <cx:pt idx="99926">1</cx:pt>
          <cx:pt idx="99927">0</cx:pt>
          <cx:pt idx="99928">0</cx:pt>
          <cx:pt idx="99929">1</cx:pt>
          <cx:pt idx="99930">0</cx:pt>
          <cx:pt idx="99931">1</cx:pt>
          <cx:pt idx="99932">1</cx:pt>
          <cx:pt idx="99933">0</cx:pt>
          <cx:pt idx="99934">0</cx:pt>
          <cx:pt idx="99935">0</cx:pt>
          <cx:pt idx="99936">0</cx:pt>
          <cx:pt idx="99937">0</cx:pt>
          <cx:pt idx="99938">1</cx:pt>
          <cx:pt idx="99939">1</cx:pt>
          <cx:pt idx="99940">1</cx:pt>
          <cx:pt idx="99941">0</cx:pt>
          <cx:pt idx="99942">1</cx:pt>
          <cx:pt idx="99943">1</cx:pt>
          <cx:pt idx="99944">0</cx:pt>
          <cx:pt idx="99945">0</cx:pt>
          <cx:pt idx="99946">1</cx:pt>
          <cx:pt idx="99947">0</cx:pt>
          <cx:pt idx="99948">0</cx:pt>
          <cx:pt idx="99949">0</cx:pt>
          <cx:pt idx="99950">0</cx:pt>
          <cx:pt idx="99951">1</cx:pt>
          <cx:pt idx="99952">1</cx:pt>
          <cx:pt idx="99953">1</cx:pt>
          <cx:pt idx="99954">1</cx:pt>
          <cx:pt idx="99955">1</cx:pt>
          <cx:pt idx="99956">0</cx:pt>
          <cx:pt idx="99957">1</cx:pt>
          <cx:pt idx="99958">0</cx:pt>
          <cx:pt idx="99959">0</cx:pt>
          <cx:pt idx="99960">0</cx:pt>
          <cx:pt idx="99961">1</cx:pt>
          <cx:pt idx="99962">0</cx:pt>
          <cx:pt idx="99963">1</cx:pt>
          <cx:pt idx="99964">0</cx:pt>
          <cx:pt idx="99965">1</cx:pt>
          <cx:pt idx="99966">0</cx:pt>
          <cx:pt idx="99967">0</cx:pt>
          <cx:pt idx="99968">1</cx:pt>
          <cx:pt idx="99969">0</cx:pt>
          <cx:pt idx="99970">0</cx:pt>
          <cx:pt idx="99971">0</cx:pt>
          <cx:pt idx="99972">1</cx:pt>
          <cx:pt idx="99973">0</cx:pt>
          <cx:pt idx="99974">1</cx:pt>
          <cx:pt idx="99975">0</cx:pt>
          <cx:pt idx="99976">1</cx:pt>
          <cx:pt idx="99977">1</cx:pt>
          <cx:pt idx="99978">0</cx:pt>
          <cx:pt idx="99979">1</cx:pt>
          <cx:pt idx="99980">0</cx:pt>
          <cx:pt idx="99981">1</cx:pt>
          <cx:pt idx="99982">1</cx:pt>
          <cx:pt idx="99983">0</cx:pt>
          <cx:pt idx="99984">1</cx:pt>
          <cx:pt idx="99985">1</cx:pt>
          <cx:pt idx="99986">0</cx:pt>
          <cx:pt idx="99987">1</cx:pt>
          <cx:pt idx="99988">0</cx:pt>
          <cx:pt idx="99989">0</cx:pt>
          <cx:pt idx="99990">0</cx:pt>
          <cx:pt idx="99991">0</cx:pt>
          <cx:pt idx="99992">0</cx:pt>
          <cx:pt idx="99993">1</cx:pt>
          <cx:pt idx="99994">1</cx:pt>
          <cx:pt idx="99995">0</cx:pt>
          <cx:pt idx="99996">0</cx:pt>
          <cx:pt idx="99997">1</cx:pt>
          <cx:pt idx="99998">0</cx:pt>
          <cx:pt idx="99999">0</cx:pt>
          <cx:pt idx="100000">0</cx:pt>
          <cx:pt idx="100001">0</cx:pt>
          <cx:pt idx="100002">1</cx:pt>
          <cx:pt idx="100003">0</cx:pt>
          <cx:pt idx="100004">1</cx:pt>
          <cx:pt idx="100005">1</cx:pt>
          <cx:pt idx="100006">0</cx:pt>
          <cx:pt idx="100007">0</cx:pt>
          <cx:pt idx="100008">0</cx:pt>
          <cx:pt idx="100009">1</cx:pt>
          <cx:pt idx="100010">0</cx:pt>
          <cx:pt idx="100011">0</cx:pt>
          <cx:pt idx="100012">0</cx:pt>
          <cx:pt idx="100013">0</cx:pt>
          <cx:pt idx="100014">1</cx:pt>
          <cx:pt idx="100015">0</cx:pt>
          <cx:pt idx="100016">1</cx:pt>
          <cx:pt idx="100017">0</cx:pt>
          <cx:pt idx="100018">0</cx:pt>
          <cx:pt idx="100019">1</cx:pt>
          <cx:pt idx="100020">0</cx:pt>
          <cx:pt idx="100021">0</cx:pt>
          <cx:pt idx="100022">0</cx:pt>
          <cx:pt idx="100023">0</cx:pt>
          <cx:pt idx="100024">0</cx:pt>
          <cx:pt idx="100025">0</cx:pt>
          <cx:pt idx="100026">1</cx:pt>
          <cx:pt idx="100027">1</cx:pt>
          <cx:pt idx="100028">0</cx:pt>
          <cx:pt idx="100029">1</cx:pt>
          <cx:pt idx="100030">0</cx:pt>
          <cx:pt idx="100031">0</cx:pt>
          <cx:pt idx="100032">0</cx:pt>
          <cx:pt idx="100033">0</cx:pt>
          <cx:pt idx="100034">0</cx:pt>
          <cx:pt idx="100035">0</cx:pt>
          <cx:pt idx="100036">0</cx:pt>
          <cx:pt idx="100037">0</cx:pt>
          <cx:pt idx="100038">0</cx:pt>
          <cx:pt idx="100039">1</cx:pt>
          <cx:pt idx="100040">1</cx:pt>
          <cx:pt idx="100041">1</cx:pt>
          <cx:pt idx="100042">0</cx:pt>
          <cx:pt idx="100043">0</cx:pt>
          <cx:pt idx="100044">1</cx:pt>
          <cx:pt idx="100045">0</cx:pt>
          <cx:pt idx="100046">0</cx:pt>
          <cx:pt idx="100047">0</cx:pt>
          <cx:pt idx="100048">1</cx:pt>
          <cx:pt idx="100049">0</cx:pt>
          <cx:pt idx="100050">0</cx:pt>
          <cx:pt idx="100051">1</cx:pt>
          <cx:pt idx="100052">1</cx:pt>
          <cx:pt idx="100053">0</cx:pt>
          <cx:pt idx="100054">1</cx:pt>
          <cx:pt idx="100055">1</cx:pt>
          <cx:pt idx="100056">0</cx:pt>
          <cx:pt idx="100057">0</cx:pt>
          <cx:pt idx="100058">1</cx:pt>
          <cx:pt idx="100059">0</cx:pt>
          <cx:pt idx="100060">1</cx:pt>
          <cx:pt idx="100061">1</cx:pt>
          <cx:pt idx="100062">0</cx:pt>
          <cx:pt idx="100063">1</cx:pt>
          <cx:pt idx="100064">1</cx:pt>
          <cx:pt idx="100065">0</cx:pt>
          <cx:pt idx="100066">1</cx:pt>
          <cx:pt idx="100067">0</cx:pt>
          <cx:pt idx="100068">0</cx:pt>
          <cx:pt idx="100069">1</cx:pt>
          <cx:pt idx="100070">0</cx:pt>
          <cx:pt idx="100071">0</cx:pt>
          <cx:pt idx="100072">0</cx:pt>
          <cx:pt idx="100073">1</cx:pt>
          <cx:pt idx="100074">0</cx:pt>
          <cx:pt idx="100075">1</cx:pt>
          <cx:pt idx="100076">0</cx:pt>
          <cx:pt idx="100077">0</cx:pt>
          <cx:pt idx="100078">1</cx:pt>
          <cx:pt idx="100079">0</cx:pt>
          <cx:pt idx="100080">0</cx:pt>
          <cx:pt idx="100081">0</cx:pt>
          <cx:pt idx="100082">0</cx:pt>
          <cx:pt idx="100083">0</cx:pt>
          <cx:pt idx="100084">0</cx:pt>
          <cx:pt idx="100085">0</cx:pt>
          <cx:pt idx="100086">1</cx:pt>
          <cx:pt idx="100087">1</cx:pt>
          <cx:pt idx="100088">0</cx:pt>
          <cx:pt idx="100089">1</cx:pt>
          <cx:pt idx="100090">0</cx:pt>
          <cx:pt idx="100091">1</cx:pt>
          <cx:pt idx="100092">1</cx:pt>
          <cx:pt idx="100093">1</cx:pt>
          <cx:pt idx="100094">0</cx:pt>
          <cx:pt idx="100095">0</cx:pt>
          <cx:pt idx="100096">0</cx:pt>
          <cx:pt idx="100097">0</cx:pt>
          <cx:pt idx="100098">1</cx:pt>
          <cx:pt idx="100099">0</cx:pt>
          <cx:pt idx="100100">1</cx:pt>
          <cx:pt idx="100101">0</cx:pt>
          <cx:pt idx="100102">0</cx:pt>
          <cx:pt idx="100103">0</cx:pt>
          <cx:pt idx="100104">0</cx:pt>
          <cx:pt idx="100105">1</cx:pt>
          <cx:pt idx="100106">1</cx:pt>
          <cx:pt idx="100107">0</cx:pt>
          <cx:pt idx="100108">0</cx:pt>
          <cx:pt idx="100109">1</cx:pt>
          <cx:pt idx="100110">0</cx:pt>
          <cx:pt idx="100111">1</cx:pt>
          <cx:pt idx="100112">1</cx:pt>
          <cx:pt idx="100113">0</cx:pt>
          <cx:pt idx="100114">1</cx:pt>
          <cx:pt idx="100115">0</cx:pt>
          <cx:pt idx="100116">1</cx:pt>
          <cx:pt idx="100117">0</cx:pt>
          <cx:pt idx="100118">0</cx:pt>
          <cx:pt idx="100119">0</cx:pt>
          <cx:pt idx="100120">0</cx:pt>
          <cx:pt idx="100121">0</cx:pt>
          <cx:pt idx="100122">1</cx:pt>
          <cx:pt idx="100123">1</cx:pt>
          <cx:pt idx="100124">0</cx:pt>
          <cx:pt idx="100125">0</cx:pt>
          <cx:pt idx="100126">0</cx:pt>
          <cx:pt idx="100127">0</cx:pt>
          <cx:pt idx="100128">1</cx:pt>
          <cx:pt idx="100129">0</cx:pt>
          <cx:pt idx="100130">1</cx:pt>
          <cx:pt idx="100131">1</cx:pt>
          <cx:pt idx="100132">0</cx:pt>
          <cx:pt idx="100133">1</cx:pt>
          <cx:pt idx="100134">1</cx:pt>
          <cx:pt idx="100135">1</cx:pt>
          <cx:pt idx="100136">0</cx:pt>
          <cx:pt idx="100137">1</cx:pt>
          <cx:pt idx="100138">0</cx:pt>
          <cx:pt idx="100139">0</cx:pt>
          <cx:pt idx="100140">1</cx:pt>
          <cx:pt idx="100141">1</cx:pt>
          <cx:pt idx="100142">1</cx:pt>
          <cx:pt idx="100143">1</cx:pt>
          <cx:pt idx="100144">1</cx:pt>
          <cx:pt idx="100145">0</cx:pt>
          <cx:pt idx="100146">0</cx:pt>
          <cx:pt idx="100147">1</cx:pt>
          <cx:pt idx="100148">0</cx:pt>
          <cx:pt idx="100149">0</cx:pt>
          <cx:pt idx="100150">0</cx:pt>
          <cx:pt idx="100151">1</cx:pt>
          <cx:pt idx="100152">0</cx:pt>
          <cx:pt idx="100153">1</cx:pt>
          <cx:pt idx="100154">0</cx:pt>
          <cx:pt idx="100155">0</cx:pt>
          <cx:pt idx="100156">0</cx:pt>
          <cx:pt idx="100157">1</cx:pt>
          <cx:pt idx="100158">1</cx:pt>
          <cx:pt idx="100159">1</cx:pt>
          <cx:pt idx="100160">0</cx:pt>
          <cx:pt idx="100161">0</cx:pt>
          <cx:pt idx="100162">0</cx:pt>
          <cx:pt idx="100163">0</cx:pt>
          <cx:pt idx="100164">0</cx:pt>
          <cx:pt idx="100165">0</cx:pt>
          <cx:pt idx="100166">0</cx:pt>
          <cx:pt idx="100167">1</cx:pt>
          <cx:pt idx="100168">1</cx:pt>
          <cx:pt idx="100169">0</cx:pt>
          <cx:pt idx="100170">0</cx:pt>
          <cx:pt idx="100171">0</cx:pt>
          <cx:pt idx="100172">1</cx:pt>
          <cx:pt idx="100173">1</cx:pt>
          <cx:pt idx="100174">1</cx:pt>
          <cx:pt idx="100175">0</cx:pt>
          <cx:pt idx="100176">0</cx:pt>
          <cx:pt idx="100177">0</cx:pt>
          <cx:pt idx="100178">0</cx:pt>
          <cx:pt idx="100179">0</cx:pt>
          <cx:pt idx="100180">1</cx:pt>
          <cx:pt idx="100181">1</cx:pt>
          <cx:pt idx="100182">0</cx:pt>
          <cx:pt idx="100183">0</cx:pt>
          <cx:pt idx="100184">0</cx:pt>
          <cx:pt idx="100185">0</cx:pt>
          <cx:pt idx="100186">0</cx:pt>
          <cx:pt idx="100187">0</cx:pt>
          <cx:pt idx="100188">1</cx:pt>
          <cx:pt idx="100189">1</cx:pt>
          <cx:pt idx="100190">1</cx:pt>
          <cx:pt idx="100191">0</cx:pt>
          <cx:pt idx="100192">0</cx:pt>
          <cx:pt idx="100193">0</cx:pt>
          <cx:pt idx="100194">1</cx:pt>
          <cx:pt idx="100195">0</cx:pt>
          <cx:pt idx="100196">1</cx:pt>
          <cx:pt idx="100197">0</cx:pt>
          <cx:pt idx="100198">0</cx:pt>
          <cx:pt idx="100199">1</cx:pt>
          <cx:pt idx="100200">1</cx:pt>
          <cx:pt idx="100201">0</cx:pt>
          <cx:pt idx="100202">1</cx:pt>
          <cx:pt idx="100203">1</cx:pt>
          <cx:pt idx="100204">0</cx:pt>
          <cx:pt idx="100205">1</cx:pt>
          <cx:pt idx="100206">0</cx:pt>
          <cx:pt idx="100207">0</cx:pt>
          <cx:pt idx="100208">0</cx:pt>
          <cx:pt idx="100209">1</cx:pt>
          <cx:pt idx="100210">0</cx:pt>
          <cx:pt idx="100211">0</cx:pt>
          <cx:pt idx="100212">1</cx:pt>
          <cx:pt idx="100213">1</cx:pt>
          <cx:pt idx="100214">1</cx:pt>
          <cx:pt idx="100215">0</cx:pt>
          <cx:pt idx="100216">1</cx:pt>
          <cx:pt idx="100217">0</cx:pt>
          <cx:pt idx="100218">1</cx:pt>
          <cx:pt idx="100219">1</cx:pt>
          <cx:pt idx="100220">0</cx:pt>
          <cx:pt idx="100221">0</cx:pt>
          <cx:pt idx="100222">1</cx:pt>
          <cx:pt idx="100223">0</cx:pt>
          <cx:pt idx="100224">0</cx:pt>
          <cx:pt idx="100225">1</cx:pt>
          <cx:pt idx="100226">0</cx:pt>
          <cx:pt idx="100227">0</cx:pt>
          <cx:pt idx="100228">0</cx:pt>
          <cx:pt idx="100229">0</cx:pt>
          <cx:pt idx="100230">0</cx:pt>
          <cx:pt idx="100231">0</cx:pt>
          <cx:pt idx="100232">0</cx:pt>
          <cx:pt idx="100233">1</cx:pt>
          <cx:pt idx="100234">0</cx:pt>
          <cx:pt idx="100235">1</cx:pt>
          <cx:pt idx="100236">0</cx:pt>
          <cx:pt idx="100237">1</cx:pt>
          <cx:pt idx="100238">1</cx:pt>
          <cx:pt idx="100239">0</cx:pt>
          <cx:pt idx="100240">1</cx:pt>
          <cx:pt idx="100241">0</cx:pt>
          <cx:pt idx="100242">1</cx:pt>
          <cx:pt idx="100243">1</cx:pt>
          <cx:pt idx="100244">0</cx:pt>
          <cx:pt idx="100245">1</cx:pt>
          <cx:pt idx="100246">1</cx:pt>
          <cx:pt idx="100247">1</cx:pt>
          <cx:pt idx="100248">0</cx:pt>
          <cx:pt idx="100249">0</cx:pt>
          <cx:pt idx="100250">0</cx:pt>
          <cx:pt idx="100251">0</cx:pt>
          <cx:pt idx="100252">1</cx:pt>
          <cx:pt idx="100253">0</cx:pt>
          <cx:pt idx="100254">1</cx:pt>
          <cx:pt idx="100255">1</cx:pt>
          <cx:pt idx="100256">0</cx:pt>
          <cx:pt idx="100257">1</cx:pt>
          <cx:pt idx="100258">0</cx:pt>
          <cx:pt idx="100259">1</cx:pt>
          <cx:pt idx="100260">1</cx:pt>
          <cx:pt idx="100261">1</cx:pt>
          <cx:pt idx="100262">0</cx:pt>
          <cx:pt idx="100263">0</cx:pt>
          <cx:pt idx="100264">0</cx:pt>
          <cx:pt idx="100265">1</cx:pt>
          <cx:pt idx="100266">1</cx:pt>
          <cx:pt idx="100267">0</cx:pt>
          <cx:pt idx="100268">1</cx:pt>
          <cx:pt idx="100269">0</cx:pt>
          <cx:pt idx="100270">0</cx:pt>
          <cx:pt idx="100271">1</cx:pt>
          <cx:pt idx="100272">1</cx:pt>
          <cx:pt idx="100273">0</cx:pt>
          <cx:pt idx="100274">1</cx:pt>
          <cx:pt idx="100275">0</cx:pt>
          <cx:pt idx="100276">1</cx:pt>
          <cx:pt idx="100277">1</cx:pt>
          <cx:pt idx="100278">1</cx:pt>
          <cx:pt idx="100279">1</cx:pt>
          <cx:pt idx="100280">1</cx:pt>
          <cx:pt idx="100281">1</cx:pt>
          <cx:pt idx="100282">1</cx:pt>
          <cx:pt idx="100283">1</cx:pt>
          <cx:pt idx="100284">0</cx:pt>
          <cx:pt idx="100285">0</cx:pt>
          <cx:pt idx="100286">1</cx:pt>
          <cx:pt idx="100287">0</cx:pt>
          <cx:pt idx="100288">1</cx:pt>
          <cx:pt idx="100289">0</cx:pt>
          <cx:pt idx="100290">1</cx:pt>
          <cx:pt idx="100291">1</cx:pt>
          <cx:pt idx="100292">0</cx:pt>
          <cx:pt idx="100293">1</cx:pt>
          <cx:pt idx="100294">0</cx:pt>
          <cx:pt idx="100295">0</cx:pt>
          <cx:pt idx="100296">1</cx:pt>
          <cx:pt idx="100297">0</cx:pt>
          <cx:pt idx="100298">1</cx:pt>
          <cx:pt idx="100299">1</cx:pt>
          <cx:pt idx="100300">1</cx:pt>
          <cx:pt idx="100301">0</cx:pt>
          <cx:pt idx="100302">1</cx:pt>
          <cx:pt idx="100303">1</cx:pt>
          <cx:pt idx="100304">1</cx:pt>
          <cx:pt idx="100305">0</cx:pt>
          <cx:pt idx="100306">0</cx:pt>
          <cx:pt idx="100307">0</cx:pt>
          <cx:pt idx="100308">1</cx:pt>
          <cx:pt idx="100309">0</cx:pt>
          <cx:pt idx="100310">0</cx:pt>
          <cx:pt idx="100311">0</cx:pt>
          <cx:pt idx="100312">0</cx:pt>
          <cx:pt idx="100313">0</cx:pt>
          <cx:pt idx="100314">0</cx:pt>
          <cx:pt idx="100315">0</cx:pt>
          <cx:pt idx="100316">0</cx:pt>
          <cx:pt idx="100317">0</cx:pt>
          <cx:pt idx="100318">0</cx:pt>
          <cx:pt idx="100319">0</cx:pt>
          <cx:pt idx="100320">1</cx:pt>
          <cx:pt idx="100321">0</cx:pt>
          <cx:pt idx="100322">0</cx:pt>
          <cx:pt idx="100323">1</cx:pt>
          <cx:pt idx="100324">1</cx:pt>
          <cx:pt idx="100325">0</cx:pt>
          <cx:pt idx="100326">0</cx:pt>
          <cx:pt idx="100327">0</cx:pt>
          <cx:pt idx="100328">0</cx:pt>
          <cx:pt idx="100329">0</cx:pt>
          <cx:pt idx="100330">0</cx:pt>
          <cx:pt idx="100331">0</cx:pt>
          <cx:pt idx="100332">0</cx:pt>
          <cx:pt idx="100333">0</cx:pt>
          <cx:pt idx="100334">0</cx:pt>
          <cx:pt idx="100335">1</cx:pt>
          <cx:pt idx="100336">0</cx:pt>
          <cx:pt idx="100337">1</cx:pt>
          <cx:pt idx="100338">0</cx:pt>
          <cx:pt idx="100339">1</cx:pt>
          <cx:pt idx="100340">0</cx:pt>
          <cx:pt idx="100341">1</cx:pt>
          <cx:pt idx="100342">1</cx:pt>
          <cx:pt idx="100343">1</cx:pt>
          <cx:pt idx="100344">0</cx:pt>
          <cx:pt idx="100345">0</cx:pt>
          <cx:pt idx="100346">0</cx:pt>
          <cx:pt idx="100347">0</cx:pt>
          <cx:pt idx="100348">1</cx:pt>
          <cx:pt idx="100349">1</cx:pt>
          <cx:pt idx="100350">0</cx:pt>
          <cx:pt idx="100351">1</cx:pt>
          <cx:pt idx="100352">1</cx:pt>
          <cx:pt idx="100353">1</cx:pt>
          <cx:pt idx="100354">0</cx:pt>
          <cx:pt idx="100355">0</cx:pt>
          <cx:pt idx="100356">0</cx:pt>
          <cx:pt idx="100357">0</cx:pt>
          <cx:pt idx="100358">0</cx:pt>
          <cx:pt idx="100359">1</cx:pt>
          <cx:pt idx="100360">1</cx:pt>
          <cx:pt idx="100361">0</cx:pt>
          <cx:pt idx="100362">0</cx:pt>
          <cx:pt idx="100363">1</cx:pt>
          <cx:pt idx="100364">1</cx:pt>
          <cx:pt idx="100365">1</cx:pt>
          <cx:pt idx="100366">0</cx:pt>
          <cx:pt idx="100367">0</cx:pt>
          <cx:pt idx="100368">1</cx:pt>
          <cx:pt idx="100369">0</cx:pt>
          <cx:pt idx="100370">0</cx:pt>
          <cx:pt idx="100371">1</cx:pt>
          <cx:pt idx="100372">1</cx:pt>
          <cx:pt idx="100373">0</cx:pt>
          <cx:pt idx="100374">0</cx:pt>
          <cx:pt idx="100375">0</cx:pt>
          <cx:pt idx="100376">0</cx:pt>
          <cx:pt idx="100377">0</cx:pt>
          <cx:pt idx="100378">1</cx:pt>
          <cx:pt idx="100379">0</cx:pt>
          <cx:pt idx="100380">1</cx:pt>
          <cx:pt idx="100381">1</cx:pt>
          <cx:pt idx="100382">0</cx:pt>
          <cx:pt idx="100383">0</cx:pt>
          <cx:pt idx="100384">0</cx:pt>
          <cx:pt idx="100385">1</cx:pt>
          <cx:pt idx="100386">0</cx:pt>
          <cx:pt idx="100387">0</cx:pt>
          <cx:pt idx="100388">0</cx:pt>
          <cx:pt idx="100389">0</cx:pt>
          <cx:pt idx="100390">0</cx:pt>
          <cx:pt idx="100391">0</cx:pt>
          <cx:pt idx="100392">1</cx:pt>
          <cx:pt idx="100393">0</cx:pt>
          <cx:pt idx="100394">0</cx:pt>
          <cx:pt idx="100395">0</cx:pt>
          <cx:pt idx="100396">0</cx:pt>
          <cx:pt idx="100397">0</cx:pt>
          <cx:pt idx="100398">0</cx:pt>
          <cx:pt idx="100399">1</cx:pt>
          <cx:pt idx="100400">0</cx:pt>
          <cx:pt idx="100401">0</cx:pt>
          <cx:pt idx="100402">1</cx:pt>
          <cx:pt idx="100403">0</cx:pt>
          <cx:pt idx="100404">1</cx:pt>
          <cx:pt idx="100405">0</cx:pt>
          <cx:pt idx="100406">1</cx:pt>
          <cx:pt idx="100407">0</cx:pt>
          <cx:pt idx="100408">1</cx:pt>
          <cx:pt idx="100409">1</cx:pt>
          <cx:pt idx="100410">1</cx:pt>
          <cx:pt idx="100411">0</cx:pt>
          <cx:pt idx="100412">0</cx:pt>
          <cx:pt idx="100413">0</cx:pt>
          <cx:pt idx="100414">0</cx:pt>
          <cx:pt idx="100415">0</cx:pt>
          <cx:pt idx="100416">1</cx:pt>
          <cx:pt idx="100417">0</cx:pt>
          <cx:pt idx="100418">1</cx:pt>
          <cx:pt idx="100419">0</cx:pt>
          <cx:pt idx="100420">0</cx:pt>
          <cx:pt idx="100421">1</cx:pt>
          <cx:pt idx="100422">0</cx:pt>
          <cx:pt idx="100423">0</cx:pt>
          <cx:pt idx="100424">0</cx:pt>
          <cx:pt idx="100425">0</cx:pt>
          <cx:pt idx="100426">1</cx:pt>
          <cx:pt idx="100427">1</cx:pt>
          <cx:pt idx="100428">1</cx:pt>
          <cx:pt idx="100429">0</cx:pt>
          <cx:pt idx="100430">1</cx:pt>
          <cx:pt idx="100431">0</cx:pt>
          <cx:pt idx="100432">1</cx:pt>
          <cx:pt idx="100433">1</cx:pt>
          <cx:pt idx="100434">0</cx:pt>
          <cx:pt idx="100435">0</cx:pt>
          <cx:pt idx="100436">0</cx:pt>
          <cx:pt idx="100437">1</cx:pt>
          <cx:pt idx="100438">0</cx:pt>
          <cx:pt idx="100439">0</cx:pt>
          <cx:pt idx="100440">1</cx:pt>
          <cx:pt idx="100441">1</cx:pt>
          <cx:pt idx="100442">0</cx:pt>
          <cx:pt idx="100443">1</cx:pt>
          <cx:pt idx="100444">1</cx:pt>
          <cx:pt idx="100445">1</cx:pt>
          <cx:pt idx="100446">1</cx:pt>
          <cx:pt idx="100447">0</cx:pt>
          <cx:pt idx="100448">0</cx:pt>
          <cx:pt idx="100449">1</cx:pt>
          <cx:pt idx="100450">0</cx:pt>
          <cx:pt idx="100451">0</cx:pt>
          <cx:pt idx="100452">0</cx:pt>
          <cx:pt idx="100453">0</cx:pt>
          <cx:pt idx="100454">0</cx:pt>
          <cx:pt idx="100455">1</cx:pt>
          <cx:pt idx="100456">1</cx:pt>
          <cx:pt idx="100457">0</cx:pt>
          <cx:pt idx="100458">0</cx:pt>
          <cx:pt idx="100459">0</cx:pt>
          <cx:pt idx="100460">1</cx:pt>
          <cx:pt idx="100461">0</cx:pt>
          <cx:pt idx="100462">1</cx:pt>
          <cx:pt idx="100463">0</cx:pt>
          <cx:pt idx="100464">0</cx:pt>
          <cx:pt idx="100465">0</cx:pt>
          <cx:pt idx="100466">0</cx:pt>
          <cx:pt idx="100467">1</cx:pt>
          <cx:pt idx="100468">0</cx:pt>
          <cx:pt idx="100469">0</cx:pt>
          <cx:pt idx="100470">1</cx:pt>
          <cx:pt idx="100471">1</cx:pt>
          <cx:pt idx="100472">0</cx:pt>
          <cx:pt idx="100473">0</cx:pt>
          <cx:pt idx="100474">1</cx:pt>
          <cx:pt idx="100475">0</cx:pt>
          <cx:pt idx="100476">0</cx:pt>
          <cx:pt idx="100477">0</cx:pt>
          <cx:pt idx="100478">1</cx:pt>
          <cx:pt idx="100479">0</cx:pt>
          <cx:pt idx="100480">0</cx:pt>
          <cx:pt idx="100481">1</cx:pt>
          <cx:pt idx="100482">0</cx:pt>
          <cx:pt idx="100483">0</cx:pt>
          <cx:pt idx="100484">1</cx:pt>
          <cx:pt idx="100485">0</cx:pt>
          <cx:pt idx="100486">0</cx:pt>
          <cx:pt idx="100487">0</cx:pt>
          <cx:pt idx="100488">1</cx:pt>
          <cx:pt idx="100489">0</cx:pt>
          <cx:pt idx="100490">0</cx:pt>
          <cx:pt idx="100491">0</cx:pt>
          <cx:pt idx="100492">0</cx:pt>
          <cx:pt idx="100493">0</cx:pt>
          <cx:pt idx="100494">0</cx:pt>
          <cx:pt idx="100495">0</cx:pt>
          <cx:pt idx="100496">1</cx:pt>
          <cx:pt idx="100497">0</cx:pt>
          <cx:pt idx="100498">1</cx:pt>
          <cx:pt idx="100499">0</cx:pt>
          <cx:pt idx="100500">1</cx:pt>
          <cx:pt idx="100501">1</cx:pt>
          <cx:pt idx="100502">0</cx:pt>
          <cx:pt idx="100503">1</cx:pt>
          <cx:pt idx="100504">0</cx:pt>
          <cx:pt idx="100505">1</cx:pt>
          <cx:pt idx="100506">0</cx:pt>
          <cx:pt idx="100507">1</cx:pt>
          <cx:pt idx="100508">1</cx:pt>
          <cx:pt idx="100509">0</cx:pt>
          <cx:pt idx="100510">0</cx:pt>
          <cx:pt idx="100511">0</cx:pt>
          <cx:pt idx="100512">0</cx:pt>
          <cx:pt idx="100513">1</cx:pt>
          <cx:pt idx="100514">1</cx:pt>
          <cx:pt idx="100515">0</cx:pt>
          <cx:pt idx="100516">0</cx:pt>
          <cx:pt idx="100517">0</cx:pt>
          <cx:pt idx="100518">1</cx:pt>
          <cx:pt idx="100519">0</cx:pt>
          <cx:pt idx="100520">0</cx:pt>
          <cx:pt idx="100521">0</cx:pt>
          <cx:pt idx="100522">0</cx:pt>
          <cx:pt idx="100523">1</cx:pt>
          <cx:pt idx="100524">1</cx:pt>
          <cx:pt idx="100525">1</cx:pt>
          <cx:pt idx="100526">1</cx:pt>
          <cx:pt idx="100527">1</cx:pt>
          <cx:pt idx="100528">1</cx:pt>
          <cx:pt idx="100529">1</cx:pt>
          <cx:pt idx="100530">1</cx:pt>
          <cx:pt idx="100531">0</cx:pt>
          <cx:pt idx="100532">0</cx:pt>
          <cx:pt idx="100533">0</cx:pt>
          <cx:pt idx="100534">1</cx:pt>
          <cx:pt idx="100535">1</cx:pt>
          <cx:pt idx="100536">1</cx:pt>
          <cx:pt idx="100537">0</cx:pt>
          <cx:pt idx="100538">1</cx:pt>
          <cx:pt idx="100539">0</cx:pt>
          <cx:pt idx="100540">1</cx:pt>
          <cx:pt idx="100541">0</cx:pt>
          <cx:pt idx="100542">0</cx:pt>
          <cx:pt idx="100543">1</cx:pt>
          <cx:pt idx="100544">0</cx:pt>
          <cx:pt idx="100545">0</cx:pt>
          <cx:pt idx="100546">0</cx:pt>
          <cx:pt idx="100547">1</cx:pt>
          <cx:pt idx="100548">0</cx:pt>
          <cx:pt idx="100549">0</cx:pt>
          <cx:pt idx="100550">0</cx:pt>
          <cx:pt idx="100551">1</cx:pt>
          <cx:pt idx="100552">1</cx:pt>
          <cx:pt idx="100553">1</cx:pt>
          <cx:pt idx="100554">0</cx:pt>
          <cx:pt idx="100555">0</cx:pt>
          <cx:pt idx="100556">0</cx:pt>
          <cx:pt idx="100557">0</cx:pt>
          <cx:pt idx="100558">1</cx:pt>
          <cx:pt idx="100559">1</cx:pt>
          <cx:pt idx="100560">1</cx:pt>
          <cx:pt idx="100561">1</cx:pt>
          <cx:pt idx="100562">1</cx:pt>
          <cx:pt idx="100563">0</cx:pt>
          <cx:pt idx="100564">0</cx:pt>
          <cx:pt idx="100565">1</cx:pt>
          <cx:pt idx="100566">1</cx:pt>
          <cx:pt idx="100567">1</cx:pt>
          <cx:pt idx="100568">1</cx:pt>
          <cx:pt idx="100569">0</cx:pt>
          <cx:pt idx="100570">1</cx:pt>
          <cx:pt idx="100571">0</cx:pt>
          <cx:pt idx="100572">1</cx:pt>
          <cx:pt idx="100573">1</cx:pt>
          <cx:pt idx="100574">0</cx:pt>
          <cx:pt idx="100575">0</cx:pt>
          <cx:pt idx="100576">0</cx:pt>
          <cx:pt idx="100577">0</cx:pt>
          <cx:pt idx="100578">0</cx:pt>
          <cx:pt idx="100579">0</cx:pt>
          <cx:pt idx="100580">0</cx:pt>
          <cx:pt idx="100581">1</cx:pt>
          <cx:pt idx="100582">0</cx:pt>
          <cx:pt idx="100583">1</cx:pt>
          <cx:pt idx="100584">0</cx:pt>
          <cx:pt idx="100585">0</cx:pt>
          <cx:pt idx="100586">1</cx:pt>
          <cx:pt idx="100587">1</cx:pt>
          <cx:pt idx="100588">0</cx:pt>
          <cx:pt idx="100589">1</cx:pt>
          <cx:pt idx="100590">1</cx:pt>
          <cx:pt idx="100591">0</cx:pt>
          <cx:pt idx="100592">0</cx:pt>
          <cx:pt idx="100593">0</cx:pt>
          <cx:pt idx="100594">1</cx:pt>
          <cx:pt idx="100595">0</cx:pt>
          <cx:pt idx="100596">0</cx:pt>
          <cx:pt idx="100597">1</cx:pt>
          <cx:pt idx="100598">0</cx:pt>
          <cx:pt idx="100599">0</cx:pt>
          <cx:pt idx="100600">0</cx:pt>
          <cx:pt idx="100601">1</cx:pt>
          <cx:pt idx="100602">0</cx:pt>
          <cx:pt idx="100603">1</cx:pt>
          <cx:pt idx="100604">0</cx:pt>
          <cx:pt idx="100605">1</cx:pt>
          <cx:pt idx="100606">1</cx:pt>
          <cx:pt idx="100607">1</cx:pt>
          <cx:pt idx="100608">0</cx:pt>
          <cx:pt idx="100609">1</cx:pt>
          <cx:pt idx="100610">1</cx:pt>
          <cx:pt idx="100611">1</cx:pt>
          <cx:pt idx="100612">0</cx:pt>
          <cx:pt idx="100613">0</cx:pt>
          <cx:pt idx="100614">0</cx:pt>
          <cx:pt idx="100615">0</cx:pt>
          <cx:pt idx="100616">1</cx:pt>
          <cx:pt idx="100617">1</cx:pt>
          <cx:pt idx="100618">0</cx:pt>
          <cx:pt idx="100619">0</cx:pt>
          <cx:pt idx="100620">0</cx:pt>
          <cx:pt idx="100621">0</cx:pt>
          <cx:pt idx="100622">0</cx:pt>
          <cx:pt idx="100623">1</cx:pt>
          <cx:pt idx="100624">0</cx:pt>
          <cx:pt idx="100625">0</cx:pt>
          <cx:pt idx="100626">1</cx:pt>
          <cx:pt idx="100627">0</cx:pt>
          <cx:pt idx="100628">1</cx:pt>
          <cx:pt idx="100629">1</cx:pt>
          <cx:pt idx="100630">1</cx:pt>
          <cx:pt idx="100631">0</cx:pt>
          <cx:pt idx="100632">0</cx:pt>
          <cx:pt idx="100633">0</cx:pt>
          <cx:pt idx="100634">1</cx:pt>
          <cx:pt idx="100635">0</cx:pt>
          <cx:pt idx="100636">1</cx:pt>
          <cx:pt idx="100637">1</cx:pt>
          <cx:pt idx="100638">0</cx:pt>
          <cx:pt idx="100639">0</cx:pt>
          <cx:pt idx="100640">0</cx:pt>
          <cx:pt idx="100641">0</cx:pt>
          <cx:pt idx="100642">0</cx:pt>
          <cx:pt idx="100643">0</cx:pt>
          <cx:pt idx="100644">0</cx:pt>
          <cx:pt idx="100645">0</cx:pt>
          <cx:pt idx="100646">0</cx:pt>
          <cx:pt idx="100647">1</cx:pt>
          <cx:pt idx="100648">0</cx:pt>
          <cx:pt idx="100649">1</cx:pt>
          <cx:pt idx="100650">0</cx:pt>
          <cx:pt idx="100651">0</cx:pt>
          <cx:pt idx="100652">1</cx:pt>
          <cx:pt idx="100653">1</cx:pt>
          <cx:pt idx="100654">0</cx:pt>
          <cx:pt idx="100655">1</cx:pt>
          <cx:pt idx="100656">0</cx:pt>
          <cx:pt idx="100657">0</cx:pt>
          <cx:pt idx="100658">1</cx:pt>
          <cx:pt idx="100659">0</cx:pt>
          <cx:pt idx="100660">1</cx:pt>
          <cx:pt idx="100661">0</cx:pt>
          <cx:pt idx="100662">0</cx:pt>
          <cx:pt idx="100663">0</cx:pt>
          <cx:pt idx="100664">0</cx:pt>
          <cx:pt idx="100665">1</cx:pt>
          <cx:pt idx="100666">1</cx:pt>
          <cx:pt idx="100667">0</cx:pt>
          <cx:pt idx="100668">1</cx:pt>
          <cx:pt idx="100669">1</cx:pt>
          <cx:pt idx="100670">0</cx:pt>
          <cx:pt idx="100671">1</cx:pt>
          <cx:pt idx="100672">0</cx:pt>
          <cx:pt idx="100673">1</cx:pt>
          <cx:pt idx="100674">1</cx:pt>
          <cx:pt idx="100675">1</cx:pt>
          <cx:pt idx="100676">0</cx:pt>
          <cx:pt idx="100677">1</cx:pt>
          <cx:pt idx="100678">0</cx:pt>
          <cx:pt idx="100679">0</cx:pt>
          <cx:pt idx="100680">1</cx:pt>
          <cx:pt idx="100681">0</cx:pt>
          <cx:pt idx="100682">1</cx:pt>
          <cx:pt idx="100683">0</cx:pt>
          <cx:pt idx="100684">1</cx:pt>
          <cx:pt idx="100685">1</cx:pt>
          <cx:pt idx="100686">0</cx:pt>
          <cx:pt idx="100687">0</cx:pt>
          <cx:pt idx="100688">0</cx:pt>
          <cx:pt idx="100689">0</cx:pt>
          <cx:pt idx="100690">1</cx:pt>
          <cx:pt idx="100691">1</cx:pt>
          <cx:pt idx="100692">0</cx:pt>
          <cx:pt idx="100693">1</cx:pt>
          <cx:pt idx="100694">1</cx:pt>
          <cx:pt idx="100695">0</cx:pt>
          <cx:pt idx="100696">1</cx:pt>
          <cx:pt idx="100697">0</cx:pt>
          <cx:pt idx="100698">0</cx:pt>
          <cx:pt idx="100699">1</cx:pt>
          <cx:pt idx="100700">1</cx:pt>
          <cx:pt idx="100701">1</cx:pt>
          <cx:pt idx="100702">0</cx:pt>
          <cx:pt idx="100703">1</cx:pt>
          <cx:pt idx="100704">1</cx:pt>
          <cx:pt idx="100705">1</cx:pt>
          <cx:pt idx="100706">1</cx:pt>
          <cx:pt idx="100707">0</cx:pt>
          <cx:pt idx="100708">0</cx:pt>
          <cx:pt idx="100709">1</cx:pt>
          <cx:pt idx="100710">1</cx:pt>
          <cx:pt idx="100711">0</cx:pt>
          <cx:pt idx="100712">0</cx:pt>
          <cx:pt idx="100713">0</cx:pt>
          <cx:pt idx="100714">1</cx:pt>
          <cx:pt idx="100715">1</cx:pt>
          <cx:pt idx="100716">0</cx:pt>
          <cx:pt idx="100717">0</cx:pt>
          <cx:pt idx="100718">0</cx:pt>
          <cx:pt idx="100719">0</cx:pt>
          <cx:pt idx="100720">1</cx:pt>
          <cx:pt idx="100721">1</cx:pt>
          <cx:pt idx="100722">1</cx:pt>
          <cx:pt idx="100723">1</cx:pt>
          <cx:pt idx="100724">1</cx:pt>
          <cx:pt idx="100725">0</cx:pt>
          <cx:pt idx="100726">1</cx:pt>
          <cx:pt idx="100727">0</cx:pt>
          <cx:pt idx="100728">1</cx:pt>
          <cx:pt idx="100729">1</cx:pt>
          <cx:pt idx="100730">1</cx:pt>
          <cx:pt idx="100731">0</cx:pt>
          <cx:pt idx="100732">0</cx:pt>
          <cx:pt idx="100733">0</cx:pt>
          <cx:pt idx="100734">0</cx:pt>
          <cx:pt idx="100735">0</cx:pt>
          <cx:pt idx="100736">1</cx:pt>
          <cx:pt idx="100737">0</cx:pt>
          <cx:pt idx="100738">0</cx:pt>
          <cx:pt idx="100739">0</cx:pt>
          <cx:pt idx="100740">1</cx:pt>
          <cx:pt idx="100741">0</cx:pt>
          <cx:pt idx="100742">0</cx:pt>
          <cx:pt idx="100743">0</cx:pt>
          <cx:pt idx="100744">1</cx:pt>
          <cx:pt idx="100745">0</cx:pt>
          <cx:pt idx="100746">1</cx:pt>
          <cx:pt idx="100747">0</cx:pt>
          <cx:pt idx="100748">0</cx:pt>
          <cx:pt idx="100749">1</cx:pt>
          <cx:pt idx="100750">0</cx:pt>
          <cx:pt idx="100751">1</cx:pt>
          <cx:pt idx="100752">1</cx:pt>
          <cx:pt idx="100753">0</cx:pt>
          <cx:pt idx="100754">1</cx:pt>
          <cx:pt idx="100755">0</cx:pt>
          <cx:pt idx="100756">1</cx:pt>
          <cx:pt idx="100757">1</cx:pt>
          <cx:pt idx="100758">1</cx:pt>
          <cx:pt idx="100759">0</cx:pt>
          <cx:pt idx="100760">0</cx:pt>
          <cx:pt idx="100761">0</cx:pt>
          <cx:pt idx="100762">1</cx:pt>
          <cx:pt idx="100763">0</cx:pt>
          <cx:pt idx="100764">1</cx:pt>
          <cx:pt idx="100765">1</cx:pt>
          <cx:pt idx="100766">1</cx:pt>
          <cx:pt idx="100767">1</cx:pt>
          <cx:pt idx="100768">1</cx:pt>
          <cx:pt idx="100769">1</cx:pt>
          <cx:pt idx="100770">1</cx:pt>
          <cx:pt idx="100771">0</cx:pt>
          <cx:pt idx="100772">1</cx:pt>
          <cx:pt idx="100773">0</cx:pt>
          <cx:pt idx="100774">0</cx:pt>
          <cx:pt idx="100775">1</cx:pt>
          <cx:pt idx="100776">0</cx:pt>
          <cx:pt idx="100777">0</cx:pt>
          <cx:pt idx="100778">0</cx:pt>
          <cx:pt idx="100779">0</cx:pt>
          <cx:pt idx="100780">0</cx:pt>
          <cx:pt idx="100781">1</cx:pt>
          <cx:pt idx="100782">0</cx:pt>
          <cx:pt idx="100783">0</cx:pt>
          <cx:pt idx="100784">1</cx:pt>
          <cx:pt idx="100785">0</cx:pt>
          <cx:pt idx="100786">0</cx:pt>
          <cx:pt idx="100787">0</cx:pt>
          <cx:pt idx="100788">0</cx:pt>
          <cx:pt idx="100789">1</cx:pt>
          <cx:pt idx="100790">0</cx:pt>
          <cx:pt idx="100791">1</cx:pt>
          <cx:pt idx="100792">1</cx:pt>
          <cx:pt idx="100793">1</cx:pt>
          <cx:pt idx="100794">0</cx:pt>
          <cx:pt idx="100795">0</cx:pt>
          <cx:pt idx="100796">1</cx:pt>
          <cx:pt idx="100797">0</cx:pt>
          <cx:pt idx="100798">1</cx:pt>
          <cx:pt idx="100799">1</cx:pt>
          <cx:pt idx="100800">1</cx:pt>
          <cx:pt idx="100801">1</cx:pt>
          <cx:pt idx="100802">1</cx:pt>
          <cx:pt idx="100803">1</cx:pt>
          <cx:pt idx="100804">1</cx:pt>
          <cx:pt idx="100805">1</cx:pt>
          <cx:pt idx="100806">0</cx:pt>
          <cx:pt idx="100807">1</cx:pt>
          <cx:pt idx="100808">0</cx:pt>
          <cx:pt idx="100809">0</cx:pt>
          <cx:pt idx="100810">0</cx:pt>
          <cx:pt idx="100811">0</cx:pt>
          <cx:pt idx="100812">0</cx:pt>
          <cx:pt idx="100813">1</cx:pt>
          <cx:pt idx="100814">0</cx:pt>
          <cx:pt idx="100815">1</cx:pt>
          <cx:pt idx="100816">0</cx:pt>
          <cx:pt idx="100817">1</cx:pt>
          <cx:pt idx="100818">0</cx:pt>
          <cx:pt idx="100819">0</cx:pt>
          <cx:pt idx="100820">0</cx:pt>
          <cx:pt idx="100821">0</cx:pt>
          <cx:pt idx="100822">0</cx:pt>
          <cx:pt idx="100823">1</cx:pt>
          <cx:pt idx="100824">0</cx:pt>
          <cx:pt idx="100825">0</cx:pt>
          <cx:pt idx="100826">1</cx:pt>
          <cx:pt idx="100827">1</cx:pt>
          <cx:pt idx="100828">0</cx:pt>
          <cx:pt idx="100829">0</cx:pt>
          <cx:pt idx="100830">1</cx:pt>
          <cx:pt idx="100831">0</cx:pt>
          <cx:pt idx="100832">1</cx:pt>
          <cx:pt idx="100833">0</cx:pt>
          <cx:pt idx="100834">0</cx:pt>
          <cx:pt idx="100835">1</cx:pt>
          <cx:pt idx="100836">1</cx:pt>
          <cx:pt idx="100837">1</cx:pt>
          <cx:pt idx="100838">0</cx:pt>
          <cx:pt idx="100839">0</cx:pt>
          <cx:pt idx="100840">0</cx:pt>
          <cx:pt idx="100841">0</cx:pt>
          <cx:pt idx="100842">0</cx:pt>
          <cx:pt idx="100843">1</cx:pt>
          <cx:pt idx="100844">0</cx:pt>
          <cx:pt idx="100845">0</cx:pt>
          <cx:pt idx="100846">0</cx:pt>
          <cx:pt idx="100847">1</cx:pt>
          <cx:pt idx="100848">1</cx:pt>
          <cx:pt idx="100849">1</cx:pt>
          <cx:pt idx="100850">0</cx:pt>
          <cx:pt idx="100851">1</cx:pt>
          <cx:pt idx="100852">0</cx:pt>
          <cx:pt idx="100853">1</cx:pt>
          <cx:pt idx="100854">0</cx:pt>
          <cx:pt idx="100855">1</cx:pt>
          <cx:pt idx="100856">0</cx:pt>
          <cx:pt idx="100857">1</cx:pt>
          <cx:pt idx="100858">1</cx:pt>
          <cx:pt idx="100859">1</cx:pt>
          <cx:pt idx="100860">0</cx:pt>
          <cx:pt idx="100861">0</cx:pt>
          <cx:pt idx="100862">1</cx:pt>
          <cx:pt idx="100863">0</cx:pt>
          <cx:pt idx="100864">0</cx:pt>
          <cx:pt idx="100865">1</cx:pt>
          <cx:pt idx="100866">0</cx:pt>
          <cx:pt idx="100867">1</cx:pt>
          <cx:pt idx="100868">1</cx:pt>
          <cx:pt idx="100869">1</cx:pt>
          <cx:pt idx="100870">0</cx:pt>
          <cx:pt idx="100871">0</cx:pt>
          <cx:pt idx="100872">1</cx:pt>
          <cx:pt idx="100873">0</cx:pt>
          <cx:pt idx="100874">0</cx:pt>
          <cx:pt idx="100875">0</cx:pt>
          <cx:pt idx="100876">1</cx:pt>
          <cx:pt idx="100877">0</cx:pt>
          <cx:pt idx="100878">1</cx:pt>
          <cx:pt idx="100879">0</cx:pt>
          <cx:pt idx="100880">0</cx:pt>
          <cx:pt idx="100881">0</cx:pt>
          <cx:pt idx="100882">0</cx:pt>
          <cx:pt idx="100883">1</cx:pt>
          <cx:pt idx="100884">1</cx:pt>
          <cx:pt idx="100885">1</cx:pt>
          <cx:pt idx="100886">1</cx:pt>
          <cx:pt idx="100887">1</cx:pt>
          <cx:pt idx="100888">0</cx:pt>
          <cx:pt idx="100889">1</cx:pt>
          <cx:pt idx="100890">1</cx:pt>
          <cx:pt idx="100891">0</cx:pt>
          <cx:pt idx="100892">0</cx:pt>
          <cx:pt idx="100893">1</cx:pt>
          <cx:pt idx="100894">0</cx:pt>
          <cx:pt idx="100895">0</cx:pt>
          <cx:pt idx="100896">1</cx:pt>
          <cx:pt idx="100897">1</cx:pt>
          <cx:pt idx="100898">0</cx:pt>
          <cx:pt idx="100899">1</cx:pt>
          <cx:pt idx="100900">0</cx:pt>
          <cx:pt idx="100901">0</cx:pt>
          <cx:pt idx="100902">0</cx:pt>
          <cx:pt idx="100903">0</cx:pt>
          <cx:pt idx="100904">1</cx:pt>
          <cx:pt idx="100905">0</cx:pt>
          <cx:pt idx="100906">0</cx:pt>
          <cx:pt idx="100907">1</cx:pt>
          <cx:pt idx="100908">0</cx:pt>
          <cx:pt idx="100909">0</cx:pt>
          <cx:pt idx="100910">0</cx:pt>
          <cx:pt idx="100911">0</cx:pt>
          <cx:pt idx="100912">1</cx:pt>
          <cx:pt idx="100913">1</cx:pt>
          <cx:pt idx="100914">0</cx:pt>
          <cx:pt idx="100915">1</cx:pt>
          <cx:pt idx="100916">1</cx:pt>
          <cx:pt idx="100917">1</cx:pt>
          <cx:pt idx="100918">1</cx:pt>
          <cx:pt idx="100919">0</cx:pt>
          <cx:pt idx="100920">0</cx:pt>
          <cx:pt idx="100921">1</cx:pt>
          <cx:pt idx="100922">1</cx:pt>
          <cx:pt idx="100923">1</cx:pt>
          <cx:pt idx="100924">1</cx:pt>
          <cx:pt idx="100925">0</cx:pt>
          <cx:pt idx="100926">0</cx:pt>
          <cx:pt idx="100927">1</cx:pt>
          <cx:pt idx="100928">0</cx:pt>
          <cx:pt idx="100929">1</cx:pt>
          <cx:pt idx="100930">1</cx:pt>
          <cx:pt idx="100931">0</cx:pt>
          <cx:pt idx="100932">0</cx:pt>
          <cx:pt idx="100933">1</cx:pt>
          <cx:pt idx="100934">1</cx:pt>
          <cx:pt idx="100935">0</cx:pt>
          <cx:pt idx="100936">1</cx:pt>
          <cx:pt idx="100937">0</cx:pt>
          <cx:pt idx="100938">0</cx:pt>
          <cx:pt idx="100939">0</cx:pt>
          <cx:pt idx="100940">0</cx:pt>
          <cx:pt idx="100941">1</cx:pt>
          <cx:pt idx="100942">0</cx:pt>
          <cx:pt idx="100943">1</cx:pt>
          <cx:pt idx="100944">1</cx:pt>
          <cx:pt idx="100945">0</cx:pt>
          <cx:pt idx="100946">1</cx:pt>
          <cx:pt idx="100947">1</cx:pt>
          <cx:pt idx="100948">0</cx:pt>
          <cx:pt idx="100949">0</cx:pt>
          <cx:pt idx="100950">1</cx:pt>
          <cx:pt idx="100951">1</cx:pt>
          <cx:pt idx="100952">0</cx:pt>
          <cx:pt idx="100953">1</cx:pt>
          <cx:pt idx="100954">0</cx:pt>
          <cx:pt idx="100955">0</cx:pt>
          <cx:pt idx="100956">1</cx:pt>
          <cx:pt idx="100957">0</cx:pt>
          <cx:pt idx="100958">0</cx:pt>
          <cx:pt idx="100959">0</cx:pt>
          <cx:pt idx="100960">1</cx:pt>
          <cx:pt idx="100961">1</cx:pt>
          <cx:pt idx="100962">0</cx:pt>
          <cx:pt idx="100963">1</cx:pt>
          <cx:pt idx="100964">1</cx:pt>
          <cx:pt idx="100965">0</cx:pt>
          <cx:pt idx="100966">0</cx:pt>
          <cx:pt idx="100967">1</cx:pt>
          <cx:pt idx="100968">1</cx:pt>
          <cx:pt idx="100969">0</cx:pt>
          <cx:pt idx="100970">0</cx:pt>
          <cx:pt idx="100971">0</cx:pt>
          <cx:pt idx="100972">0</cx:pt>
          <cx:pt idx="100973">0</cx:pt>
          <cx:pt idx="100974">0</cx:pt>
          <cx:pt idx="100975">0</cx:pt>
          <cx:pt idx="100976">1</cx:pt>
          <cx:pt idx="100977">1</cx:pt>
          <cx:pt idx="100978">0</cx:pt>
          <cx:pt idx="100979">0</cx:pt>
          <cx:pt idx="100980">0</cx:pt>
          <cx:pt idx="100981">1</cx:pt>
          <cx:pt idx="100982">1</cx:pt>
          <cx:pt idx="100983">0</cx:pt>
          <cx:pt idx="100984">0</cx:pt>
          <cx:pt idx="100985">1</cx:pt>
          <cx:pt idx="100986">1</cx:pt>
          <cx:pt idx="100987">1</cx:pt>
          <cx:pt idx="100988">1</cx:pt>
          <cx:pt idx="100989">1</cx:pt>
          <cx:pt idx="100990">0</cx:pt>
          <cx:pt idx="100991">1</cx:pt>
          <cx:pt idx="100992">1</cx:pt>
          <cx:pt idx="100993">0</cx:pt>
          <cx:pt idx="100994">1</cx:pt>
          <cx:pt idx="100995">1</cx:pt>
          <cx:pt idx="100996">0</cx:pt>
          <cx:pt idx="100997">0</cx:pt>
          <cx:pt idx="100998">0</cx:pt>
          <cx:pt idx="100999">0</cx:pt>
          <cx:pt idx="101000">1</cx:pt>
          <cx:pt idx="101001">0</cx:pt>
          <cx:pt idx="101002">0</cx:pt>
          <cx:pt idx="101003">0</cx:pt>
          <cx:pt idx="101004">0</cx:pt>
          <cx:pt idx="101005">0</cx:pt>
          <cx:pt idx="101006">0</cx:pt>
          <cx:pt idx="101007">1</cx:pt>
          <cx:pt idx="101008">0</cx:pt>
          <cx:pt idx="101009">0</cx:pt>
          <cx:pt idx="101010">1</cx:pt>
          <cx:pt idx="101011">0</cx:pt>
          <cx:pt idx="101012">1</cx:pt>
          <cx:pt idx="101013">0</cx:pt>
          <cx:pt idx="101014">0</cx:pt>
          <cx:pt idx="101015">1</cx:pt>
          <cx:pt idx="101016">0</cx:pt>
          <cx:pt idx="101017">0</cx:pt>
          <cx:pt idx="101018">1</cx:pt>
          <cx:pt idx="101019">1</cx:pt>
          <cx:pt idx="101020">0</cx:pt>
          <cx:pt idx="101021">1</cx:pt>
          <cx:pt idx="101022">0</cx:pt>
          <cx:pt idx="101023">0</cx:pt>
          <cx:pt idx="101024">0</cx:pt>
          <cx:pt idx="101025">0</cx:pt>
          <cx:pt idx="101026">0</cx:pt>
          <cx:pt idx="101027">0</cx:pt>
          <cx:pt idx="101028">0</cx:pt>
          <cx:pt idx="101029">0</cx:pt>
          <cx:pt idx="101030">1</cx:pt>
          <cx:pt idx="101031">0</cx:pt>
          <cx:pt idx="101032">1</cx:pt>
          <cx:pt idx="101033">1</cx:pt>
          <cx:pt idx="101034">0</cx:pt>
          <cx:pt idx="101035">0</cx:pt>
          <cx:pt idx="101036">0</cx:pt>
          <cx:pt idx="101037">0</cx:pt>
          <cx:pt idx="101038">1</cx:pt>
          <cx:pt idx="101039">0</cx:pt>
          <cx:pt idx="101040">0</cx:pt>
          <cx:pt idx="101041">0</cx:pt>
          <cx:pt idx="101042">0</cx:pt>
          <cx:pt idx="101043">1</cx:pt>
          <cx:pt idx="101044">0</cx:pt>
          <cx:pt idx="101045">0</cx:pt>
          <cx:pt idx="101046">0</cx:pt>
          <cx:pt idx="101047">1</cx:pt>
          <cx:pt idx="101048">0</cx:pt>
          <cx:pt idx="101049">0</cx:pt>
          <cx:pt idx="101050">0</cx:pt>
          <cx:pt idx="101051">1</cx:pt>
          <cx:pt idx="101052">0</cx:pt>
          <cx:pt idx="101053">0</cx:pt>
          <cx:pt idx="101054">0</cx:pt>
          <cx:pt idx="101055">0</cx:pt>
          <cx:pt idx="101056">0</cx:pt>
          <cx:pt idx="101057">0</cx:pt>
          <cx:pt idx="101058">0</cx:pt>
          <cx:pt idx="101059">0</cx:pt>
          <cx:pt idx="101060">0</cx:pt>
          <cx:pt idx="101061">1</cx:pt>
          <cx:pt idx="101062">1</cx:pt>
          <cx:pt idx="101063">1</cx:pt>
          <cx:pt idx="101064">0</cx:pt>
          <cx:pt idx="101065">1</cx:pt>
          <cx:pt idx="101066">0</cx:pt>
          <cx:pt idx="101067">0</cx:pt>
          <cx:pt idx="101068">0</cx:pt>
          <cx:pt idx="101069">0</cx:pt>
          <cx:pt idx="101070">0</cx:pt>
          <cx:pt idx="101071">0</cx:pt>
          <cx:pt idx="101072">1</cx:pt>
          <cx:pt idx="101073">1</cx:pt>
          <cx:pt idx="101074">0</cx:pt>
          <cx:pt idx="101075">0</cx:pt>
          <cx:pt idx="101076">1</cx:pt>
          <cx:pt idx="101077">1</cx:pt>
          <cx:pt idx="101078">0</cx:pt>
          <cx:pt idx="101079">1</cx:pt>
          <cx:pt idx="101080">0</cx:pt>
          <cx:pt idx="101081">0</cx:pt>
          <cx:pt idx="101082">1</cx:pt>
          <cx:pt idx="101083">0</cx:pt>
          <cx:pt idx="101084">0</cx:pt>
          <cx:pt idx="101085">0</cx:pt>
          <cx:pt idx="101086">0</cx:pt>
          <cx:pt idx="101087">1</cx:pt>
          <cx:pt idx="101088">0</cx:pt>
          <cx:pt idx="101089">1</cx:pt>
          <cx:pt idx="101090">0</cx:pt>
          <cx:pt idx="101091">1</cx:pt>
          <cx:pt idx="101092">1</cx:pt>
          <cx:pt idx="101093">0</cx:pt>
          <cx:pt idx="101094">1</cx:pt>
          <cx:pt idx="101095">1</cx:pt>
          <cx:pt idx="101096">1</cx:pt>
          <cx:pt idx="101097">1</cx:pt>
          <cx:pt idx="101098">0</cx:pt>
          <cx:pt idx="101099">0</cx:pt>
          <cx:pt idx="101100">0</cx:pt>
          <cx:pt idx="101101">1</cx:pt>
          <cx:pt idx="101102">0</cx:pt>
          <cx:pt idx="101103">0</cx:pt>
          <cx:pt idx="101104">1</cx:pt>
          <cx:pt idx="101105">0</cx:pt>
          <cx:pt idx="101106">0</cx:pt>
          <cx:pt idx="101107">0</cx:pt>
          <cx:pt idx="101108">1</cx:pt>
          <cx:pt idx="101109">1</cx:pt>
          <cx:pt idx="101110">0</cx:pt>
          <cx:pt idx="101111">0</cx:pt>
          <cx:pt idx="101112">1</cx:pt>
          <cx:pt idx="101113">0</cx:pt>
          <cx:pt idx="101114">1</cx:pt>
          <cx:pt idx="101115">0</cx:pt>
          <cx:pt idx="101116">1</cx:pt>
          <cx:pt idx="101117">0</cx:pt>
          <cx:pt idx="101118">1</cx:pt>
          <cx:pt idx="101119">0</cx:pt>
          <cx:pt idx="101120">0</cx:pt>
          <cx:pt idx="101121">0</cx:pt>
          <cx:pt idx="101122">0</cx:pt>
          <cx:pt idx="101123">1</cx:pt>
          <cx:pt idx="101124">1</cx:pt>
          <cx:pt idx="101125">0</cx:pt>
          <cx:pt idx="101126">0</cx:pt>
          <cx:pt idx="101127">1</cx:pt>
          <cx:pt idx="101128">0</cx:pt>
          <cx:pt idx="101129">1</cx:pt>
          <cx:pt idx="101130">0</cx:pt>
          <cx:pt idx="101131">0</cx:pt>
          <cx:pt idx="101132">1</cx:pt>
          <cx:pt idx="101133">1</cx:pt>
          <cx:pt idx="101134">1</cx:pt>
          <cx:pt idx="101135">0</cx:pt>
          <cx:pt idx="101136">1</cx:pt>
          <cx:pt idx="101137">1</cx:pt>
          <cx:pt idx="101138">1</cx:pt>
          <cx:pt idx="101139">0</cx:pt>
          <cx:pt idx="101140">0</cx:pt>
          <cx:pt idx="101141">1</cx:pt>
          <cx:pt idx="101142">1</cx:pt>
          <cx:pt idx="101143">1</cx:pt>
          <cx:pt idx="101144">0</cx:pt>
          <cx:pt idx="101145">0</cx:pt>
          <cx:pt idx="101146">1</cx:pt>
          <cx:pt idx="101147">0</cx:pt>
          <cx:pt idx="101148">0</cx:pt>
          <cx:pt idx="101149">0</cx:pt>
          <cx:pt idx="101150">1</cx:pt>
          <cx:pt idx="101151">1</cx:pt>
          <cx:pt idx="101152">1</cx:pt>
          <cx:pt idx="101153">0</cx:pt>
          <cx:pt idx="101154">0</cx:pt>
          <cx:pt idx="101155">1</cx:pt>
          <cx:pt idx="101156">1</cx:pt>
          <cx:pt idx="101157">1</cx:pt>
          <cx:pt idx="101158">1</cx:pt>
          <cx:pt idx="101159">1</cx:pt>
          <cx:pt idx="101160">1</cx:pt>
          <cx:pt idx="101161">0</cx:pt>
          <cx:pt idx="101162">1</cx:pt>
          <cx:pt idx="101163">0</cx:pt>
          <cx:pt idx="101164">0</cx:pt>
          <cx:pt idx="101165">0</cx:pt>
          <cx:pt idx="101166">1</cx:pt>
          <cx:pt idx="101167">1</cx:pt>
          <cx:pt idx="101168">0</cx:pt>
          <cx:pt idx="101169">0</cx:pt>
          <cx:pt idx="101170">1</cx:pt>
          <cx:pt idx="101171">0</cx:pt>
          <cx:pt idx="101172">0</cx:pt>
          <cx:pt idx="101173">0</cx:pt>
          <cx:pt idx="101174">0</cx:pt>
          <cx:pt idx="101175">1</cx:pt>
          <cx:pt idx="101176">1</cx:pt>
          <cx:pt idx="101177">1</cx:pt>
          <cx:pt idx="101178">0</cx:pt>
          <cx:pt idx="101179">0</cx:pt>
          <cx:pt idx="101180">0</cx:pt>
          <cx:pt idx="101181">0</cx:pt>
          <cx:pt idx="101182">0</cx:pt>
          <cx:pt idx="101183">0</cx:pt>
          <cx:pt idx="101184">0</cx:pt>
          <cx:pt idx="101185">1</cx:pt>
          <cx:pt idx="101186">1</cx:pt>
          <cx:pt idx="101187">0</cx:pt>
          <cx:pt idx="101188">0</cx:pt>
          <cx:pt idx="101189">0</cx:pt>
          <cx:pt idx="101190">1</cx:pt>
          <cx:pt idx="101191">1</cx:pt>
          <cx:pt idx="101192">1</cx:pt>
          <cx:pt idx="101193">0</cx:pt>
          <cx:pt idx="101194">0</cx:pt>
          <cx:pt idx="101195">0</cx:pt>
          <cx:pt idx="101196">1</cx:pt>
          <cx:pt idx="101197">1</cx:pt>
          <cx:pt idx="101198">0</cx:pt>
          <cx:pt idx="101199">0</cx:pt>
          <cx:pt idx="101200">0</cx:pt>
          <cx:pt idx="101201">0</cx:pt>
          <cx:pt idx="101202">0</cx:pt>
          <cx:pt idx="101203">1</cx:pt>
          <cx:pt idx="101204">1</cx:pt>
          <cx:pt idx="101205">0</cx:pt>
          <cx:pt idx="101206">1</cx:pt>
          <cx:pt idx="101207">1</cx:pt>
          <cx:pt idx="101208">0</cx:pt>
          <cx:pt idx="101209">1</cx:pt>
          <cx:pt idx="101210">1</cx:pt>
          <cx:pt idx="101211">0</cx:pt>
          <cx:pt idx="101212">1</cx:pt>
          <cx:pt idx="101213">0</cx:pt>
          <cx:pt idx="101214">0</cx:pt>
          <cx:pt idx="101215">0</cx:pt>
          <cx:pt idx="101216">0</cx:pt>
          <cx:pt idx="101217">1</cx:pt>
          <cx:pt idx="101218">1</cx:pt>
          <cx:pt idx="101219">0</cx:pt>
          <cx:pt idx="101220">1</cx:pt>
          <cx:pt idx="101221">0</cx:pt>
          <cx:pt idx="101222">0</cx:pt>
          <cx:pt idx="101223">1</cx:pt>
          <cx:pt idx="101224">0</cx:pt>
          <cx:pt idx="101225">0</cx:pt>
          <cx:pt idx="101226">0</cx:pt>
          <cx:pt idx="101227">1</cx:pt>
          <cx:pt idx="101228">0</cx:pt>
          <cx:pt idx="101229">0</cx:pt>
          <cx:pt idx="101230">1</cx:pt>
          <cx:pt idx="101231">0</cx:pt>
          <cx:pt idx="101232">0</cx:pt>
          <cx:pt idx="101233">1</cx:pt>
          <cx:pt idx="101234">1</cx:pt>
          <cx:pt idx="101235">0</cx:pt>
          <cx:pt idx="101236">1</cx:pt>
          <cx:pt idx="101237">1</cx:pt>
          <cx:pt idx="101238">1</cx:pt>
          <cx:pt idx="101239">0</cx:pt>
          <cx:pt idx="101240">0</cx:pt>
          <cx:pt idx="101241">0</cx:pt>
          <cx:pt idx="101242">0</cx:pt>
          <cx:pt idx="101243">1</cx:pt>
          <cx:pt idx="101244">1</cx:pt>
          <cx:pt idx="101245">1</cx:pt>
          <cx:pt idx="101246">0</cx:pt>
          <cx:pt idx="101247">1</cx:pt>
          <cx:pt idx="101248">0</cx:pt>
          <cx:pt idx="101249">0</cx:pt>
          <cx:pt idx="101250">1</cx:pt>
          <cx:pt idx="101251">1</cx:pt>
          <cx:pt idx="101252">0</cx:pt>
          <cx:pt idx="101253">1</cx:pt>
          <cx:pt idx="101254">0</cx:pt>
          <cx:pt idx="101255">1</cx:pt>
          <cx:pt idx="101256">1</cx:pt>
          <cx:pt idx="101257">1</cx:pt>
          <cx:pt idx="101258">1</cx:pt>
          <cx:pt idx="101259">1</cx:pt>
          <cx:pt idx="101260">1</cx:pt>
          <cx:pt idx="101261">0</cx:pt>
          <cx:pt idx="101262">0</cx:pt>
          <cx:pt idx="101263">0</cx:pt>
          <cx:pt idx="101264">0</cx:pt>
          <cx:pt idx="101265">1</cx:pt>
          <cx:pt idx="101266">1</cx:pt>
          <cx:pt idx="101267">1</cx:pt>
          <cx:pt idx="101268">0</cx:pt>
          <cx:pt idx="101269">0</cx:pt>
          <cx:pt idx="101270">1</cx:pt>
          <cx:pt idx="101271">0</cx:pt>
          <cx:pt idx="101272">1</cx:pt>
          <cx:pt idx="101273">0</cx:pt>
          <cx:pt idx="101274">0</cx:pt>
          <cx:pt idx="101275">0</cx:pt>
          <cx:pt idx="101276">0</cx:pt>
          <cx:pt idx="101277">0</cx:pt>
          <cx:pt idx="101278">1</cx:pt>
          <cx:pt idx="101279">0</cx:pt>
          <cx:pt idx="101280">0</cx:pt>
          <cx:pt idx="101281">0</cx:pt>
          <cx:pt idx="101282">0</cx:pt>
          <cx:pt idx="101283">0</cx:pt>
          <cx:pt idx="101284">1</cx:pt>
          <cx:pt idx="101285">0</cx:pt>
          <cx:pt idx="101286">0</cx:pt>
          <cx:pt idx="101287">1</cx:pt>
          <cx:pt idx="101288">0</cx:pt>
          <cx:pt idx="101289">1</cx:pt>
          <cx:pt idx="101290">0</cx:pt>
          <cx:pt idx="101291">0</cx:pt>
          <cx:pt idx="101292">0</cx:pt>
          <cx:pt idx="101293">1</cx:pt>
          <cx:pt idx="101294">0</cx:pt>
          <cx:pt idx="101295">1</cx:pt>
          <cx:pt idx="101296">0</cx:pt>
          <cx:pt idx="101297">0</cx:pt>
          <cx:pt idx="101298">0</cx:pt>
          <cx:pt idx="101299">1</cx:pt>
          <cx:pt idx="101300">0</cx:pt>
          <cx:pt idx="101301">1</cx:pt>
          <cx:pt idx="101302">0</cx:pt>
          <cx:pt idx="101303">1</cx:pt>
          <cx:pt idx="101304">1</cx:pt>
          <cx:pt idx="101305">0</cx:pt>
          <cx:pt idx="101306">0</cx:pt>
          <cx:pt idx="101307">0</cx:pt>
          <cx:pt idx="101308">1</cx:pt>
          <cx:pt idx="101309">0</cx:pt>
          <cx:pt idx="101310">1</cx:pt>
          <cx:pt idx="101311">1</cx:pt>
          <cx:pt idx="101312">1</cx:pt>
          <cx:pt idx="101313">0</cx:pt>
          <cx:pt idx="101314">0</cx:pt>
          <cx:pt idx="101315">1</cx:pt>
          <cx:pt idx="101316">1</cx:pt>
          <cx:pt idx="101317">1</cx:pt>
          <cx:pt idx="101318">1</cx:pt>
          <cx:pt idx="101319">0</cx:pt>
          <cx:pt idx="101320">1</cx:pt>
          <cx:pt idx="101321">0</cx:pt>
          <cx:pt idx="101322">1</cx:pt>
          <cx:pt idx="101323">1</cx:pt>
          <cx:pt idx="101324">0</cx:pt>
          <cx:pt idx="101325">1</cx:pt>
          <cx:pt idx="101326">0</cx:pt>
          <cx:pt idx="101327">0</cx:pt>
          <cx:pt idx="101328">0</cx:pt>
          <cx:pt idx="101329">0</cx:pt>
          <cx:pt idx="101330">1</cx:pt>
          <cx:pt idx="101331">0</cx:pt>
          <cx:pt idx="101332">0</cx:pt>
          <cx:pt idx="101333">1</cx:pt>
          <cx:pt idx="101334">1</cx:pt>
          <cx:pt idx="101335">1</cx:pt>
          <cx:pt idx="101336">1</cx:pt>
          <cx:pt idx="101337">1</cx:pt>
          <cx:pt idx="101338">0</cx:pt>
          <cx:pt idx="101339">0</cx:pt>
          <cx:pt idx="101340">0</cx:pt>
          <cx:pt idx="101341">0</cx:pt>
          <cx:pt idx="101342">1</cx:pt>
          <cx:pt idx="101343">0</cx:pt>
          <cx:pt idx="101344">1</cx:pt>
          <cx:pt idx="101345">1</cx:pt>
          <cx:pt idx="101346">0</cx:pt>
          <cx:pt idx="101347">0</cx:pt>
          <cx:pt idx="101348">0</cx:pt>
          <cx:pt idx="101349">0</cx:pt>
          <cx:pt idx="101350">0</cx:pt>
          <cx:pt idx="101351">0</cx:pt>
          <cx:pt idx="101352">1</cx:pt>
          <cx:pt idx="101353">0</cx:pt>
          <cx:pt idx="101354">1</cx:pt>
          <cx:pt idx="101355">0</cx:pt>
          <cx:pt idx="101356">0</cx:pt>
          <cx:pt idx="101357">0</cx:pt>
          <cx:pt idx="101358">1</cx:pt>
          <cx:pt idx="101359">0</cx:pt>
          <cx:pt idx="101360">1</cx:pt>
          <cx:pt idx="101361">0</cx:pt>
          <cx:pt idx="101362">0</cx:pt>
          <cx:pt idx="101363">1</cx:pt>
          <cx:pt idx="101364">0</cx:pt>
          <cx:pt idx="101365">0</cx:pt>
          <cx:pt idx="101366">1</cx:pt>
          <cx:pt idx="101367">1</cx:pt>
          <cx:pt idx="101368">0</cx:pt>
          <cx:pt idx="101369">1</cx:pt>
          <cx:pt idx="101370">1</cx:pt>
          <cx:pt idx="101371">1</cx:pt>
          <cx:pt idx="101372">1</cx:pt>
          <cx:pt idx="101373">0</cx:pt>
          <cx:pt idx="101374">1</cx:pt>
          <cx:pt idx="101375">1</cx:pt>
          <cx:pt idx="101376">1</cx:pt>
          <cx:pt idx="101377">0</cx:pt>
          <cx:pt idx="101378">0</cx:pt>
          <cx:pt idx="101379">0</cx:pt>
          <cx:pt idx="101380">0</cx:pt>
          <cx:pt idx="101381">0</cx:pt>
          <cx:pt idx="101382">0</cx:pt>
          <cx:pt idx="101383">1</cx:pt>
          <cx:pt idx="101384">1</cx:pt>
          <cx:pt idx="101385">0</cx:pt>
          <cx:pt idx="101386">1</cx:pt>
          <cx:pt idx="101387">1</cx:pt>
          <cx:pt idx="101388">0</cx:pt>
          <cx:pt idx="101389">0</cx:pt>
          <cx:pt idx="101390">1</cx:pt>
          <cx:pt idx="101391">1</cx:pt>
          <cx:pt idx="101392">0</cx:pt>
          <cx:pt idx="101393">0</cx:pt>
          <cx:pt idx="101394">0</cx:pt>
          <cx:pt idx="101395">1</cx:pt>
          <cx:pt idx="101396">1</cx:pt>
          <cx:pt idx="101397">0</cx:pt>
          <cx:pt idx="101398">0</cx:pt>
          <cx:pt idx="101399">1</cx:pt>
          <cx:pt idx="101400">0</cx:pt>
          <cx:pt idx="101401">0</cx:pt>
          <cx:pt idx="101402">1</cx:pt>
          <cx:pt idx="101403">1</cx:pt>
          <cx:pt idx="101404">1</cx:pt>
          <cx:pt idx="101405">0</cx:pt>
          <cx:pt idx="101406">1</cx:pt>
          <cx:pt idx="101407">0</cx:pt>
          <cx:pt idx="101408">0</cx:pt>
          <cx:pt idx="101409">0</cx:pt>
          <cx:pt idx="101410">1</cx:pt>
          <cx:pt idx="101411">1</cx:pt>
          <cx:pt idx="101412">0</cx:pt>
          <cx:pt idx="101413">0</cx:pt>
          <cx:pt idx="101414">1</cx:pt>
          <cx:pt idx="101415">1</cx:pt>
          <cx:pt idx="101416">0</cx:pt>
          <cx:pt idx="101417">0</cx:pt>
          <cx:pt idx="101418">0</cx:pt>
          <cx:pt idx="101419">0</cx:pt>
          <cx:pt idx="101420">0</cx:pt>
          <cx:pt idx="101421">1</cx:pt>
          <cx:pt idx="101422">0</cx:pt>
          <cx:pt idx="101423">0</cx:pt>
          <cx:pt idx="101424">1</cx:pt>
          <cx:pt idx="101425">0</cx:pt>
          <cx:pt idx="101426">1</cx:pt>
          <cx:pt idx="101427">1</cx:pt>
          <cx:pt idx="101428">1</cx:pt>
          <cx:pt idx="101429">0</cx:pt>
          <cx:pt idx="101430">0</cx:pt>
          <cx:pt idx="101431">0</cx:pt>
          <cx:pt idx="101432">0</cx:pt>
          <cx:pt idx="101433">1</cx:pt>
          <cx:pt idx="101434">0</cx:pt>
          <cx:pt idx="101435">1</cx:pt>
          <cx:pt idx="101436">0</cx:pt>
          <cx:pt idx="101437">1</cx:pt>
          <cx:pt idx="101438">0</cx:pt>
          <cx:pt idx="101439">0</cx:pt>
          <cx:pt idx="101440">0</cx:pt>
          <cx:pt idx="101441">0</cx:pt>
          <cx:pt idx="101442">0</cx:pt>
          <cx:pt idx="101443">1</cx:pt>
          <cx:pt idx="101444">0</cx:pt>
          <cx:pt idx="101445">0</cx:pt>
          <cx:pt idx="101446">1</cx:pt>
          <cx:pt idx="101447">1</cx:pt>
          <cx:pt idx="101448">0</cx:pt>
          <cx:pt idx="101449">0</cx:pt>
          <cx:pt idx="101450">0</cx:pt>
          <cx:pt idx="101451">0</cx:pt>
          <cx:pt idx="101452">1</cx:pt>
          <cx:pt idx="101453">1</cx:pt>
          <cx:pt idx="101454">0</cx:pt>
          <cx:pt idx="101455">1</cx:pt>
          <cx:pt idx="101456">0</cx:pt>
          <cx:pt idx="101457">0</cx:pt>
          <cx:pt idx="101458">1</cx:pt>
          <cx:pt idx="101459">0</cx:pt>
          <cx:pt idx="101460">0</cx:pt>
          <cx:pt idx="101461">1</cx:pt>
          <cx:pt idx="101462">0</cx:pt>
          <cx:pt idx="101463">1</cx:pt>
          <cx:pt idx="101464">0</cx:pt>
          <cx:pt idx="101465">1</cx:pt>
          <cx:pt idx="101466">0</cx:pt>
          <cx:pt idx="101467">1</cx:pt>
          <cx:pt idx="101468">0</cx:pt>
          <cx:pt idx="101469">0</cx:pt>
          <cx:pt idx="101470">0</cx:pt>
          <cx:pt idx="101471">1</cx:pt>
          <cx:pt idx="101472">0</cx:pt>
          <cx:pt idx="101473">1</cx:pt>
          <cx:pt idx="101474">0</cx:pt>
          <cx:pt idx="101475">0</cx:pt>
          <cx:pt idx="101476">0</cx:pt>
          <cx:pt idx="101477">1</cx:pt>
          <cx:pt idx="101478">1</cx:pt>
          <cx:pt idx="101479">1</cx:pt>
          <cx:pt idx="101480">0</cx:pt>
          <cx:pt idx="101481">1</cx:pt>
          <cx:pt idx="101482">0</cx:pt>
          <cx:pt idx="101483">0</cx:pt>
          <cx:pt idx="101484">0</cx:pt>
          <cx:pt idx="101485">0</cx:pt>
          <cx:pt idx="101486">0</cx:pt>
          <cx:pt idx="101487">1</cx:pt>
          <cx:pt idx="101488">1</cx:pt>
          <cx:pt idx="101489">1</cx:pt>
          <cx:pt idx="101490">0</cx:pt>
          <cx:pt idx="101491">0</cx:pt>
          <cx:pt idx="101492">1</cx:pt>
          <cx:pt idx="101493">1</cx:pt>
          <cx:pt idx="101494">1</cx:pt>
          <cx:pt idx="101495">1</cx:pt>
          <cx:pt idx="101496">1</cx:pt>
          <cx:pt idx="101497">0</cx:pt>
          <cx:pt idx="101498">1</cx:pt>
          <cx:pt idx="101499">0</cx:pt>
          <cx:pt idx="101500">0</cx:pt>
          <cx:pt idx="101501">1</cx:pt>
          <cx:pt idx="101502">0</cx:pt>
          <cx:pt idx="101503">1</cx:pt>
          <cx:pt idx="101504">1</cx:pt>
          <cx:pt idx="101505">1</cx:pt>
          <cx:pt idx="101506">1</cx:pt>
          <cx:pt idx="101507">1</cx:pt>
          <cx:pt idx="101508">1</cx:pt>
          <cx:pt idx="101509">0</cx:pt>
          <cx:pt idx="101510">0</cx:pt>
          <cx:pt idx="101511">0</cx:pt>
          <cx:pt idx="101512">1</cx:pt>
          <cx:pt idx="101513">0</cx:pt>
          <cx:pt idx="101514">1</cx:pt>
          <cx:pt idx="101515">1</cx:pt>
          <cx:pt idx="101516">0</cx:pt>
          <cx:pt idx="101517">0</cx:pt>
          <cx:pt idx="101518">0</cx:pt>
          <cx:pt idx="101519">1</cx:pt>
          <cx:pt idx="101520">0</cx:pt>
          <cx:pt idx="101521">0</cx:pt>
          <cx:pt idx="101522">0</cx:pt>
          <cx:pt idx="101523">0</cx:pt>
          <cx:pt idx="101524">0</cx:pt>
          <cx:pt idx="101525">1</cx:pt>
          <cx:pt idx="101526">0</cx:pt>
          <cx:pt idx="101527">0</cx:pt>
          <cx:pt idx="101528">1</cx:pt>
          <cx:pt idx="101529">0</cx:pt>
          <cx:pt idx="101530">0</cx:pt>
          <cx:pt idx="101531">0</cx:pt>
          <cx:pt idx="101532">0</cx:pt>
          <cx:pt idx="101533">0</cx:pt>
          <cx:pt idx="101534">1</cx:pt>
          <cx:pt idx="101535">1</cx:pt>
          <cx:pt idx="101536">0</cx:pt>
          <cx:pt idx="101537">0</cx:pt>
          <cx:pt idx="101538">1</cx:pt>
          <cx:pt idx="101539">1</cx:pt>
          <cx:pt idx="101540">1</cx:pt>
          <cx:pt idx="101541">1</cx:pt>
          <cx:pt idx="101542">0</cx:pt>
          <cx:pt idx="101543">0</cx:pt>
          <cx:pt idx="101544">1</cx:pt>
          <cx:pt idx="101545">0</cx:pt>
          <cx:pt idx="101546">0</cx:pt>
          <cx:pt idx="101547">1</cx:pt>
          <cx:pt idx="101548">1</cx:pt>
          <cx:pt idx="101549">1</cx:pt>
          <cx:pt idx="101550">0</cx:pt>
          <cx:pt idx="101551">0</cx:pt>
          <cx:pt idx="101552">0</cx:pt>
          <cx:pt idx="101553">0</cx:pt>
          <cx:pt idx="101554">1</cx:pt>
          <cx:pt idx="101555">0</cx:pt>
          <cx:pt idx="101556">0</cx:pt>
          <cx:pt idx="101557">0</cx:pt>
          <cx:pt idx="101558">1</cx:pt>
          <cx:pt idx="101559">0</cx:pt>
          <cx:pt idx="101560">1</cx:pt>
          <cx:pt idx="101561">1</cx:pt>
          <cx:pt idx="101562">0</cx:pt>
          <cx:pt idx="101563">0</cx:pt>
          <cx:pt idx="101564">0</cx:pt>
          <cx:pt idx="101565">1</cx:pt>
          <cx:pt idx="101566">1</cx:pt>
          <cx:pt idx="101567">0</cx:pt>
          <cx:pt idx="101568">1</cx:pt>
          <cx:pt idx="101569">0</cx:pt>
          <cx:pt idx="101570">1</cx:pt>
          <cx:pt idx="101571">0</cx:pt>
          <cx:pt idx="101572">1</cx:pt>
          <cx:pt idx="101573">1</cx:pt>
          <cx:pt idx="101574">1</cx:pt>
          <cx:pt idx="101575">1</cx:pt>
          <cx:pt idx="101576">0</cx:pt>
          <cx:pt idx="101577">0</cx:pt>
          <cx:pt idx="101578">0</cx:pt>
          <cx:pt idx="101579">0</cx:pt>
          <cx:pt idx="101580">1</cx:pt>
          <cx:pt idx="101581">1</cx:pt>
          <cx:pt idx="101582">0</cx:pt>
          <cx:pt idx="101583">0</cx:pt>
          <cx:pt idx="101584">0</cx:pt>
          <cx:pt idx="101585">1</cx:pt>
          <cx:pt idx="101586">0</cx:pt>
          <cx:pt idx="101587">1</cx:pt>
          <cx:pt idx="101588">1</cx:pt>
          <cx:pt idx="101589">0</cx:pt>
          <cx:pt idx="101590">1</cx:pt>
          <cx:pt idx="101591">0</cx:pt>
          <cx:pt idx="101592">0</cx:pt>
          <cx:pt idx="101593">1</cx:pt>
          <cx:pt idx="101594">1</cx:pt>
          <cx:pt idx="101595">0</cx:pt>
          <cx:pt idx="101596">0</cx:pt>
          <cx:pt idx="101597">0</cx:pt>
          <cx:pt idx="101598">1</cx:pt>
          <cx:pt idx="101599">0</cx:pt>
          <cx:pt idx="101600">0</cx:pt>
          <cx:pt idx="101601">1</cx:pt>
          <cx:pt idx="101602">0</cx:pt>
          <cx:pt idx="101603">0</cx:pt>
          <cx:pt idx="101604">0</cx:pt>
          <cx:pt idx="101605">0</cx:pt>
          <cx:pt idx="101606">0</cx:pt>
          <cx:pt idx="101607">1</cx:pt>
          <cx:pt idx="101608">0</cx:pt>
          <cx:pt idx="101609">0</cx:pt>
          <cx:pt idx="101610">1</cx:pt>
          <cx:pt idx="101611">1</cx:pt>
          <cx:pt idx="101612">1</cx:pt>
          <cx:pt idx="101613">1</cx:pt>
          <cx:pt idx="101614">1</cx:pt>
          <cx:pt idx="101615">0</cx:pt>
          <cx:pt idx="101616">0</cx:pt>
          <cx:pt idx="101617">0</cx:pt>
          <cx:pt idx="101618">0</cx:pt>
          <cx:pt idx="101619">0</cx:pt>
          <cx:pt idx="101620">0</cx:pt>
          <cx:pt idx="101621">0</cx:pt>
          <cx:pt idx="101622">0</cx:pt>
          <cx:pt idx="101623">1</cx:pt>
          <cx:pt idx="101624">1</cx:pt>
          <cx:pt idx="101625">0</cx:pt>
          <cx:pt idx="101626">1</cx:pt>
          <cx:pt idx="101627">0</cx:pt>
          <cx:pt idx="101628">0</cx:pt>
          <cx:pt idx="101629">0</cx:pt>
          <cx:pt idx="101630">1</cx:pt>
          <cx:pt idx="101631">1</cx:pt>
          <cx:pt idx="101632">0</cx:pt>
          <cx:pt idx="101633">1</cx:pt>
          <cx:pt idx="101634">0</cx:pt>
          <cx:pt idx="101635">1</cx:pt>
          <cx:pt idx="101636">1</cx:pt>
          <cx:pt idx="101637">1</cx:pt>
          <cx:pt idx="101638">0</cx:pt>
          <cx:pt idx="101639">1</cx:pt>
          <cx:pt idx="101640">0</cx:pt>
          <cx:pt idx="101641">0</cx:pt>
          <cx:pt idx="101642">1</cx:pt>
          <cx:pt idx="101643">1</cx:pt>
          <cx:pt idx="101644">0</cx:pt>
          <cx:pt idx="101645">0</cx:pt>
          <cx:pt idx="101646">1</cx:pt>
          <cx:pt idx="101647">0</cx:pt>
          <cx:pt idx="101648">1</cx:pt>
          <cx:pt idx="101649">1</cx:pt>
          <cx:pt idx="101650">1</cx:pt>
          <cx:pt idx="101651">0</cx:pt>
          <cx:pt idx="101652">0</cx:pt>
          <cx:pt idx="101653">1</cx:pt>
          <cx:pt idx="101654">1</cx:pt>
          <cx:pt idx="101655">1</cx:pt>
          <cx:pt idx="101656">1</cx:pt>
          <cx:pt idx="101657">0</cx:pt>
          <cx:pt idx="101658">1</cx:pt>
          <cx:pt idx="101659">1</cx:pt>
          <cx:pt idx="101660">1</cx:pt>
          <cx:pt idx="101661">0</cx:pt>
          <cx:pt idx="101662">1</cx:pt>
          <cx:pt idx="101663">0</cx:pt>
          <cx:pt idx="101664">0</cx:pt>
          <cx:pt idx="101665">1</cx:pt>
          <cx:pt idx="101666">0</cx:pt>
          <cx:pt idx="101667">0</cx:pt>
          <cx:pt idx="101668">1</cx:pt>
          <cx:pt idx="101669">0</cx:pt>
          <cx:pt idx="101670">0</cx:pt>
          <cx:pt idx="101671">0</cx:pt>
          <cx:pt idx="101672">1</cx:pt>
          <cx:pt idx="101673">0</cx:pt>
          <cx:pt idx="101674">1</cx:pt>
          <cx:pt idx="101675">1</cx:pt>
          <cx:pt idx="101676">0</cx:pt>
          <cx:pt idx="101677">1</cx:pt>
          <cx:pt idx="101678">0</cx:pt>
          <cx:pt idx="101679">0</cx:pt>
          <cx:pt idx="101680">1</cx:pt>
          <cx:pt idx="101681">1</cx:pt>
          <cx:pt idx="101682">1</cx:pt>
          <cx:pt idx="101683">0</cx:pt>
          <cx:pt idx="101684">0</cx:pt>
          <cx:pt idx="101685">0</cx:pt>
          <cx:pt idx="101686">1</cx:pt>
          <cx:pt idx="101687">0</cx:pt>
          <cx:pt idx="101688">1</cx:pt>
          <cx:pt idx="101689">1</cx:pt>
          <cx:pt idx="101690">0</cx:pt>
          <cx:pt idx="101691">1</cx:pt>
          <cx:pt idx="101692">0</cx:pt>
          <cx:pt idx="101693">0</cx:pt>
          <cx:pt idx="101694">0</cx:pt>
          <cx:pt idx="101695">0</cx:pt>
          <cx:pt idx="101696">0</cx:pt>
          <cx:pt idx="101697">0</cx:pt>
          <cx:pt idx="101698">1</cx:pt>
          <cx:pt idx="101699">1</cx:pt>
          <cx:pt idx="101700">0</cx:pt>
          <cx:pt idx="101701">0</cx:pt>
          <cx:pt idx="101702">0</cx:pt>
          <cx:pt idx="101703">1</cx:pt>
          <cx:pt idx="101704">1</cx:pt>
          <cx:pt idx="101705">0</cx:pt>
          <cx:pt idx="101706">0</cx:pt>
          <cx:pt idx="101707">0</cx:pt>
          <cx:pt idx="101708">0</cx:pt>
          <cx:pt idx="101709">1</cx:pt>
          <cx:pt idx="101710">0</cx:pt>
          <cx:pt idx="101711">0</cx:pt>
          <cx:pt idx="101712">1</cx:pt>
          <cx:pt idx="101713">1</cx:pt>
          <cx:pt idx="101714">0</cx:pt>
          <cx:pt idx="101715">0</cx:pt>
          <cx:pt idx="101716">1</cx:pt>
          <cx:pt idx="101717">0</cx:pt>
          <cx:pt idx="101718">0</cx:pt>
          <cx:pt idx="101719">1</cx:pt>
          <cx:pt idx="101720">0</cx:pt>
          <cx:pt idx="101721">0</cx:pt>
          <cx:pt idx="101722">1</cx:pt>
          <cx:pt idx="101723">1</cx:pt>
          <cx:pt idx="101724">1</cx:pt>
          <cx:pt idx="101725">0</cx:pt>
          <cx:pt idx="101726">0</cx:pt>
          <cx:pt idx="101727">0</cx:pt>
          <cx:pt idx="101728">1</cx:pt>
          <cx:pt idx="101729">0</cx:pt>
          <cx:pt idx="101730">1</cx:pt>
          <cx:pt idx="101731">0</cx:pt>
          <cx:pt idx="101732">1</cx:pt>
          <cx:pt idx="101733">0</cx:pt>
          <cx:pt idx="101734">0</cx:pt>
          <cx:pt idx="101735">1</cx:pt>
          <cx:pt idx="101736">1</cx:pt>
          <cx:pt idx="101737">0</cx:pt>
          <cx:pt idx="101738">1</cx:pt>
          <cx:pt idx="101739">0</cx:pt>
          <cx:pt idx="101740">1</cx:pt>
          <cx:pt idx="101741">1</cx:pt>
          <cx:pt idx="101742">1</cx:pt>
          <cx:pt idx="101743">0</cx:pt>
          <cx:pt idx="101744">1</cx:pt>
          <cx:pt idx="101745">0</cx:pt>
          <cx:pt idx="101746">1</cx:pt>
          <cx:pt idx="101747">1</cx:pt>
          <cx:pt idx="101748">0</cx:pt>
          <cx:pt idx="101749">0</cx:pt>
          <cx:pt idx="101750">0</cx:pt>
          <cx:pt idx="101751">0</cx:pt>
          <cx:pt idx="101752">1</cx:pt>
          <cx:pt idx="101753">0</cx:pt>
          <cx:pt idx="101754">1</cx:pt>
          <cx:pt idx="101755">0</cx:pt>
          <cx:pt idx="101756">0</cx:pt>
          <cx:pt idx="101757">0</cx:pt>
          <cx:pt idx="101758">1</cx:pt>
          <cx:pt idx="101759">1</cx:pt>
          <cx:pt idx="101760">1</cx:pt>
          <cx:pt idx="101761">0</cx:pt>
          <cx:pt idx="101762">0</cx:pt>
          <cx:pt idx="101763">0</cx:pt>
          <cx:pt idx="101764">1</cx:pt>
          <cx:pt idx="101765">1</cx:pt>
          <cx:pt idx="101766">0</cx:pt>
          <cx:pt idx="101767">1</cx:pt>
          <cx:pt idx="101768">1</cx:pt>
          <cx:pt idx="101769">1</cx:pt>
          <cx:pt idx="101770">1</cx:pt>
          <cx:pt idx="101771">0</cx:pt>
          <cx:pt idx="101772">0</cx:pt>
          <cx:pt idx="101773">0</cx:pt>
          <cx:pt idx="101774">1</cx:pt>
          <cx:pt idx="101775">1</cx:pt>
          <cx:pt idx="101776">0</cx:pt>
          <cx:pt idx="101777">1</cx:pt>
          <cx:pt idx="101778">0</cx:pt>
          <cx:pt idx="101779">0</cx:pt>
          <cx:pt idx="101780">0</cx:pt>
          <cx:pt idx="101781">0</cx:pt>
          <cx:pt idx="101782">0</cx:pt>
          <cx:pt idx="101783">1</cx:pt>
          <cx:pt idx="101784">1</cx:pt>
          <cx:pt idx="101785">1</cx:pt>
          <cx:pt idx="101786">1</cx:pt>
          <cx:pt idx="101787">0</cx:pt>
          <cx:pt idx="101788">0</cx:pt>
          <cx:pt idx="101789">0</cx:pt>
          <cx:pt idx="101790">1</cx:pt>
          <cx:pt idx="101791">1</cx:pt>
          <cx:pt idx="101792">0</cx:pt>
          <cx:pt idx="101793">0</cx:pt>
          <cx:pt idx="101794">1</cx:pt>
          <cx:pt idx="101795">1</cx:pt>
          <cx:pt idx="101796">0</cx:pt>
          <cx:pt idx="101797">1</cx:pt>
          <cx:pt idx="101798">1</cx:pt>
          <cx:pt idx="101799">0</cx:pt>
          <cx:pt idx="101800">1</cx:pt>
          <cx:pt idx="101801">1</cx:pt>
          <cx:pt idx="101802">0</cx:pt>
          <cx:pt idx="101803">0</cx:pt>
          <cx:pt idx="101804">1</cx:pt>
          <cx:pt idx="101805">1</cx:pt>
          <cx:pt idx="101806">1</cx:pt>
          <cx:pt idx="101807">0</cx:pt>
          <cx:pt idx="101808">0</cx:pt>
          <cx:pt idx="101809">0</cx:pt>
          <cx:pt idx="101810">1</cx:pt>
          <cx:pt idx="101811">0</cx:pt>
          <cx:pt idx="101812">1</cx:pt>
          <cx:pt idx="101813">0</cx:pt>
          <cx:pt idx="101814">0</cx:pt>
          <cx:pt idx="101815">1</cx:pt>
          <cx:pt idx="101816">1</cx:pt>
          <cx:pt idx="101817">1</cx:pt>
          <cx:pt idx="101818">1</cx:pt>
          <cx:pt idx="101819">1</cx:pt>
          <cx:pt idx="101820">0</cx:pt>
          <cx:pt idx="101821">0</cx:pt>
          <cx:pt idx="101822">1</cx:pt>
          <cx:pt idx="101823">1</cx:pt>
          <cx:pt idx="101824">0</cx:pt>
          <cx:pt idx="101825">1</cx:pt>
          <cx:pt idx="101826">0</cx:pt>
          <cx:pt idx="101827">1</cx:pt>
          <cx:pt idx="101828">1</cx:pt>
          <cx:pt idx="101829">1</cx:pt>
          <cx:pt idx="101830">0</cx:pt>
          <cx:pt idx="101831">0</cx:pt>
          <cx:pt idx="101832">0</cx:pt>
          <cx:pt idx="101833">0</cx:pt>
          <cx:pt idx="101834">0</cx:pt>
          <cx:pt idx="101835">1</cx:pt>
          <cx:pt idx="101836">0</cx:pt>
          <cx:pt idx="101837">0</cx:pt>
          <cx:pt idx="101838">0</cx:pt>
          <cx:pt idx="101839">1</cx:pt>
          <cx:pt idx="101840">1</cx:pt>
          <cx:pt idx="101841">1</cx:pt>
          <cx:pt idx="101842">0</cx:pt>
          <cx:pt idx="101843">0</cx:pt>
          <cx:pt idx="101844">1</cx:pt>
          <cx:pt idx="101845">0</cx:pt>
          <cx:pt idx="101846">0</cx:pt>
          <cx:pt idx="101847">1</cx:pt>
          <cx:pt idx="101848">0</cx:pt>
          <cx:pt idx="101849">0</cx:pt>
          <cx:pt idx="101850">0</cx:pt>
          <cx:pt idx="101851">0</cx:pt>
          <cx:pt idx="101852">0</cx:pt>
          <cx:pt idx="101853">0</cx:pt>
          <cx:pt idx="101854">0</cx:pt>
          <cx:pt idx="101855">1</cx:pt>
          <cx:pt idx="101856">0</cx:pt>
          <cx:pt idx="101857">0</cx:pt>
          <cx:pt idx="101858">0</cx:pt>
          <cx:pt idx="101859">0</cx:pt>
          <cx:pt idx="101860">0</cx:pt>
          <cx:pt idx="101861">1</cx:pt>
          <cx:pt idx="101862">0</cx:pt>
          <cx:pt idx="101863">0</cx:pt>
          <cx:pt idx="101864">1</cx:pt>
          <cx:pt idx="101865">0</cx:pt>
          <cx:pt idx="101866">0</cx:pt>
          <cx:pt idx="101867">0</cx:pt>
          <cx:pt idx="101868">0</cx:pt>
          <cx:pt idx="101869">0</cx:pt>
          <cx:pt idx="101870">1</cx:pt>
          <cx:pt idx="101871">1</cx:pt>
          <cx:pt idx="101872">1</cx:pt>
          <cx:pt idx="101873">1</cx:pt>
          <cx:pt idx="101874">0</cx:pt>
          <cx:pt idx="101875">0</cx:pt>
          <cx:pt idx="101876">1</cx:pt>
          <cx:pt idx="101877">0</cx:pt>
          <cx:pt idx="101878">1</cx:pt>
          <cx:pt idx="101879">1</cx:pt>
          <cx:pt idx="101880">0</cx:pt>
          <cx:pt idx="101881">1</cx:pt>
          <cx:pt idx="101882">0</cx:pt>
          <cx:pt idx="101883">1</cx:pt>
          <cx:pt idx="101884">1</cx:pt>
          <cx:pt idx="101885">1</cx:pt>
          <cx:pt idx="101886">0</cx:pt>
          <cx:pt idx="101887">0</cx:pt>
          <cx:pt idx="101888">0</cx:pt>
          <cx:pt idx="101889">0</cx:pt>
          <cx:pt idx="101890">0</cx:pt>
          <cx:pt idx="101891">1</cx:pt>
          <cx:pt idx="101892">0</cx:pt>
          <cx:pt idx="101893">1</cx:pt>
          <cx:pt idx="101894">0</cx:pt>
          <cx:pt idx="101895">0</cx:pt>
          <cx:pt idx="101896">0</cx:pt>
          <cx:pt idx="101897">1</cx:pt>
          <cx:pt idx="101898">1</cx:pt>
          <cx:pt idx="101899">1</cx:pt>
          <cx:pt idx="101900">1</cx:pt>
          <cx:pt idx="101901">0</cx:pt>
          <cx:pt idx="101902">1</cx:pt>
          <cx:pt idx="101903">0</cx:pt>
          <cx:pt idx="101904">1</cx:pt>
          <cx:pt idx="101905">1</cx:pt>
          <cx:pt idx="101906">1</cx:pt>
          <cx:pt idx="101907">0</cx:pt>
          <cx:pt idx="101908">0</cx:pt>
          <cx:pt idx="101909">1</cx:pt>
          <cx:pt idx="101910">0</cx:pt>
          <cx:pt idx="101911">1</cx:pt>
          <cx:pt idx="101912">1</cx:pt>
          <cx:pt idx="101913">1</cx:pt>
          <cx:pt idx="101914">0</cx:pt>
          <cx:pt idx="101915">1</cx:pt>
          <cx:pt idx="101916">1</cx:pt>
          <cx:pt idx="101917">0</cx:pt>
          <cx:pt idx="101918">1</cx:pt>
          <cx:pt idx="101919">1</cx:pt>
          <cx:pt idx="101920">0</cx:pt>
          <cx:pt idx="101921">1</cx:pt>
          <cx:pt idx="101922">0</cx:pt>
          <cx:pt idx="101923">1</cx:pt>
          <cx:pt idx="101924">1</cx:pt>
          <cx:pt idx="101925">0</cx:pt>
          <cx:pt idx="101926">0</cx:pt>
          <cx:pt idx="101927">0</cx:pt>
          <cx:pt idx="101928">0</cx:pt>
          <cx:pt idx="101929">1</cx:pt>
          <cx:pt idx="101930">0</cx:pt>
          <cx:pt idx="101931">1</cx:pt>
          <cx:pt idx="101932">1</cx:pt>
          <cx:pt idx="101933">0</cx:pt>
          <cx:pt idx="101934">0</cx:pt>
          <cx:pt idx="101935">1</cx:pt>
          <cx:pt idx="101936">1</cx:pt>
          <cx:pt idx="101937">0</cx:pt>
          <cx:pt idx="101938">0</cx:pt>
          <cx:pt idx="101939">0</cx:pt>
          <cx:pt idx="101940">0</cx:pt>
          <cx:pt idx="101941">0</cx:pt>
          <cx:pt idx="101942">1</cx:pt>
          <cx:pt idx="101943">1</cx:pt>
          <cx:pt idx="101944">1</cx:pt>
          <cx:pt idx="101945">0</cx:pt>
          <cx:pt idx="101946">0</cx:pt>
          <cx:pt idx="101947">0</cx:pt>
          <cx:pt idx="101948">1</cx:pt>
          <cx:pt idx="101949">1</cx:pt>
          <cx:pt idx="101950">0</cx:pt>
          <cx:pt idx="101951">1</cx:pt>
          <cx:pt idx="101952">1</cx:pt>
          <cx:pt idx="101953">0</cx:pt>
          <cx:pt idx="101954">1</cx:pt>
          <cx:pt idx="101955">1</cx:pt>
          <cx:pt idx="101956">0</cx:pt>
          <cx:pt idx="101957">0</cx:pt>
          <cx:pt idx="101958">1</cx:pt>
          <cx:pt idx="101959">0</cx:pt>
          <cx:pt idx="101960">1</cx:pt>
          <cx:pt idx="101961">0</cx:pt>
          <cx:pt idx="101962">1</cx:pt>
          <cx:pt idx="101963">0</cx:pt>
          <cx:pt idx="101964">1</cx:pt>
          <cx:pt idx="101965">0</cx:pt>
          <cx:pt idx="101966">1</cx:pt>
          <cx:pt idx="101967">0</cx:pt>
          <cx:pt idx="101968">1</cx:pt>
          <cx:pt idx="101969">0</cx:pt>
          <cx:pt idx="101970">0</cx:pt>
          <cx:pt idx="101971">0</cx:pt>
          <cx:pt idx="101972">1</cx:pt>
          <cx:pt idx="101973">1</cx:pt>
          <cx:pt idx="101974">1</cx:pt>
          <cx:pt idx="101975">1</cx:pt>
          <cx:pt idx="101976">0</cx:pt>
          <cx:pt idx="101977">1</cx:pt>
          <cx:pt idx="101978">0</cx:pt>
          <cx:pt idx="101979">1</cx:pt>
          <cx:pt idx="101980">1</cx:pt>
          <cx:pt idx="101981">0</cx:pt>
          <cx:pt idx="101982">1</cx:pt>
          <cx:pt idx="101983">0</cx:pt>
          <cx:pt idx="101984">1</cx:pt>
          <cx:pt idx="101985">0</cx:pt>
          <cx:pt idx="101986">1</cx:pt>
          <cx:pt idx="101987">0</cx:pt>
          <cx:pt idx="101988">1</cx:pt>
          <cx:pt idx="101989">1</cx:pt>
          <cx:pt idx="101990">0</cx:pt>
          <cx:pt idx="101991">0</cx:pt>
          <cx:pt idx="101992">0</cx:pt>
          <cx:pt idx="101993">0</cx:pt>
          <cx:pt idx="101994">0</cx:pt>
          <cx:pt idx="101995">1</cx:pt>
          <cx:pt idx="101996">1</cx:pt>
          <cx:pt idx="101997">1</cx:pt>
          <cx:pt idx="101998">1</cx:pt>
          <cx:pt idx="101999">1</cx:pt>
          <cx:pt idx="102000">0</cx:pt>
          <cx:pt idx="102001">0</cx:pt>
          <cx:pt idx="102002">0</cx:pt>
          <cx:pt idx="102003">1</cx:pt>
          <cx:pt idx="102004">0</cx:pt>
          <cx:pt idx="102005">1</cx:pt>
          <cx:pt idx="102006">0</cx:pt>
          <cx:pt idx="102007">1</cx:pt>
          <cx:pt idx="102008">1</cx:pt>
          <cx:pt idx="102009">0</cx:pt>
          <cx:pt idx="102010">0</cx:pt>
          <cx:pt idx="102011">0</cx:pt>
          <cx:pt idx="102012">0</cx:pt>
          <cx:pt idx="102013">0</cx:pt>
          <cx:pt idx="102014">1</cx:pt>
          <cx:pt idx="102015">1</cx:pt>
          <cx:pt idx="102016">0</cx:pt>
          <cx:pt idx="102017">1</cx:pt>
          <cx:pt idx="102018">0</cx:pt>
          <cx:pt idx="102019">1</cx:pt>
          <cx:pt idx="102020">0</cx:pt>
          <cx:pt idx="102021">0</cx:pt>
          <cx:pt idx="102022">0</cx:pt>
          <cx:pt idx="102023">0</cx:pt>
          <cx:pt idx="102024">0</cx:pt>
          <cx:pt idx="102025">1</cx:pt>
          <cx:pt idx="102026">0</cx:pt>
          <cx:pt idx="102027">0</cx:pt>
          <cx:pt idx="102028">0</cx:pt>
          <cx:pt idx="102029">0</cx:pt>
          <cx:pt idx="102030">0</cx:pt>
          <cx:pt idx="102031">0</cx:pt>
          <cx:pt idx="102032">0</cx:pt>
          <cx:pt idx="102033">0</cx:pt>
          <cx:pt idx="102034">1</cx:pt>
          <cx:pt idx="102035">1</cx:pt>
          <cx:pt idx="102036">1</cx:pt>
          <cx:pt idx="102037">0</cx:pt>
          <cx:pt idx="102038">1</cx:pt>
          <cx:pt idx="102039">1</cx:pt>
          <cx:pt idx="102040">0</cx:pt>
          <cx:pt idx="102041">1</cx:pt>
          <cx:pt idx="102042">1</cx:pt>
          <cx:pt idx="102043">0</cx:pt>
          <cx:pt idx="102044">1</cx:pt>
          <cx:pt idx="102045">1</cx:pt>
          <cx:pt idx="102046">0</cx:pt>
          <cx:pt idx="102047">0</cx:pt>
          <cx:pt idx="102048">0</cx:pt>
          <cx:pt idx="102049">0</cx:pt>
          <cx:pt idx="102050">0</cx:pt>
          <cx:pt idx="102051">1</cx:pt>
          <cx:pt idx="102052">0</cx:pt>
          <cx:pt idx="102053">1</cx:pt>
          <cx:pt idx="102054">0</cx:pt>
          <cx:pt idx="102055">0</cx:pt>
          <cx:pt idx="102056">1</cx:pt>
          <cx:pt idx="102057">1</cx:pt>
          <cx:pt idx="102058">1</cx:pt>
          <cx:pt idx="102059">1</cx:pt>
          <cx:pt idx="102060">1</cx:pt>
          <cx:pt idx="102061">0</cx:pt>
          <cx:pt idx="102062">0</cx:pt>
          <cx:pt idx="102063">1</cx:pt>
          <cx:pt idx="102064">0</cx:pt>
          <cx:pt idx="102065">0</cx:pt>
          <cx:pt idx="102066">0</cx:pt>
          <cx:pt idx="102067">0</cx:pt>
          <cx:pt idx="102068">0</cx:pt>
          <cx:pt idx="102069">0</cx:pt>
          <cx:pt idx="102070">0</cx:pt>
          <cx:pt idx="102071">0</cx:pt>
          <cx:pt idx="102072">0</cx:pt>
          <cx:pt idx="102073">1</cx:pt>
          <cx:pt idx="102074">0</cx:pt>
          <cx:pt idx="102075">0</cx:pt>
          <cx:pt idx="102076">1</cx:pt>
          <cx:pt idx="102077">1</cx:pt>
          <cx:pt idx="102078">1</cx:pt>
          <cx:pt idx="102079">0</cx:pt>
          <cx:pt idx="102080">0</cx:pt>
          <cx:pt idx="102081">1</cx:pt>
          <cx:pt idx="102082">1</cx:pt>
          <cx:pt idx="102083">0</cx:pt>
          <cx:pt idx="102084">1</cx:pt>
          <cx:pt idx="102085">1</cx:pt>
          <cx:pt idx="102086">0</cx:pt>
          <cx:pt idx="102087">1</cx:pt>
          <cx:pt idx="102088">0</cx:pt>
          <cx:pt idx="102089">0</cx:pt>
          <cx:pt idx="102090">0</cx:pt>
          <cx:pt idx="102091">1</cx:pt>
          <cx:pt idx="102092">1</cx:pt>
          <cx:pt idx="102093">1</cx:pt>
          <cx:pt idx="102094">0</cx:pt>
          <cx:pt idx="102095">1</cx:pt>
          <cx:pt idx="102096">0</cx:pt>
          <cx:pt idx="102097">1</cx:pt>
          <cx:pt idx="102098">1</cx:pt>
          <cx:pt idx="102099">0</cx:pt>
          <cx:pt idx="102100">0</cx:pt>
          <cx:pt idx="102101">1</cx:pt>
          <cx:pt idx="102102">0</cx:pt>
          <cx:pt idx="102103">1</cx:pt>
          <cx:pt idx="102104">0</cx:pt>
          <cx:pt idx="102105">0</cx:pt>
          <cx:pt idx="102106">1</cx:pt>
          <cx:pt idx="102107">0</cx:pt>
          <cx:pt idx="102108">1</cx:pt>
          <cx:pt idx="102109">1</cx:pt>
          <cx:pt idx="102110">1</cx:pt>
          <cx:pt idx="102111">1</cx:pt>
          <cx:pt idx="102112">0</cx:pt>
          <cx:pt idx="102113">0</cx:pt>
          <cx:pt idx="102114">1</cx:pt>
          <cx:pt idx="102115">0</cx:pt>
          <cx:pt idx="102116">1</cx:pt>
          <cx:pt idx="102117">0</cx:pt>
          <cx:pt idx="102118">1</cx:pt>
          <cx:pt idx="102119">1</cx:pt>
          <cx:pt idx="102120">0</cx:pt>
          <cx:pt idx="102121">0</cx:pt>
          <cx:pt idx="102122">0</cx:pt>
          <cx:pt idx="102123">1</cx:pt>
          <cx:pt idx="102124">0</cx:pt>
          <cx:pt idx="102125">1</cx:pt>
          <cx:pt idx="102126">1</cx:pt>
          <cx:pt idx="102127">0</cx:pt>
          <cx:pt idx="102128">1</cx:pt>
          <cx:pt idx="102129">0</cx:pt>
          <cx:pt idx="102130">0</cx:pt>
          <cx:pt idx="102131">0</cx:pt>
          <cx:pt idx="102132">1</cx:pt>
          <cx:pt idx="102133">0</cx:pt>
          <cx:pt idx="102134">1</cx:pt>
          <cx:pt idx="102135">0</cx:pt>
          <cx:pt idx="102136">1</cx:pt>
          <cx:pt idx="102137">0</cx:pt>
          <cx:pt idx="102138">0</cx:pt>
          <cx:pt idx="102139">1</cx:pt>
          <cx:pt idx="102140">1</cx:pt>
          <cx:pt idx="102141">0</cx:pt>
          <cx:pt idx="102142">1</cx:pt>
          <cx:pt idx="102143">1</cx:pt>
          <cx:pt idx="102144">0</cx:pt>
          <cx:pt idx="102145">0</cx:pt>
          <cx:pt idx="102146">1</cx:pt>
          <cx:pt idx="102147">0</cx:pt>
          <cx:pt idx="102148">0</cx:pt>
          <cx:pt idx="102149">0</cx:pt>
          <cx:pt idx="102150">1</cx:pt>
          <cx:pt idx="102151">1</cx:pt>
          <cx:pt idx="102152">1</cx:pt>
          <cx:pt idx="102153">1</cx:pt>
          <cx:pt idx="102154">1</cx:pt>
          <cx:pt idx="102155">1</cx:pt>
          <cx:pt idx="102156">0</cx:pt>
          <cx:pt idx="102157">0</cx:pt>
          <cx:pt idx="102158">0</cx:pt>
          <cx:pt idx="102159">1</cx:pt>
          <cx:pt idx="102160">0</cx:pt>
          <cx:pt idx="102161">0</cx:pt>
          <cx:pt idx="102162">1</cx:pt>
          <cx:pt idx="102163">0</cx:pt>
          <cx:pt idx="102164">0</cx:pt>
          <cx:pt idx="102165">1</cx:pt>
          <cx:pt idx="102166">0</cx:pt>
          <cx:pt idx="102167">0</cx:pt>
          <cx:pt idx="102168">1</cx:pt>
          <cx:pt idx="102169">1</cx:pt>
          <cx:pt idx="102170">1</cx:pt>
          <cx:pt idx="102171">1</cx:pt>
          <cx:pt idx="102172">0</cx:pt>
          <cx:pt idx="102173">0</cx:pt>
          <cx:pt idx="102174">0</cx:pt>
          <cx:pt idx="102175">0</cx:pt>
          <cx:pt idx="102176">0</cx:pt>
          <cx:pt idx="102177">0</cx:pt>
          <cx:pt idx="102178">0</cx:pt>
          <cx:pt idx="102179">1</cx:pt>
          <cx:pt idx="102180">0</cx:pt>
          <cx:pt idx="102181">0</cx:pt>
          <cx:pt idx="102182">0</cx:pt>
          <cx:pt idx="102183">1</cx:pt>
          <cx:pt idx="102184">0</cx:pt>
          <cx:pt idx="102185">0</cx:pt>
          <cx:pt idx="102186">0</cx:pt>
          <cx:pt idx="102187">0</cx:pt>
          <cx:pt idx="102188">0</cx:pt>
          <cx:pt idx="102189">0</cx:pt>
          <cx:pt idx="102190">0</cx:pt>
          <cx:pt idx="102191">1</cx:pt>
          <cx:pt idx="102192">1</cx:pt>
          <cx:pt idx="102193">0</cx:pt>
          <cx:pt idx="102194">1</cx:pt>
          <cx:pt idx="102195">0</cx:pt>
          <cx:pt idx="102196">1</cx:pt>
          <cx:pt idx="102197">0</cx:pt>
          <cx:pt idx="102198">0</cx:pt>
          <cx:pt idx="102199">1</cx:pt>
          <cx:pt idx="102200">1</cx:pt>
          <cx:pt idx="102201">0</cx:pt>
          <cx:pt idx="102202">0</cx:pt>
          <cx:pt idx="102203">0</cx:pt>
          <cx:pt idx="102204">1</cx:pt>
          <cx:pt idx="102205">0</cx:pt>
          <cx:pt idx="102206">1</cx:pt>
          <cx:pt idx="102207">0</cx:pt>
          <cx:pt idx="102208">0</cx:pt>
          <cx:pt idx="102209">0</cx:pt>
          <cx:pt idx="102210">1</cx:pt>
          <cx:pt idx="102211">1</cx:pt>
          <cx:pt idx="102212">1</cx:pt>
          <cx:pt idx="102213">0</cx:pt>
          <cx:pt idx="102214">0</cx:pt>
          <cx:pt idx="102215">1</cx:pt>
          <cx:pt idx="102216">0</cx:pt>
          <cx:pt idx="102217">1</cx:pt>
          <cx:pt idx="102218">0</cx:pt>
          <cx:pt idx="102219">0</cx:pt>
          <cx:pt idx="102220">0</cx:pt>
          <cx:pt idx="102221">0</cx:pt>
          <cx:pt idx="102222">1</cx:pt>
          <cx:pt idx="102223">0</cx:pt>
          <cx:pt idx="102224">1</cx:pt>
          <cx:pt idx="102225">0</cx:pt>
          <cx:pt idx="102226">1</cx:pt>
          <cx:pt idx="102227">1</cx:pt>
          <cx:pt idx="102228">1</cx:pt>
          <cx:pt idx="102229">0</cx:pt>
          <cx:pt idx="102230">0</cx:pt>
          <cx:pt idx="102231">0</cx:pt>
          <cx:pt idx="102232">1</cx:pt>
          <cx:pt idx="102233">0</cx:pt>
          <cx:pt idx="102234">0</cx:pt>
          <cx:pt idx="102235">1</cx:pt>
          <cx:pt idx="102236">1</cx:pt>
          <cx:pt idx="102237">0</cx:pt>
          <cx:pt idx="102238">1</cx:pt>
          <cx:pt idx="102239">1</cx:pt>
          <cx:pt idx="102240">0</cx:pt>
          <cx:pt idx="102241">1</cx:pt>
          <cx:pt idx="102242">0</cx:pt>
          <cx:pt idx="102243">1</cx:pt>
          <cx:pt idx="102244">0</cx:pt>
          <cx:pt idx="102245">1</cx:pt>
          <cx:pt idx="102246">1</cx:pt>
          <cx:pt idx="102247">0</cx:pt>
          <cx:pt idx="102248">1</cx:pt>
          <cx:pt idx="102249">0</cx:pt>
          <cx:pt idx="102250">0</cx:pt>
          <cx:pt idx="102251">0</cx:pt>
          <cx:pt idx="102252">0</cx:pt>
          <cx:pt idx="102253">0</cx:pt>
          <cx:pt idx="102254">0</cx:pt>
          <cx:pt idx="102255">1</cx:pt>
          <cx:pt idx="102256">1</cx:pt>
          <cx:pt idx="102257">1</cx:pt>
          <cx:pt idx="102258">0</cx:pt>
          <cx:pt idx="102259">0</cx:pt>
          <cx:pt idx="102260">1</cx:pt>
          <cx:pt idx="102261">0</cx:pt>
          <cx:pt idx="102262">0</cx:pt>
          <cx:pt idx="102263">0</cx:pt>
          <cx:pt idx="102264">0</cx:pt>
          <cx:pt idx="102265">1</cx:pt>
          <cx:pt idx="102266">0</cx:pt>
          <cx:pt idx="102267">1</cx:pt>
          <cx:pt idx="102268">1</cx:pt>
          <cx:pt idx="102269">0</cx:pt>
          <cx:pt idx="102270">0</cx:pt>
          <cx:pt idx="102271">0</cx:pt>
          <cx:pt idx="102272">1</cx:pt>
          <cx:pt idx="102273">0</cx:pt>
          <cx:pt idx="102274">1</cx:pt>
          <cx:pt idx="102275">1</cx:pt>
          <cx:pt idx="102276">1</cx:pt>
          <cx:pt idx="102277">0</cx:pt>
          <cx:pt idx="102278">0</cx:pt>
          <cx:pt idx="102279">0</cx:pt>
          <cx:pt idx="102280">0</cx:pt>
          <cx:pt idx="102281">0</cx:pt>
          <cx:pt idx="102282">0</cx:pt>
          <cx:pt idx="102283">1</cx:pt>
          <cx:pt idx="102284">0</cx:pt>
          <cx:pt idx="102285">0</cx:pt>
          <cx:pt idx="102286">0</cx:pt>
          <cx:pt idx="102287">0</cx:pt>
          <cx:pt idx="102288">0</cx:pt>
          <cx:pt idx="102289">1</cx:pt>
          <cx:pt idx="102290">0</cx:pt>
          <cx:pt idx="102291">0</cx:pt>
          <cx:pt idx="102292">1</cx:pt>
          <cx:pt idx="102293">0</cx:pt>
          <cx:pt idx="102294">1</cx:pt>
          <cx:pt idx="102295">0</cx:pt>
          <cx:pt idx="102296">0</cx:pt>
          <cx:pt idx="102297">0</cx:pt>
          <cx:pt idx="102298">1</cx:pt>
          <cx:pt idx="102299">0</cx:pt>
          <cx:pt idx="102300">1</cx:pt>
          <cx:pt idx="102301">1</cx:pt>
          <cx:pt idx="102302">0</cx:pt>
          <cx:pt idx="102303">1</cx:pt>
          <cx:pt idx="102304">1</cx:pt>
          <cx:pt idx="102305">0</cx:pt>
          <cx:pt idx="102306">1</cx:pt>
          <cx:pt idx="102307">0</cx:pt>
          <cx:pt idx="102308">1</cx:pt>
          <cx:pt idx="102309">0</cx:pt>
          <cx:pt idx="102310">0</cx:pt>
          <cx:pt idx="102311">0</cx:pt>
          <cx:pt idx="102312">0</cx:pt>
          <cx:pt idx="102313">1</cx:pt>
          <cx:pt idx="102314">0</cx:pt>
          <cx:pt idx="102315">1</cx:pt>
          <cx:pt idx="102316">1</cx:pt>
          <cx:pt idx="102317">1</cx:pt>
          <cx:pt idx="102318">1</cx:pt>
          <cx:pt idx="102319">1</cx:pt>
          <cx:pt idx="102320">0</cx:pt>
          <cx:pt idx="102321">0</cx:pt>
          <cx:pt idx="102322">0</cx:pt>
          <cx:pt idx="102323">1</cx:pt>
          <cx:pt idx="102324">1</cx:pt>
          <cx:pt idx="102325">1</cx:pt>
          <cx:pt idx="102326">0</cx:pt>
          <cx:pt idx="102327">1</cx:pt>
          <cx:pt idx="102328">0</cx:pt>
          <cx:pt idx="102329">0</cx:pt>
          <cx:pt idx="102330">1</cx:pt>
          <cx:pt idx="102331">1</cx:pt>
          <cx:pt idx="102332">0</cx:pt>
          <cx:pt idx="102333">0</cx:pt>
          <cx:pt idx="102334">1</cx:pt>
          <cx:pt idx="102335">0</cx:pt>
          <cx:pt idx="102336">1</cx:pt>
          <cx:pt idx="102337">1</cx:pt>
          <cx:pt idx="102338">1</cx:pt>
          <cx:pt idx="102339">0</cx:pt>
          <cx:pt idx="102340">1</cx:pt>
          <cx:pt idx="102341">1</cx:pt>
          <cx:pt idx="102342">1</cx:pt>
          <cx:pt idx="102343">0</cx:pt>
          <cx:pt idx="102344">0</cx:pt>
          <cx:pt idx="102345">0</cx:pt>
          <cx:pt idx="102346">0</cx:pt>
          <cx:pt idx="102347">0</cx:pt>
          <cx:pt idx="102348">0</cx:pt>
          <cx:pt idx="102349">0</cx:pt>
          <cx:pt idx="102350">0</cx:pt>
          <cx:pt idx="102351">0</cx:pt>
          <cx:pt idx="102352">0</cx:pt>
          <cx:pt idx="102353">0</cx:pt>
          <cx:pt idx="102354">0</cx:pt>
          <cx:pt idx="102355">1</cx:pt>
          <cx:pt idx="102356">1</cx:pt>
          <cx:pt idx="102357">0</cx:pt>
          <cx:pt idx="102358">0</cx:pt>
          <cx:pt idx="102359">1</cx:pt>
          <cx:pt idx="102360">1</cx:pt>
          <cx:pt idx="102361">0</cx:pt>
          <cx:pt idx="102362">1</cx:pt>
          <cx:pt idx="102363">0</cx:pt>
          <cx:pt idx="102364">0</cx:pt>
          <cx:pt idx="102365">1</cx:pt>
          <cx:pt idx="102366">1</cx:pt>
          <cx:pt idx="102367">0</cx:pt>
          <cx:pt idx="102368">0</cx:pt>
          <cx:pt idx="102369">0</cx:pt>
          <cx:pt idx="102370">0</cx:pt>
          <cx:pt idx="102371">0</cx:pt>
          <cx:pt idx="102372">1</cx:pt>
          <cx:pt idx="102373">1</cx:pt>
          <cx:pt idx="102374">1</cx:pt>
          <cx:pt idx="102375">0</cx:pt>
          <cx:pt idx="102376">0</cx:pt>
          <cx:pt idx="102377">1</cx:pt>
          <cx:pt idx="102378">1</cx:pt>
          <cx:pt idx="102379">0</cx:pt>
          <cx:pt idx="102380">1</cx:pt>
          <cx:pt idx="102381">1</cx:pt>
          <cx:pt idx="102382">1</cx:pt>
          <cx:pt idx="102383">1</cx:pt>
          <cx:pt idx="102384">0</cx:pt>
          <cx:pt idx="102385">1</cx:pt>
          <cx:pt idx="102386">1</cx:pt>
          <cx:pt idx="102387">0</cx:pt>
          <cx:pt idx="102388">0</cx:pt>
          <cx:pt idx="102389">0</cx:pt>
          <cx:pt idx="102390">0</cx:pt>
          <cx:pt idx="102391">0</cx:pt>
          <cx:pt idx="102392">1</cx:pt>
          <cx:pt idx="102393">0</cx:pt>
          <cx:pt idx="102394">0</cx:pt>
          <cx:pt idx="102395">0</cx:pt>
          <cx:pt idx="102396">1</cx:pt>
          <cx:pt idx="102397">0</cx:pt>
          <cx:pt idx="102398">1</cx:pt>
          <cx:pt idx="102399">0</cx:pt>
          <cx:pt idx="102400">0</cx:pt>
          <cx:pt idx="102401">1</cx:pt>
          <cx:pt idx="102402">0</cx:pt>
          <cx:pt idx="102403">1</cx:pt>
          <cx:pt idx="102404">0</cx:pt>
          <cx:pt idx="102405">0</cx:pt>
          <cx:pt idx="102406">1</cx:pt>
          <cx:pt idx="102407">0</cx:pt>
          <cx:pt idx="102408">0</cx:pt>
          <cx:pt idx="102409">0</cx:pt>
          <cx:pt idx="102410">0</cx:pt>
          <cx:pt idx="102411">0</cx:pt>
          <cx:pt idx="102412">0</cx:pt>
          <cx:pt idx="102413">1</cx:pt>
          <cx:pt idx="102414">0</cx:pt>
          <cx:pt idx="102415">1</cx:pt>
          <cx:pt idx="102416">1</cx:pt>
          <cx:pt idx="102417">0</cx:pt>
          <cx:pt idx="102418">1</cx:pt>
          <cx:pt idx="102419">0</cx:pt>
          <cx:pt idx="102420">1</cx:pt>
          <cx:pt idx="102421">0</cx:pt>
          <cx:pt idx="102422">1</cx:pt>
          <cx:pt idx="102423">0</cx:pt>
          <cx:pt idx="102424">0</cx:pt>
          <cx:pt idx="102425">0</cx:pt>
          <cx:pt idx="102426">0</cx:pt>
          <cx:pt idx="102427">0</cx:pt>
          <cx:pt idx="102428">1</cx:pt>
          <cx:pt idx="102429">1</cx:pt>
          <cx:pt idx="102430">1</cx:pt>
          <cx:pt idx="102431">1</cx:pt>
          <cx:pt idx="102432">0</cx:pt>
          <cx:pt idx="102433">0</cx:pt>
          <cx:pt idx="102434">1</cx:pt>
          <cx:pt idx="102435">0</cx:pt>
          <cx:pt idx="102436">1</cx:pt>
          <cx:pt idx="102437">0</cx:pt>
          <cx:pt idx="102438">1</cx:pt>
          <cx:pt idx="102439">1</cx:pt>
          <cx:pt idx="102440">1</cx:pt>
          <cx:pt idx="102441">1</cx:pt>
          <cx:pt idx="102442">1</cx:pt>
          <cx:pt idx="102443">0</cx:pt>
          <cx:pt idx="102444">0</cx:pt>
          <cx:pt idx="102445">0</cx:pt>
          <cx:pt idx="102446">1</cx:pt>
          <cx:pt idx="102447">0</cx:pt>
          <cx:pt idx="102448">1</cx:pt>
          <cx:pt idx="102449">0</cx:pt>
          <cx:pt idx="102450">0</cx:pt>
          <cx:pt idx="102451">0</cx:pt>
          <cx:pt idx="102452">1</cx:pt>
          <cx:pt idx="102453">0</cx:pt>
          <cx:pt idx="102454">0</cx:pt>
          <cx:pt idx="102455">1</cx:pt>
          <cx:pt idx="102456">0</cx:pt>
          <cx:pt idx="102457">1</cx:pt>
          <cx:pt idx="102458">0</cx:pt>
          <cx:pt idx="102459">0</cx:pt>
          <cx:pt idx="102460">1</cx:pt>
          <cx:pt idx="102461">1</cx:pt>
          <cx:pt idx="102462">0</cx:pt>
          <cx:pt idx="102463">0</cx:pt>
          <cx:pt idx="102464">0</cx:pt>
          <cx:pt idx="102465">0</cx:pt>
          <cx:pt idx="102466">0</cx:pt>
          <cx:pt idx="102467">1</cx:pt>
          <cx:pt idx="102468">0</cx:pt>
          <cx:pt idx="102469">0</cx:pt>
          <cx:pt idx="102470">1</cx:pt>
          <cx:pt idx="102471">1</cx:pt>
          <cx:pt idx="102472">0</cx:pt>
          <cx:pt idx="102473">0</cx:pt>
          <cx:pt idx="102474">1</cx:pt>
          <cx:pt idx="102475">0</cx:pt>
          <cx:pt idx="102476">1</cx:pt>
          <cx:pt idx="102477">0</cx:pt>
          <cx:pt idx="102478">1</cx:pt>
          <cx:pt idx="102479">0</cx:pt>
          <cx:pt idx="102480">0</cx:pt>
          <cx:pt idx="102481">0</cx:pt>
          <cx:pt idx="102482">1</cx:pt>
          <cx:pt idx="102483">1</cx:pt>
          <cx:pt idx="102484">0</cx:pt>
          <cx:pt idx="102485">0</cx:pt>
          <cx:pt idx="102486">0</cx:pt>
          <cx:pt idx="102487">0</cx:pt>
          <cx:pt idx="102488">0</cx:pt>
          <cx:pt idx="102489">0</cx:pt>
          <cx:pt idx="102490">0</cx:pt>
          <cx:pt idx="102491">1</cx:pt>
          <cx:pt idx="102492">0</cx:pt>
          <cx:pt idx="102493">0</cx:pt>
          <cx:pt idx="102494">0</cx:pt>
          <cx:pt idx="102495">0</cx:pt>
          <cx:pt idx="102496">1</cx:pt>
          <cx:pt idx="102497">1</cx:pt>
          <cx:pt idx="102498">0</cx:pt>
          <cx:pt idx="102499">1</cx:pt>
          <cx:pt idx="102500">0</cx:pt>
          <cx:pt idx="102501">0</cx:pt>
          <cx:pt idx="102502">1</cx:pt>
          <cx:pt idx="102503">1</cx:pt>
          <cx:pt idx="102504">0</cx:pt>
          <cx:pt idx="102505">1</cx:pt>
          <cx:pt idx="102506">1</cx:pt>
          <cx:pt idx="102507">0</cx:pt>
          <cx:pt idx="102508">0</cx:pt>
          <cx:pt idx="102509">1</cx:pt>
          <cx:pt idx="102510">1</cx:pt>
          <cx:pt idx="102511">0</cx:pt>
          <cx:pt idx="102512">1</cx:pt>
          <cx:pt idx="102513">1</cx:pt>
          <cx:pt idx="102514">1</cx:pt>
          <cx:pt idx="102515">0</cx:pt>
          <cx:pt idx="102516">1</cx:pt>
          <cx:pt idx="102517">1</cx:pt>
          <cx:pt idx="102518">0</cx:pt>
          <cx:pt idx="102519">0</cx:pt>
          <cx:pt idx="102520">0</cx:pt>
          <cx:pt idx="102521">0</cx:pt>
          <cx:pt idx="102522">1</cx:pt>
          <cx:pt idx="102523">0</cx:pt>
          <cx:pt idx="102524">0</cx:pt>
          <cx:pt idx="102525">0</cx:pt>
          <cx:pt idx="102526">1</cx:pt>
          <cx:pt idx="102527">1</cx:pt>
          <cx:pt idx="102528">1</cx:pt>
          <cx:pt idx="102529">1</cx:pt>
          <cx:pt idx="102530">0</cx:pt>
          <cx:pt idx="102531">0</cx:pt>
          <cx:pt idx="102532">0</cx:pt>
          <cx:pt idx="102533">1</cx:pt>
          <cx:pt idx="102534">0</cx:pt>
          <cx:pt idx="102535">0</cx:pt>
          <cx:pt idx="102536">0</cx:pt>
          <cx:pt idx="102537">0</cx:pt>
          <cx:pt idx="102538">0</cx:pt>
          <cx:pt idx="102539">1</cx:pt>
          <cx:pt idx="102540">1</cx:pt>
          <cx:pt idx="102541">0</cx:pt>
          <cx:pt idx="102542">0</cx:pt>
          <cx:pt idx="102543">0</cx:pt>
          <cx:pt idx="102544">1</cx:pt>
          <cx:pt idx="102545">1</cx:pt>
          <cx:pt idx="102546">0</cx:pt>
          <cx:pt idx="102547">1</cx:pt>
          <cx:pt idx="102548">0</cx:pt>
          <cx:pt idx="102549">0</cx:pt>
          <cx:pt idx="102550">0</cx:pt>
          <cx:pt idx="102551">0</cx:pt>
          <cx:pt idx="102552">0</cx:pt>
          <cx:pt idx="102553">1</cx:pt>
          <cx:pt idx="102554">0</cx:pt>
          <cx:pt idx="102555">1</cx:pt>
          <cx:pt idx="102556">1</cx:pt>
          <cx:pt idx="102557">1</cx:pt>
          <cx:pt idx="102558">0</cx:pt>
          <cx:pt idx="102559">0</cx:pt>
          <cx:pt idx="102560">0</cx:pt>
          <cx:pt idx="102561">1</cx:pt>
          <cx:pt idx="102562">0</cx:pt>
          <cx:pt idx="102563">1</cx:pt>
          <cx:pt idx="102564">1</cx:pt>
          <cx:pt idx="102565">1</cx:pt>
          <cx:pt idx="102566">0</cx:pt>
          <cx:pt idx="102567">0</cx:pt>
          <cx:pt idx="102568">1</cx:pt>
          <cx:pt idx="102569">0</cx:pt>
          <cx:pt idx="102570">0</cx:pt>
          <cx:pt idx="102571">1</cx:pt>
          <cx:pt idx="102572">0</cx:pt>
          <cx:pt idx="102573">0</cx:pt>
          <cx:pt idx="102574">1</cx:pt>
          <cx:pt idx="102575">1</cx:pt>
          <cx:pt idx="102576">1</cx:pt>
          <cx:pt idx="102577">0</cx:pt>
          <cx:pt idx="102578">1</cx:pt>
          <cx:pt idx="102579">0</cx:pt>
          <cx:pt idx="102580">1</cx:pt>
          <cx:pt idx="102581">1</cx:pt>
          <cx:pt idx="102582">1</cx:pt>
          <cx:pt idx="102583">0</cx:pt>
          <cx:pt idx="102584">1</cx:pt>
          <cx:pt idx="102585">0</cx:pt>
          <cx:pt idx="102586">1</cx:pt>
          <cx:pt idx="102587">0</cx:pt>
          <cx:pt idx="102588">0</cx:pt>
          <cx:pt idx="102589">0</cx:pt>
          <cx:pt idx="102590">1</cx:pt>
          <cx:pt idx="102591">0</cx:pt>
          <cx:pt idx="102592">0</cx:pt>
          <cx:pt idx="102593">0</cx:pt>
          <cx:pt idx="102594">0</cx:pt>
          <cx:pt idx="102595">1</cx:pt>
          <cx:pt idx="102596">0</cx:pt>
          <cx:pt idx="102597">1</cx:pt>
          <cx:pt idx="102598">0</cx:pt>
          <cx:pt idx="102599">0</cx:pt>
          <cx:pt idx="102600">0</cx:pt>
          <cx:pt idx="102601">1</cx:pt>
          <cx:pt idx="102602">1</cx:pt>
          <cx:pt idx="102603">0</cx:pt>
          <cx:pt idx="102604">1</cx:pt>
          <cx:pt idx="102605">1</cx:pt>
          <cx:pt idx="102606">1</cx:pt>
          <cx:pt idx="102607">1</cx:pt>
          <cx:pt idx="102608">0</cx:pt>
          <cx:pt idx="102609">0</cx:pt>
          <cx:pt idx="102610">1</cx:pt>
          <cx:pt idx="102611">1</cx:pt>
          <cx:pt idx="102612">0</cx:pt>
          <cx:pt idx="102613">0</cx:pt>
          <cx:pt idx="102614">0</cx:pt>
          <cx:pt idx="102615">1</cx:pt>
          <cx:pt idx="102616">1</cx:pt>
          <cx:pt idx="102617">0</cx:pt>
          <cx:pt idx="102618">0</cx:pt>
          <cx:pt idx="102619">0</cx:pt>
          <cx:pt idx="102620">1</cx:pt>
          <cx:pt idx="102621">0</cx:pt>
          <cx:pt idx="102622">0</cx:pt>
          <cx:pt idx="102623">0</cx:pt>
          <cx:pt idx="102624">1</cx:pt>
          <cx:pt idx="102625">0</cx:pt>
          <cx:pt idx="102626">1</cx:pt>
          <cx:pt idx="102627">1</cx:pt>
          <cx:pt idx="102628">0</cx:pt>
          <cx:pt idx="102629">0</cx:pt>
          <cx:pt idx="102630">1</cx:pt>
          <cx:pt idx="102631">0</cx:pt>
          <cx:pt idx="102632">1</cx:pt>
          <cx:pt idx="102633">0</cx:pt>
          <cx:pt idx="102634">1</cx:pt>
          <cx:pt idx="102635">0</cx:pt>
          <cx:pt idx="102636">0</cx:pt>
          <cx:pt idx="102637">1</cx:pt>
          <cx:pt idx="102638">0</cx:pt>
          <cx:pt idx="102639">0</cx:pt>
          <cx:pt idx="102640">0</cx:pt>
          <cx:pt idx="102641">0</cx:pt>
          <cx:pt idx="102642">0</cx:pt>
          <cx:pt idx="102643">1</cx:pt>
          <cx:pt idx="102644">1</cx:pt>
          <cx:pt idx="102645">0</cx:pt>
          <cx:pt idx="102646">1</cx:pt>
          <cx:pt idx="102647">0</cx:pt>
          <cx:pt idx="102648">1</cx:pt>
          <cx:pt idx="102649">0</cx:pt>
          <cx:pt idx="102650">1</cx:pt>
          <cx:pt idx="102651">0</cx:pt>
          <cx:pt idx="102652">0</cx:pt>
          <cx:pt idx="102653">0</cx:pt>
          <cx:pt idx="102654">0</cx:pt>
          <cx:pt idx="102655">1</cx:pt>
          <cx:pt idx="102656">0</cx:pt>
          <cx:pt idx="102657">0</cx:pt>
          <cx:pt idx="102658">1</cx:pt>
          <cx:pt idx="102659">1</cx:pt>
          <cx:pt idx="102660">0</cx:pt>
          <cx:pt idx="102661">0</cx:pt>
          <cx:pt idx="102662">0</cx:pt>
          <cx:pt idx="102663">1</cx:pt>
          <cx:pt idx="102664">0</cx:pt>
          <cx:pt idx="102665">1</cx:pt>
          <cx:pt idx="102666">1</cx:pt>
          <cx:pt idx="102667">0</cx:pt>
          <cx:pt idx="102668">1</cx:pt>
          <cx:pt idx="102669">0</cx:pt>
          <cx:pt idx="102670">0</cx:pt>
          <cx:pt idx="102671">1</cx:pt>
          <cx:pt idx="102672">1</cx:pt>
          <cx:pt idx="102673">0</cx:pt>
          <cx:pt idx="102674">0</cx:pt>
          <cx:pt idx="102675">1</cx:pt>
          <cx:pt idx="102676">1</cx:pt>
          <cx:pt idx="102677">0</cx:pt>
          <cx:pt idx="102678">0</cx:pt>
          <cx:pt idx="102679">1</cx:pt>
          <cx:pt idx="102680">1</cx:pt>
          <cx:pt idx="102681">1</cx:pt>
          <cx:pt idx="102682">1</cx:pt>
          <cx:pt idx="102683">0</cx:pt>
          <cx:pt idx="102684">1</cx:pt>
          <cx:pt idx="102685">1</cx:pt>
          <cx:pt idx="102686">0</cx:pt>
          <cx:pt idx="102687">0</cx:pt>
          <cx:pt idx="102688">0</cx:pt>
          <cx:pt idx="102689">0</cx:pt>
          <cx:pt idx="102690">0</cx:pt>
          <cx:pt idx="102691">0</cx:pt>
          <cx:pt idx="102692">0</cx:pt>
          <cx:pt idx="102693">1</cx:pt>
          <cx:pt idx="102694">1</cx:pt>
          <cx:pt idx="102695">1</cx:pt>
          <cx:pt idx="102696">0</cx:pt>
          <cx:pt idx="102697">1</cx:pt>
          <cx:pt idx="102698">0</cx:pt>
          <cx:pt idx="102699">0</cx:pt>
          <cx:pt idx="102700">0</cx:pt>
          <cx:pt idx="102701">1</cx:pt>
          <cx:pt idx="102702">0</cx:pt>
          <cx:pt idx="102703">0</cx:pt>
          <cx:pt idx="102704">0</cx:pt>
          <cx:pt idx="102705">0</cx:pt>
          <cx:pt idx="102706">0</cx:pt>
          <cx:pt idx="102707">1</cx:pt>
          <cx:pt idx="102708">0</cx:pt>
          <cx:pt idx="102709">0</cx:pt>
          <cx:pt idx="102710">0</cx:pt>
          <cx:pt idx="102711">0</cx:pt>
          <cx:pt idx="102712">0</cx:pt>
          <cx:pt idx="102713">0</cx:pt>
          <cx:pt idx="102714">0</cx:pt>
          <cx:pt idx="102715">0</cx:pt>
          <cx:pt idx="102716">0</cx:pt>
          <cx:pt idx="102717">0</cx:pt>
          <cx:pt idx="102718">0</cx:pt>
          <cx:pt idx="102719">0</cx:pt>
          <cx:pt idx="102720">0</cx:pt>
          <cx:pt idx="102721">0</cx:pt>
          <cx:pt idx="102722">0</cx:pt>
          <cx:pt idx="102723">0</cx:pt>
          <cx:pt idx="102724">1</cx:pt>
          <cx:pt idx="102725">0</cx:pt>
          <cx:pt idx="102726">0</cx:pt>
          <cx:pt idx="102727">0</cx:pt>
          <cx:pt idx="102728">1</cx:pt>
          <cx:pt idx="102729">1</cx:pt>
          <cx:pt idx="102730">1</cx:pt>
          <cx:pt idx="102731">0</cx:pt>
          <cx:pt idx="102732">1</cx:pt>
          <cx:pt idx="102733">1</cx:pt>
          <cx:pt idx="102734">0</cx:pt>
          <cx:pt idx="102735">0</cx:pt>
          <cx:pt idx="102736">0</cx:pt>
          <cx:pt idx="102737">1</cx:pt>
          <cx:pt idx="102738">1</cx:pt>
          <cx:pt idx="102739">0</cx:pt>
          <cx:pt idx="102740">0</cx:pt>
          <cx:pt idx="102741">1</cx:pt>
          <cx:pt idx="102742">0</cx:pt>
          <cx:pt idx="102743">0</cx:pt>
          <cx:pt idx="102744">0</cx:pt>
          <cx:pt idx="102745">0</cx:pt>
          <cx:pt idx="102746">0</cx:pt>
          <cx:pt idx="102747">1</cx:pt>
          <cx:pt idx="102748">0</cx:pt>
          <cx:pt idx="102749">0</cx:pt>
          <cx:pt idx="102750">1</cx:pt>
          <cx:pt idx="102751">0</cx:pt>
          <cx:pt idx="102752">1</cx:pt>
          <cx:pt idx="102753">1</cx:pt>
          <cx:pt idx="102754">1</cx:pt>
          <cx:pt idx="102755">0</cx:pt>
          <cx:pt idx="102756">0</cx:pt>
          <cx:pt idx="102757">0</cx:pt>
          <cx:pt idx="102758">0</cx:pt>
          <cx:pt idx="102759">1</cx:pt>
          <cx:pt idx="102760">0</cx:pt>
          <cx:pt idx="102761">0</cx:pt>
          <cx:pt idx="102762">1</cx:pt>
          <cx:pt idx="102763">0</cx:pt>
          <cx:pt idx="102764">0</cx:pt>
          <cx:pt idx="102765">0</cx:pt>
          <cx:pt idx="102766">1</cx:pt>
          <cx:pt idx="102767">1</cx:pt>
          <cx:pt idx="102768">1</cx:pt>
          <cx:pt idx="102769">0</cx:pt>
          <cx:pt idx="102770">1</cx:pt>
          <cx:pt idx="102771">1</cx:pt>
          <cx:pt idx="102772">1</cx:pt>
          <cx:pt idx="102773">1</cx:pt>
          <cx:pt idx="102774">1</cx:pt>
          <cx:pt idx="102775">0</cx:pt>
          <cx:pt idx="102776">0</cx:pt>
          <cx:pt idx="102777">1</cx:pt>
          <cx:pt idx="102778">0</cx:pt>
          <cx:pt idx="102779">0</cx:pt>
          <cx:pt idx="102780">0</cx:pt>
          <cx:pt idx="102781">1</cx:pt>
          <cx:pt idx="102782">0</cx:pt>
          <cx:pt idx="102783">1</cx:pt>
          <cx:pt idx="102784">1</cx:pt>
          <cx:pt idx="102785">1</cx:pt>
          <cx:pt idx="102786">1</cx:pt>
          <cx:pt idx="102787">0</cx:pt>
          <cx:pt idx="102788">0</cx:pt>
          <cx:pt idx="102789">0</cx:pt>
          <cx:pt idx="102790">1</cx:pt>
          <cx:pt idx="102791">0</cx:pt>
          <cx:pt idx="102792">0</cx:pt>
          <cx:pt idx="102793">1</cx:pt>
          <cx:pt idx="102794">1</cx:pt>
          <cx:pt idx="102795">1</cx:pt>
          <cx:pt idx="102796">0</cx:pt>
          <cx:pt idx="102797">1</cx:pt>
          <cx:pt idx="102798">1</cx:pt>
          <cx:pt idx="102799">0</cx:pt>
          <cx:pt idx="102800">1</cx:pt>
          <cx:pt idx="102801">1</cx:pt>
          <cx:pt idx="102802">0</cx:pt>
          <cx:pt idx="102803">0</cx:pt>
          <cx:pt idx="102804">1</cx:pt>
          <cx:pt idx="102805">0</cx:pt>
          <cx:pt idx="102806">1</cx:pt>
          <cx:pt idx="102807">0</cx:pt>
          <cx:pt idx="102808">0</cx:pt>
          <cx:pt idx="102809">0</cx:pt>
          <cx:pt idx="102810">1</cx:pt>
          <cx:pt idx="102811">1</cx:pt>
          <cx:pt idx="102812">0</cx:pt>
          <cx:pt idx="102813">0</cx:pt>
          <cx:pt idx="102814">0</cx:pt>
          <cx:pt idx="102815">0</cx:pt>
          <cx:pt idx="102816">1</cx:pt>
          <cx:pt idx="102817">0</cx:pt>
          <cx:pt idx="102818">0</cx:pt>
          <cx:pt idx="102819">0</cx:pt>
          <cx:pt idx="102820">0</cx:pt>
          <cx:pt idx="102821">0</cx:pt>
          <cx:pt idx="102822">1</cx:pt>
          <cx:pt idx="102823">0</cx:pt>
          <cx:pt idx="102824">0</cx:pt>
          <cx:pt idx="102825">1</cx:pt>
          <cx:pt idx="102826">1</cx:pt>
          <cx:pt idx="102827">0</cx:pt>
          <cx:pt idx="102828">0</cx:pt>
          <cx:pt idx="102829">1</cx:pt>
          <cx:pt idx="102830">0</cx:pt>
          <cx:pt idx="102831">0</cx:pt>
          <cx:pt idx="102832">1</cx:pt>
          <cx:pt idx="102833">0</cx:pt>
          <cx:pt idx="102834">0</cx:pt>
          <cx:pt idx="102835">1</cx:pt>
          <cx:pt idx="102836">0</cx:pt>
          <cx:pt idx="102837">1</cx:pt>
          <cx:pt idx="102838">1</cx:pt>
          <cx:pt idx="102839">1</cx:pt>
          <cx:pt idx="102840">0</cx:pt>
          <cx:pt idx="102841">0</cx:pt>
          <cx:pt idx="102842">0</cx:pt>
          <cx:pt idx="102843">1</cx:pt>
          <cx:pt idx="102844">1</cx:pt>
          <cx:pt idx="102845">0</cx:pt>
          <cx:pt idx="102846">0</cx:pt>
          <cx:pt idx="102847">0</cx:pt>
          <cx:pt idx="102848">0</cx:pt>
          <cx:pt idx="102849">1</cx:pt>
          <cx:pt idx="102850">1</cx:pt>
          <cx:pt idx="102851">0</cx:pt>
          <cx:pt idx="102852">1</cx:pt>
          <cx:pt idx="102853">1</cx:pt>
          <cx:pt idx="102854">0</cx:pt>
          <cx:pt idx="102855">1</cx:pt>
          <cx:pt idx="102856">0</cx:pt>
          <cx:pt idx="102857">1</cx:pt>
          <cx:pt idx="102858">1</cx:pt>
          <cx:pt idx="102859">0</cx:pt>
          <cx:pt idx="102860">0</cx:pt>
          <cx:pt idx="102861">1</cx:pt>
          <cx:pt idx="102862">1</cx:pt>
          <cx:pt idx="102863">1</cx:pt>
          <cx:pt idx="102864">1</cx:pt>
          <cx:pt idx="102865">1</cx:pt>
          <cx:pt idx="102866">1</cx:pt>
          <cx:pt idx="102867">0</cx:pt>
          <cx:pt idx="102868">1</cx:pt>
          <cx:pt idx="102869">0</cx:pt>
          <cx:pt idx="102870">1</cx:pt>
          <cx:pt idx="102871">1</cx:pt>
          <cx:pt idx="102872">0</cx:pt>
          <cx:pt idx="102873">1</cx:pt>
          <cx:pt idx="102874">1</cx:pt>
          <cx:pt idx="102875">0</cx:pt>
          <cx:pt idx="102876">0</cx:pt>
          <cx:pt idx="102877">1</cx:pt>
          <cx:pt idx="102878">1</cx:pt>
          <cx:pt idx="102879">0</cx:pt>
          <cx:pt idx="102880">1</cx:pt>
          <cx:pt idx="102881">0</cx:pt>
          <cx:pt idx="102882">1</cx:pt>
          <cx:pt idx="102883">1</cx:pt>
          <cx:pt idx="102884">1</cx:pt>
          <cx:pt idx="102885">0</cx:pt>
          <cx:pt idx="102886">0</cx:pt>
          <cx:pt idx="102887">0</cx:pt>
          <cx:pt idx="102888">1</cx:pt>
          <cx:pt idx="102889">0</cx:pt>
          <cx:pt idx="102890">0</cx:pt>
          <cx:pt idx="102891">0</cx:pt>
          <cx:pt idx="102892">0</cx:pt>
          <cx:pt idx="102893">1</cx:pt>
          <cx:pt idx="102894">0</cx:pt>
          <cx:pt idx="102895">1</cx:pt>
          <cx:pt idx="102896">0</cx:pt>
          <cx:pt idx="102897">1</cx:pt>
          <cx:pt idx="102898">0</cx:pt>
          <cx:pt idx="102899">0</cx:pt>
          <cx:pt idx="102900">1</cx:pt>
          <cx:pt idx="102901">1</cx:pt>
          <cx:pt idx="102902">1</cx:pt>
          <cx:pt idx="102903">0</cx:pt>
          <cx:pt idx="102904">0</cx:pt>
          <cx:pt idx="102905">1</cx:pt>
          <cx:pt idx="102906">0</cx:pt>
          <cx:pt idx="102907">0</cx:pt>
          <cx:pt idx="102908">1</cx:pt>
          <cx:pt idx="102909">1</cx:pt>
          <cx:pt idx="102910">0</cx:pt>
          <cx:pt idx="102911">0</cx:pt>
          <cx:pt idx="102912">1</cx:pt>
          <cx:pt idx="102913">0</cx:pt>
          <cx:pt idx="102914">0</cx:pt>
          <cx:pt idx="102915">0</cx:pt>
          <cx:pt idx="102916">1</cx:pt>
          <cx:pt idx="102917">0</cx:pt>
          <cx:pt idx="102918">0</cx:pt>
          <cx:pt idx="102919">0</cx:pt>
          <cx:pt idx="102920">1</cx:pt>
          <cx:pt idx="102921">0</cx:pt>
          <cx:pt idx="102922">0</cx:pt>
          <cx:pt idx="102923">1</cx:pt>
          <cx:pt idx="102924">0</cx:pt>
          <cx:pt idx="102925">0</cx:pt>
          <cx:pt idx="102926">1</cx:pt>
          <cx:pt idx="102927">0</cx:pt>
          <cx:pt idx="102928">1</cx:pt>
          <cx:pt idx="102929">0</cx:pt>
          <cx:pt idx="102930">0</cx:pt>
          <cx:pt idx="102931">0</cx:pt>
          <cx:pt idx="102932">0</cx:pt>
          <cx:pt idx="102933">0</cx:pt>
          <cx:pt idx="102934">0</cx:pt>
          <cx:pt idx="102935">0</cx:pt>
          <cx:pt idx="102936">0</cx:pt>
          <cx:pt idx="102937">0</cx:pt>
          <cx:pt idx="102938">1</cx:pt>
          <cx:pt idx="102939">0</cx:pt>
          <cx:pt idx="102940">1</cx:pt>
          <cx:pt idx="102941">1</cx:pt>
          <cx:pt idx="102942">1</cx:pt>
          <cx:pt idx="102943">1</cx:pt>
          <cx:pt idx="102944">1</cx:pt>
          <cx:pt idx="102945">0</cx:pt>
          <cx:pt idx="102946">0</cx:pt>
          <cx:pt idx="102947">0</cx:pt>
          <cx:pt idx="102948">0</cx:pt>
          <cx:pt idx="102949">0</cx:pt>
          <cx:pt idx="102950">0</cx:pt>
          <cx:pt idx="102951">0</cx:pt>
          <cx:pt idx="102952">1</cx:pt>
          <cx:pt idx="102953">1</cx:pt>
          <cx:pt idx="102954">1</cx:pt>
          <cx:pt idx="102955">0</cx:pt>
          <cx:pt idx="102956">0</cx:pt>
          <cx:pt idx="102957">0</cx:pt>
          <cx:pt idx="102958">0</cx:pt>
          <cx:pt idx="102959">1</cx:pt>
          <cx:pt idx="102960">1</cx:pt>
          <cx:pt idx="102961">1</cx:pt>
          <cx:pt idx="102962">0</cx:pt>
          <cx:pt idx="102963">0</cx:pt>
          <cx:pt idx="102964">1</cx:pt>
          <cx:pt idx="102965">1</cx:pt>
          <cx:pt idx="102966">0</cx:pt>
          <cx:pt idx="102967">0</cx:pt>
          <cx:pt idx="102968">1</cx:pt>
          <cx:pt idx="102969">1</cx:pt>
          <cx:pt idx="102970">0</cx:pt>
          <cx:pt idx="102971">1</cx:pt>
          <cx:pt idx="102972">0</cx:pt>
          <cx:pt idx="102973">1</cx:pt>
          <cx:pt idx="102974">0</cx:pt>
          <cx:pt idx="102975">0</cx:pt>
          <cx:pt idx="102976">0</cx:pt>
          <cx:pt idx="102977">1</cx:pt>
          <cx:pt idx="102978">0</cx:pt>
          <cx:pt idx="102979">1</cx:pt>
          <cx:pt idx="102980">0</cx:pt>
          <cx:pt idx="102981">0</cx:pt>
          <cx:pt idx="102982">1</cx:pt>
          <cx:pt idx="102983">0</cx:pt>
          <cx:pt idx="102984">0</cx:pt>
          <cx:pt idx="102985">0</cx:pt>
          <cx:pt idx="102986">0</cx:pt>
          <cx:pt idx="102987">0</cx:pt>
          <cx:pt idx="102988">0</cx:pt>
          <cx:pt idx="102989">1</cx:pt>
          <cx:pt idx="102990">0</cx:pt>
          <cx:pt idx="102991">1</cx:pt>
          <cx:pt idx="102992">0</cx:pt>
          <cx:pt idx="102993">0</cx:pt>
          <cx:pt idx="102994">1</cx:pt>
          <cx:pt idx="102995">0</cx:pt>
          <cx:pt idx="102996">1</cx:pt>
          <cx:pt idx="102997">1</cx:pt>
          <cx:pt idx="102998">1</cx:pt>
          <cx:pt idx="102999">0</cx:pt>
          <cx:pt idx="103000">0</cx:pt>
          <cx:pt idx="103001">0</cx:pt>
          <cx:pt idx="103002">1</cx:pt>
          <cx:pt idx="103003">1</cx:pt>
          <cx:pt idx="103004">0</cx:pt>
          <cx:pt idx="103005">1</cx:pt>
          <cx:pt idx="103006">0</cx:pt>
          <cx:pt idx="103007">0</cx:pt>
          <cx:pt idx="103008">0</cx:pt>
          <cx:pt idx="103009">1</cx:pt>
          <cx:pt idx="103010">0</cx:pt>
          <cx:pt idx="103011">1</cx:pt>
          <cx:pt idx="103012">0</cx:pt>
          <cx:pt idx="103013">0</cx:pt>
          <cx:pt idx="103014">0</cx:pt>
          <cx:pt idx="103015">1</cx:pt>
          <cx:pt idx="103016">0</cx:pt>
          <cx:pt idx="103017">0</cx:pt>
          <cx:pt idx="103018">0</cx:pt>
          <cx:pt idx="103019">0</cx:pt>
          <cx:pt idx="103020">1</cx:pt>
          <cx:pt idx="103021">1</cx:pt>
          <cx:pt idx="103022">0</cx:pt>
          <cx:pt idx="103023">0</cx:pt>
          <cx:pt idx="103024">1</cx:pt>
          <cx:pt idx="103025">0</cx:pt>
          <cx:pt idx="103026">0</cx:pt>
          <cx:pt idx="103027">0</cx:pt>
          <cx:pt idx="103028">0</cx:pt>
          <cx:pt idx="103029">0</cx:pt>
          <cx:pt idx="103030">0</cx:pt>
          <cx:pt idx="103031">0</cx:pt>
          <cx:pt idx="103032">0</cx:pt>
          <cx:pt idx="103033">0</cx:pt>
          <cx:pt idx="103034">0</cx:pt>
          <cx:pt idx="103035">0</cx:pt>
          <cx:pt idx="103036">0</cx:pt>
          <cx:pt idx="103037">0</cx:pt>
          <cx:pt idx="103038">0</cx:pt>
          <cx:pt idx="103039">0</cx:pt>
          <cx:pt idx="103040">0</cx:pt>
          <cx:pt idx="103041">1</cx:pt>
          <cx:pt idx="103042">0</cx:pt>
          <cx:pt idx="103043">1</cx:pt>
          <cx:pt idx="103044">0</cx:pt>
          <cx:pt idx="103045">1</cx:pt>
          <cx:pt idx="103046">1</cx:pt>
          <cx:pt idx="103047">1</cx:pt>
          <cx:pt idx="103048">1</cx:pt>
          <cx:pt idx="103049">1</cx:pt>
          <cx:pt idx="103050">0</cx:pt>
          <cx:pt idx="103051">0</cx:pt>
          <cx:pt idx="103052">0</cx:pt>
          <cx:pt idx="103053">0</cx:pt>
          <cx:pt idx="103054">0</cx:pt>
          <cx:pt idx="103055">0</cx:pt>
          <cx:pt idx="103056">1</cx:pt>
          <cx:pt idx="103057">1</cx:pt>
          <cx:pt idx="103058">1</cx:pt>
          <cx:pt idx="103059">1</cx:pt>
          <cx:pt idx="103060">1</cx:pt>
          <cx:pt idx="103061">0</cx:pt>
          <cx:pt idx="103062">0</cx:pt>
          <cx:pt idx="103063">1</cx:pt>
          <cx:pt idx="103064">0</cx:pt>
          <cx:pt idx="103065">1</cx:pt>
          <cx:pt idx="103066">1</cx:pt>
          <cx:pt idx="103067">1</cx:pt>
          <cx:pt idx="103068">0</cx:pt>
          <cx:pt idx="103069">0</cx:pt>
          <cx:pt idx="103070">1</cx:pt>
          <cx:pt idx="103071">0</cx:pt>
          <cx:pt idx="103072">1</cx:pt>
          <cx:pt idx="103073">0</cx:pt>
          <cx:pt idx="103074">0</cx:pt>
          <cx:pt idx="103075">0</cx:pt>
          <cx:pt idx="103076">1</cx:pt>
          <cx:pt idx="103077">0</cx:pt>
          <cx:pt idx="103078">0</cx:pt>
          <cx:pt idx="103079">0</cx:pt>
          <cx:pt idx="103080">0</cx:pt>
          <cx:pt idx="103081">1</cx:pt>
          <cx:pt idx="103082">0</cx:pt>
          <cx:pt idx="103083">0</cx:pt>
          <cx:pt idx="103084">1</cx:pt>
          <cx:pt idx="103085">0</cx:pt>
          <cx:pt idx="103086">1</cx:pt>
          <cx:pt idx="103087">0</cx:pt>
          <cx:pt idx="103088">1</cx:pt>
          <cx:pt idx="103089">1</cx:pt>
          <cx:pt idx="103090">0</cx:pt>
          <cx:pt idx="103091">0</cx:pt>
          <cx:pt idx="103092">0</cx:pt>
          <cx:pt idx="103093">1</cx:pt>
          <cx:pt idx="103094">0</cx:pt>
          <cx:pt idx="103095">1</cx:pt>
          <cx:pt idx="103096">1</cx:pt>
          <cx:pt idx="103097">0</cx:pt>
          <cx:pt idx="103098">1</cx:pt>
          <cx:pt idx="103099">0</cx:pt>
          <cx:pt idx="103100">1</cx:pt>
          <cx:pt idx="103101">1</cx:pt>
          <cx:pt idx="103102">0</cx:pt>
          <cx:pt idx="103103">1</cx:pt>
          <cx:pt idx="103104">0</cx:pt>
          <cx:pt idx="103105">0</cx:pt>
          <cx:pt idx="103106">0</cx:pt>
          <cx:pt idx="103107">0</cx:pt>
          <cx:pt idx="103108">0</cx:pt>
          <cx:pt idx="103109">0</cx:pt>
          <cx:pt idx="103110">1</cx:pt>
          <cx:pt idx="103111">1</cx:pt>
          <cx:pt idx="103112">1</cx:pt>
          <cx:pt idx="103113">0</cx:pt>
          <cx:pt idx="103114">0</cx:pt>
          <cx:pt idx="103115">1</cx:pt>
          <cx:pt idx="103116">0</cx:pt>
          <cx:pt idx="103117">0</cx:pt>
          <cx:pt idx="103118">1</cx:pt>
          <cx:pt idx="103119">0</cx:pt>
          <cx:pt idx="103120">1</cx:pt>
          <cx:pt idx="103121">0</cx:pt>
          <cx:pt idx="103122">0</cx:pt>
          <cx:pt idx="103123">0</cx:pt>
          <cx:pt idx="103124">0</cx:pt>
          <cx:pt idx="103125">0</cx:pt>
          <cx:pt idx="103126">0</cx:pt>
          <cx:pt idx="103127">1</cx:pt>
          <cx:pt idx="103128">1</cx:pt>
          <cx:pt idx="103129">1</cx:pt>
          <cx:pt idx="103130">1</cx:pt>
          <cx:pt idx="103131">0</cx:pt>
          <cx:pt idx="103132">1</cx:pt>
          <cx:pt idx="103133">0</cx:pt>
          <cx:pt idx="103134">1</cx:pt>
          <cx:pt idx="103135">0</cx:pt>
          <cx:pt idx="103136">1</cx:pt>
          <cx:pt idx="103137">0</cx:pt>
          <cx:pt idx="103138">0</cx:pt>
          <cx:pt idx="103139">1</cx:pt>
          <cx:pt idx="103140">0</cx:pt>
          <cx:pt idx="103141">1</cx:pt>
          <cx:pt idx="103142">0</cx:pt>
          <cx:pt idx="103143">0</cx:pt>
          <cx:pt idx="103144">0</cx:pt>
          <cx:pt idx="103145">0</cx:pt>
          <cx:pt idx="103146">1</cx:pt>
          <cx:pt idx="103147">1</cx:pt>
          <cx:pt idx="103148">0</cx:pt>
          <cx:pt idx="103149">1</cx:pt>
          <cx:pt idx="103150">0</cx:pt>
          <cx:pt idx="103151">0</cx:pt>
          <cx:pt idx="103152">1</cx:pt>
          <cx:pt idx="103153">0</cx:pt>
          <cx:pt idx="103154">1</cx:pt>
          <cx:pt idx="103155">1</cx:pt>
          <cx:pt idx="103156">1</cx:pt>
          <cx:pt idx="103157">0</cx:pt>
          <cx:pt idx="103158">0</cx:pt>
          <cx:pt idx="103159">1</cx:pt>
          <cx:pt idx="103160">1</cx:pt>
          <cx:pt idx="103161">1</cx:pt>
          <cx:pt idx="103162">0</cx:pt>
          <cx:pt idx="103163">1</cx:pt>
          <cx:pt idx="103164">0</cx:pt>
          <cx:pt idx="103165">1</cx:pt>
          <cx:pt idx="103166">1</cx:pt>
          <cx:pt idx="103167">1</cx:pt>
          <cx:pt idx="103168">0</cx:pt>
          <cx:pt idx="103169">1</cx:pt>
          <cx:pt idx="103170">0</cx:pt>
          <cx:pt idx="103171">0</cx:pt>
          <cx:pt idx="103172">1</cx:pt>
          <cx:pt idx="103173">1</cx:pt>
          <cx:pt idx="103174">0</cx:pt>
          <cx:pt idx="103175">1</cx:pt>
          <cx:pt idx="103176">0</cx:pt>
          <cx:pt idx="103177">1</cx:pt>
          <cx:pt idx="103178">0</cx:pt>
          <cx:pt idx="103179">1</cx:pt>
          <cx:pt idx="103180">1</cx:pt>
          <cx:pt idx="103181">1</cx:pt>
          <cx:pt idx="103182">0</cx:pt>
          <cx:pt idx="103183">0</cx:pt>
          <cx:pt idx="103184">1</cx:pt>
          <cx:pt idx="103185">0</cx:pt>
          <cx:pt idx="103186">0</cx:pt>
          <cx:pt idx="103187">0</cx:pt>
          <cx:pt idx="103188">1</cx:pt>
          <cx:pt idx="103189">0</cx:pt>
          <cx:pt idx="103190">1</cx:pt>
          <cx:pt idx="103191">0</cx:pt>
          <cx:pt idx="103192">0</cx:pt>
          <cx:pt idx="103193">0</cx:pt>
          <cx:pt idx="103194">1</cx:pt>
          <cx:pt idx="103195">0</cx:pt>
          <cx:pt idx="103196">0</cx:pt>
          <cx:pt idx="103197">1</cx:pt>
          <cx:pt idx="103198">1</cx:pt>
          <cx:pt idx="103199">0</cx:pt>
          <cx:pt idx="103200">1</cx:pt>
          <cx:pt idx="103201">0</cx:pt>
          <cx:pt idx="103202">0</cx:pt>
          <cx:pt idx="103203">0</cx:pt>
          <cx:pt idx="103204">0</cx:pt>
          <cx:pt idx="103205">1</cx:pt>
          <cx:pt idx="103206">1</cx:pt>
          <cx:pt idx="103207">0</cx:pt>
          <cx:pt idx="103208">0</cx:pt>
          <cx:pt idx="103209">1</cx:pt>
          <cx:pt idx="103210">1</cx:pt>
          <cx:pt idx="103211">0</cx:pt>
          <cx:pt idx="103212">1</cx:pt>
          <cx:pt idx="103213">0</cx:pt>
          <cx:pt idx="103214">0</cx:pt>
          <cx:pt idx="103215">0</cx:pt>
          <cx:pt idx="103216">0</cx:pt>
          <cx:pt idx="103217">0</cx:pt>
          <cx:pt idx="103218">1</cx:pt>
          <cx:pt idx="103219">0</cx:pt>
          <cx:pt idx="103220">1</cx:pt>
          <cx:pt idx="103221">1</cx:pt>
          <cx:pt idx="103222">1</cx:pt>
          <cx:pt idx="103223">1</cx:pt>
          <cx:pt idx="103224">0</cx:pt>
          <cx:pt idx="103225">0</cx:pt>
          <cx:pt idx="103226">0</cx:pt>
          <cx:pt idx="103227">0</cx:pt>
          <cx:pt idx="103228">0</cx:pt>
          <cx:pt idx="103229">1</cx:pt>
          <cx:pt idx="103230">1</cx:pt>
          <cx:pt idx="103231">1</cx:pt>
          <cx:pt idx="103232">1</cx:pt>
          <cx:pt idx="103233">0</cx:pt>
          <cx:pt idx="103234">0</cx:pt>
          <cx:pt idx="103235">0</cx:pt>
          <cx:pt idx="103236">1</cx:pt>
          <cx:pt idx="103237">1</cx:pt>
          <cx:pt idx="103238">0</cx:pt>
          <cx:pt idx="103239">0</cx:pt>
          <cx:pt idx="103240">1</cx:pt>
          <cx:pt idx="103241">1</cx:pt>
          <cx:pt idx="103242">0</cx:pt>
          <cx:pt idx="103243">0</cx:pt>
          <cx:pt idx="103244">1</cx:pt>
          <cx:pt idx="103245">0</cx:pt>
          <cx:pt idx="103246">0</cx:pt>
          <cx:pt idx="103247">0</cx:pt>
          <cx:pt idx="103248">1</cx:pt>
          <cx:pt idx="103249">1</cx:pt>
          <cx:pt idx="103250">1</cx:pt>
          <cx:pt idx="103251">1</cx:pt>
          <cx:pt idx="103252">0</cx:pt>
          <cx:pt idx="103253">0</cx:pt>
          <cx:pt idx="103254">1</cx:pt>
          <cx:pt idx="103255">1</cx:pt>
          <cx:pt idx="103256">1</cx:pt>
          <cx:pt idx="103257">1</cx:pt>
          <cx:pt idx="103258">1</cx:pt>
          <cx:pt idx="103259">0</cx:pt>
          <cx:pt idx="103260">0</cx:pt>
          <cx:pt idx="103261">0</cx:pt>
          <cx:pt idx="103262">1</cx:pt>
          <cx:pt idx="103263">0</cx:pt>
          <cx:pt idx="103264">0</cx:pt>
          <cx:pt idx="103265">0</cx:pt>
          <cx:pt idx="103266">0</cx:pt>
          <cx:pt idx="103267">0</cx:pt>
          <cx:pt idx="103268">0</cx:pt>
          <cx:pt idx="103269">1</cx:pt>
          <cx:pt idx="103270">1</cx:pt>
          <cx:pt idx="103271">0</cx:pt>
          <cx:pt idx="103272">0</cx:pt>
          <cx:pt idx="103273">0</cx:pt>
          <cx:pt idx="103274">1</cx:pt>
          <cx:pt idx="103275">1</cx:pt>
          <cx:pt idx="103276">0</cx:pt>
          <cx:pt idx="103277">0</cx:pt>
          <cx:pt idx="103278">0</cx:pt>
          <cx:pt idx="103279">1</cx:pt>
          <cx:pt idx="103280">0</cx:pt>
          <cx:pt idx="103281">0</cx:pt>
          <cx:pt idx="103282">0</cx:pt>
          <cx:pt idx="103283">0</cx:pt>
          <cx:pt idx="103284">1</cx:pt>
          <cx:pt idx="103285">1</cx:pt>
          <cx:pt idx="103286">1</cx:pt>
          <cx:pt idx="103287">1</cx:pt>
          <cx:pt idx="103288">0</cx:pt>
          <cx:pt idx="103289">0</cx:pt>
          <cx:pt idx="103290">0</cx:pt>
          <cx:pt idx="103291">0</cx:pt>
          <cx:pt idx="103292">1</cx:pt>
          <cx:pt idx="103293">0</cx:pt>
          <cx:pt idx="103294">1</cx:pt>
          <cx:pt idx="103295">1</cx:pt>
          <cx:pt idx="103296">0</cx:pt>
          <cx:pt idx="103297">0</cx:pt>
          <cx:pt idx="103298">1</cx:pt>
          <cx:pt idx="103299">0</cx:pt>
          <cx:pt idx="103300">1</cx:pt>
          <cx:pt idx="103301">0</cx:pt>
          <cx:pt idx="103302">0</cx:pt>
          <cx:pt idx="103303">0</cx:pt>
          <cx:pt idx="103304">1</cx:pt>
          <cx:pt idx="103305">0</cx:pt>
          <cx:pt idx="103306">1</cx:pt>
          <cx:pt idx="103307">1</cx:pt>
          <cx:pt idx="103308">0</cx:pt>
          <cx:pt idx="103309">1</cx:pt>
          <cx:pt idx="103310">1</cx:pt>
          <cx:pt idx="103311">0</cx:pt>
          <cx:pt idx="103312">0</cx:pt>
          <cx:pt idx="103313">1</cx:pt>
          <cx:pt idx="103314">0</cx:pt>
          <cx:pt idx="103315">1</cx:pt>
          <cx:pt idx="103316">0</cx:pt>
          <cx:pt idx="103317">0</cx:pt>
          <cx:pt idx="103318">0</cx:pt>
          <cx:pt idx="103319">1</cx:pt>
          <cx:pt idx="103320">1</cx:pt>
          <cx:pt idx="103321">1</cx:pt>
          <cx:pt idx="103322">1</cx:pt>
          <cx:pt idx="103323">1</cx:pt>
          <cx:pt idx="103324">0</cx:pt>
          <cx:pt idx="103325">0</cx:pt>
          <cx:pt idx="103326">1</cx:pt>
          <cx:pt idx="103327">1</cx:pt>
          <cx:pt idx="103328">1</cx:pt>
          <cx:pt idx="103329">1</cx:pt>
          <cx:pt idx="103330">0</cx:pt>
          <cx:pt idx="103331">1</cx:pt>
          <cx:pt idx="103332">0</cx:pt>
          <cx:pt idx="103333">1</cx:pt>
          <cx:pt idx="103334">0</cx:pt>
          <cx:pt idx="103335">0</cx:pt>
          <cx:pt idx="103336">0</cx:pt>
          <cx:pt idx="103337">0</cx:pt>
          <cx:pt idx="103338">1</cx:pt>
          <cx:pt idx="103339">0</cx:pt>
          <cx:pt idx="103340">0</cx:pt>
          <cx:pt idx="103341">0</cx:pt>
          <cx:pt idx="103342">1</cx:pt>
          <cx:pt idx="103343">0</cx:pt>
          <cx:pt idx="103344">1</cx:pt>
          <cx:pt idx="103345">0</cx:pt>
          <cx:pt idx="103346">0</cx:pt>
          <cx:pt idx="103347">0</cx:pt>
          <cx:pt idx="103348">1</cx:pt>
          <cx:pt idx="103349">0</cx:pt>
          <cx:pt idx="103350">0</cx:pt>
          <cx:pt idx="103351">1</cx:pt>
          <cx:pt idx="103352">0</cx:pt>
          <cx:pt idx="103353">1</cx:pt>
          <cx:pt idx="103354">0</cx:pt>
          <cx:pt idx="103355">0</cx:pt>
          <cx:pt idx="103356">0</cx:pt>
          <cx:pt idx="103357">1</cx:pt>
          <cx:pt idx="103358">1</cx:pt>
          <cx:pt idx="103359">1</cx:pt>
          <cx:pt idx="103360">0</cx:pt>
          <cx:pt idx="103361">1</cx:pt>
          <cx:pt idx="103362">1</cx:pt>
          <cx:pt idx="103363">0</cx:pt>
          <cx:pt idx="103364">1</cx:pt>
          <cx:pt idx="103365">0</cx:pt>
          <cx:pt idx="103366">0</cx:pt>
          <cx:pt idx="103367">0</cx:pt>
          <cx:pt idx="103368">0</cx:pt>
          <cx:pt idx="103369">0</cx:pt>
          <cx:pt idx="103370">0</cx:pt>
          <cx:pt idx="103371">1</cx:pt>
          <cx:pt idx="103372">1</cx:pt>
          <cx:pt idx="103373">1</cx:pt>
          <cx:pt idx="103374">0</cx:pt>
          <cx:pt idx="103375">1</cx:pt>
          <cx:pt idx="103376">0</cx:pt>
          <cx:pt idx="103377">1</cx:pt>
          <cx:pt idx="103378">1</cx:pt>
          <cx:pt idx="103379">1</cx:pt>
          <cx:pt idx="103380">1</cx:pt>
          <cx:pt idx="103381">0</cx:pt>
          <cx:pt idx="103382">0</cx:pt>
          <cx:pt idx="103383">1</cx:pt>
          <cx:pt idx="103384">0</cx:pt>
          <cx:pt idx="103385">0</cx:pt>
          <cx:pt idx="103386">1</cx:pt>
          <cx:pt idx="103387">0</cx:pt>
          <cx:pt idx="103388">0</cx:pt>
          <cx:pt idx="103389">0</cx:pt>
          <cx:pt idx="103390">1</cx:pt>
          <cx:pt idx="103391">1</cx:pt>
          <cx:pt idx="103392">0</cx:pt>
          <cx:pt idx="103393">0</cx:pt>
          <cx:pt idx="103394">0</cx:pt>
          <cx:pt idx="103395">0</cx:pt>
          <cx:pt idx="103396">0</cx:pt>
          <cx:pt idx="103397">0</cx:pt>
          <cx:pt idx="103398">0</cx:pt>
          <cx:pt idx="103399">0</cx:pt>
          <cx:pt idx="103400">0</cx:pt>
          <cx:pt idx="103401">0</cx:pt>
          <cx:pt idx="103402">0</cx:pt>
          <cx:pt idx="103403">1</cx:pt>
          <cx:pt idx="103404">0</cx:pt>
          <cx:pt idx="103405">0</cx:pt>
          <cx:pt idx="103406">1</cx:pt>
          <cx:pt idx="103407">0</cx:pt>
          <cx:pt idx="103408">0</cx:pt>
          <cx:pt idx="103409">0</cx:pt>
          <cx:pt idx="103410">0</cx:pt>
          <cx:pt idx="103411">0</cx:pt>
          <cx:pt idx="103412">1</cx:pt>
          <cx:pt idx="103413">0</cx:pt>
          <cx:pt idx="103414">1</cx:pt>
          <cx:pt idx="103415">0</cx:pt>
          <cx:pt idx="103416">0</cx:pt>
          <cx:pt idx="103417">0</cx:pt>
          <cx:pt idx="103418">0</cx:pt>
          <cx:pt idx="103419">0</cx:pt>
          <cx:pt idx="103420">0</cx:pt>
          <cx:pt idx="103421">0</cx:pt>
          <cx:pt idx="103422">1</cx:pt>
          <cx:pt idx="103423">0</cx:pt>
          <cx:pt idx="103424">0</cx:pt>
          <cx:pt idx="103425">1</cx:pt>
          <cx:pt idx="103426">1</cx:pt>
          <cx:pt idx="103427">1</cx:pt>
          <cx:pt idx="103428">1</cx:pt>
          <cx:pt idx="103429">1</cx:pt>
          <cx:pt idx="103430">0</cx:pt>
          <cx:pt idx="103431">0</cx:pt>
          <cx:pt idx="103432">0</cx:pt>
          <cx:pt idx="103433">1</cx:pt>
          <cx:pt idx="103434">1</cx:pt>
          <cx:pt idx="103435">0</cx:pt>
          <cx:pt idx="103436">0</cx:pt>
          <cx:pt idx="103437">0</cx:pt>
          <cx:pt idx="103438">0</cx:pt>
          <cx:pt idx="103439">0</cx:pt>
          <cx:pt idx="103440">1</cx:pt>
          <cx:pt idx="103441">1</cx:pt>
          <cx:pt idx="103442">0</cx:pt>
          <cx:pt idx="103443">1</cx:pt>
          <cx:pt idx="103444">1</cx:pt>
          <cx:pt idx="103445">0</cx:pt>
          <cx:pt idx="103446">0</cx:pt>
          <cx:pt idx="103447">0</cx:pt>
          <cx:pt idx="103448">1</cx:pt>
          <cx:pt idx="103449">0</cx:pt>
          <cx:pt idx="103450">1</cx:pt>
          <cx:pt idx="103451">0</cx:pt>
          <cx:pt idx="103452">1</cx:pt>
          <cx:pt idx="103453">0</cx:pt>
          <cx:pt idx="103454">1</cx:pt>
          <cx:pt idx="103455">1</cx:pt>
          <cx:pt idx="103456">0</cx:pt>
          <cx:pt idx="103457">0</cx:pt>
          <cx:pt idx="103458">1</cx:pt>
          <cx:pt idx="103459">1</cx:pt>
          <cx:pt idx="103460">0</cx:pt>
          <cx:pt idx="103461">0</cx:pt>
          <cx:pt idx="103462">0</cx:pt>
          <cx:pt idx="103463">0</cx:pt>
          <cx:pt idx="103464">0</cx:pt>
          <cx:pt idx="103465">1</cx:pt>
          <cx:pt idx="103466">1</cx:pt>
          <cx:pt idx="103467">1</cx:pt>
          <cx:pt idx="103468">1</cx:pt>
          <cx:pt idx="103469">0</cx:pt>
          <cx:pt idx="103470">1</cx:pt>
          <cx:pt idx="103471">0</cx:pt>
          <cx:pt idx="103472">0</cx:pt>
          <cx:pt idx="103473">0</cx:pt>
          <cx:pt idx="103474">0</cx:pt>
          <cx:pt idx="103475">1</cx:pt>
          <cx:pt idx="103476">0</cx:pt>
          <cx:pt idx="103477">0</cx:pt>
          <cx:pt idx="103478">1</cx:pt>
          <cx:pt idx="103479">0</cx:pt>
          <cx:pt idx="103480">0</cx:pt>
          <cx:pt idx="103481">0</cx:pt>
          <cx:pt idx="103482">1</cx:pt>
          <cx:pt idx="103483">1</cx:pt>
          <cx:pt idx="103484">0</cx:pt>
          <cx:pt idx="103485">1</cx:pt>
          <cx:pt idx="103486">0</cx:pt>
          <cx:pt idx="103487">0</cx:pt>
          <cx:pt idx="103488">0</cx:pt>
          <cx:pt idx="103489">0</cx:pt>
          <cx:pt idx="103490">0</cx:pt>
          <cx:pt idx="103491">0</cx:pt>
          <cx:pt idx="103492">1</cx:pt>
          <cx:pt idx="103493">0</cx:pt>
          <cx:pt idx="103494">0</cx:pt>
          <cx:pt idx="103495">1</cx:pt>
          <cx:pt idx="103496">0</cx:pt>
          <cx:pt idx="103497">1</cx:pt>
          <cx:pt idx="103498">1</cx:pt>
          <cx:pt idx="103499">0</cx:pt>
          <cx:pt idx="103500">0</cx:pt>
          <cx:pt idx="103501">0</cx:pt>
          <cx:pt idx="103502">0</cx:pt>
          <cx:pt idx="103503">1</cx:pt>
          <cx:pt idx="103504">0</cx:pt>
          <cx:pt idx="103505">1</cx:pt>
          <cx:pt idx="103506">1</cx:pt>
          <cx:pt idx="103507">1</cx:pt>
          <cx:pt idx="103508">1</cx:pt>
          <cx:pt idx="103509">1</cx:pt>
          <cx:pt idx="103510">1</cx:pt>
          <cx:pt idx="103511">1</cx:pt>
          <cx:pt idx="103512">1</cx:pt>
          <cx:pt idx="103513">0</cx:pt>
          <cx:pt idx="103514">1</cx:pt>
          <cx:pt idx="103515">1</cx:pt>
          <cx:pt idx="103516">0</cx:pt>
          <cx:pt idx="103517">1</cx:pt>
          <cx:pt idx="103518">0</cx:pt>
          <cx:pt idx="103519">1</cx:pt>
          <cx:pt idx="103520">0</cx:pt>
          <cx:pt idx="103521">1</cx:pt>
          <cx:pt idx="103522">0</cx:pt>
          <cx:pt idx="103523">0</cx:pt>
          <cx:pt idx="103524">0</cx:pt>
          <cx:pt idx="103525">1</cx:pt>
          <cx:pt idx="103526">1</cx:pt>
          <cx:pt idx="103527">0</cx:pt>
          <cx:pt idx="103528">1</cx:pt>
          <cx:pt idx="103529">1</cx:pt>
          <cx:pt idx="103530">0</cx:pt>
          <cx:pt idx="103531">1</cx:pt>
          <cx:pt idx="103532">0</cx:pt>
          <cx:pt idx="103533">1</cx:pt>
          <cx:pt idx="103534">1</cx:pt>
          <cx:pt idx="103535">0</cx:pt>
          <cx:pt idx="103536">0</cx:pt>
          <cx:pt idx="103537">0</cx:pt>
          <cx:pt idx="103538">0</cx:pt>
          <cx:pt idx="103539">1</cx:pt>
          <cx:pt idx="103540">0</cx:pt>
          <cx:pt idx="103541">0</cx:pt>
          <cx:pt idx="103542">0</cx:pt>
          <cx:pt idx="103543">0</cx:pt>
          <cx:pt idx="103544">1</cx:pt>
          <cx:pt idx="103545">1</cx:pt>
          <cx:pt idx="103546">0</cx:pt>
          <cx:pt idx="103547">1</cx:pt>
          <cx:pt idx="103548">1</cx:pt>
          <cx:pt idx="103549">0</cx:pt>
          <cx:pt idx="103550">1</cx:pt>
          <cx:pt idx="103551">0</cx:pt>
          <cx:pt idx="103552">0</cx:pt>
          <cx:pt idx="103553">1</cx:pt>
          <cx:pt idx="103554">1</cx:pt>
          <cx:pt idx="103555">1</cx:pt>
          <cx:pt idx="103556">0</cx:pt>
          <cx:pt idx="103557">0</cx:pt>
          <cx:pt idx="103558">1</cx:pt>
          <cx:pt idx="103559">1</cx:pt>
          <cx:pt idx="103560">1</cx:pt>
          <cx:pt idx="103561">0</cx:pt>
          <cx:pt idx="103562">1</cx:pt>
          <cx:pt idx="103563">1</cx:pt>
          <cx:pt idx="103564">1</cx:pt>
          <cx:pt idx="103565">1</cx:pt>
          <cx:pt idx="103566">0</cx:pt>
          <cx:pt idx="103567">0</cx:pt>
          <cx:pt idx="103568">1</cx:pt>
          <cx:pt idx="103569">1</cx:pt>
          <cx:pt idx="103570">0</cx:pt>
          <cx:pt idx="103571">0</cx:pt>
          <cx:pt idx="103572">1</cx:pt>
          <cx:pt idx="103573">0</cx:pt>
          <cx:pt idx="103574">1</cx:pt>
          <cx:pt idx="103575">1</cx:pt>
          <cx:pt idx="103576">1</cx:pt>
          <cx:pt idx="103577">1</cx:pt>
          <cx:pt idx="103578">1</cx:pt>
          <cx:pt idx="103579">1</cx:pt>
          <cx:pt idx="103580">1</cx:pt>
          <cx:pt idx="103581">1</cx:pt>
          <cx:pt idx="103582">0</cx:pt>
          <cx:pt idx="103583">0</cx:pt>
          <cx:pt idx="103584">1</cx:pt>
          <cx:pt idx="103585">0</cx:pt>
          <cx:pt idx="103586">0</cx:pt>
          <cx:pt idx="103587">0</cx:pt>
          <cx:pt idx="103588">0</cx:pt>
          <cx:pt idx="103589">0</cx:pt>
          <cx:pt idx="103590">0</cx:pt>
          <cx:pt idx="103591">0</cx:pt>
          <cx:pt idx="103592">1</cx:pt>
          <cx:pt idx="103593">0</cx:pt>
          <cx:pt idx="103594">0</cx:pt>
          <cx:pt idx="103595">0</cx:pt>
          <cx:pt idx="103596">1</cx:pt>
          <cx:pt idx="103597">0</cx:pt>
          <cx:pt idx="103598">0</cx:pt>
          <cx:pt idx="103599">0</cx:pt>
          <cx:pt idx="103600">1</cx:pt>
          <cx:pt idx="103601">0</cx:pt>
          <cx:pt idx="103602">1</cx:pt>
          <cx:pt idx="103603">1</cx:pt>
          <cx:pt idx="103604">1</cx:pt>
          <cx:pt idx="103605">0</cx:pt>
          <cx:pt idx="103606">1</cx:pt>
          <cx:pt idx="103607">0</cx:pt>
          <cx:pt idx="103608">0</cx:pt>
          <cx:pt idx="103609">1</cx:pt>
          <cx:pt idx="103610">0</cx:pt>
          <cx:pt idx="103611">0</cx:pt>
          <cx:pt idx="103612">1</cx:pt>
          <cx:pt idx="103613">0</cx:pt>
          <cx:pt idx="103614">0</cx:pt>
          <cx:pt idx="103615">0</cx:pt>
          <cx:pt idx="103616">0</cx:pt>
          <cx:pt idx="103617">0</cx:pt>
          <cx:pt idx="103618">1</cx:pt>
          <cx:pt idx="103619">0</cx:pt>
          <cx:pt idx="103620">0</cx:pt>
          <cx:pt idx="103621">0</cx:pt>
          <cx:pt idx="103622">0</cx:pt>
          <cx:pt idx="103623">0</cx:pt>
          <cx:pt idx="103624">1</cx:pt>
          <cx:pt idx="103625">0</cx:pt>
          <cx:pt idx="103626">0</cx:pt>
          <cx:pt idx="103627">1</cx:pt>
          <cx:pt idx="103628">0</cx:pt>
          <cx:pt idx="103629">0</cx:pt>
          <cx:pt idx="103630">1</cx:pt>
          <cx:pt idx="103631">0</cx:pt>
          <cx:pt idx="103632">1</cx:pt>
          <cx:pt idx="103633">1</cx:pt>
          <cx:pt idx="103634">1</cx:pt>
          <cx:pt idx="103635">1</cx:pt>
          <cx:pt idx="103636">0</cx:pt>
          <cx:pt idx="103637">1</cx:pt>
          <cx:pt idx="103638">1</cx:pt>
          <cx:pt idx="103639">0</cx:pt>
          <cx:pt idx="103640">0</cx:pt>
          <cx:pt idx="103641">0</cx:pt>
          <cx:pt idx="103642">0</cx:pt>
          <cx:pt idx="103643">1</cx:pt>
          <cx:pt idx="103644">0</cx:pt>
          <cx:pt idx="103645">0</cx:pt>
          <cx:pt idx="103646">0</cx:pt>
          <cx:pt idx="103647">0</cx:pt>
          <cx:pt idx="103648">1</cx:pt>
          <cx:pt idx="103649">0</cx:pt>
          <cx:pt idx="103650">0</cx:pt>
          <cx:pt idx="103651">1</cx:pt>
          <cx:pt idx="103652">0</cx:pt>
          <cx:pt idx="103653">1</cx:pt>
          <cx:pt idx="103654">0</cx:pt>
          <cx:pt idx="103655">0</cx:pt>
          <cx:pt idx="103656">0</cx:pt>
          <cx:pt idx="103657">1</cx:pt>
          <cx:pt idx="103658">0</cx:pt>
          <cx:pt idx="103659">1</cx:pt>
          <cx:pt idx="103660">0</cx:pt>
          <cx:pt idx="103661">1</cx:pt>
          <cx:pt idx="103662">0</cx:pt>
          <cx:pt idx="103663">0</cx:pt>
          <cx:pt idx="103664">0</cx:pt>
          <cx:pt idx="103665">0</cx:pt>
          <cx:pt idx="103666">1</cx:pt>
          <cx:pt idx="103667">1</cx:pt>
          <cx:pt idx="103668">1</cx:pt>
          <cx:pt idx="103669">1</cx:pt>
          <cx:pt idx="103670">0</cx:pt>
          <cx:pt idx="103671">0</cx:pt>
          <cx:pt idx="103672">0</cx:pt>
          <cx:pt idx="103673">1</cx:pt>
          <cx:pt idx="103674">1</cx:pt>
          <cx:pt idx="103675">0</cx:pt>
          <cx:pt idx="103676">0</cx:pt>
          <cx:pt idx="103677">1</cx:pt>
          <cx:pt idx="103678">0</cx:pt>
          <cx:pt idx="103679">1</cx:pt>
          <cx:pt idx="103680">0</cx:pt>
          <cx:pt idx="103681">1</cx:pt>
          <cx:pt idx="103682">0</cx:pt>
          <cx:pt idx="103683">1</cx:pt>
          <cx:pt idx="103684">0</cx:pt>
          <cx:pt idx="103685">0</cx:pt>
          <cx:pt idx="103686">1</cx:pt>
          <cx:pt idx="103687">1</cx:pt>
          <cx:pt idx="103688">1</cx:pt>
          <cx:pt idx="103689">0</cx:pt>
          <cx:pt idx="103690">0</cx:pt>
          <cx:pt idx="103691">0</cx:pt>
          <cx:pt idx="103692">0</cx:pt>
          <cx:pt idx="103693">0</cx:pt>
          <cx:pt idx="103694">0</cx:pt>
          <cx:pt idx="103695">0</cx:pt>
          <cx:pt idx="103696">0</cx:pt>
          <cx:pt idx="103697">1</cx:pt>
          <cx:pt idx="103698">1</cx:pt>
          <cx:pt idx="103699">1</cx:pt>
          <cx:pt idx="103700">0</cx:pt>
          <cx:pt idx="103701">0</cx:pt>
          <cx:pt idx="103702">0</cx:pt>
          <cx:pt idx="103703">1</cx:pt>
          <cx:pt idx="103704">0</cx:pt>
          <cx:pt idx="103705">1</cx:pt>
          <cx:pt idx="103706">1</cx:pt>
          <cx:pt idx="103707">1</cx:pt>
          <cx:pt idx="103708">1</cx:pt>
          <cx:pt idx="103709">1</cx:pt>
          <cx:pt idx="103710">1</cx:pt>
          <cx:pt idx="103711">1</cx:pt>
          <cx:pt idx="103712">0</cx:pt>
          <cx:pt idx="103713">1</cx:pt>
          <cx:pt idx="103714">0</cx:pt>
          <cx:pt idx="103715">0</cx:pt>
          <cx:pt idx="103716">0</cx:pt>
          <cx:pt idx="103717">1</cx:pt>
          <cx:pt idx="103718">0</cx:pt>
          <cx:pt idx="103719">1</cx:pt>
          <cx:pt idx="103720">1</cx:pt>
          <cx:pt idx="103721">1</cx:pt>
          <cx:pt idx="103722">0</cx:pt>
          <cx:pt idx="103723">1</cx:pt>
          <cx:pt idx="103724">0</cx:pt>
          <cx:pt idx="103725">0</cx:pt>
          <cx:pt idx="103726">0</cx:pt>
          <cx:pt idx="103727">0</cx:pt>
          <cx:pt idx="103728">1</cx:pt>
          <cx:pt idx="103729">0</cx:pt>
          <cx:pt idx="103730">0</cx:pt>
          <cx:pt idx="103731">1</cx:pt>
          <cx:pt idx="103732">1</cx:pt>
          <cx:pt idx="103733">1</cx:pt>
          <cx:pt idx="103734">1</cx:pt>
          <cx:pt idx="103735">0</cx:pt>
          <cx:pt idx="103736">0</cx:pt>
          <cx:pt idx="103737">1</cx:pt>
          <cx:pt idx="103738">1</cx:pt>
          <cx:pt idx="103739">1</cx:pt>
          <cx:pt idx="103740">1</cx:pt>
          <cx:pt idx="103741">0</cx:pt>
          <cx:pt idx="103742">0</cx:pt>
          <cx:pt idx="103743">1</cx:pt>
          <cx:pt idx="103744">0</cx:pt>
          <cx:pt idx="103745">1</cx:pt>
          <cx:pt idx="103746">1</cx:pt>
          <cx:pt idx="103747">1</cx:pt>
          <cx:pt idx="103748">0</cx:pt>
          <cx:pt idx="103749">0</cx:pt>
          <cx:pt idx="103750">0</cx:pt>
          <cx:pt idx="103751">0</cx:pt>
          <cx:pt idx="103752">1</cx:pt>
          <cx:pt idx="103753">0</cx:pt>
          <cx:pt idx="103754">1</cx:pt>
          <cx:pt idx="103755">0</cx:pt>
          <cx:pt idx="103756">0</cx:pt>
          <cx:pt idx="103757">1</cx:pt>
          <cx:pt idx="103758">0</cx:pt>
          <cx:pt idx="103759">0</cx:pt>
          <cx:pt idx="103760">0</cx:pt>
          <cx:pt idx="103761">0</cx:pt>
          <cx:pt idx="103762">0</cx:pt>
          <cx:pt idx="103763">1</cx:pt>
          <cx:pt idx="103764">1</cx:pt>
          <cx:pt idx="103765">1</cx:pt>
          <cx:pt idx="103766">1</cx:pt>
          <cx:pt idx="103767">1</cx:pt>
          <cx:pt idx="103768">0</cx:pt>
          <cx:pt idx="103769">1</cx:pt>
          <cx:pt idx="103770">1</cx:pt>
          <cx:pt idx="103771">1</cx:pt>
          <cx:pt idx="103772">1</cx:pt>
          <cx:pt idx="103773">0</cx:pt>
          <cx:pt idx="103774">0</cx:pt>
          <cx:pt idx="103775">1</cx:pt>
          <cx:pt idx="103776">1</cx:pt>
          <cx:pt idx="103777">1</cx:pt>
          <cx:pt idx="103778">0</cx:pt>
          <cx:pt idx="103779">0</cx:pt>
          <cx:pt idx="103780">0</cx:pt>
          <cx:pt idx="103781">1</cx:pt>
          <cx:pt idx="103782">1</cx:pt>
          <cx:pt idx="103783">0</cx:pt>
          <cx:pt idx="103784">0</cx:pt>
          <cx:pt idx="103785">0</cx:pt>
          <cx:pt idx="103786">1</cx:pt>
          <cx:pt idx="103787">0</cx:pt>
          <cx:pt idx="103788">0</cx:pt>
          <cx:pt idx="103789">1</cx:pt>
          <cx:pt idx="103790">0</cx:pt>
          <cx:pt idx="103791">0</cx:pt>
          <cx:pt idx="103792">1</cx:pt>
          <cx:pt idx="103793">1</cx:pt>
          <cx:pt idx="103794">1</cx:pt>
          <cx:pt idx="103795">1</cx:pt>
          <cx:pt idx="103796">0</cx:pt>
          <cx:pt idx="103797">1</cx:pt>
          <cx:pt idx="103798">1</cx:pt>
          <cx:pt idx="103799">0</cx:pt>
          <cx:pt idx="103800">1</cx:pt>
          <cx:pt idx="103801">0</cx:pt>
          <cx:pt idx="103802">0</cx:pt>
          <cx:pt idx="103803">0</cx:pt>
          <cx:pt idx="103804">0</cx:pt>
          <cx:pt idx="103805">0</cx:pt>
          <cx:pt idx="103806">0</cx:pt>
          <cx:pt idx="103807">1</cx:pt>
          <cx:pt idx="103808">1</cx:pt>
          <cx:pt idx="103809">1</cx:pt>
          <cx:pt idx="103810">1</cx:pt>
          <cx:pt idx="103811">0</cx:pt>
          <cx:pt idx="103812">0</cx:pt>
          <cx:pt idx="103813">0</cx:pt>
          <cx:pt idx="103814">0</cx:pt>
          <cx:pt idx="103815">1</cx:pt>
          <cx:pt idx="103816">1</cx:pt>
          <cx:pt idx="103817">1</cx:pt>
          <cx:pt idx="103818">0</cx:pt>
          <cx:pt idx="103819">1</cx:pt>
          <cx:pt idx="103820">0</cx:pt>
          <cx:pt idx="103821">0</cx:pt>
          <cx:pt idx="103822">1</cx:pt>
          <cx:pt idx="103823">0</cx:pt>
          <cx:pt idx="103824">1</cx:pt>
          <cx:pt idx="103825">1</cx:pt>
          <cx:pt idx="103826">0</cx:pt>
          <cx:pt idx="103827">1</cx:pt>
          <cx:pt idx="103828">1</cx:pt>
          <cx:pt idx="103829">1</cx:pt>
          <cx:pt idx="103830">0</cx:pt>
          <cx:pt idx="103831">0</cx:pt>
          <cx:pt idx="103832">1</cx:pt>
          <cx:pt idx="103833">1</cx:pt>
          <cx:pt idx="103834">1</cx:pt>
          <cx:pt idx="103835">1</cx:pt>
          <cx:pt idx="103836">1</cx:pt>
          <cx:pt idx="103837">0</cx:pt>
          <cx:pt idx="103838">1</cx:pt>
          <cx:pt idx="103839">0</cx:pt>
          <cx:pt idx="103840">0</cx:pt>
          <cx:pt idx="103841">0</cx:pt>
          <cx:pt idx="103842">1</cx:pt>
          <cx:pt idx="103843">1</cx:pt>
          <cx:pt idx="103844">1</cx:pt>
          <cx:pt idx="103845">0</cx:pt>
          <cx:pt idx="103846">0</cx:pt>
          <cx:pt idx="103847">1</cx:pt>
          <cx:pt idx="103848">0</cx:pt>
          <cx:pt idx="103849">1</cx:pt>
          <cx:pt idx="103850">0</cx:pt>
          <cx:pt idx="103851">0</cx:pt>
          <cx:pt idx="103852">0</cx:pt>
          <cx:pt idx="103853">1</cx:pt>
          <cx:pt idx="103854">1</cx:pt>
          <cx:pt idx="103855">0</cx:pt>
          <cx:pt idx="103856">0</cx:pt>
          <cx:pt idx="103857">0</cx:pt>
          <cx:pt idx="103858">1</cx:pt>
          <cx:pt idx="103859">1</cx:pt>
          <cx:pt idx="103860">0</cx:pt>
          <cx:pt idx="103861">1</cx:pt>
          <cx:pt idx="103862">0</cx:pt>
          <cx:pt idx="103863">0</cx:pt>
          <cx:pt idx="103864">0</cx:pt>
          <cx:pt idx="103865">1</cx:pt>
          <cx:pt idx="103866">0</cx:pt>
          <cx:pt idx="103867">0</cx:pt>
          <cx:pt idx="103868">0</cx:pt>
          <cx:pt idx="103869">0</cx:pt>
          <cx:pt idx="103870">1</cx:pt>
          <cx:pt idx="103871">0</cx:pt>
          <cx:pt idx="103872">1</cx:pt>
          <cx:pt idx="103873">0</cx:pt>
          <cx:pt idx="103874">0</cx:pt>
          <cx:pt idx="103875">1</cx:pt>
          <cx:pt idx="103876">1</cx:pt>
          <cx:pt idx="103877">1</cx:pt>
          <cx:pt idx="103878">0</cx:pt>
          <cx:pt idx="103879">1</cx:pt>
          <cx:pt idx="103880">1</cx:pt>
          <cx:pt idx="103881">1</cx:pt>
          <cx:pt idx="103882">0</cx:pt>
          <cx:pt idx="103883">0</cx:pt>
          <cx:pt idx="103884">0</cx:pt>
          <cx:pt idx="103885">1</cx:pt>
          <cx:pt idx="103886">0</cx:pt>
          <cx:pt idx="103887">1</cx:pt>
          <cx:pt idx="103888">0</cx:pt>
          <cx:pt idx="103889">1</cx:pt>
          <cx:pt idx="103890">1</cx:pt>
          <cx:pt idx="103891">1</cx:pt>
          <cx:pt idx="103892">0</cx:pt>
          <cx:pt idx="103893">0</cx:pt>
          <cx:pt idx="103894">1</cx:pt>
          <cx:pt idx="103895">0</cx:pt>
          <cx:pt idx="103896">0</cx:pt>
          <cx:pt idx="103897">1</cx:pt>
          <cx:pt idx="103898">0</cx:pt>
          <cx:pt idx="103899">0</cx:pt>
          <cx:pt idx="103900">1</cx:pt>
          <cx:pt idx="103901">0</cx:pt>
          <cx:pt idx="103902">0</cx:pt>
          <cx:pt idx="103903">0</cx:pt>
        </cx:lvl>
      </cx:strDim>
      <cx:numDim type="val">
        <cx:f>'seat comfort'!$A$2:$A$103905</cx:f>
        <cx:lvl ptCount="103904" formatCode="General">
          <cx:pt idx="0">5</cx:pt>
          <cx:pt idx="1">1</cx:pt>
          <cx:pt idx="2">5</cx:pt>
          <cx:pt idx="3">2</cx:pt>
          <cx:pt idx="4">5</cx:pt>
          <cx:pt idx="5">1</cx:pt>
          <cx:pt idx="6">2</cx:pt>
          <cx:pt idx="7">5</cx:pt>
          <cx:pt idx="8">3</cx:pt>
          <cx:pt idx="9">3</cx:pt>
          <cx:pt idx="10">2</cx:pt>
          <cx:pt idx="11">1</cx:pt>
          <cx:pt idx="12">1</cx:pt>
          <cx:pt idx="13">4</cx:pt>
          <cx:pt idx="14">2</cx:pt>
          <cx:pt idx="15">1</cx:pt>
          <cx:pt idx="16">4</cx:pt>
          <cx:pt idx="17">4</cx:pt>
          <cx:pt idx="18">5</cx:pt>
          <cx:pt idx="19">5</cx:pt>
          <cx:pt idx="20">1</cx:pt>
          <cx:pt idx="21">5</cx:pt>
          <cx:pt idx="22">5</cx:pt>
          <cx:pt idx="23">4</cx:pt>
          <cx:pt idx="24">1</cx:pt>
          <cx:pt idx="25">5</cx:pt>
          <cx:pt idx="26">3</cx:pt>
          <cx:pt idx="27">1</cx:pt>
          <cx:pt idx="28">1</cx:pt>
          <cx:pt idx="29">1</cx:pt>
          <cx:pt idx="30">5</cx:pt>
          <cx:pt idx="31">5</cx:pt>
          <cx:pt idx="32">4</cx:pt>
          <cx:pt idx="33">5</cx:pt>
          <cx:pt idx="34">1</cx:pt>
          <cx:pt idx="35">1</cx:pt>
          <cx:pt idx="36">2</cx:pt>
          <cx:pt idx="37">2</cx:pt>
          <cx:pt idx="38">5</cx:pt>
          <cx:pt idx="39">1</cx:pt>
          <cx:pt idx="40">5</cx:pt>
          <cx:pt idx="41">3</cx:pt>
          <cx:pt idx="42">3</cx:pt>
          <cx:pt idx="43">4</cx:pt>
          <cx:pt idx="44">5</cx:pt>
          <cx:pt idx="45">5</cx:pt>
          <cx:pt idx="46">4</cx:pt>
          <cx:pt idx="47">1</cx:pt>
          <cx:pt idx="48">3</cx:pt>
          <cx:pt idx="49">5</cx:pt>
          <cx:pt idx="50">2</cx:pt>
          <cx:pt idx="51">4</cx:pt>
          <cx:pt idx="52">3</cx:pt>
          <cx:pt idx="53">4</cx:pt>
          <cx:pt idx="54">4</cx:pt>
          <cx:pt idx="55">5</cx:pt>
          <cx:pt idx="56">5</cx:pt>
          <cx:pt idx="57">5</cx:pt>
          <cx:pt idx="58">4</cx:pt>
          <cx:pt idx="59">4</cx:pt>
          <cx:pt idx="60">3</cx:pt>
          <cx:pt idx="61">4</cx:pt>
          <cx:pt idx="62">3</cx:pt>
          <cx:pt idx="63">4</cx:pt>
          <cx:pt idx="64">4</cx:pt>
          <cx:pt idx="65">4</cx:pt>
          <cx:pt idx="66">4</cx:pt>
          <cx:pt idx="67">5</cx:pt>
          <cx:pt idx="68">2</cx:pt>
          <cx:pt idx="69">4</cx:pt>
          <cx:pt idx="70">5</cx:pt>
          <cx:pt idx="71">3</cx:pt>
          <cx:pt idx="72">5</cx:pt>
          <cx:pt idx="73">2</cx:pt>
          <cx:pt idx="74">1</cx:pt>
          <cx:pt idx="75">1</cx:pt>
          <cx:pt idx="76">3</cx:pt>
          <cx:pt idx="77">2</cx:pt>
          <cx:pt idx="78">4</cx:pt>
          <cx:pt idx="79">4</cx:pt>
          <cx:pt idx="80">4</cx:pt>
          <cx:pt idx="81">3</cx:pt>
          <cx:pt idx="82">5</cx:pt>
          <cx:pt idx="83">1</cx:pt>
          <cx:pt idx="84">5</cx:pt>
          <cx:pt idx="85">4</cx:pt>
          <cx:pt idx="86">5</cx:pt>
          <cx:pt idx="87">2</cx:pt>
          <cx:pt idx="88">3</cx:pt>
          <cx:pt idx="89">3</cx:pt>
          <cx:pt idx="90">3</cx:pt>
          <cx:pt idx="91">2</cx:pt>
          <cx:pt idx="92">4</cx:pt>
          <cx:pt idx="93">1</cx:pt>
          <cx:pt idx="94">4</cx:pt>
          <cx:pt idx="95">4</cx:pt>
          <cx:pt idx="96">5</cx:pt>
          <cx:pt idx="97">3</cx:pt>
          <cx:pt idx="98">5</cx:pt>
          <cx:pt idx="99">4</cx:pt>
          <cx:pt idx="100">4</cx:pt>
          <cx:pt idx="101">4</cx:pt>
          <cx:pt idx="102">1</cx:pt>
          <cx:pt idx="103">3</cx:pt>
          <cx:pt idx="104">5</cx:pt>
          <cx:pt idx="105">4</cx:pt>
          <cx:pt idx="106">1</cx:pt>
          <cx:pt idx="107">5</cx:pt>
          <cx:pt idx="108">1</cx:pt>
          <cx:pt idx="109">4</cx:pt>
          <cx:pt idx="110">5</cx:pt>
          <cx:pt idx="111">4</cx:pt>
          <cx:pt idx="112">1</cx:pt>
          <cx:pt idx="113">5</cx:pt>
          <cx:pt idx="114">1</cx:pt>
          <cx:pt idx="115">1</cx:pt>
          <cx:pt idx="116">3</cx:pt>
          <cx:pt idx="117">4</cx:pt>
          <cx:pt idx="118">5</cx:pt>
          <cx:pt idx="119">4</cx:pt>
          <cx:pt idx="120">1</cx:pt>
          <cx:pt idx="121">4</cx:pt>
          <cx:pt idx="122">3</cx:pt>
          <cx:pt idx="123">5</cx:pt>
          <cx:pt idx="124">1</cx:pt>
          <cx:pt idx="125">1</cx:pt>
          <cx:pt idx="126">5</cx:pt>
          <cx:pt idx="127">4</cx:pt>
          <cx:pt idx="128">3</cx:pt>
          <cx:pt idx="129">4</cx:pt>
          <cx:pt idx="130">2</cx:pt>
          <cx:pt idx="131">1</cx:pt>
          <cx:pt idx="132">3</cx:pt>
          <cx:pt idx="133">3</cx:pt>
          <cx:pt idx="134">5</cx:pt>
          <cx:pt idx="135">5</cx:pt>
          <cx:pt idx="136">5</cx:pt>
          <cx:pt idx="137">3</cx:pt>
          <cx:pt idx="138">3</cx:pt>
          <cx:pt idx="139">4</cx:pt>
          <cx:pt idx="140">1</cx:pt>
          <cx:pt idx="141">1</cx:pt>
          <cx:pt idx="142">2</cx:pt>
          <cx:pt idx="143">5</cx:pt>
          <cx:pt idx="144">5</cx:pt>
          <cx:pt idx="145">5</cx:pt>
          <cx:pt idx="146">5</cx:pt>
          <cx:pt idx="147">4</cx:pt>
          <cx:pt idx="148">5</cx:pt>
          <cx:pt idx="149">4</cx:pt>
          <cx:pt idx="150">5</cx:pt>
          <cx:pt idx="151">4</cx:pt>
          <cx:pt idx="152">5</cx:pt>
          <cx:pt idx="153">2</cx:pt>
          <cx:pt idx="154">5</cx:pt>
          <cx:pt idx="155">1</cx:pt>
          <cx:pt idx="156">4</cx:pt>
          <cx:pt idx="157">5</cx:pt>
          <cx:pt idx="158">1</cx:pt>
          <cx:pt idx="159">4</cx:pt>
          <cx:pt idx="160">4</cx:pt>
          <cx:pt idx="161">4</cx:pt>
          <cx:pt idx="162">2</cx:pt>
          <cx:pt idx="163">4</cx:pt>
          <cx:pt idx="164">5</cx:pt>
          <cx:pt idx="165">5</cx:pt>
          <cx:pt idx="166">5</cx:pt>
          <cx:pt idx="167">5</cx:pt>
          <cx:pt idx="168">5</cx:pt>
          <cx:pt idx="169">4</cx:pt>
          <cx:pt idx="170">5</cx:pt>
          <cx:pt idx="171">5</cx:pt>
          <cx:pt idx="172">4</cx:pt>
          <cx:pt idx="173">5</cx:pt>
          <cx:pt idx="174">3</cx:pt>
          <cx:pt idx="175">3</cx:pt>
          <cx:pt idx="176">5</cx:pt>
          <cx:pt idx="177">3</cx:pt>
          <cx:pt idx="178">4</cx:pt>
          <cx:pt idx="179">4</cx:pt>
          <cx:pt idx="180">1</cx:pt>
          <cx:pt idx="181">4</cx:pt>
          <cx:pt idx="182">3</cx:pt>
          <cx:pt idx="183">4</cx:pt>
          <cx:pt idx="184">1</cx:pt>
          <cx:pt idx="185">1</cx:pt>
          <cx:pt idx="186">4</cx:pt>
          <cx:pt idx="187">3</cx:pt>
          <cx:pt idx="188">1</cx:pt>
          <cx:pt idx="189">1</cx:pt>
          <cx:pt idx="190">2</cx:pt>
          <cx:pt idx="191">2</cx:pt>
          <cx:pt idx="192">1</cx:pt>
          <cx:pt idx="193">2</cx:pt>
          <cx:pt idx="194">2</cx:pt>
          <cx:pt idx="195">5</cx:pt>
          <cx:pt idx="196">4</cx:pt>
          <cx:pt idx="197">5</cx:pt>
          <cx:pt idx="198">4</cx:pt>
          <cx:pt idx="199">1</cx:pt>
          <cx:pt idx="200">5</cx:pt>
          <cx:pt idx="201">4</cx:pt>
          <cx:pt idx="202">2</cx:pt>
          <cx:pt idx="203">5</cx:pt>
          <cx:pt idx="204">2</cx:pt>
          <cx:pt idx="205">1</cx:pt>
          <cx:pt idx="206">4</cx:pt>
          <cx:pt idx="207">2</cx:pt>
          <cx:pt idx="208">5</cx:pt>
          <cx:pt idx="209">4</cx:pt>
          <cx:pt idx="210">4</cx:pt>
          <cx:pt idx="211">3</cx:pt>
          <cx:pt idx="212">3</cx:pt>
          <cx:pt idx="213">5</cx:pt>
          <cx:pt idx="214">3</cx:pt>
          <cx:pt idx="215">5</cx:pt>
          <cx:pt idx="216">1</cx:pt>
          <cx:pt idx="217">1</cx:pt>
          <cx:pt idx="218">4</cx:pt>
          <cx:pt idx="219">4</cx:pt>
          <cx:pt idx="220">3</cx:pt>
          <cx:pt idx="221">1</cx:pt>
          <cx:pt idx="222">5</cx:pt>
          <cx:pt idx="223">1</cx:pt>
          <cx:pt idx="224">2</cx:pt>
          <cx:pt idx="225">5</cx:pt>
          <cx:pt idx="226">4</cx:pt>
          <cx:pt idx="227">3</cx:pt>
          <cx:pt idx="228">3</cx:pt>
          <cx:pt idx="229">3</cx:pt>
          <cx:pt idx="230">4</cx:pt>
          <cx:pt idx="231">5</cx:pt>
          <cx:pt idx="232">5</cx:pt>
          <cx:pt idx="233">2</cx:pt>
          <cx:pt idx="234">4</cx:pt>
          <cx:pt idx="235">3</cx:pt>
          <cx:pt idx="236">4</cx:pt>
          <cx:pt idx="237">1</cx:pt>
          <cx:pt idx="238">5</cx:pt>
          <cx:pt idx="239">4</cx:pt>
          <cx:pt idx="240">3</cx:pt>
          <cx:pt idx="241">3</cx:pt>
          <cx:pt idx="242">4</cx:pt>
          <cx:pt idx="243">1</cx:pt>
          <cx:pt idx="244">4</cx:pt>
          <cx:pt idx="245">5</cx:pt>
          <cx:pt idx="246">5</cx:pt>
          <cx:pt idx="247">3</cx:pt>
          <cx:pt idx="248">4</cx:pt>
          <cx:pt idx="249">5</cx:pt>
          <cx:pt idx="250">1</cx:pt>
          <cx:pt idx="251">4</cx:pt>
          <cx:pt idx="252">4</cx:pt>
          <cx:pt idx="253">5</cx:pt>
          <cx:pt idx="254">4</cx:pt>
          <cx:pt idx="255">4</cx:pt>
          <cx:pt idx="256">3</cx:pt>
          <cx:pt idx="257">1</cx:pt>
          <cx:pt idx="258">4</cx:pt>
          <cx:pt idx="259">4</cx:pt>
          <cx:pt idx="260">5</cx:pt>
          <cx:pt idx="261">4</cx:pt>
          <cx:pt idx="262">4</cx:pt>
          <cx:pt idx="263">4</cx:pt>
          <cx:pt idx="264">5</cx:pt>
          <cx:pt idx="265">4</cx:pt>
          <cx:pt idx="266">3</cx:pt>
          <cx:pt idx="267">1</cx:pt>
          <cx:pt idx="268">4</cx:pt>
          <cx:pt idx="269">1</cx:pt>
          <cx:pt idx="270">5</cx:pt>
          <cx:pt idx="271">5</cx:pt>
          <cx:pt idx="272">2</cx:pt>
          <cx:pt idx="273">1</cx:pt>
          <cx:pt idx="274">5</cx:pt>
          <cx:pt idx="275">4</cx:pt>
          <cx:pt idx="276">5</cx:pt>
          <cx:pt idx="277">3</cx:pt>
          <cx:pt idx="278">4</cx:pt>
          <cx:pt idx="279">5</cx:pt>
          <cx:pt idx="280">3</cx:pt>
          <cx:pt idx="281">3</cx:pt>
          <cx:pt idx="282">3</cx:pt>
          <cx:pt idx="283">4</cx:pt>
          <cx:pt idx="284">4</cx:pt>
          <cx:pt idx="285">2</cx:pt>
          <cx:pt idx="286">3</cx:pt>
          <cx:pt idx="287">4</cx:pt>
          <cx:pt idx="288">4</cx:pt>
          <cx:pt idx="289">4</cx:pt>
          <cx:pt idx="290">2</cx:pt>
          <cx:pt idx="291">4</cx:pt>
          <cx:pt idx="292">2</cx:pt>
          <cx:pt idx="293">1</cx:pt>
          <cx:pt idx="294">4</cx:pt>
          <cx:pt idx="295">5</cx:pt>
          <cx:pt idx="296">4</cx:pt>
          <cx:pt idx="297">1</cx:pt>
          <cx:pt idx="298">4</cx:pt>
          <cx:pt idx="299">4</cx:pt>
          <cx:pt idx="300">3</cx:pt>
          <cx:pt idx="301">5</cx:pt>
          <cx:pt idx="302">2</cx:pt>
          <cx:pt idx="303">5</cx:pt>
          <cx:pt idx="304">5</cx:pt>
          <cx:pt idx="305">2</cx:pt>
          <cx:pt idx="306">2</cx:pt>
          <cx:pt idx="307">4</cx:pt>
          <cx:pt idx="308">4</cx:pt>
          <cx:pt idx="309">2</cx:pt>
          <cx:pt idx="310">2</cx:pt>
          <cx:pt idx="311">4</cx:pt>
          <cx:pt idx="312">5</cx:pt>
          <cx:pt idx="313">4</cx:pt>
          <cx:pt idx="314">2</cx:pt>
          <cx:pt idx="315">5</cx:pt>
          <cx:pt idx="316">1</cx:pt>
          <cx:pt idx="317">4</cx:pt>
          <cx:pt idx="318">1</cx:pt>
          <cx:pt idx="319">2</cx:pt>
          <cx:pt idx="320">4</cx:pt>
          <cx:pt idx="321">4</cx:pt>
          <cx:pt idx="322">2</cx:pt>
          <cx:pt idx="323">1</cx:pt>
          <cx:pt idx="324">5</cx:pt>
          <cx:pt idx="325">2</cx:pt>
          <cx:pt idx="326">5</cx:pt>
          <cx:pt idx="327">5</cx:pt>
          <cx:pt idx="328">5</cx:pt>
          <cx:pt idx="329">2</cx:pt>
          <cx:pt idx="330">4</cx:pt>
          <cx:pt idx="331">3</cx:pt>
          <cx:pt idx="332">1</cx:pt>
          <cx:pt idx="333">1</cx:pt>
          <cx:pt idx="334">3</cx:pt>
          <cx:pt idx="335">4</cx:pt>
          <cx:pt idx="336">5</cx:pt>
          <cx:pt idx="337">4</cx:pt>
          <cx:pt idx="338">4</cx:pt>
          <cx:pt idx="339">1</cx:pt>
          <cx:pt idx="340">4</cx:pt>
          <cx:pt idx="341">5</cx:pt>
          <cx:pt idx="342">3</cx:pt>
          <cx:pt idx="343">5</cx:pt>
          <cx:pt idx="344">4</cx:pt>
          <cx:pt idx="345">5</cx:pt>
          <cx:pt idx="346">4</cx:pt>
          <cx:pt idx="347">4</cx:pt>
          <cx:pt idx="348">5</cx:pt>
          <cx:pt idx="349">5</cx:pt>
          <cx:pt idx="350">3</cx:pt>
          <cx:pt idx="351">5</cx:pt>
          <cx:pt idx="352">2</cx:pt>
          <cx:pt idx="353">4</cx:pt>
          <cx:pt idx="354">5</cx:pt>
          <cx:pt idx="355">5</cx:pt>
          <cx:pt idx="356">2</cx:pt>
          <cx:pt idx="357">4</cx:pt>
          <cx:pt idx="358">4</cx:pt>
          <cx:pt idx="359">5</cx:pt>
          <cx:pt idx="360">3</cx:pt>
          <cx:pt idx="361">5</cx:pt>
          <cx:pt idx="362">4</cx:pt>
          <cx:pt idx="363">5</cx:pt>
          <cx:pt idx="364">4</cx:pt>
          <cx:pt idx="365">4</cx:pt>
          <cx:pt idx="366">5</cx:pt>
          <cx:pt idx="367">4</cx:pt>
          <cx:pt idx="368">4</cx:pt>
          <cx:pt idx="369">2</cx:pt>
          <cx:pt idx="370">4</cx:pt>
          <cx:pt idx="371">5</cx:pt>
          <cx:pt idx="372">4</cx:pt>
          <cx:pt idx="373">4</cx:pt>
          <cx:pt idx="374">5</cx:pt>
          <cx:pt idx="375">5</cx:pt>
          <cx:pt idx="376">4</cx:pt>
          <cx:pt idx="377">1</cx:pt>
          <cx:pt idx="378">5</cx:pt>
          <cx:pt idx="379">4</cx:pt>
          <cx:pt idx="380">4</cx:pt>
          <cx:pt idx="381">1</cx:pt>
          <cx:pt idx="382">2</cx:pt>
          <cx:pt idx="383">5</cx:pt>
          <cx:pt idx="384">1</cx:pt>
          <cx:pt idx="385">4</cx:pt>
          <cx:pt idx="386">5</cx:pt>
          <cx:pt idx="387">5</cx:pt>
          <cx:pt idx="388">5</cx:pt>
          <cx:pt idx="389">5</cx:pt>
          <cx:pt idx="390">4</cx:pt>
          <cx:pt idx="391">4</cx:pt>
          <cx:pt idx="392">5</cx:pt>
          <cx:pt idx="393">2</cx:pt>
          <cx:pt idx="394">4</cx:pt>
          <cx:pt idx="395">3</cx:pt>
          <cx:pt idx="396">2</cx:pt>
          <cx:pt idx="397">2</cx:pt>
          <cx:pt idx="398">5</cx:pt>
          <cx:pt idx="399">1</cx:pt>
          <cx:pt idx="400">4</cx:pt>
          <cx:pt idx="401">4</cx:pt>
          <cx:pt idx="402">5</cx:pt>
          <cx:pt idx="403">3</cx:pt>
          <cx:pt idx="404">2</cx:pt>
          <cx:pt idx="405">1</cx:pt>
          <cx:pt idx="406">5</cx:pt>
          <cx:pt idx="407">3</cx:pt>
          <cx:pt idx="408">3</cx:pt>
          <cx:pt idx="409">4</cx:pt>
          <cx:pt idx="410">1</cx:pt>
          <cx:pt idx="411">4</cx:pt>
          <cx:pt idx="412">3</cx:pt>
          <cx:pt idx="413">3</cx:pt>
          <cx:pt idx="414">3</cx:pt>
          <cx:pt idx="415">4</cx:pt>
          <cx:pt idx="416">2</cx:pt>
          <cx:pt idx="417">5</cx:pt>
          <cx:pt idx="418">4</cx:pt>
          <cx:pt idx="419">1</cx:pt>
          <cx:pt idx="420">1</cx:pt>
          <cx:pt idx="421">5</cx:pt>
          <cx:pt idx="422">4</cx:pt>
          <cx:pt idx="423">4</cx:pt>
          <cx:pt idx="424">5</cx:pt>
          <cx:pt idx="425">4</cx:pt>
          <cx:pt idx="426">5</cx:pt>
          <cx:pt idx="427">4</cx:pt>
          <cx:pt idx="428">4</cx:pt>
          <cx:pt idx="429">3</cx:pt>
          <cx:pt idx="430">3</cx:pt>
          <cx:pt idx="431">5</cx:pt>
          <cx:pt idx="432">5</cx:pt>
          <cx:pt idx="433">2</cx:pt>
          <cx:pt idx="434">1</cx:pt>
          <cx:pt idx="435">4</cx:pt>
          <cx:pt idx="436">4</cx:pt>
          <cx:pt idx="437">5</cx:pt>
          <cx:pt idx="438">5</cx:pt>
          <cx:pt idx="439">2</cx:pt>
          <cx:pt idx="440">4</cx:pt>
          <cx:pt idx="441">4</cx:pt>
          <cx:pt idx="442">5</cx:pt>
          <cx:pt idx="443">4</cx:pt>
          <cx:pt idx="444">3</cx:pt>
          <cx:pt idx="445">3</cx:pt>
          <cx:pt idx="446">2</cx:pt>
          <cx:pt idx="447">4</cx:pt>
          <cx:pt idx="448">4</cx:pt>
          <cx:pt idx="449">5</cx:pt>
          <cx:pt idx="450">4</cx:pt>
          <cx:pt idx="451">4</cx:pt>
          <cx:pt idx="452">4</cx:pt>
          <cx:pt idx="453">2</cx:pt>
          <cx:pt idx="454">4</cx:pt>
          <cx:pt idx="455">4</cx:pt>
          <cx:pt idx="456">4</cx:pt>
          <cx:pt idx="457">4</cx:pt>
          <cx:pt idx="458">5</cx:pt>
          <cx:pt idx="459">4</cx:pt>
          <cx:pt idx="460">4</cx:pt>
          <cx:pt idx="461">1</cx:pt>
          <cx:pt idx="462">4</cx:pt>
          <cx:pt idx="463">4</cx:pt>
          <cx:pt idx="464">3</cx:pt>
          <cx:pt idx="465">5</cx:pt>
          <cx:pt idx="466">4</cx:pt>
          <cx:pt idx="467">4</cx:pt>
          <cx:pt idx="468">4</cx:pt>
          <cx:pt idx="469">2</cx:pt>
          <cx:pt idx="470">1</cx:pt>
          <cx:pt idx="471">2</cx:pt>
          <cx:pt idx="472">2</cx:pt>
          <cx:pt idx="473">5</cx:pt>
          <cx:pt idx="474">2</cx:pt>
          <cx:pt idx="475">1</cx:pt>
          <cx:pt idx="476">4</cx:pt>
          <cx:pt idx="477">5</cx:pt>
          <cx:pt idx="478">5</cx:pt>
          <cx:pt idx="479">5</cx:pt>
          <cx:pt idx="480">3</cx:pt>
          <cx:pt idx="481">5</cx:pt>
          <cx:pt idx="482">4</cx:pt>
          <cx:pt idx="483">4</cx:pt>
          <cx:pt idx="484">2</cx:pt>
          <cx:pt idx="485">5</cx:pt>
          <cx:pt idx="486">4</cx:pt>
          <cx:pt idx="487">4</cx:pt>
          <cx:pt idx="488">1</cx:pt>
          <cx:pt idx="489">2</cx:pt>
          <cx:pt idx="490">4</cx:pt>
          <cx:pt idx="491">2</cx:pt>
          <cx:pt idx="492">4</cx:pt>
          <cx:pt idx="493">2</cx:pt>
          <cx:pt idx="494">4</cx:pt>
          <cx:pt idx="495">2</cx:pt>
          <cx:pt idx="496">1</cx:pt>
          <cx:pt idx="497">2</cx:pt>
          <cx:pt idx="498">3</cx:pt>
          <cx:pt idx="499">4</cx:pt>
          <cx:pt idx="500">5</cx:pt>
          <cx:pt idx="501">4</cx:pt>
          <cx:pt idx="502">4</cx:pt>
          <cx:pt idx="503">4</cx:pt>
          <cx:pt idx="504">2</cx:pt>
          <cx:pt idx="505">4</cx:pt>
          <cx:pt idx="506">4</cx:pt>
          <cx:pt idx="507">2</cx:pt>
          <cx:pt idx="508">4</cx:pt>
          <cx:pt idx="509">1</cx:pt>
          <cx:pt idx="510">3</cx:pt>
          <cx:pt idx="511">4</cx:pt>
          <cx:pt idx="512">4</cx:pt>
          <cx:pt idx="513">3</cx:pt>
          <cx:pt idx="514">1</cx:pt>
          <cx:pt idx="515">2</cx:pt>
          <cx:pt idx="516">3</cx:pt>
          <cx:pt idx="517">5</cx:pt>
          <cx:pt idx="518">3</cx:pt>
          <cx:pt idx="519">4</cx:pt>
          <cx:pt idx="520">3</cx:pt>
          <cx:pt idx="521">2</cx:pt>
          <cx:pt idx="522">3</cx:pt>
          <cx:pt idx="523">3</cx:pt>
          <cx:pt idx="524">3</cx:pt>
          <cx:pt idx="525">4</cx:pt>
          <cx:pt idx="526">3</cx:pt>
          <cx:pt idx="527">1</cx:pt>
          <cx:pt idx="528">5</cx:pt>
          <cx:pt idx="529">2</cx:pt>
          <cx:pt idx="530">4</cx:pt>
          <cx:pt idx="531">4</cx:pt>
          <cx:pt idx="532">3</cx:pt>
          <cx:pt idx="533">2</cx:pt>
          <cx:pt idx="534">4</cx:pt>
          <cx:pt idx="535">5</cx:pt>
          <cx:pt idx="536">3</cx:pt>
          <cx:pt idx="537">5</cx:pt>
          <cx:pt idx="538">3</cx:pt>
          <cx:pt idx="539">5</cx:pt>
          <cx:pt idx="540">3</cx:pt>
          <cx:pt idx="541">5</cx:pt>
          <cx:pt idx="542">5</cx:pt>
          <cx:pt idx="543">5</cx:pt>
          <cx:pt idx="544">4</cx:pt>
          <cx:pt idx="545">4</cx:pt>
          <cx:pt idx="546">4</cx:pt>
          <cx:pt idx="547">4</cx:pt>
          <cx:pt idx="548">5</cx:pt>
          <cx:pt idx="549">3</cx:pt>
          <cx:pt idx="550">4</cx:pt>
          <cx:pt idx="551">3</cx:pt>
          <cx:pt idx="552">5</cx:pt>
          <cx:pt idx="553">1</cx:pt>
          <cx:pt idx="554">5</cx:pt>
          <cx:pt idx="555">2</cx:pt>
          <cx:pt idx="556">4</cx:pt>
          <cx:pt idx="557">5</cx:pt>
          <cx:pt idx="558">4</cx:pt>
          <cx:pt idx="559">1</cx:pt>
          <cx:pt idx="560">4</cx:pt>
          <cx:pt idx="561">5</cx:pt>
          <cx:pt idx="562">5</cx:pt>
          <cx:pt idx="563">5</cx:pt>
          <cx:pt idx="564">5</cx:pt>
          <cx:pt idx="565">2</cx:pt>
          <cx:pt idx="566">4</cx:pt>
          <cx:pt idx="567">5</cx:pt>
          <cx:pt idx="568">5</cx:pt>
          <cx:pt idx="569">4</cx:pt>
          <cx:pt idx="570">3</cx:pt>
          <cx:pt idx="571">3</cx:pt>
          <cx:pt idx="572">5</cx:pt>
          <cx:pt idx="573">1</cx:pt>
          <cx:pt idx="574">1</cx:pt>
          <cx:pt idx="575">5</cx:pt>
          <cx:pt idx="576">5</cx:pt>
          <cx:pt idx="577">5</cx:pt>
          <cx:pt idx="578">1</cx:pt>
          <cx:pt idx="579">5</cx:pt>
          <cx:pt idx="580">1</cx:pt>
          <cx:pt idx="581">3</cx:pt>
          <cx:pt idx="582">4</cx:pt>
          <cx:pt idx="583">4</cx:pt>
          <cx:pt idx="584">2</cx:pt>
          <cx:pt idx="585">5</cx:pt>
          <cx:pt idx="586">5</cx:pt>
          <cx:pt idx="587">4</cx:pt>
          <cx:pt idx="588">3</cx:pt>
          <cx:pt idx="589">1</cx:pt>
          <cx:pt idx="590">5</cx:pt>
          <cx:pt idx="591">2</cx:pt>
          <cx:pt idx="592">2</cx:pt>
          <cx:pt idx="593">4</cx:pt>
          <cx:pt idx="594">5</cx:pt>
          <cx:pt idx="595">5</cx:pt>
          <cx:pt idx="596">3</cx:pt>
          <cx:pt idx="597">5</cx:pt>
          <cx:pt idx="598">4</cx:pt>
          <cx:pt idx="599">3</cx:pt>
          <cx:pt idx="600">4</cx:pt>
          <cx:pt idx="601">2</cx:pt>
          <cx:pt idx="602">2</cx:pt>
          <cx:pt idx="603">4</cx:pt>
          <cx:pt idx="604">4</cx:pt>
          <cx:pt idx="605">5</cx:pt>
          <cx:pt idx="606">3</cx:pt>
          <cx:pt idx="607">4</cx:pt>
          <cx:pt idx="608">3</cx:pt>
          <cx:pt idx="609">5</cx:pt>
          <cx:pt idx="610">5</cx:pt>
          <cx:pt idx="611">3</cx:pt>
          <cx:pt idx="612">4</cx:pt>
          <cx:pt idx="613">5</cx:pt>
          <cx:pt idx="614">3</cx:pt>
          <cx:pt idx="615">5</cx:pt>
          <cx:pt idx="616">5</cx:pt>
          <cx:pt idx="617">2</cx:pt>
          <cx:pt idx="618">1</cx:pt>
          <cx:pt idx="619">5</cx:pt>
          <cx:pt idx="620">1</cx:pt>
          <cx:pt idx="621">1</cx:pt>
          <cx:pt idx="622">2</cx:pt>
          <cx:pt idx="623">4</cx:pt>
          <cx:pt idx="624">1</cx:pt>
          <cx:pt idx="625">4</cx:pt>
          <cx:pt idx="626">1</cx:pt>
          <cx:pt idx="627">5</cx:pt>
          <cx:pt idx="628">5</cx:pt>
          <cx:pt idx="629">2</cx:pt>
          <cx:pt idx="630">5</cx:pt>
          <cx:pt idx="631">5</cx:pt>
          <cx:pt idx="632">5</cx:pt>
          <cx:pt idx="633">4</cx:pt>
          <cx:pt idx="634">3</cx:pt>
          <cx:pt idx="635">4</cx:pt>
          <cx:pt idx="636">1</cx:pt>
          <cx:pt idx="637">3</cx:pt>
          <cx:pt idx="638">5</cx:pt>
          <cx:pt idx="639">3</cx:pt>
          <cx:pt idx="640">1</cx:pt>
          <cx:pt idx="641">4</cx:pt>
          <cx:pt idx="642">5</cx:pt>
          <cx:pt idx="643">1</cx:pt>
          <cx:pt idx="644">3</cx:pt>
          <cx:pt idx="645">3</cx:pt>
          <cx:pt idx="646">2</cx:pt>
          <cx:pt idx="647">5</cx:pt>
          <cx:pt idx="648">2</cx:pt>
          <cx:pt idx="649">5</cx:pt>
          <cx:pt idx="650">5</cx:pt>
          <cx:pt idx="651">2</cx:pt>
          <cx:pt idx="652">5</cx:pt>
          <cx:pt idx="653">4</cx:pt>
          <cx:pt idx="654">5</cx:pt>
          <cx:pt idx="655">4</cx:pt>
          <cx:pt idx="656">2</cx:pt>
          <cx:pt idx="657">4</cx:pt>
          <cx:pt idx="658">3</cx:pt>
          <cx:pt idx="659">5</cx:pt>
          <cx:pt idx="660">4</cx:pt>
          <cx:pt idx="661">1</cx:pt>
          <cx:pt idx="662">2</cx:pt>
          <cx:pt idx="663">4</cx:pt>
          <cx:pt idx="664">2</cx:pt>
          <cx:pt idx="665">4</cx:pt>
          <cx:pt idx="666">4</cx:pt>
          <cx:pt idx="667">2</cx:pt>
          <cx:pt idx="668">4</cx:pt>
          <cx:pt idx="669">3</cx:pt>
          <cx:pt idx="670">1</cx:pt>
          <cx:pt idx="671">4</cx:pt>
          <cx:pt idx="672">4</cx:pt>
          <cx:pt idx="673">2</cx:pt>
          <cx:pt idx="674">2</cx:pt>
          <cx:pt idx="675">5</cx:pt>
          <cx:pt idx="676">3</cx:pt>
          <cx:pt idx="677">4</cx:pt>
          <cx:pt idx="678">1</cx:pt>
          <cx:pt idx="679">5</cx:pt>
          <cx:pt idx="680">4</cx:pt>
          <cx:pt idx="681">2</cx:pt>
          <cx:pt idx="682">5</cx:pt>
          <cx:pt idx="683">5</cx:pt>
          <cx:pt idx="684">2</cx:pt>
          <cx:pt idx="685">1</cx:pt>
          <cx:pt idx="686">2</cx:pt>
          <cx:pt idx="687">5</cx:pt>
          <cx:pt idx="688">1</cx:pt>
          <cx:pt idx="689">4</cx:pt>
          <cx:pt idx="690">4</cx:pt>
          <cx:pt idx="691">4</cx:pt>
          <cx:pt idx="692">4</cx:pt>
          <cx:pt idx="693">2</cx:pt>
          <cx:pt idx="694">4</cx:pt>
          <cx:pt idx="695">5</cx:pt>
          <cx:pt idx="696">5</cx:pt>
          <cx:pt idx="697">1</cx:pt>
          <cx:pt idx="698">5</cx:pt>
          <cx:pt idx="699">5</cx:pt>
          <cx:pt idx="700">3</cx:pt>
          <cx:pt idx="701">3</cx:pt>
          <cx:pt idx="702">4</cx:pt>
          <cx:pt idx="703">2</cx:pt>
          <cx:pt idx="704">2</cx:pt>
          <cx:pt idx="705">4</cx:pt>
          <cx:pt idx="706">3</cx:pt>
          <cx:pt idx="707">4</cx:pt>
          <cx:pt idx="708">4</cx:pt>
          <cx:pt idx="709">5</cx:pt>
          <cx:pt idx="710">2</cx:pt>
          <cx:pt idx="711">5</cx:pt>
          <cx:pt idx="712">1</cx:pt>
          <cx:pt idx="713">5</cx:pt>
          <cx:pt idx="714">2</cx:pt>
          <cx:pt idx="715">5</cx:pt>
          <cx:pt idx="716">1</cx:pt>
          <cx:pt idx="717">5</cx:pt>
          <cx:pt idx="718">5</cx:pt>
          <cx:pt idx="719">3</cx:pt>
          <cx:pt idx="720">4</cx:pt>
          <cx:pt idx="721">1</cx:pt>
          <cx:pt idx="722">4</cx:pt>
          <cx:pt idx="723">3</cx:pt>
          <cx:pt idx="724">4</cx:pt>
          <cx:pt idx="725">1</cx:pt>
          <cx:pt idx="726">5</cx:pt>
          <cx:pt idx="727">3</cx:pt>
          <cx:pt idx="728">4</cx:pt>
          <cx:pt idx="729">5</cx:pt>
          <cx:pt idx="730">3</cx:pt>
          <cx:pt idx="731">5</cx:pt>
          <cx:pt idx="732">3</cx:pt>
          <cx:pt idx="733">3</cx:pt>
          <cx:pt idx="734">2</cx:pt>
          <cx:pt idx="735">3</cx:pt>
          <cx:pt idx="736">2</cx:pt>
          <cx:pt idx="737">3</cx:pt>
          <cx:pt idx="738">3</cx:pt>
          <cx:pt idx="739">3</cx:pt>
          <cx:pt idx="740">4</cx:pt>
          <cx:pt idx="741">5</cx:pt>
          <cx:pt idx="742">2</cx:pt>
          <cx:pt idx="743">4</cx:pt>
          <cx:pt idx="744">1</cx:pt>
          <cx:pt idx="745">1</cx:pt>
          <cx:pt idx="746">1</cx:pt>
          <cx:pt idx="747">5</cx:pt>
          <cx:pt idx="748">4</cx:pt>
          <cx:pt idx="749">5</cx:pt>
          <cx:pt idx="750">2</cx:pt>
          <cx:pt idx="751">3</cx:pt>
          <cx:pt idx="752">4</cx:pt>
          <cx:pt idx="753">4</cx:pt>
          <cx:pt idx="754">5</cx:pt>
          <cx:pt idx="755">5</cx:pt>
          <cx:pt idx="756">4</cx:pt>
          <cx:pt idx="757">4</cx:pt>
          <cx:pt idx="758">3</cx:pt>
          <cx:pt idx="759">5</cx:pt>
          <cx:pt idx="760">5</cx:pt>
          <cx:pt idx="761">4</cx:pt>
          <cx:pt idx="762">3</cx:pt>
          <cx:pt idx="763">3</cx:pt>
          <cx:pt idx="764">5</cx:pt>
          <cx:pt idx="765">4</cx:pt>
          <cx:pt idx="766">4</cx:pt>
          <cx:pt idx="767">4</cx:pt>
          <cx:pt idx="768">1</cx:pt>
          <cx:pt idx="769">2</cx:pt>
          <cx:pt idx="770">4</cx:pt>
          <cx:pt idx="771">5</cx:pt>
          <cx:pt idx="772">3</cx:pt>
          <cx:pt idx="773">3</cx:pt>
          <cx:pt idx="774">3</cx:pt>
          <cx:pt idx="775">5</cx:pt>
          <cx:pt idx="776">5</cx:pt>
          <cx:pt idx="777">5</cx:pt>
          <cx:pt idx="778">3</cx:pt>
          <cx:pt idx="779">2</cx:pt>
          <cx:pt idx="780">4</cx:pt>
          <cx:pt idx="781">5</cx:pt>
          <cx:pt idx="782">5</cx:pt>
          <cx:pt idx="783">3</cx:pt>
          <cx:pt idx="784">2</cx:pt>
          <cx:pt idx="785">4</cx:pt>
          <cx:pt idx="786">2</cx:pt>
          <cx:pt idx="787">4</cx:pt>
          <cx:pt idx="788">5</cx:pt>
          <cx:pt idx="789">5</cx:pt>
          <cx:pt idx="790">4</cx:pt>
          <cx:pt idx="791">2</cx:pt>
          <cx:pt idx="792">2</cx:pt>
          <cx:pt idx="793">4</cx:pt>
          <cx:pt idx="794">3</cx:pt>
          <cx:pt idx="795">5</cx:pt>
          <cx:pt idx="796">5</cx:pt>
          <cx:pt idx="797">1</cx:pt>
          <cx:pt idx="798">4</cx:pt>
          <cx:pt idx="799">5</cx:pt>
          <cx:pt idx="800">1</cx:pt>
          <cx:pt idx="801">4</cx:pt>
          <cx:pt idx="802">4</cx:pt>
          <cx:pt idx="803">5</cx:pt>
          <cx:pt idx="804">2</cx:pt>
          <cx:pt idx="805">1</cx:pt>
          <cx:pt idx="806">2</cx:pt>
          <cx:pt idx="807">5</cx:pt>
          <cx:pt idx="808">5</cx:pt>
          <cx:pt idx="809">4</cx:pt>
          <cx:pt idx="810">2</cx:pt>
          <cx:pt idx="811">5</cx:pt>
          <cx:pt idx="812">1</cx:pt>
          <cx:pt idx="813">1</cx:pt>
          <cx:pt idx="814">5</cx:pt>
          <cx:pt idx="815">4</cx:pt>
          <cx:pt idx="816">5</cx:pt>
          <cx:pt idx="817">5</cx:pt>
          <cx:pt idx="818">4</cx:pt>
          <cx:pt idx="819">3</cx:pt>
          <cx:pt idx="820">2</cx:pt>
          <cx:pt idx="821">3</cx:pt>
          <cx:pt idx="822">3</cx:pt>
          <cx:pt idx="823">4</cx:pt>
          <cx:pt idx="824">2</cx:pt>
          <cx:pt idx="825">4</cx:pt>
          <cx:pt idx="826">1</cx:pt>
          <cx:pt idx="827">3</cx:pt>
          <cx:pt idx="828">3</cx:pt>
          <cx:pt idx="829">4</cx:pt>
          <cx:pt idx="830">5</cx:pt>
          <cx:pt idx="831">4</cx:pt>
          <cx:pt idx="832">3</cx:pt>
          <cx:pt idx="833">3</cx:pt>
          <cx:pt idx="834">5</cx:pt>
          <cx:pt idx="835">5</cx:pt>
          <cx:pt idx="836">4</cx:pt>
          <cx:pt idx="837">5</cx:pt>
          <cx:pt idx="838">3</cx:pt>
          <cx:pt idx="839">5</cx:pt>
          <cx:pt idx="840">5</cx:pt>
          <cx:pt idx="841">5</cx:pt>
          <cx:pt idx="842">1</cx:pt>
          <cx:pt idx="843">5</cx:pt>
          <cx:pt idx="844">3</cx:pt>
          <cx:pt idx="845">5</cx:pt>
          <cx:pt idx="846">1</cx:pt>
          <cx:pt idx="847">4</cx:pt>
          <cx:pt idx="848">1</cx:pt>
          <cx:pt idx="849">3</cx:pt>
          <cx:pt idx="850">2</cx:pt>
          <cx:pt idx="851">2</cx:pt>
          <cx:pt idx="852">2</cx:pt>
          <cx:pt idx="853">4</cx:pt>
          <cx:pt idx="854">5</cx:pt>
          <cx:pt idx="855">4</cx:pt>
          <cx:pt idx="856">1</cx:pt>
          <cx:pt idx="857">4</cx:pt>
          <cx:pt idx="858">3</cx:pt>
          <cx:pt idx="859">2</cx:pt>
          <cx:pt idx="860">5</cx:pt>
          <cx:pt idx="861">3</cx:pt>
          <cx:pt idx="862">3</cx:pt>
          <cx:pt idx="863">4</cx:pt>
          <cx:pt idx="864">4</cx:pt>
          <cx:pt idx="865">1</cx:pt>
          <cx:pt idx="866">4</cx:pt>
          <cx:pt idx="867">4</cx:pt>
          <cx:pt idx="868">3</cx:pt>
          <cx:pt idx="869">4</cx:pt>
          <cx:pt idx="870">1</cx:pt>
          <cx:pt idx="871">2</cx:pt>
          <cx:pt idx="872">3</cx:pt>
          <cx:pt idx="873">5</cx:pt>
          <cx:pt idx="874">2</cx:pt>
          <cx:pt idx="875">5</cx:pt>
          <cx:pt idx="876">4</cx:pt>
          <cx:pt idx="877">4</cx:pt>
          <cx:pt idx="878">3</cx:pt>
          <cx:pt idx="879">5</cx:pt>
          <cx:pt idx="880">1</cx:pt>
          <cx:pt idx="881">3</cx:pt>
          <cx:pt idx="882">3</cx:pt>
          <cx:pt idx="883">4</cx:pt>
          <cx:pt idx="884">1</cx:pt>
          <cx:pt idx="885">2</cx:pt>
          <cx:pt idx="886">3</cx:pt>
          <cx:pt idx="887">4</cx:pt>
          <cx:pt idx="888">4</cx:pt>
          <cx:pt idx="889">4</cx:pt>
          <cx:pt idx="890">4</cx:pt>
          <cx:pt idx="891">4</cx:pt>
          <cx:pt idx="892">2</cx:pt>
          <cx:pt idx="893">4</cx:pt>
          <cx:pt idx="894">5</cx:pt>
          <cx:pt idx="895">2</cx:pt>
          <cx:pt idx="896">3</cx:pt>
          <cx:pt idx="897">1</cx:pt>
          <cx:pt idx="898">5</cx:pt>
          <cx:pt idx="899">4</cx:pt>
          <cx:pt idx="900">4</cx:pt>
          <cx:pt idx="901">2</cx:pt>
          <cx:pt idx="902">3</cx:pt>
          <cx:pt idx="903">5</cx:pt>
          <cx:pt idx="904">3</cx:pt>
          <cx:pt idx="905">1</cx:pt>
          <cx:pt idx="906">4</cx:pt>
          <cx:pt idx="907">5</cx:pt>
          <cx:pt idx="908">3</cx:pt>
          <cx:pt idx="909">4</cx:pt>
          <cx:pt idx="910">2</cx:pt>
          <cx:pt idx="911">5</cx:pt>
          <cx:pt idx="912">5</cx:pt>
          <cx:pt idx="913">5</cx:pt>
          <cx:pt idx="914">1</cx:pt>
          <cx:pt idx="915">1</cx:pt>
          <cx:pt idx="916">3</cx:pt>
          <cx:pt idx="917">5</cx:pt>
          <cx:pt idx="918">3</cx:pt>
          <cx:pt idx="919">5</cx:pt>
          <cx:pt idx="920">3</cx:pt>
          <cx:pt idx="921">3</cx:pt>
          <cx:pt idx="922">1</cx:pt>
          <cx:pt idx="923">4</cx:pt>
          <cx:pt idx="924">1</cx:pt>
          <cx:pt idx="925">4</cx:pt>
          <cx:pt idx="926">3</cx:pt>
          <cx:pt idx="927">5</cx:pt>
          <cx:pt idx="928">4</cx:pt>
          <cx:pt idx="929">3</cx:pt>
          <cx:pt idx="930">4</cx:pt>
          <cx:pt idx="931">1</cx:pt>
          <cx:pt idx="932">4</cx:pt>
          <cx:pt idx="933">5</cx:pt>
          <cx:pt idx="934">2</cx:pt>
          <cx:pt idx="935">4</cx:pt>
          <cx:pt idx="936">3</cx:pt>
          <cx:pt idx="937">1</cx:pt>
          <cx:pt idx="938">3</cx:pt>
          <cx:pt idx="939">4</cx:pt>
          <cx:pt idx="940">2</cx:pt>
          <cx:pt idx="941">3</cx:pt>
          <cx:pt idx="942">2</cx:pt>
          <cx:pt idx="943">1</cx:pt>
          <cx:pt idx="944">3</cx:pt>
          <cx:pt idx="945">3</cx:pt>
          <cx:pt idx="946">4</cx:pt>
          <cx:pt idx="947">1</cx:pt>
          <cx:pt idx="948">3</cx:pt>
          <cx:pt idx="949">2</cx:pt>
          <cx:pt idx="950">2</cx:pt>
          <cx:pt idx="951">1</cx:pt>
          <cx:pt idx="952">3</cx:pt>
          <cx:pt idx="953">4</cx:pt>
          <cx:pt idx="954">5</cx:pt>
          <cx:pt idx="955">1</cx:pt>
          <cx:pt idx="956">5</cx:pt>
          <cx:pt idx="957">3</cx:pt>
          <cx:pt idx="958">4</cx:pt>
          <cx:pt idx="959">2</cx:pt>
          <cx:pt idx="960">3</cx:pt>
          <cx:pt idx="961">1</cx:pt>
          <cx:pt idx="962">5</cx:pt>
          <cx:pt idx="963">5</cx:pt>
          <cx:pt idx="964">4</cx:pt>
          <cx:pt idx="965">1</cx:pt>
          <cx:pt idx="966">3</cx:pt>
          <cx:pt idx="967">4</cx:pt>
          <cx:pt idx="968">4</cx:pt>
          <cx:pt idx="969">4</cx:pt>
          <cx:pt idx="970">1</cx:pt>
          <cx:pt idx="971">4</cx:pt>
          <cx:pt idx="972">3</cx:pt>
          <cx:pt idx="973">5</cx:pt>
          <cx:pt idx="974">3</cx:pt>
          <cx:pt idx="975">3</cx:pt>
          <cx:pt idx="976">4</cx:pt>
          <cx:pt idx="977">3</cx:pt>
          <cx:pt idx="978">5</cx:pt>
          <cx:pt idx="979">3</cx:pt>
          <cx:pt idx="980">1</cx:pt>
          <cx:pt idx="981">4</cx:pt>
          <cx:pt idx="982">2</cx:pt>
          <cx:pt idx="983">4</cx:pt>
          <cx:pt idx="984">5</cx:pt>
          <cx:pt idx="985">2</cx:pt>
          <cx:pt idx="986">4</cx:pt>
          <cx:pt idx="987">3</cx:pt>
          <cx:pt idx="988">3</cx:pt>
          <cx:pt idx="989">4</cx:pt>
          <cx:pt idx="990">4</cx:pt>
          <cx:pt idx="991">4</cx:pt>
          <cx:pt idx="992">3</cx:pt>
          <cx:pt idx="993">5</cx:pt>
          <cx:pt idx="994">4</cx:pt>
          <cx:pt idx="995">4</cx:pt>
          <cx:pt idx="996">1</cx:pt>
          <cx:pt idx="997">5</cx:pt>
          <cx:pt idx="998">4</cx:pt>
          <cx:pt idx="999">5</cx:pt>
          <cx:pt idx="1000">1</cx:pt>
          <cx:pt idx="1001">4</cx:pt>
          <cx:pt idx="1002">5</cx:pt>
          <cx:pt idx="1003">4</cx:pt>
          <cx:pt idx="1004">5</cx:pt>
          <cx:pt idx="1005">4</cx:pt>
          <cx:pt idx="1006">3</cx:pt>
          <cx:pt idx="1007">4</cx:pt>
          <cx:pt idx="1008">3</cx:pt>
          <cx:pt idx="1009">3</cx:pt>
          <cx:pt idx="1010">2</cx:pt>
          <cx:pt idx="1011">1</cx:pt>
          <cx:pt idx="1012">3</cx:pt>
          <cx:pt idx="1013">1</cx:pt>
          <cx:pt idx="1014">1</cx:pt>
          <cx:pt idx="1015">5</cx:pt>
          <cx:pt idx="1016">2</cx:pt>
          <cx:pt idx="1017">4</cx:pt>
          <cx:pt idx="1018">4</cx:pt>
          <cx:pt idx="1019">2</cx:pt>
          <cx:pt idx="1020">5</cx:pt>
          <cx:pt idx="1021">5</cx:pt>
          <cx:pt idx="1022">4</cx:pt>
          <cx:pt idx="1023">4</cx:pt>
          <cx:pt idx="1024">4</cx:pt>
          <cx:pt idx="1025">4</cx:pt>
          <cx:pt idx="1026">3</cx:pt>
          <cx:pt idx="1027">4</cx:pt>
          <cx:pt idx="1028">5</cx:pt>
          <cx:pt idx="1029">1</cx:pt>
          <cx:pt idx="1030">3</cx:pt>
          <cx:pt idx="1031">5</cx:pt>
          <cx:pt idx="1032">2</cx:pt>
          <cx:pt idx="1033">4</cx:pt>
          <cx:pt idx="1034">4</cx:pt>
          <cx:pt idx="1035">2</cx:pt>
          <cx:pt idx="1036">5</cx:pt>
          <cx:pt idx="1037">3</cx:pt>
          <cx:pt idx="1038">3</cx:pt>
          <cx:pt idx="1039">1</cx:pt>
          <cx:pt idx="1040">2</cx:pt>
          <cx:pt idx="1041">2</cx:pt>
          <cx:pt idx="1042">5</cx:pt>
          <cx:pt idx="1043">5</cx:pt>
          <cx:pt idx="1044">1</cx:pt>
          <cx:pt idx="1045">4</cx:pt>
          <cx:pt idx="1046">4</cx:pt>
          <cx:pt idx="1047">3</cx:pt>
          <cx:pt idx="1048">1</cx:pt>
          <cx:pt idx="1049">4</cx:pt>
          <cx:pt idx="1050">5</cx:pt>
          <cx:pt idx="1051">3</cx:pt>
          <cx:pt idx="1052">2</cx:pt>
          <cx:pt idx="1053">5</cx:pt>
          <cx:pt idx="1054">2</cx:pt>
          <cx:pt idx="1055">3</cx:pt>
          <cx:pt idx="1056">3</cx:pt>
          <cx:pt idx="1057">2</cx:pt>
          <cx:pt idx="1058">4</cx:pt>
          <cx:pt idx="1059">4</cx:pt>
          <cx:pt idx="1060">5</cx:pt>
          <cx:pt idx="1061">5</cx:pt>
          <cx:pt idx="1062">5</cx:pt>
          <cx:pt idx="1063">5</cx:pt>
          <cx:pt idx="1064">3</cx:pt>
          <cx:pt idx="1065">1</cx:pt>
          <cx:pt idx="1066">4</cx:pt>
          <cx:pt idx="1067">5</cx:pt>
          <cx:pt idx="1068">2</cx:pt>
          <cx:pt idx="1069">4</cx:pt>
          <cx:pt idx="1070">2</cx:pt>
          <cx:pt idx="1071">4</cx:pt>
          <cx:pt idx="1072">5</cx:pt>
          <cx:pt idx="1073">1</cx:pt>
          <cx:pt idx="1074">4</cx:pt>
          <cx:pt idx="1075">4</cx:pt>
          <cx:pt idx="1076">4</cx:pt>
          <cx:pt idx="1077">2</cx:pt>
          <cx:pt idx="1078">3</cx:pt>
          <cx:pt idx="1079">5</cx:pt>
          <cx:pt idx="1080">1</cx:pt>
          <cx:pt idx="1081">1</cx:pt>
          <cx:pt idx="1082">3</cx:pt>
          <cx:pt idx="1083">2</cx:pt>
          <cx:pt idx="1084">5</cx:pt>
          <cx:pt idx="1085">3</cx:pt>
          <cx:pt idx="1086">3</cx:pt>
          <cx:pt idx="1087">4</cx:pt>
          <cx:pt idx="1088">2</cx:pt>
          <cx:pt idx="1089">4</cx:pt>
          <cx:pt idx="1090">4</cx:pt>
          <cx:pt idx="1091">5</cx:pt>
          <cx:pt idx="1092">4</cx:pt>
          <cx:pt idx="1093">3</cx:pt>
          <cx:pt idx="1094">3</cx:pt>
          <cx:pt idx="1095">3</cx:pt>
          <cx:pt idx="1096">4</cx:pt>
          <cx:pt idx="1097">4</cx:pt>
          <cx:pt idx="1098">4</cx:pt>
          <cx:pt idx="1099">5</cx:pt>
          <cx:pt idx="1100">3</cx:pt>
          <cx:pt idx="1101">5</cx:pt>
          <cx:pt idx="1102">3</cx:pt>
          <cx:pt idx="1103">5</cx:pt>
          <cx:pt idx="1104">3</cx:pt>
          <cx:pt idx="1105">1</cx:pt>
          <cx:pt idx="1106">4</cx:pt>
          <cx:pt idx="1107">4</cx:pt>
          <cx:pt idx="1108">5</cx:pt>
          <cx:pt idx="1109">3</cx:pt>
          <cx:pt idx="1110">4</cx:pt>
          <cx:pt idx="1111">3</cx:pt>
          <cx:pt idx="1112">5</cx:pt>
          <cx:pt idx="1113">2</cx:pt>
          <cx:pt idx="1114">3</cx:pt>
          <cx:pt idx="1115">5</cx:pt>
          <cx:pt idx="1116">3</cx:pt>
          <cx:pt idx="1117">3</cx:pt>
          <cx:pt idx="1118">4</cx:pt>
          <cx:pt idx="1119">3</cx:pt>
          <cx:pt idx="1120">2</cx:pt>
          <cx:pt idx="1121">5</cx:pt>
          <cx:pt idx="1122">5</cx:pt>
          <cx:pt idx="1123">4</cx:pt>
          <cx:pt idx="1124">4</cx:pt>
          <cx:pt idx="1125">5</cx:pt>
          <cx:pt idx="1126">4</cx:pt>
          <cx:pt idx="1127">3</cx:pt>
          <cx:pt idx="1128">2</cx:pt>
          <cx:pt idx="1129">3</cx:pt>
          <cx:pt idx="1130">1</cx:pt>
          <cx:pt idx="1131">5</cx:pt>
          <cx:pt idx="1132">3</cx:pt>
          <cx:pt idx="1133">2</cx:pt>
          <cx:pt idx="1134">5</cx:pt>
          <cx:pt idx="1135">4</cx:pt>
          <cx:pt idx="1136">5</cx:pt>
          <cx:pt idx="1137">1</cx:pt>
          <cx:pt idx="1138">5</cx:pt>
          <cx:pt idx="1139">5</cx:pt>
          <cx:pt idx="1140">5</cx:pt>
          <cx:pt idx="1141">3</cx:pt>
          <cx:pt idx="1142">4</cx:pt>
          <cx:pt idx="1143">1</cx:pt>
          <cx:pt idx="1144">1</cx:pt>
          <cx:pt idx="1145">4</cx:pt>
          <cx:pt idx="1146">1</cx:pt>
          <cx:pt idx="1147">4</cx:pt>
          <cx:pt idx="1148">2</cx:pt>
          <cx:pt idx="1149">5</cx:pt>
          <cx:pt idx="1150">4</cx:pt>
          <cx:pt idx="1151">5</cx:pt>
          <cx:pt idx="1152">4</cx:pt>
          <cx:pt idx="1153">4</cx:pt>
          <cx:pt idx="1154">4</cx:pt>
          <cx:pt idx="1155">3</cx:pt>
          <cx:pt idx="1156">2</cx:pt>
          <cx:pt idx="1157">1</cx:pt>
          <cx:pt idx="1158">4</cx:pt>
          <cx:pt idx="1159">5</cx:pt>
          <cx:pt idx="1160">5</cx:pt>
          <cx:pt idx="1161">5</cx:pt>
          <cx:pt idx="1162">2</cx:pt>
          <cx:pt idx="1163">1</cx:pt>
          <cx:pt idx="1164">2</cx:pt>
          <cx:pt idx="1165">5</cx:pt>
          <cx:pt idx="1166">1</cx:pt>
          <cx:pt idx="1167">4</cx:pt>
          <cx:pt idx="1168">3</cx:pt>
          <cx:pt idx="1169">5</cx:pt>
          <cx:pt idx="1170">4</cx:pt>
          <cx:pt idx="1171">2</cx:pt>
          <cx:pt idx="1172">4</cx:pt>
          <cx:pt idx="1173">2</cx:pt>
          <cx:pt idx="1174">5</cx:pt>
          <cx:pt idx="1175">3</cx:pt>
          <cx:pt idx="1176">5</cx:pt>
          <cx:pt idx="1177">5</cx:pt>
          <cx:pt idx="1178">2</cx:pt>
          <cx:pt idx="1179">3</cx:pt>
          <cx:pt idx="1180">2</cx:pt>
          <cx:pt idx="1181">3</cx:pt>
          <cx:pt idx="1182">4</cx:pt>
          <cx:pt idx="1183">5</cx:pt>
          <cx:pt idx="1184">4</cx:pt>
          <cx:pt idx="1185">5</cx:pt>
          <cx:pt idx="1186">5</cx:pt>
          <cx:pt idx="1187">3</cx:pt>
          <cx:pt idx="1188">5</cx:pt>
          <cx:pt idx="1189">5</cx:pt>
          <cx:pt idx="1190">4</cx:pt>
          <cx:pt idx="1191">1</cx:pt>
          <cx:pt idx="1192">1</cx:pt>
          <cx:pt idx="1193">5</cx:pt>
          <cx:pt idx="1194">2</cx:pt>
          <cx:pt idx="1195">5</cx:pt>
          <cx:pt idx="1196">5</cx:pt>
          <cx:pt idx="1197">4</cx:pt>
          <cx:pt idx="1198">3</cx:pt>
          <cx:pt idx="1199">5</cx:pt>
          <cx:pt idx="1200">2</cx:pt>
          <cx:pt idx="1201">5</cx:pt>
          <cx:pt idx="1202">3</cx:pt>
          <cx:pt idx="1203">4</cx:pt>
          <cx:pt idx="1204">2</cx:pt>
          <cx:pt idx="1205">4</cx:pt>
          <cx:pt idx="1206">4</cx:pt>
          <cx:pt idx="1207">1</cx:pt>
          <cx:pt idx="1208">5</cx:pt>
          <cx:pt idx="1209">5</cx:pt>
          <cx:pt idx="1210">1</cx:pt>
          <cx:pt idx="1211">4</cx:pt>
          <cx:pt idx="1212">4</cx:pt>
          <cx:pt idx="1213">5</cx:pt>
          <cx:pt idx="1214">3</cx:pt>
          <cx:pt idx="1215">5</cx:pt>
          <cx:pt idx="1216">5</cx:pt>
          <cx:pt idx="1217">4</cx:pt>
          <cx:pt idx="1218">1</cx:pt>
          <cx:pt idx="1219">2</cx:pt>
          <cx:pt idx="1220">5</cx:pt>
          <cx:pt idx="1221">5</cx:pt>
          <cx:pt idx="1222">2</cx:pt>
          <cx:pt idx="1223">4</cx:pt>
          <cx:pt idx="1224">2</cx:pt>
          <cx:pt idx="1225">2</cx:pt>
          <cx:pt idx="1226">3</cx:pt>
          <cx:pt idx="1227">4</cx:pt>
          <cx:pt idx="1228">3</cx:pt>
          <cx:pt idx="1229">5</cx:pt>
          <cx:pt idx="1230">4</cx:pt>
          <cx:pt idx="1231">2</cx:pt>
          <cx:pt idx="1232">5</cx:pt>
          <cx:pt idx="1233">2</cx:pt>
          <cx:pt idx="1234">3</cx:pt>
          <cx:pt idx="1235">4</cx:pt>
          <cx:pt idx="1236">5</cx:pt>
          <cx:pt idx="1237">5</cx:pt>
          <cx:pt idx="1238">5</cx:pt>
          <cx:pt idx="1239">4</cx:pt>
          <cx:pt idx="1240">2</cx:pt>
          <cx:pt idx="1241">5</cx:pt>
          <cx:pt idx="1242">4</cx:pt>
          <cx:pt idx="1243">5</cx:pt>
          <cx:pt idx="1244">5</cx:pt>
          <cx:pt idx="1245">1</cx:pt>
          <cx:pt idx="1246">1</cx:pt>
          <cx:pt idx="1247">5</cx:pt>
          <cx:pt idx="1248">4</cx:pt>
          <cx:pt idx="1249">3</cx:pt>
          <cx:pt idx="1250">4</cx:pt>
          <cx:pt idx="1251">3</cx:pt>
          <cx:pt idx="1252">4</cx:pt>
          <cx:pt idx="1253">3</cx:pt>
          <cx:pt idx="1254">4</cx:pt>
          <cx:pt idx="1255">5</cx:pt>
          <cx:pt idx="1256">4</cx:pt>
          <cx:pt idx="1257">5</cx:pt>
          <cx:pt idx="1258">5</cx:pt>
          <cx:pt idx="1259">2</cx:pt>
          <cx:pt idx="1260">4</cx:pt>
          <cx:pt idx="1261">3</cx:pt>
          <cx:pt idx="1262">3</cx:pt>
          <cx:pt idx="1263">2</cx:pt>
          <cx:pt idx="1264">4</cx:pt>
          <cx:pt idx="1265">5</cx:pt>
          <cx:pt idx="1266">5</cx:pt>
          <cx:pt idx="1267">4</cx:pt>
          <cx:pt idx="1268">4</cx:pt>
          <cx:pt idx="1269">3</cx:pt>
          <cx:pt idx="1270">4</cx:pt>
          <cx:pt idx="1271">3</cx:pt>
          <cx:pt idx="1272">3</cx:pt>
          <cx:pt idx="1273">2</cx:pt>
          <cx:pt idx="1274">2</cx:pt>
          <cx:pt idx="1275">4</cx:pt>
          <cx:pt idx="1276">4</cx:pt>
          <cx:pt idx="1277">2</cx:pt>
          <cx:pt idx="1278">3</cx:pt>
          <cx:pt idx="1279">5</cx:pt>
          <cx:pt idx="1280">1</cx:pt>
          <cx:pt idx="1281">4</cx:pt>
          <cx:pt idx="1282">3</cx:pt>
          <cx:pt idx="1283">1</cx:pt>
          <cx:pt idx="1284">4</cx:pt>
          <cx:pt idx="1285">4</cx:pt>
          <cx:pt idx="1286">4</cx:pt>
          <cx:pt idx="1287">5</cx:pt>
          <cx:pt idx="1288">5</cx:pt>
          <cx:pt idx="1289">2</cx:pt>
          <cx:pt idx="1290">4</cx:pt>
          <cx:pt idx="1291">4</cx:pt>
          <cx:pt idx="1292">5</cx:pt>
          <cx:pt idx="1293">4</cx:pt>
          <cx:pt idx="1294">3</cx:pt>
          <cx:pt idx="1295">5</cx:pt>
          <cx:pt idx="1296">4</cx:pt>
          <cx:pt idx="1297">5</cx:pt>
          <cx:pt idx="1298">4</cx:pt>
          <cx:pt idx="1299">1</cx:pt>
          <cx:pt idx="1300">4</cx:pt>
          <cx:pt idx="1301">5</cx:pt>
          <cx:pt idx="1302">4</cx:pt>
          <cx:pt idx="1303">2</cx:pt>
          <cx:pt idx="1304">5</cx:pt>
          <cx:pt idx="1305">2</cx:pt>
          <cx:pt idx="1306">4</cx:pt>
          <cx:pt idx="1307">4</cx:pt>
          <cx:pt idx="1308">1</cx:pt>
          <cx:pt idx="1309">2</cx:pt>
          <cx:pt idx="1310">5</cx:pt>
          <cx:pt idx="1311">4</cx:pt>
          <cx:pt idx="1312">2</cx:pt>
          <cx:pt idx="1313">5</cx:pt>
          <cx:pt idx="1314">2</cx:pt>
          <cx:pt idx="1315">4</cx:pt>
          <cx:pt idx="1316">2</cx:pt>
          <cx:pt idx="1317">1</cx:pt>
          <cx:pt idx="1318">2</cx:pt>
          <cx:pt idx="1319">4</cx:pt>
          <cx:pt idx="1320">5</cx:pt>
          <cx:pt idx="1321">3</cx:pt>
          <cx:pt idx="1322">5</cx:pt>
          <cx:pt idx="1323">4</cx:pt>
          <cx:pt idx="1324">5</cx:pt>
          <cx:pt idx="1325">2</cx:pt>
          <cx:pt idx="1326">4</cx:pt>
          <cx:pt idx="1327">4</cx:pt>
          <cx:pt idx="1328">4</cx:pt>
          <cx:pt idx="1329">4</cx:pt>
          <cx:pt idx="1330">4</cx:pt>
          <cx:pt idx="1331">3</cx:pt>
          <cx:pt idx="1332">1</cx:pt>
          <cx:pt idx="1333">3</cx:pt>
          <cx:pt idx="1334">2</cx:pt>
          <cx:pt idx="1335">4</cx:pt>
          <cx:pt idx="1336">4</cx:pt>
          <cx:pt idx="1337">4</cx:pt>
          <cx:pt idx="1338">2</cx:pt>
          <cx:pt idx="1339">2</cx:pt>
          <cx:pt idx="1340">1</cx:pt>
          <cx:pt idx="1341">4</cx:pt>
          <cx:pt idx="1342">2</cx:pt>
          <cx:pt idx="1343">2</cx:pt>
          <cx:pt idx="1344">4</cx:pt>
          <cx:pt idx="1345">2</cx:pt>
          <cx:pt idx="1346">4</cx:pt>
          <cx:pt idx="1347">5</cx:pt>
          <cx:pt idx="1348">3</cx:pt>
          <cx:pt idx="1349">1</cx:pt>
          <cx:pt idx="1350">2</cx:pt>
          <cx:pt idx="1351">1</cx:pt>
          <cx:pt idx="1352">3</cx:pt>
          <cx:pt idx="1353">3</cx:pt>
          <cx:pt idx="1354">5</cx:pt>
          <cx:pt idx="1355">5</cx:pt>
          <cx:pt idx="1356">5</cx:pt>
          <cx:pt idx="1357">4</cx:pt>
          <cx:pt idx="1358">4</cx:pt>
          <cx:pt idx="1359">3</cx:pt>
          <cx:pt idx="1360">1</cx:pt>
          <cx:pt idx="1361">3</cx:pt>
          <cx:pt idx="1362">4</cx:pt>
          <cx:pt idx="1363">4</cx:pt>
          <cx:pt idx="1364">5</cx:pt>
          <cx:pt idx="1365">4</cx:pt>
          <cx:pt idx="1366">2</cx:pt>
          <cx:pt idx="1367">2</cx:pt>
          <cx:pt idx="1368">5</cx:pt>
          <cx:pt idx="1369">5</cx:pt>
          <cx:pt idx="1370">2</cx:pt>
          <cx:pt idx="1371">3</cx:pt>
          <cx:pt idx="1372">4</cx:pt>
          <cx:pt idx="1373">5</cx:pt>
          <cx:pt idx="1374">5</cx:pt>
          <cx:pt idx="1375">4</cx:pt>
          <cx:pt idx="1376">4</cx:pt>
          <cx:pt idx="1377">5</cx:pt>
          <cx:pt idx="1378">5</cx:pt>
          <cx:pt idx="1379">2</cx:pt>
          <cx:pt idx="1380">4</cx:pt>
          <cx:pt idx="1381">2</cx:pt>
          <cx:pt idx="1382">2</cx:pt>
          <cx:pt idx="1383">3</cx:pt>
          <cx:pt idx="1384">2</cx:pt>
          <cx:pt idx="1385">4</cx:pt>
          <cx:pt idx="1386">2</cx:pt>
          <cx:pt idx="1387">5</cx:pt>
          <cx:pt idx="1388">5</cx:pt>
          <cx:pt idx="1389">2</cx:pt>
          <cx:pt idx="1390">1</cx:pt>
          <cx:pt idx="1391">5</cx:pt>
          <cx:pt idx="1392">4</cx:pt>
          <cx:pt idx="1393">4</cx:pt>
          <cx:pt idx="1394">3</cx:pt>
          <cx:pt idx="1395">2</cx:pt>
          <cx:pt idx="1396">4</cx:pt>
          <cx:pt idx="1397">3</cx:pt>
          <cx:pt idx="1398">1</cx:pt>
          <cx:pt idx="1399">5</cx:pt>
          <cx:pt idx="1400">4</cx:pt>
          <cx:pt idx="1401">1</cx:pt>
          <cx:pt idx="1402">1</cx:pt>
          <cx:pt idx="1403">3</cx:pt>
          <cx:pt idx="1404">4</cx:pt>
          <cx:pt idx="1405">4</cx:pt>
          <cx:pt idx="1406">1</cx:pt>
          <cx:pt idx="1407">5</cx:pt>
          <cx:pt idx="1408">4</cx:pt>
          <cx:pt idx="1409">5</cx:pt>
          <cx:pt idx="1410">4</cx:pt>
          <cx:pt idx="1411">4</cx:pt>
          <cx:pt idx="1412">4</cx:pt>
          <cx:pt idx="1413">5</cx:pt>
          <cx:pt idx="1414">4</cx:pt>
          <cx:pt idx="1415">4</cx:pt>
          <cx:pt idx="1416">5</cx:pt>
          <cx:pt idx="1417">4</cx:pt>
          <cx:pt idx="1418">4</cx:pt>
          <cx:pt idx="1419">4</cx:pt>
          <cx:pt idx="1420">2</cx:pt>
          <cx:pt idx="1421">4</cx:pt>
          <cx:pt idx="1422">4</cx:pt>
          <cx:pt idx="1423">5</cx:pt>
          <cx:pt idx="1424">2</cx:pt>
          <cx:pt idx="1425">3</cx:pt>
          <cx:pt idx="1426">2</cx:pt>
          <cx:pt idx="1427">5</cx:pt>
          <cx:pt idx="1428">5</cx:pt>
          <cx:pt idx="1429">4</cx:pt>
          <cx:pt idx="1430">5</cx:pt>
          <cx:pt idx="1431">5</cx:pt>
          <cx:pt idx="1432">1</cx:pt>
          <cx:pt idx="1433">3</cx:pt>
          <cx:pt idx="1434">2</cx:pt>
          <cx:pt idx="1435">2</cx:pt>
          <cx:pt idx="1436">5</cx:pt>
          <cx:pt idx="1437">4</cx:pt>
          <cx:pt idx="1438">5</cx:pt>
          <cx:pt idx="1439">4</cx:pt>
          <cx:pt idx="1440">1</cx:pt>
          <cx:pt idx="1441">3</cx:pt>
          <cx:pt idx="1442">2</cx:pt>
          <cx:pt idx="1443">4</cx:pt>
          <cx:pt idx="1444">2</cx:pt>
          <cx:pt idx="1445">3</cx:pt>
          <cx:pt idx="1446">4</cx:pt>
          <cx:pt idx="1447">4</cx:pt>
          <cx:pt idx="1448">2</cx:pt>
          <cx:pt idx="1449">4</cx:pt>
          <cx:pt idx="1450">4</cx:pt>
          <cx:pt idx="1451">2</cx:pt>
          <cx:pt idx="1452">1</cx:pt>
          <cx:pt idx="1453">5</cx:pt>
          <cx:pt idx="1454">4</cx:pt>
          <cx:pt idx="1455">3</cx:pt>
          <cx:pt idx="1456">3</cx:pt>
          <cx:pt idx="1457">5</cx:pt>
          <cx:pt idx="1458">1</cx:pt>
          <cx:pt idx="1459">5</cx:pt>
          <cx:pt idx="1460">5</cx:pt>
          <cx:pt idx="1461">4</cx:pt>
          <cx:pt idx="1462">4</cx:pt>
          <cx:pt idx="1463">4</cx:pt>
          <cx:pt idx="1464">2</cx:pt>
          <cx:pt idx="1465">5</cx:pt>
          <cx:pt idx="1466">3</cx:pt>
          <cx:pt idx="1467">4</cx:pt>
          <cx:pt idx="1468">4</cx:pt>
          <cx:pt idx="1469">3</cx:pt>
          <cx:pt idx="1470">5</cx:pt>
          <cx:pt idx="1471">4</cx:pt>
          <cx:pt idx="1472">1</cx:pt>
          <cx:pt idx="1473">2</cx:pt>
          <cx:pt idx="1474">5</cx:pt>
          <cx:pt idx="1475">3</cx:pt>
          <cx:pt idx="1476">4</cx:pt>
          <cx:pt idx="1477">4</cx:pt>
          <cx:pt idx="1478">5</cx:pt>
          <cx:pt idx="1479">4</cx:pt>
          <cx:pt idx="1480">2</cx:pt>
          <cx:pt idx="1481">4</cx:pt>
          <cx:pt idx="1482">2</cx:pt>
          <cx:pt idx="1483">5</cx:pt>
          <cx:pt idx="1484">1</cx:pt>
          <cx:pt idx="1485">5</cx:pt>
          <cx:pt idx="1486">3</cx:pt>
          <cx:pt idx="1487">2</cx:pt>
          <cx:pt idx="1488">1</cx:pt>
          <cx:pt idx="1489">4</cx:pt>
          <cx:pt idx="1490">2</cx:pt>
          <cx:pt idx="1491">1</cx:pt>
          <cx:pt idx="1492">4</cx:pt>
          <cx:pt idx="1493">3</cx:pt>
          <cx:pt idx="1494">4</cx:pt>
          <cx:pt idx="1495">5</cx:pt>
          <cx:pt idx="1496">5</cx:pt>
          <cx:pt idx="1497">3</cx:pt>
          <cx:pt idx="1498">1</cx:pt>
          <cx:pt idx="1499">4</cx:pt>
          <cx:pt idx="1500">4</cx:pt>
          <cx:pt idx="1501">4</cx:pt>
          <cx:pt idx="1502">4</cx:pt>
          <cx:pt idx="1503">4</cx:pt>
          <cx:pt idx="1504">1</cx:pt>
          <cx:pt idx="1505">4</cx:pt>
          <cx:pt idx="1506">4</cx:pt>
          <cx:pt idx="1507">3</cx:pt>
          <cx:pt idx="1508">2</cx:pt>
          <cx:pt idx="1509">1</cx:pt>
          <cx:pt idx="1510">2</cx:pt>
          <cx:pt idx="1511">2</cx:pt>
          <cx:pt idx="1512">5</cx:pt>
          <cx:pt idx="1513">4</cx:pt>
          <cx:pt idx="1514">5</cx:pt>
          <cx:pt idx="1515">2</cx:pt>
          <cx:pt idx="1516">4</cx:pt>
          <cx:pt idx="1517">4</cx:pt>
          <cx:pt idx="1518">4</cx:pt>
          <cx:pt idx="1519">3</cx:pt>
          <cx:pt idx="1520">5</cx:pt>
          <cx:pt idx="1521">4</cx:pt>
          <cx:pt idx="1522">4</cx:pt>
          <cx:pt idx="1523">3</cx:pt>
          <cx:pt idx="1524">2</cx:pt>
          <cx:pt idx="1525">4</cx:pt>
          <cx:pt idx="1526">5</cx:pt>
          <cx:pt idx="1527">4</cx:pt>
          <cx:pt idx="1528">3</cx:pt>
          <cx:pt idx="1529">3</cx:pt>
          <cx:pt idx="1530">4</cx:pt>
          <cx:pt idx="1531">4</cx:pt>
          <cx:pt idx="1532">2</cx:pt>
          <cx:pt idx="1533">3</cx:pt>
          <cx:pt idx="1534">2</cx:pt>
          <cx:pt idx="1535">4</cx:pt>
          <cx:pt idx="1536">4</cx:pt>
          <cx:pt idx="1537">3</cx:pt>
          <cx:pt idx="1538">1</cx:pt>
          <cx:pt idx="1539">4</cx:pt>
          <cx:pt idx="1540">5</cx:pt>
          <cx:pt idx="1541">2</cx:pt>
          <cx:pt idx="1542">1</cx:pt>
          <cx:pt idx="1543">2</cx:pt>
          <cx:pt idx="1544">3</cx:pt>
          <cx:pt idx="1545">1</cx:pt>
          <cx:pt idx="1546">4</cx:pt>
          <cx:pt idx="1547">5</cx:pt>
          <cx:pt idx="1548">4</cx:pt>
          <cx:pt idx="1549">5</cx:pt>
          <cx:pt idx="1550">3</cx:pt>
          <cx:pt idx="1551">4</cx:pt>
          <cx:pt idx="1552">1</cx:pt>
          <cx:pt idx="1553">5</cx:pt>
          <cx:pt idx="1554">2</cx:pt>
          <cx:pt idx="1555">4</cx:pt>
          <cx:pt idx="1556">4</cx:pt>
          <cx:pt idx="1557">5</cx:pt>
          <cx:pt idx="1558">1</cx:pt>
          <cx:pt idx="1559">5</cx:pt>
          <cx:pt idx="1560">2</cx:pt>
          <cx:pt idx="1561">4</cx:pt>
          <cx:pt idx="1562">4</cx:pt>
          <cx:pt idx="1563">2</cx:pt>
          <cx:pt idx="1564">1</cx:pt>
          <cx:pt idx="1565">4</cx:pt>
          <cx:pt idx="1566">1</cx:pt>
          <cx:pt idx="1567">3</cx:pt>
          <cx:pt idx="1568">5</cx:pt>
          <cx:pt idx="1569">4</cx:pt>
          <cx:pt idx="1570">4</cx:pt>
          <cx:pt idx="1571">2</cx:pt>
          <cx:pt idx="1572">4</cx:pt>
          <cx:pt idx="1573">4</cx:pt>
          <cx:pt idx="1574">3</cx:pt>
          <cx:pt idx="1575">4</cx:pt>
          <cx:pt idx="1576">5</cx:pt>
          <cx:pt idx="1577">1</cx:pt>
          <cx:pt idx="1578">1</cx:pt>
          <cx:pt idx="1579">4</cx:pt>
          <cx:pt idx="1580">4</cx:pt>
          <cx:pt idx="1581">4</cx:pt>
          <cx:pt idx="1582">5</cx:pt>
          <cx:pt idx="1583">4</cx:pt>
          <cx:pt idx="1584">5</cx:pt>
          <cx:pt idx="1585">2</cx:pt>
          <cx:pt idx="1586">4</cx:pt>
          <cx:pt idx="1587">4</cx:pt>
          <cx:pt idx="1588">2</cx:pt>
          <cx:pt idx="1589">5</cx:pt>
          <cx:pt idx="1590">5</cx:pt>
          <cx:pt idx="1591">5</cx:pt>
          <cx:pt idx="1592">4</cx:pt>
          <cx:pt idx="1593">2</cx:pt>
          <cx:pt idx="1594">4</cx:pt>
          <cx:pt idx="1595">5</cx:pt>
          <cx:pt idx="1596">4</cx:pt>
          <cx:pt idx="1597">5</cx:pt>
          <cx:pt idx="1598">4</cx:pt>
          <cx:pt idx="1599">3</cx:pt>
          <cx:pt idx="1600">4</cx:pt>
          <cx:pt idx="1601">5</cx:pt>
          <cx:pt idx="1602">5</cx:pt>
          <cx:pt idx="1603">2</cx:pt>
          <cx:pt idx="1604">3</cx:pt>
          <cx:pt idx="1605">2</cx:pt>
          <cx:pt idx="1606">2</cx:pt>
          <cx:pt idx="1607">2</cx:pt>
          <cx:pt idx="1608">3</cx:pt>
          <cx:pt idx="1609">4</cx:pt>
          <cx:pt idx="1610">2</cx:pt>
          <cx:pt idx="1611">3</cx:pt>
          <cx:pt idx="1612">4</cx:pt>
          <cx:pt idx="1613">2</cx:pt>
          <cx:pt idx="1614">5</cx:pt>
          <cx:pt idx="1615">5</cx:pt>
          <cx:pt idx="1616">5</cx:pt>
          <cx:pt idx="1617">3</cx:pt>
          <cx:pt idx="1618">4</cx:pt>
          <cx:pt idx="1619">4</cx:pt>
          <cx:pt idx="1620">4</cx:pt>
          <cx:pt idx="1621">4</cx:pt>
          <cx:pt idx="1622">3</cx:pt>
          <cx:pt idx="1623">4</cx:pt>
          <cx:pt idx="1624">2</cx:pt>
          <cx:pt idx="1625">5</cx:pt>
          <cx:pt idx="1626">1</cx:pt>
          <cx:pt idx="1627">2</cx:pt>
          <cx:pt idx="1628">4</cx:pt>
          <cx:pt idx="1629">4</cx:pt>
          <cx:pt idx="1630">4</cx:pt>
          <cx:pt idx="1631">5</cx:pt>
          <cx:pt idx="1632">4</cx:pt>
          <cx:pt idx="1633">3</cx:pt>
          <cx:pt idx="1634">3</cx:pt>
          <cx:pt idx="1635">5</cx:pt>
          <cx:pt idx="1636">3</cx:pt>
          <cx:pt idx="1637">4</cx:pt>
          <cx:pt idx="1638">4</cx:pt>
          <cx:pt idx="1639">4</cx:pt>
          <cx:pt idx="1640">4</cx:pt>
          <cx:pt idx="1641">1</cx:pt>
          <cx:pt idx="1642">5</cx:pt>
          <cx:pt idx="1643">5</cx:pt>
          <cx:pt idx="1644">4</cx:pt>
          <cx:pt idx="1645">5</cx:pt>
          <cx:pt idx="1646">3</cx:pt>
          <cx:pt idx="1647">5</cx:pt>
          <cx:pt idx="1648">4</cx:pt>
          <cx:pt idx="1649">2</cx:pt>
          <cx:pt idx="1650">3</cx:pt>
          <cx:pt idx="1651">4</cx:pt>
          <cx:pt idx="1652">4</cx:pt>
          <cx:pt idx="1653">5</cx:pt>
          <cx:pt idx="1654">4</cx:pt>
          <cx:pt idx="1655">3</cx:pt>
          <cx:pt idx="1656">5</cx:pt>
          <cx:pt idx="1657">4</cx:pt>
          <cx:pt idx="1658">4</cx:pt>
          <cx:pt idx="1659">5</cx:pt>
          <cx:pt idx="1660">3</cx:pt>
          <cx:pt idx="1661">4</cx:pt>
          <cx:pt idx="1662">3</cx:pt>
          <cx:pt idx="1663">5</cx:pt>
          <cx:pt idx="1664">4</cx:pt>
          <cx:pt idx="1665">1</cx:pt>
          <cx:pt idx="1666">3</cx:pt>
          <cx:pt idx="1667">1</cx:pt>
          <cx:pt idx="1668">4</cx:pt>
          <cx:pt idx="1669">5</cx:pt>
          <cx:pt idx="1670">2</cx:pt>
          <cx:pt idx="1671">3</cx:pt>
          <cx:pt idx="1672">5</cx:pt>
          <cx:pt idx="1673">2</cx:pt>
          <cx:pt idx="1674">2</cx:pt>
          <cx:pt idx="1675">2</cx:pt>
          <cx:pt idx="1676">4</cx:pt>
          <cx:pt idx="1677">5</cx:pt>
          <cx:pt idx="1678">3</cx:pt>
          <cx:pt idx="1679">3</cx:pt>
          <cx:pt idx="1680">4</cx:pt>
          <cx:pt idx="1681">5</cx:pt>
          <cx:pt idx="1682">4</cx:pt>
          <cx:pt idx="1683">1</cx:pt>
          <cx:pt idx="1684">3</cx:pt>
          <cx:pt idx="1685">5</cx:pt>
          <cx:pt idx="1686">3</cx:pt>
          <cx:pt idx="1687">5</cx:pt>
          <cx:pt idx="1688">5</cx:pt>
          <cx:pt idx="1689">1</cx:pt>
          <cx:pt idx="1690">1</cx:pt>
          <cx:pt idx="1691">3</cx:pt>
          <cx:pt idx="1692">5</cx:pt>
          <cx:pt idx="1693">2</cx:pt>
          <cx:pt idx="1694">3</cx:pt>
          <cx:pt idx="1695">4</cx:pt>
          <cx:pt idx="1696">3</cx:pt>
          <cx:pt idx="1697">5</cx:pt>
          <cx:pt idx="1698">5</cx:pt>
          <cx:pt idx="1699">5</cx:pt>
          <cx:pt idx="1700">3</cx:pt>
          <cx:pt idx="1701">5</cx:pt>
          <cx:pt idx="1702">2</cx:pt>
          <cx:pt idx="1703">4</cx:pt>
          <cx:pt idx="1704">3</cx:pt>
          <cx:pt idx="1705">5</cx:pt>
          <cx:pt idx="1706">5</cx:pt>
          <cx:pt idx="1707">4</cx:pt>
          <cx:pt idx="1708">5</cx:pt>
          <cx:pt idx="1709">3</cx:pt>
          <cx:pt idx="1710">5</cx:pt>
          <cx:pt idx="1711">3</cx:pt>
          <cx:pt idx="1712">5</cx:pt>
          <cx:pt idx="1713">5</cx:pt>
          <cx:pt idx="1714">4</cx:pt>
          <cx:pt idx="1715">4</cx:pt>
          <cx:pt idx="1716">1</cx:pt>
          <cx:pt idx="1717">1</cx:pt>
          <cx:pt idx="1718">4</cx:pt>
          <cx:pt idx="1719">4</cx:pt>
          <cx:pt idx="1720">5</cx:pt>
          <cx:pt idx="1721">5</cx:pt>
          <cx:pt idx="1722">4</cx:pt>
          <cx:pt idx="1723">3</cx:pt>
          <cx:pt idx="1724">4</cx:pt>
          <cx:pt idx="1725">3</cx:pt>
          <cx:pt idx="1726">5</cx:pt>
          <cx:pt idx="1727">4</cx:pt>
          <cx:pt idx="1728">4</cx:pt>
          <cx:pt idx="1729">4</cx:pt>
          <cx:pt idx="1730">2</cx:pt>
          <cx:pt idx="1731">3</cx:pt>
          <cx:pt idx="1732">5</cx:pt>
          <cx:pt idx="1733">5</cx:pt>
          <cx:pt idx="1734">1</cx:pt>
          <cx:pt idx="1735">5</cx:pt>
          <cx:pt idx="1736">4</cx:pt>
          <cx:pt idx="1737">5</cx:pt>
          <cx:pt idx="1738">2</cx:pt>
          <cx:pt idx="1739">3</cx:pt>
          <cx:pt idx="1740">4</cx:pt>
          <cx:pt idx="1741">1</cx:pt>
          <cx:pt idx="1742">4</cx:pt>
          <cx:pt idx="1743">5</cx:pt>
          <cx:pt idx="1744">4</cx:pt>
          <cx:pt idx="1745">1</cx:pt>
          <cx:pt idx="1746">4</cx:pt>
          <cx:pt idx="1747">4</cx:pt>
          <cx:pt idx="1748">3</cx:pt>
          <cx:pt idx="1749">2</cx:pt>
          <cx:pt idx="1750">4</cx:pt>
          <cx:pt idx="1751">4</cx:pt>
          <cx:pt idx="1752">3</cx:pt>
          <cx:pt idx="1753">4</cx:pt>
          <cx:pt idx="1754">3</cx:pt>
          <cx:pt idx="1755">4</cx:pt>
          <cx:pt idx="1756">3</cx:pt>
          <cx:pt idx="1757">5</cx:pt>
          <cx:pt idx="1758">3</cx:pt>
          <cx:pt idx="1759">2</cx:pt>
          <cx:pt idx="1760">2</cx:pt>
          <cx:pt idx="1761">1</cx:pt>
          <cx:pt idx="1762">2</cx:pt>
          <cx:pt idx="1763">1</cx:pt>
          <cx:pt idx="1764">1</cx:pt>
          <cx:pt idx="1765">3</cx:pt>
          <cx:pt idx="1766">2</cx:pt>
          <cx:pt idx="1767">4</cx:pt>
          <cx:pt idx="1768">5</cx:pt>
          <cx:pt idx="1769">5</cx:pt>
          <cx:pt idx="1770">4</cx:pt>
          <cx:pt idx="1771">2</cx:pt>
          <cx:pt idx="1772">2</cx:pt>
          <cx:pt idx="1773">3</cx:pt>
          <cx:pt idx="1774">5</cx:pt>
          <cx:pt idx="1775">5</cx:pt>
          <cx:pt idx="1776">3</cx:pt>
          <cx:pt idx="1777">4</cx:pt>
          <cx:pt idx="1778">2</cx:pt>
          <cx:pt idx="1779">3</cx:pt>
          <cx:pt idx="1780">5</cx:pt>
          <cx:pt idx="1781">3</cx:pt>
          <cx:pt idx="1782">3</cx:pt>
          <cx:pt idx="1783">5</cx:pt>
          <cx:pt idx="1784">1</cx:pt>
          <cx:pt idx="1785">4</cx:pt>
          <cx:pt idx="1786">4</cx:pt>
          <cx:pt idx="1787">4</cx:pt>
          <cx:pt idx="1788">5</cx:pt>
          <cx:pt idx="1789">4</cx:pt>
          <cx:pt idx="1790">4</cx:pt>
          <cx:pt idx="1791">5</cx:pt>
          <cx:pt idx="1792">3</cx:pt>
          <cx:pt idx="1793">4</cx:pt>
          <cx:pt idx="1794">2</cx:pt>
          <cx:pt idx="1795">1</cx:pt>
          <cx:pt idx="1796">5</cx:pt>
          <cx:pt idx="1797">1</cx:pt>
          <cx:pt idx="1798">4</cx:pt>
          <cx:pt idx="1799">5</cx:pt>
          <cx:pt idx="1800">4</cx:pt>
          <cx:pt idx="1801">2</cx:pt>
          <cx:pt idx="1802">1</cx:pt>
          <cx:pt idx="1803">4</cx:pt>
          <cx:pt idx="1804">4</cx:pt>
          <cx:pt idx="1805">4</cx:pt>
          <cx:pt idx="1806">4</cx:pt>
          <cx:pt idx="1807">3</cx:pt>
          <cx:pt idx="1808">5</cx:pt>
          <cx:pt idx="1809">2</cx:pt>
          <cx:pt idx="1810">4</cx:pt>
          <cx:pt idx="1811">3</cx:pt>
          <cx:pt idx="1812">1</cx:pt>
          <cx:pt idx="1813">4</cx:pt>
          <cx:pt idx="1814">4</cx:pt>
          <cx:pt idx="1815">4</cx:pt>
          <cx:pt idx="1816">5</cx:pt>
          <cx:pt idx="1817">4</cx:pt>
          <cx:pt idx="1818">1</cx:pt>
          <cx:pt idx="1819">3</cx:pt>
          <cx:pt idx="1820">4</cx:pt>
          <cx:pt idx="1821">3</cx:pt>
          <cx:pt idx="1822">4</cx:pt>
          <cx:pt idx="1823">2</cx:pt>
          <cx:pt idx="1824">3</cx:pt>
          <cx:pt idx="1825">3</cx:pt>
          <cx:pt idx="1826">5</cx:pt>
          <cx:pt idx="1827">5</cx:pt>
          <cx:pt idx="1828">2</cx:pt>
          <cx:pt idx="1829">4</cx:pt>
          <cx:pt idx="1830">1</cx:pt>
          <cx:pt idx="1831">3</cx:pt>
          <cx:pt idx="1832">1</cx:pt>
          <cx:pt idx="1833">5</cx:pt>
          <cx:pt idx="1834">4</cx:pt>
          <cx:pt idx="1835">4</cx:pt>
          <cx:pt idx="1836">3</cx:pt>
          <cx:pt idx="1837">2</cx:pt>
          <cx:pt idx="1838">4</cx:pt>
          <cx:pt idx="1839">4</cx:pt>
          <cx:pt idx="1840">5</cx:pt>
          <cx:pt idx="1841">1</cx:pt>
          <cx:pt idx="1842">4</cx:pt>
          <cx:pt idx="1843">2</cx:pt>
          <cx:pt idx="1844">5</cx:pt>
          <cx:pt idx="1845">3</cx:pt>
          <cx:pt idx="1846">4</cx:pt>
          <cx:pt idx="1847">4</cx:pt>
          <cx:pt idx="1848">4</cx:pt>
          <cx:pt idx="1849">4</cx:pt>
          <cx:pt idx="1850">4</cx:pt>
          <cx:pt idx="1851">1</cx:pt>
          <cx:pt idx="1852">3</cx:pt>
          <cx:pt idx="1853">5</cx:pt>
          <cx:pt idx="1854">1</cx:pt>
          <cx:pt idx="1855">4</cx:pt>
          <cx:pt idx="1856">2</cx:pt>
          <cx:pt idx="1857">5</cx:pt>
          <cx:pt idx="1858">4</cx:pt>
          <cx:pt idx="1859">5</cx:pt>
          <cx:pt idx="1860">2</cx:pt>
          <cx:pt idx="1861">4</cx:pt>
          <cx:pt idx="1862">5</cx:pt>
          <cx:pt idx="1863">5</cx:pt>
          <cx:pt idx="1864">1</cx:pt>
          <cx:pt idx="1865">2</cx:pt>
          <cx:pt idx="1866">3</cx:pt>
          <cx:pt idx="1867">5</cx:pt>
          <cx:pt idx="1868">4</cx:pt>
          <cx:pt idx="1869">2</cx:pt>
          <cx:pt idx="1870">4</cx:pt>
          <cx:pt idx="1871">1</cx:pt>
          <cx:pt idx="1872">2</cx:pt>
          <cx:pt idx="1873">4</cx:pt>
          <cx:pt idx="1874">2</cx:pt>
          <cx:pt idx="1875">4</cx:pt>
          <cx:pt idx="1876">3</cx:pt>
          <cx:pt idx="1877">1</cx:pt>
          <cx:pt idx="1878">4</cx:pt>
          <cx:pt idx="1879">5</cx:pt>
          <cx:pt idx="1880">4</cx:pt>
          <cx:pt idx="1881">4</cx:pt>
          <cx:pt idx="1882">2</cx:pt>
          <cx:pt idx="1883">5</cx:pt>
          <cx:pt idx="1884">5</cx:pt>
          <cx:pt idx="1885">2</cx:pt>
          <cx:pt idx="1886">1</cx:pt>
          <cx:pt idx="1887">4</cx:pt>
          <cx:pt idx="1888">3</cx:pt>
          <cx:pt idx="1889">4</cx:pt>
          <cx:pt idx="1890">4</cx:pt>
          <cx:pt idx="1891">1</cx:pt>
          <cx:pt idx="1892">4</cx:pt>
          <cx:pt idx="1893">4</cx:pt>
          <cx:pt idx="1894">5</cx:pt>
          <cx:pt idx="1895">5</cx:pt>
          <cx:pt idx="1896">5</cx:pt>
          <cx:pt idx="1897">5</cx:pt>
          <cx:pt idx="1898">4</cx:pt>
          <cx:pt idx="1899">2</cx:pt>
          <cx:pt idx="1900">5</cx:pt>
          <cx:pt idx="1901">3</cx:pt>
          <cx:pt idx="1902">4</cx:pt>
          <cx:pt idx="1903">3</cx:pt>
          <cx:pt idx="1904">2</cx:pt>
          <cx:pt idx="1905">5</cx:pt>
          <cx:pt idx="1906">4</cx:pt>
          <cx:pt idx="1907">2</cx:pt>
          <cx:pt idx="1908">5</cx:pt>
          <cx:pt idx="1909">1</cx:pt>
          <cx:pt idx="1910">3</cx:pt>
          <cx:pt idx="1911">4</cx:pt>
          <cx:pt idx="1912">5</cx:pt>
          <cx:pt idx="1913">2</cx:pt>
          <cx:pt idx="1914">3</cx:pt>
          <cx:pt idx="1915">5</cx:pt>
          <cx:pt idx="1916">1</cx:pt>
          <cx:pt idx="1917">2</cx:pt>
          <cx:pt idx="1918">4</cx:pt>
          <cx:pt idx="1919">4</cx:pt>
          <cx:pt idx="1920">3</cx:pt>
          <cx:pt idx="1921">5</cx:pt>
          <cx:pt idx="1922">4</cx:pt>
          <cx:pt idx="1923">1</cx:pt>
          <cx:pt idx="1924">2</cx:pt>
          <cx:pt idx="1925">4</cx:pt>
          <cx:pt idx="1926">5</cx:pt>
          <cx:pt idx="1927">5</cx:pt>
          <cx:pt idx="1928">4</cx:pt>
          <cx:pt idx="1929">4</cx:pt>
          <cx:pt idx="1930">1</cx:pt>
          <cx:pt idx="1931">1</cx:pt>
          <cx:pt idx="1932">4</cx:pt>
          <cx:pt idx="1933">5</cx:pt>
          <cx:pt idx="1934">5</cx:pt>
          <cx:pt idx="1935">2</cx:pt>
          <cx:pt idx="1936">3</cx:pt>
          <cx:pt idx="1937">5</cx:pt>
          <cx:pt idx="1938">5</cx:pt>
          <cx:pt idx="1939">1</cx:pt>
          <cx:pt idx="1940">2</cx:pt>
          <cx:pt idx="1941">2</cx:pt>
          <cx:pt idx="1942">4</cx:pt>
          <cx:pt idx="1943">4</cx:pt>
          <cx:pt idx="1944">1</cx:pt>
          <cx:pt idx="1945">2</cx:pt>
          <cx:pt idx="1946">2</cx:pt>
          <cx:pt idx="1947">1</cx:pt>
          <cx:pt idx="1948">2</cx:pt>
          <cx:pt idx="1949">5</cx:pt>
          <cx:pt idx="1950">5</cx:pt>
          <cx:pt idx="1951">3</cx:pt>
          <cx:pt idx="1952">4</cx:pt>
          <cx:pt idx="1953">5</cx:pt>
          <cx:pt idx="1954">4</cx:pt>
          <cx:pt idx="1955">2</cx:pt>
          <cx:pt idx="1956">4</cx:pt>
          <cx:pt idx="1957">3</cx:pt>
          <cx:pt idx="1958">3</cx:pt>
          <cx:pt idx="1959">2</cx:pt>
          <cx:pt idx="1960">4</cx:pt>
          <cx:pt idx="1961">5</cx:pt>
          <cx:pt idx="1962">4</cx:pt>
          <cx:pt idx="1963">5</cx:pt>
          <cx:pt idx="1964">3</cx:pt>
          <cx:pt idx="1965">1</cx:pt>
          <cx:pt idx="1966">1</cx:pt>
          <cx:pt idx="1967">4</cx:pt>
          <cx:pt idx="1968">3</cx:pt>
          <cx:pt idx="1969">5</cx:pt>
          <cx:pt idx="1970">4</cx:pt>
          <cx:pt idx="1971">3</cx:pt>
          <cx:pt idx="1972">4</cx:pt>
          <cx:pt idx="1973">3</cx:pt>
          <cx:pt idx="1974">2</cx:pt>
          <cx:pt idx="1975">4</cx:pt>
          <cx:pt idx="1976">4</cx:pt>
          <cx:pt idx="1977">5</cx:pt>
          <cx:pt idx="1978">3</cx:pt>
          <cx:pt idx="1979">4</cx:pt>
          <cx:pt idx="1980">2</cx:pt>
          <cx:pt idx="1981">4</cx:pt>
          <cx:pt idx="1982">1</cx:pt>
          <cx:pt idx="1983">1</cx:pt>
          <cx:pt idx="1984">1</cx:pt>
          <cx:pt idx="1985">1</cx:pt>
          <cx:pt idx="1986">5</cx:pt>
          <cx:pt idx="1987">4</cx:pt>
          <cx:pt idx="1988">4</cx:pt>
          <cx:pt idx="1989">3</cx:pt>
          <cx:pt idx="1990">1</cx:pt>
          <cx:pt idx="1991">4</cx:pt>
          <cx:pt idx="1992">4</cx:pt>
          <cx:pt idx="1993">3</cx:pt>
          <cx:pt idx="1994">2</cx:pt>
          <cx:pt idx="1995">3</cx:pt>
          <cx:pt idx="1996">2</cx:pt>
          <cx:pt idx="1997">2</cx:pt>
          <cx:pt idx="1998">4</cx:pt>
          <cx:pt idx="1999">3</cx:pt>
          <cx:pt idx="2000">2</cx:pt>
          <cx:pt idx="2001">3</cx:pt>
          <cx:pt idx="2002">4</cx:pt>
          <cx:pt idx="2003">5</cx:pt>
          <cx:pt idx="2004">2</cx:pt>
          <cx:pt idx="2005">5</cx:pt>
          <cx:pt idx="2006">4</cx:pt>
          <cx:pt idx="2007">5</cx:pt>
          <cx:pt idx="2008">4</cx:pt>
          <cx:pt idx="2009">1</cx:pt>
          <cx:pt idx="2010">3</cx:pt>
          <cx:pt idx="2011">5</cx:pt>
          <cx:pt idx="2012">4</cx:pt>
          <cx:pt idx="2013">5</cx:pt>
          <cx:pt idx="2014">2</cx:pt>
          <cx:pt idx="2015">1</cx:pt>
          <cx:pt idx="2016">5</cx:pt>
          <cx:pt idx="2017">1</cx:pt>
          <cx:pt idx="2018">4</cx:pt>
          <cx:pt idx="2019">4</cx:pt>
          <cx:pt idx="2020">5</cx:pt>
          <cx:pt idx="2021">5</cx:pt>
          <cx:pt idx="2022">4</cx:pt>
          <cx:pt idx="2023">3</cx:pt>
          <cx:pt idx="2024">5</cx:pt>
          <cx:pt idx="2025">1</cx:pt>
          <cx:pt idx="2026">5</cx:pt>
          <cx:pt idx="2027">2</cx:pt>
          <cx:pt idx="2028">5</cx:pt>
          <cx:pt idx="2029">2</cx:pt>
          <cx:pt idx="2030">4</cx:pt>
          <cx:pt idx="2031">5</cx:pt>
          <cx:pt idx="2032">1</cx:pt>
          <cx:pt idx="2033">2</cx:pt>
          <cx:pt idx="2034">3</cx:pt>
          <cx:pt idx="2035">1</cx:pt>
          <cx:pt idx="2036">1</cx:pt>
          <cx:pt idx="2037">5</cx:pt>
          <cx:pt idx="2038">4</cx:pt>
          <cx:pt idx="2039">3</cx:pt>
          <cx:pt idx="2040">3</cx:pt>
          <cx:pt idx="2041">4</cx:pt>
          <cx:pt idx="2042">4</cx:pt>
          <cx:pt idx="2043">4</cx:pt>
          <cx:pt idx="2044">3</cx:pt>
          <cx:pt idx="2045">4</cx:pt>
          <cx:pt idx="2046">4</cx:pt>
          <cx:pt idx="2047">5</cx:pt>
          <cx:pt idx="2048">3</cx:pt>
          <cx:pt idx="2049">3</cx:pt>
          <cx:pt idx="2050">5</cx:pt>
          <cx:pt idx="2051">4</cx:pt>
          <cx:pt idx="2052">3</cx:pt>
          <cx:pt idx="2053">5</cx:pt>
          <cx:pt idx="2054">1</cx:pt>
          <cx:pt idx="2055">4</cx:pt>
          <cx:pt idx="2056">3</cx:pt>
          <cx:pt idx="2057">1</cx:pt>
          <cx:pt idx="2058">5</cx:pt>
          <cx:pt idx="2059">5</cx:pt>
          <cx:pt idx="2060">5</cx:pt>
          <cx:pt idx="2061">4</cx:pt>
          <cx:pt idx="2062">3</cx:pt>
          <cx:pt idx="2063">2</cx:pt>
          <cx:pt idx="2064">5</cx:pt>
          <cx:pt idx="2065">5</cx:pt>
          <cx:pt idx="2066">5</cx:pt>
          <cx:pt idx="2067">4</cx:pt>
          <cx:pt idx="2068">4</cx:pt>
          <cx:pt idx="2069">5</cx:pt>
          <cx:pt idx="2070">4</cx:pt>
          <cx:pt idx="2071">1</cx:pt>
          <cx:pt idx="2072">3</cx:pt>
          <cx:pt idx="2073">4</cx:pt>
          <cx:pt idx="2074">3</cx:pt>
          <cx:pt idx="2075">4</cx:pt>
          <cx:pt idx="2076">4</cx:pt>
          <cx:pt idx="2077">5</cx:pt>
          <cx:pt idx="2078">4</cx:pt>
          <cx:pt idx="2079">3</cx:pt>
          <cx:pt idx="2080">4</cx:pt>
          <cx:pt idx="2081">4</cx:pt>
          <cx:pt idx="2082">2</cx:pt>
          <cx:pt idx="2083">3</cx:pt>
          <cx:pt idx="2084">1</cx:pt>
          <cx:pt idx="2085">5</cx:pt>
          <cx:pt idx="2086">4</cx:pt>
          <cx:pt idx="2087">4</cx:pt>
          <cx:pt idx="2088">5</cx:pt>
          <cx:pt idx="2089">5</cx:pt>
          <cx:pt idx="2090">3</cx:pt>
          <cx:pt idx="2091">4</cx:pt>
          <cx:pt idx="2092">4</cx:pt>
          <cx:pt idx="2093">5</cx:pt>
          <cx:pt idx="2094">5</cx:pt>
          <cx:pt idx="2095">4</cx:pt>
          <cx:pt idx="2096">3</cx:pt>
          <cx:pt idx="2097">4</cx:pt>
          <cx:pt idx="2098">5</cx:pt>
          <cx:pt idx="2099">2</cx:pt>
          <cx:pt idx="2100">3</cx:pt>
          <cx:pt idx="2101">4</cx:pt>
          <cx:pt idx="2102">3</cx:pt>
          <cx:pt idx="2103">3</cx:pt>
          <cx:pt idx="2104">2</cx:pt>
          <cx:pt idx="2105">5</cx:pt>
          <cx:pt idx="2106">2</cx:pt>
          <cx:pt idx="2107">4</cx:pt>
          <cx:pt idx="2108">5</cx:pt>
          <cx:pt idx="2109">4</cx:pt>
          <cx:pt idx="2110">4</cx:pt>
          <cx:pt idx="2111">1</cx:pt>
          <cx:pt idx="2112">1</cx:pt>
          <cx:pt idx="2113">2</cx:pt>
          <cx:pt idx="2114">4</cx:pt>
          <cx:pt idx="2115">5</cx:pt>
          <cx:pt idx="2116">5</cx:pt>
          <cx:pt idx="2117">4</cx:pt>
          <cx:pt idx="2118">4</cx:pt>
          <cx:pt idx="2119">3</cx:pt>
          <cx:pt idx="2120">3</cx:pt>
          <cx:pt idx="2121">4</cx:pt>
          <cx:pt idx="2122">4</cx:pt>
          <cx:pt idx="2123">4</cx:pt>
          <cx:pt idx="2124">1</cx:pt>
          <cx:pt idx="2125">3</cx:pt>
          <cx:pt idx="2126">1</cx:pt>
          <cx:pt idx="2127">2</cx:pt>
          <cx:pt idx="2128">5</cx:pt>
          <cx:pt idx="2129">1</cx:pt>
          <cx:pt idx="2130">5</cx:pt>
          <cx:pt idx="2131">1</cx:pt>
          <cx:pt idx="2132">2</cx:pt>
          <cx:pt idx="2133">4</cx:pt>
          <cx:pt idx="2134">5</cx:pt>
          <cx:pt idx="2135">5</cx:pt>
          <cx:pt idx="2136">1</cx:pt>
          <cx:pt idx="2137">4</cx:pt>
          <cx:pt idx="2138">4</cx:pt>
          <cx:pt idx="2139">1</cx:pt>
          <cx:pt idx="2140">5</cx:pt>
          <cx:pt idx="2141">4</cx:pt>
          <cx:pt idx="2142">3</cx:pt>
          <cx:pt idx="2143">3</cx:pt>
          <cx:pt idx="2144">4</cx:pt>
          <cx:pt idx="2145">4</cx:pt>
          <cx:pt idx="2146">4</cx:pt>
          <cx:pt idx="2147">4</cx:pt>
          <cx:pt idx="2148">5</cx:pt>
          <cx:pt idx="2149">5</cx:pt>
          <cx:pt idx="2150">1</cx:pt>
          <cx:pt idx="2151">5</cx:pt>
          <cx:pt idx="2152">3</cx:pt>
          <cx:pt idx="2153">4</cx:pt>
          <cx:pt idx="2154">1</cx:pt>
          <cx:pt idx="2155">3</cx:pt>
          <cx:pt idx="2156">5</cx:pt>
          <cx:pt idx="2157">4</cx:pt>
          <cx:pt idx="2158">3</cx:pt>
          <cx:pt idx="2159">4</cx:pt>
          <cx:pt idx="2160">1</cx:pt>
          <cx:pt idx="2161">4</cx:pt>
          <cx:pt idx="2162">2</cx:pt>
          <cx:pt idx="2163">5</cx:pt>
          <cx:pt idx="2164">2</cx:pt>
          <cx:pt idx="2165">5</cx:pt>
          <cx:pt idx="2166">5</cx:pt>
          <cx:pt idx="2167">4</cx:pt>
          <cx:pt idx="2168">1</cx:pt>
          <cx:pt idx="2169">1</cx:pt>
          <cx:pt idx="2170">2</cx:pt>
          <cx:pt idx="2171">5</cx:pt>
          <cx:pt idx="2172">3</cx:pt>
          <cx:pt idx="2173">5</cx:pt>
          <cx:pt idx="2174">5</cx:pt>
          <cx:pt idx="2175">5</cx:pt>
          <cx:pt idx="2176">5</cx:pt>
          <cx:pt idx="2177">1</cx:pt>
          <cx:pt idx="2178">5</cx:pt>
          <cx:pt idx="2179">4</cx:pt>
          <cx:pt idx="2180">5</cx:pt>
          <cx:pt idx="2181">1</cx:pt>
          <cx:pt idx="2182">5</cx:pt>
          <cx:pt idx="2183">4</cx:pt>
          <cx:pt idx="2184">3</cx:pt>
          <cx:pt idx="2185">4</cx:pt>
          <cx:pt idx="2186">3</cx:pt>
          <cx:pt idx="2187">4</cx:pt>
          <cx:pt idx="2188">4</cx:pt>
          <cx:pt idx="2189">1</cx:pt>
          <cx:pt idx="2190">4</cx:pt>
          <cx:pt idx="2191">3</cx:pt>
          <cx:pt idx="2192">5</cx:pt>
          <cx:pt idx="2193">2</cx:pt>
          <cx:pt idx="2194">4</cx:pt>
          <cx:pt idx="2195">3</cx:pt>
          <cx:pt idx="2196">5</cx:pt>
          <cx:pt idx="2197">4</cx:pt>
          <cx:pt idx="2198">1</cx:pt>
          <cx:pt idx="2199">3</cx:pt>
          <cx:pt idx="2200">5</cx:pt>
          <cx:pt idx="2201">1</cx:pt>
          <cx:pt idx="2202">1</cx:pt>
          <cx:pt idx="2203">4</cx:pt>
          <cx:pt idx="2204">3</cx:pt>
          <cx:pt idx="2205">1</cx:pt>
          <cx:pt idx="2206">3</cx:pt>
          <cx:pt idx="2207">4</cx:pt>
          <cx:pt idx="2208">1</cx:pt>
          <cx:pt idx="2209">1</cx:pt>
          <cx:pt idx="2210">5</cx:pt>
          <cx:pt idx="2211">5</cx:pt>
          <cx:pt idx="2212">5</cx:pt>
          <cx:pt idx="2213">2</cx:pt>
          <cx:pt idx="2214">5</cx:pt>
          <cx:pt idx="2215">1</cx:pt>
          <cx:pt idx="2216">5</cx:pt>
          <cx:pt idx="2217">4</cx:pt>
          <cx:pt idx="2218">5</cx:pt>
          <cx:pt idx="2219">5</cx:pt>
          <cx:pt idx="2220">3</cx:pt>
          <cx:pt idx="2221">2</cx:pt>
          <cx:pt idx="2222">4</cx:pt>
          <cx:pt idx="2223">1</cx:pt>
          <cx:pt idx="2224">4</cx:pt>
          <cx:pt idx="2225">4</cx:pt>
          <cx:pt idx="2226">4</cx:pt>
          <cx:pt idx="2227">5</cx:pt>
          <cx:pt idx="2228">5</cx:pt>
          <cx:pt idx="2229">2</cx:pt>
          <cx:pt idx="2230">3</cx:pt>
          <cx:pt idx="2231">4</cx:pt>
          <cx:pt idx="2232">4</cx:pt>
          <cx:pt idx="2233">4</cx:pt>
          <cx:pt idx="2234">1</cx:pt>
          <cx:pt idx="2235">1</cx:pt>
          <cx:pt idx="2236">3</cx:pt>
          <cx:pt idx="2237">5</cx:pt>
          <cx:pt idx="2238">4</cx:pt>
          <cx:pt idx="2239">1</cx:pt>
          <cx:pt idx="2240">4</cx:pt>
          <cx:pt idx="2241">4</cx:pt>
          <cx:pt idx="2242">2</cx:pt>
          <cx:pt idx="2243">4</cx:pt>
          <cx:pt idx="2244">3</cx:pt>
          <cx:pt idx="2245">5</cx:pt>
          <cx:pt idx="2246">1</cx:pt>
          <cx:pt idx="2247">5</cx:pt>
          <cx:pt idx="2248">2</cx:pt>
          <cx:pt idx="2249">5</cx:pt>
          <cx:pt idx="2250">4</cx:pt>
          <cx:pt idx="2251">4</cx:pt>
          <cx:pt idx="2252">5</cx:pt>
          <cx:pt idx="2253">1</cx:pt>
          <cx:pt idx="2254">4</cx:pt>
          <cx:pt idx="2255">2</cx:pt>
          <cx:pt idx="2256">3</cx:pt>
          <cx:pt idx="2257">5</cx:pt>
          <cx:pt idx="2258">5</cx:pt>
          <cx:pt idx="2259">2</cx:pt>
          <cx:pt idx="2260">2</cx:pt>
          <cx:pt idx="2261">3</cx:pt>
          <cx:pt idx="2262">5</cx:pt>
          <cx:pt idx="2263">3</cx:pt>
          <cx:pt idx="2264">5</cx:pt>
          <cx:pt idx="2265">3</cx:pt>
          <cx:pt idx="2266">4</cx:pt>
          <cx:pt idx="2267">4</cx:pt>
          <cx:pt idx="2268">4</cx:pt>
          <cx:pt idx="2269">4</cx:pt>
          <cx:pt idx="2270">5</cx:pt>
          <cx:pt idx="2271">2</cx:pt>
          <cx:pt idx="2272">3</cx:pt>
          <cx:pt idx="2273">5</cx:pt>
          <cx:pt idx="2274">3</cx:pt>
          <cx:pt idx="2275">4</cx:pt>
          <cx:pt idx="2276">5</cx:pt>
          <cx:pt idx="2277">5</cx:pt>
          <cx:pt idx="2278">1</cx:pt>
          <cx:pt idx="2279">5</cx:pt>
          <cx:pt idx="2280">4</cx:pt>
          <cx:pt idx="2281">3</cx:pt>
          <cx:pt idx="2282">3</cx:pt>
          <cx:pt idx="2283">5</cx:pt>
          <cx:pt idx="2284">3</cx:pt>
          <cx:pt idx="2285">3</cx:pt>
          <cx:pt idx="2286">5</cx:pt>
          <cx:pt idx="2287">3</cx:pt>
          <cx:pt idx="2288">3</cx:pt>
          <cx:pt idx="2289">5</cx:pt>
          <cx:pt idx="2290">4</cx:pt>
          <cx:pt idx="2291">3</cx:pt>
          <cx:pt idx="2292">5</cx:pt>
          <cx:pt idx="2293">1</cx:pt>
          <cx:pt idx="2294">2</cx:pt>
          <cx:pt idx="2295">3</cx:pt>
          <cx:pt idx="2296">3</cx:pt>
          <cx:pt idx="2297">5</cx:pt>
          <cx:pt idx="2298">1</cx:pt>
          <cx:pt idx="2299">4</cx:pt>
          <cx:pt idx="2300">5</cx:pt>
          <cx:pt idx="2301">1</cx:pt>
          <cx:pt idx="2302">3</cx:pt>
          <cx:pt idx="2303">4</cx:pt>
          <cx:pt idx="2304">2</cx:pt>
          <cx:pt idx="2305">5</cx:pt>
          <cx:pt idx="2306">1</cx:pt>
          <cx:pt idx="2307">2</cx:pt>
          <cx:pt idx="2308">4</cx:pt>
          <cx:pt idx="2309">2</cx:pt>
          <cx:pt idx="2310">4</cx:pt>
          <cx:pt idx="2311">4</cx:pt>
          <cx:pt idx="2312">3</cx:pt>
          <cx:pt idx="2313">2</cx:pt>
          <cx:pt idx="2314">3</cx:pt>
          <cx:pt idx="2315">3</cx:pt>
          <cx:pt idx="2316">5</cx:pt>
          <cx:pt idx="2317">4</cx:pt>
          <cx:pt idx="2318">4</cx:pt>
          <cx:pt idx="2319">3</cx:pt>
          <cx:pt idx="2320">5</cx:pt>
          <cx:pt idx="2321">1</cx:pt>
          <cx:pt idx="2322">4</cx:pt>
          <cx:pt idx="2323">2</cx:pt>
          <cx:pt idx="2324">4</cx:pt>
          <cx:pt idx="2325">4</cx:pt>
          <cx:pt idx="2326">5</cx:pt>
          <cx:pt idx="2327">1</cx:pt>
          <cx:pt idx="2328">1</cx:pt>
          <cx:pt idx="2329">2</cx:pt>
          <cx:pt idx="2330">5</cx:pt>
          <cx:pt idx="2331">4</cx:pt>
          <cx:pt idx="2332">4</cx:pt>
          <cx:pt idx="2333">4</cx:pt>
          <cx:pt idx="2334">4</cx:pt>
          <cx:pt idx="2335">4</cx:pt>
          <cx:pt idx="2336">2</cx:pt>
          <cx:pt idx="2337">5</cx:pt>
          <cx:pt idx="2338">4</cx:pt>
          <cx:pt idx="2339">4</cx:pt>
          <cx:pt idx="2340">5</cx:pt>
          <cx:pt idx="2341">3</cx:pt>
          <cx:pt idx="2342">2</cx:pt>
          <cx:pt idx="2343">5</cx:pt>
          <cx:pt idx="2344">1</cx:pt>
          <cx:pt idx="2345">4</cx:pt>
          <cx:pt idx="2346">5</cx:pt>
          <cx:pt idx="2347">1</cx:pt>
          <cx:pt idx="2348">4</cx:pt>
          <cx:pt idx="2349">4</cx:pt>
          <cx:pt idx="2350">5</cx:pt>
          <cx:pt idx="2351">5</cx:pt>
          <cx:pt idx="2352">4</cx:pt>
          <cx:pt idx="2353">3</cx:pt>
          <cx:pt idx="2354">5</cx:pt>
          <cx:pt idx="2355">2</cx:pt>
          <cx:pt idx="2356">3</cx:pt>
          <cx:pt idx="2357">4</cx:pt>
          <cx:pt idx="2358">4</cx:pt>
          <cx:pt idx="2359">5</cx:pt>
          <cx:pt idx="2360">5</cx:pt>
          <cx:pt idx="2361">4</cx:pt>
          <cx:pt idx="2362">4</cx:pt>
          <cx:pt idx="2363">3</cx:pt>
          <cx:pt idx="2364">4</cx:pt>
          <cx:pt idx="2365">4</cx:pt>
          <cx:pt idx="2366">5</cx:pt>
          <cx:pt idx="2367">2</cx:pt>
          <cx:pt idx="2368">2</cx:pt>
          <cx:pt idx="2369">3</cx:pt>
          <cx:pt idx="2370">5</cx:pt>
          <cx:pt idx="2371">3</cx:pt>
          <cx:pt idx="2372">3</cx:pt>
          <cx:pt idx="2373">3</cx:pt>
          <cx:pt idx="2374">4</cx:pt>
          <cx:pt idx="2375">5</cx:pt>
          <cx:pt idx="2376">3</cx:pt>
          <cx:pt idx="2377">1</cx:pt>
          <cx:pt idx="2378">5</cx:pt>
          <cx:pt idx="2379">4</cx:pt>
          <cx:pt idx="2380">4</cx:pt>
          <cx:pt idx="2381">3</cx:pt>
          <cx:pt idx="2382">3</cx:pt>
          <cx:pt idx="2383">4</cx:pt>
          <cx:pt idx="2384">4</cx:pt>
          <cx:pt idx="2385">4</cx:pt>
          <cx:pt idx="2386">4</cx:pt>
          <cx:pt idx="2387">3</cx:pt>
          <cx:pt idx="2388">5</cx:pt>
          <cx:pt idx="2389">3</cx:pt>
          <cx:pt idx="2390">5</cx:pt>
          <cx:pt idx="2391">2</cx:pt>
          <cx:pt idx="2392">4</cx:pt>
          <cx:pt idx="2393">5</cx:pt>
          <cx:pt idx="2394">4</cx:pt>
          <cx:pt idx="2395">2</cx:pt>
          <cx:pt idx="2396">4</cx:pt>
          <cx:pt idx="2397">2</cx:pt>
          <cx:pt idx="2398">3</cx:pt>
          <cx:pt idx="2399">5</cx:pt>
          <cx:pt idx="2400">3</cx:pt>
          <cx:pt idx="2401">2</cx:pt>
          <cx:pt idx="2402">4</cx:pt>
          <cx:pt idx="2403">5</cx:pt>
          <cx:pt idx="2404">4</cx:pt>
          <cx:pt idx="2405">5</cx:pt>
          <cx:pt idx="2406">2</cx:pt>
          <cx:pt idx="2407">5</cx:pt>
          <cx:pt idx="2408">2</cx:pt>
          <cx:pt idx="2409">4</cx:pt>
          <cx:pt idx="2410">4</cx:pt>
          <cx:pt idx="2411">1</cx:pt>
          <cx:pt idx="2412">5</cx:pt>
          <cx:pt idx="2413">3</cx:pt>
          <cx:pt idx="2414">3</cx:pt>
          <cx:pt idx="2415">3</cx:pt>
          <cx:pt idx="2416">4</cx:pt>
          <cx:pt idx="2417">4</cx:pt>
          <cx:pt idx="2418">2</cx:pt>
          <cx:pt idx="2419">5</cx:pt>
          <cx:pt idx="2420">4</cx:pt>
          <cx:pt idx="2421">5</cx:pt>
          <cx:pt idx="2422">4</cx:pt>
          <cx:pt idx="2423">3</cx:pt>
          <cx:pt idx="2424">4</cx:pt>
          <cx:pt idx="2425">1</cx:pt>
          <cx:pt idx="2426">1</cx:pt>
          <cx:pt idx="2427">5</cx:pt>
          <cx:pt idx="2428">4</cx:pt>
          <cx:pt idx="2429">2</cx:pt>
          <cx:pt idx="2430">4</cx:pt>
          <cx:pt idx="2431">3</cx:pt>
          <cx:pt idx="2432">3</cx:pt>
          <cx:pt idx="2433">2</cx:pt>
          <cx:pt idx="2434">5</cx:pt>
          <cx:pt idx="2435">1</cx:pt>
          <cx:pt idx="2436">3</cx:pt>
          <cx:pt idx="2437">5</cx:pt>
          <cx:pt idx="2438">5</cx:pt>
          <cx:pt idx="2439">4</cx:pt>
          <cx:pt idx="2440">3</cx:pt>
          <cx:pt idx="2441">4</cx:pt>
          <cx:pt idx="2442">5</cx:pt>
          <cx:pt idx="2443">3</cx:pt>
          <cx:pt idx="2444">5</cx:pt>
          <cx:pt idx="2445">4</cx:pt>
          <cx:pt idx="2446">5</cx:pt>
          <cx:pt idx="2447">5</cx:pt>
          <cx:pt idx="2448">4</cx:pt>
          <cx:pt idx="2449">5</cx:pt>
          <cx:pt idx="2450">5</cx:pt>
          <cx:pt idx="2451">4</cx:pt>
          <cx:pt idx="2452">3</cx:pt>
          <cx:pt idx="2453">4</cx:pt>
          <cx:pt idx="2454">1</cx:pt>
          <cx:pt idx="2455">3</cx:pt>
          <cx:pt idx="2456">4</cx:pt>
          <cx:pt idx="2457">2</cx:pt>
          <cx:pt idx="2458">4</cx:pt>
          <cx:pt idx="2459">1</cx:pt>
          <cx:pt idx="2460">4</cx:pt>
          <cx:pt idx="2461">4</cx:pt>
          <cx:pt idx="2462">4</cx:pt>
          <cx:pt idx="2463">4</cx:pt>
          <cx:pt idx="2464">3</cx:pt>
          <cx:pt idx="2465">4</cx:pt>
          <cx:pt idx="2466">4</cx:pt>
          <cx:pt idx="2467">2</cx:pt>
          <cx:pt idx="2468">4</cx:pt>
          <cx:pt idx="2469">4</cx:pt>
          <cx:pt idx="2470">5</cx:pt>
          <cx:pt idx="2471">5</cx:pt>
          <cx:pt idx="2472">1</cx:pt>
          <cx:pt idx="2473">5</cx:pt>
          <cx:pt idx="2474">2</cx:pt>
          <cx:pt idx="2475">4</cx:pt>
          <cx:pt idx="2476">4</cx:pt>
          <cx:pt idx="2477">4</cx:pt>
          <cx:pt idx="2478">5</cx:pt>
          <cx:pt idx="2479">3</cx:pt>
          <cx:pt idx="2480">5</cx:pt>
          <cx:pt idx="2481">3</cx:pt>
          <cx:pt idx="2482">3</cx:pt>
          <cx:pt idx="2483">3</cx:pt>
          <cx:pt idx="2484">5</cx:pt>
          <cx:pt idx="2485">3</cx:pt>
          <cx:pt idx="2486">1</cx:pt>
          <cx:pt idx="2487">5</cx:pt>
          <cx:pt idx="2488">5</cx:pt>
          <cx:pt idx="2489">2</cx:pt>
          <cx:pt idx="2490">4</cx:pt>
          <cx:pt idx="2491">5</cx:pt>
          <cx:pt idx="2492">2</cx:pt>
          <cx:pt idx="2493">5</cx:pt>
          <cx:pt idx="2494">4</cx:pt>
          <cx:pt idx="2495">4</cx:pt>
          <cx:pt idx="2496">1</cx:pt>
          <cx:pt idx="2497">1</cx:pt>
          <cx:pt idx="2498">3</cx:pt>
          <cx:pt idx="2499">2</cx:pt>
          <cx:pt idx="2500">2</cx:pt>
          <cx:pt idx="2501">5</cx:pt>
          <cx:pt idx="2502">5</cx:pt>
          <cx:pt idx="2503">5</cx:pt>
          <cx:pt idx="2504">1</cx:pt>
          <cx:pt idx="2505">4</cx:pt>
          <cx:pt idx="2506">5</cx:pt>
          <cx:pt idx="2507">4</cx:pt>
          <cx:pt idx="2508">3</cx:pt>
          <cx:pt idx="2509">4</cx:pt>
          <cx:pt idx="2510">3</cx:pt>
          <cx:pt idx="2511">4</cx:pt>
          <cx:pt idx="2512">4</cx:pt>
          <cx:pt idx="2513">4</cx:pt>
          <cx:pt idx="2514">4</cx:pt>
          <cx:pt idx="2515">2</cx:pt>
          <cx:pt idx="2516">2</cx:pt>
          <cx:pt idx="2517">5</cx:pt>
          <cx:pt idx="2518">4</cx:pt>
          <cx:pt idx="2519">5</cx:pt>
          <cx:pt idx="2520">5</cx:pt>
          <cx:pt idx="2521">1</cx:pt>
          <cx:pt idx="2522">4</cx:pt>
          <cx:pt idx="2523">2</cx:pt>
          <cx:pt idx="2524">4</cx:pt>
          <cx:pt idx="2525">4</cx:pt>
          <cx:pt idx="2526">2</cx:pt>
          <cx:pt idx="2527">2</cx:pt>
          <cx:pt idx="2528">4</cx:pt>
          <cx:pt idx="2529">3</cx:pt>
          <cx:pt idx="2530">4</cx:pt>
          <cx:pt idx="2531">4</cx:pt>
          <cx:pt idx="2532">4</cx:pt>
          <cx:pt idx="2533">5</cx:pt>
          <cx:pt idx="2534">3</cx:pt>
          <cx:pt idx="2535">4</cx:pt>
          <cx:pt idx="2536">1</cx:pt>
          <cx:pt idx="2537">5</cx:pt>
          <cx:pt idx="2538">1</cx:pt>
          <cx:pt idx="2539">1</cx:pt>
          <cx:pt idx="2540">4</cx:pt>
          <cx:pt idx="2541">5</cx:pt>
          <cx:pt idx="2542">1</cx:pt>
          <cx:pt idx="2543">3</cx:pt>
          <cx:pt idx="2544">3</cx:pt>
          <cx:pt idx="2545">5</cx:pt>
          <cx:pt idx="2546">4</cx:pt>
          <cx:pt idx="2547">4</cx:pt>
          <cx:pt idx="2548">1</cx:pt>
          <cx:pt idx="2549">4</cx:pt>
          <cx:pt idx="2550">3</cx:pt>
          <cx:pt idx="2551">2</cx:pt>
          <cx:pt idx="2552">4</cx:pt>
          <cx:pt idx="2553">5</cx:pt>
          <cx:pt idx="2554">2</cx:pt>
          <cx:pt idx="2555">4</cx:pt>
          <cx:pt idx="2556">2</cx:pt>
          <cx:pt idx="2557">5</cx:pt>
          <cx:pt idx="2558">1</cx:pt>
          <cx:pt idx="2559">1</cx:pt>
          <cx:pt idx="2560">3</cx:pt>
          <cx:pt idx="2561">2</cx:pt>
          <cx:pt idx="2562">3</cx:pt>
          <cx:pt idx="2563">4</cx:pt>
          <cx:pt idx="2564">3</cx:pt>
          <cx:pt idx="2565">1</cx:pt>
          <cx:pt idx="2566">5</cx:pt>
          <cx:pt idx="2567">4</cx:pt>
          <cx:pt idx="2568">1</cx:pt>
          <cx:pt idx="2569">3</cx:pt>
          <cx:pt idx="2570">5</cx:pt>
          <cx:pt idx="2571">5</cx:pt>
          <cx:pt idx="2572">2</cx:pt>
          <cx:pt idx="2573">1</cx:pt>
          <cx:pt idx="2574">5</cx:pt>
          <cx:pt idx="2575">5</cx:pt>
          <cx:pt idx="2576">3</cx:pt>
          <cx:pt idx="2577">4</cx:pt>
          <cx:pt idx="2578">5</cx:pt>
          <cx:pt idx="2579">5</cx:pt>
          <cx:pt idx="2580">3</cx:pt>
          <cx:pt idx="2581">3</cx:pt>
          <cx:pt idx="2582">4</cx:pt>
          <cx:pt idx="2583">4</cx:pt>
          <cx:pt idx="2584">3</cx:pt>
          <cx:pt idx="2585">3</cx:pt>
          <cx:pt idx="2586">5</cx:pt>
          <cx:pt idx="2587">4</cx:pt>
          <cx:pt idx="2588">1</cx:pt>
          <cx:pt idx="2589">4</cx:pt>
          <cx:pt idx="2590">2</cx:pt>
          <cx:pt idx="2591">5</cx:pt>
          <cx:pt idx="2592">5</cx:pt>
          <cx:pt idx="2593">4</cx:pt>
          <cx:pt idx="2594">3</cx:pt>
          <cx:pt idx="2595">3</cx:pt>
          <cx:pt idx="2596">4</cx:pt>
          <cx:pt idx="2597">4</cx:pt>
          <cx:pt idx="2598">5</cx:pt>
          <cx:pt idx="2599">3</cx:pt>
          <cx:pt idx="2600">4</cx:pt>
          <cx:pt idx="2601">5</cx:pt>
          <cx:pt idx="2602">1</cx:pt>
          <cx:pt idx="2603">5</cx:pt>
          <cx:pt idx="2604">5</cx:pt>
          <cx:pt idx="2605">4</cx:pt>
          <cx:pt idx="2606">2</cx:pt>
          <cx:pt idx="2607">3</cx:pt>
          <cx:pt idx="2608">4</cx:pt>
          <cx:pt idx="2609">2</cx:pt>
          <cx:pt idx="2610">4</cx:pt>
          <cx:pt idx="2611">2</cx:pt>
          <cx:pt idx="2612">1</cx:pt>
          <cx:pt idx="2613">4</cx:pt>
          <cx:pt idx="2614">4</cx:pt>
          <cx:pt idx="2615">5</cx:pt>
          <cx:pt idx="2616">3</cx:pt>
          <cx:pt idx="2617">4</cx:pt>
          <cx:pt idx="2618">3</cx:pt>
          <cx:pt idx="2619">3</cx:pt>
          <cx:pt idx="2620">4</cx:pt>
          <cx:pt idx="2621">5</cx:pt>
          <cx:pt idx="2622">3</cx:pt>
          <cx:pt idx="2623">2</cx:pt>
          <cx:pt idx="2624">3</cx:pt>
          <cx:pt idx="2625">4</cx:pt>
          <cx:pt idx="2626">4</cx:pt>
          <cx:pt idx="2627">3</cx:pt>
          <cx:pt idx="2628">5</cx:pt>
          <cx:pt idx="2629">2</cx:pt>
          <cx:pt idx="2630">4</cx:pt>
          <cx:pt idx="2631">5</cx:pt>
          <cx:pt idx="2632">4</cx:pt>
          <cx:pt idx="2633">5</cx:pt>
          <cx:pt idx="2634">2</cx:pt>
          <cx:pt idx="2635">5</cx:pt>
          <cx:pt idx="2636">4</cx:pt>
          <cx:pt idx="2637">5</cx:pt>
          <cx:pt idx="2638">4</cx:pt>
          <cx:pt idx="2639">4</cx:pt>
          <cx:pt idx="2640">2</cx:pt>
          <cx:pt idx="2641">3</cx:pt>
          <cx:pt idx="2642">4</cx:pt>
          <cx:pt idx="2643">5</cx:pt>
          <cx:pt idx="2644">1</cx:pt>
          <cx:pt idx="2645">4</cx:pt>
          <cx:pt idx="2646">2</cx:pt>
          <cx:pt idx="2647">4</cx:pt>
          <cx:pt idx="2648">3</cx:pt>
          <cx:pt idx="2649">5</cx:pt>
          <cx:pt idx="2650">1</cx:pt>
          <cx:pt idx="2651">5</cx:pt>
          <cx:pt idx="2652">5</cx:pt>
          <cx:pt idx="2653">3</cx:pt>
          <cx:pt idx="2654">3</cx:pt>
          <cx:pt idx="2655">5</cx:pt>
          <cx:pt idx="2656">5</cx:pt>
          <cx:pt idx="2657">4</cx:pt>
          <cx:pt idx="2658">5</cx:pt>
          <cx:pt idx="2659">5</cx:pt>
          <cx:pt idx="2660">4</cx:pt>
          <cx:pt idx="2661">1</cx:pt>
          <cx:pt idx="2662">4</cx:pt>
          <cx:pt idx="2663">1</cx:pt>
          <cx:pt idx="2664">5</cx:pt>
          <cx:pt idx="2665">3</cx:pt>
          <cx:pt idx="2666">2</cx:pt>
          <cx:pt idx="2667">5</cx:pt>
          <cx:pt idx="2668">3</cx:pt>
          <cx:pt idx="2669">5</cx:pt>
          <cx:pt idx="2670">4</cx:pt>
          <cx:pt idx="2671">5</cx:pt>
          <cx:pt idx="2672">5</cx:pt>
          <cx:pt idx="2673">4</cx:pt>
          <cx:pt idx="2674">2</cx:pt>
          <cx:pt idx="2675">3</cx:pt>
          <cx:pt idx="2676">1</cx:pt>
          <cx:pt idx="2677">3</cx:pt>
          <cx:pt idx="2678">4</cx:pt>
          <cx:pt idx="2679">2</cx:pt>
          <cx:pt idx="2680">4</cx:pt>
          <cx:pt idx="2681">3</cx:pt>
          <cx:pt idx="2682">4</cx:pt>
          <cx:pt idx="2683">4</cx:pt>
          <cx:pt idx="2684">4</cx:pt>
          <cx:pt idx="2685">1</cx:pt>
          <cx:pt idx="2686">4</cx:pt>
          <cx:pt idx="2687">4</cx:pt>
          <cx:pt idx="2688">3</cx:pt>
          <cx:pt idx="2689">4</cx:pt>
          <cx:pt idx="2690">1</cx:pt>
          <cx:pt idx="2691">3</cx:pt>
          <cx:pt idx="2692">3</cx:pt>
          <cx:pt idx="2693">3</cx:pt>
          <cx:pt idx="2694">3</cx:pt>
          <cx:pt idx="2695">3</cx:pt>
          <cx:pt idx="2696">2</cx:pt>
          <cx:pt idx="2697">5</cx:pt>
          <cx:pt idx="2698">4</cx:pt>
          <cx:pt idx="2699">2</cx:pt>
          <cx:pt idx="2700">4</cx:pt>
          <cx:pt idx="2701">3</cx:pt>
          <cx:pt idx="2702">2</cx:pt>
          <cx:pt idx="2703">5</cx:pt>
          <cx:pt idx="2704">3</cx:pt>
          <cx:pt idx="2705">4</cx:pt>
          <cx:pt idx="2706">3</cx:pt>
          <cx:pt idx="2707">4</cx:pt>
          <cx:pt idx="2708">4</cx:pt>
          <cx:pt idx="2709">4</cx:pt>
          <cx:pt idx="2710">4</cx:pt>
          <cx:pt idx="2711">3</cx:pt>
          <cx:pt idx="2712">4</cx:pt>
          <cx:pt idx="2713">4</cx:pt>
          <cx:pt idx="2714">4</cx:pt>
          <cx:pt idx="2715">1</cx:pt>
          <cx:pt idx="2716">3</cx:pt>
          <cx:pt idx="2717">3</cx:pt>
          <cx:pt idx="2718">4</cx:pt>
          <cx:pt idx="2719">4</cx:pt>
          <cx:pt idx="2720">4</cx:pt>
          <cx:pt idx="2721">2</cx:pt>
          <cx:pt idx="2722">5</cx:pt>
          <cx:pt idx="2723">3</cx:pt>
          <cx:pt idx="2724">5</cx:pt>
          <cx:pt idx="2725">2</cx:pt>
          <cx:pt idx="2726">3</cx:pt>
          <cx:pt idx="2727">4</cx:pt>
          <cx:pt idx="2728">5</cx:pt>
          <cx:pt idx="2729">2</cx:pt>
          <cx:pt idx="2730">2</cx:pt>
          <cx:pt idx="2731">2</cx:pt>
          <cx:pt idx="2732">3</cx:pt>
          <cx:pt idx="2733">5</cx:pt>
          <cx:pt idx="2734">4</cx:pt>
          <cx:pt idx="2735">5</cx:pt>
          <cx:pt idx="2736">3</cx:pt>
          <cx:pt idx="2737">3</cx:pt>
          <cx:pt idx="2738">5</cx:pt>
          <cx:pt idx="2739">5</cx:pt>
          <cx:pt idx="2740">3</cx:pt>
          <cx:pt idx="2741">4</cx:pt>
          <cx:pt idx="2742">5</cx:pt>
          <cx:pt idx="2743">4</cx:pt>
          <cx:pt idx="2744">2</cx:pt>
          <cx:pt idx="2745">1</cx:pt>
          <cx:pt idx="2746">2</cx:pt>
          <cx:pt idx="2747">1</cx:pt>
          <cx:pt idx="2748">4</cx:pt>
          <cx:pt idx="2749">3</cx:pt>
          <cx:pt idx="2750">2</cx:pt>
          <cx:pt idx="2751">1</cx:pt>
          <cx:pt idx="2752">5</cx:pt>
          <cx:pt idx="2753">1</cx:pt>
          <cx:pt idx="2754">5</cx:pt>
          <cx:pt idx="2755">4</cx:pt>
          <cx:pt idx="2756">3</cx:pt>
          <cx:pt idx="2757">2</cx:pt>
          <cx:pt idx="2758">5</cx:pt>
          <cx:pt idx="2759">4</cx:pt>
          <cx:pt idx="2760">4</cx:pt>
          <cx:pt idx="2761">4</cx:pt>
          <cx:pt idx="2762">1</cx:pt>
          <cx:pt idx="2763">3</cx:pt>
          <cx:pt idx="2764">4</cx:pt>
          <cx:pt idx="2765">3</cx:pt>
          <cx:pt idx="2766">4</cx:pt>
          <cx:pt idx="2767">5</cx:pt>
          <cx:pt idx="2768">3</cx:pt>
          <cx:pt idx="2769">3</cx:pt>
          <cx:pt idx="2770">5</cx:pt>
          <cx:pt idx="2771">5</cx:pt>
          <cx:pt idx="2772">5</cx:pt>
          <cx:pt idx="2773">4</cx:pt>
          <cx:pt idx="2774">2</cx:pt>
          <cx:pt idx="2775">4</cx:pt>
          <cx:pt idx="2776">1</cx:pt>
          <cx:pt idx="2777">5</cx:pt>
          <cx:pt idx="2778">4</cx:pt>
          <cx:pt idx="2779">5</cx:pt>
          <cx:pt idx="2780">4</cx:pt>
          <cx:pt idx="2781">3</cx:pt>
          <cx:pt idx="2782">5</cx:pt>
          <cx:pt idx="2783">3</cx:pt>
          <cx:pt idx="2784">3</cx:pt>
          <cx:pt idx="2785">1</cx:pt>
          <cx:pt idx="2786">5</cx:pt>
          <cx:pt idx="2787">2</cx:pt>
          <cx:pt idx="2788">1</cx:pt>
          <cx:pt idx="2789">3</cx:pt>
          <cx:pt idx="2790">3</cx:pt>
          <cx:pt idx="2791">1</cx:pt>
          <cx:pt idx="2792">4</cx:pt>
          <cx:pt idx="2793">3</cx:pt>
          <cx:pt idx="2794">2</cx:pt>
          <cx:pt idx="2795">5</cx:pt>
          <cx:pt idx="2796">5</cx:pt>
          <cx:pt idx="2797">2</cx:pt>
          <cx:pt idx="2798">5</cx:pt>
          <cx:pt idx="2799">4</cx:pt>
          <cx:pt idx="2800">4</cx:pt>
          <cx:pt idx="2801">4</cx:pt>
          <cx:pt idx="2802">5</cx:pt>
          <cx:pt idx="2803">5</cx:pt>
          <cx:pt idx="2804">1</cx:pt>
          <cx:pt idx="2805">5</cx:pt>
          <cx:pt idx="2806">5</cx:pt>
          <cx:pt idx="2807">4</cx:pt>
          <cx:pt idx="2808">5</cx:pt>
          <cx:pt idx="2809">5</cx:pt>
          <cx:pt idx="2810">4</cx:pt>
          <cx:pt idx="2811">3</cx:pt>
          <cx:pt idx="2812">2</cx:pt>
          <cx:pt idx="2813">3</cx:pt>
          <cx:pt idx="2814">3</cx:pt>
          <cx:pt idx="2815">2</cx:pt>
          <cx:pt idx="2816">4</cx:pt>
          <cx:pt idx="2817">3</cx:pt>
          <cx:pt idx="2818">5</cx:pt>
          <cx:pt idx="2819">1</cx:pt>
          <cx:pt idx="2820">2</cx:pt>
          <cx:pt idx="2821">3</cx:pt>
          <cx:pt idx="2822">4</cx:pt>
          <cx:pt idx="2823">4</cx:pt>
          <cx:pt idx="2824">1</cx:pt>
          <cx:pt idx="2825">4</cx:pt>
          <cx:pt idx="2826">3</cx:pt>
          <cx:pt idx="2827">5</cx:pt>
          <cx:pt idx="2828">4</cx:pt>
          <cx:pt idx="2829">1</cx:pt>
          <cx:pt idx="2830">3</cx:pt>
          <cx:pt idx="2831">2</cx:pt>
          <cx:pt idx="2832">3</cx:pt>
          <cx:pt idx="2833">5</cx:pt>
          <cx:pt idx="2834">5</cx:pt>
          <cx:pt idx="2835">3</cx:pt>
          <cx:pt idx="2836">5</cx:pt>
          <cx:pt idx="2837">3</cx:pt>
          <cx:pt idx="2838">5</cx:pt>
          <cx:pt idx="2839">2</cx:pt>
          <cx:pt idx="2840">5</cx:pt>
          <cx:pt idx="2841">2</cx:pt>
          <cx:pt idx="2842">1</cx:pt>
          <cx:pt idx="2843">2</cx:pt>
          <cx:pt idx="2844">4</cx:pt>
          <cx:pt idx="2845">5</cx:pt>
          <cx:pt idx="2846">4</cx:pt>
          <cx:pt idx="2847">1</cx:pt>
          <cx:pt idx="2848">5</cx:pt>
          <cx:pt idx="2849">4</cx:pt>
          <cx:pt idx="2850">1</cx:pt>
          <cx:pt idx="2851">4</cx:pt>
          <cx:pt idx="2852">2</cx:pt>
          <cx:pt idx="2853">3</cx:pt>
          <cx:pt idx="2854">5</cx:pt>
          <cx:pt idx="2855">3</cx:pt>
          <cx:pt idx="2856">3</cx:pt>
          <cx:pt idx="2857">4</cx:pt>
          <cx:pt idx="2858">2</cx:pt>
          <cx:pt idx="2859">3</cx:pt>
          <cx:pt idx="2860">1</cx:pt>
          <cx:pt idx="2861">3</cx:pt>
          <cx:pt idx="2862">3</cx:pt>
          <cx:pt idx="2863">5</cx:pt>
          <cx:pt idx="2864">3</cx:pt>
          <cx:pt idx="2865">3</cx:pt>
          <cx:pt idx="2866">4</cx:pt>
          <cx:pt idx="2867">3</cx:pt>
          <cx:pt idx="2868">4</cx:pt>
          <cx:pt idx="2869">3</cx:pt>
          <cx:pt idx="2870">4</cx:pt>
          <cx:pt idx="2871">4</cx:pt>
          <cx:pt idx="2872">4</cx:pt>
          <cx:pt idx="2873">5</cx:pt>
          <cx:pt idx="2874">5</cx:pt>
          <cx:pt idx="2875">5</cx:pt>
          <cx:pt idx="2876">2</cx:pt>
          <cx:pt idx="2877">3</cx:pt>
          <cx:pt idx="2878">2</cx:pt>
          <cx:pt idx="2879">1</cx:pt>
          <cx:pt idx="2880">1</cx:pt>
          <cx:pt idx="2881">5</cx:pt>
          <cx:pt idx="2882">3</cx:pt>
          <cx:pt idx="2883">5</cx:pt>
          <cx:pt idx="2884">2</cx:pt>
          <cx:pt idx="2885">5</cx:pt>
          <cx:pt idx="2886">3</cx:pt>
          <cx:pt idx="2887">3</cx:pt>
          <cx:pt idx="2888">5</cx:pt>
          <cx:pt idx="2889">2</cx:pt>
          <cx:pt idx="2890">4</cx:pt>
          <cx:pt idx="2891">4</cx:pt>
          <cx:pt idx="2892">5</cx:pt>
          <cx:pt idx="2893">3</cx:pt>
          <cx:pt idx="2894">4</cx:pt>
          <cx:pt idx="2895">4</cx:pt>
          <cx:pt idx="2896">5</cx:pt>
          <cx:pt idx="2897">4</cx:pt>
          <cx:pt idx="2898">5</cx:pt>
          <cx:pt idx="2899">3</cx:pt>
          <cx:pt idx="2900">4</cx:pt>
          <cx:pt idx="2901">5</cx:pt>
          <cx:pt idx="2902">2</cx:pt>
          <cx:pt idx="2903">3</cx:pt>
          <cx:pt idx="2904">2</cx:pt>
          <cx:pt idx="2905">3</cx:pt>
          <cx:pt idx="2906">4</cx:pt>
          <cx:pt idx="2907">2</cx:pt>
          <cx:pt idx="2908">1</cx:pt>
          <cx:pt idx="2909">4</cx:pt>
          <cx:pt idx="2910">2</cx:pt>
          <cx:pt idx="2911">2</cx:pt>
          <cx:pt idx="2912">3</cx:pt>
          <cx:pt idx="2913">4</cx:pt>
          <cx:pt idx="2914">4</cx:pt>
          <cx:pt idx="2915">2</cx:pt>
          <cx:pt idx="2916">1</cx:pt>
          <cx:pt idx="2917">5</cx:pt>
          <cx:pt idx="2918">3</cx:pt>
          <cx:pt idx="2919">1</cx:pt>
          <cx:pt idx="2920">4</cx:pt>
          <cx:pt idx="2921">5</cx:pt>
          <cx:pt idx="2922">4</cx:pt>
          <cx:pt idx="2923">3</cx:pt>
          <cx:pt idx="2924">3</cx:pt>
          <cx:pt idx="2925">2</cx:pt>
          <cx:pt idx="2926">5</cx:pt>
          <cx:pt idx="2927">5</cx:pt>
          <cx:pt idx="2928">1</cx:pt>
          <cx:pt idx="2929">5</cx:pt>
          <cx:pt idx="2930">1</cx:pt>
          <cx:pt idx="2931">4</cx:pt>
          <cx:pt idx="2932">4</cx:pt>
          <cx:pt idx="2933">5</cx:pt>
          <cx:pt idx="2934">5</cx:pt>
          <cx:pt idx="2935">3</cx:pt>
          <cx:pt idx="2936">4</cx:pt>
          <cx:pt idx="2937">4</cx:pt>
          <cx:pt idx="2938">1</cx:pt>
          <cx:pt idx="2939">5</cx:pt>
          <cx:pt idx="2940">5</cx:pt>
          <cx:pt idx="2941">4</cx:pt>
          <cx:pt idx="2942">3</cx:pt>
          <cx:pt idx="2943">5</cx:pt>
          <cx:pt idx="2944">5</cx:pt>
          <cx:pt idx="2945">3</cx:pt>
          <cx:pt idx="2946">5</cx:pt>
          <cx:pt idx="2947">5</cx:pt>
          <cx:pt idx="2948">4</cx:pt>
          <cx:pt idx="2949">3</cx:pt>
          <cx:pt idx="2950">4</cx:pt>
          <cx:pt idx="2951">2</cx:pt>
          <cx:pt idx="2952">4</cx:pt>
          <cx:pt idx="2953">1</cx:pt>
          <cx:pt idx="2954">5</cx:pt>
          <cx:pt idx="2955">2</cx:pt>
          <cx:pt idx="2956">2</cx:pt>
          <cx:pt idx="2957">4</cx:pt>
          <cx:pt idx="2958">5</cx:pt>
          <cx:pt idx="2959">1</cx:pt>
          <cx:pt idx="2960">4</cx:pt>
          <cx:pt idx="2961">4</cx:pt>
          <cx:pt idx="2962">3</cx:pt>
          <cx:pt idx="2963">4</cx:pt>
          <cx:pt idx="2964">4</cx:pt>
          <cx:pt idx="2965">5</cx:pt>
          <cx:pt idx="2966">4</cx:pt>
          <cx:pt idx="2967">5</cx:pt>
          <cx:pt idx="2968">5</cx:pt>
          <cx:pt idx="2969">5</cx:pt>
          <cx:pt idx="2970">3</cx:pt>
          <cx:pt idx="2971">5</cx:pt>
          <cx:pt idx="2972">5</cx:pt>
          <cx:pt idx="2973">4</cx:pt>
          <cx:pt idx="2974">3</cx:pt>
          <cx:pt idx="2975">4</cx:pt>
          <cx:pt idx="2976">4</cx:pt>
          <cx:pt idx="2977">5</cx:pt>
          <cx:pt idx="2978">4</cx:pt>
          <cx:pt idx="2979">4</cx:pt>
          <cx:pt idx="2980">3</cx:pt>
          <cx:pt idx="2981">3</cx:pt>
          <cx:pt idx="2982">2</cx:pt>
          <cx:pt idx="2983">4</cx:pt>
          <cx:pt idx="2984">3</cx:pt>
          <cx:pt idx="2985">5</cx:pt>
          <cx:pt idx="2986">2</cx:pt>
          <cx:pt idx="2987">4</cx:pt>
          <cx:pt idx="2988">3</cx:pt>
          <cx:pt idx="2989">3</cx:pt>
          <cx:pt idx="2990">5</cx:pt>
          <cx:pt idx="2991">5</cx:pt>
          <cx:pt idx="2992">3</cx:pt>
          <cx:pt idx="2993">2</cx:pt>
          <cx:pt idx="2994">2</cx:pt>
          <cx:pt idx="2995">5</cx:pt>
          <cx:pt idx="2996">1</cx:pt>
          <cx:pt idx="2997">2</cx:pt>
          <cx:pt idx="2998">3</cx:pt>
          <cx:pt idx="2999">3</cx:pt>
          <cx:pt idx="3000">4</cx:pt>
          <cx:pt idx="3001">5</cx:pt>
          <cx:pt idx="3002">4</cx:pt>
          <cx:pt idx="3003">4</cx:pt>
          <cx:pt idx="3004">5</cx:pt>
          <cx:pt idx="3005">2</cx:pt>
          <cx:pt idx="3006">2</cx:pt>
          <cx:pt idx="3007">3</cx:pt>
          <cx:pt idx="3008">1</cx:pt>
          <cx:pt idx="3009">4</cx:pt>
          <cx:pt idx="3010">2</cx:pt>
          <cx:pt idx="3011">1</cx:pt>
          <cx:pt idx="3012">3</cx:pt>
          <cx:pt idx="3013">5</cx:pt>
          <cx:pt idx="3014">3</cx:pt>
          <cx:pt idx="3015">5</cx:pt>
          <cx:pt idx="3016">1</cx:pt>
          <cx:pt idx="3017">1</cx:pt>
          <cx:pt idx="3018">4</cx:pt>
          <cx:pt idx="3019">2</cx:pt>
          <cx:pt idx="3020">2</cx:pt>
          <cx:pt idx="3021">5</cx:pt>
          <cx:pt idx="3022">3</cx:pt>
          <cx:pt idx="3023">4</cx:pt>
          <cx:pt idx="3024">4</cx:pt>
          <cx:pt idx="3025">3</cx:pt>
          <cx:pt idx="3026">5</cx:pt>
          <cx:pt idx="3027">4</cx:pt>
          <cx:pt idx="3028">4</cx:pt>
          <cx:pt idx="3029">4</cx:pt>
          <cx:pt idx="3030">5</cx:pt>
          <cx:pt idx="3031">5</cx:pt>
          <cx:pt idx="3032">5</cx:pt>
          <cx:pt idx="3033">4</cx:pt>
          <cx:pt idx="3034">5</cx:pt>
          <cx:pt idx="3035">4</cx:pt>
          <cx:pt idx="3036">5</cx:pt>
          <cx:pt idx="3037">5</cx:pt>
          <cx:pt idx="3038">5</cx:pt>
          <cx:pt idx="3039">4</cx:pt>
          <cx:pt idx="3040">4</cx:pt>
          <cx:pt idx="3041">1</cx:pt>
          <cx:pt idx="3042">2</cx:pt>
          <cx:pt idx="3043">3</cx:pt>
          <cx:pt idx="3044">3</cx:pt>
          <cx:pt idx="3045">4</cx:pt>
          <cx:pt idx="3046">3</cx:pt>
          <cx:pt idx="3047">5</cx:pt>
          <cx:pt idx="3048">5</cx:pt>
          <cx:pt idx="3049">4</cx:pt>
          <cx:pt idx="3050">3</cx:pt>
          <cx:pt idx="3051">3</cx:pt>
          <cx:pt idx="3052">3</cx:pt>
          <cx:pt idx="3053">3</cx:pt>
          <cx:pt idx="3054">4</cx:pt>
          <cx:pt idx="3055">3</cx:pt>
          <cx:pt idx="3056">5</cx:pt>
          <cx:pt idx="3057">4</cx:pt>
          <cx:pt idx="3058">4</cx:pt>
          <cx:pt idx="3059">4</cx:pt>
          <cx:pt idx="3060">4</cx:pt>
          <cx:pt idx="3061">4</cx:pt>
          <cx:pt idx="3062">3</cx:pt>
          <cx:pt idx="3063">4</cx:pt>
          <cx:pt idx="3064">5</cx:pt>
          <cx:pt idx="3065">5</cx:pt>
          <cx:pt idx="3066">4</cx:pt>
          <cx:pt idx="3067">5</cx:pt>
          <cx:pt idx="3068">1</cx:pt>
          <cx:pt idx="3069">4</cx:pt>
          <cx:pt idx="3070">4</cx:pt>
          <cx:pt idx="3071">2</cx:pt>
          <cx:pt idx="3072">3</cx:pt>
          <cx:pt idx="3073">2</cx:pt>
          <cx:pt idx="3074">3</cx:pt>
          <cx:pt idx="3075">5</cx:pt>
          <cx:pt idx="3076">4</cx:pt>
          <cx:pt idx="3077">5</cx:pt>
          <cx:pt idx="3078">3</cx:pt>
          <cx:pt idx="3079">2</cx:pt>
          <cx:pt idx="3080">2</cx:pt>
          <cx:pt idx="3081">5</cx:pt>
          <cx:pt idx="3082">5</cx:pt>
          <cx:pt idx="3083">3</cx:pt>
          <cx:pt idx="3084">2</cx:pt>
          <cx:pt idx="3085">4</cx:pt>
          <cx:pt idx="3086">4</cx:pt>
          <cx:pt idx="3087">2</cx:pt>
          <cx:pt idx="3088">3</cx:pt>
          <cx:pt idx="3089">5</cx:pt>
          <cx:pt idx="3090">4</cx:pt>
          <cx:pt idx="3091">2</cx:pt>
          <cx:pt idx="3092">4</cx:pt>
          <cx:pt idx="3093">5</cx:pt>
          <cx:pt idx="3094">2</cx:pt>
          <cx:pt idx="3095">3</cx:pt>
          <cx:pt idx="3096">5</cx:pt>
          <cx:pt idx="3097">5</cx:pt>
          <cx:pt idx="3098">2</cx:pt>
          <cx:pt idx="3099">3</cx:pt>
          <cx:pt idx="3100">4</cx:pt>
          <cx:pt idx="3101">1</cx:pt>
          <cx:pt idx="3102">3</cx:pt>
          <cx:pt idx="3103">5</cx:pt>
          <cx:pt idx="3104">5</cx:pt>
          <cx:pt idx="3105">5</cx:pt>
          <cx:pt idx="3106">4</cx:pt>
          <cx:pt idx="3107">3</cx:pt>
          <cx:pt idx="3108">2</cx:pt>
          <cx:pt idx="3109">2</cx:pt>
          <cx:pt idx="3110">1</cx:pt>
          <cx:pt idx="3111">3</cx:pt>
          <cx:pt idx="3112">2</cx:pt>
          <cx:pt idx="3113">1</cx:pt>
          <cx:pt idx="3114">2</cx:pt>
          <cx:pt idx="3115">3</cx:pt>
          <cx:pt idx="3116">5</cx:pt>
          <cx:pt idx="3117">1</cx:pt>
          <cx:pt idx="3118">1</cx:pt>
          <cx:pt idx="3119">3</cx:pt>
          <cx:pt idx="3120">3</cx:pt>
          <cx:pt idx="3121">3</cx:pt>
          <cx:pt idx="3122">2</cx:pt>
          <cx:pt idx="3123">5</cx:pt>
          <cx:pt idx="3124">3</cx:pt>
          <cx:pt idx="3125">4</cx:pt>
          <cx:pt idx="3126">5</cx:pt>
          <cx:pt idx="3127">2</cx:pt>
          <cx:pt idx="3128">2</cx:pt>
          <cx:pt idx="3129">5</cx:pt>
          <cx:pt idx="3130">4</cx:pt>
          <cx:pt idx="3131">5</cx:pt>
          <cx:pt idx="3132">2</cx:pt>
          <cx:pt idx="3133">5</cx:pt>
          <cx:pt idx="3134">2</cx:pt>
          <cx:pt idx="3135">3</cx:pt>
          <cx:pt idx="3136">5</cx:pt>
          <cx:pt idx="3137">1</cx:pt>
          <cx:pt idx="3138">4</cx:pt>
          <cx:pt idx="3139">5</cx:pt>
          <cx:pt idx="3140">5</cx:pt>
          <cx:pt idx="3141">4</cx:pt>
          <cx:pt idx="3142">5</cx:pt>
          <cx:pt idx="3143">1</cx:pt>
          <cx:pt idx="3144">3</cx:pt>
          <cx:pt idx="3145">5</cx:pt>
          <cx:pt idx="3146">5</cx:pt>
          <cx:pt idx="3147">2</cx:pt>
          <cx:pt idx="3148">4</cx:pt>
          <cx:pt idx="3149">4</cx:pt>
          <cx:pt idx="3150">5</cx:pt>
          <cx:pt idx="3151">4</cx:pt>
          <cx:pt idx="3152">4</cx:pt>
          <cx:pt idx="3153">5</cx:pt>
          <cx:pt idx="3154">1</cx:pt>
          <cx:pt idx="3155">4</cx:pt>
          <cx:pt idx="3156">3</cx:pt>
          <cx:pt idx="3157">4</cx:pt>
          <cx:pt idx="3158">2</cx:pt>
          <cx:pt idx="3159">1</cx:pt>
          <cx:pt idx="3160">5</cx:pt>
          <cx:pt idx="3161">4</cx:pt>
          <cx:pt idx="3162">5</cx:pt>
          <cx:pt idx="3163">5</cx:pt>
          <cx:pt idx="3164">5</cx:pt>
          <cx:pt idx="3165">3</cx:pt>
          <cx:pt idx="3166">4</cx:pt>
          <cx:pt idx="3167">4</cx:pt>
          <cx:pt idx="3168">2</cx:pt>
          <cx:pt idx="3169">5</cx:pt>
          <cx:pt idx="3170">2</cx:pt>
          <cx:pt idx="3171">3</cx:pt>
          <cx:pt idx="3172">1</cx:pt>
          <cx:pt idx="3173">5</cx:pt>
          <cx:pt idx="3174">5</cx:pt>
          <cx:pt idx="3175">4</cx:pt>
          <cx:pt idx="3176">2</cx:pt>
          <cx:pt idx="3177">4</cx:pt>
          <cx:pt idx="3178">5</cx:pt>
          <cx:pt idx="3179">1</cx:pt>
          <cx:pt idx="3180">3</cx:pt>
          <cx:pt idx="3181">5</cx:pt>
          <cx:pt idx="3182">4</cx:pt>
          <cx:pt idx="3183">2</cx:pt>
          <cx:pt idx="3184">4</cx:pt>
          <cx:pt idx="3185">5</cx:pt>
          <cx:pt idx="3186">3</cx:pt>
          <cx:pt idx="3187">4</cx:pt>
          <cx:pt idx="3188">2</cx:pt>
          <cx:pt idx="3189">2</cx:pt>
          <cx:pt idx="3190">1</cx:pt>
          <cx:pt idx="3191">4</cx:pt>
          <cx:pt idx="3192">4</cx:pt>
          <cx:pt idx="3193">4</cx:pt>
          <cx:pt idx="3194">1</cx:pt>
          <cx:pt idx="3195">5</cx:pt>
          <cx:pt idx="3196">5</cx:pt>
          <cx:pt idx="3197">1</cx:pt>
          <cx:pt idx="3198">3</cx:pt>
          <cx:pt idx="3199">3</cx:pt>
          <cx:pt idx="3200">2</cx:pt>
          <cx:pt idx="3201">4</cx:pt>
          <cx:pt idx="3202">1</cx:pt>
          <cx:pt idx="3203">3</cx:pt>
          <cx:pt idx="3204">5</cx:pt>
          <cx:pt idx="3205">4</cx:pt>
          <cx:pt idx="3206">2</cx:pt>
          <cx:pt idx="3207">1</cx:pt>
          <cx:pt idx="3208">3</cx:pt>
          <cx:pt idx="3209">4</cx:pt>
          <cx:pt idx="3210">5</cx:pt>
          <cx:pt idx="3211">4</cx:pt>
          <cx:pt idx="3212">5</cx:pt>
          <cx:pt idx="3213">4</cx:pt>
          <cx:pt idx="3214">3</cx:pt>
          <cx:pt idx="3215">1</cx:pt>
          <cx:pt idx="3216">2</cx:pt>
          <cx:pt idx="3217">2</cx:pt>
          <cx:pt idx="3218">2</cx:pt>
          <cx:pt idx="3219">2</cx:pt>
          <cx:pt idx="3220">3</cx:pt>
          <cx:pt idx="3221">3</cx:pt>
          <cx:pt idx="3222">4</cx:pt>
          <cx:pt idx="3223">2</cx:pt>
          <cx:pt idx="3224">2</cx:pt>
          <cx:pt idx="3225">5</cx:pt>
          <cx:pt idx="3226">3</cx:pt>
          <cx:pt idx="3227">4</cx:pt>
          <cx:pt idx="3228">5</cx:pt>
          <cx:pt idx="3229">3</cx:pt>
          <cx:pt idx="3230">3</cx:pt>
          <cx:pt idx="3231">5</cx:pt>
          <cx:pt idx="3232">1</cx:pt>
          <cx:pt idx="3233">3</cx:pt>
          <cx:pt idx="3234">2</cx:pt>
          <cx:pt idx="3235">5</cx:pt>
          <cx:pt idx="3236">5</cx:pt>
          <cx:pt idx="3237">4</cx:pt>
          <cx:pt idx="3238">5</cx:pt>
          <cx:pt idx="3239">2</cx:pt>
          <cx:pt idx="3240">4</cx:pt>
          <cx:pt idx="3241">3</cx:pt>
          <cx:pt idx="3242">3</cx:pt>
          <cx:pt idx="3243">5</cx:pt>
          <cx:pt idx="3244">4</cx:pt>
          <cx:pt idx="3245">2</cx:pt>
          <cx:pt idx="3246">2</cx:pt>
          <cx:pt idx="3247">1</cx:pt>
          <cx:pt idx="3248">5</cx:pt>
          <cx:pt idx="3249">2</cx:pt>
          <cx:pt idx="3250">5</cx:pt>
          <cx:pt idx="3251">3</cx:pt>
          <cx:pt idx="3252">3</cx:pt>
          <cx:pt idx="3253">1</cx:pt>
          <cx:pt idx="3254">1</cx:pt>
          <cx:pt idx="3255">2</cx:pt>
          <cx:pt idx="3256">1</cx:pt>
          <cx:pt idx="3257">2</cx:pt>
          <cx:pt idx="3258">3</cx:pt>
          <cx:pt idx="3259">1</cx:pt>
          <cx:pt idx="3260">3</cx:pt>
          <cx:pt idx="3261">2</cx:pt>
          <cx:pt idx="3262">4</cx:pt>
          <cx:pt idx="3263">5</cx:pt>
          <cx:pt idx="3264">4</cx:pt>
          <cx:pt idx="3265">4</cx:pt>
          <cx:pt idx="3266">4</cx:pt>
          <cx:pt idx="3267">2</cx:pt>
          <cx:pt idx="3268">3</cx:pt>
          <cx:pt idx="3269">4</cx:pt>
          <cx:pt idx="3270">3</cx:pt>
          <cx:pt idx="3271">3</cx:pt>
          <cx:pt idx="3272">2</cx:pt>
          <cx:pt idx="3273">3</cx:pt>
          <cx:pt idx="3274">2</cx:pt>
          <cx:pt idx="3275">5</cx:pt>
          <cx:pt idx="3276">5</cx:pt>
          <cx:pt idx="3277">1</cx:pt>
          <cx:pt idx="3278">1</cx:pt>
          <cx:pt idx="3279">4</cx:pt>
          <cx:pt idx="3280">4</cx:pt>
          <cx:pt idx="3281">4</cx:pt>
          <cx:pt idx="3282">5</cx:pt>
          <cx:pt idx="3283">3</cx:pt>
          <cx:pt idx="3284">5</cx:pt>
          <cx:pt idx="3285">4</cx:pt>
          <cx:pt idx="3286">4</cx:pt>
          <cx:pt idx="3287">4</cx:pt>
          <cx:pt idx="3288">3</cx:pt>
          <cx:pt idx="3289">4</cx:pt>
          <cx:pt idx="3290">3</cx:pt>
          <cx:pt idx="3291">5</cx:pt>
          <cx:pt idx="3292">4</cx:pt>
          <cx:pt idx="3293">3</cx:pt>
          <cx:pt idx="3294">4</cx:pt>
          <cx:pt idx="3295">4</cx:pt>
          <cx:pt idx="3296">5</cx:pt>
          <cx:pt idx="3297">4</cx:pt>
          <cx:pt idx="3298">4</cx:pt>
          <cx:pt idx="3299">2</cx:pt>
          <cx:pt idx="3300">5</cx:pt>
          <cx:pt idx="3301">3</cx:pt>
          <cx:pt idx="3302">2</cx:pt>
          <cx:pt idx="3303">2</cx:pt>
          <cx:pt idx="3304">4</cx:pt>
          <cx:pt idx="3305">5</cx:pt>
          <cx:pt idx="3306">4</cx:pt>
          <cx:pt idx="3307">2</cx:pt>
          <cx:pt idx="3308">5</cx:pt>
          <cx:pt idx="3309">4</cx:pt>
          <cx:pt idx="3310">2</cx:pt>
          <cx:pt idx="3311">4</cx:pt>
          <cx:pt idx="3312">2</cx:pt>
          <cx:pt idx="3313">3</cx:pt>
          <cx:pt idx="3314">4</cx:pt>
          <cx:pt idx="3315">2</cx:pt>
          <cx:pt idx="3316">1</cx:pt>
          <cx:pt idx="3317">4</cx:pt>
          <cx:pt idx="3318">4</cx:pt>
          <cx:pt idx="3319">1</cx:pt>
          <cx:pt idx="3320">2</cx:pt>
          <cx:pt idx="3321">2</cx:pt>
          <cx:pt idx="3322">4</cx:pt>
          <cx:pt idx="3323">4</cx:pt>
          <cx:pt idx="3324">1</cx:pt>
          <cx:pt idx="3325">2</cx:pt>
          <cx:pt idx="3326">1</cx:pt>
          <cx:pt idx="3327">5</cx:pt>
          <cx:pt idx="3328">4</cx:pt>
          <cx:pt idx="3329">3</cx:pt>
          <cx:pt idx="3330">2</cx:pt>
          <cx:pt idx="3331">2</cx:pt>
          <cx:pt idx="3332">5</cx:pt>
          <cx:pt idx="3333">2</cx:pt>
          <cx:pt idx="3334">5</cx:pt>
          <cx:pt idx="3335">3</cx:pt>
          <cx:pt idx="3336">2</cx:pt>
          <cx:pt idx="3337">3</cx:pt>
          <cx:pt idx="3338">4</cx:pt>
          <cx:pt idx="3339">4</cx:pt>
          <cx:pt idx="3340">1</cx:pt>
          <cx:pt idx="3341">2</cx:pt>
          <cx:pt idx="3342">3</cx:pt>
          <cx:pt idx="3343">5</cx:pt>
          <cx:pt idx="3344">5</cx:pt>
          <cx:pt idx="3345">3</cx:pt>
          <cx:pt idx="3346">5</cx:pt>
          <cx:pt idx="3347">3</cx:pt>
          <cx:pt idx="3348">2</cx:pt>
          <cx:pt idx="3349">2</cx:pt>
          <cx:pt idx="3350">5</cx:pt>
          <cx:pt idx="3351">2</cx:pt>
          <cx:pt idx="3352">1</cx:pt>
          <cx:pt idx="3353">3</cx:pt>
          <cx:pt idx="3354">5</cx:pt>
          <cx:pt idx="3355">2</cx:pt>
          <cx:pt idx="3356">2</cx:pt>
          <cx:pt idx="3357">2</cx:pt>
          <cx:pt idx="3358">3</cx:pt>
          <cx:pt idx="3359">4</cx:pt>
          <cx:pt idx="3360">4</cx:pt>
          <cx:pt idx="3361">5</cx:pt>
          <cx:pt idx="3362">5</cx:pt>
          <cx:pt idx="3363">4</cx:pt>
          <cx:pt idx="3364">4</cx:pt>
          <cx:pt idx="3365">3</cx:pt>
          <cx:pt idx="3366">4</cx:pt>
          <cx:pt idx="3367">3</cx:pt>
          <cx:pt idx="3368">4</cx:pt>
          <cx:pt idx="3369">4</cx:pt>
          <cx:pt idx="3370">3</cx:pt>
          <cx:pt idx="3371">5</cx:pt>
          <cx:pt idx="3372">4</cx:pt>
          <cx:pt idx="3373">5</cx:pt>
          <cx:pt idx="3374">2</cx:pt>
          <cx:pt idx="3375">2</cx:pt>
          <cx:pt idx="3376">3</cx:pt>
          <cx:pt idx="3377">5</cx:pt>
          <cx:pt idx="3378">3</cx:pt>
          <cx:pt idx="3379">4</cx:pt>
          <cx:pt idx="3380">1</cx:pt>
          <cx:pt idx="3381">5</cx:pt>
          <cx:pt idx="3382">3</cx:pt>
          <cx:pt idx="3383">5</cx:pt>
          <cx:pt idx="3384">2</cx:pt>
          <cx:pt idx="3385">4</cx:pt>
          <cx:pt idx="3386">5</cx:pt>
          <cx:pt idx="3387">4</cx:pt>
          <cx:pt idx="3388">3</cx:pt>
          <cx:pt idx="3389">3</cx:pt>
          <cx:pt idx="3390">2</cx:pt>
          <cx:pt idx="3391">2</cx:pt>
          <cx:pt idx="3392">4</cx:pt>
          <cx:pt idx="3393">3</cx:pt>
          <cx:pt idx="3394">5</cx:pt>
          <cx:pt idx="3395">2</cx:pt>
          <cx:pt idx="3396">4</cx:pt>
          <cx:pt idx="3397">4</cx:pt>
          <cx:pt idx="3398">5</cx:pt>
          <cx:pt idx="3399">4</cx:pt>
          <cx:pt idx="3400">3</cx:pt>
          <cx:pt idx="3401">3</cx:pt>
          <cx:pt idx="3402">1</cx:pt>
          <cx:pt idx="3403">4</cx:pt>
          <cx:pt idx="3404">4</cx:pt>
          <cx:pt idx="3405">2</cx:pt>
          <cx:pt idx="3406">2</cx:pt>
          <cx:pt idx="3407">4</cx:pt>
          <cx:pt idx="3408">5</cx:pt>
          <cx:pt idx="3409">5</cx:pt>
          <cx:pt idx="3410">5</cx:pt>
          <cx:pt idx="3411">4</cx:pt>
          <cx:pt idx="3412">2</cx:pt>
          <cx:pt idx="3413">3</cx:pt>
          <cx:pt idx="3414">4</cx:pt>
          <cx:pt idx="3415">3</cx:pt>
          <cx:pt idx="3416">3</cx:pt>
          <cx:pt idx="3417">3</cx:pt>
          <cx:pt idx="3418">1</cx:pt>
          <cx:pt idx="3419">4</cx:pt>
          <cx:pt idx="3420">5</cx:pt>
          <cx:pt idx="3421">5</cx:pt>
          <cx:pt idx="3422">4</cx:pt>
          <cx:pt idx="3423">5</cx:pt>
          <cx:pt idx="3424">4</cx:pt>
          <cx:pt idx="3425">2</cx:pt>
          <cx:pt idx="3426">2</cx:pt>
          <cx:pt idx="3427">1</cx:pt>
          <cx:pt idx="3428">5</cx:pt>
          <cx:pt idx="3429">5</cx:pt>
          <cx:pt idx="3430">4</cx:pt>
          <cx:pt idx="3431">3</cx:pt>
          <cx:pt idx="3432">5</cx:pt>
          <cx:pt idx="3433">3</cx:pt>
          <cx:pt idx="3434">3</cx:pt>
          <cx:pt idx="3435">1</cx:pt>
          <cx:pt idx="3436">5</cx:pt>
          <cx:pt idx="3437">5</cx:pt>
          <cx:pt idx="3438">4</cx:pt>
          <cx:pt idx="3439">2</cx:pt>
          <cx:pt idx="3440">4</cx:pt>
          <cx:pt idx="3441">5</cx:pt>
          <cx:pt idx="3442">5</cx:pt>
          <cx:pt idx="3443">5</cx:pt>
          <cx:pt idx="3444">4</cx:pt>
          <cx:pt idx="3445">5</cx:pt>
          <cx:pt idx="3446">5</cx:pt>
          <cx:pt idx="3447">2</cx:pt>
          <cx:pt idx="3448">4</cx:pt>
          <cx:pt idx="3449">2</cx:pt>
          <cx:pt idx="3450">4</cx:pt>
          <cx:pt idx="3451">1</cx:pt>
          <cx:pt idx="3452">5</cx:pt>
          <cx:pt idx="3453">5</cx:pt>
          <cx:pt idx="3454">3</cx:pt>
          <cx:pt idx="3455">2</cx:pt>
          <cx:pt idx="3456">5</cx:pt>
          <cx:pt idx="3457">2</cx:pt>
          <cx:pt idx="3458">3</cx:pt>
          <cx:pt idx="3459">4</cx:pt>
          <cx:pt idx="3460">4</cx:pt>
          <cx:pt idx="3461">5</cx:pt>
          <cx:pt idx="3462">5</cx:pt>
          <cx:pt idx="3463">1</cx:pt>
          <cx:pt idx="3464">3</cx:pt>
          <cx:pt idx="3465">5</cx:pt>
          <cx:pt idx="3466">5</cx:pt>
          <cx:pt idx="3467">4</cx:pt>
          <cx:pt idx="3468">4</cx:pt>
          <cx:pt idx="3469">3</cx:pt>
          <cx:pt idx="3470">2</cx:pt>
          <cx:pt idx="3471">5</cx:pt>
          <cx:pt idx="3472">1</cx:pt>
          <cx:pt idx="3473">5</cx:pt>
          <cx:pt idx="3474">3</cx:pt>
          <cx:pt idx="3475">2</cx:pt>
          <cx:pt idx="3476">3</cx:pt>
          <cx:pt idx="3477">4</cx:pt>
          <cx:pt idx="3478">1</cx:pt>
          <cx:pt idx="3479">5</cx:pt>
          <cx:pt idx="3480">1</cx:pt>
          <cx:pt idx="3481">5</cx:pt>
          <cx:pt idx="3482">5</cx:pt>
          <cx:pt idx="3483">1</cx:pt>
          <cx:pt idx="3484">4</cx:pt>
          <cx:pt idx="3485">4</cx:pt>
          <cx:pt idx="3486">4</cx:pt>
          <cx:pt idx="3487">4</cx:pt>
          <cx:pt idx="3488">5</cx:pt>
          <cx:pt idx="3489">5</cx:pt>
          <cx:pt idx="3490">3</cx:pt>
          <cx:pt idx="3491">2</cx:pt>
          <cx:pt idx="3492">4</cx:pt>
          <cx:pt idx="3493">4</cx:pt>
          <cx:pt idx="3494">4</cx:pt>
          <cx:pt idx="3495">4</cx:pt>
          <cx:pt idx="3496">5</cx:pt>
          <cx:pt idx="3497">5</cx:pt>
          <cx:pt idx="3498">1</cx:pt>
          <cx:pt idx="3499">2</cx:pt>
          <cx:pt idx="3500">4</cx:pt>
          <cx:pt idx="3501">5</cx:pt>
          <cx:pt idx="3502">4</cx:pt>
          <cx:pt idx="3503">5</cx:pt>
          <cx:pt idx="3504">5</cx:pt>
          <cx:pt idx="3505">5</cx:pt>
          <cx:pt idx="3506">4</cx:pt>
          <cx:pt idx="3507">4</cx:pt>
          <cx:pt idx="3508">5</cx:pt>
          <cx:pt idx="3509">4</cx:pt>
          <cx:pt idx="3510">5</cx:pt>
          <cx:pt idx="3511">5</cx:pt>
          <cx:pt idx="3512">2</cx:pt>
          <cx:pt idx="3513">4</cx:pt>
          <cx:pt idx="3514">3</cx:pt>
          <cx:pt idx="3515">1</cx:pt>
          <cx:pt idx="3516">4</cx:pt>
          <cx:pt idx="3517">3</cx:pt>
          <cx:pt idx="3518">3</cx:pt>
          <cx:pt idx="3519">4</cx:pt>
          <cx:pt idx="3520">5</cx:pt>
          <cx:pt idx="3521">2</cx:pt>
          <cx:pt idx="3522">5</cx:pt>
          <cx:pt idx="3523">5</cx:pt>
          <cx:pt idx="3524">3</cx:pt>
          <cx:pt idx="3525">4</cx:pt>
          <cx:pt idx="3526">4</cx:pt>
          <cx:pt idx="3527">3</cx:pt>
          <cx:pt idx="3528">4</cx:pt>
          <cx:pt idx="3529">2</cx:pt>
          <cx:pt idx="3530">5</cx:pt>
          <cx:pt idx="3531">2</cx:pt>
          <cx:pt idx="3532">2</cx:pt>
          <cx:pt idx="3533">2</cx:pt>
          <cx:pt idx="3534">2</cx:pt>
          <cx:pt idx="3535">3</cx:pt>
          <cx:pt idx="3536">3</cx:pt>
          <cx:pt idx="3537">3</cx:pt>
          <cx:pt idx="3538">5</cx:pt>
          <cx:pt idx="3539">1</cx:pt>
          <cx:pt idx="3540">5</cx:pt>
          <cx:pt idx="3541">1</cx:pt>
          <cx:pt idx="3542">1</cx:pt>
          <cx:pt idx="3543">5</cx:pt>
          <cx:pt idx="3544">4</cx:pt>
          <cx:pt idx="3545">4</cx:pt>
          <cx:pt idx="3546">5</cx:pt>
          <cx:pt idx="3547">4</cx:pt>
          <cx:pt idx="3548">4</cx:pt>
          <cx:pt idx="3549">4</cx:pt>
          <cx:pt idx="3550">4</cx:pt>
          <cx:pt idx="3551">3</cx:pt>
          <cx:pt idx="3552">4</cx:pt>
          <cx:pt idx="3553">5</cx:pt>
          <cx:pt idx="3554">3</cx:pt>
          <cx:pt idx="3555">1</cx:pt>
          <cx:pt idx="3556">4</cx:pt>
          <cx:pt idx="3557">4</cx:pt>
          <cx:pt idx="3558">2</cx:pt>
          <cx:pt idx="3559">1</cx:pt>
          <cx:pt idx="3560">1</cx:pt>
          <cx:pt idx="3561">4</cx:pt>
          <cx:pt idx="3562">3</cx:pt>
          <cx:pt idx="3563">5</cx:pt>
          <cx:pt idx="3564">3</cx:pt>
          <cx:pt idx="3565">1</cx:pt>
          <cx:pt idx="3566">4</cx:pt>
          <cx:pt idx="3567">1</cx:pt>
          <cx:pt idx="3568">5</cx:pt>
          <cx:pt idx="3569">4</cx:pt>
          <cx:pt idx="3570">5</cx:pt>
          <cx:pt idx="3571">4</cx:pt>
          <cx:pt idx="3572">5</cx:pt>
          <cx:pt idx="3573">4</cx:pt>
          <cx:pt idx="3574">1</cx:pt>
          <cx:pt idx="3575">4</cx:pt>
          <cx:pt idx="3576">2</cx:pt>
          <cx:pt idx="3577">5</cx:pt>
          <cx:pt idx="3578">2</cx:pt>
          <cx:pt idx="3579">4</cx:pt>
          <cx:pt idx="3580">1</cx:pt>
          <cx:pt idx="3581">2</cx:pt>
          <cx:pt idx="3582">5</cx:pt>
          <cx:pt idx="3583">2</cx:pt>
          <cx:pt idx="3584">4</cx:pt>
          <cx:pt idx="3585">5</cx:pt>
          <cx:pt idx="3586">5</cx:pt>
          <cx:pt idx="3587">5</cx:pt>
          <cx:pt idx="3588">4</cx:pt>
          <cx:pt idx="3589">3</cx:pt>
          <cx:pt idx="3590">4</cx:pt>
          <cx:pt idx="3591">2</cx:pt>
          <cx:pt idx="3592">5</cx:pt>
          <cx:pt idx="3593">2</cx:pt>
          <cx:pt idx="3594">4</cx:pt>
          <cx:pt idx="3595">4</cx:pt>
          <cx:pt idx="3596">1</cx:pt>
          <cx:pt idx="3597">5</cx:pt>
          <cx:pt idx="3598">2</cx:pt>
          <cx:pt idx="3599">5</cx:pt>
          <cx:pt idx="3600">3</cx:pt>
          <cx:pt idx="3601">5</cx:pt>
          <cx:pt idx="3602">5</cx:pt>
          <cx:pt idx="3603">2</cx:pt>
          <cx:pt idx="3604">4</cx:pt>
          <cx:pt idx="3605">4</cx:pt>
          <cx:pt idx="3606">4</cx:pt>
          <cx:pt idx="3607">1</cx:pt>
          <cx:pt idx="3608">3</cx:pt>
          <cx:pt idx="3609">4</cx:pt>
          <cx:pt idx="3610">3</cx:pt>
          <cx:pt idx="3611">5</cx:pt>
          <cx:pt idx="3612">5</cx:pt>
          <cx:pt idx="3613">2</cx:pt>
          <cx:pt idx="3614">3</cx:pt>
          <cx:pt idx="3615">2</cx:pt>
          <cx:pt idx="3616">5</cx:pt>
          <cx:pt idx="3617">4</cx:pt>
          <cx:pt idx="3618">3</cx:pt>
          <cx:pt idx="3619">4</cx:pt>
          <cx:pt idx="3620">3</cx:pt>
          <cx:pt idx="3621">4</cx:pt>
          <cx:pt idx="3622">5</cx:pt>
          <cx:pt idx="3623">5</cx:pt>
          <cx:pt idx="3624">4</cx:pt>
          <cx:pt idx="3625">4</cx:pt>
          <cx:pt idx="3626">4</cx:pt>
          <cx:pt idx="3627">2</cx:pt>
          <cx:pt idx="3628">4</cx:pt>
          <cx:pt idx="3629">1</cx:pt>
          <cx:pt idx="3630">4</cx:pt>
          <cx:pt idx="3631">4</cx:pt>
          <cx:pt idx="3632">3</cx:pt>
          <cx:pt idx="3633">1</cx:pt>
          <cx:pt idx="3634">5</cx:pt>
          <cx:pt idx="3635">3</cx:pt>
          <cx:pt idx="3636">5</cx:pt>
          <cx:pt idx="3637">2</cx:pt>
          <cx:pt idx="3638">3</cx:pt>
          <cx:pt idx="3639">2</cx:pt>
          <cx:pt idx="3640">4</cx:pt>
          <cx:pt idx="3641">3</cx:pt>
          <cx:pt idx="3642">1</cx:pt>
          <cx:pt idx="3643">3</cx:pt>
          <cx:pt idx="3644">2</cx:pt>
          <cx:pt idx="3645">2</cx:pt>
          <cx:pt idx="3646">3</cx:pt>
          <cx:pt idx="3647">5</cx:pt>
          <cx:pt idx="3648">1</cx:pt>
          <cx:pt idx="3649">5</cx:pt>
          <cx:pt idx="3650">1</cx:pt>
          <cx:pt idx="3651">1</cx:pt>
          <cx:pt idx="3652">2</cx:pt>
          <cx:pt idx="3653">4</cx:pt>
          <cx:pt idx="3654">5</cx:pt>
          <cx:pt idx="3655">1</cx:pt>
          <cx:pt idx="3656">1</cx:pt>
          <cx:pt idx="3657">3</cx:pt>
          <cx:pt idx="3658">2</cx:pt>
          <cx:pt idx="3659">1</cx:pt>
          <cx:pt idx="3660">4</cx:pt>
          <cx:pt idx="3661">3</cx:pt>
          <cx:pt idx="3662">5</cx:pt>
          <cx:pt idx="3663">2</cx:pt>
          <cx:pt idx="3664">1</cx:pt>
          <cx:pt idx="3665">1</cx:pt>
          <cx:pt idx="3666">5</cx:pt>
          <cx:pt idx="3667">4</cx:pt>
          <cx:pt idx="3668">2</cx:pt>
          <cx:pt idx="3669">2</cx:pt>
          <cx:pt idx="3670">4</cx:pt>
          <cx:pt idx="3671">2</cx:pt>
          <cx:pt idx="3672">3</cx:pt>
          <cx:pt idx="3673">2</cx:pt>
          <cx:pt idx="3674">4</cx:pt>
          <cx:pt idx="3675">1</cx:pt>
          <cx:pt idx="3676">4</cx:pt>
          <cx:pt idx="3677">2</cx:pt>
          <cx:pt idx="3678">4</cx:pt>
          <cx:pt idx="3679">4</cx:pt>
          <cx:pt idx="3680">5</cx:pt>
          <cx:pt idx="3681">1</cx:pt>
          <cx:pt idx="3682">4</cx:pt>
          <cx:pt idx="3683">5</cx:pt>
          <cx:pt idx="3684">3</cx:pt>
          <cx:pt idx="3685">4</cx:pt>
          <cx:pt idx="3686">4</cx:pt>
          <cx:pt idx="3687">4</cx:pt>
          <cx:pt idx="3688">4</cx:pt>
          <cx:pt idx="3689">4</cx:pt>
          <cx:pt idx="3690">2</cx:pt>
          <cx:pt idx="3691">5</cx:pt>
          <cx:pt idx="3692">4</cx:pt>
          <cx:pt idx="3693">4</cx:pt>
          <cx:pt idx="3694">3</cx:pt>
          <cx:pt idx="3695">4</cx:pt>
          <cx:pt idx="3696">3</cx:pt>
          <cx:pt idx="3697">4</cx:pt>
          <cx:pt idx="3698">5</cx:pt>
          <cx:pt idx="3699">2</cx:pt>
          <cx:pt idx="3700">1</cx:pt>
          <cx:pt idx="3701">4</cx:pt>
          <cx:pt idx="3702">3</cx:pt>
          <cx:pt idx="3703">2</cx:pt>
          <cx:pt idx="3704">4</cx:pt>
          <cx:pt idx="3705">3</cx:pt>
          <cx:pt idx="3706">4</cx:pt>
          <cx:pt idx="3707">4</cx:pt>
          <cx:pt idx="3708">3</cx:pt>
          <cx:pt idx="3709">2</cx:pt>
          <cx:pt idx="3710">4</cx:pt>
          <cx:pt idx="3711">4</cx:pt>
          <cx:pt idx="3712">3</cx:pt>
          <cx:pt idx="3713">1</cx:pt>
          <cx:pt idx="3714">2</cx:pt>
          <cx:pt idx="3715">2</cx:pt>
          <cx:pt idx="3716">4</cx:pt>
          <cx:pt idx="3717">4</cx:pt>
          <cx:pt idx="3718">3</cx:pt>
          <cx:pt idx="3719">5</cx:pt>
          <cx:pt idx="3720">4</cx:pt>
          <cx:pt idx="3721">3</cx:pt>
          <cx:pt idx="3722">1</cx:pt>
          <cx:pt idx="3723">5</cx:pt>
          <cx:pt idx="3724">1</cx:pt>
          <cx:pt idx="3725">4</cx:pt>
          <cx:pt idx="3726">5</cx:pt>
          <cx:pt idx="3727">3</cx:pt>
          <cx:pt idx="3728">4</cx:pt>
          <cx:pt idx="3729">4</cx:pt>
          <cx:pt idx="3730">4</cx:pt>
          <cx:pt idx="3731">5</cx:pt>
          <cx:pt idx="3732">2</cx:pt>
          <cx:pt idx="3733">4</cx:pt>
          <cx:pt idx="3734">3</cx:pt>
          <cx:pt idx="3735">4</cx:pt>
          <cx:pt idx="3736">5</cx:pt>
          <cx:pt idx="3737">4</cx:pt>
          <cx:pt idx="3738">5</cx:pt>
          <cx:pt idx="3739">4</cx:pt>
          <cx:pt idx="3740">4</cx:pt>
          <cx:pt idx="3741">2</cx:pt>
          <cx:pt idx="3742">1</cx:pt>
          <cx:pt idx="3743">4</cx:pt>
          <cx:pt idx="3744">1</cx:pt>
          <cx:pt idx="3745">4</cx:pt>
          <cx:pt idx="3746">2</cx:pt>
          <cx:pt idx="3747">5</cx:pt>
          <cx:pt idx="3748">1</cx:pt>
          <cx:pt idx="3749">3</cx:pt>
          <cx:pt idx="3750">2</cx:pt>
          <cx:pt idx="3751">2</cx:pt>
          <cx:pt idx="3752">3</cx:pt>
          <cx:pt idx="3753">2</cx:pt>
          <cx:pt idx="3754">4</cx:pt>
          <cx:pt idx="3755">5</cx:pt>
          <cx:pt idx="3756">5</cx:pt>
          <cx:pt idx="3757">5</cx:pt>
          <cx:pt idx="3758">3</cx:pt>
          <cx:pt idx="3759">5</cx:pt>
          <cx:pt idx="3760">3</cx:pt>
          <cx:pt idx="3761">5</cx:pt>
          <cx:pt idx="3762">5</cx:pt>
          <cx:pt idx="3763">1</cx:pt>
          <cx:pt idx="3764">4</cx:pt>
          <cx:pt idx="3765">3</cx:pt>
          <cx:pt idx="3766">4</cx:pt>
          <cx:pt idx="3767">3</cx:pt>
          <cx:pt idx="3768">1</cx:pt>
          <cx:pt idx="3769">5</cx:pt>
          <cx:pt idx="3770">3</cx:pt>
          <cx:pt idx="3771">4</cx:pt>
          <cx:pt idx="3772">3</cx:pt>
          <cx:pt idx="3773">4</cx:pt>
          <cx:pt idx="3774">1</cx:pt>
          <cx:pt idx="3775">4</cx:pt>
          <cx:pt idx="3776">1</cx:pt>
          <cx:pt idx="3777">4</cx:pt>
          <cx:pt idx="3778">2</cx:pt>
          <cx:pt idx="3779">2</cx:pt>
          <cx:pt idx="3780">5</cx:pt>
          <cx:pt idx="3781">1</cx:pt>
          <cx:pt idx="3782">1</cx:pt>
          <cx:pt idx="3783">2</cx:pt>
          <cx:pt idx="3784">5</cx:pt>
          <cx:pt idx="3785">2</cx:pt>
          <cx:pt idx="3786">5</cx:pt>
          <cx:pt idx="3787">4</cx:pt>
          <cx:pt idx="3788">4</cx:pt>
          <cx:pt idx="3789">1</cx:pt>
          <cx:pt idx="3790">2</cx:pt>
          <cx:pt idx="3791">2</cx:pt>
          <cx:pt idx="3792">1</cx:pt>
          <cx:pt idx="3793">5</cx:pt>
          <cx:pt idx="3794">1</cx:pt>
          <cx:pt idx="3795">2</cx:pt>
          <cx:pt idx="3796">3</cx:pt>
          <cx:pt idx="3797">1</cx:pt>
          <cx:pt idx="3798">2</cx:pt>
          <cx:pt idx="3799">4</cx:pt>
          <cx:pt idx="3800">1</cx:pt>
          <cx:pt idx="3801">5</cx:pt>
          <cx:pt idx="3802">1</cx:pt>
          <cx:pt idx="3803">5</cx:pt>
          <cx:pt idx="3804">4</cx:pt>
          <cx:pt idx="3805">2</cx:pt>
          <cx:pt idx="3806">1</cx:pt>
          <cx:pt idx="3807">3</cx:pt>
          <cx:pt idx="3808">1</cx:pt>
          <cx:pt idx="3809">5</cx:pt>
          <cx:pt idx="3810">1</cx:pt>
          <cx:pt idx="3811">3</cx:pt>
          <cx:pt idx="3812">2</cx:pt>
          <cx:pt idx="3813">4</cx:pt>
          <cx:pt idx="3814">3</cx:pt>
          <cx:pt idx="3815">4</cx:pt>
          <cx:pt idx="3816">1</cx:pt>
          <cx:pt idx="3817">3</cx:pt>
          <cx:pt idx="3818">3</cx:pt>
          <cx:pt idx="3819">4</cx:pt>
          <cx:pt idx="3820">5</cx:pt>
          <cx:pt idx="3821">5</cx:pt>
          <cx:pt idx="3822">5</cx:pt>
          <cx:pt idx="3823">2</cx:pt>
          <cx:pt idx="3824">5</cx:pt>
          <cx:pt idx="3825">5</cx:pt>
          <cx:pt idx="3826">4</cx:pt>
          <cx:pt idx="3827">4</cx:pt>
          <cx:pt idx="3828">5</cx:pt>
          <cx:pt idx="3829">4</cx:pt>
          <cx:pt idx="3830">4</cx:pt>
          <cx:pt idx="3831">4</cx:pt>
          <cx:pt idx="3832">2</cx:pt>
          <cx:pt idx="3833">5</cx:pt>
          <cx:pt idx="3834">2</cx:pt>
          <cx:pt idx="3835">5</cx:pt>
          <cx:pt idx="3836">4</cx:pt>
          <cx:pt idx="3837">4</cx:pt>
          <cx:pt idx="3838">3</cx:pt>
          <cx:pt idx="3839">4</cx:pt>
          <cx:pt idx="3840">5</cx:pt>
          <cx:pt idx="3841">3</cx:pt>
          <cx:pt idx="3842">4</cx:pt>
          <cx:pt idx="3843">2</cx:pt>
          <cx:pt idx="3844">5</cx:pt>
          <cx:pt idx="3845">3</cx:pt>
          <cx:pt idx="3846">5</cx:pt>
          <cx:pt idx="3847">3</cx:pt>
          <cx:pt idx="3848">4</cx:pt>
          <cx:pt idx="3849">5</cx:pt>
          <cx:pt idx="3850">3</cx:pt>
          <cx:pt idx="3851">4</cx:pt>
          <cx:pt idx="3852">3</cx:pt>
          <cx:pt idx="3853">3</cx:pt>
          <cx:pt idx="3854">2</cx:pt>
          <cx:pt idx="3855">1</cx:pt>
          <cx:pt idx="3856">1</cx:pt>
          <cx:pt idx="3857">1</cx:pt>
          <cx:pt idx="3858">3</cx:pt>
          <cx:pt idx="3859">5</cx:pt>
          <cx:pt idx="3860">2</cx:pt>
          <cx:pt idx="3861">2</cx:pt>
          <cx:pt idx="3862">5</cx:pt>
          <cx:pt idx="3863">4</cx:pt>
          <cx:pt idx="3864">1</cx:pt>
          <cx:pt idx="3865">4</cx:pt>
          <cx:pt idx="3866">5</cx:pt>
          <cx:pt idx="3867">4</cx:pt>
          <cx:pt idx="3868">2</cx:pt>
          <cx:pt idx="3869">2</cx:pt>
          <cx:pt idx="3870">3</cx:pt>
          <cx:pt idx="3871">5</cx:pt>
          <cx:pt idx="3872">4</cx:pt>
          <cx:pt idx="3873">3</cx:pt>
          <cx:pt idx="3874">5</cx:pt>
          <cx:pt idx="3875">4</cx:pt>
          <cx:pt idx="3876">4</cx:pt>
          <cx:pt idx="3877">5</cx:pt>
          <cx:pt idx="3878">4</cx:pt>
          <cx:pt idx="3879">5</cx:pt>
          <cx:pt idx="3880">2</cx:pt>
          <cx:pt idx="3881">4</cx:pt>
          <cx:pt idx="3882">4</cx:pt>
          <cx:pt idx="3883">5</cx:pt>
          <cx:pt idx="3884">5</cx:pt>
          <cx:pt idx="3885">5</cx:pt>
          <cx:pt idx="3886">4</cx:pt>
          <cx:pt idx="3887">5</cx:pt>
          <cx:pt idx="3888">4</cx:pt>
          <cx:pt idx="3889">3</cx:pt>
          <cx:pt idx="3890">3</cx:pt>
          <cx:pt idx="3891">1</cx:pt>
          <cx:pt idx="3892">1</cx:pt>
          <cx:pt idx="3893">4</cx:pt>
          <cx:pt idx="3894">2</cx:pt>
          <cx:pt idx="3895">4</cx:pt>
          <cx:pt idx="3896">5</cx:pt>
          <cx:pt idx="3897">4</cx:pt>
          <cx:pt idx="3898">3</cx:pt>
          <cx:pt idx="3899">3</cx:pt>
          <cx:pt idx="3900">5</cx:pt>
          <cx:pt idx="3901">1</cx:pt>
          <cx:pt idx="3902">3</cx:pt>
          <cx:pt idx="3903">5</cx:pt>
          <cx:pt idx="3904">5</cx:pt>
          <cx:pt idx="3905">4</cx:pt>
          <cx:pt idx="3906">4</cx:pt>
          <cx:pt idx="3907">2</cx:pt>
          <cx:pt idx="3908">5</cx:pt>
          <cx:pt idx="3909">1</cx:pt>
          <cx:pt idx="3910">3</cx:pt>
          <cx:pt idx="3911">4</cx:pt>
          <cx:pt idx="3912">5</cx:pt>
          <cx:pt idx="3913">4</cx:pt>
          <cx:pt idx="3914">5</cx:pt>
          <cx:pt idx="3915">4</cx:pt>
          <cx:pt idx="3916">3</cx:pt>
          <cx:pt idx="3917">5</cx:pt>
          <cx:pt idx="3918">4</cx:pt>
          <cx:pt idx="3919">3</cx:pt>
          <cx:pt idx="3920">5</cx:pt>
          <cx:pt idx="3921">4</cx:pt>
          <cx:pt idx="3922">3</cx:pt>
          <cx:pt idx="3923">1</cx:pt>
          <cx:pt idx="3924">1</cx:pt>
          <cx:pt idx="3925">4</cx:pt>
          <cx:pt idx="3926">5</cx:pt>
          <cx:pt idx="3927">4</cx:pt>
          <cx:pt idx="3928">3</cx:pt>
          <cx:pt idx="3929">4</cx:pt>
          <cx:pt idx="3930">5</cx:pt>
          <cx:pt idx="3931">5</cx:pt>
          <cx:pt idx="3932">1</cx:pt>
          <cx:pt idx="3933">4</cx:pt>
          <cx:pt idx="3934">2</cx:pt>
          <cx:pt idx="3935">4</cx:pt>
          <cx:pt idx="3936">5</cx:pt>
          <cx:pt idx="3937">4</cx:pt>
          <cx:pt idx="3938">5</cx:pt>
          <cx:pt idx="3939">3</cx:pt>
          <cx:pt idx="3940">4</cx:pt>
          <cx:pt idx="3941">4</cx:pt>
          <cx:pt idx="3942">4</cx:pt>
          <cx:pt idx="3943">4</cx:pt>
          <cx:pt idx="3944">3</cx:pt>
          <cx:pt idx="3945">1</cx:pt>
          <cx:pt idx="3946">3</cx:pt>
          <cx:pt idx="3947">3</cx:pt>
          <cx:pt idx="3948">4</cx:pt>
          <cx:pt idx="3949">1</cx:pt>
          <cx:pt idx="3950">3</cx:pt>
          <cx:pt idx="3951">3</cx:pt>
          <cx:pt idx="3952">2</cx:pt>
          <cx:pt idx="3953">3</cx:pt>
          <cx:pt idx="3954">4</cx:pt>
          <cx:pt idx="3955">4</cx:pt>
          <cx:pt idx="3956">5</cx:pt>
          <cx:pt idx="3957">1</cx:pt>
          <cx:pt idx="3958">3</cx:pt>
          <cx:pt idx="3959">4</cx:pt>
          <cx:pt idx="3960">1</cx:pt>
          <cx:pt idx="3961">4</cx:pt>
          <cx:pt idx="3962">4</cx:pt>
          <cx:pt idx="3963">1</cx:pt>
          <cx:pt idx="3964">4</cx:pt>
          <cx:pt idx="3965">4</cx:pt>
          <cx:pt idx="3966">5</cx:pt>
          <cx:pt idx="3967">4</cx:pt>
          <cx:pt idx="3968">1</cx:pt>
          <cx:pt idx="3969">4</cx:pt>
          <cx:pt idx="3970">3</cx:pt>
          <cx:pt idx="3971">3</cx:pt>
          <cx:pt idx="3972">4</cx:pt>
          <cx:pt idx="3973">3</cx:pt>
          <cx:pt idx="3974">5</cx:pt>
          <cx:pt idx="3975">4</cx:pt>
          <cx:pt idx="3976">4</cx:pt>
          <cx:pt idx="3977">2</cx:pt>
          <cx:pt idx="3978">4</cx:pt>
          <cx:pt idx="3979">2</cx:pt>
          <cx:pt idx="3980">4</cx:pt>
          <cx:pt idx="3981">2</cx:pt>
          <cx:pt idx="3982">3</cx:pt>
          <cx:pt idx="3983">5</cx:pt>
          <cx:pt idx="3984">4</cx:pt>
          <cx:pt idx="3985">2</cx:pt>
          <cx:pt idx="3986">1</cx:pt>
          <cx:pt idx="3987">5</cx:pt>
          <cx:pt idx="3988">3</cx:pt>
          <cx:pt idx="3989">3</cx:pt>
          <cx:pt idx="3990">1</cx:pt>
          <cx:pt idx="3991">3</cx:pt>
          <cx:pt idx="3992">5</cx:pt>
          <cx:pt idx="3993">4</cx:pt>
          <cx:pt idx="3994">5</cx:pt>
          <cx:pt idx="3995">3</cx:pt>
          <cx:pt idx="3996">5</cx:pt>
          <cx:pt idx="3997">3</cx:pt>
          <cx:pt idx="3998">4</cx:pt>
          <cx:pt idx="3999">4</cx:pt>
          <cx:pt idx="4000">5</cx:pt>
          <cx:pt idx="4001">5</cx:pt>
          <cx:pt idx="4002">5</cx:pt>
          <cx:pt idx="4003">4</cx:pt>
          <cx:pt idx="4004">4</cx:pt>
          <cx:pt idx="4005">1</cx:pt>
          <cx:pt idx="4006">4</cx:pt>
          <cx:pt idx="4007">4</cx:pt>
          <cx:pt idx="4008">4</cx:pt>
          <cx:pt idx="4009">3</cx:pt>
          <cx:pt idx="4010">4</cx:pt>
          <cx:pt idx="4011">3</cx:pt>
          <cx:pt idx="4012">5</cx:pt>
          <cx:pt idx="4013">2</cx:pt>
          <cx:pt idx="4014">5</cx:pt>
          <cx:pt idx="4015">1</cx:pt>
          <cx:pt idx="4016">4</cx:pt>
          <cx:pt idx="4017">3</cx:pt>
          <cx:pt idx="4018">4</cx:pt>
          <cx:pt idx="4019">5</cx:pt>
          <cx:pt idx="4020">5</cx:pt>
          <cx:pt idx="4021">5</cx:pt>
          <cx:pt idx="4022">5</cx:pt>
          <cx:pt idx="4023">4</cx:pt>
          <cx:pt idx="4024">4</cx:pt>
          <cx:pt idx="4025">3</cx:pt>
          <cx:pt idx="4026">4</cx:pt>
          <cx:pt idx="4027">4</cx:pt>
          <cx:pt idx="4028">1</cx:pt>
          <cx:pt idx="4029">3</cx:pt>
          <cx:pt idx="4030">3</cx:pt>
          <cx:pt idx="4031">4</cx:pt>
          <cx:pt idx="4032">1</cx:pt>
          <cx:pt idx="4033">2</cx:pt>
          <cx:pt idx="4034">1</cx:pt>
          <cx:pt idx="4035">4</cx:pt>
          <cx:pt idx="4036">4</cx:pt>
          <cx:pt idx="4037">2</cx:pt>
          <cx:pt idx="4038">4</cx:pt>
          <cx:pt idx="4039">4</cx:pt>
          <cx:pt idx="4040">4</cx:pt>
          <cx:pt idx="4041">4</cx:pt>
          <cx:pt idx="4042">4</cx:pt>
          <cx:pt idx="4043">1</cx:pt>
          <cx:pt idx="4044">1</cx:pt>
          <cx:pt idx="4045">1</cx:pt>
          <cx:pt idx="4046">4</cx:pt>
          <cx:pt idx="4047">3</cx:pt>
          <cx:pt idx="4048">3</cx:pt>
          <cx:pt idx="4049">4</cx:pt>
          <cx:pt idx="4050">4</cx:pt>
          <cx:pt idx="4051">1</cx:pt>
          <cx:pt idx="4052">4</cx:pt>
          <cx:pt idx="4053">5</cx:pt>
          <cx:pt idx="4054">5</cx:pt>
          <cx:pt idx="4055">4</cx:pt>
          <cx:pt idx="4056">2</cx:pt>
          <cx:pt idx="4057">5</cx:pt>
          <cx:pt idx="4058">5</cx:pt>
          <cx:pt idx="4059">1</cx:pt>
          <cx:pt idx="4060">1</cx:pt>
          <cx:pt idx="4061">5</cx:pt>
          <cx:pt idx="4062">2</cx:pt>
          <cx:pt idx="4063">4</cx:pt>
          <cx:pt idx="4064">5</cx:pt>
          <cx:pt idx="4065">2</cx:pt>
          <cx:pt idx="4066">5</cx:pt>
          <cx:pt idx="4067">4</cx:pt>
          <cx:pt idx="4068">5</cx:pt>
          <cx:pt idx="4069">4</cx:pt>
          <cx:pt idx="4070">1</cx:pt>
          <cx:pt idx="4071">5</cx:pt>
          <cx:pt idx="4072">4</cx:pt>
          <cx:pt idx="4073">3</cx:pt>
          <cx:pt idx="4074">5</cx:pt>
          <cx:pt idx="4075">3</cx:pt>
          <cx:pt idx="4076">5</cx:pt>
          <cx:pt idx="4077">5</cx:pt>
          <cx:pt idx="4078">5</cx:pt>
          <cx:pt idx="4079">2</cx:pt>
          <cx:pt idx="4080">4</cx:pt>
          <cx:pt idx="4081">2</cx:pt>
          <cx:pt idx="4082">4</cx:pt>
          <cx:pt idx="4083">4</cx:pt>
          <cx:pt idx="4084">4</cx:pt>
          <cx:pt idx="4085">3</cx:pt>
          <cx:pt idx="4086">4</cx:pt>
          <cx:pt idx="4087">4</cx:pt>
          <cx:pt idx="4088">5</cx:pt>
          <cx:pt idx="4089">4</cx:pt>
          <cx:pt idx="4090">2</cx:pt>
          <cx:pt idx="4091">1</cx:pt>
          <cx:pt idx="4092">5</cx:pt>
          <cx:pt idx="4093">4</cx:pt>
          <cx:pt idx="4094">5</cx:pt>
          <cx:pt idx="4095">3</cx:pt>
          <cx:pt idx="4096">5</cx:pt>
          <cx:pt idx="4097">3</cx:pt>
          <cx:pt idx="4098">4</cx:pt>
          <cx:pt idx="4099">5</cx:pt>
          <cx:pt idx="4100">4</cx:pt>
          <cx:pt idx="4101">4</cx:pt>
          <cx:pt idx="4102">5</cx:pt>
          <cx:pt idx="4103">3</cx:pt>
          <cx:pt idx="4104">5</cx:pt>
          <cx:pt idx="4105">2</cx:pt>
          <cx:pt idx="4106">4</cx:pt>
          <cx:pt idx="4107">3</cx:pt>
          <cx:pt idx="4108">3</cx:pt>
          <cx:pt idx="4109">3</cx:pt>
          <cx:pt idx="4110">4</cx:pt>
          <cx:pt idx="4111">2</cx:pt>
          <cx:pt idx="4112">5</cx:pt>
          <cx:pt idx="4113">3</cx:pt>
          <cx:pt idx="4114">4</cx:pt>
          <cx:pt idx="4115">1</cx:pt>
          <cx:pt idx="4116">5</cx:pt>
          <cx:pt idx="4117">3</cx:pt>
          <cx:pt idx="4118">4</cx:pt>
          <cx:pt idx="4119">4</cx:pt>
          <cx:pt idx="4120">5</cx:pt>
          <cx:pt idx="4121">5</cx:pt>
          <cx:pt idx="4122">2</cx:pt>
          <cx:pt idx="4123">4</cx:pt>
          <cx:pt idx="4124">5</cx:pt>
          <cx:pt idx="4125">5</cx:pt>
          <cx:pt idx="4126">5</cx:pt>
          <cx:pt idx="4127">3</cx:pt>
          <cx:pt idx="4128">4</cx:pt>
          <cx:pt idx="4129">4</cx:pt>
          <cx:pt idx="4130">5</cx:pt>
          <cx:pt idx="4131">5</cx:pt>
          <cx:pt idx="4132">5</cx:pt>
          <cx:pt idx="4133">1</cx:pt>
          <cx:pt idx="4134">5</cx:pt>
          <cx:pt idx="4135">3</cx:pt>
          <cx:pt idx="4136">4</cx:pt>
          <cx:pt idx="4137">4</cx:pt>
          <cx:pt idx="4138">3</cx:pt>
          <cx:pt idx="4139">1</cx:pt>
          <cx:pt idx="4140">4</cx:pt>
          <cx:pt idx="4141">3</cx:pt>
          <cx:pt idx="4142">2</cx:pt>
          <cx:pt idx="4143">5</cx:pt>
          <cx:pt idx="4144">3</cx:pt>
          <cx:pt idx="4145">1</cx:pt>
          <cx:pt idx="4146">1</cx:pt>
          <cx:pt idx="4147">4</cx:pt>
          <cx:pt idx="4148">2</cx:pt>
          <cx:pt idx="4149">1</cx:pt>
          <cx:pt idx="4150">4</cx:pt>
          <cx:pt idx="4151">3</cx:pt>
          <cx:pt idx="4152">5</cx:pt>
          <cx:pt idx="4153">2</cx:pt>
          <cx:pt idx="4154">3</cx:pt>
          <cx:pt idx="4155">3</cx:pt>
          <cx:pt idx="4156">4</cx:pt>
          <cx:pt idx="4157">5</cx:pt>
          <cx:pt idx="4158">3</cx:pt>
          <cx:pt idx="4159">3</cx:pt>
          <cx:pt idx="4160">4</cx:pt>
          <cx:pt idx="4161">5</cx:pt>
          <cx:pt idx="4162">1</cx:pt>
          <cx:pt idx="4163">1</cx:pt>
          <cx:pt idx="4164">3</cx:pt>
          <cx:pt idx="4165">4</cx:pt>
          <cx:pt idx="4166">1</cx:pt>
          <cx:pt idx="4167">4</cx:pt>
          <cx:pt idx="4168">4</cx:pt>
          <cx:pt idx="4169">5</cx:pt>
          <cx:pt idx="4170">4</cx:pt>
          <cx:pt idx="4171">2</cx:pt>
          <cx:pt idx="4172">3</cx:pt>
          <cx:pt idx="4173">1</cx:pt>
          <cx:pt idx="4174">4</cx:pt>
          <cx:pt idx="4175">4</cx:pt>
          <cx:pt idx="4176">3</cx:pt>
          <cx:pt idx="4177">2</cx:pt>
          <cx:pt idx="4178">5</cx:pt>
          <cx:pt idx="4179">3</cx:pt>
          <cx:pt idx="4180">4</cx:pt>
          <cx:pt idx="4181">1</cx:pt>
          <cx:pt idx="4182">5</cx:pt>
          <cx:pt idx="4183">3</cx:pt>
          <cx:pt idx="4184">1</cx:pt>
          <cx:pt idx="4185">2</cx:pt>
          <cx:pt idx="4186">3</cx:pt>
          <cx:pt idx="4187">4</cx:pt>
          <cx:pt idx="4188">3</cx:pt>
          <cx:pt idx="4189">5</cx:pt>
          <cx:pt idx="4190">4</cx:pt>
          <cx:pt idx="4191">2</cx:pt>
          <cx:pt idx="4192">5</cx:pt>
          <cx:pt idx="4193">4</cx:pt>
          <cx:pt idx="4194">3</cx:pt>
          <cx:pt idx="4195">5</cx:pt>
          <cx:pt idx="4196">4</cx:pt>
          <cx:pt idx="4197">4</cx:pt>
          <cx:pt idx="4198">5</cx:pt>
          <cx:pt idx="4199">4</cx:pt>
          <cx:pt idx="4200">3</cx:pt>
          <cx:pt idx="4201">1</cx:pt>
          <cx:pt idx="4202">3</cx:pt>
          <cx:pt idx="4203">5</cx:pt>
          <cx:pt idx="4204">4</cx:pt>
          <cx:pt idx="4205">5</cx:pt>
          <cx:pt idx="4206">3</cx:pt>
          <cx:pt idx="4207">4</cx:pt>
          <cx:pt idx="4208">5</cx:pt>
          <cx:pt idx="4209">2</cx:pt>
          <cx:pt idx="4210">3</cx:pt>
          <cx:pt idx="4211">5</cx:pt>
          <cx:pt idx="4212">4</cx:pt>
          <cx:pt idx="4213">3</cx:pt>
          <cx:pt idx="4214">5</cx:pt>
          <cx:pt idx="4215">5</cx:pt>
          <cx:pt idx="4216">2</cx:pt>
          <cx:pt idx="4217">1</cx:pt>
          <cx:pt idx="4218">2</cx:pt>
          <cx:pt idx="4219">2</cx:pt>
          <cx:pt idx="4220">3</cx:pt>
          <cx:pt idx="4221">2</cx:pt>
          <cx:pt idx="4222">4</cx:pt>
          <cx:pt idx="4223">2</cx:pt>
          <cx:pt idx="4224">4</cx:pt>
          <cx:pt idx="4225">3</cx:pt>
          <cx:pt idx="4226">1</cx:pt>
          <cx:pt idx="4227">1</cx:pt>
          <cx:pt idx="4228">4</cx:pt>
          <cx:pt idx="4229">2</cx:pt>
          <cx:pt idx="4230">5</cx:pt>
          <cx:pt idx="4231">4</cx:pt>
          <cx:pt idx="4232">4</cx:pt>
          <cx:pt idx="4233">3</cx:pt>
          <cx:pt idx="4234">1</cx:pt>
          <cx:pt idx="4235">2</cx:pt>
          <cx:pt idx="4236">2</cx:pt>
          <cx:pt idx="4237">5</cx:pt>
          <cx:pt idx="4238">1</cx:pt>
          <cx:pt idx="4239">4</cx:pt>
          <cx:pt idx="4240">4</cx:pt>
          <cx:pt idx="4241">4</cx:pt>
          <cx:pt idx="4242">1</cx:pt>
          <cx:pt idx="4243">4</cx:pt>
          <cx:pt idx="4244">2</cx:pt>
          <cx:pt idx="4245">5</cx:pt>
          <cx:pt idx="4246">5</cx:pt>
          <cx:pt idx="4247">2</cx:pt>
          <cx:pt idx="4248">1</cx:pt>
          <cx:pt idx="4249">2</cx:pt>
          <cx:pt idx="4250">4</cx:pt>
          <cx:pt idx="4251">4</cx:pt>
          <cx:pt idx="4252">5</cx:pt>
          <cx:pt idx="4253">3</cx:pt>
          <cx:pt idx="4254">5</cx:pt>
          <cx:pt idx="4255">2</cx:pt>
          <cx:pt idx="4256">2</cx:pt>
          <cx:pt idx="4257">2</cx:pt>
          <cx:pt idx="4258">4</cx:pt>
          <cx:pt idx="4259">2</cx:pt>
          <cx:pt idx="4260">4</cx:pt>
          <cx:pt idx="4261">5</cx:pt>
          <cx:pt idx="4262">1</cx:pt>
          <cx:pt idx="4263">4</cx:pt>
          <cx:pt idx="4264">1</cx:pt>
          <cx:pt idx="4265">4</cx:pt>
          <cx:pt idx="4266">3</cx:pt>
          <cx:pt idx="4267">3</cx:pt>
          <cx:pt idx="4268">2</cx:pt>
          <cx:pt idx="4269">4</cx:pt>
          <cx:pt idx="4270">3</cx:pt>
          <cx:pt idx="4271">4</cx:pt>
          <cx:pt idx="4272">4</cx:pt>
          <cx:pt idx="4273">5</cx:pt>
          <cx:pt idx="4274">2</cx:pt>
          <cx:pt idx="4275">2</cx:pt>
          <cx:pt idx="4276">3</cx:pt>
          <cx:pt idx="4277">1</cx:pt>
          <cx:pt idx="4278">1</cx:pt>
          <cx:pt idx="4279">2</cx:pt>
          <cx:pt idx="4280">1</cx:pt>
          <cx:pt idx="4281">5</cx:pt>
          <cx:pt idx="4282">5</cx:pt>
          <cx:pt idx="4283">1</cx:pt>
          <cx:pt idx="4284">4</cx:pt>
          <cx:pt idx="4285">3</cx:pt>
          <cx:pt idx="4286">5</cx:pt>
          <cx:pt idx="4287">1</cx:pt>
          <cx:pt idx="4288">3</cx:pt>
          <cx:pt idx="4289">4</cx:pt>
          <cx:pt idx="4290">4</cx:pt>
          <cx:pt idx="4291">2</cx:pt>
          <cx:pt idx="4292">2</cx:pt>
          <cx:pt idx="4293">2</cx:pt>
          <cx:pt idx="4294">3</cx:pt>
          <cx:pt idx="4295">4</cx:pt>
          <cx:pt idx="4296">1</cx:pt>
          <cx:pt idx="4297">4</cx:pt>
          <cx:pt idx="4298">5</cx:pt>
          <cx:pt idx="4299">4</cx:pt>
          <cx:pt idx="4300">2</cx:pt>
          <cx:pt idx="4301">2</cx:pt>
          <cx:pt idx="4302">5</cx:pt>
          <cx:pt idx="4303">3</cx:pt>
          <cx:pt idx="4304">2</cx:pt>
          <cx:pt idx="4305">4</cx:pt>
          <cx:pt idx="4306">4</cx:pt>
          <cx:pt idx="4307">5</cx:pt>
          <cx:pt idx="4308">4</cx:pt>
          <cx:pt idx="4309">5</cx:pt>
          <cx:pt idx="4310">5</cx:pt>
          <cx:pt idx="4311">2</cx:pt>
          <cx:pt idx="4312">3</cx:pt>
          <cx:pt idx="4313">2</cx:pt>
          <cx:pt idx="4314">3</cx:pt>
          <cx:pt idx="4315">2</cx:pt>
          <cx:pt idx="4316">3</cx:pt>
          <cx:pt idx="4317">4</cx:pt>
          <cx:pt idx="4318">2</cx:pt>
          <cx:pt idx="4319">1</cx:pt>
          <cx:pt idx="4320">5</cx:pt>
          <cx:pt idx="4321">3</cx:pt>
          <cx:pt idx="4322">1</cx:pt>
          <cx:pt idx="4323">4</cx:pt>
          <cx:pt idx="4324">1</cx:pt>
          <cx:pt idx="4325">3</cx:pt>
          <cx:pt idx="4326">4</cx:pt>
          <cx:pt idx="4327">5</cx:pt>
          <cx:pt idx="4328">5</cx:pt>
          <cx:pt idx="4329">3</cx:pt>
          <cx:pt idx="4330">3</cx:pt>
          <cx:pt idx="4331">3</cx:pt>
          <cx:pt idx="4332">4</cx:pt>
          <cx:pt idx="4333">4</cx:pt>
          <cx:pt idx="4334">3</cx:pt>
          <cx:pt idx="4335">2</cx:pt>
          <cx:pt idx="4336">3</cx:pt>
          <cx:pt idx="4337">3</cx:pt>
          <cx:pt idx="4338">5</cx:pt>
          <cx:pt idx="4339">4</cx:pt>
          <cx:pt idx="4340">5</cx:pt>
          <cx:pt idx="4341">2</cx:pt>
          <cx:pt idx="4342">4</cx:pt>
          <cx:pt idx="4343">3</cx:pt>
          <cx:pt idx="4344">1</cx:pt>
          <cx:pt idx="4345">4</cx:pt>
          <cx:pt idx="4346">3</cx:pt>
          <cx:pt idx="4347">4</cx:pt>
          <cx:pt idx="4348">5</cx:pt>
          <cx:pt idx="4349">3</cx:pt>
          <cx:pt idx="4350">3</cx:pt>
          <cx:pt idx="4351">3</cx:pt>
          <cx:pt idx="4352">5</cx:pt>
          <cx:pt idx="4353">1</cx:pt>
          <cx:pt idx="4354">5</cx:pt>
          <cx:pt idx="4355">5</cx:pt>
          <cx:pt idx="4356">4</cx:pt>
          <cx:pt idx="4357">4</cx:pt>
          <cx:pt idx="4358">5</cx:pt>
          <cx:pt idx="4359">5</cx:pt>
          <cx:pt idx="4360">4</cx:pt>
          <cx:pt idx="4361">3</cx:pt>
          <cx:pt idx="4362">4</cx:pt>
          <cx:pt idx="4363">2</cx:pt>
          <cx:pt idx="4364">3</cx:pt>
          <cx:pt idx="4365">4</cx:pt>
          <cx:pt idx="4366">4</cx:pt>
          <cx:pt idx="4367">5</cx:pt>
          <cx:pt idx="4368">4</cx:pt>
          <cx:pt idx="4369">2</cx:pt>
          <cx:pt idx="4370">3</cx:pt>
          <cx:pt idx="4371">3</cx:pt>
          <cx:pt idx="4372">1</cx:pt>
          <cx:pt idx="4373">2</cx:pt>
          <cx:pt idx="4374">5</cx:pt>
          <cx:pt idx="4375">5</cx:pt>
          <cx:pt idx="4376">5</cx:pt>
          <cx:pt idx="4377">4</cx:pt>
          <cx:pt idx="4378">1</cx:pt>
          <cx:pt idx="4379">1</cx:pt>
          <cx:pt idx="4380">4</cx:pt>
          <cx:pt idx="4381">2</cx:pt>
          <cx:pt idx="4382">4</cx:pt>
          <cx:pt idx="4383">1</cx:pt>
          <cx:pt idx="4384">2</cx:pt>
          <cx:pt idx="4385">2</cx:pt>
          <cx:pt idx="4386">5</cx:pt>
          <cx:pt idx="4387">5</cx:pt>
          <cx:pt idx="4388">5</cx:pt>
          <cx:pt idx="4389">5</cx:pt>
          <cx:pt idx="4390">1</cx:pt>
          <cx:pt idx="4391">1</cx:pt>
          <cx:pt idx="4392">5</cx:pt>
          <cx:pt idx="4393">5</cx:pt>
          <cx:pt idx="4394">2</cx:pt>
          <cx:pt idx="4395">5</cx:pt>
          <cx:pt idx="4396">4</cx:pt>
          <cx:pt idx="4397">5</cx:pt>
          <cx:pt idx="4398">4</cx:pt>
          <cx:pt idx="4399">5</cx:pt>
          <cx:pt idx="4400">2</cx:pt>
          <cx:pt idx="4401">2</cx:pt>
          <cx:pt idx="4402">2</cx:pt>
          <cx:pt idx="4403">2</cx:pt>
          <cx:pt idx="4404">4</cx:pt>
          <cx:pt idx="4405">4</cx:pt>
          <cx:pt idx="4406">3</cx:pt>
          <cx:pt idx="4407">5</cx:pt>
          <cx:pt idx="4408">5</cx:pt>
          <cx:pt idx="4409">1</cx:pt>
          <cx:pt idx="4410">3</cx:pt>
          <cx:pt idx="4411">4</cx:pt>
          <cx:pt idx="4412">2</cx:pt>
          <cx:pt idx="4413">3</cx:pt>
          <cx:pt idx="4414">3</cx:pt>
          <cx:pt idx="4415">5</cx:pt>
          <cx:pt idx="4416">3</cx:pt>
          <cx:pt idx="4417">3</cx:pt>
          <cx:pt idx="4418">4</cx:pt>
          <cx:pt idx="4419">5</cx:pt>
          <cx:pt idx="4420">4</cx:pt>
          <cx:pt idx="4421">4</cx:pt>
          <cx:pt idx="4422">4</cx:pt>
          <cx:pt idx="4423">2</cx:pt>
          <cx:pt idx="4424">5</cx:pt>
          <cx:pt idx="4425">3</cx:pt>
          <cx:pt idx="4426">5</cx:pt>
          <cx:pt idx="4427">2</cx:pt>
          <cx:pt idx="4428">1</cx:pt>
          <cx:pt idx="4429">4</cx:pt>
          <cx:pt idx="4430">3</cx:pt>
          <cx:pt idx="4431">4</cx:pt>
          <cx:pt idx="4432">3</cx:pt>
          <cx:pt idx="4433">5</cx:pt>
          <cx:pt idx="4434">1</cx:pt>
          <cx:pt idx="4435">2</cx:pt>
          <cx:pt idx="4436">4</cx:pt>
          <cx:pt idx="4437">4</cx:pt>
          <cx:pt idx="4438">3</cx:pt>
          <cx:pt idx="4439">5</cx:pt>
          <cx:pt idx="4440">1</cx:pt>
          <cx:pt idx="4441">4</cx:pt>
          <cx:pt idx="4442">4</cx:pt>
          <cx:pt idx="4443">5</cx:pt>
          <cx:pt idx="4444">3</cx:pt>
          <cx:pt idx="4445">5</cx:pt>
          <cx:pt idx="4446">5</cx:pt>
          <cx:pt idx="4447">4</cx:pt>
          <cx:pt idx="4448">4</cx:pt>
          <cx:pt idx="4449">5</cx:pt>
          <cx:pt idx="4450">5</cx:pt>
          <cx:pt idx="4451">5</cx:pt>
          <cx:pt idx="4452">1</cx:pt>
          <cx:pt idx="4453">4</cx:pt>
          <cx:pt idx="4454">5</cx:pt>
          <cx:pt idx="4455">2</cx:pt>
          <cx:pt idx="4456">5</cx:pt>
          <cx:pt idx="4457">3</cx:pt>
          <cx:pt idx="4458">4</cx:pt>
          <cx:pt idx="4459">4</cx:pt>
          <cx:pt idx="4460">1</cx:pt>
          <cx:pt idx="4461">4</cx:pt>
          <cx:pt idx="4462">1</cx:pt>
          <cx:pt idx="4463">3</cx:pt>
          <cx:pt idx="4464">3</cx:pt>
          <cx:pt idx="4465">2</cx:pt>
          <cx:pt idx="4466">1</cx:pt>
          <cx:pt idx="4467">1</cx:pt>
          <cx:pt idx="4468">4</cx:pt>
          <cx:pt idx="4469">5</cx:pt>
          <cx:pt idx="4470">1</cx:pt>
          <cx:pt idx="4471">2</cx:pt>
          <cx:pt idx="4472">1</cx:pt>
          <cx:pt idx="4473">5</cx:pt>
          <cx:pt idx="4474">2</cx:pt>
          <cx:pt idx="4475">2</cx:pt>
          <cx:pt idx="4476">4</cx:pt>
          <cx:pt idx="4477">1</cx:pt>
          <cx:pt idx="4478">5</cx:pt>
          <cx:pt idx="4479">5</cx:pt>
          <cx:pt idx="4480">4</cx:pt>
          <cx:pt idx="4481">1</cx:pt>
          <cx:pt idx="4482">4</cx:pt>
          <cx:pt idx="4483">1</cx:pt>
          <cx:pt idx="4484">3</cx:pt>
          <cx:pt idx="4485">4</cx:pt>
          <cx:pt idx="4486">4</cx:pt>
          <cx:pt idx="4487">3</cx:pt>
          <cx:pt idx="4488">4</cx:pt>
          <cx:pt idx="4489">4</cx:pt>
          <cx:pt idx="4490">2</cx:pt>
          <cx:pt idx="4491">5</cx:pt>
          <cx:pt idx="4492">5</cx:pt>
          <cx:pt idx="4493">4</cx:pt>
          <cx:pt idx="4494">2</cx:pt>
          <cx:pt idx="4495">4</cx:pt>
          <cx:pt idx="4496">3</cx:pt>
          <cx:pt idx="4497">4</cx:pt>
          <cx:pt idx="4498">4</cx:pt>
          <cx:pt idx="4499">1</cx:pt>
          <cx:pt idx="4500">5</cx:pt>
          <cx:pt idx="4501">4</cx:pt>
          <cx:pt idx="4502">4</cx:pt>
          <cx:pt idx="4503">1</cx:pt>
          <cx:pt idx="4504">3</cx:pt>
          <cx:pt idx="4505">2</cx:pt>
          <cx:pt idx="4506">5</cx:pt>
          <cx:pt idx="4507">4</cx:pt>
          <cx:pt idx="4508">3</cx:pt>
          <cx:pt idx="4509">3</cx:pt>
          <cx:pt idx="4510">1</cx:pt>
          <cx:pt idx="4511">5</cx:pt>
          <cx:pt idx="4512">4</cx:pt>
          <cx:pt idx="4513">4</cx:pt>
          <cx:pt idx="4514">3</cx:pt>
          <cx:pt idx="4515">5</cx:pt>
          <cx:pt idx="4516">1</cx:pt>
          <cx:pt idx="4517">5</cx:pt>
          <cx:pt idx="4518">4</cx:pt>
          <cx:pt idx="4519">5</cx:pt>
          <cx:pt idx="4520">1</cx:pt>
          <cx:pt idx="4521">3</cx:pt>
          <cx:pt idx="4522">5</cx:pt>
          <cx:pt idx="4523">4</cx:pt>
          <cx:pt idx="4524">5</cx:pt>
          <cx:pt idx="4525">2</cx:pt>
          <cx:pt idx="4526">5</cx:pt>
          <cx:pt idx="4527">5</cx:pt>
          <cx:pt idx="4528">5</cx:pt>
          <cx:pt idx="4529">1</cx:pt>
          <cx:pt idx="4530">3</cx:pt>
          <cx:pt idx="4531">4</cx:pt>
          <cx:pt idx="4532">3</cx:pt>
          <cx:pt idx="4533">5</cx:pt>
          <cx:pt idx="4534">1</cx:pt>
          <cx:pt idx="4535">4</cx:pt>
          <cx:pt idx="4536">4</cx:pt>
          <cx:pt idx="4537">3</cx:pt>
          <cx:pt idx="4538">4</cx:pt>
          <cx:pt idx="4539">2</cx:pt>
          <cx:pt idx="4540">5</cx:pt>
          <cx:pt idx="4541">3</cx:pt>
          <cx:pt idx="4542">4</cx:pt>
          <cx:pt idx="4543">5</cx:pt>
          <cx:pt idx="4544">5</cx:pt>
          <cx:pt idx="4545">5</cx:pt>
          <cx:pt idx="4546">1</cx:pt>
          <cx:pt idx="4547">5</cx:pt>
          <cx:pt idx="4548">4</cx:pt>
          <cx:pt idx="4549">5</cx:pt>
          <cx:pt idx="4550">2</cx:pt>
          <cx:pt idx="4551">5</cx:pt>
          <cx:pt idx="4552">1</cx:pt>
          <cx:pt idx="4553">2</cx:pt>
          <cx:pt idx="4554">5</cx:pt>
          <cx:pt idx="4555">1</cx:pt>
          <cx:pt idx="4556">4</cx:pt>
          <cx:pt idx="4557">5</cx:pt>
          <cx:pt idx="4558">3</cx:pt>
          <cx:pt idx="4559">4</cx:pt>
          <cx:pt idx="4560">4</cx:pt>
          <cx:pt idx="4561">3</cx:pt>
          <cx:pt idx="4562">4</cx:pt>
          <cx:pt idx="4563">2</cx:pt>
          <cx:pt idx="4564">3</cx:pt>
          <cx:pt idx="4565">3</cx:pt>
          <cx:pt idx="4566">4</cx:pt>
          <cx:pt idx="4567">5</cx:pt>
          <cx:pt idx="4568">4</cx:pt>
          <cx:pt idx="4569">3</cx:pt>
          <cx:pt idx="4570">4</cx:pt>
          <cx:pt idx="4571">3</cx:pt>
          <cx:pt idx="4572">4</cx:pt>
          <cx:pt idx="4573">4</cx:pt>
          <cx:pt idx="4574">3</cx:pt>
          <cx:pt idx="4575">1</cx:pt>
          <cx:pt idx="4576">5</cx:pt>
          <cx:pt idx="4577">1</cx:pt>
          <cx:pt idx="4578">3</cx:pt>
          <cx:pt idx="4579">1</cx:pt>
          <cx:pt idx="4580">4</cx:pt>
          <cx:pt idx="4581">4</cx:pt>
          <cx:pt idx="4582">2</cx:pt>
          <cx:pt idx="4583">4</cx:pt>
          <cx:pt idx="4584">5</cx:pt>
          <cx:pt idx="4585">5</cx:pt>
          <cx:pt idx="4586">5</cx:pt>
          <cx:pt idx="4587">4</cx:pt>
          <cx:pt idx="4588">5</cx:pt>
          <cx:pt idx="4589">3</cx:pt>
          <cx:pt idx="4590">4</cx:pt>
          <cx:pt idx="4591">2</cx:pt>
          <cx:pt idx="4592">4</cx:pt>
          <cx:pt idx="4593">4</cx:pt>
          <cx:pt idx="4594">4</cx:pt>
          <cx:pt idx="4595">4</cx:pt>
          <cx:pt idx="4596">5</cx:pt>
          <cx:pt idx="4597">4</cx:pt>
          <cx:pt idx="4598">5</cx:pt>
          <cx:pt idx="4599">5</cx:pt>
          <cx:pt idx="4600">4</cx:pt>
          <cx:pt idx="4601">3</cx:pt>
          <cx:pt idx="4602">2</cx:pt>
          <cx:pt idx="4603">1</cx:pt>
          <cx:pt idx="4604">5</cx:pt>
          <cx:pt idx="4605">4</cx:pt>
          <cx:pt idx="4606">5</cx:pt>
          <cx:pt idx="4607">4</cx:pt>
          <cx:pt idx="4608">5</cx:pt>
          <cx:pt idx="4609">1</cx:pt>
          <cx:pt idx="4610">3</cx:pt>
          <cx:pt idx="4611">1</cx:pt>
          <cx:pt idx="4612">1</cx:pt>
          <cx:pt idx="4613">4</cx:pt>
          <cx:pt idx="4614">3</cx:pt>
          <cx:pt idx="4615">4</cx:pt>
          <cx:pt idx="4616">5</cx:pt>
          <cx:pt idx="4617">4</cx:pt>
          <cx:pt idx="4618">4</cx:pt>
          <cx:pt idx="4619">3</cx:pt>
          <cx:pt idx="4620">3</cx:pt>
          <cx:pt idx="4621">5</cx:pt>
          <cx:pt idx="4622">4</cx:pt>
          <cx:pt idx="4623">5</cx:pt>
          <cx:pt idx="4624">4</cx:pt>
          <cx:pt idx="4625">1</cx:pt>
          <cx:pt idx="4626">1</cx:pt>
          <cx:pt idx="4627">2</cx:pt>
          <cx:pt idx="4628">2</cx:pt>
          <cx:pt idx="4629">1</cx:pt>
          <cx:pt idx="4630">5</cx:pt>
          <cx:pt idx="4631">4</cx:pt>
          <cx:pt idx="4632">3</cx:pt>
          <cx:pt idx="4633">4</cx:pt>
          <cx:pt idx="4634">3</cx:pt>
          <cx:pt idx="4635">1</cx:pt>
          <cx:pt idx="4636">4</cx:pt>
          <cx:pt idx="4637">4</cx:pt>
          <cx:pt idx="4638">2</cx:pt>
          <cx:pt idx="4639">5</cx:pt>
          <cx:pt idx="4640">5</cx:pt>
          <cx:pt idx="4641">1</cx:pt>
          <cx:pt idx="4642">4</cx:pt>
          <cx:pt idx="4643">4</cx:pt>
          <cx:pt idx="4644">4</cx:pt>
          <cx:pt idx="4645">5</cx:pt>
          <cx:pt idx="4646">2</cx:pt>
          <cx:pt idx="4647">2</cx:pt>
          <cx:pt idx="4648">2</cx:pt>
          <cx:pt idx="4649">2</cx:pt>
          <cx:pt idx="4650">4</cx:pt>
          <cx:pt idx="4651">5</cx:pt>
          <cx:pt idx="4652">5</cx:pt>
          <cx:pt idx="4653">3</cx:pt>
          <cx:pt idx="4654">3</cx:pt>
          <cx:pt idx="4655">4</cx:pt>
          <cx:pt idx="4656">5</cx:pt>
          <cx:pt idx="4657">1</cx:pt>
          <cx:pt idx="4658">1</cx:pt>
          <cx:pt idx="4659">2</cx:pt>
          <cx:pt idx="4660">5</cx:pt>
          <cx:pt idx="4661">4</cx:pt>
          <cx:pt idx="4662">2</cx:pt>
          <cx:pt idx="4663">1</cx:pt>
          <cx:pt idx="4664">4</cx:pt>
          <cx:pt idx="4665">5</cx:pt>
          <cx:pt idx="4666">1</cx:pt>
          <cx:pt idx="4667">4</cx:pt>
          <cx:pt idx="4668">3</cx:pt>
          <cx:pt idx="4669">3</cx:pt>
          <cx:pt idx="4670">3</cx:pt>
          <cx:pt idx="4671">4</cx:pt>
          <cx:pt idx="4672">4</cx:pt>
          <cx:pt idx="4673">3</cx:pt>
          <cx:pt idx="4674">4</cx:pt>
          <cx:pt idx="4675">4</cx:pt>
          <cx:pt idx="4676">5</cx:pt>
          <cx:pt idx="4677">4</cx:pt>
          <cx:pt idx="4678">3</cx:pt>
          <cx:pt idx="4679">5</cx:pt>
          <cx:pt idx="4680">2</cx:pt>
          <cx:pt idx="4681">4</cx:pt>
          <cx:pt idx="4682">5</cx:pt>
          <cx:pt idx="4683">4</cx:pt>
          <cx:pt idx="4684">2</cx:pt>
          <cx:pt idx="4685">1</cx:pt>
          <cx:pt idx="4686">4</cx:pt>
          <cx:pt idx="4687">4</cx:pt>
          <cx:pt idx="4688">1</cx:pt>
          <cx:pt idx="4689">1</cx:pt>
          <cx:pt idx="4690">4</cx:pt>
          <cx:pt idx="4691">2</cx:pt>
          <cx:pt idx="4692">5</cx:pt>
          <cx:pt idx="4693">1</cx:pt>
          <cx:pt idx="4694">4</cx:pt>
          <cx:pt idx="4695">3</cx:pt>
          <cx:pt idx="4696">4</cx:pt>
          <cx:pt idx="4697">4</cx:pt>
          <cx:pt idx="4698">2</cx:pt>
          <cx:pt idx="4699">2</cx:pt>
          <cx:pt idx="4700">5</cx:pt>
          <cx:pt idx="4701">5</cx:pt>
          <cx:pt idx="4702">4</cx:pt>
          <cx:pt idx="4703">1</cx:pt>
          <cx:pt idx="4704">4</cx:pt>
          <cx:pt idx="4705">2</cx:pt>
          <cx:pt idx="4706">4</cx:pt>
          <cx:pt idx="4707">1</cx:pt>
          <cx:pt idx="4708">1</cx:pt>
          <cx:pt idx="4709">5</cx:pt>
          <cx:pt idx="4710">2</cx:pt>
          <cx:pt idx="4711">3</cx:pt>
          <cx:pt idx="4712">3</cx:pt>
          <cx:pt idx="4713">5</cx:pt>
          <cx:pt idx="4714">2</cx:pt>
          <cx:pt idx="4715">4</cx:pt>
          <cx:pt idx="4716">5</cx:pt>
          <cx:pt idx="4717">3</cx:pt>
          <cx:pt idx="4718">5</cx:pt>
          <cx:pt idx="4719">3</cx:pt>
          <cx:pt idx="4720">2</cx:pt>
          <cx:pt idx="4721">3</cx:pt>
          <cx:pt idx="4722">4</cx:pt>
          <cx:pt idx="4723">5</cx:pt>
          <cx:pt idx="4724">3</cx:pt>
          <cx:pt idx="4725">2</cx:pt>
          <cx:pt idx="4726">5</cx:pt>
          <cx:pt idx="4727">1</cx:pt>
          <cx:pt idx="4728">5</cx:pt>
          <cx:pt idx="4729">2</cx:pt>
          <cx:pt idx="4730">4</cx:pt>
          <cx:pt idx="4731">4</cx:pt>
          <cx:pt idx="4732">4</cx:pt>
          <cx:pt idx="4733">4</cx:pt>
          <cx:pt idx="4734">5</cx:pt>
          <cx:pt idx="4735">4</cx:pt>
          <cx:pt idx="4736">2</cx:pt>
          <cx:pt idx="4737">2</cx:pt>
          <cx:pt idx="4738">2</cx:pt>
          <cx:pt idx="4739">1</cx:pt>
          <cx:pt idx="4740">4</cx:pt>
          <cx:pt idx="4741">5</cx:pt>
          <cx:pt idx="4742">2</cx:pt>
          <cx:pt idx="4743">5</cx:pt>
          <cx:pt idx="4744">2</cx:pt>
          <cx:pt idx="4745">3</cx:pt>
          <cx:pt idx="4746">1</cx:pt>
          <cx:pt idx="4747">5</cx:pt>
          <cx:pt idx="4748">4</cx:pt>
          <cx:pt idx="4749">2</cx:pt>
          <cx:pt idx="4750">4</cx:pt>
          <cx:pt idx="4751">5</cx:pt>
          <cx:pt idx="4752">2</cx:pt>
          <cx:pt idx="4753">3</cx:pt>
          <cx:pt idx="4754">3</cx:pt>
          <cx:pt idx="4755">5</cx:pt>
          <cx:pt idx="4756">1</cx:pt>
          <cx:pt idx="4757">5</cx:pt>
          <cx:pt idx="4758">2</cx:pt>
          <cx:pt idx="4759">3</cx:pt>
          <cx:pt idx="4760">3</cx:pt>
          <cx:pt idx="4761">4</cx:pt>
          <cx:pt idx="4762">3</cx:pt>
          <cx:pt idx="4763">5</cx:pt>
          <cx:pt idx="4764">5</cx:pt>
          <cx:pt idx="4765">4</cx:pt>
          <cx:pt idx="4766">4</cx:pt>
          <cx:pt idx="4767">4</cx:pt>
          <cx:pt idx="4768">1</cx:pt>
          <cx:pt idx="4769">5</cx:pt>
          <cx:pt idx="4770">1</cx:pt>
          <cx:pt idx="4771">2</cx:pt>
          <cx:pt idx="4772">4</cx:pt>
          <cx:pt idx="4773">1</cx:pt>
          <cx:pt idx="4774">4</cx:pt>
          <cx:pt idx="4775">5</cx:pt>
          <cx:pt idx="4776">3</cx:pt>
          <cx:pt idx="4777">5</cx:pt>
          <cx:pt idx="4778">5</cx:pt>
          <cx:pt idx="4779">1</cx:pt>
          <cx:pt idx="4780">5</cx:pt>
          <cx:pt idx="4781">4</cx:pt>
          <cx:pt idx="4782">2</cx:pt>
          <cx:pt idx="4783">3</cx:pt>
          <cx:pt idx="4784">5</cx:pt>
          <cx:pt idx="4785">5</cx:pt>
          <cx:pt idx="4786">2</cx:pt>
          <cx:pt idx="4787">4</cx:pt>
          <cx:pt idx="4788">4</cx:pt>
          <cx:pt idx="4789">5</cx:pt>
          <cx:pt idx="4790">3</cx:pt>
          <cx:pt idx="4791">4</cx:pt>
          <cx:pt idx="4792">3</cx:pt>
          <cx:pt idx="4793">3</cx:pt>
          <cx:pt idx="4794">3</cx:pt>
          <cx:pt idx="4795">4</cx:pt>
          <cx:pt idx="4796">2</cx:pt>
          <cx:pt idx="4797">4</cx:pt>
          <cx:pt idx="4798">4</cx:pt>
          <cx:pt idx="4799">4</cx:pt>
          <cx:pt idx="4800">3</cx:pt>
          <cx:pt idx="4801">2</cx:pt>
          <cx:pt idx="4802">2</cx:pt>
          <cx:pt idx="4803">4</cx:pt>
          <cx:pt idx="4804">3</cx:pt>
          <cx:pt idx="4805">1</cx:pt>
          <cx:pt idx="4806">2</cx:pt>
          <cx:pt idx="4807">5</cx:pt>
          <cx:pt idx="4808">4</cx:pt>
          <cx:pt idx="4809">3</cx:pt>
          <cx:pt idx="4810">1</cx:pt>
          <cx:pt idx="4811">4</cx:pt>
          <cx:pt idx="4812">3</cx:pt>
          <cx:pt idx="4813">5</cx:pt>
          <cx:pt idx="4814">3</cx:pt>
          <cx:pt idx="4815">4</cx:pt>
          <cx:pt idx="4816">5</cx:pt>
          <cx:pt idx="4817">4</cx:pt>
          <cx:pt idx="4818">4</cx:pt>
          <cx:pt idx="4819">2</cx:pt>
          <cx:pt idx="4820">5</cx:pt>
          <cx:pt idx="4821">1</cx:pt>
          <cx:pt idx="4822">2</cx:pt>
          <cx:pt idx="4823">2</cx:pt>
          <cx:pt idx="4824">1</cx:pt>
          <cx:pt idx="4825">2</cx:pt>
          <cx:pt idx="4826">5</cx:pt>
          <cx:pt idx="4827">4</cx:pt>
          <cx:pt idx="4828">4</cx:pt>
          <cx:pt idx="4829">4</cx:pt>
          <cx:pt idx="4830">4</cx:pt>
          <cx:pt idx="4831">2</cx:pt>
          <cx:pt idx="4832">5</cx:pt>
          <cx:pt idx="4833">4</cx:pt>
          <cx:pt idx="4834">5</cx:pt>
          <cx:pt idx="4835">4</cx:pt>
          <cx:pt idx="4836">5</cx:pt>
          <cx:pt idx="4837">4</cx:pt>
          <cx:pt idx="4838">5</cx:pt>
          <cx:pt idx="4839">4</cx:pt>
          <cx:pt idx="4840">4</cx:pt>
          <cx:pt idx="4841">4</cx:pt>
          <cx:pt idx="4842">4</cx:pt>
          <cx:pt idx="4843">1</cx:pt>
          <cx:pt idx="4844">4</cx:pt>
          <cx:pt idx="4845">4</cx:pt>
          <cx:pt idx="4846">4</cx:pt>
          <cx:pt idx="4847">1</cx:pt>
          <cx:pt idx="4848">4</cx:pt>
          <cx:pt idx="4849">5</cx:pt>
          <cx:pt idx="4850">5</cx:pt>
          <cx:pt idx="4851">3</cx:pt>
          <cx:pt idx="4852">1</cx:pt>
          <cx:pt idx="4853">2</cx:pt>
          <cx:pt idx="4854">5</cx:pt>
          <cx:pt idx="4855">3</cx:pt>
          <cx:pt idx="4856">3</cx:pt>
          <cx:pt idx="4857">5</cx:pt>
          <cx:pt idx="4858">5</cx:pt>
          <cx:pt idx="4859">2</cx:pt>
          <cx:pt idx="4860">2</cx:pt>
          <cx:pt idx="4861">5</cx:pt>
          <cx:pt idx="4862">2</cx:pt>
          <cx:pt idx="4863">2</cx:pt>
          <cx:pt idx="4864">4</cx:pt>
          <cx:pt idx="4865">4</cx:pt>
          <cx:pt idx="4866">5</cx:pt>
          <cx:pt idx="4867">1</cx:pt>
          <cx:pt idx="4868">3</cx:pt>
          <cx:pt idx="4869">4</cx:pt>
          <cx:pt idx="4870">4</cx:pt>
          <cx:pt idx="4871">3</cx:pt>
          <cx:pt idx="4872">5</cx:pt>
          <cx:pt idx="4873">5</cx:pt>
          <cx:pt idx="4874">5</cx:pt>
          <cx:pt idx="4875">1</cx:pt>
          <cx:pt idx="4876">2</cx:pt>
          <cx:pt idx="4877">1</cx:pt>
          <cx:pt idx="4878">4</cx:pt>
          <cx:pt idx="4879">2</cx:pt>
          <cx:pt idx="4880">4</cx:pt>
          <cx:pt idx="4881">5</cx:pt>
          <cx:pt idx="4882">5</cx:pt>
          <cx:pt idx="4883">2</cx:pt>
          <cx:pt idx="4884">2</cx:pt>
          <cx:pt idx="4885">5</cx:pt>
          <cx:pt idx="4886">2</cx:pt>
          <cx:pt idx="4887">4</cx:pt>
          <cx:pt idx="4888">5</cx:pt>
          <cx:pt idx="4889">4</cx:pt>
          <cx:pt idx="4890">2</cx:pt>
          <cx:pt idx="4891">5</cx:pt>
          <cx:pt idx="4892">3</cx:pt>
          <cx:pt idx="4893">5</cx:pt>
          <cx:pt idx="4894">1</cx:pt>
          <cx:pt idx="4895">2</cx:pt>
          <cx:pt idx="4896">5</cx:pt>
          <cx:pt idx="4897">3</cx:pt>
          <cx:pt idx="4898">4</cx:pt>
          <cx:pt idx="4899">5</cx:pt>
          <cx:pt idx="4900">2</cx:pt>
          <cx:pt idx="4901">2</cx:pt>
          <cx:pt idx="4902">4</cx:pt>
          <cx:pt idx="4903">5</cx:pt>
          <cx:pt idx="4904">3</cx:pt>
          <cx:pt idx="4905">5</cx:pt>
          <cx:pt idx="4906">4</cx:pt>
          <cx:pt idx="4907">4</cx:pt>
          <cx:pt idx="4908">2</cx:pt>
          <cx:pt idx="4909">5</cx:pt>
          <cx:pt idx="4910">2</cx:pt>
          <cx:pt idx="4911">4</cx:pt>
          <cx:pt idx="4912">4</cx:pt>
          <cx:pt idx="4913">3</cx:pt>
          <cx:pt idx="4914">4</cx:pt>
          <cx:pt idx="4915">4</cx:pt>
          <cx:pt idx="4916">4</cx:pt>
          <cx:pt idx="4917">5</cx:pt>
          <cx:pt idx="4918">4</cx:pt>
          <cx:pt idx="4919">3</cx:pt>
          <cx:pt idx="4920">1</cx:pt>
          <cx:pt idx="4921">2</cx:pt>
          <cx:pt idx="4922">4</cx:pt>
          <cx:pt idx="4923">4</cx:pt>
          <cx:pt idx="4924">5</cx:pt>
          <cx:pt idx="4925">5</cx:pt>
          <cx:pt idx="4926">5</cx:pt>
          <cx:pt idx="4927">4</cx:pt>
          <cx:pt idx="4928">1</cx:pt>
          <cx:pt idx="4929">2</cx:pt>
          <cx:pt idx="4930">4</cx:pt>
          <cx:pt idx="4931">4</cx:pt>
          <cx:pt idx="4932">2</cx:pt>
          <cx:pt idx="4933">4</cx:pt>
          <cx:pt idx="4934">3</cx:pt>
          <cx:pt idx="4935">5</cx:pt>
          <cx:pt idx="4936">5</cx:pt>
          <cx:pt idx="4937">1</cx:pt>
          <cx:pt idx="4938">2</cx:pt>
          <cx:pt idx="4939">2</cx:pt>
          <cx:pt idx="4940">5</cx:pt>
          <cx:pt idx="4941">4</cx:pt>
          <cx:pt idx="4942">5</cx:pt>
          <cx:pt idx="4943">5</cx:pt>
          <cx:pt idx="4944">5</cx:pt>
          <cx:pt idx="4945">5</cx:pt>
          <cx:pt idx="4946">2</cx:pt>
          <cx:pt idx="4947">4</cx:pt>
          <cx:pt idx="4948">4</cx:pt>
          <cx:pt idx="4949">3</cx:pt>
          <cx:pt idx="4950">2</cx:pt>
          <cx:pt idx="4951">4</cx:pt>
          <cx:pt idx="4952">4</cx:pt>
          <cx:pt idx="4953">2</cx:pt>
          <cx:pt idx="4954">4</cx:pt>
          <cx:pt idx="4955">1</cx:pt>
          <cx:pt idx="4956">3</cx:pt>
          <cx:pt idx="4957">3</cx:pt>
          <cx:pt idx="4958">1</cx:pt>
          <cx:pt idx="4959">5</cx:pt>
          <cx:pt idx="4960">4</cx:pt>
          <cx:pt idx="4961">3</cx:pt>
          <cx:pt idx="4962">4</cx:pt>
          <cx:pt idx="4963">3</cx:pt>
          <cx:pt idx="4964">3</cx:pt>
          <cx:pt idx="4965">5</cx:pt>
          <cx:pt idx="4966">4</cx:pt>
          <cx:pt idx="4967">5</cx:pt>
          <cx:pt idx="4968">2</cx:pt>
          <cx:pt idx="4969">4</cx:pt>
          <cx:pt idx="4970">2</cx:pt>
          <cx:pt idx="4971">1</cx:pt>
          <cx:pt idx="4972">1</cx:pt>
          <cx:pt idx="4973">5</cx:pt>
          <cx:pt idx="4974">5</cx:pt>
          <cx:pt idx="4975">4</cx:pt>
          <cx:pt idx="4976">3</cx:pt>
          <cx:pt idx="4977">5</cx:pt>
          <cx:pt idx="4978">4</cx:pt>
          <cx:pt idx="4979">4</cx:pt>
          <cx:pt idx="4980">2</cx:pt>
          <cx:pt idx="4981">5</cx:pt>
          <cx:pt idx="4982">3</cx:pt>
          <cx:pt idx="4983">2</cx:pt>
          <cx:pt idx="4984">5</cx:pt>
          <cx:pt idx="4985">5</cx:pt>
          <cx:pt idx="4986">3</cx:pt>
          <cx:pt idx="4987">3</cx:pt>
          <cx:pt idx="4988">4</cx:pt>
          <cx:pt idx="4989">1</cx:pt>
          <cx:pt idx="4990">5</cx:pt>
          <cx:pt idx="4991">5</cx:pt>
          <cx:pt idx="4992">5</cx:pt>
          <cx:pt idx="4993">3</cx:pt>
          <cx:pt idx="4994">4</cx:pt>
          <cx:pt idx="4995">5</cx:pt>
          <cx:pt idx="4996">5</cx:pt>
          <cx:pt idx="4997">2</cx:pt>
          <cx:pt idx="4998">2</cx:pt>
          <cx:pt idx="4999">2</cx:pt>
          <cx:pt idx="5000">4</cx:pt>
          <cx:pt idx="5001">4</cx:pt>
          <cx:pt idx="5002">1</cx:pt>
          <cx:pt idx="5003">3</cx:pt>
          <cx:pt idx="5004">5</cx:pt>
          <cx:pt idx="5005">4</cx:pt>
          <cx:pt idx="5006">5</cx:pt>
          <cx:pt idx="5007">4</cx:pt>
          <cx:pt idx="5008">1</cx:pt>
          <cx:pt idx="5009">5</cx:pt>
          <cx:pt idx="5010">5</cx:pt>
          <cx:pt idx="5011">5</cx:pt>
          <cx:pt idx="5012">3</cx:pt>
          <cx:pt idx="5013">4</cx:pt>
          <cx:pt idx="5014">5</cx:pt>
          <cx:pt idx="5015">2</cx:pt>
          <cx:pt idx="5016">4</cx:pt>
          <cx:pt idx="5017">3</cx:pt>
          <cx:pt idx="5018">4</cx:pt>
          <cx:pt idx="5019">4</cx:pt>
          <cx:pt idx="5020">3</cx:pt>
          <cx:pt idx="5021">3</cx:pt>
          <cx:pt idx="5022">2</cx:pt>
          <cx:pt idx="5023">1</cx:pt>
          <cx:pt idx="5024">4</cx:pt>
          <cx:pt idx="5025">3</cx:pt>
          <cx:pt idx="5026">4</cx:pt>
          <cx:pt idx="5027">2</cx:pt>
          <cx:pt idx="5028">5</cx:pt>
          <cx:pt idx="5029">5</cx:pt>
          <cx:pt idx="5030">4</cx:pt>
          <cx:pt idx="5031">3</cx:pt>
          <cx:pt idx="5032">5</cx:pt>
          <cx:pt idx="5033">2</cx:pt>
          <cx:pt idx="5034">4</cx:pt>
          <cx:pt idx="5035">4</cx:pt>
          <cx:pt idx="5036">4</cx:pt>
          <cx:pt idx="5037">1</cx:pt>
          <cx:pt idx="5038">5</cx:pt>
          <cx:pt idx="5039">3</cx:pt>
          <cx:pt idx="5040">4</cx:pt>
          <cx:pt idx="5041">5</cx:pt>
          <cx:pt idx="5042">3</cx:pt>
          <cx:pt idx="5043">1</cx:pt>
          <cx:pt idx="5044">5</cx:pt>
          <cx:pt idx="5045">5</cx:pt>
          <cx:pt idx="5046">4</cx:pt>
          <cx:pt idx="5047">4</cx:pt>
          <cx:pt idx="5048">5</cx:pt>
          <cx:pt idx="5049">1</cx:pt>
          <cx:pt idx="5050">3</cx:pt>
          <cx:pt idx="5051">5</cx:pt>
          <cx:pt idx="5052">3</cx:pt>
          <cx:pt idx="5053">3</cx:pt>
          <cx:pt idx="5054">4</cx:pt>
          <cx:pt idx="5055">4</cx:pt>
          <cx:pt idx="5056">4</cx:pt>
          <cx:pt idx="5057">5</cx:pt>
          <cx:pt idx="5058">5</cx:pt>
          <cx:pt idx="5059">3</cx:pt>
          <cx:pt idx="5060">4</cx:pt>
          <cx:pt idx="5061">2</cx:pt>
          <cx:pt idx="5062">4</cx:pt>
          <cx:pt idx="5063">4</cx:pt>
          <cx:pt idx="5064">4</cx:pt>
          <cx:pt idx="5065">4</cx:pt>
          <cx:pt idx="5066">2</cx:pt>
          <cx:pt idx="5067">4</cx:pt>
          <cx:pt idx="5068">1</cx:pt>
          <cx:pt idx="5069">5</cx:pt>
          <cx:pt idx="5070">1</cx:pt>
          <cx:pt idx="5071">3</cx:pt>
          <cx:pt idx="5072">3</cx:pt>
          <cx:pt idx="5073">4</cx:pt>
          <cx:pt idx="5074">4</cx:pt>
          <cx:pt idx="5075">5</cx:pt>
          <cx:pt idx="5076">1</cx:pt>
          <cx:pt idx="5077">5</cx:pt>
          <cx:pt idx="5078">5</cx:pt>
          <cx:pt idx="5079">4</cx:pt>
          <cx:pt idx="5080">2</cx:pt>
          <cx:pt idx="5081">1</cx:pt>
          <cx:pt idx="5082">3</cx:pt>
          <cx:pt idx="5083">4</cx:pt>
          <cx:pt idx="5084">3</cx:pt>
          <cx:pt idx="5085">3</cx:pt>
          <cx:pt idx="5086">4</cx:pt>
          <cx:pt idx="5087">5</cx:pt>
          <cx:pt idx="5088">4</cx:pt>
          <cx:pt idx="5089">4</cx:pt>
          <cx:pt idx="5090">5</cx:pt>
          <cx:pt idx="5091">4</cx:pt>
          <cx:pt idx="5092">1</cx:pt>
          <cx:pt idx="5093">5</cx:pt>
          <cx:pt idx="5094">1</cx:pt>
          <cx:pt idx="5095">1</cx:pt>
          <cx:pt idx="5096">3</cx:pt>
          <cx:pt idx="5097">5</cx:pt>
          <cx:pt idx="5098">3</cx:pt>
          <cx:pt idx="5099">2</cx:pt>
          <cx:pt idx="5100">4</cx:pt>
          <cx:pt idx="5101">2</cx:pt>
          <cx:pt idx="5102">5</cx:pt>
          <cx:pt idx="5103">2</cx:pt>
          <cx:pt idx="5104">5</cx:pt>
          <cx:pt idx="5105">5</cx:pt>
          <cx:pt idx="5106">5</cx:pt>
          <cx:pt idx="5107">2</cx:pt>
          <cx:pt idx="5108">4</cx:pt>
          <cx:pt idx="5109">2</cx:pt>
          <cx:pt idx="5110">4</cx:pt>
          <cx:pt idx="5111">2</cx:pt>
          <cx:pt idx="5112">2</cx:pt>
          <cx:pt idx="5113">5</cx:pt>
          <cx:pt idx="5114">2</cx:pt>
          <cx:pt idx="5115">1</cx:pt>
          <cx:pt idx="5116">3</cx:pt>
          <cx:pt idx="5117">5</cx:pt>
          <cx:pt idx="5118">5</cx:pt>
          <cx:pt idx="5119">5</cx:pt>
          <cx:pt idx="5120">1</cx:pt>
          <cx:pt idx="5121">5</cx:pt>
          <cx:pt idx="5122">3</cx:pt>
          <cx:pt idx="5123">3</cx:pt>
          <cx:pt idx="5124">3</cx:pt>
          <cx:pt idx="5125">5</cx:pt>
          <cx:pt idx="5126">2</cx:pt>
          <cx:pt idx="5127">4</cx:pt>
          <cx:pt idx="5128">4</cx:pt>
          <cx:pt idx="5129">4</cx:pt>
          <cx:pt idx="5130">2</cx:pt>
          <cx:pt idx="5131">4</cx:pt>
          <cx:pt idx="5132">2</cx:pt>
          <cx:pt idx="5133">5</cx:pt>
          <cx:pt idx="5134">1</cx:pt>
          <cx:pt idx="5135">5</cx:pt>
          <cx:pt idx="5136">5</cx:pt>
          <cx:pt idx="5137">5</cx:pt>
          <cx:pt idx="5138">5</cx:pt>
          <cx:pt idx="5139">3</cx:pt>
          <cx:pt idx="5140">3</cx:pt>
          <cx:pt idx="5141">2</cx:pt>
          <cx:pt idx="5142">5</cx:pt>
          <cx:pt idx="5143">3</cx:pt>
          <cx:pt idx="5144">2</cx:pt>
          <cx:pt idx="5145">1</cx:pt>
          <cx:pt idx="5146">3</cx:pt>
          <cx:pt idx="5147">5</cx:pt>
          <cx:pt idx="5148">1</cx:pt>
          <cx:pt idx="5149">5</cx:pt>
          <cx:pt idx="5150">4</cx:pt>
          <cx:pt idx="5151">5</cx:pt>
          <cx:pt idx="5152">4</cx:pt>
          <cx:pt idx="5153">4</cx:pt>
          <cx:pt idx="5154">5</cx:pt>
          <cx:pt idx="5155">4</cx:pt>
          <cx:pt idx="5156">3</cx:pt>
          <cx:pt idx="5157">4</cx:pt>
          <cx:pt idx="5158">2</cx:pt>
          <cx:pt idx="5159">4</cx:pt>
          <cx:pt idx="5160">4</cx:pt>
          <cx:pt idx="5161">5</cx:pt>
          <cx:pt idx="5162">1</cx:pt>
          <cx:pt idx="5163">5</cx:pt>
          <cx:pt idx="5164">5</cx:pt>
          <cx:pt idx="5165">3</cx:pt>
          <cx:pt idx="5166">2</cx:pt>
          <cx:pt idx="5167">2</cx:pt>
          <cx:pt idx="5168">1</cx:pt>
          <cx:pt idx="5169">4</cx:pt>
          <cx:pt idx="5170">5</cx:pt>
          <cx:pt idx="5171">1</cx:pt>
          <cx:pt idx="5172">2</cx:pt>
          <cx:pt idx="5173">1</cx:pt>
          <cx:pt idx="5174">2</cx:pt>
          <cx:pt idx="5175">1</cx:pt>
          <cx:pt idx="5176">3</cx:pt>
          <cx:pt idx="5177">4</cx:pt>
          <cx:pt idx="5178">4</cx:pt>
          <cx:pt idx="5179">1</cx:pt>
          <cx:pt idx="5180">4</cx:pt>
          <cx:pt idx="5181">5</cx:pt>
          <cx:pt idx="5182">5</cx:pt>
          <cx:pt idx="5183">3</cx:pt>
          <cx:pt idx="5184">3</cx:pt>
          <cx:pt idx="5185">5</cx:pt>
          <cx:pt idx="5186">5</cx:pt>
          <cx:pt idx="5187">4</cx:pt>
          <cx:pt idx="5188">3</cx:pt>
          <cx:pt idx="5189">3</cx:pt>
          <cx:pt idx="5190">4</cx:pt>
          <cx:pt idx="5191">4</cx:pt>
          <cx:pt idx="5192">3</cx:pt>
          <cx:pt idx="5193">4</cx:pt>
          <cx:pt idx="5194">5</cx:pt>
          <cx:pt idx="5195">1</cx:pt>
          <cx:pt idx="5196">4</cx:pt>
          <cx:pt idx="5197">5</cx:pt>
          <cx:pt idx="5198">1</cx:pt>
          <cx:pt idx="5199">5</cx:pt>
          <cx:pt idx="5200">4</cx:pt>
          <cx:pt idx="5201">4</cx:pt>
          <cx:pt idx="5202">5</cx:pt>
          <cx:pt idx="5203">4</cx:pt>
          <cx:pt idx="5204">3</cx:pt>
          <cx:pt idx="5205">3</cx:pt>
          <cx:pt idx="5206">5</cx:pt>
          <cx:pt idx="5207">5</cx:pt>
          <cx:pt idx="5208">5</cx:pt>
          <cx:pt idx="5209">5</cx:pt>
          <cx:pt idx="5210">5</cx:pt>
          <cx:pt idx="5211">3</cx:pt>
          <cx:pt idx="5212">5</cx:pt>
          <cx:pt idx="5213">3</cx:pt>
          <cx:pt idx="5214">5</cx:pt>
          <cx:pt idx="5215">2</cx:pt>
          <cx:pt idx="5216">5</cx:pt>
          <cx:pt idx="5217">5</cx:pt>
          <cx:pt idx="5218">4</cx:pt>
          <cx:pt idx="5219">1</cx:pt>
          <cx:pt idx="5220">4</cx:pt>
          <cx:pt idx="5221">4</cx:pt>
          <cx:pt idx="5222">5</cx:pt>
          <cx:pt idx="5223">1</cx:pt>
          <cx:pt idx="5224">4</cx:pt>
          <cx:pt idx="5225">3</cx:pt>
          <cx:pt idx="5226">2</cx:pt>
          <cx:pt idx="5227">3</cx:pt>
          <cx:pt idx="5228">3</cx:pt>
          <cx:pt idx="5229">4</cx:pt>
          <cx:pt idx="5230">4</cx:pt>
          <cx:pt idx="5231">1</cx:pt>
          <cx:pt idx="5232">4</cx:pt>
          <cx:pt idx="5233">1</cx:pt>
          <cx:pt idx="5234">4</cx:pt>
          <cx:pt idx="5235">5</cx:pt>
          <cx:pt idx="5236">4</cx:pt>
          <cx:pt idx="5237">4</cx:pt>
          <cx:pt idx="5238">3</cx:pt>
          <cx:pt idx="5239">1</cx:pt>
          <cx:pt idx="5240">2</cx:pt>
          <cx:pt idx="5241">3</cx:pt>
          <cx:pt idx="5242">3</cx:pt>
          <cx:pt idx="5243">3</cx:pt>
          <cx:pt idx="5244">4</cx:pt>
          <cx:pt idx="5245">3</cx:pt>
          <cx:pt idx="5246">5</cx:pt>
          <cx:pt idx="5247">4</cx:pt>
          <cx:pt idx="5248">1</cx:pt>
          <cx:pt idx="5249">5</cx:pt>
          <cx:pt idx="5250">1</cx:pt>
          <cx:pt idx="5251">4</cx:pt>
          <cx:pt idx="5252">4</cx:pt>
          <cx:pt idx="5253">4</cx:pt>
          <cx:pt idx="5254">4</cx:pt>
          <cx:pt idx="5255">2</cx:pt>
          <cx:pt idx="5256">4</cx:pt>
          <cx:pt idx="5257">4</cx:pt>
          <cx:pt idx="5258">3</cx:pt>
          <cx:pt idx="5259">2</cx:pt>
          <cx:pt idx="5260">3</cx:pt>
          <cx:pt idx="5261">3</cx:pt>
          <cx:pt idx="5262">2</cx:pt>
          <cx:pt idx="5263">4</cx:pt>
          <cx:pt idx="5264">4</cx:pt>
          <cx:pt idx="5265">4</cx:pt>
          <cx:pt idx="5266">1</cx:pt>
          <cx:pt idx="5267">5</cx:pt>
          <cx:pt idx="5268">3</cx:pt>
          <cx:pt idx="5269">3</cx:pt>
          <cx:pt idx="5270">4</cx:pt>
          <cx:pt idx="5271">4</cx:pt>
          <cx:pt idx="5272">5</cx:pt>
          <cx:pt idx="5273">4</cx:pt>
          <cx:pt idx="5274">4</cx:pt>
          <cx:pt idx="5275">1</cx:pt>
          <cx:pt idx="5276">3</cx:pt>
          <cx:pt idx="5277">1</cx:pt>
          <cx:pt idx="5278">4</cx:pt>
          <cx:pt idx="5279">2</cx:pt>
          <cx:pt idx="5280">4</cx:pt>
          <cx:pt idx="5281">2</cx:pt>
          <cx:pt idx="5282">5</cx:pt>
          <cx:pt idx="5283">5</cx:pt>
          <cx:pt idx="5284">4</cx:pt>
          <cx:pt idx="5285">4</cx:pt>
          <cx:pt idx="5286">2</cx:pt>
          <cx:pt idx="5287">4</cx:pt>
          <cx:pt idx="5288">4</cx:pt>
          <cx:pt idx="5289">1</cx:pt>
          <cx:pt idx="5290">1</cx:pt>
          <cx:pt idx="5291">5</cx:pt>
          <cx:pt idx="5292">5</cx:pt>
          <cx:pt idx="5293">4</cx:pt>
          <cx:pt idx="5294">5</cx:pt>
          <cx:pt idx="5295">5</cx:pt>
          <cx:pt idx="5296">3</cx:pt>
          <cx:pt idx="5297">3</cx:pt>
          <cx:pt idx="5298">4</cx:pt>
          <cx:pt idx="5299">5</cx:pt>
          <cx:pt idx="5300">1</cx:pt>
          <cx:pt idx="5301">1</cx:pt>
          <cx:pt idx="5302">4</cx:pt>
          <cx:pt idx="5303">1</cx:pt>
          <cx:pt idx="5304">5</cx:pt>
          <cx:pt idx="5305">1</cx:pt>
          <cx:pt idx="5306">5</cx:pt>
          <cx:pt idx="5307">4</cx:pt>
          <cx:pt idx="5308">4</cx:pt>
          <cx:pt idx="5309">2</cx:pt>
          <cx:pt idx="5310">3</cx:pt>
          <cx:pt idx="5311">3</cx:pt>
          <cx:pt idx="5312">1</cx:pt>
          <cx:pt idx="5313">4</cx:pt>
          <cx:pt idx="5314">2</cx:pt>
          <cx:pt idx="5315">4</cx:pt>
          <cx:pt idx="5316">4</cx:pt>
          <cx:pt idx="5317">5</cx:pt>
          <cx:pt idx="5318">3</cx:pt>
          <cx:pt idx="5319">2</cx:pt>
          <cx:pt idx="5320">5</cx:pt>
          <cx:pt idx="5321">3</cx:pt>
          <cx:pt idx="5322">3</cx:pt>
          <cx:pt idx="5323">2</cx:pt>
          <cx:pt idx="5324">2</cx:pt>
          <cx:pt idx="5325">4</cx:pt>
          <cx:pt idx="5326">4</cx:pt>
          <cx:pt idx="5327">3</cx:pt>
          <cx:pt idx="5328">4</cx:pt>
          <cx:pt idx="5329">3</cx:pt>
          <cx:pt idx="5330">3</cx:pt>
          <cx:pt idx="5331">3</cx:pt>
          <cx:pt idx="5332">4</cx:pt>
          <cx:pt idx="5333">2</cx:pt>
          <cx:pt idx="5334">2</cx:pt>
          <cx:pt idx="5335">4</cx:pt>
          <cx:pt idx="5336">4</cx:pt>
          <cx:pt idx="5337">1</cx:pt>
          <cx:pt idx="5338">1</cx:pt>
          <cx:pt idx="5339">2</cx:pt>
          <cx:pt idx="5340">3</cx:pt>
          <cx:pt idx="5341">1</cx:pt>
          <cx:pt idx="5342">2</cx:pt>
          <cx:pt idx="5343">3</cx:pt>
          <cx:pt idx="5344">5</cx:pt>
          <cx:pt idx="5345">4</cx:pt>
          <cx:pt idx="5346">5</cx:pt>
          <cx:pt idx="5347">2</cx:pt>
          <cx:pt idx="5348">4</cx:pt>
          <cx:pt idx="5349">3</cx:pt>
          <cx:pt idx="5350">1</cx:pt>
          <cx:pt idx="5351">4</cx:pt>
          <cx:pt idx="5352">5</cx:pt>
          <cx:pt idx="5353">3</cx:pt>
          <cx:pt idx="5354">4</cx:pt>
          <cx:pt idx="5355">5</cx:pt>
          <cx:pt idx="5356">2</cx:pt>
          <cx:pt idx="5357">4</cx:pt>
          <cx:pt idx="5358">1</cx:pt>
          <cx:pt idx="5359">5</cx:pt>
          <cx:pt idx="5360">3</cx:pt>
          <cx:pt idx="5361">4</cx:pt>
          <cx:pt idx="5362">4</cx:pt>
          <cx:pt idx="5363">3</cx:pt>
          <cx:pt idx="5364">1</cx:pt>
          <cx:pt idx="5365">4</cx:pt>
          <cx:pt idx="5366">3</cx:pt>
          <cx:pt idx="5367">3</cx:pt>
          <cx:pt idx="5368">2</cx:pt>
          <cx:pt idx="5369">1</cx:pt>
          <cx:pt idx="5370">5</cx:pt>
          <cx:pt idx="5371">5</cx:pt>
          <cx:pt idx="5372">1</cx:pt>
          <cx:pt idx="5373">1</cx:pt>
          <cx:pt idx="5374">1</cx:pt>
          <cx:pt idx="5375">4</cx:pt>
          <cx:pt idx="5376">3</cx:pt>
          <cx:pt idx="5377">3</cx:pt>
          <cx:pt idx="5378">3</cx:pt>
          <cx:pt idx="5379">4</cx:pt>
          <cx:pt idx="5380">4</cx:pt>
          <cx:pt idx="5381">3</cx:pt>
          <cx:pt idx="5382">4</cx:pt>
          <cx:pt idx="5383">5</cx:pt>
          <cx:pt idx="5384">1</cx:pt>
          <cx:pt idx="5385">4</cx:pt>
          <cx:pt idx="5386">4</cx:pt>
          <cx:pt idx="5387">3</cx:pt>
          <cx:pt idx="5388">2</cx:pt>
          <cx:pt idx="5389">4</cx:pt>
          <cx:pt idx="5390">3</cx:pt>
          <cx:pt idx="5391">3</cx:pt>
          <cx:pt idx="5392">1</cx:pt>
          <cx:pt idx="5393">5</cx:pt>
          <cx:pt idx="5394">1</cx:pt>
          <cx:pt idx="5395">3</cx:pt>
          <cx:pt idx="5396">2</cx:pt>
          <cx:pt idx="5397">3</cx:pt>
          <cx:pt idx="5398">2</cx:pt>
          <cx:pt idx="5399">4</cx:pt>
          <cx:pt idx="5400">5</cx:pt>
          <cx:pt idx="5401">2</cx:pt>
          <cx:pt idx="5402">4</cx:pt>
          <cx:pt idx="5403">2</cx:pt>
          <cx:pt idx="5404">3</cx:pt>
          <cx:pt idx="5405">2</cx:pt>
          <cx:pt idx="5406">5</cx:pt>
          <cx:pt idx="5407">4</cx:pt>
          <cx:pt idx="5408">4</cx:pt>
          <cx:pt idx="5409">3</cx:pt>
          <cx:pt idx="5410">3</cx:pt>
          <cx:pt idx="5411">5</cx:pt>
          <cx:pt idx="5412">3</cx:pt>
          <cx:pt idx="5413">2</cx:pt>
          <cx:pt idx="5414">3</cx:pt>
          <cx:pt idx="5415">3</cx:pt>
          <cx:pt idx="5416">1</cx:pt>
          <cx:pt idx="5417">4</cx:pt>
          <cx:pt idx="5418">5</cx:pt>
          <cx:pt idx="5419">2</cx:pt>
          <cx:pt idx="5420">1</cx:pt>
          <cx:pt idx="5421">3</cx:pt>
          <cx:pt idx="5422">4</cx:pt>
          <cx:pt idx="5423">4</cx:pt>
          <cx:pt idx="5424">2</cx:pt>
          <cx:pt idx="5425">3</cx:pt>
          <cx:pt idx="5426">2</cx:pt>
          <cx:pt idx="5427">4</cx:pt>
          <cx:pt idx="5428">4</cx:pt>
          <cx:pt idx="5429">4</cx:pt>
          <cx:pt idx="5430">4</cx:pt>
          <cx:pt idx="5431">5</cx:pt>
          <cx:pt idx="5432">4</cx:pt>
          <cx:pt idx="5433">1</cx:pt>
          <cx:pt idx="5434">2</cx:pt>
          <cx:pt idx="5435">2</cx:pt>
          <cx:pt idx="5436">4</cx:pt>
          <cx:pt idx="5437">1</cx:pt>
          <cx:pt idx="5438">3</cx:pt>
          <cx:pt idx="5439">3</cx:pt>
          <cx:pt idx="5440">5</cx:pt>
          <cx:pt idx="5441">3</cx:pt>
          <cx:pt idx="5442">5</cx:pt>
          <cx:pt idx="5443">3</cx:pt>
          <cx:pt idx="5444">4</cx:pt>
          <cx:pt idx="5445">2</cx:pt>
          <cx:pt idx="5446">4</cx:pt>
          <cx:pt idx="5447">5</cx:pt>
          <cx:pt idx="5448">2</cx:pt>
          <cx:pt idx="5449">3</cx:pt>
          <cx:pt idx="5450">1</cx:pt>
          <cx:pt idx="5451">4</cx:pt>
          <cx:pt idx="5452">5</cx:pt>
          <cx:pt idx="5453">5</cx:pt>
          <cx:pt idx="5454">4</cx:pt>
          <cx:pt idx="5455">3</cx:pt>
          <cx:pt idx="5456">3</cx:pt>
          <cx:pt idx="5457">3</cx:pt>
          <cx:pt idx="5458">4</cx:pt>
          <cx:pt idx="5459">5</cx:pt>
          <cx:pt idx="5460">2</cx:pt>
          <cx:pt idx="5461">2</cx:pt>
          <cx:pt idx="5462">5</cx:pt>
          <cx:pt idx="5463">4</cx:pt>
          <cx:pt idx="5464">1</cx:pt>
          <cx:pt idx="5465">4</cx:pt>
          <cx:pt idx="5466">5</cx:pt>
          <cx:pt idx="5467">1</cx:pt>
          <cx:pt idx="5468">4</cx:pt>
          <cx:pt idx="5469">3</cx:pt>
          <cx:pt idx="5470">4</cx:pt>
          <cx:pt idx="5471">3</cx:pt>
          <cx:pt idx="5472">2</cx:pt>
          <cx:pt idx="5473">2</cx:pt>
          <cx:pt idx="5474">3</cx:pt>
          <cx:pt idx="5475">1</cx:pt>
          <cx:pt idx="5476">5</cx:pt>
          <cx:pt idx="5477">1</cx:pt>
          <cx:pt idx="5478">4</cx:pt>
          <cx:pt idx="5479">3</cx:pt>
          <cx:pt idx="5480">5</cx:pt>
          <cx:pt idx="5481">2</cx:pt>
          <cx:pt idx="5482">4</cx:pt>
          <cx:pt idx="5483">4</cx:pt>
          <cx:pt idx="5484">4</cx:pt>
          <cx:pt idx="5485">3</cx:pt>
          <cx:pt idx="5486">2</cx:pt>
          <cx:pt idx="5487">5</cx:pt>
          <cx:pt idx="5488">2</cx:pt>
          <cx:pt idx="5489">3</cx:pt>
          <cx:pt idx="5490">4</cx:pt>
          <cx:pt idx="5491">4</cx:pt>
          <cx:pt idx="5492">5</cx:pt>
          <cx:pt idx="5493">5</cx:pt>
          <cx:pt idx="5494">4</cx:pt>
          <cx:pt idx="5495">5</cx:pt>
          <cx:pt idx="5496">2</cx:pt>
          <cx:pt idx="5497">3</cx:pt>
          <cx:pt idx="5498">4</cx:pt>
          <cx:pt idx="5499">3</cx:pt>
          <cx:pt idx="5500">2</cx:pt>
          <cx:pt idx="5501">3</cx:pt>
          <cx:pt idx="5502">5</cx:pt>
          <cx:pt idx="5503">5</cx:pt>
          <cx:pt idx="5504">5</cx:pt>
          <cx:pt idx="5505">4</cx:pt>
          <cx:pt idx="5506">4</cx:pt>
          <cx:pt idx="5507">3</cx:pt>
          <cx:pt idx="5508">4</cx:pt>
          <cx:pt idx="5509">4</cx:pt>
          <cx:pt idx="5510">4</cx:pt>
          <cx:pt idx="5511">3</cx:pt>
          <cx:pt idx="5512">1</cx:pt>
          <cx:pt idx="5513">5</cx:pt>
          <cx:pt idx="5514">4</cx:pt>
          <cx:pt idx="5515">3</cx:pt>
          <cx:pt idx="5516">3</cx:pt>
          <cx:pt idx="5517">4</cx:pt>
          <cx:pt idx="5518">4</cx:pt>
          <cx:pt idx="5519">5</cx:pt>
          <cx:pt idx="5520">5</cx:pt>
          <cx:pt idx="5521">1</cx:pt>
          <cx:pt idx="5522">3</cx:pt>
          <cx:pt idx="5523">4</cx:pt>
          <cx:pt idx="5524">5</cx:pt>
          <cx:pt idx="5525">1</cx:pt>
          <cx:pt idx="5526">5</cx:pt>
          <cx:pt idx="5527">4</cx:pt>
          <cx:pt idx="5528">2</cx:pt>
          <cx:pt idx="5529">2</cx:pt>
          <cx:pt idx="5530">5</cx:pt>
          <cx:pt idx="5531">5</cx:pt>
          <cx:pt idx="5532">5</cx:pt>
          <cx:pt idx="5533">3</cx:pt>
          <cx:pt idx="5534">3</cx:pt>
          <cx:pt idx="5535">4</cx:pt>
          <cx:pt idx="5536">5</cx:pt>
          <cx:pt idx="5537">1</cx:pt>
          <cx:pt idx="5538">5</cx:pt>
          <cx:pt idx="5539">3</cx:pt>
          <cx:pt idx="5540">5</cx:pt>
          <cx:pt idx="5541">5</cx:pt>
          <cx:pt idx="5542">4</cx:pt>
          <cx:pt idx="5543">4</cx:pt>
          <cx:pt idx="5544">3</cx:pt>
          <cx:pt idx="5545">4</cx:pt>
          <cx:pt idx="5546">2</cx:pt>
          <cx:pt idx="5547">2</cx:pt>
          <cx:pt idx="5548">3</cx:pt>
          <cx:pt idx="5549">4</cx:pt>
          <cx:pt idx="5550">5</cx:pt>
          <cx:pt idx="5551">1</cx:pt>
          <cx:pt idx="5552">4</cx:pt>
          <cx:pt idx="5553">1</cx:pt>
          <cx:pt idx="5554">5</cx:pt>
          <cx:pt idx="5555">5</cx:pt>
          <cx:pt idx="5556">5</cx:pt>
          <cx:pt idx="5557">4</cx:pt>
          <cx:pt idx="5558">2</cx:pt>
          <cx:pt idx="5559">5</cx:pt>
          <cx:pt idx="5560">1</cx:pt>
          <cx:pt idx="5561">4</cx:pt>
          <cx:pt idx="5562">5</cx:pt>
          <cx:pt idx="5563">4</cx:pt>
          <cx:pt idx="5564">5</cx:pt>
          <cx:pt idx="5565">2</cx:pt>
          <cx:pt idx="5566">5</cx:pt>
          <cx:pt idx="5567">4</cx:pt>
          <cx:pt idx="5568">4</cx:pt>
          <cx:pt idx="5569">4</cx:pt>
          <cx:pt idx="5570">4</cx:pt>
          <cx:pt idx="5571">1</cx:pt>
          <cx:pt idx="5572">4</cx:pt>
          <cx:pt idx="5573">5</cx:pt>
          <cx:pt idx="5574">4</cx:pt>
          <cx:pt idx="5575">2</cx:pt>
          <cx:pt idx="5576">4</cx:pt>
          <cx:pt idx="5577">5</cx:pt>
          <cx:pt idx="5578">4</cx:pt>
          <cx:pt idx="5579">5</cx:pt>
          <cx:pt idx="5580">4</cx:pt>
          <cx:pt idx="5581">4</cx:pt>
          <cx:pt idx="5582">4</cx:pt>
          <cx:pt idx="5583">3</cx:pt>
          <cx:pt idx="5584">2</cx:pt>
          <cx:pt idx="5585">2</cx:pt>
          <cx:pt idx="5586">2</cx:pt>
          <cx:pt idx="5587">2</cx:pt>
          <cx:pt idx="5588">5</cx:pt>
          <cx:pt idx="5589">3</cx:pt>
          <cx:pt idx="5590">3</cx:pt>
          <cx:pt idx="5591">1</cx:pt>
          <cx:pt idx="5592">4</cx:pt>
          <cx:pt idx="5593">2</cx:pt>
          <cx:pt idx="5594">4</cx:pt>
          <cx:pt idx="5595">5</cx:pt>
          <cx:pt idx="5596">3</cx:pt>
          <cx:pt idx="5597">4</cx:pt>
          <cx:pt idx="5598">5</cx:pt>
          <cx:pt idx="5599">4</cx:pt>
          <cx:pt idx="5600">1</cx:pt>
          <cx:pt idx="5601">5</cx:pt>
          <cx:pt idx="5602">3</cx:pt>
          <cx:pt idx="5603">5</cx:pt>
          <cx:pt idx="5604">4</cx:pt>
          <cx:pt idx="5605">4</cx:pt>
          <cx:pt idx="5606">4</cx:pt>
          <cx:pt idx="5607">5</cx:pt>
          <cx:pt idx="5608">4</cx:pt>
          <cx:pt idx="5609">4</cx:pt>
          <cx:pt idx="5610">3</cx:pt>
          <cx:pt idx="5611">3</cx:pt>
          <cx:pt idx="5612">1</cx:pt>
          <cx:pt idx="5613">4</cx:pt>
          <cx:pt idx="5614">4</cx:pt>
          <cx:pt idx="5615">4</cx:pt>
          <cx:pt idx="5616">2</cx:pt>
          <cx:pt idx="5617">3</cx:pt>
          <cx:pt idx="5618">5</cx:pt>
          <cx:pt idx="5619">1</cx:pt>
          <cx:pt idx="5620">5</cx:pt>
          <cx:pt idx="5621">1</cx:pt>
          <cx:pt idx="5622">4</cx:pt>
          <cx:pt idx="5623">1</cx:pt>
          <cx:pt idx="5624">4</cx:pt>
          <cx:pt idx="5625">4</cx:pt>
          <cx:pt idx="5626">1</cx:pt>
          <cx:pt idx="5627">2</cx:pt>
          <cx:pt idx="5628">3</cx:pt>
          <cx:pt idx="5629">4</cx:pt>
          <cx:pt idx="5630">3</cx:pt>
          <cx:pt idx="5631">4</cx:pt>
          <cx:pt idx="5632">2</cx:pt>
          <cx:pt idx="5633">2</cx:pt>
          <cx:pt idx="5634">4</cx:pt>
          <cx:pt idx="5635">4</cx:pt>
          <cx:pt idx="5636">5</cx:pt>
          <cx:pt idx="5637">4</cx:pt>
          <cx:pt idx="5638">2</cx:pt>
          <cx:pt idx="5639">3</cx:pt>
          <cx:pt idx="5640">3</cx:pt>
          <cx:pt idx="5641">3</cx:pt>
          <cx:pt idx="5642">2</cx:pt>
          <cx:pt idx="5643">2</cx:pt>
          <cx:pt idx="5644">4</cx:pt>
          <cx:pt idx="5645">4</cx:pt>
          <cx:pt idx="5646">4</cx:pt>
          <cx:pt idx="5647">3</cx:pt>
          <cx:pt idx="5648">4</cx:pt>
          <cx:pt idx="5649">5</cx:pt>
          <cx:pt idx="5650">1</cx:pt>
          <cx:pt idx="5651">5</cx:pt>
          <cx:pt idx="5652">4</cx:pt>
          <cx:pt idx="5653">5</cx:pt>
          <cx:pt idx="5654">2</cx:pt>
          <cx:pt idx="5655">4</cx:pt>
          <cx:pt idx="5656">4</cx:pt>
          <cx:pt idx="5657">4</cx:pt>
          <cx:pt idx="5658">4</cx:pt>
          <cx:pt idx="5659">1</cx:pt>
          <cx:pt idx="5660">4</cx:pt>
          <cx:pt idx="5661">4</cx:pt>
          <cx:pt idx="5662">3</cx:pt>
          <cx:pt idx="5663">5</cx:pt>
          <cx:pt idx="5664">4</cx:pt>
          <cx:pt idx="5665">5</cx:pt>
          <cx:pt idx="5666">4</cx:pt>
          <cx:pt idx="5667">2</cx:pt>
          <cx:pt idx="5668">3</cx:pt>
          <cx:pt idx="5669">2</cx:pt>
          <cx:pt idx="5670">3</cx:pt>
          <cx:pt idx="5671">5</cx:pt>
          <cx:pt idx="5672">2</cx:pt>
          <cx:pt idx="5673">1</cx:pt>
          <cx:pt idx="5674">4</cx:pt>
          <cx:pt idx="5675">3</cx:pt>
          <cx:pt idx="5676">5</cx:pt>
          <cx:pt idx="5677">5</cx:pt>
          <cx:pt idx="5678">5</cx:pt>
          <cx:pt idx="5679">5</cx:pt>
          <cx:pt idx="5680">3</cx:pt>
          <cx:pt idx="5681">5</cx:pt>
          <cx:pt idx="5682">1</cx:pt>
          <cx:pt idx="5683">3</cx:pt>
          <cx:pt idx="5684">5</cx:pt>
          <cx:pt idx="5685">5</cx:pt>
          <cx:pt idx="5686">2</cx:pt>
          <cx:pt idx="5687">5</cx:pt>
          <cx:pt idx="5688">5</cx:pt>
          <cx:pt idx="5689">1</cx:pt>
          <cx:pt idx="5690">5</cx:pt>
          <cx:pt idx="5691">1</cx:pt>
          <cx:pt idx="5692">3</cx:pt>
          <cx:pt idx="5693">1</cx:pt>
          <cx:pt idx="5694">1</cx:pt>
          <cx:pt idx="5695">4</cx:pt>
          <cx:pt idx="5696">4</cx:pt>
          <cx:pt idx="5697">2</cx:pt>
          <cx:pt idx="5698">4</cx:pt>
          <cx:pt idx="5699">2</cx:pt>
          <cx:pt idx="5700">4</cx:pt>
          <cx:pt idx="5701">3</cx:pt>
          <cx:pt idx="5702">5</cx:pt>
          <cx:pt idx="5703">4</cx:pt>
          <cx:pt idx="5704">3</cx:pt>
          <cx:pt idx="5705">4</cx:pt>
          <cx:pt idx="5706">1</cx:pt>
          <cx:pt idx="5707">4</cx:pt>
          <cx:pt idx="5708">1</cx:pt>
          <cx:pt idx="5709">5</cx:pt>
          <cx:pt idx="5710">4</cx:pt>
          <cx:pt idx="5711">5</cx:pt>
          <cx:pt idx="5712">5</cx:pt>
          <cx:pt idx="5713">1</cx:pt>
          <cx:pt idx="5714">3</cx:pt>
          <cx:pt idx="5715">5</cx:pt>
          <cx:pt idx="5716">4</cx:pt>
          <cx:pt idx="5717">1</cx:pt>
          <cx:pt idx="5718">3</cx:pt>
          <cx:pt idx="5719">3</cx:pt>
          <cx:pt idx="5720">1</cx:pt>
          <cx:pt idx="5721">3</cx:pt>
          <cx:pt idx="5722">2</cx:pt>
          <cx:pt idx="5723">4</cx:pt>
          <cx:pt idx="5724">3</cx:pt>
          <cx:pt idx="5725">3</cx:pt>
          <cx:pt idx="5726">4</cx:pt>
          <cx:pt idx="5727">3</cx:pt>
          <cx:pt idx="5728">4</cx:pt>
          <cx:pt idx="5729">4</cx:pt>
          <cx:pt idx="5730">4</cx:pt>
          <cx:pt idx="5731">4</cx:pt>
          <cx:pt idx="5732">3</cx:pt>
          <cx:pt idx="5733">2</cx:pt>
          <cx:pt idx="5734">4</cx:pt>
          <cx:pt idx="5735">4</cx:pt>
          <cx:pt idx="5736">2</cx:pt>
          <cx:pt idx="5737">2</cx:pt>
          <cx:pt idx="5738">4</cx:pt>
          <cx:pt idx="5739">1</cx:pt>
          <cx:pt idx="5740">4</cx:pt>
          <cx:pt idx="5741">4</cx:pt>
          <cx:pt idx="5742">5</cx:pt>
          <cx:pt idx="5743">4</cx:pt>
          <cx:pt idx="5744">5</cx:pt>
          <cx:pt idx="5745">4</cx:pt>
          <cx:pt idx="5746">5</cx:pt>
          <cx:pt idx="5747">3</cx:pt>
          <cx:pt idx="5748">4</cx:pt>
          <cx:pt idx="5749">4</cx:pt>
          <cx:pt idx="5750">5</cx:pt>
          <cx:pt idx="5751">4</cx:pt>
          <cx:pt idx="5752">2</cx:pt>
          <cx:pt idx="5753">4</cx:pt>
          <cx:pt idx="5754">3</cx:pt>
          <cx:pt idx="5755">5</cx:pt>
          <cx:pt idx="5756">3</cx:pt>
          <cx:pt idx="5757">4</cx:pt>
          <cx:pt idx="5758">5</cx:pt>
          <cx:pt idx="5759">1</cx:pt>
          <cx:pt idx="5760">4</cx:pt>
          <cx:pt idx="5761">4</cx:pt>
          <cx:pt idx="5762">4</cx:pt>
          <cx:pt idx="5763">3</cx:pt>
          <cx:pt idx="5764">3</cx:pt>
          <cx:pt idx="5765">5</cx:pt>
          <cx:pt idx="5766">3</cx:pt>
          <cx:pt idx="5767">4</cx:pt>
          <cx:pt idx="5768">2</cx:pt>
          <cx:pt idx="5769">5</cx:pt>
          <cx:pt idx="5770">1</cx:pt>
          <cx:pt idx="5771">5</cx:pt>
          <cx:pt idx="5772">4</cx:pt>
          <cx:pt idx="5773">2</cx:pt>
          <cx:pt idx="5774">3</cx:pt>
          <cx:pt idx="5775">4</cx:pt>
          <cx:pt idx="5776">4</cx:pt>
          <cx:pt idx="5777">3</cx:pt>
          <cx:pt idx="5778">4</cx:pt>
          <cx:pt idx="5779">5</cx:pt>
          <cx:pt idx="5780">1</cx:pt>
          <cx:pt idx="5781">5</cx:pt>
          <cx:pt idx="5782">4</cx:pt>
          <cx:pt idx="5783">2</cx:pt>
          <cx:pt idx="5784">2</cx:pt>
          <cx:pt idx="5785">1</cx:pt>
          <cx:pt idx="5786">3</cx:pt>
          <cx:pt idx="5787">5</cx:pt>
          <cx:pt idx="5788">4</cx:pt>
          <cx:pt idx="5789">4</cx:pt>
          <cx:pt idx="5790">4</cx:pt>
          <cx:pt idx="5791">2</cx:pt>
          <cx:pt idx="5792">2</cx:pt>
          <cx:pt idx="5793">4</cx:pt>
          <cx:pt idx="5794">1</cx:pt>
          <cx:pt idx="5795">2</cx:pt>
          <cx:pt idx="5796">4</cx:pt>
          <cx:pt idx="5797">1</cx:pt>
          <cx:pt idx="5798">1</cx:pt>
          <cx:pt idx="5799">3</cx:pt>
          <cx:pt idx="5800">3</cx:pt>
          <cx:pt idx="5801">2</cx:pt>
          <cx:pt idx="5802">5</cx:pt>
          <cx:pt idx="5803">3</cx:pt>
          <cx:pt idx="5804">5</cx:pt>
          <cx:pt idx="5805">5</cx:pt>
          <cx:pt idx="5806">3</cx:pt>
          <cx:pt idx="5807">4</cx:pt>
          <cx:pt idx="5808">2</cx:pt>
          <cx:pt idx="5809">2</cx:pt>
          <cx:pt idx="5810">5</cx:pt>
          <cx:pt idx="5811">1</cx:pt>
          <cx:pt idx="5812">4</cx:pt>
          <cx:pt idx="5813">4</cx:pt>
          <cx:pt idx="5814">3</cx:pt>
          <cx:pt idx="5815">3</cx:pt>
          <cx:pt idx="5816">5</cx:pt>
          <cx:pt idx="5817">3</cx:pt>
          <cx:pt idx="5818">2</cx:pt>
          <cx:pt idx="5819">4</cx:pt>
          <cx:pt idx="5820">4</cx:pt>
          <cx:pt idx="5821">2</cx:pt>
          <cx:pt idx="5822">4</cx:pt>
          <cx:pt idx="5823">5</cx:pt>
          <cx:pt idx="5824">2</cx:pt>
          <cx:pt idx="5825">4</cx:pt>
          <cx:pt idx="5826">2</cx:pt>
          <cx:pt idx="5827">4</cx:pt>
          <cx:pt idx="5828">4</cx:pt>
          <cx:pt idx="5829">1</cx:pt>
          <cx:pt idx="5830">1</cx:pt>
          <cx:pt idx="5831">1</cx:pt>
          <cx:pt idx="5832">5</cx:pt>
          <cx:pt idx="5833">2</cx:pt>
          <cx:pt idx="5834">3</cx:pt>
          <cx:pt idx="5835">5</cx:pt>
          <cx:pt idx="5836">3</cx:pt>
          <cx:pt idx="5837">3</cx:pt>
          <cx:pt idx="5838">4</cx:pt>
          <cx:pt idx="5839">4</cx:pt>
          <cx:pt idx="5840">4</cx:pt>
          <cx:pt idx="5841">5</cx:pt>
          <cx:pt idx="5842">1</cx:pt>
          <cx:pt idx="5843">1</cx:pt>
          <cx:pt idx="5844">3</cx:pt>
          <cx:pt idx="5845">5</cx:pt>
          <cx:pt idx="5846">2</cx:pt>
          <cx:pt idx="5847">3</cx:pt>
          <cx:pt idx="5848">5</cx:pt>
          <cx:pt idx="5849">5</cx:pt>
          <cx:pt idx="5850">5</cx:pt>
          <cx:pt idx="5851">2</cx:pt>
          <cx:pt idx="5852">4</cx:pt>
          <cx:pt idx="5853">4</cx:pt>
          <cx:pt idx="5854">4</cx:pt>
          <cx:pt idx="5855">1</cx:pt>
          <cx:pt idx="5856">1</cx:pt>
          <cx:pt idx="5857">5</cx:pt>
          <cx:pt idx="5858">4</cx:pt>
          <cx:pt idx="5859">4</cx:pt>
          <cx:pt idx="5860">2</cx:pt>
          <cx:pt idx="5861">5</cx:pt>
          <cx:pt idx="5862">5</cx:pt>
          <cx:pt idx="5863">1</cx:pt>
          <cx:pt idx="5864">5</cx:pt>
          <cx:pt idx="5865">5</cx:pt>
          <cx:pt idx="5866">5</cx:pt>
          <cx:pt idx="5867">4</cx:pt>
          <cx:pt idx="5868">4</cx:pt>
          <cx:pt idx="5869">5</cx:pt>
          <cx:pt idx="5870">4</cx:pt>
          <cx:pt idx="5871">5</cx:pt>
          <cx:pt idx="5872">1</cx:pt>
          <cx:pt idx="5873">5</cx:pt>
          <cx:pt idx="5874">1</cx:pt>
          <cx:pt idx="5875">2</cx:pt>
          <cx:pt idx="5876">4</cx:pt>
          <cx:pt idx="5877">2</cx:pt>
          <cx:pt idx="5878">5</cx:pt>
          <cx:pt idx="5879">1</cx:pt>
          <cx:pt idx="5880">4</cx:pt>
          <cx:pt idx="5881">1</cx:pt>
          <cx:pt idx="5882">4</cx:pt>
          <cx:pt idx="5883">4</cx:pt>
          <cx:pt idx="5884">3</cx:pt>
          <cx:pt idx="5885">3</cx:pt>
          <cx:pt idx="5886">1</cx:pt>
          <cx:pt idx="5887">5</cx:pt>
          <cx:pt idx="5888">3</cx:pt>
          <cx:pt idx="5889">5</cx:pt>
          <cx:pt idx="5890">4</cx:pt>
          <cx:pt idx="5891">5</cx:pt>
          <cx:pt idx="5892">2</cx:pt>
          <cx:pt idx="5893">3</cx:pt>
          <cx:pt idx="5894">2</cx:pt>
          <cx:pt idx="5895">5</cx:pt>
          <cx:pt idx="5896">3</cx:pt>
          <cx:pt idx="5897">1</cx:pt>
          <cx:pt idx="5898">4</cx:pt>
          <cx:pt idx="5899">5</cx:pt>
          <cx:pt idx="5900">4</cx:pt>
          <cx:pt idx="5901">5</cx:pt>
          <cx:pt idx="5902">5</cx:pt>
          <cx:pt idx="5903">4</cx:pt>
          <cx:pt idx="5904">4</cx:pt>
          <cx:pt idx="5905">4</cx:pt>
          <cx:pt idx="5906">3</cx:pt>
          <cx:pt idx="5907">3</cx:pt>
          <cx:pt idx="5908">4</cx:pt>
          <cx:pt idx="5909">5</cx:pt>
          <cx:pt idx="5910">1</cx:pt>
          <cx:pt idx="5911">2</cx:pt>
          <cx:pt idx="5912">5</cx:pt>
          <cx:pt idx="5913">4</cx:pt>
          <cx:pt idx="5914">5</cx:pt>
          <cx:pt idx="5915">4</cx:pt>
          <cx:pt idx="5916">4</cx:pt>
          <cx:pt idx="5917">3</cx:pt>
          <cx:pt idx="5918">2</cx:pt>
          <cx:pt idx="5919">4</cx:pt>
          <cx:pt idx="5920">2</cx:pt>
          <cx:pt idx="5921">5</cx:pt>
          <cx:pt idx="5922">3</cx:pt>
          <cx:pt idx="5923">2</cx:pt>
          <cx:pt idx="5924">4</cx:pt>
          <cx:pt idx="5925">3</cx:pt>
          <cx:pt idx="5926">2</cx:pt>
          <cx:pt idx="5927">4</cx:pt>
          <cx:pt idx="5928">1</cx:pt>
          <cx:pt idx="5929">4</cx:pt>
          <cx:pt idx="5930">4</cx:pt>
          <cx:pt idx="5931">3</cx:pt>
          <cx:pt idx="5932">3</cx:pt>
          <cx:pt idx="5933">5</cx:pt>
          <cx:pt idx="5934">5</cx:pt>
          <cx:pt idx="5935">5</cx:pt>
          <cx:pt idx="5936">4</cx:pt>
          <cx:pt idx="5937">4</cx:pt>
          <cx:pt idx="5938">4</cx:pt>
          <cx:pt idx="5939">3</cx:pt>
          <cx:pt idx="5940">5</cx:pt>
          <cx:pt idx="5941">1</cx:pt>
          <cx:pt idx="5942">5</cx:pt>
          <cx:pt idx="5943">3</cx:pt>
          <cx:pt idx="5944">1</cx:pt>
          <cx:pt idx="5945">5</cx:pt>
          <cx:pt idx="5946">5</cx:pt>
          <cx:pt idx="5947">3</cx:pt>
          <cx:pt idx="5948">3</cx:pt>
          <cx:pt idx="5949">1</cx:pt>
          <cx:pt idx="5950">3</cx:pt>
          <cx:pt idx="5951">4</cx:pt>
          <cx:pt idx="5952">5</cx:pt>
          <cx:pt idx="5953">5</cx:pt>
          <cx:pt idx="5954">5</cx:pt>
          <cx:pt idx="5955">3</cx:pt>
          <cx:pt idx="5956">5</cx:pt>
          <cx:pt idx="5957">3</cx:pt>
          <cx:pt idx="5958">3</cx:pt>
          <cx:pt idx="5959">2</cx:pt>
          <cx:pt idx="5960">4</cx:pt>
          <cx:pt idx="5961">3</cx:pt>
          <cx:pt idx="5962">2</cx:pt>
          <cx:pt idx="5963">5</cx:pt>
          <cx:pt idx="5964">1</cx:pt>
          <cx:pt idx="5965">2</cx:pt>
          <cx:pt idx="5966">3</cx:pt>
          <cx:pt idx="5967">4</cx:pt>
          <cx:pt idx="5968">4</cx:pt>
          <cx:pt idx="5969">3</cx:pt>
          <cx:pt idx="5970">1</cx:pt>
          <cx:pt idx="5971">3</cx:pt>
          <cx:pt idx="5972">4</cx:pt>
          <cx:pt idx="5973">3</cx:pt>
          <cx:pt idx="5974">1</cx:pt>
          <cx:pt idx="5975">3</cx:pt>
          <cx:pt idx="5976">3</cx:pt>
          <cx:pt idx="5977">3</cx:pt>
          <cx:pt idx="5978">1</cx:pt>
          <cx:pt idx="5979">3</cx:pt>
          <cx:pt idx="5980">4</cx:pt>
          <cx:pt idx="5981">5</cx:pt>
          <cx:pt idx="5982">1</cx:pt>
          <cx:pt idx="5983">3</cx:pt>
          <cx:pt idx="5984">4</cx:pt>
          <cx:pt idx="5985">2</cx:pt>
          <cx:pt idx="5986">2</cx:pt>
          <cx:pt idx="5987">4</cx:pt>
          <cx:pt idx="5988">2</cx:pt>
          <cx:pt idx="5989">2</cx:pt>
          <cx:pt idx="5990">1</cx:pt>
          <cx:pt idx="5991">5</cx:pt>
          <cx:pt idx="5992">4</cx:pt>
          <cx:pt idx="5993">1</cx:pt>
          <cx:pt idx="5994">4</cx:pt>
          <cx:pt idx="5995">4</cx:pt>
          <cx:pt idx="5996">5</cx:pt>
          <cx:pt idx="5997">3</cx:pt>
          <cx:pt idx="5998">4</cx:pt>
          <cx:pt idx="5999">1</cx:pt>
          <cx:pt idx="6000">4</cx:pt>
          <cx:pt idx="6001">4</cx:pt>
          <cx:pt idx="6002">5</cx:pt>
          <cx:pt idx="6003">1</cx:pt>
          <cx:pt idx="6004">4</cx:pt>
          <cx:pt idx="6005">5</cx:pt>
          <cx:pt idx="6006">3</cx:pt>
          <cx:pt idx="6007">5</cx:pt>
          <cx:pt idx="6008">5</cx:pt>
          <cx:pt idx="6009">1</cx:pt>
          <cx:pt idx="6010">5</cx:pt>
          <cx:pt idx="6011">3</cx:pt>
          <cx:pt idx="6012">3</cx:pt>
          <cx:pt idx="6013">5</cx:pt>
          <cx:pt idx="6014">3</cx:pt>
          <cx:pt idx="6015">3</cx:pt>
          <cx:pt idx="6016">5</cx:pt>
          <cx:pt idx="6017">5</cx:pt>
          <cx:pt idx="6018">2</cx:pt>
          <cx:pt idx="6019">5</cx:pt>
          <cx:pt idx="6020">3</cx:pt>
          <cx:pt idx="6021">4</cx:pt>
          <cx:pt idx="6022">4</cx:pt>
          <cx:pt idx="6023">4</cx:pt>
          <cx:pt idx="6024">4</cx:pt>
          <cx:pt idx="6025">3</cx:pt>
          <cx:pt idx="6026">5</cx:pt>
          <cx:pt idx="6027">2</cx:pt>
          <cx:pt idx="6028">4</cx:pt>
          <cx:pt idx="6029">4</cx:pt>
          <cx:pt idx="6030">5</cx:pt>
          <cx:pt idx="6031">1</cx:pt>
          <cx:pt idx="6032">3</cx:pt>
          <cx:pt idx="6033">1</cx:pt>
          <cx:pt idx="6034">1</cx:pt>
          <cx:pt idx="6035">5</cx:pt>
          <cx:pt idx="6036">4</cx:pt>
          <cx:pt idx="6037">5</cx:pt>
          <cx:pt idx="6038">3</cx:pt>
          <cx:pt idx="6039">3</cx:pt>
          <cx:pt idx="6040">1</cx:pt>
          <cx:pt idx="6041">5</cx:pt>
          <cx:pt idx="6042">1</cx:pt>
          <cx:pt idx="6043">5</cx:pt>
          <cx:pt idx="6044">5</cx:pt>
          <cx:pt idx="6045">2</cx:pt>
          <cx:pt idx="6046">4</cx:pt>
          <cx:pt idx="6047">5</cx:pt>
          <cx:pt idx="6048">4</cx:pt>
          <cx:pt idx="6049">2</cx:pt>
          <cx:pt idx="6050">4</cx:pt>
          <cx:pt idx="6051">4</cx:pt>
          <cx:pt idx="6052">2</cx:pt>
          <cx:pt idx="6053">4</cx:pt>
          <cx:pt idx="6054">1</cx:pt>
          <cx:pt idx="6055">3</cx:pt>
          <cx:pt idx="6056">5</cx:pt>
          <cx:pt idx="6057">1</cx:pt>
          <cx:pt idx="6058">4</cx:pt>
          <cx:pt idx="6059">4</cx:pt>
          <cx:pt idx="6060">2</cx:pt>
          <cx:pt idx="6061">4</cx:pt>
          <cx:pt idx="6062">2</cx:pt>
          <cx:pt idx="6063">4</cx:pt>
          <cx:pt idx="6064">5</cx:pt>
          <cx:pt idx="6065">5</cx:pt>
          <cx:pt idx="6066">4</cx:pt>
          <cx:pt idx="6067">1</cx:pt>
          <cx:pt idx="6068">2</cx:pt>
          <cx:pt idx="6069">5</cx:pt>
          <cx:pt idx="6070">3</cx:pt>
          <cx:pt idx="6071">5</cx:pt>
          <cx:pt idx="6072">5</cx:pt>
          <cx:pt idx="6073">5</cx:pt>
          <cx:pt idx="6074">1</cx:pt>
          <cx:pt idx="6075">5</cx:pt>
          <cx:pt idx="6076">2</cx:pt>
          <cx:pt idx="6077">3</cx:pt>
          <cx:pt idx="6078">3</cx:pt>
          <cx:pt idx="6079">4</cx:pt>
          <cx:pt idx="6080">3</cx:pt>
          <cx:pt idx="6081">2</cx:pt>
          <cx:pt idx="6082">4</cx:pt>
          <cx:pt idx="6083">1</cx:pt>
          <cx:pt idx="6084">3</cx:pt>
          <cx:pt idx="6085">1</cx:pt>
          <cx:pt idx="6086">5</cx:pt>
          <cx:pt idx="6087">4</cx:pt>
          <cx:pt idx="6088">2</cx:pt>
          <cx:pt idx="6089">5</cx:pt>
          <cx:pt idx="6090">5</cx:pt>
          <cx:pt idx="6091">4</cx:pt>
          <cx:pt idx="6092">1</cx:pt>
          <cx:pt idx="6093">5</cx:pt>
          <cx:pt idx="6094">3</cx:pt>
          <cx:pt idx="6095">5</cx:pt>
          <cx:pt idx="6096">5</cx:pt>
          <cx:pt idx="6097">4</cx:pt>
          <cx:pt idx="6098">1</cx:pt>
          <cx:pt idx="6099">3</cx:pt>
          <cx:pt idx="6100">2</cx:pt>
          <cx:pt idx="6101">5</cx:pt>
          <cx:pt idx="6102">2</cx:pt>
          <cx:pt idx="6103">2</cx:pt>
          <cx:pt idx="6104">3</cx:pt>
          <cx:pt idx="6105">4</cx:pt>
          <cx:pt idx="6106">5</cx:pt>
          <cx:pt idx="6107">4</cx:pt>
          <cx:pt idx="6108">4</cx:pt>
          <cx:pt idx="6109">1</cx:pt>
          <cx:pt idx="6110">3</cx:pt>
          <cx:pt idx="6111">1</cx:pt>
          <cx:pt idx="6112">1</cx:pt>
          <cx:pt idx="6113">1</cx:pt>
          <cx:pt idx="6114">1</cx:pt>
          <cx:pt idx="6115">3</cx:pt>
          <cx:pt idx="6116">3</cx:pt>
          <cx:pt idx="6117">2</cx:pt>
          <cx:pt idx="6118">2</cx:pt>
          <cx:pt idx="6119">5</cx:pt>
          <cx:pt idx="6120">4</cx:pt>
          <cx:pt idx="6121">2</cx:pt>
          <cx:pt idx="6122">3</cx:pt>
          <cx:pt idx="6123">5</cx:pt>
          <cx:pt idx="6124">1</cx:pt>
          <cx:pt idx="6125">2</cx:pt>
          <cx:pt idx="6126">4</cx:pt>
          <cx:pt idx="6127">2</cx:pt>
          <cx:pt idx="6128">5</cx:pt>
          <cx:pt idx="6129">5</cx:pt>
          <cx:pt idx="6130">2</cx:pt>
          <cx:pt idx="6131">1</cx:pt>
          <cx:pt idx="6132">2</cx:pt>
          <cx:pt idx="6133">5</cx:pt>
          <cx:pt idx="6134">2</cx:pt>
          <cx:pt idx="6135">1</cx:pt>
          <cx:pt idx="6136">1</cx:pt>
          <cx:pt idx="6137">3</cx:pt>
          <cx:pt idx="6138">5</cx:pt>
          <cx:pt idx="6139">5</cx:pt>
          <cx:pt idx="6140">2</cx:pt>
          <cx:pt idx="6141">4</cx:pt>
          <cx:pt idx="6142">4</cx:pt>
          <cx:pt idx="6143">5</cx:pt>
          <cx:pt idx="6144">5</cx:pt>
          <cx:pt idx="6145">5</cx:pt>
          <cx:pt idx="6146">1</cx:pt>
          <cx:pt idx="6147">1</cx:pt>
          <cx:pt idx="6148">1</cx:pt>
          <cx:pt idx="6149">5</cx:pt>
          <cx:pt idx="6150">2</cx:pt>
          <cx:pt idx="6151">1</cx:pt>
          <cx:pt idx="6152">4</cx:pt>
          <cx:pt idx="6153">4</cx:pt>
          <cx:pt idx="6154">4</cx:pt>
          <cx:pt idx="6155">5</cx:pt>
          <cx:pt idx="6156">3</cx:pt>
          <cx:pt idx="6157">1</cx:pt>
          <cx:pt idx="6158">4</cx:pt>
          <cx:pt idx="6159">2</cx:pt>
          <cx:pt idx="6160">4</cx:pt>
          <cx:pt idx="6161">3</cx:pt>
          <cx:pt idx="6162">4</cx:pt>
          <cx:pt idx="6163">2</cx:pt>
          <cx:pt idx="6164">5</cx:pt>
          <cx:pt idx="6165">3</cx:pt>
          <cx:pt idx="6166">4</cx:pt>
          <cx:pt idx="6167">5</cx:pt>
          <cx:pt idx="6168">1</cx:pt>
          <cx:pt idx="6169">2</cx:pt>
          <cx:pt idx="6170">5</cx:pt>
          <cx:pt idx="6171">4</cx:pt>
          <cx:pt idx="6172">5</cx:pt>
          <cx:pt idx="6173">4</cx:pt>
          <cx:pt idx="6174">5</cx:pt>
          <cx:pt idx="6175">5</cx:pt>
          <cx:pt idx="6176">4</cx:pt>
          <cx:pt idx="6177">5</cx:pt>
          <cx:pt idx="6178">3</cx:pt>
          <cx:pt idx="6179">5</cx:pt>
          <cx:pt idx="6180">4</cx:pt>
          <cx:pt idx="6181">1</cx:pt>
          <cx:pt idx="6182">5</cx:pt>
          <cx:pt idx="6183">1</cx:pt>
          <cx:pt idx="6184">3</cx:pt>
          <cx:pt idx="6185">5</cx:pt>
          <cx:pt idx="6186">3</cx:pt>
          <cx:pt idx="6187">5</cx:pt>
          <cx:pt idx="6188">4</cx:pt>
          <cx:pt idx="6189">5</cx:pt>
          <cx:pt idx="6190">5</cx:pt>
          <cx:pt idx="6191">1</cx:pt>
          <cx:pt idx="6192">4</cx:pt>
          <cx:pt idx="6193">4</cx:pt>
          <cx:pt idx="6194">4</cx:pt>
          <cx:pt idx="6195">4</cx:pt>
          <cx:pt idx="6196">4</cx:pt>
          <cx:pt idx="6197">5</cx:pt>
          <cx:pt idx="6198">4</cx:pt>
          <cx:pt idx="6199">4</cx:pt>
          <cx:pt idx="6200">5</cx:pt>
          <cx:pt idx="6201">4</cx:pt>
          <cx:pt idx="6202">5</cx:pt>
          <cx:pt idx="6203">5</cx:pt>
          <cx:pt idx="6204">5</cx:pt>
          <cx:pt idx="6205">4</cx:pt>
          <cx:pt idx="6206">4</cx:pt>
          <cx:pt idx="6207">2</cx:pt>
          <cx:pt idx="6208">4</cx:pt>
          <cx:pt idx="6209">3</cx:pt>
          <cx:pt idx="6210">4</cx:pt>
          <cx:pt idx="6211">4</cx:pt>
          <cx:pt idx="6212">3</cx:pt>
          <cx:pt idx="6213">4</cx:pt>
          <cx:pt idx="6214">2</cx:pt>
          <cx:pt idx="6215">2</cx:pt>
          <cx:pt idx="6216">5</cx:pt>
          <cx:pt idx="6217">2</cx:pt>
          <cx:pt idx="6218">3</cx:pt>
          <cx:pt idx="6219">5</cx:pt>
          <cx:pt idx="6220">4</cx:pt>
          <cx:pt idx="6221">1</cx:pt>
          <cx:pt idx="6222">4</cx:pt>
          <cx:pt idx="6223">4</cx:pt>
          <cx:pt idx="6224">4</cx:pt>
          <cx:pt idx="6225">4</cx:pt>
          <cx:pt idx="6226">2</cx:pt>
          <cx:pt idx="6227">2</cx:pt>
          <cx:pt idx="6228">5</cx:pt>
          <cx:pt idx="6229">1</cx:pt>
          <cx:pt idx="6230">2</cx:pt>
          <cx:pt idx="6231">1</cx:pt>
          <cx:pt idx="6232">5</cx:pt>
          <cx:pt idx="6233">5</cx:pt>
          <cx:pt idx="6234">4</cx:pt>
          <cx:pt idx="6235">5</cx:pt>
          <cx:pt idx="6236">3</cx:pt>
          <cx:pt idx="6237">3</cx:pt>
          <cx:pt idx="6238">4</cx:pt>
          <cx:pt idx="6239">4</cx:pt>
          <cx:pt idx="6240">4</cx:pt>
          <cx:pt idx="6241">3</cx:pt>
          <cx:pt idx="6242">5</cx:pt>
          <cx:pt idx="6243">5</cx:pt>
          <cx:pt idx="6244">4</cx:pt>
          <cx:pt idx="6245">1</cx:pt>
          <cx:pt idx="6246">1</cx:pt>
          <cx:pt idx="6247">3</cx:pt>
          <cx:pt idx="6248">3</cx:pt>
          <cx:pt idx="6249">4</cx:pt>
          <cx:pt idx="6250">4</cx:pt>
          <cx:pt idx="6251">5</cx:pt>
          <cx:pt idx="6252">3</cx:pt>
          <cx:pt idx="6253">2</cx:pt>
          <cx:pt idx="6254">5</cx:pt>
          <cx:pt idx="6255">3</cx:pt>
          <cx:pt idx="6256">2</cx:pt>
          <cx:pt idx="6257">4</cx:pt>
          <cx:pt idx="6258">5</cx:pt>
          <cx:pt idx="6259">5</cx:pt>
          <cx:pt idx="6260">4</cx:pt>
          <cx:pt idx="6261">3</cx:pt>
          <cx:pt idx="6262">4</cx:pt>
          <cx:pt idx="6263">2</cx:pt>
          <cx:pt idx="6264">5</cx:pt>
          <cx:pt idx="6265">3</cx:pt>
          <cx:pt idx="6266">4</cx:pt>
          <cx:pt idx="6267">1</cx:pt>
          <cx:pt idx="6268">5</cx:pt>
          <cx:pt idx="6269">5</cx:pt>
          <cx:pt idx="6270">3</cx:pt>
          <cx:pt idx="6271">3</cx:pt>
          <cx:pt idx="6272">4</cx:pt>
          <cx:pt idx="6273">5</cx:pt>
          <cx:pt idx="6274">2</cx:pt>
          <cx:pt idx="6275">1</cx:pt>
          <cx:pt idx="6276">1</cx:pt>
          <cx:pt idx="6277">5</cx:pt>
          <cx:pt idx="6278">2</cx:pt>
          <cx:pt idx="6279">5</cx:pt>
          <cx:pt idx="6280">4</cx:pt>
          <cx:pt idx="6281">4</cx:pt>
          <cx:pt idx="6282">3</cx:pt>
          <cx:pt idx="6283">5</cx:pt>
          <cx:pt idx="6284">4</cx:pt>
          <cx:pt idx="6285">1</cx:pt>
          <cx:pt idx="6286">4</cx:pt>
          <cx:pt idx="6287">2</cx:pt>
          <cx:pt idx="6288">4</cx:pt>
          <cx:pt idx="6289">5</cx:pt>
          <cx:pt idx="6290">5</cx:pt>
          <cx:pt idx="6291">4</cx:pt>
          <cx:pt idx="6292">4</cx:pt>
          <cx:pt idx="6293">3</cx:pt>
          <cx:pt idx="6294">1</cx:pt>
          <cx:pt idx="6295">1</cx:pt>
          <cx:pt idx="6296">4</cx:pt>
          <cx:pt idx="6297">5</cx:pt>
          <cx:pt idx="6298">4</cx:pt>
          <cx:pt idx="6299">4</cx:pt>
          <cx:pt idx="6300">4</cx:pt>
          <cx:pt idx="6301">4</cx:pt>
          <cx:pt idx="6302">4</cx:pt>
          <cx:pt idx="6303">4</cx:pt>
          <cx:pt idx="6304">1</cx:pt>
          <cx:pt idx="6305">3</cx:pt>
          <cx:pt idx="6306">1</cx:pt>
          <cx:pt idx="6307">2</cx:pt>
          <cx:pt idx="6308">5</cx:pt>
          <cx:pt idx="6309">2</cx:pt>
          <cx:pt idx="6310">2</cx:pt>
          <cx:pt idx="6311">3</cx:pt>
          <cx:pt idx="6312">2</cx:pt>
          <cx:pt idx="6313">5</cx:pt>
          <cx:pt idx="6314">2</cx:pt>
          <cx:pt idx="6315">1</cx:pt>
          <cx:pt idx="6316">5</cx:pt>
          <cx:pt idx="6317">5</cx:pt>
          <cx:pt idx="6318">5</cx:pt>
          <cx:pt idx="6319">1</cx:pt>
          <cx:pt idx="6320">3</cx:pt>
          <cx:pt idx="6321">1</cx:pt>
          <cx:pt idx="6322">5</cx:pt>
          <cx:pt idx="6323">5</cx:pt>
          <cx:pt idx="6324">5</cx:pt>
          <cx:pt idx="6325">3</cx:pt>
          <cx:pt idx="6326">4</cx:pt>
          <cx:pt idx="6327">3</cx:pt>
          <cx:pt idx="6328">4</cx:pt>
          <cx:pt idx="6329">2</cx:pt>
          <cx:pt idx="6330">2</cx:pt>
          <cx:pt idx="6331">4</cx:pt>
          <cx:pt idx="6332">5</cx:pt>
          <cx:pt idx="6333">4</cx:pt>
          <cx:pt idx="6334">4</cx:pt>
          <cx:pt idx="6335">4</cx:pt>
          <cx:pt idx="6336">3</cx:pt>
          <cx:pt idx="6337">3</cx:pt>
          <cx:pt idx="6338">1</cx:pt>
          <cx:pt idx="6339">4</cx:pt>
          <cx:pt idx="6340">4</cx:pt>
          <cx:pt idx="6341">4</cx:pt>
          <cx:pt idx="6342">3</cx:pt>
          <cx:pt idx="6343">2</cx:pt>
          <cx:pt idx="6344">4</cx:pt>
          <cx:pt idx="6345">1</cx:pt>
          <cx:pt idx="6346">3</cx:pt>
          <cx:pt idx="6347">4</cx:pt>
          <cx:pt idx="6348">4</cx:pt>
          <cx:pt idx="6349">4</cx:pt>
          <cx:pt idx="6350">5</cx:pt>
          <cx:pt idx="6351">4</cx:pt>
          <cx:pt idx="6352">1</cx:pt>
          <cx:pt idx="6353">4</cx:pt>
          <cx:pt idx="6354">3</cx:pt>
          <cx:pt idx="6355">4</cx:pt>
          <cx:pt idx="6356">5</cx:pt>
          <cx:pt idx="6357">3</cx:pt>
          <cx:pt idx="6358">5</cx:pt>
          <cx:pt idx="6359">3</cx:pt>
          <cx:pt idx="6360">4</cx:pt>
          <cx:pt idx="6361">2</cx:pt>
          <cx:pt idx="6362">4</cx:pt>
          <cx:pt idx="6363">2</cx:pt>
          <cx:pt idx="6364">3</cx:pt>
          <cx:pt idx="6365">5</cx:pt>
          <cx:pt idx="6366">3</cx:pt>
          <cx:pt idx="6367">5</cx:pt>
          <cx:pt idx="6368">5</cx:pt>
          <cx:pt idx="6369">5</cx:pt>
          <cx:pt idx="6370">2</cx:pt>
          <cx:pt idx="6371">4</cx:pt>
          <cx:pt idx="6372">1</cx:pt>
          <cx:pt idx="6373">1</cx:pt>
          <cx:pt idx="6374">4</cx:pt>
          <cx:pt idx="6375">5</cx:pt>
          <cx:pt idx="6376">1</cx:pt>
          <cx:pt idx="6377">3</cx:pt>
          <cx:pt idx="6378">3</cx:pt>
          <cx:pt idx="6379">3</cx:pt>
          <cx:pt idx="6380">1</cx:pt>
          <cx:pt idx="6381">3</cx:pt>
          <cx:pt idx="6382">2</cx:pt>
          <cx:pt idx="6383">3</cx:pt>
          <cx:pt idx="6384">5</cx:pt>
          <cx:pt idx="6385">4</cx:pt>
          <cx:pt idx="6386">4</cx:pt>
          <cx:pt idx="6387">3</cx:pt>
          <cx:pt idx="6388">2</cx:pt>
          <cx:pt idx="6389">5</cx:pt>
          <cx:pt idx="6390">4</cx:pt>
          <cx:pt idx="6391">5</cx:pt>
          <cx:pt idx="6392">3</cx:pt>
          <cx:pt idx="6393">5</cx:pt>
          <cx:pt idx="6394">2</cx:pt>
          <cx:pt idx="6395">5</cx:pt>
          <cx:pt idx="6396">4</cx:pt>
          <cx:pt idx="6397">3</cx:pt>
          <cx:pt idx="6398">4</cx:pt>
          <cx:pt idx="6399">2</cx:pt>
          <cx:pt idx="6400">4</cx:pt>
          <cx:pt idx="6401">4</cx:pt>
          <cx:pt idx="6402">4</cx:pt>
          <cx:pt idx="6403">4</cx:pt>
          <cx:pt idx="6404">4</cx:pt>
          <cx:pt idx="6405">1</cx:pt>
          <cx:pt idx="6406">4</cx:pt>
          <cx:pt idx="6407">5</cx:pt>
          <cx:pt idx="6408">4</cx:pt>
          <cx:pt idx="6409">4</cx:pt>
          <cx:pt idx="6410">3</cx:pt>
          <cx:pt idx="6411">1</cx:pt>
          <cx:pt idx="6412">5</cx:pt>
          <cx:pt idx="6413">5</cx:pt>
          <cx:pt idx="6414">2</cx:pt>
          <cx:pt idx="6415">3</cx:pt>
          <cx:pt idx="6416">2</cx:pt>
          <cx:pt idx="6417">1</cx:pt>
          <cx:pt idx="6418">5</cx:pt>
          <cx:pt idx="6419">5</cx:pt>
          <cx:pt idx="6420">5</cx:pt>
          <cx:pt idx="6421">4</cx:pt>
          <cx:pt idx="6422">2</cx:pt>
          <cx:pt idx="6423">4</cx:pt>
          <cx:pt idx="6424">1</cx:pt>
          <cx:pt idx="6425">4</cx:pt>
          <cx:pt idx="6426">3</cx:pt>
          <cx:pt idx="6427">1</cx:pt>
          <cx:pt idx="6428">3</cx:pt>
          <cx:pt idx="6429">3</cx:pt>
          <cx:pt idx="6430">3</cx:pt>
          <cx:pt idx="6431">2</cx:pt>
          <cx:pt idx="6432">5</cx:pt>
          <cx:pt idx="6433">2</cx:pt>
          <cx:pt idx="6434">5</cx:pt>
          <cx:pt idx="6435">4</cx:pt>
          <cx:pt idx="6436">3</cx:pt>
          <cx:pt idx="6437">4</cx:pt>
          <cx:pt idx="6438">4</cx:pt>
          <cx:pt idx="6439">2</cx:pt>
          <cx:pt idx="6440">4</cx:pt>
          <cx:pt idx="6441">5</cx:pt>
          <cx:pt idx="6442">3</cx:pt>
          <cx:pt idx="6443">4</cx:pt>
          <cx:pt idx="6444">3</cx:pt>
          <cx:pt idx="6445">3</cx:pt>
          <cx:pt idx="6446">4</cx:pt>
          <cx:pt idx="6447">1</cx:pt>
          <cx:pt idx="6448">3</cx:pt>
          <cx:pt idx="6449">5</cx:pt>
          <cx:pt idx="6450">3</cx:pt>
          <cx:pt idx="6451">4</cx:pt>
          <cx:pt idx="6452">5</cx:pt>
          <cx:pt idx="6453">5</cx:pt>
          <cx:pt idx="6454">2</cx:pt>
          <cx:pt idx="6455">2</cx:pt>
          <cx:pt idx="6456">4</cx:pt>
          <cx:pt idx="6457">3</cx:pt>
          <cx:pt idx="6458">4</cx:pt>
          <cx:pt idx="6459">5</cx:pt>
          <cx:pt idx="6460">4</cx:pt>
          <cx:pt idx="6461">3</cx:pt>
          <cx:pt idx="6462">2</cx:pt>
          <cx:pt idx="6463">1</cx:pt>
          <cx:pt idx="6464">4</cx:pt>
          <cx:pt idx="6465">2</cx:pt>
          <cx:pt idx="6466">1</cx:pt>
          <cx:pt idx="6467">1</cx:pt>
          <cx:pt idx="6468">5</cx:pt>
          <cx:pt idx="6469">2</cx:pt>
          <cx:pt idx="6470">5</cx:pt>
          <cx:pt idx="6471">5</cx:pt>
          <cx:pt idx="6472">4</cx:pt>
          <cx:pt idx="6473">5</cx:pt>
          <cx:pt idx="6474">5</cx:pt>
          <cx:pt idx="6475">5</cx:pt>
          <cx:pt idx="6476">4</cx:pt>
          <cx:pt idx="6477">5</cx:pt>
          <cx:pt idx="6478">3</cx:pt>
          <cx:pt idx="6479">2</cx:pt>
          <cx:pt idx="6480">5</cx:pt>
          <cx:pt idx="6481">4</cx:pt>
          <cx:pt idx="6482">3</cx:pt>
          <cx:pt idx="6483">4</cx:pt>
          <cx:pt idx="6484">1</cx:pt>
          <cx:pt idx="6485">4</cx:pt>
          <cx:pt idx="6486">4</cx:pt>
          <cx:pt idx="6487">5</cx:pt>
          <cx:pt idx="6488">5</cx:pt>
          <cx:pt idx="6489">4</cx:pt>
          <cx:pt idx="6490">3</cx:pt>
          <cx:pt idx="6491">2</cx:pt>
          <cx:pt idx="6492">2</cx:pt>
          <cx:pt idx="6493">4</cx:pt>
          <cx:pt idx="6494">5</cx:pt>
          <cx:pt idx="6495">5</cx:pt>
          <cx:pt idx="6496">4</cx:pt>
          <cx:pt idx="6497">4</cx:pt>
          <cx:pt idx="6498">3</cx:pt>
          <cx:pt idx="6499">4</cx:pt>
          <cx:pt idx="6500">1</cx:pt>
          <cx:pt idx="6501">4</cx:pt>
          <cx:pt idx="6502">5</cx:pt>
          <cx:pt idx="6503">3</cx:pt>
          <cx:pt idx="6504">3</cx:pt>
          <cx:pt idx="6505">3</cx:pt>
          <cx:pt idx="6506">1</cx:pt>
          <cx:pt idx="6507">3</cx:pt>
          <cx:pt idx="6508">4</cx:pt>
          <cx:pt idx="6509">2</cx:pt>
          <cx:pt idx="6510">3</cx:pt>
          <cx:pt idx="6511">2</cx:pt>
          <cx:pt idx="6512">3</cx:pt>
          <cx:pt idx="6513">1</cx:pt>
          <cx:pt idx="6514">5</cx:pt>
          <cx:pt idx="6515">5</cx:pt>
          <cx:pt idx="6516">4</cx:pt>
          <cx:pt idx="6517">4</cx:pt>
          <cx:pt idx="6518">2</cx:pt>
          <cx:pt idx="6519">5</cx:pt>
          <cx:pt idx="6520">5</cx:pt>
          <cx:pt idx="6521">3</cx:pt>
          <cx:pt idx="6522">4</cx:pt>
          <cx:pt idx="6523">4</cx:pt>
          <cx:pt idx="6524">4</cx:pt>
          <cx:pt idx="6525">4</cx:pt>
          <cx:pt idx="6526">1</cx:pt>
          <cx:pt idx="6527">5</cx:pt>
          <cx:pt idx="6528">3</cx:pt>
          <cx:pt idx="6529">2</cx:pt>
          <cx:pt idx="6530">4</cx:pt>
          <cx:pt idx="6531">4</cx:pt>
          <cx:pt idx="6532">4</cx:pt>
          <cx:pt idx="6533">4</cx:pt>
          <cx:pt idx="6534">4</cx:pt>
          <cx:pt idx="6535">4</cx:pt>
          <cx:pt idx="6536">4</cx:pt>
          <cx:pt idx="6537">5</cx:pt>
          <cx:pt idx="6538">4</cx:pt>
          <cx:pt idx="6539">4</cx:pt>
          <cx:pt idx="6540">3</cx:pt>
          <cx:pt idx="6541">4</cx:pt>
          <cx:pt idx="6542">5</cx:pt>
          <cx:pt idx="6543">2</cx:pt>
          <cx:pt idx="6544">3</cx:pt>
          <cx:pt idx="6545">4</cx:pt>
          <cx:pt idx="6546">4</cx:pt>
          <cx:pt idx="6547">1</cx:pt>
          <cx:pt idx="6548">5</cx:pt>
          <cx:pt idx="6549">4</cx:pt>
          <cx:pt idx="6550">1</cx:pt>
          <cx:pt idx="6551">1</cx:pt>
          <cx:pt idx="6552">4</cx:pt>
          <cx:pt idx="6553">4</cx:pt>
          <cx:pt idx="6554">4</cx:pt>
          <cx:pt idx="6555">3</cx:pt>
          <cx:pt idx="6556">4</cx:pt>
          <cx:pt idx="6557">3</cx:pt>
          <cx:pt idx="6558">4</cx:pt>
          <cx:pt idx="6559">5</cx:pt>
          <cx:pt idx="6560">2</cx:pt>
          <cx:pt idx="6561">3</cx:pt>
          <cx:pt idx="6562">2</cx:pt>
          <cx:pt idx="6563">4</cx:pt>
          <cx:pt idx="6564">5</cx:pt>
          <cx:pt idx="6565">1</cx:pt>
          <cx:pt idx="6566">3</cx:pt>
          <cx:pt idx="6567">4</cx:pt>
          <cx:pt idx="6568">5</cx:pt>
          <cx:pt idx="6569">4</cx:pt>
          <cx:pt idx="6570">2</cx:pt>
          <cx:pt idx="6571">1</cx:pt>
          <cx:pt idx="6572">1</cx:pt>
          <cx:pt idx="6573">5</cx:pt>
          <cx:pt idx="6574">1</cx:pt>
          <cx:pt idx="6575">5</cx:pt>
          <cx:pt idx="6576">3</cx:pt>
          <cx:pt idx="6577">4</cx:pt>
          <cx:pt idx="6578">2</cx:pt>
          <cx:pt idx="6579">3</cx:pt>
          <cx:pt idx="6580">0</cx:pt>
          <cx:pt idx="6581">1</cx:pt>
          <cx:pt idx="6582">5</cx:pt>
          <cx:pt idx="6583">4</cx:pt>
          <cx:pt idx="6584">5</cx:pt>
          <cx:pt idx="6585">1</cx:pt>
          <cx:pt idx="6586">2</cx:pt>
          <cx:pt idx="6587">3</cx:pt>
          <cx:pt idx="6588">2</cx:pt>
          <cx:pt idx="6589">5</cx:pt>
          <cx:pt idx="6590">2</cx:pt>
          <cx:pt idx="6591">5</cx:pt>
          <cx:pt idx="6592">5</cx:pt>
          <cx:pt idx="6593">1</cx:pt>
          <cx:pt idx="6594">4</cx:pt>
          <cx:pt idx="6595">3</cx:pt>
          <cx:pt idx="6596">4</cx:pt>
          <cx:pt idx="6597">5</cx:pt>
          <cx:pt idx="6598">1</cx:pt>
          <cx:pt idx="6599">5</cx:pt>
          <cx:pt idx="6600">1</cx:pt>
          <cx:pt idx="6601">3</cx:pt>
          <cx:pt idx="6602">3</cx:pt>
          <cx:pt idx="6603">4</cx:pt>
          <cx:pt idx="6604">5</cx:pt>
          <cx:pt idx="6605">1</cx:pt>
          <cx:pt idx="6606">1</cx:pt>
          <cx:pt idx="6607">3</cx:pt>
          <cx:pt idx="6608">5</cx:pt>
          <cx:pt idx="6609">3</cx:pt>
          <cx:pt idx="6610">2</cx:pt>
          <cx:pt idx="6611">5</cx:pt>
          <cx:pt idx="6612">4</cx:pt>
          <cx:pt idx="6613">4</cx:pt>
          <cx:pt idx="6614">4</cx:pt>
          <cx:pt idx="6615">4</cx:pt>
          <cx:pt idx="6616">2</cx:pt>
          <cx:pt idx="6617">3</cx:pt>
          <cx:pt idx="6618">3</cx:pt>
          <cx:pt idx="6619">5</cx:pt>
          <cx:pt idx="6620">5</cx:pt>
          <cx:pt idx="6621">5</cx:pt>
          <cx:pt idx="6622">5</cx:pt>
          <cx:pt idx="6623">1</cx:pt>
          <cx:pt idx="6624">5</cx:pt>
          <cx:pt idx="6625">1</cx:pt>
          <cx:pt idx="6626">4</cx:pt>
          <cx:pt idx="6627">3</cx:pt>
          <cx:pt idx="6628">3</cx:pt>
          <cx:pt idx="6629">4</cx:pt>
          <cx:pt idx="6630">4</cx:pt>
          <cx:pt idx="6631">5</cx:pt>
          <cx:pt idx="6632">5</cx:pt>
          <cx:pt idx="6633">5</cx:pt>
          <cx:pt idx="6634">4</cx:pt>
          <cx:pt idx="6635">5</cx:pt>
          <cx:pt idx="6636">2</cx:pt>
          <cx:pt idx="6637">4</cx:pt>
          <cx:pt idx="6638">4</cx:pt>
          <cx:pt idx="6639">4</cx:pt>
          <cx:pt idx="6640">3</cx:pt>
          <cx:pt idx="6641">1</cx:pt>
          <cx:pt idx="6642">4</cx:pt>
          <cx:pt idx="6643">4</cx:pt>
          <cx:pt idx="6644">4</cx:pt>
          <cx:pt idx="6645">1</cx:pt>
          <cx:pt idx="6646">3</cx:pt>
          <cx:pt idx="6647">5</cx:pt>
          <cx:pt idx="6648">4</cx:pt>
          <cx:pt idx="6649">3</cx:pt>
          <cx:pt idx="6650">2</cx:pt>
          <cx:pt idx="6651">1</cx:pt>
          <cx:pt idx="6652">4</cx:pt>
          <cx:pt idx="6653">5</cx:pt>
          <cx:pt idx="6654">5</cx:pt>
          <cx:pt idx="6655">4</cx:pt>
          <cx:pt idx="6656">4</cx:pt>
          <cx:pt idx="6657">1</cx:pt>
          <cx:pt idx="6658">4</cx:pt>
          <cx:pt idx="6659">5</cx:pt>
          <cx:pt idx="6660">4</cx:pt>
          <cx:pt idx="6661">2</cx:pt>
          <cx:pt idx="6662">4</cx:pt>
          <cx:pt idx="6663">4</cx:pt>
          <cx:pt idx="6664">4</cx:pt>
          <cx:pt idx="6665">4</cx:pt>
          <cx:pt idx="6666">1</cx:pt>
          <cx:pt idx="6667">3</cx:pt>
          <cx:pt idx="6668">5</cx:pt>
          <cx:pt idx="6669">3</cx:pt>
          <cx:pt idx="6670">5</cx:pt>
          <cx:pt idx="6671">4</cx:pt>
          <cx:pt idx="6672">3</cx:pt>
          <cx:pt idx="6673">5</cx:pt>
          <cx:pt idx="6674">3</cx:pt>
          <cx:pt idx="6675">5</cx:pt>
          <cx:pt idx="6676">2</cx:pt>
          <cx:pt idx="6677">3</cx:pt>
          <cx:pt idx="6678">4</cx:pt>
          <cx:pt idx="6679">1</cx:pt>
          <cx:pt idx="6680">4</cx:pt>
          <cx:pt idx="6681">5</cx:pt>
          <cx:pt idx="6682">4</cx:pt>
          <cx:pt idx="6683">5</cx:pt>
          <cx:pt idx="6684">2</cx:pt>
          <cx:pt idx="6685">5</cx:pt>
          <cx:pt idx="6686">4</cx:pt>
          <cx:pt idx="6687">3</cx:pt>
          <cx:pt idx="6688">2</cx:pt>
          <cx:pt idx="6689">4</cx:pt>
          <cx:pt idx="6690">4</cx:pt>
          <cx:pt idx="6691">4</cx:pt>
          <cx:pt idx="6692">4</cx:pt>
          <cx:pt idx="6693">2</cx:pt>
          <cx:pt idx="6694">5</cx:pt>
          <cx:pt idx="6695">3</cx:pt>
          <cx:pt idx="6696">5</cx:pt>
          <cx:pt idx="6697">4</cx:pt>
          <cx:pt idx="6698">2</cx:pt>
          <cx:pt idx="6699">3</cx:pt>
          <cx:pt idx="6700">4</cx:pt>
          <cx:pt idx="6701">2</cx:pt>
          <cx:pt idx="6702">2</cx:pt>
          <cx:pt idx="6703">1</cx:pt>
          <cx:pt idx="6704">5</cx:pt>
          <cx:pt idx="6705">5</cx:pt>
          <cx:pt idx="6706">4</cx:pt>
          <cx:pt idx="6707">4</cx:pt>
          <cx:pt idx="6708">4</cx:pt>
          <cx:pt idx="6709">4</cx:pt>
          <cx:pt idx="6710">5</cx:pt>
          <cx:pt idx="6711">2</cx:pt>
          <cx:pt idx="6712">1</cx:pt>
          <cx:pt idx="6713">5</cx:pt>
          <cx:pt idx="6714">5</cx:pt>
          <cx:pt idx="6715">5</cx:pt>
          <cx:pt idx="6716">2</cx:pt>
          <cx:pt idx="6717">4</cx:pt>
          <cx:pt idx="6718">4</cx:pt>
          <cx:pt idx="6719">5</cx:pt>
          <cx:pt idx="6720">4</cx:pt>
          <cx:pt idx="6721">3</cx:pt>
          <cx:pt idx="6722">2</cx:pt>
          <cx:pt idx="6723">4</cx:pt>
          <cx:pt idx="6724">4</cx:pt>
          <cx:pt idx="6725">2</cx:pt>
          <cx:pt idx="6726">5</cx:pt>
          <cx:pt idx="6727">3</cx:pt>
          <cx:pt idx="6728">2</cx:pt>
          <cx:pt idx="6729">2</cx:pt>
          <cx:pt idx="6730">3</cx:pt>
          <cx:pt idx="6731">3</cx:pt>
          <cx:pt idx="6732">5</cx:pt>
          <cx:pt idx="6733">4</cx:pt>
          <cx:pt idx="6734">5</cx:pt>
          <cx:pt idx="6735">4</cx:pt>
          <cx:pt idx="6736">2</cx:pt>
          <cx:pt idx="6737">3</cx:pt>
          <cx:pt idx="6738">4</cx:pt>
          <cx:pt idx="6739">5</cx:pt>
          <cx:pt idx="6740">4</cx:pt>
          <cx:pt idx="6741">5</cx:pt>
          <cx:pt idx="6742">4</cx:pt>
          <cx:pt idx="6743">2</cx:pt>
          <cx:pt idx="6744">5</cx:pt>
          <cx:pt idx="6745">4</cx:pt>
          <cx:pt idx="6746">3</cx:pt>
          <cx:pt idx="6747">3</cx:pt>
          <cx:pt idx="6748">5</cx:pt>
          <cx:pt idx="6749">5</cx:pt>
          <cx:pt idx="6750">1</cx:pt>
          <cx:pt idx="6751">5</cx:pt>
          <cx:pt idx="6752">4</cx:pt>
          <cx:pt idx="6753">5</cx:pt>
          <cx:pt idx="6754">3</cx:pt>
          <cx:pt idx="6755">5</cx:pt>
          <cx:pt idx="6756">1</cx:pt>
          <cx:pt idx="6757">2</cx:pt>
          <cx:pt idx="6758">4</cx:pt>
          <cx:pt idx="6759">5</cx:pt>
          <cx:pt idx="6760">1</cx:pt>
          <cx:pt idx="6761">4</cx:pt>
          <cx:pt idx="6762">5</cx:pt>
          <cx:pt idx="6763">4</cx:pt>
          <cx:pt idx="6764">4</cx:pt>
          <cx:pt idx="6765">2</cx:pt>
          <cx:pt idx="6766">3</cx:pt>
          <cx:pt idx="6767">5</cx:pt>
          <cx:pt idx="6768">5</cx:pt>
          <cx:pt idx="6769">3</cx:pt>
          <cx:pt idx="6770">5</cx:pt>
          <cx:pt idx="6771">2</cx:pt>
          <cx:pt idx="6772">3</cx:pt>
          <cx:pt idx="6773">1</cx:pt>
          <cx:pt idx="6774">4</cx:pt>
          <cx:pt idx="6775">4</cx:pt>
          <cx:pt idx="6776">5</cx:pt>
          <cx:pt idx="6777">4</cx:pt>
          <cx:pt idx="6778">5</cx:pt>
          <cx:pt idx="6779">5</cx:pt>
          <cx:pt idx="6780">4</cx:pt>
          <cx:pt idx="6781">1</cx:pt>
          <cx:pt idx="6782">1</cx:pt>
          <cx:pt idx="6783">2</cx:pt>
          <cx:pt idx="6784">4</cx:pt>
          <cx:pt idx="6785">2</cx:pt>
          <cx:pt idx="6786">4</cx:pt>
          <cx:pt idx="6787">4</cx:pt>
          <cx:pt idx="6788">3</cx:pt>
          <cx:pt idx="6789">2</cx:pt>
          <cx:pt idx="6790">4</cx:pt>
          <cx:pt idx="6791">4</cx:pt>
          <cx:pt idx="6792">5</cx:pt>
          <cx:pt idx="6793">5</cx:pt>
          <cx:pt idx="6794">3</cx:pt>
          <cx:pt idx="6795">4</cx:pt>
          <cx:pt idx="6796">4</cx:pt>
          <cx:pt idx="6797">3</cx:pt>
          <cx:pt idx="6798">4</cx:pt>
          <cx:pt idx="6799">1</cx:pt>
          <cx:pt idx="6800">4</cx:pt>
          <cx:pt idx="6801">4</cx:pt>
          <cx:pt idx="6802">5</cx:pt>
          <cx:pt idx="6803">5</cx:pt>
          <cx:pt idx="6804">5</cx:pt>
          <cx:pt idx="6805">1</cx:pt>
          <cx:pt idx="6806">1</cx:pt>
          <cx:pt idx="6807">5</cx:pt>
          <cx:pt idx="6808">1</cx:pt>
          <cx:pt idx="6809">4</cx:pt>
          <cx:pt idx="6810">2</cx:pt>
          <cx:pt idx="6811">5</cx:pt>
          <cx:pt idx="6812">2</cx:pt>
          <cx:pt idx="6813">2</cx:pt>
          <cx:pt idx="6814">5</cx:pt>
          <cx:pt idx="6815">4</cx:pt>
          <cx:pt idx="6816">5</cx:pt>
          <cx:pt idx="6817">4</cx:pt>
          <cx:pt idx="6818">4</cx:pt>
          <cx:pt idx="6819">2</cx:pt>
          <cx:pt idx="6820">5</cx:pt>
          <cx:pt idx="6821">1</cx:pt>
          <cx:pt idx="6822">5</cx:pt>
          <cx:pt idx="6823">5</cx:pt>
          <cx:pt idx="6824">2</cx:pt>
          <cx:pt idx="6825">2</cx:pt>
          <cx:pt idx="6826">1</cx:pt>
          <cx:pt idx="6827">3</cx:pt>
          <cx:pt idx="6828">2</cx:pt>
          <cx:pt idx="6829">3</cx:pt>
          <cx:pt idx="6830">3</cx:pt>
          <cx:pt idx="6831">3</cx:pt>
          <cx:pt idx="6832">4</cx:pt>
          <cx:pt idx="6833">4</cx:pt>
          <cx:pt idx="6834">4</cx:pt>
          <cx:pt idx="6835">4</cx:pt>
          <cx:pt idx="6836">1</cx:pt>
          <cx:pt idx="6837">1</cx:pt>
          <cx:pt idx="6838">4</cx:pt>
          <cx:pt idx="6839">2</cx:pt>
          <cx:pt idx="6840">5</cx:pt>
          <cx:pt idx="6841">4</cx:pt>
          <cx:pt idx="6842">2</cx:pt>
          <cx:pt idx="6843">2</cx:pt>
          <cx:pt idx="6844">4</cx:pt>
          <cx:pt idx="6845">5</cx:pt>
          <cx:pt idx="6846">4</cx:pt>
          <cx:pt idx="6847">4</cx:pt>
          <cx:pt idx="6848">3</cx:pt>
          <cx:pt idx="6849">4</cx:pt>
          <cx:pt idx="6850">4</cx:pt>
          <cx:pt idx="6851">2</cx:pt>
          <cx:pt idx="6852">1</cx:pt>
          <cx:pt idx="6853">4</cx:pt>
          <cx:pt idx="6854">5</cx:pt>
          <cx:pt idx="6855">1</cx:pt>
          <cx:pt idx="6856">5</cx:pt>
          <cx:pt idx="6857">4</cx:pt>
          <cx:pt idx="6858">1</cx:pt>
          <cx:pt idx="6859">3</cx:pt>
          <cx:pt idx="6860">4</cx:pt>
          <cx:pt idx="6861">3</cx:pt>
          <cx:pt idx="6862">5</cx:pt>
          <cx:pt idx="6863">3</cx:pt>
          <cx:pt idx="6864">3</cx:pt>
          <cx:pt idx="6865">5</cx:pt>
          <cx:pt idx="6866">4</cx:pt>
          <cx:pt idx="6867">5</cx:pt>
          <cx:pt idx="6868">3</cx:pt>
          <cx:pt idx="6869">1</cx:pt>
          <cx:pt idx="6870">5</cx:pt>
          <cx:pt idx="6871">4</cx:pt>
          <cx:pt idx="6872">3</cx:pt>
          <cx:pt idx="6873">4</cx:pt>
          <cx:pt idx="6874">5</cx:pt>
          <cx:pt idx="6875">3</cx:pt>
          <cx:pt idx="6876">2</cx:pt>
          <cx:pt idx="6877">4</cx:pt>
          <cx:pt idx="6878">3</cx:pt>
          <cx:pt idx="6879">5</cx:pt>
          <cx:pt idx="6880">3</cx:pt>
          <cx:pt idx="6881">4</cx:pt>
          <cx:pt idx="6882">5</cx:pt>
          <cx:pt idx="6883">4</cx:pt>
          <cx:pt idx="6884">5</cx:pt>
          <cx:pt idx="6885">1</cx:pt>
          <cx:pt idx="6886">2</cx:pt>
          <cx:pt idx="6887">4</cx:pt>
          <cx:pt idx="6888">2</cx:pt>
          <cx:pt idx="6889">4</cx:pt>
          <cx:pt idx="6890">4</cx:pt>
          <cx:pt idx="6891">5</cx:pt>
          <cx:pt idx="6892">3</cx:pt>
          <cx:pt idx="6893">2</cx:pt>
          <cx:pt idx="6894">1</cx:pt>
          <cx:pt idx="6895">4</cx:pt>
          <cx:pt idx="6896">5</cx:pt>
          <cx:pt idx="6897">2</cx:pt>
          <cx:pt idx="6898">3</cx:pt>
          <cx:pt idx="6899">3</cx:pt>
          <cx:pt idx="6900">2</cx:pt>
          <cx:pt idx="6901">5</cx:pt>
          <cx:pt idx="6902">1</cx:pt>
          <cx:pt idx="6903">4</cx:pt>
          <cx:pt idx="6904">4</cx:pt>
          <cx:pt idx="6905">5</cx:pt>
          <cx:pt idx="6906">3</cx:pt>
          <cx:pt idx="6907">5</cx:pt>
          <cx:pt idx="6908">2</cx:pt>
          <cx:pt idx="6909">5</cx:pt>
          <cx:pt idx="6910">4</cx:pt>
          <cx:pt idx="6911">1</cx:pt>
          <cx:pt idx="6912">4</cx:pt>
          <cx:pt idx="6913">5</cx:pt>
          <cx:pt idx="6914">1</cx:pt>
          <cx:pt idx="6915">1</cx:pt>
          <cx:pt idx="6916">4</cx:pt>
          <cx:pt idx="6917">4</cx:pt>
          <cx:pt idx="6918">4</cx:pt>
          <cx:pt idx="6919">2</cx:pt>
          <cx:pt idx="6920">5</cx:pt>
          <cx:pt idx="6921">5</cx:pt>
          <cx:pt idx="6922">5</cx:pt>
          <cx:pt idx="6923">5</cx:pt>
          <cx:pt idx="6924">5</cx:pt>
          <cx:pt idx="6925">4</cx:pt>
          <cx:pt idx="6926">4</cx:pt>
          <cx:pt idx="6927">4</cx:pt>
          <cx:pt idx="6928">3</cx:pt>
          <cx:pt idx="6929">4</cx:pt>
          <cx:pt idx="6930">2</cx:pt>
          <cx:pt idx="6931">1</cx:pt>
          <cx:pt idx="6932">3</cx:pt>
          <cx:pt idx="6933">3</cx:pt>
          <cx:pt idx="6934">5</cx:pt>
          <cx:pt idx="6935">1</cx:pt>
          <cx:pt idx="6936">5</cx:pt>
          <cx:pt idx="6937">2</cx:pt>
          <cx:pt idx="6938">2</cx:pt>
          <cx:pt idx="6939">1</cx:pt>
          <cx:pt idx="6940">2</cx:pt>
          <cx:pt idx="6941">3</cx:pt>
          <cx:pt idx="6942">3</cx:pt>
          <cx:pt idx="6943">4</cx:pt>
          <cx:pt idx="6944">2</cx:pt>
          <cx:pt idx="6945">3</cx:pt>
          <cx:pt idx="6946">2</cx:pt>
          <cx:pt idx="6947">2</cx:pt>
          <cx:pt idx="6948">4</cx:pt>
          <cx:pt idx="6949">3</cx:pt>
          <cx:pt idx="6950">3</cx:pt>
          <cx:pt idx="6951">4</cx:pt>
          <cx:pt idx="6952">1</cx:pt>
          <cx:pt idx="6953">4</cx:pt>
          <cx:pt idx="6954">3</cx:pt>
          <cx:pt idx="6955">3</cx:pt>
          <cx:pt idx="6956">1</cx:pt>
          <cx:pt idx="6957">4</cx:pt>
          <cx:pt idx="6958">4</cx:pt>
          <cx:pt idx="6959">5</cx:pt>
          <cx:pt idx="6960">5</cx:pt>
          <cx:pt idx="6961">3</cx:pt>
          <cx:pt idx="6962">4</cx:pt>
          <cx:pt idx="6963">4</cx:pt>
          <cx:pt idx="6964">2</cx:pt>
          <cx:pt idx="6965">5</cx:pt>
          <cx:pt idx="6966">5</cx:pt>
          <cx:pt idx="6967">3</cx:pt>
          <cx:pt idx="6968">4</cx:pt>
          <cx:pt idx="6969">5</cx:pt>
          <cx:pt idx="6970">2</cx:pt>
          <cx:pt idx="6971">4</cx:pt>
          <cx:pt idx="6972">4</cx:pt>
          <cx:pt idx="6973">4</cx:pt>
          <cx:pt idx="6974">3</cx:pt>
          <cx:pt idx="6975">2</cx:pt>
          <cx:pt idx="6976">3</cx:pt>
          <cx:pt idx="6977">3</cx:pt>
          <cx:pt idx="6978">1</cx:pt>
          <cx:pt idx="6979">4</cx:pt>
          <cx:pt idx="6980">3</cx:pt>
          <cx:pt idx="6981">4</cx:pt>
          <cx:pt idx="6982">1</cx:pt>
          <cx:pt idx="6983">5</cx:pt>
          <cx:pt idx="6984">5</cx:pt>
          <cx:pt idx="6985">5</cx:pt>
          <cx:pt idx="6986">4</cx:pt>
          <cx:pt idx="6987">2</cx:pt>
          <cx:pt idx="6988">3</cx:pt>
          <cx:pt idx="6989">1</cx:pt>
          <cx:pt idx="6990">1</cx:pt>
          <cx:pt idx="6991">3</cx:pt>
          <cx:pt idx="6992">2</cx:pt>
          <cx:pt idx="6993">4</cx:pt>
          <cx:pt idx="6994">5</cx:pt>
          <cx:pt idx="6995">5</cx:pt>
          <cx:pt idx="6996">4</cx:pt>
          <cx:pt idx="6997">3</cx:pt>
          <cx:pt idx="6998">3</cx:pt>
          <cx:pt idx="6999">4</cx:pt>
          <cx:pt idx="7000">3</cx:pt>
          <cx:pt idx="7001">4</cx:pt>
          <cx:pt idx="7002">4</cx:pt>
          <cx:pt idx="7003">3</cx:pt>
          <cx:pt idx="7004">2</cx:pt>
          <cx:pt idx="7005">5</cx:pt>
          <cx:pt idx="7006">5</cx:pt>
          <cx:pt idx="7007">5</cx:pt>
          <cx:pt idx="7008">2</cx:pt>
          <cx:pt idx="7009">5</cx:pt>
          <cx:pt idx="7010">4</cx:pt>
          <cx:pt idx="7011">2</cx:pt>
          <cx:pt idx="7012">4</cx:pt>
          <cx:pt idx="7013">4</cx:pt>
          <cx:pt idx="7014">3</cx:pt>
          <cx:pt idx="7015">3</cx:pt>
          <cx:pt idx="7016">3</cx:pt>
          <cx:pt idx="7017">4</cx:pt>
          <cx:pt idx="7018">5</cx:pt>
          <cx:pt idx="7019">3</cx:pt>
          <cx:pt idx="7020">5</cx:pt>
          <cx:pt idx="7021">3</cx:pt>
          <cx:pt idx="7022">2</cx:pt>
          <cx:pt idx="7023">5</cx:pt>
          <cx:pt idx="7024">3</cx:pt>
          <cx:pt idx="7025">4</cx:pt>
          <cx:pt idx="7026">4</cx:pt>
          <cx:pt idx="7027">4</cx:pt>
          <cx:pt idx="7028">3</cx:pt>
          <cx:pt idx="7029">2</cx:pt>
          <cx:pt idx="7030">4</cx:pt>
          <cx:pt idx="7031">4</cx:pt>
          <cx:pt idx="7032">4</cx:pt>
          <cx:pt idx="7033">4</cx:pt>
          <cx:pt idx="7034">4</cx:pt>
          <cx:pt idx="7035">3</cx:pt>
          <cx:pt idx="7036">5</cx:pt>
          <cx:pt idx="7037">5</cx:pt>
          <cx:pt idx="7038">3</cx:pt>
          <cx:pt idx="7039">4</cx:pt>
          <cx:pt idx="7040">1</cx:pt>
          <cx:pt idx="7041">1</cx:pt>
          <cx:pt idx="7042">5</cx:pt>
          <cx:pt idx="7043">1</cx:pt>
          <cx:pt idx="7044">3</cx:pt>
          <cx:pt idx="7045">5</cx:pt>
          <cx:pt idx="7046">4</cx:pt>
          <cx:pt idx="7047">2</cx:pt>
          <cx:pt idx="7048">5</cx:pt>
          <cx:pt idx="7049">3</cx:pt>
          <cx:pt idx="7050">5</cx:pt>
          <cx:pt idx="7051">5</cx:pt>
          <cx:pt idx="7052">4</cx:pt>
          <cx:pt idx="7053">1</cx:pt>
          <cx:pt idx="7054">5</cx:pt>
          <cx:pt idx="7055">5</cx:pt>
          <cx:pt idx="7056">1</cx:pt>
          <cx:pt idx="7057">1</cx:pt>
          <cx:pt idx="7058">4</cx:pt>
          <cx:pt idx="7059">1</cx:pt>
          <cx:pt idx="7060">4</cx:pt>
          <cx:pt idx="7061">4</cx:pt>
          <cx:pt idx="7062">1</cx:pt>
          <cx:pt idx="7063">4</cx:pt>
          <cx:pt idx="7064">4</cx:pt>
          <cx:pt idx="7065">5</cx:pt>
          <cx:pt idx="7066">5</cx:pt>
          <cx:pt idx="7067">3</cx:pt>
          <cx:pt idx="7068">2</cx:pt>
          <cx:pt idx="7069">4</cx:pt>
          <cx:pt idx="7070">3</cx:pt>
          <cx:pt idx="7071">1</cx:pt>
          <cx:pt idx="7072">1</cx:pt>
          <cx:pt idx="7073">2</cx:pt>
          <cx:pt idx="7074">5</cx:pt>
          <cx:pt idx="7075">3</cx:pt>
          <cx:pt idx="7076">5</cx:pt>
          <cx:pt idx="7077">3</cx:pt>
          <cx:pt idx="7078">4</cx:pt>
          <cx:pt idx="7079">2</cx:pt>
          <cx:pt idx="7080">4</cx:pt>
          <cx:pt idx="7081">3</cx:pt>
          <cx:pt idx="7082">3</cx:pt>
          <cx:pt idx="7083">4</cx:pt>
          <cx:pt idx="7084">1</cx:pt>
          <cx:pt idx="7085">5</cx:pt>
          <cx:pt idx="7086">5</cx:pt>
          <cx:pt idx="7087">4</cx:pt>
          <cx:pt idx="7088">4</cx:pt>
          <cx:pt idx="7089">1</cx:pt>
          <cx:pt idx="7090">4</cx:pt>
          <cx:pt idx="7091">1</cx:pt>
          <cx:pt idx="7092">2</cx:pt>
          <cx:pt idx="7093">5</cx:pt>
          <cx:pt idx="7094">2</cx:pt>
          <cx:pt idx="7095">3</cx:pt>
          <cx:pt idx="7096">4</cx:pt>
          <cx:pt idx="7097">2</cx:pt>
          <cx:pt idx="7098">5</cx:pt>
          <cx:pt idx="7099">5</cx:pt>
          <cx:pt idx="7100">4</cx:pt>
          <cx:pt idx="7101">4</cx:pt>
          <cx:pt idx="7102">4</cx:pt>
          <cx:pt idx="7103">5</cx:pt>
          <cx:pt idx="7104">3</cx:pt>
          <cx:pt idx="7105">1</cx:pt>
          <cx:pt idx="7106">4</cx:pt>
          <cx:pt idx="7107">3</cx:pt>
          <cx:pt idx="7108">4</cx:pt>
          <cx:pt idx="7109">5</cx:pt>
          <cx:pt idx="7110">3</cx:pt>
          <cx:pt idx="7111">3</cx:pt>
          <cx:pt idx="7112">5</cx:pt>
          <cx:pt idx="7113">5</cx:pt>
          <cx:pt idx="7114">5</cx:pt>
          <cx:pt idx="7115">5</cx:pt>
          <cx:pt idx="7116">4</cx:pt>
          <cx:pt idx="7117">2</cx:pt>
          <cx:pt idx="7118">3</cx:pt>
          <cx:pt idx="7119">4</cx:pt>
          <cx:pt idx="7120">2</cx:pt>
          <cx:pt idx="7121">3</cx:pt>
          <cx:pt idx="7122">4</cx:pt>
          <cx:pt idx="7123">2</cx:pt>
          <cx:pt idx="7124">4</cx:pt>
          <cx:pt idx="7125">1</cx:pt>
          <cx:pt idx="7126">3</cx:pt>
          <cx:pt idx="7127">3</cx:pt>
          <cx:pt idx="7128">5</cx:pt>
          <cx:pt idx="7129">1</cx:pt>
          <cx:pt idx="7130">4</cx:pt>
          <cx:pt idx="7131">4</cx:pt>
          <cx:pt idx="7132">5</cx:pt>
          <cx:pt idx="7133">2</cx:pt>
          <cx:pt idx="7134">4</cx:pt>
          <cx:pt idx="7135">2</cx:pt>
          <cx:pt idx="7136">5</cx:pt>
          <cx:pt idx="7137">5</cx:pt>
          <cx:pt idx="7138">4</cx:pt>
          <cx:pt idx="7139">5</cx:pt>
          <cx:pt idx="7140">5</cx:pt>
          <cx:pt idx="7141">1</cx:pt>
          <cx:pt idx="7142">2</cx:pt>
          <cx:pt idx="7143">2</cx:pt>
          <cx:pt idx="7144">5</cx:pt>
          <cx:pt idx="7145">5</cx:pt>
          <cx:pt idx="7146">1</cx:pt>
          <cx:pt idx="7147">1</cx:pt>
          <cx:pt idx="7148">4</cx:pt>
          <cx:pt idx="7149">5</cx:pt>
          <cx:pt idx="7150">4</cx:pt>
          <cx:pt idx="7151">5</cx:pt>
          <cx:pt idx="7152">4</cx:pt>
          <cx:pt idx="7153">3</cx:pt>
          <cx:pt idx="7154">4</cx:pt>
          <cx:pt idx="7155">1</cx:pt>
          <cx:pt idx="7156">3</cx:pt>
          <cx:pt idx="7157">1</cx:pt>
          <cx:pt idx="7158">1</cx:pt>
          <cx:pt idx="7159">5</cx:pt>
          <cx:pt idx="7160">2</cx:pt>
          <cx:pt idx="7161">3</cx:pt>
          <cx:pt idx="7162">3</cx:pt>
          <cx:pt idx="7163">4</cx:pt>
          <cx:pt idx="7164">5</cx:pt>
          <cx:pt idx="7165">2</cx:pt>
          <cx:pt idx="7166">3</cx:pt>
          <cx:pt idx="7167">2</cx:pt>
          <cx:pt idx="7168">2</cx:pt>
          <cx:pt idx="7169">5</cx:pt>
          <cx:pt idx="7170">3</cx:pt>
          <cx:pt idx="7171">3</cx:pt>
          <cx:pt idx="7172">4</cx:pt>
          <cx:pt idx="7173">2</cx:pt>
          <cx:pt idx="7174">3</cx:pt>
          <cx:pt idx="7175">1</cx:pt>
          <cx:pt idx="7176">4</cx:pt>
          <cx:pt idx="7177">1</cx:pt>
          <cx:pt idx="7178">2</cx:pt>
          <cx:pt idx="7179">4</cx:pt>
          <cx:pt idx="7180">2</cx:pt>
          <cx:pt idx="7181">4</cx:pt>
          <cx:pt idx="7182">1</cx:pt>
          <cx:pt idx="7183">3</cx:pt>
          <cx:pt idx="7184">4</cx:pt>
          <cx:pt idx="7185">4</cx:pt>
          <cx:pt idx="7186">1</cx:pt>
          <cx:pt idx="7187">2</cx:pt>
          <cx:pt idx="7188">5</cx:pt>
          <cx:pt idx="7189">4</cx:pt>
          <cx:pt idx="7190">2</cx:pt>
          <cx:pt idx="7191">1</cx:pt>
          <cx:pt idx="7192">3</cx:pt>
          <cx:pt idx="7193">1</cx:pt>
          <cx:pt idx="7194">1</cx:pt>
          <cx:pt idx="7195">2</cx:pt>
          <cx:pt idx="7196">3</cx:pt>
          <cx:pt idx="7197">4</cx:pt>
          <cx:pt idx="7198">4</cx:pt>
          <cx:pt idx="7199">3</cx:pt>
          <cx:pt idx="7200">1</cx:pt>
          <cx:pt idx="7201">3</cx:pt>
          <cx:pt idx="7202">4</cx:pt>
          <cx:pt idx="7203">5</cx:pt>
          <cx:pt idx="7204">1</cx:pt>
          <cx:pt idx="7205">4</cx:pt>
          <cx:pt idx="7206">4</cx:pt>
          <cx:pt idx="7207">4</cx:pt>
          <cx:pt idx="7208">5</cx:pt>
          <cx:pt idx="7209">5</cx:pt>
          <cx:pt idx="7210">4</cx:pt>
          <cx:pt idx="7211">3</cx:pt>
          <cx:pt idx="7212">4</cx:pt>
          <cx:pt idx="7213">2</cx:pt>
          <cx:pt idx="7214">4</cx:pt>
          <cx:pt idx="7215">3</cx:pt>
          <cx:pt idx="7216">5</cx:pt>
          <cx:pt idx="7217">5</cx:pt>
          <cx:pt idx="7218">1</cx:pt>
          <cx:pt idx="7219">5</cx:pt>
          <cx:pt idx="7220">3</cx:pt>
          <cx:pt idx="7221">3</cx:pt>
          <cx:pt idx="7222">3</cx:pt>
          <cx:pt idx="7223">4</cx:pt>
          <cx:pt idx="7224">2</cx:pt>
          <cx:pt idx="7225">4</cx:pt>
          <cx:pt idx="7226">4</cx:pt>
          <cx:pt idx="7227">3</cx:pt>
          <cx:pt idx="7228">3</cx:pt>
          <cx:pt idx="7229">4</cx:pt>
          <cx:pt idx="7230">2</cx:pt>
          <cx:pt idx="7231">4</cx:pt>
          <cx:pt idx="7232">4</cx:pt>
          <cx:pt idx="7233">5</cx:pt>
          <cx:pt idx="7234">2</cx:pt>
          <cx:pt idx="7235">4</cx:pt>
          <cx:pt idx="7236">4</cx:pt>
          <cx:pt idx="7237">2</cx:pt>
          <cx:pt idx="7238">1</cx:pt>
          <cx:pt idx="7239">4</cx:pt>
          <cx:pt idx="7240">2</cx:pt>
          <cx:pt idx="7241">4</cx:pt>
          <cx:pt idx="7242">3</cx:pt>
          <cx:pt idx="7243">4</cx:pt>
          <cx:pt idx="7244">2</cx:pt>
          <cx:pt idx="7245">4</cx:pt>
          <cx:pt idx="7246">1</cx:pt>
          <cx:pt idx="7247">4</cx:pt>
          <cx:pt idx="7248">4</cx:pt>
          <cx:pt idx="7249">5</cx:pt>
          <cx:pt idx="7250">1</cx:pt>
          <cx:pt idx="7251">3</cx:pt>
          <cx:pt idx="7252">4</cx:pt>
          <cx:pt idx="7253">4</cx:pt>
          <cx:pt idx="7254">4</cx:pt>
          <cx:pt idx="7255">4</cx:pt>
          <cx:pt idx="7256">1</cx:pt>
          <cx:pt idx="7257">5</cx:pt>
          <cx:pt idx="7258">2</cx:pt>
          <cx:pt idx="7259">2</cx:pt>
          <cx:pt idx="7260">2</cx:pt>
          <cx:pt idx="7261">4</cx:pt>
          <cx:pt idx="7262">4</cx:pt>
          <cx:pt idx="7263">4</cx:pt>
          <cx:pt idx="7264">4</cx:pt>
          <cx:pt idx="7265">4</cx:pt>
          <cx:pt idx="7266">4</cx:pt>
          <cx:pt idx="7267">1</cx:pt>
          <cx:pt idx="7268">5</cx:pt>
          <cx:pt idx="7269">5</cx:pt>
          <cx:pt idx="7270">2</cx:pt>
          <cx:pt idx="7271">4</cx:pt>
          <cx:pt idx="7272">4</cx:pt>
          <cx:pt idx="7273">4</cx:pt>
          <cx:pt idx="7274">3</cx:pt>
          <cx:pt idx="7275">4</cx:pt>
          <cx:pt idx="7276">4</cx:pt>
          <cx:pt idx="7277">5</cx:pt>
          <cx:pt idx="7278">4</cx:pt>
          <cx:pt idx="7279">2</cx:pt>
          <cx:pt idx="7280">5</cx:pt>
          <cx:pt idx="7281">4</cx:pt>
          <cx:pt idx="7282">2</cx:pt>
          <cx:pt idx="7283">2</cx:pt>
          <cx:pt idx="7284">3</cx:pt>
          <cx:pt idx="7285">5</cx:pt>
          <cx:pt idx="7286">5</cx:pt>
          <cx:pt idx="7287">2</cx:pt>
          <cx:pt idx="7288">3</cx:pt>
          <cx:pt idx="7289">1</cx:pt>
          <cx:pt idx="7290">3</cx:pt>
          <cx:pt idx="7291">4</cx:pt>
          <cx:pt idx="7292">3</cx:pt>
          <cx:pt idx="7293">5</cx:pt>
          <cx:pt idx="7294">1</cx:pt>
          <cx:pt idx="7295">4</cx:pt>
          <cx:pt idx="7296">5</cx:pt>
          <cx:pt idx="7297">5</cx:pt>
          <cx:pt idx="7298">1</cx:pt>
          <cx:pt idx="7299">3</cx:pt>
          <cx:pt idx="7300">3</cx:pt>
          <cx:pt idx="7301">4</cx:pt>
          <cx:pt idx="7302">4</cx:pt>
          <cx:pt idx="7303">4</cx:pt>
          <cx:pt idx="7304">2</cx:pt>
          <cx:pt idx="7305">2</cx:pt>
          <cx:pt idx="7306">4</cx:pt>
          <cx:pt idx="7307">4</cx:pt>
          <cx:pt idx="7308">2</cx:pt>
          <cx:pt idx="7309">5</cx:pt>
          <cx:pt idx="7310">4</cx:pt>
          <cx:pt idx="7311">5</cx:pt>
          <cx:pt idx="7312">5</cx:pt>
          <cx:pt idx="7313">3</cx:pt>
          <cx:pt idx="7314">3</cx:pt>
          <cx:pt idx="7315">3</cx:pt>
          <cx:pt idx="7316">4</cx:pt>
          <cx:pt idx="7317">1</cx:pt>
          <cx:pt idx="7318">3</cx:pt>
          <cx:pt idx="7319">1</cx:pt>
          <cx:pt idx="7320">5</cx:pt>
          <cx:pt idx="7321">4</cx:pt>
          <cx:pt idx="7322">3</cx:pt>
          <cx:pt idx="7323">5</cx:pt>
          <cx:pt idx="7324">4</cx:pt>
          <cx:pt idx="7325">2</cx:pt>
          <cx:pt idx="7326">5</cx:pt>
          <cx:pt idx="7327">4</cx:pt>
          <cx:pt idx="7328">5</cx:pt>
          <cx:pt idx="7329">5</cx:pt>
          <cx:pt idx="7330">4</cx:pt>
          <cx:pt idx="7331">2</cx:pt>
          <cx:pt idx="7332">5</cx:pt>
          <cx:pt idx="7333">1</cx:pt>
          <cx:pt idx="7334">1</cx:pt>
          <cx:pt idx="7335">1</cx:pt>
          <cx:pt idx="7336">4</cx:pt>
          <cx:pt idx="7337">1</cx:pt>
          <cx:pt idx="7338">4</cx:pt>
          <cx:pt idx="7339">2</cx:pt>
          <cx:pt idx="7340">4</cx:pt>
          <cx:pt idx="7341">5</cx:pt>
          <cx:pt idx="7342">2</cx:pt>
          <cx:pt idx="7343">2</cx:pt>
          <cx:pt idx="7344">3</cx:pt>
          <cx:pt idx="7345">2</cx:pt>
          <cx:pt idx="7346">5</cx:pt>
          <cx:pt idx="7347">5</cx:pt>
          <cx:pt idx="7348">5</cx:pt>
          <cx:pt idx="7349">2</cx:pt>
          <cx:pt idx="7350">5</cx:pt>
          <cx:pt idx="7351">5</cx:pt>
          <cx:pt idx="7352">4</cx:pt>
          <cx:pt idx="7353">4</cx:pt>
          <cx:pt idx="7354">2</cx:pt>
          <cx:pt idx="7355">1</cx:pt>
          <cx:pt idx="7356">4</cx:pt>
          <cx:pt idx="7357">1</cx:pt>
          <cx:pt idx="7358">4</cx:pt>
          <cx:pt idx="7359">3</cx:pt>
          <cx:pt idx="7360">4</cx:pt>
          <cx:pt idx="7361">4</cx:pt>
          <cx:pt idx="7362">2</cx:pt>
          <cx:pt idx="7363">5</cx:pt>
          <cx:pt idx="7364">3</cx:pt>
          <cx:pt idx="7365">5</cx:pt>
          <cx:pt idx="7366">4</cx:pt>
          <cx:pt idx="7367">3</cx:pt>
          <cx:pt idx="7368">2</cx:pt>
          <cx:pt idx="7369">5</cx:pt>
          <cx:pt idx="7370">4</cx:pt>
          <cx:pt idx="7371">4</cx:pt>
          <cx:pt idx="7372">5</cx:pt>
          <cx:pt idx="7373">5</cx:pt>
          <cx:pt idx="7374">3</cx:pt>
          <cx:pt idx="7375">1</cx:pt>
          <cx:pt idx="7376">4</cx:pt>
          <cx:pt idx="7377">4</cx:pt>
          <cx:pt idx="7378">5</cx:pt>
          <cx:pt idx="7379">5</cx:pt>
          <cx:pt idx="7380">4</cx:pt>
          <cx:pt idx="7381">4</cx:pt>
          <cx:pt idx="7382">4</cx:pt>
          <cx:pt idx="7383">5</cx:pt>
          <cx:pt idx="7384">2</cx:pt>
          <cx:pt idx="7385">5</cx:pt>
          <cx:pt idx="7386">4</cx:pt>
          <cx:pt idx="7387">4</cx:pt>
          <cx:pt idx="7388">4</cx:pt>
          <cx:pt idx="7389">5</cx:pt>
          <cx:pt idx="7390">5</cx:pt>
          <cx:pt idx="7391">5</cx:pt>
          <cx:pt idx="7392">5</cx:pt>
          <cx:pt idx="7393">5</cx:pt>
          <cx:pt idx="7394">4</cx:pt>
          <cx:pt idx="7395">4</cx:pt>
          <cx:pt idx="7396">2</cx:pt>
          <cx:pt idx="7397">3</cx:pt>
          <cx:pt idx="7398">3</cx:pt>
          <cx:pt idx="7399">3</cx:pt>
          <cx:pt idx="7400">3</cx:pt>
          <cx:pt idx="7401">2</cx:pt>
          <cx:pt idx="7402">5</cx:pt>
          <cx:pt idx="7403">5</cx:pt>
          <cx:pt idx="7404">3</cx:pt>
          <cx:pt idx="7405">3</cx:pt>
          <cx:pt idx="7406">2</cx:pt>
          <cx:pt idx="7407">4</cx:pt>
          <cx:pt idx="7408">1</cx:pt>
          <cx:pt idx="7409">3</cx:pt>
          <cx:pt idx="7410">2</cx:pt>
          <cx:pt idx="7411">5</cx:pt>
          <cx:pt idx="7412">2</cx:pt>
          <cx:pt idx="7413">4</cx:pt>
          <cx:pt idx="7414">5</cx:pt>
          <cx:pt idx="7415">1</cx:pt>
          <cx:pt idx="7416">5</cx:pt>
          <cx:pt idx="7417">3</cx:pt>
          <cx:pt idx="7418">4</cx:pt>
          <cx:pt idx="7419">3</cx:pt>
          <cx:pt idx="7420">4</cx:pt>
          <cx:pt idx="7421">4</cx:pt>
          <cx:pt idx="7422">3</cx:pt>
          <cx:pt idx="7423">5</cx:pt>
          <cx:pt idx="7424">4</cx:pt>
          <cx:pt idx="7425">3</cx:pt>
          <cx:pt idx="7426">2</cx:pt>
          <cx:pt idx="7427">2</cx:pt>
          <cx:pt idx="7428">3</cx:pt>
          <cx:pt idx="7429">3</cx:pt>
          <cx:pt idx="7430">1</cx:pt>
          <cx:pt idx="7431">4</cx:pt>
          <cx:pt idx="7432">4</cx:pt>
          <cx:pt idx="7433">1</cx:pt>
          <cx:pt idx="7434">4</cx:pt>
          <cx:pt idx="7435">3</cx:pt>
          <cx:pt idx="7436">1</cx:pt>
          <cx:pt idx="7437">4</cx:pt>
          <cx:pt idx="7438">1</cx:pt>
          <cx:pt idx="7439">5</cx:pt>
          <cx:pt idx="7440">3</cx:pt>
          <cx:pt idx="7441">5</cx:pt>
          <cx:pt idx="7442">4</cx:pt>
          <cx:pt idx="7443">3</cx:pt>
          <cx:pt idx="7444">3</cx:pt>
          <cx:pt idx="7445">3</cx:pt>
          <cx:pt idx="7446">3</cx:pt>
          <cx:pt idx="7447">5</cx:pt>
          <cx:pt idx="7448">2</cx:pt>
          <cx:pt idx="7449">2</cx:pt>
          <cx:pt idx="7450">4</cx:pt>
          <cx:pt idx="7451">5</cx:pt>
          <cx:pt idx="7452">5</cx:pt>
          <cx:pt idx="7453">3</cx:pt>
          <cx:pt idx="7454">5</cx:pt>
          <cx:pt idx="7455">3</cx:pt>
          <cx:pt idx="7456">3</cx:pt>
          <cx:pt idx="7457">4</cx:pt>
          <cx:pt idx="7458">4</cx:pt>
          <cx:pt idx="7459">3</cx:pt>
          <cx:pt idx="7460">3</cx:pt>
          <cx:pt idx="7461">4</cx:pt>
          <cx:pt idx="7462">5</cx:pt>
          <cx:pt idx="7463">3</cx:pt>
          <cx:pt idx="7464">5</cx:pt>
          <cx:pt idx="7465">5</cx:pt>
          <cx:pt idx="7466">2</cx:pt>
          <cx:pt idx="7467">4</cx:pt>
          <cx:pt idx="7468">3</cx:pt>
          <cx:pt idx="7469">3</cx:pt>
          <cx:pt idx="7470">1</cx:pt>
          <cx:pt idx="7471">1</cx:pt>
          <cx:pt idx="7472">4</cx:pt>
          <cx:pt idx="7473">5</cx:pt>
          <cx:pt idx="7474">2</cx:pt>
          <cx:pt idx="7475">4</cx:pt>
          <cx:pt idx="7476">2</cx:pt>
          <cx:pt idx="7477">4</cx:pt>
          <cx:pt idx="7478">5</cx:pt>
          <cx:pt idx="7479">5</cx:pt>
          <cx:pt idx="7480">5</cx:pt>
          <cx:pt idx="7481">5</cx:pt>
          <cx:pt idx="7482">5</cx:pt>
          <cx:pt idx="7483">4</cx:pt>
          <cx:pt idx="7484">3</cx:pt>
          <cx:pt idx="7485">1</cx:pt>
          <cx:pt idx="7486">2</cx:pt>
          <cx:pt idx="7487">5</cx:pt>
          <cx:pt idx="7488">3</cx:pt>
          <cx:pt idx="7489">2</cx:pt>
          <cx:pt idx="7490">3</cx:pt>
          <cx:pt idx="7491">3</cx:pt>
          <cx:pt idx="7492">4</cx:pt>
          <cx:pt idx="7493">4</cx:pt>
          <cx:pt idx="7494">5</cx:pt>
          <cx:pt idx="7495">4</cx:pt>
          <cx:pt idx="7496">5</cx:pt>
          <cx:pt idx="7497">5</cx:pt>
          <cx:pt idx="7498">2</cx:pt>
          <cx:pt idx="7499">1</cx:pt>
          <cx:pt idx="7500">3</cx:pt>
          <cx:pt idx="7501">4</cx:pt>
          <cx:pt idx="7502">5</cx:pt>
          <cx:pt idx="7503">3</cx:pt>
          <cx:pt idx="7504">2</cx:pt>
          <cx:pt idx="7505">1</cx:pt>
          <cx:pt idx="7506">5</cx:pt>
          <cx:pt idx="7507">1</cx:pt>
          <cx:pt idx="7508">4</cx:pt>
          <cx:pt idx="7509">1</cx:pt>
          <cx:pt idx="7510">4</cx:pt>
          <cx:pt idx="7511">5</cx:pt>
          <cx:pt idx="7512">1</cx:pt>
          <cx:pt idx="7513">4</cx:pt>
          <cx:pt idx="7514">3</cx:pt>
          <cx:pt idx="7515">3</cx:pt>
          <cx:pt idx="7516">4</cx:pt>
          <cx:pt idx="7517">1</cx:pt>
          <cx:pt idx="7518">1</cx:pt>
          <cx:pt idx="7519">4</cx:pt>
          <cx:pt idx="7520">4</cx:pt>
          <cx:pt idx="7521">3</cx:pt>
          <cx:pt idx="7522">5</cx:pt>
          <cx:pt idx="7523">1</cx:pt>
          <cx:pt idx="7524">5</cx:pt>
          <cx:pt idx="7525">1</cx:pt>
          <cx:pt idx="7526">3</cx:pt>
          <cx:pt idx="7527">3</cx:pt>
          <cx:pt idx="7528">5</cx:pt>
          <cx:pt idx="7529">5</cx:pt>
          <cx:pt idx="7530">5</cx:pt>
          <cx:pt idx="7531">3</cx:pt>
          <cx:pt idx="7532">1</cx:pt>
          <cx:pt idx="7533">4</cx:pt>
          <cx:pt idx="7534">2</cx:pt>
          <cx:pt idx="7535">4</cx:pt>
          <cx:pt idx="7536">3</cx:pt>
          <cx:pt idx="7537">4</cx:pt>
          <cx:pt idx="7538">4</cx:pt>
          <cx:pt idx="7539">5</cx:pt>
          <cx:pt idx="7540">4</cx:pt>
          <cx:pt idx="7541">2</cx:pt>
          <cx:pt idx="7542">4</cx:pt>
          <cx:pt idx="7543">5</cx:pt>
          <cx:pt idx="7544">1</cx:pt>
          <cx:pt idx="7545">2</cx:pt>
          <cx:pt idx="7546">5</cx:pt>
          <cx:pt idx="7547">4</cx:pt>
          <cx:pt idx="7548">5</cx:pt>
          <cx:pt idx="7549">5</cx:pt>
          <cx:pt idx="7550">3</cx:pt>
          <cx:pt idx="7551">5</cx:pt>
          <cx:pt idx="7552">5</cx:pt>
          <cx:pt idx="7553">4</cx:pt>
          <cx:pt idx="7554">4</cx:pt>
          <cx:pt idx="7555">5</cx:pt>
          <cx:pt idx="7556">4</cx:pt>
          <cx:pt idx="7557">1</cx:pt>
          <cx:pt idx="7558">5</cx:pt>
          <cx:pt idx="7559">3</cx:pt>
          <cx:pt idx="7560">4</cx:pt>
          <cx:pt idx="7561">3</cx:pt>
          <cx:pt idx="7562">4</cx:pt>
          <cx:pt idx="7563">5</cx:pt>
          <cx:pt idx="7564">5</cx:pt>
          <cx:pt idx="7565">1</cx:pt>
          <cx:pt idx="7566">5</cx:pt>
          <cx:pt idx="7567">4</cx:pt>
          <cx:pt idx="7568">1</cx:pt>
          <cx:pt idx="7569">3</cx:pt>
          <cx:pt idx="7570">4</cx:pt>
          <cx:pt idx="7571">1</cx:pt>
          <cx:pt idx="7572">3</cx:pt>
          <cx:pt idx="7573">1</cx:pt>
          <cx:pt idx="7574">4</cx:pt>
          <cx:pt idx="7575">4</cx:pt>
          <cx:pt idx="7576">3</cx:pt>
          <cx:pt idx="7577">3</cx:pt>
          <cx:pt idx="7578">2</cx:pt>
          <cx:pt idx="7579">4</cx:pt>
          <cx:pt idx="7580">4</cx:pt>
          <cx:pt idx="7581">4</cx:pt>
          <cx:pt idx="7582">5</cx:pt>
          <cx:pt idx="7583">3</cx:pt>
          <cx:pt idx="7584">4</cx:pt>
          <cx:pt idx="7585">5</cx:pt>
          <cx:pt idx="7586">5</cx:pt>
          <cx:pt idx="7587">3</cx:pt>
          <cx:pt idx="7588">4</cx:pt>
          <cx:pt idx="7589">2</cx:pt>
          <cx:pt idx="7590">2</cx:pt>
          <cx:pt idx="7591">5</cx:pt>
          <cx:pt idx="7592">1</cx:pt>
          <cx:pt idx="7593">4</cx:pt>
          <cx:pt idx="7594">3</cx:pt>
          <cx:pt idx="7595">1</cx:pt>
          <cx:pt idx="7596">1</cx:pt>
          <cx:pt idx="7597">5</cx:pt>
          <cx:pt idx="7598">4</cx:pt>
          <cx:pt idx="7599">4</cx:pt>
          <cx:pt idx="7600">2</cx:pt>
          <cx:pt idx="7601">4</cx:pt>
          <cx:pt idx="7602">4</cx:pt>
          <cx:pt idx="7603">1</cx:pt>
          <cx:pt idx="7604">4</cx:pt>
          <cx:pt idx="7605">1</cx:pt>
          <cx:pt idx="7606">4</cx:pt>
          <cx:pt idx="7607">5</cx:pt>
          <cx:pt idx="7608">4</cx:pt>
          <cx:pt idx="7609">3</cx:pt>
          <cx:pt idx="7610">5</cx:pt>
          <cx:pt idx="7611">3</cx:pt>
          <cx:pt idx="7612">4</cx:pt>
          <cx:pt idx="7613">5</cx:pt>
          <cx:pt idx="7614">4</cx:pt>
          <cx:pt idx="7615">4</cx:pt>
          <cx:pt idx="7616">2</cx:pt>
          <cx:pt idx="7617">3</cx:pt>
          <cx:pt idx="7618">1</cx:pt>
          <cx:pt idx="7619">2</cx:pt>
          <cx:pt idx="7620">1</cx:pt>
          <cx:pt idx="7621">5</cx:pt>
          <cx:pt idx="7622">4</cx:pt>
          <cx:pt idx="7623">4</cx:pt>
          <cx:pt idx="7624">3</cx:pt>
          <cx:pt idx="7625">2</cx:pt>
          <cx:pt idx="7626">2</cx:pt>
          <cx:pt idx="7627">2</cx:pt>
          <cx:pt idx="7628">4</cx:pt>
          <cx:pt idx="7629">4</cx:pt>
          <cx:pt idx="7630">4</cx:pt>
          <cx:pt idx="7631">2</cx:pt>
          <cx:pt idx="7632">2</cx:pt>
          <cx:pt idx="7633">2</cx:pt>
          <cx:pt idx="7634">5</cx:pt>
          <cx:pt idx="7635">5</cx:pt>
          <cx:pt idx="7636">3</cx:pt>
          <cx:pt idx="7637">4</cx:pt>
          <cx:pt idx="7638">3</cx:pt>
          <cx:pt idx="7639">5</cx:pt>
          <cx:pt idx="7640">3</cx:pt>
          <cx:pt idx="7641">3</cx:pt>
          <cx:pt idx="7642">5</cx:pt>
          <cx:pt idx="7643">4</cx:pt>
          <cx:pt idx="7644">5</cx:pt>
          <cx:pt idx="7645">5</cx:pt>
          <cx:pt idx="7646">5</cx:pt>
          <cx:pt idx="7647">2</cx:pt>
          <cx:pt idx="7648">2</cx:pt>
          <cx:pt idx="7649">4</cx:pt>
          <cx:pt idx="7650">1</cx:pt>
          <cx:pt idx="7651">4</cx:pt>
          <cx:pt idx="7652">4</cx:pt>
          <cx:pt idx="7653">2</cx:pt>
          <cx:pt idx="7654">3</cx:pt>
          <cx:pt idx="7655">3</cx:pt>
          <cx:pt idx="7656">2</cx:pt>
          <cx:pt idx="7657">3</cx:pt>
          <cx:pt idx="7658">5</cx:pt>
          <cx:pt idx="7659">4</cx:pt>
          <cx:pt idx="7660">1</cx:pt>
          <cx:pt idx="7661">3</cx:pt>
          <cx:pt idx="7662">2</cx:pt>
          <cx:pt idx="7663">1</cx:pt>
          <cx:pt idx="7664">3</cx:pt>
          <cx:pt idx="7665">4</cx:pt>
          <cx:pt idx="7666">3</cx:pt>
          <cx:pt idx="7667">3</cx:pt>
          <cx:pt idx="7668">5</cx:pt>
          <cx:pt idx="7669">4</cx:pt>
          <cx:pt idx="7670">4</cx:pt>
          <cx:pt idx="7671">1</cx:pt>
          <cx:pt idx="7672">3</cx:pt>
          <cx:pt idx="7673">2</cx:pt>
          <cx:pt idx="7674">3</cx:pt>
          <cx:pt idx="7675">5</cx:pt>
          <cx:pt idx="7676">1</cx:pt>
          <cx:pt idx="7677">3</cx:pt>
          <cx:pt idx="7678">5</cx:pt>
          <cx:pt idx="7679">1</cx:pt>
          <cx:pt idx="7680">1</cx:pt>
          <cx:pt idx="7681">5</cx:pt>
          <cx:pt idx="7682">5</cx:pt>
          <cx:pt idx="7683">2</cx:pt>
          <cx:pt idx="7684">4</cx:pt>
          <cx:pt idx="7685">5</cx:pt>
          <cx:pt idx="7686">1</cx:pt>
          <cx:pt idx="7687">2</cx:pt>
          <cx:pt idx="7688">2</cx:pt>
          <cx:pt idx="7689">4</cx:pt>
          <cx:pt idx="7690">5</cx:pt>
          <cx:pt idx="7691">4</cx:pt>
          <cx:pt idx="7692">5</cx:pt>
          <cx:pt idx="7693">5</cx:pt>
          <cx:pt idx="7694">1</cx:pt>
          <cx:pt idx="7695">1</cx:pt>
          <cx:pt idx="7696">5</cx:pt>
          <cx:pt idx="7697">5</cx:pt>
          <cx:pt idx="7698">4</cx:pt>
          <cx:pt idx="7699">4</cx:pt>
          <cx:pt idx="7700">1</cx:pt>
          <cx:pt idx="7701">5</cx:pt>
          <cx:pt idx="7702">3</cx:pt>
          <cx:pt idx="7703">5</cx:pt>
          <cx:pt idx="7704">3</cx:pt>
          <cx:pt idx="7705">4</cx:pt>
          <cx:pt idx="7706">5</cx:pt>
          <cx:pt idx="7707">5</cx:pt>
          <cx:pt idx="7708">4</cx:pt>
          <cx:pt idx="7709">4</cx:pt>
          <cx:pt idx="7710">3</cx:pt>
          <cx:pt idx="7711">1</cx:pt>
          <cx:pt idx="7712">5</cx:pt>
          <cx:pt idx="7713">4</cx:pt>
          <cx:pt idx="7714">4</cx:pt>
          <cx:pt idx="7715">1</cx:pt>
          <cx:pt idx="7716">2</cx:pt>
          <cx:pt idx="7717">1</cx:pt>
          <cx:pt idx="7718">2</cx:pt>
          <cx:pt idx="7719">5</cx:pt>
          <cx:pt idx="7720">5</cx:pt>
          <cx:pt idx="7721">5</cx:pt>
          <cx:pt idx="7722">4</cx:pt>
          <cx:pt idx="7723">4</cx:pt>
          <cx:pt idx="7724">5</cx:pt>
          <cx:pt idx="7725">4</cx:pt>
          <cx:pt idx="7726">5</cx:pt>
          <cx:pt idx="7727">2</cx:pt>
          <cx:pt idx="7728">4</cx:pt>
          <cx:pt idx="7729">1</cx:pt>
          <cx:pt idx="7730">4</cx:pt>
          <cx:pt idx="7731">5</cx:pt>
          <cx:pt idx="7732">4</cx:pt>
          <cx:pt idx="7733">3</cx:pt>
          <cx:pt idx="7734">4</cx:pt>
          <cx:pt idx="7735">2</cx:pt>
          <cx:pt idx="7736">1</cx:pt>
          <cx:pt idx="7737">5</cx:pt>
          <cx:pt idx="7738">3</cx:pt>
          <cx:pt idx="7739">1</cx:pt>
          <cx:pt idx="7740">4</cx:pt>
          <cx:pt idx="7741">5</cx:pt>
          <cx:pt idx="7742">5</cx:pt>
          <cx:pt idx="7743">3</cx:pt>
          <cx:pt idx="7744">2</cx:pt>
          <cx:pt idx="7745">2</cx:pt>
          <cx:pt idx="7746">1</cx:pt>
          <cx:pt idx="7747">5</cx:pt>
          <cx:pt idx="7748">4</cx:pt>
          <cx:pt idx="7749">4</cx:pt>
          <cx:pt idx="7750">5</cx:pt>
          <cx:pt idx="7751">4</cx:pt>
          <cx:pt idx="7752">5</cx:pt>
          <cx:pt idx="7753">1</cx:pt>
          <cx:pt idx="7754">4</cx:pt>
          <cx:pt idx="7755">3</cx:pt>
          <cx:pt idx="7756">2</cx:pt>
          <cx:pt idx="7757">5</cx:pt>
          <cx:pt idx="7758">2</cx:pt>
          <cx:pt idx="7759">2</cx:pt>
          <cx:pt idx="7760">4</cx:pt>
          <cx:pt idx="7761">5</cx:pt>
          <cx:pt idx="7762">2</cx:pt>
          <cx:pt idx="7763">4</cx:pt>
          <cx:pt idx="7764">4</cx:pt>
          <cx:pt idx="7765">4</cx:pt>
          <cx:pt idx="7766">5</cx:pt>
          <cx:pt idx="7767">4</cx:pt>
          <cx:pt idx="7768">4</cx:pt>
          <cx:pt idx="7769">5</cx:pt>
          <cx:pt idx="7770">5</cx:pt>
          <cx:pt idx="7771">3</cx:pt>
          <cx:pt idx="7772">4</cx:pt>
          <cx:pt idx="7773">3</cx:pt>
          <cx:pt idx="7774">4</cx:pt>
          <cx:pt idx="7775">5</cx:pt>
          <cx:pt idx="7776">3</cx:pt>
          <cx:pt idx="7777">2</cx:pt>
          <cx:pt idx="7778">1</cx:pt>
          <cx:pt idx="7779">5</cx:pt>
          <cx:pt idx="7780">2</cx:pt>
          <cx:pt idx="7781">3</cx:pt>
          <cx:pt idx="7782">2</cx:pt>
          <cx:pt idx="7783">5</cx:pt>
          <cx:pt idx="7784">5</cx:pt>
          <cx:pt idx="7785">5</cx:pt>
          <cx:pt idx="7786">4</cx:pt>
          <cx:pt idx="7787">4</cx:pt>
          <cx:pt idx="7788">3</cx:pt>
          <cx:pt idx="7789">3</cx:pt>
          <cx:pt idx="7790">4</cx:pt>
          <cx:pt idx="7791">4</cx:pt>
          <cx:pt idx="7792">5</cx:pt>
          <cx:pt idx="7793">3</cx:pt>
          <cx:pt idx="7794">4</cx:pt>
          <cx:pt idx="7795">4</cx:pt>
          <cx:pt idx="7796">4</cx:pt>
          <cx:pt idx="7797">3</cx:pt>
          <cx:pt idx="7798">2</cx:pt>
          <cx:pt idx="7799">1</cx:pt>
          <cx:pt idx="7800">4</cx:pt>
          <cx:pt idx="7801">2</cx:pt>
          <cx:pt idx="7802">5</cx:pt>
          <cx:pt idx="7803">3</cx:pt>
          <cx:pt idx="7804">4</cx:pt>
          <cx:pt idx="7805">5</cx:pt>
          <cx:pt idx="7806">4</cx:pt>
          <cx:pt idx="7807">4</cx:pt>
          <cx:pt idx="7808">5</cx:pt>
          <cx:pt idx="7809">3</cx:pt>
          <cx:pt idx="7810">2</cx:pt>
          <cx:pt idx="7811">3</cx:pt>
          <cx:pt idx="7812">5</cx:pt>
          <cx:pt idx="7813">5</cx:pt>
          <cx:pt idx="7814">2</cx:pt>
          <cx:pt idx="7815">2</cx:pt>
          <cx:pt idx="7816">2</cx:pt>
          <cx:pt idx="7817">2</cx:pt>
          <cx:pt idx="7818">1</cx:pt>
          <cx:pt idx="7819">4</cx:pt>
          <cx:pt idx="7820">4</cx:pt>
          <cx:pt idx="7821">2</cx:pt>
          <cx:pt idx="7822">3</cx:pt>
          <cx:pt idx="7823">3</cx:pt>
          <cx:pt idx="7824">4</cx:pt>
          <cx:pt idx="7825">5</cx:pt>
          <cx:pt idx="7826">1</cx:pt>
          <cx:pt idx="7827">3</cx:pt>
          <cx:pt idx="7828">4</cx:pt>
          <cx:pt idx="7829">4</cx:pt>
          <cx:pt idx="7830">1</cx:pt>
          <cx:pt idx="7831">4</cx:pt>
          <cx:pt idx="7832">3</cx:pt>
          <cx:pt idx="7833">4</cx:pt>
          <cx:pt idx="7834">2</cx:pt>
          <cx:pt idx="7835">5</cx:pt>
          <cx:pt idx="7836">3</cx:pt>
          <cx:pt idx="7837">4</cx:pt>
          <cx:pt idx="7838">4</cx:pt>
          <cx:pt idx="7839">5</cx:pt>
          <cx:pt idx="7840">3</cx:pt>
          <cx:pt idx="7841">5</cx:pt>
          <cx:pt idx="7842">4</cx:pt>
          <cx:pt idx="7843">3</cx:pt>
          <cx:pt idx="7844">5</cx:pt>
          <cx:pt idx="7845">4</cx:pt>
          <cx:pt idx="7846">4</cx:pt>
          <cx:pt idx="7847">3</cx:pt>
          <cx:pt idx="7848">4</cx:pt>
          <cx:pt idx="7849">3</cx:pt>
          <cx:pt idx="7850">4</cx:pt>
          <cx:pt idx="7851">5</cx:pt>
          <cx:pt idx="7852">2</cx:pt>
          <cx:pt idx="7853">1</cx:pt>
          <cx:pt idx="7854">4</cx:pt>
          <cx:pt idx="7855">3</cx:pt>
          <cx:pt idx="7856">1</cx:pt>
          <cx:pt idx="7857">3</cx:pt>
          <cx:pt idx="7858">4</cx:pt>
          <cx:pt idx="7859">4</cx:pt>
          <cx:pt idx="7860">3</cx:pt>
          <cx:pt idx="7861">1</cx:pt>
          <cx:pt idx="7862">3</cx:pt>
          <cx:pt idx="7863">3</cx:pt>
          <cx:pt idx="7864">5</cx:pt>
          <cx:pt idx="7865">4</cx:pt>
          <cx:pt idx="7866">5</cx:pt>
          <cx:pt idx="7867">4</cx:pt>
          <cx:pt idx="7868">4</cx:pt>
          <cx:pt idx="7869">1</cx:pt>
          <cx:pt idx="7870">1</cx:pt>
          <cx:pt idx="7871">3</cx:pt>
          <cx:pt idx="7872">1</cx:pt>
          <cx:pt idx="7873">5</cx:pt>
          <cx:pt idx="7874">4</cx:pt>
          <cx:pt idx="7875">2</cx:pt>
          <cx:pt idx="7876">4</cx:pt>
          <cx:pt idx="7877">3</cx:pt>
          <cx:pt idx="7878">2</cx:pt>
          <cx:pt idx="7879">1</cx:pt>
          <cx:pt idx="7880">2</cx:pt>
          <cx:pt idx="7881">4</cx:pt>
          <cx:pt idx="7882">4</cx:pt>
          <cx:pt idx="7883">3</cx:pt>
          <cx:pt idx="7884">3</cx:pt>
          <cx:pt idx="7885">5</cx:pt>
          <cx:pt idx="7886">5</cx:pt>
          <cx:pt idx="7887">4</cx:pt>
          <cx:pt idx="7888">5</cx:pt>
          <cx:pt idx="7889">4</cx:pt>
          <cx:pt idx="7890">3</cx:pt>
          <cx:pt idx="7891">3</cx:pt>
          <cx:pt idx="7892">5</cx:pt>
          <cx:pt idx="7893">5</cx:pt>
          <cx:pt idx="7894">4</cx:pt>
          <cx:pt idx="7895">1</cx:pt>
          <cx:pt idx="7896">1</cx:pt>
          <cx:pt idx="7897">3</cx:pt>
          <cx:pt idx="7898">1</cx:pt>
          <cx:pt idx="7899">3</cx:pt>
          <cx:pt idx="7900">2</cx:pt>
          <cx:pt idx="7901">4</cx:pt>
          <cx:pt idx="7902">1</cx:pt>
          <cx:pt idx="7903">2</cx:pt>
          <cx:pt idx="7904">3</cx:pt>
          <cx:pt idx="7905">4</cx:pt>
          <cx:pt idx="7906">1</cx:pt>
          <cx:pt idx="7907">2</cx:pt>
          <cx:pt idx="7908">4</cx:pt>
          <cx:pt idx="7909">4</cx:pt>
          <cx:pt idx="7910">3</cx:pt>
          <cx:pt idx="7911">4</cx:pt>
          <cx:pt idx="7912">4</cx:pt>
          <cx:pt idx="7913">5</cx:pt>
          <cx:pt idx="7914">4</cx:pt>
          <cx:pt idx="7915">1</cx:pt>
          <cx:pt idx="7916">2</cx:pt>
          <cx:pt idx="7917">4</cx:pt>
          <cx:pt idx="7918">4</cx:pt>
          <cx:pt idx="7919">1</cx:pt>
          <cx:pt idx="7920">4</cx:pt>
          <cx:pt idx="7921">2</cx:pt>
          <cx:pt idx="7922">3</cx:pt>
          <cx:pt idx="7923">1</cx:pt>
          <cx:pt idx="7924">5</cx:pt>
          <cx:pt idx="7925">5</cx:pt>
          <cx:pt idx="7926">4</cx:pt>
          <cx:pt idx="7927">2</cx:pt>
          <cx:pt idx="7928">5</cx:pt>
          <cx:pt idx="7929">5</cx:pt>
          <cx:pt idx="7930">3</cx:pt>
          <cx:pt idx="7931">4</cx:pt>
          <cx:pt idx="7932">5</cx:pt>
          <cx:pt idx="7933">3</cx:pt>
          <cx:pt idx="7934">4</cx:pt>
          <cx:pt idx="7935">5</cx:pt>
          <cx:pt idx="7936">5</cx:pt>
          <cx:pt idx="7937">3</cx:pt>
          <cx:pt idx="7938">4</cx:pt>
          <cx:pt idx="7939">5</cx:pt>
          <cx:pt idx="7940">2</cx:pt>
          <cx:pt idx="7941">5</cx:pt>
          <cx:pt idx="7942">4</cx:pt>
          <cx:pt idx="7943">2</cx:pt>
          <cx:pt idx="7944">4</cx:pt>
          <cx:pt idx="7945">4</cx:pt>
          <cx:pt idx="7946">3</cx:pt>
          <cx:pt idx="7947">1</cx:pt>
          <cx:pt idx="7948">4</cx:pt>
          <cx:pt idx="7949">3</cx:pt>
          <cx:pt idx="7950">4</cx:pt>
          <cx:pt idx="7951">4</cx:pt>
          <cx:pt idx="7952">2</cx:pt>
          <cx:pt idx="7953">4</cx:pt>
          <cx:pt idx="7954">3</cx:pt>
          <cx:pt idx="7955">3</cx:pt>
          <cx:pt idx="7956">1</cx:pt>
          <cx:pt idx="7957">4</cx:pt>
          <cx:pt idx="7958">5</cx:pt>
          <cx:pt idx="7959">2</cx:pt>
          <cx:pt idx="7960">5</cx:pt>
          <cx:pt idx="7961">2</cx:pt>
          <cx:pt idx="7962">1</cx:pt>
          <cx:pt idx="7963">5</cx:pt>
          <cx:pt idx="7964">1</cx:pt>
          <cx:pt idx="7965">4</cx:pt>
          <cx:pt idx="7966">4</cx:pt>
          <cx:pt idx="7967">5</cx:pt>
          <cx:pt idx="7968">4</cx:pt>
          <cx:pt idx="7969">1</cx:pt>
          <cx:pt idx="7970">4</cx:pt>
          <cx:pt idx="7971">5</cx:pt>
          <cx:pt idx="7972">2</cx:pt>
          <cx:pt idx="7973">4</cx:pt>
          <cx:pt idx="7974">3</cx:pt>
          <cx:pt idx="7975">5</cx:pt>
          <cx:pt idx="7976">2</cx:pt>
          <cx:pt idx="7977">5</cx:pt>
          <cx:pt idx="7978">4</cx:pt>
          <cx:pt idx="7979">1</cx:pt>
          <cx:pt idx="7980">5</cx:pt>
          <cx:pt idx="7981">5</cx:pt>
          <cx:pt idx="7982">5</cx:pt>
          <cx:pt idx="7983">3</cx:pt>
          <cx:pt idx="7984">5</cx:pt>
          <cx:pt idx="7985">2</cx:pt>
          <cx:pt idx="7986">3</cx:pt>
          <cx:pt idx="7987">4</cx:pt>
          <cx:pt idx="7988">2</cx:pt>
          <cx:pt idx="7989">4</cx:pt>
          <cx:pt idx="7990">1</cx:pt>
          <cx:pt idx="7991">2</cx:pt>
          <cx:pt idx="7992">4</cx:pt>
          <cx:pt idx="7993">2</cx:pt>
          <cx:pt idx="7994">3</cx:pt>
          <cx:pt idx="7995">5</cx:pt>
          <cx:pt idx="7996">4</cx:pt>
          <cx:pt idx="7997">4</cx:pt>
          <cx:pt idx="7998">5</cx:pt>
          <cx:pt idx="7999">3</cx:pt>
          <cx:pt idx="8000">4</cx:pt>
          <cx:pt idx="8001">3</cx:pt>
          <cx:pt idx="8002">4</cx:pt>
          <cx:pt idx="8003">3</cx:pt>
          <cx:pt idx="8004">3</cx:pt>
          <cx:pt idx="8005">3</cx:pt>
          <cx:pt idx="8006">3</cx:pt>
          <cx:pt idx="8007">4</cx:pt>
          <cx:pt idx="8008">4</cx:pt>
          <cx:pt idx="8009">4</cx:pt>
          <cx:pt idx="8010">3</cx:pt>
          <cx:pt idx="8011">4</cx:pt>
          <cx:pt idx="8012">4</cx:pt>
          <cx:pt idx="8013">1</cx:pt>
          <cx:pt idx="8014">5</cx:pt>
          <cx:pt idx="8015">3</cx:pt>
          <cx:pt idx="8016">5</cx:pt>
          <cx:pt idx="8017">2</cx:pt>
          <cx:pt idx="8018">1</cx:pt>
          <cx:pt idx="8019">2</cx:pt>
          <cx:pt idx="8020">2</cx:pt>
          <cx:pt idx="8021">4</cx:pt>
          <cx:pt idx="8022">2</cx:pt>
          <cx:pt idx="8023">4</cx:pt>
          <cx:pt idx="8024">3</cx:pt>
          <cx:pt idx="8025">4</cx:pt>
          <cx:pt idx="8026">3</cx:pt>
          <cx:pt idx="8027">4</cx:pt>
          <cx:pt idx="8028">4</cx:pt>
          <cx:pt idx="8029">3</cx:pt>
          <cx:pt idx="8030">3</cx:pt>
          <cx:pt idx="8031">4</cx:pt>
          <cx:pt idx="8032">3</cx:pt>
          <cx:pt idx="8033">4</cx:pt>
          <cx:pt idx="8034">5</cx:pt>
          <cx:pt idx="8035">5</cx:pt>
          <cx:pt idx="8036">4</cx:pt>
          <cx:pt idx="8037">2</cx:pt>
          <cx:pt idx="8038">1</cx:pt>
          <cx:pt idx="8039">4</cx:pt>
          <cx:pt idx="8040">1</cx:pt>
          <cx:pt idx="8041">3</cx:pt>
          <cx:pt idx="8042">4</cx:pt>
          <cx:pt idx="8043">5</cx:pt>
          <cx:pt idx="8044">5</cx:pt>
          <cx:pt idx="8045">3</cx:pt>
          <cx:pt idx="8046">1</cx:pt>
          <cx:pt idx="8047">5</cx:pt>
          <cx:pt idx="8048">2</cx:pt>
          <cx:pt idx="8049">2</cx:pt>
          <cx:pt idx="8050">4</cx:pt>
          <cx:pt idx="8051">4</cx:pt>
          <cx:pt idx="8052">2</cx:pt>
          <cx:pt idx="8053">4</cx:pt>
          <cx:pt idx="8054">4</cx:pt>
          <cx:pt idx="8055">4</cx:pt>
          <cx:pt idx="8056">4</cx:pt>
          <cx:pt idx="8057">5</cx:pt>
          <cx:pt idx="8058">4</cx:pt>
          <cx:pt idx="8059">3</cx:pt>
          <cx:pt idx="8060">3</cx:pt>
          <cx:pt idx="8061">1</cx:pt>
          <cx:pt idx="8062">4</cx:pt>
          <cx:pt idx="8063">3</cx:pt>
          <cx:pt idx="8064">2</cx:pt>
          <cx:pt idx="8065">2</cx:pt>
          <cx:pt idx="8066">3</cx:pt>
          <cx:pt idx="8067">1</cx:pt>
          <cx:pt idx="8068">4</cx:pt>
          <cx:pt idx="8069">5</cx:pt>
          <cx:pt idx="8070">4</cx:pt>
          <cx:pt idx="8071">2</cx:pt>
          <cx:pt idx="8072">4</cx:pt>
          <cx:pt idx="8073">3</cx:pt>
          <cx:pt idx="8074">3</cx:pt>
          <cx:pt idx="8075">4</cx:pt>
          <cx:pt idx="8076">5</cx:pt>
          <cx:pt idx="8077">4</cx:pt>
          <cx:pt idx="8078">2</cx:pt>
          <cx:pt idx="8079">4</cx:pt>
          <cx:pt idx="8080">2</cx:pt>
          <cx:pt idx="8081">3</cx:pt>
          <cx:pt idx="8082">4</cx:pt>
          <cx:pt idx="8083">4</cx:pt>
          <cx:pt idx="8084">4</cx:pt>
          <cx:pt idx="8085">4</cx:pt>
          <cx:pt idx="8086">4</cx:pt>
          <cx:pt idx="8087">4</cx:pt>
          <cx:pt idx="8088">5</cx:pt>
          <cx:pt idx="8089">1</cx:pt>
          <cx:pt idx="8090">3</cx:pt>
          <cx:pt idx="8091">4</cx:pt>
          <cx:pt idx="8092">5</cx:pt>
          <cx:pt idx="8093">4</cx:pt>
          <cx:pt idx="8094">1</cx:pt>
          <cx:pt idx="8095">3</cx:pt>
          <cx:pt idx="8096">5</cx:pt>
          <cx:pt idx="8097">2</cx:pt>
          <cx:pt idx="8098">4</cx:pt>
          <cx:pt idx="8099">5</cx:pt>
          <cx:pt idx="8100">2</cx:pt>
          <cx:pt idx="8101">3</cx:pt>
          <cx:pt idx="8102">2</cx:pt>
          <cx:pt idx="8103">2</cx:pt>
          <cx:pt idx="8104">4</cx:pt>
          <cx:pt idx="8105">4</cx:pt>
          <cx:pt idx="8106">2</cx:pt>
          <cx:pt idx="8107">2</cx:pt>
          <cx:pt idx="8108">2</cx:pt>
          <cx:pt idx="8109">1</cx:pt>
          <cx:pt idx="8110">3</cx:pt>
          <cx:pt idx="8111">4</cx:pt>
          <cx:pt idx="8112">4</cx:pt>
          <cx:pt idx="8113">5</cx:pt>
          <cx:pt idx="8114">3</cx:pt>
          <cx:pt idx="8115">4</cx:pt>
          <cx:pt idx="8116">5</cx:pt>
          <cx:pt idx="8117">1</cx:pt>
          <cx:pt idx="8118">5</cx:pt>
          <cx:pt idx="8119">4</cx:pt>
          <cx:pt idx="8120">4</cx:pt>
          <cx:pt idx="8121">2</cx:pt>
          <cx:pt idx="8122">1</cx:pt>
          <cx:pt idx="8123">2</cx:pt>
          <cx:pt idx="8124">4</cx:pt>
          <cx:pt idx="8125">1</cx:pt>
          <cx:pt idx="8126">4</cx:pt>
          <cx:pt idx="8127">1</cx:pt>
          <cx:pt idx="8128">5</cx:pt>
          <cx:pt idx="8129">2</cx:pt>
          <cx:pt idx="8130">3</cx:pt>
          <cx:pt idx="8131">1</cx:pt>
          <cx:pt idx="8132">4</cx:pt>
          <cx:pt idx="8133">3</cx:pt>
          <cx:pt idx="8134">5</cx:pt>
          <cx:pt idx="8135">4</cx:pt>
          <cx:pt idx="8136">2</cx:pt>
          <cx:pt idx="8137">3</cx:pt>
          <cx:pt idx="8138">4</cx:pt>
          <cx:pt idx="8139">4</cx:pt>
          <cx:pt idx="8140">5</cx:pt>
          <cx:pt idx="8141">4</cx:pt>
          <cx:pt idx="8142">4</cx:pt>
          <cx:pt idx="8143">1</cx:pt>
          <cx:pt idx="8144">2</cx:pt>
          <cx:pt idx="8145">4</cx:pt>
          <cx:pt idx="8146">5</cx:pt>
          <cx:pt idx="8147">5</cx:pt>
          <cx:pt idx="8148">5</cx:pt>
          <cx:pt idx="8149">4</cx:pt>
          <cx:pt idx="8150">4</cx:pt>
          <cx:pt idx="8151">2</cx:pt>
          <cx:pt idx="8152">2</cx:pt>
          <cx:pt idx="8153">4</cx:pt>
          <cx:pt idx="8154">3</cx:pt>
          <cx:pt idx="8155">1</cx:pt>
          <cx:pt idx="8156">5</cx:pt>
          <cx:pt idx="8157">5</cx:pt>
          <cx:pt idx="8158">1</cx:pt>
          <cx:pt idx="8159">3</cx:pt>
          <cx:pt idx="8160">1</cx:pt>
          <cx:pt idx="8161">4</cx:pt>
          <cx:pt idx="8162">5</cx:pt>
          <cx:pt idx="8163">3</cx:pt>
          <cx:pt idx="8164">5</cx:pt>
          <cx:pt idx="8165">5</cx:pt>
          <cx:pt idx="8166">5</cx:pt>
          <cx:pt idx="8167">3</cx:pt>
          <cx:pt idx="8168">5</cx:pt>
          <cx:pt idx="8169">1</cx:pt>
          <cx:pt idx="8170">4</cx:pt>
          <cx:pt idx="8171">4</cx:pt>
          <cx:pt idx="8172">4</cx:pt>
          <cx:pt idx="8173">5</cx:pt>
          <cx:pt idx="8174">3</cx:pt>
          <cx:pt idx="8175">5</cx:pt>
          <cx:pt idx="8176">5</cx:pt>
          <cx:pt idx="8177">4</cx:pt>
          <cx:pt idx="8178">4</cx:pt>
          <cx:pt idx="8179">3</cx:pt>
          <cx:pt idx="8180">3</cx:pt>
          <cx:pt idx="8181">4</cx:pt>
          <cx:pt idx="8182">4</cx:pt>
          <cx:pt idx="8183">1</cx:pt>
          <cx:pt idx="8184">2</cx:pt>
          <cx:pt idx="8185">3</cx:pt>
          <cx:pt idx="8186">1</cx:pt>
          <cx:pt idx="8187">2</cx:pt>
          <cx:pt idx="8188">4</cx:pt>
          <cx:pt idx="8189">5</cx:pt>
          <cx:pt idx="8190">2</cx:pt>
          <cx:pt idx="8191">2</cx:pt>
          <cx:pt idx="8192">2</cx:pt>
          <cx:pt idx="8193">5</cx:pt>
          <cx:pt idx="8194">1</cx:pt>
          <cx:pt idx="8195">4</cx:pt>
          <cx:pt idx="8196">5</cx:pt>
          <cx:pt idx="8197">5</cx:pt>
          <cx:pt idx="8198">2</cx:pt>
          <cx:pt idx="8199">4</cx:pt>
          <cx:pt idx="8200">5</cx:pt>
          <cx:pt idx="8201">4</cx:pt>
          <cx:pt idx="8202">4</cx:pt>
          <cx:pt idx="8203">4</cx:pt>
          <cx:pt idx="8204">4</cx:pt>
          <cx:pt idx="8205">3</cx:pt>
          <cx:pt idx="8206">5</cx:pt>
          <cx:pt idx="8207">1</cx:pt>
          <cx:pt idx="8208">4</cx:pt>
          <cx:pt idx="8209">3</cx:pt>
          <cx:pt idx="8210">2</cx:pt>
          <cx:pt idx="8211">3</cx:pt>
          <cx:pt idx="8212">4</cx:pt>
          <cx:pt idx="8213">3</cx:pt>
          <cx:pt idx="8214">1</cx:pt>
          <cx:pt idx="8215">4</cx:pt>
          <cx:pt idx="8216">1</cx:pt>
          <cx:pt idx="8217">2</cx:pt>
          <cx:pt idx="8218">1</cx:pt>
          <cx:pt idx="8219">5</cx:pt>
          <cx:pt idx="8220">4</cx:pt>
          <cx:pt idx="8221">1</cx:pt>
          <cx:pt idx="8222">4</cx:pt>
          <cx:pt idx="8223">5</cx:pt>
          <cx:pt idx="8224">4</cx:pt>
          <cx:pt idx="8225">1</cx:pt>
          <cx:pt idx="8226">4</cx:pt>
          <cx:pt idx="8227">5</cx:pt>
          <cx:pt idx="8228">4</cx:pt>
          <cx:pt idx="8229">5</cx:pt>
          <cx:pt idx="8230">5</cx:pt>
          <cx:pt idx="8231">5</cx:pt>
          <cx:pt idx="8232">1</cx:pt>
          <cx:pt idx="8233">3</cx:pt>
          <cx:pt idx="8234">5</cx:pt>
          <cx:pt idx="8235">4</cx:pt>
          <cx:pt idx="8236">4</cx:pt>
          <cx:pt idx="8237">5</cx:pt>
          <cx:pt idx="8238">2</cx:pt>
          <cx:pt idx="8239">1</cx:pt>
          <cx:pt idx="8240">4</cx:pt>
          <cx:pt idx="8241">4</cx:pt>
          <cx:pt idx="8242">3</cx:pt>
          <cx:pt idx="8243">5</cx:pt>
          <cx:pt idx="8244">2</cx:pt>
          <cx:pt idx="8245">4</cx:pt>
          <cx:pt idx="8246">3</cx:pt>
          <cx:pt idx="8247">5</cx:pt>
          <cx:pt idx="8248">5</cx:pt>
          <cx:pt idx="8249">4</cx:pt>
          <cx:pt idx="8250">5</cx:pt>
          <cx:pt idx="8251">1</cx:pt>
          <cx:pt idx="8252">5</cx:pt>
          <cx:pt idx="8253">2</cx:pt>
          <cx:pt idx="8254">1</cx:pt>
          <cx:pt idx="8255">4</cx:pt>
          <cx:pt idx="8256">4</cx:pt>
          <cx:pt idx="8257">1</cx:pt>
          <cx:pt idx="8258">2</cx:pt>
          <cx:pt idx="8259">1</cx:pt>
          <cx:pt idx="8260">4</cx:pt>
          <cx:pt idx="8261">1</cx:pt>
          <cx:pt idx="8262">4</cx:pt>
          <cx:pt idx="8263">4</cx:pt>
          <cx:pt idx="8264">4</cx:pt>
          <cx:pt idx="8265">2</cx:pt>
          <cx:pt idx="8266">5</cx:pt>
          <cx:pt idx="8267">1</cx:pt>
          <cx:pt idx="8268">4</cx:pt>
          <cx:pt idx="8269">5</cx:pt>
          <cx:pt idx="8270">3</cx:pt>
          <cx:pt idx="8271">1</cx:pt>
          <cx:pt idx="8272">4</cx:pt>
          <cx:pt idx="8273">2</cx:pt>
          <cx:pt idx="8274">3</cx:pt>
          <cx:pt idx="8275">4</cx:pt>
          <cx:pt idx="8276">4</cx:pt>
          <cx:pt idx="8277">3</cx:pt>
          <cx:pt idx="8278">4</cx:pt>
          <cx:pt idx="8279">5</cx:pt>
          <cx:pt idx="8280">4</cx:pt>
          <cx:pt idx="8281">5</cx:pt>
          <cx:pt idx="8282">3</cx:pt>
          <cx:pt idx="8283">1</cx:pt>
          <cx:pt idx="8284">1</cx:pt>
          <cx:pt idx="8285">5</cx:pt>
          <cx:pt idx="8286">2</cx:pt>
          <cx:pt idx="8287">4</cx:pt>
          <cx:pt idx="8288">4</cx:pt>
          <cx:pt idx="8289">5</cx:pt>
          <cx:pt idx="8290">5</cx:pt>
          <cx:pt idx="8291">3</cx:pt>
          <cx:pt idx="8292">3</cx:pt>
          <cx:pt idx="8293">3</cx:pt>
          <cx:pt idx="8294">5</cx:pt>
          <cx:pt idx="8295">4</cx:pt>
          <cx:pt idx="8296">3</cx:pt>
          <cx:pt idx="8297">5</cx:pt>
          <cx:pt idx="8298">4</cx:pt>
          <cx:pt idx="8299">3</cx:pt>
          <cx:pt idx="8300">1</cx:pt>
          <cx:pt idx="8301">3</cx:pt>
          <cx:pt idx="8302">5</cx:pt>
          <cx:pt idx="8303">4</cx:pt>
          <cx:pt idx="8304">2</cx:pt>
          <cx:pt idx="8305">5</cx:pt>
          <cx:pt idx="8306">3</cx:pt>
          <cx:pt idx="8307">4</cx:pt>
          <cx:pt idx="8308">3</cx:pt>
          <cx:pt idx="8309">4</cx:pt>
          <cx:pt idx="8310">4</cx:pt>
          <cx:pt idx="8311">4</cx:pt>
          <cx:pt idx="8312">5</cx:pt>
          <cx:pt idx="8313">4</cx:pt>
          <cx:pt idx="8314">4</cx:pt>
          <cx:pt idx="8315">2</cx:pt>
          <cx:pt idx="8316">4</cx:pt>
          <cx:pt idx="8317">1</cx:pt>
          <cx:pt idx="8318">4</cx:pt>
          <cx:pt idx="8319">4</cx:pt>
          <cx:pt idx="8320">5</cx:pt>
          <cx:pt idx="8321">4</cx:pt>
          <cx:pt idx="8322">5</cx:pt>
          <cx:pt idx="8323">4</cx:pt>
          <cx:pt idx="8324">4</cx:pt>
          <cx:pt idx="8325">3</cx:pt>
          <cx:pt idx="8326">2</cx:pt>
          <cx:pt idx="8327">4</cx:pt>
          <cx:pt idx="8328">5</cx:pt>
          <cx:pt idx="8329">4</cx:pt>
          <cx:pt idx="8330">4</cx:pt>
          <cx:pt idx="8331">2</cx:pt>
          <cx:pt idx="8332">3</cx:pt>
          <cx:pt idx="8333">2</cx:pt>
          <cx:pt idx="8334">4</cx:pt>
          <cx:pt idx="8335">4</cx:pt>
          <cx:pt idx="8336">4</cx:pt>
          <cx:pt idx="8337">2</cx:pt>
          <cx:pt idx="8338">2</cx:pt>
          <cx:pt idx="8339">1</cx:pt>
          <cx:pt idx="8340">2</cx:pt>
          <cx:pt idx="8341">5</cx:pt>
          <cx:pt idx="8342">4</cx:pt>
          <cx:pt idx="8343">5</cx:pt>
          <cx:pt idx="8344">5</cx:pt>
          <cx:pt idx="8345">3</cx:pt>
          <cx:pt idx="8346">1</cx:pt>
          <cx:pt idx="8347">5</cx:pt>
          <cx:pt idx="8348">4</cx:pt>
          <cx:pt idx="8349">5</cx:pt>
          <cx:pt idx="8350">4</cx:pt>
          <cx:pt idx="8351">5</cx:pt>
          <cx:pt idx="8352">3</cx:pt>
          <cx:pt idx="8353">4</cx:pt>
          <cx:pt idx="8354">4</cx:pt>
          <cx:pt idx="8355">5</cx:pt>
          <cx:pt idx="8356">4</cx:pt>
          <cx:pt idx="8357">4</cx:pt>
          <cx:pt idx="8358">1</cx:pt>
          <cx:pt idx="8359">4</cx:pt>
          <cx:pt idx="8360">4</cx:pt>
          <cx:pt idx="8361">5</cx:pt>
          <cx:pt idx="8362">4</cx:pt>
          <cx:pt idx="8363">5</cx:pt>
          <cx:pt idx="8364">4</cx:pt>
          <cx:pt idx="8365">1</cx:pt>
          <cx:pt idx="8366">2</cx:pt>
          <cx:pt idx="8367">2</cx:pt>
          <cx:pt idx="8368">4</cx:pt>
          <cx:pt idx="8369">4</cx:pt>
          <cx:pt idx="8370">3</cx:pt>
          <cx:pt idx="8371">4</cx:pt>
          <cx:pt idx="8372">1</cx:pt>
          <cx:pt idx="8373">1</cx:pt>
          <cx:pt idx="8374">4</cx:pt>
          <cx:pt idx="8375">2</cx:pt>
          <cx:pt idx="8376">3</cx:pt>
          <cx:pt idx="8377">3</cx:pt>
          <cx:pt idx="8378">4</cx:pt>
          <cx:pt idx="8379">5</cx:pt>
          <cx:pt idx="8380">1</cx:pt>
          <cx:pt idx="8381">4</cx:pt>
          <cx:pt idx="8382">5</cx:pt>
          <cx:pt idx="8383">1</cx:pt>
          <cx:pt idx="8384">1</cx:pt>
          <cx:pt idx="8385">5</cx:pt>
          <cx:pt idx="8386">3</cx:pt>
          <cx:pt idx="8387">3</cx:pt>
          <cx:pt idx="8388">4</cx:pt>
          <cx:pt idx="8389">1</cx:pt>
          <cx:pt idx="8390">2</cx:pt>
          <cx:pt idx="8391">4</cx:pt>
          <cx:pt idx="8392">4</cx:pt>
          <cx:pt idx="8393">3</cx:pt>
          <cx:pt idx="8394">3</cx:pt>
          <cx:pt idx="8395">5</cx:pt>
          <cx:pt idx="8396">5</cx:pt>
          <cx:pt idx="8397">3</cx:pt>
          <cx:pt idx="8398">2</cx:pt>
          <cx:pt idx="8399">1</cx:pt>
          <cx:pt idx="8400">3</cx:pt>
          <cx:pt idx="8401">5</cx:pt>
          <cx:pt idx="8402">5</cx:pt>
          <cx:pt idx="8403">1</cx:pt>
          <cx:pt idx="8404">2</cx:pt>
          <cx:pt idx="8405">4</cx:pt>
          <cx:pt idx="8406">5</cx:pt>
          <cx:pt idx="8407">5</cx:pt>
          <cx:pt idx="8408">4</cx:pt>
          <cx:pt idx="8409">3</cx:pt>
          <cx:pt idx="8410">4</cx:pt>
          <cx:pt idx="8411">2</cx:pt>
          <cx:pt idx="8412">4</cx:pt>
          <cx:pt idx="8413">1</cx:pt>
          <cx:pt idx="8414">5</cx:pt>
          <cx:pt idx="8415">3</cx:pt>
          <cx:pt idx="8416">3</cx:pt>
          <cx:pt idx="8417">2</cx:pt>
          <cx:pt idx="8418">5</cx:pt>
          <cx:pt idx="8419">5</cx:pt>
          <cx:pt idx="8420">2</cx:pt>
          <cx:pt idx="8421">3</cx:pt>
          <cx:pt idx="8422">4</cx:pt>
          <cx:pt idx="8423">4</cx:pt>
          <cx:pt idx="8424">4</cx:pt>
          <cx:pt idx="8425">1</cx:pt>
          <cx:pt idx="8426">3</cx:pt>
          <cx:pt idx="8427">4</cx:pt>
          <cx:pt idx="8428">2</cx:pt>
          <cx:pt idx="8429">5</cx:pt>
          <cx:pt idx="8430">4</cx:pt>
          <cx:pt idx="8431">1</cx:pt>
          <cx:pt idx="8432">4</cx:pt>
          <cx:pt idx="8433">2</cx:pt>
          <cx:pt idx="8434">4</cx:pt>
          <cx:pt idx="8435">4</cx:pt>
          <cx:pt idx="8436">1</cx:pt>
          <cx:pt idx="8437">2</cx:pt>
          <cx:pt idx="8438">2</cx:pt>
          <cx:pt idx="8439">3</cx:pt>
          <cx:pt idx="8440">2</cx:pt>
          <cx:pt idx="8441">4</cx:pt>
          <cx:pt idx="8442">4</cx:pt>
          <cx:pt idx="8443">1</cx:pt>
          <cx:pt idx="8444">4</cx:pt>
          <cx:pt idx="8445">5</cx:pt>
          <cx:pt idx="8446">5</cx:pt>
          <cx:pt idx="8447">4</cx:pt>
          <cx:pt idx="8448">4</cx:pt>
          <cx:pt idx="8449">5</cx:pt>
          <cx:pt idx="8450">5</cx:pt>
          <cx:pt idx="8451">4</cx:pt>
          <cx:pt idx="8452">2</cx:pt>
          <cx:pt idx="8453">3</cx:pt>
          <cx:pt idx="8454">1</cx:pt>
          <cx:pt idx="8455">2</cx:pt>
          <cx:pt idx="8456">1</cx:pt>
          <cx:pt idx="8457">3</cx:pt>
          <cx:pt idx="8458">4</cx:pt>
          <cx:pt idx="8459">1</cx:pt>
          <cx:pt idx="8460">2</cx:pt>
          <cx:pt idx="8461">5</cx:pt>
          <cx:pt idx="8462">4</cx:pt>
          <cx:pt idx="8463">4</cx:pt>
          <cx:pt idx="8464">5</cx:pt>
          <cx:pt idx="8465">5</cx:pt>
          <cx:pt idx="8466">2</cx:pt>
          <cx:pt idx="8467">2</cx:pt>
          <cx:pt idx="8468">1</cx:pt>
          <cx:pt idx="8469">5</cx:pt>
          <cx:pt idx="8470">5</cx:pt>
          <cx:pt idx="8471">5</cx:pt>
          <cx:pt idx="8472">1</cx:pt>
          <cx:pt idx="8473">2</cx:pt>
          <cx:pt idx="8474">2</cx:pt>
          <cx:pt idx="8475">4</cx:pt>
          <cx:pt idx="8476">2</cx:pt>
          <cx:pt idx="8477">1</cx:pt>
          <cx:pt idx="8478">4</cx:pt>
          <cx:pt idx="8479">5</cx:pt>
          <cx:pt idx="8480">3</cx:pt>
          <cx:pt idx="8481">1</cx:pt>
          <cx:pt idx="8482">4</cx:pt>
          <cx:pt idx="8483">4</cx:pt>
          <cx:pt idx="8484">1</cx:pt>
          <cx:pt idx="8485">4</cx:pt>
          <cx:pt idx="8486">5</cx:pt>
          <cx:pt idx="8487">3</cx:pt>
          <cx:pt idx="8488">2</cx:pt>
          <cx:pt idx="8489">5</cx:pt>
          <cx:pt idx="8490">3</cx:pt>
          <cx:pt idx="8491">1</cx:pt>
          <cx:pt idx="8492">1</cx:pt>
          <cx:pt idx="8493">3</cx:pt>
          <cx:pt idx="8494">4</cx:pt>
          <cx:pt idx="8495">4</cx:pt>
          <cx:pt idx="8496">4</cx:pt>
          <cx:pt idx="8497">2</cx:pt>
          <cx:pt idx="8498">1</cx:pt>
          <cx:pt idx="8499">3</cx:pt>
          <cx:pt idx="8500">1</cx:pt>
          <cx:pt idx="8501">3</cx:pt>
          <cx:pt idx="8502">4</cx:pt>
          <cx:pt idx="8503">4</cx:pt>
          <cx:pt idx="8504">5</cx:pt>
          <cx:pt idx="8505">4</cx:pt>
          <cx:pt idx="8506">5</cx:pt>
          <cx:pt idx="8507">2</cx:pt>
          <cx:pt idx="8508">3</cx:pt>
          <cx:pt idx="8509">3</cx:pt>
          <cx:pt idx="8510">2</cx:pt>
          <cx:pt idx="8511">3</cx:pt>
          <cx:pt idx="8512">5</cx:pt>
          <cx:pt idx="8513">2</cx:pt>
          <cx:pt idx="8514">3</cx:pt>
          <cx:pt idx="8515">3</cx:pt>
          <cx:pt idx="8516">4</cx:pt>
          <cx:pt idx="8517">5</cx:pt>
          <cx:pt idx="8518">2</cx:pt>
          <cx:pt idx="8519">2</cx:pt>
          <cx:pt idx="8520">4</cx:pt>
          <cx:pt idx="8521">1</cx:pt>
          <cx:pt idx="8522">5</cx:pt>
          <cx:pt idx="8523">3</cx:pt>
          <cx:pt idx="8524">1</cx:pt>
          <cx:pt idx="8525">1</cx:pt>
          <cx:pt idx="8526">3</cx:pt>
          <cx:pt idx="8527">2</cx:pt>
          <cx:pt idx="8528">4</cx:pt>
          <cx:pt idx="8529">5</cx:pt>
          <cx:pt idx="8530">3</cx:pt>
          <cx:pt idx="8531">2</cx:pt>
          <cx:pt idx="8532">3</cx:pt>
          <cx:pt idx="8533">5</cx:pt>
          <cx:pt idx="8534">5</cx:pt>
          <cx:pt idx="8535">4</cx:pt>
          <cx:pt idx="8536">2</cx:pt>
          <cx:pt idx="8537">4</cx:pt>
          <cx:pt idx="8538">5</cx:pt>
          <cx:pt idx="8539">2</cx:pt>
          <cx:pt idx="8540">2</cx:pt>
          <cx:pt idx="8541">5</cx:pt>
          <cx:pt idx="8542">4</cx:pt>
          <cx:pt idx="8543">4</cx:pt>
          <cx:pt idx="8544">3</cx:pt>
          <cx:pt idx="8545">4</cx:pt>
          <cx:pt idx="8546">4</cx:pt>
          <cx:pt idx="8547">4</cx:pt>
          <cx:pt idx="8548">5</cx:pt>
          <cx:pt idx="8549">4</cx:pt>
          <cx:pt idx="8550">3</cx:pt>
          <cx:pt idx="8551">5</cx:pt>
          <cx:pt idx="8552">3</cx:pt>
          <cx:pt idx="8553">4</cx:pt>
          <cx:pt idx="8554">5</cx:pt>
          <cx:pt idx="8555">4</cx:pt>
          <cx:pt idx="8556">1</cx:pt>
          <cx:pt idx="8557">1</cx:pt>
          <cx:pt idx="8558">4</cx:pt>
          <cx:pt idx="8559">3</cx:pt>
          <cx:pt idx="8560">5</cx:pt>
          <cx:pt idx="8561">3</cx:pt>
          <cx:pt idx="8562">4</cx:pt>
          <cx:pt idx="8563">4</cx:pt>
          <cx:pt idx="8564">4</cx:pt>
          <cx:pt idx="8565">1</cx:pt>
          <cx:pt idx="8566">2</cx:pt>
          <cx:pt idx="8567">5</cx:pt>
          <cx:pt idx="8568">2</cx:pt>
          <cx:pt idx="8569">4</cx:pt>
          <cx:pt idx="8570">4</cx:pt>
          <cx:pt idx="8571">4</cx:pt>
          <cx:pt idx="8572">4</cx:pt>
          <cx:pt idx="8573">1</cx:pt>
          <cx:pt idx="8574">5</cx:pt>
          <cx:pt idx="8575">2</cx:pt>
          <cx:pt idx="8576">3</cx:pt>
          <cx:pt idx="8577">4</cx:pt>
          <cx:pt idx="8578">3</cx:pt>
          <cx:pt idx="8579">4</cx:pt>
          <cx:pt idx="8580">3</cx:pt>
          <cx:pt idx="8581">2</cx:pt>
          <cx:pt idx="8582">5</cx:pt>
          <cx:pt idx="8583">5</cx:pt>
          <cx:pt idx="8584">1</cx:pt>
          <cx:pt idx="8585">5</cx:pt>
          <cx:pt idx="8586">2</cx:pt>
          <cx:pt idx="8587">5</cx:pt>
          <cx:pt idx="8588">4</cx:pt>
          <cx:pt idx="8589">2</cx:pt>
          <cx:pt idx="8590">4</cx:pt>
          <cx:pt idx="8591">5</cx:pt>
          <cx:pt idx="8592">4</cx:pt>
          <cx:pt idx="8593">4</cx:pt>
          <cx:pt idx="8594">4</cx:pt>
          <cx:pt idx="8595">1</cx:pt>
          <cx:pt idx="8596">3</cx:pt>
          <cx:pt idx="8597">4</cx:pt>
          <cx:pt idx="8598">3</cx:pt>
          <cx:pt idx="8599">4</cx:pt>
          <cx:pt idx="8600">4</cx:pt>
          <cx:pt idx="8601">3</cx:pt>
          <cx:pt idx="8602">3</cx:pt>
          <cx:pt idx="8603">5</cx:pt>
          <cx:pt idx="8604">3</cx:pt>
          <cx:pt idx="8605">2</cx:pt>
          <cx:pt idx="8606">5</cx:pt>
          <cx:pt idx="8607">5</cx:pt>
          <cx:pt idx="8608">3</cx:pt>
          <cx:pt idx="8609">3</cx:pt>
          <cx:pt idx="8610">2</cx:pt>
          <cx:pt idx="8611">1</cx:pt>
          <cx:pt idx="8612">5</cx:pt>
          <cx:pt idx="8613">4</cx:pt>
          <cx:pt idx="8614">2</cx:pt>
          <cx:pt idx="8615">3</cx:pt>
          <cx:pt idx="8616">5</cx:pt>
          <cx:pt idx="8617">5</cx:pt>
          <cx:pt idx="8618">3</cx:pt>
          <cx:pt idx="8619">5</cx:pt>
          <cx:pt idx="8620">2</cx:pt>
          <cx:pt idx="8621">4</cx:pt>
          <cx:pt idx="8622">5</cx:pt>
          <cx:pt idx="8623">4</cx:pt>
          <cx:pt idx="8624">4</cx:pt>
          <cx:pt idx="8625">2</cx:pt>
          <cx:pt idx="8626">2</cx:pt>
          <cx:pt idx="8627">5</cx:pt>
          <cx:pt idx="8628">3</cx:pt>
          <cx:pt idx="8629">4</cx:pt>
          <cx:pt idx="8630">5</cx:pt>
          <cx:pt idx="8631">3</cx:pt>
          <cx:pt idx="8632">3</cx:pt>
          <cx:pt idx="8633">2</cx:pt>
          <cx:pt idx="8634">1</cx:pt>
          <cx:pt idx="8635">3</cx:pt>
          <cx:pt idx="8636">1</cx:pt>
          <cx:pt idx="8637">5</cx:pt>
          <cx:pt idx="8638">3</cx:pt>
          <cx:pt idx="8639">2</cx:pt>
          <cx:pt idx="8640">4</cx:pt>
          <cx:pt idx="8641">4</cx:pt>
          <cx:pt idx="8642">1</cx:pt>
          <cx:pt idx="8643">2</cx:pt>
          <cx:pt idx="8644">3</cx:pt>
          <cx:pt idx="8645">3</cx:pt>
          <cx:pt idx="8646">5</cx:pt>
          <cx:pt idx="8647">3</cx:pt>
          <cx:pt idx="8648">4</cx:pt>
          <cx:pt idx="8649">4</cx:pt>
          <cx:pt idx="8650">5</cx:pt>
          <cx:pt idx="8651">4</cx:pt>
          <cx:pt idx="8652">1</cx:pt>
          <cx:pt idx="8653">5</cx:pt>
          <cx:pt idx="8654">3</cx:pt>
          <cx:pt idx="8655">5</cx:pt>
          <cx:pt idx="8656">2</cx:pt>
          <cx:pt idx="8657">2</cx:pt>
          <cx:pt idx="8658">5</cx:pt>
          <cx:pt idx="8659">5</cx:pt>
          <cx:pt idx="8660">4</cx:pt>
          <cx:pt idx="8661">5</cx:pt>
          <cx:pt idx="8662">2</cx:pt>
          <cx:pt idx="8663">1</cx:pt>
          <cx:pt idx="8664">1</cx:pt>
          <cx:pt idx="8665">5</cx:pt>
          <cx:pt idx="8666">5</cx:pt>
          <cx:pt idx="8667">2</cx:pt>
          <cx:pt idx="8668">4</cx:pt>
          <cx:pt idx="8669">4</cx:pt>
          <cx:pt idx="8670">2</cx:pt>
          <cx:pt idx="8671">5</cx:pt>
          <cx:pt idx="8672">3</cx:pt>
          <cx:pt idx="8673">3</cx:pt>
          <cx:pt idx="8674">2</cx:pt>
          <cx:pt idx="8675">5</cx:pt>
          <cx:pt idx="8676">1</cx:pt>
          <cx:pt idx="8677">1</cx:pt>
          <cx:pt idx="8678">2</cx:pt>
          <cx:pt idx="8679">1</cx:pt>
          <cx:pt idx="8680">3</cx:pt>
          <cx:pt idx="8681">5</cx:pt>
          <cx:pt idx="8682">4</cx:pt>
          <cx:pt idx="8683">4</cx:pt>
          <cx:pt idx="8684">1</cx:pt>
          <cx:pt idx="8685">2</cx:pt>
          <cx:pt idx="8686">5</cx:pt>
          <cx:pt idx="8687">3</cx:pt>
          <cx:pt idx="8688">1</cx:pt>
          <cx:pt idx="8689">5</cx:pt>
          <cx:pt idx="8690">5</cx:pt>
          <cx:pt idx="8691">3</cx:pt>
          <cx:pt idx="8692">4</cx:pt>
          <cx:pt idx="8693">5</cx:pt>
          <cx:pt idx="8694">2</cx:pt>
          <cx:pt idx="8695">5</cx:pt>
          <cx:pt idx="8696">5</cx:pt>
          <cx:pt idx="8697">3</cx:pt>
          <cx:pt idx="8698">4</cx:pt>
          <cx:pt idx="8699">4</cx:pt>
          <cx:pt idx="8700">4</cx:pt>
          <cx:pt idx="8701">4</cx:pt>
          <cx:pt idx="8702">5</cx:pt>
          <cx:pt idx="8703">4</cx:pt>
          <cx:pt idx="8704">1</cx:pt>
          <cx:pt idx="8705">4</cx:pt>
          <cx:pt idx="8706">2</cx:pt>
          <cx:pt idx="8707">4</cx:pt>
          <cx:pt idx="8708">4</cx:pt>
          <cx:pt idx="8709">1</cx:pt>
          <cx:pt idx="8710">2</cx:pt>
          <cx:pt idx="8711">5</cx:pt>
          <cx:pt idx="8712">2</cx:pt>
          <cx:pt idx="8713">3</cx:pt>
          <cx:pt idx="8714">3</cx:pt>
          <cx:pt idx="8715">4</cx:pt>
          <cx:pt idx="8716">5</cx:pt>
          <cx:pt idx="8717">4</cx:pt>
          <cx:pt idx="8718">1</cx:pt>
          <cx:pt idx="8719">2</cx:pt>
          <cx:pt idx="8720">5</cx:pt>
          <cx:pt idx="8721">4</cx:pt>
          <cx:pt idx="8722">4</cx:pt>
          <cx:pt idx="8723">3</cx:pt>
          <cx:pt idx="8724">5</cx:pt>
          <cx:pt idx="8725">5</cx:pt>
          <cx:pt idx="8726">5</cx:pt>
          <cx:pt idx="8727">1</cx:pt>
          <cx:pt idx="8728">5</cx:pt>
          <cx:pt idx="8729">3</cx:pt>
          <cx:pt idx="8730">3</cx:pt>
          <cx:pt idx="8731">5</cx:pt>
          <cx:pt idx="8732">4</cx:pt>
          <cx:pt idx="8733">5</cx:pt>
          <cx:pt idx="8734">5</cx:pt>
          <cx:pt idx="8735">5</cx:pt>
          <cx:pt idx="8736">4</cx:pt>
          <cx:pt idx="8737">2</cx:pt>
          <cx:pt idx="8738">2</cx:pt>
          <cx:pt idx="8739">4</cx:pt>
          <cx:pt idx="8740">3</cx:pt>
          <cx:pt idx="8741">3</cx:pt>
          <cx:pt idx="8742">4</cx:pt>
          <cx:pt idx="8743">2</cx:pt>
          <cx:pt idx="8744">2</cx:pt>
          <cx:pt idx="8745">5</cx:pt>
          <cx:pt idx="8746">4</cx:pt>
          <cx:pt idx="8747">1</cx:pt>
          <cx:pt idx="8748">5</cx:pt>
          <cx:pt idx="8749">5</cx:pt>
          <cx:pt idx="8750">2</cx:pt>
          <cx:pt idx="8751">4</cx:pt>
          <cx:pt idx="8752">5</cx:pt>
          <cx:pt idx="8753">2</cx:pt>
          <cx:pt idx="8754">4</cx:pt>
          <cx:pt idx="8755">1</cx:pt>
          <cx:pt idx="8756">4</cx:pt>
          <cx:pt idx="8757">4</cx:pt>
          <cx:pt idx="8758">5</cx:pt>
          <cx:pt idx="8759">1</cx:pt>
          <cx:pt idx="8760">3</cx:pt>
          <cx:pt idx="8761">2</cx:pt>
          <cx:pt idx="8762">2</cx:pt>
          <cx:pt idx="8763">5</cx:pt>
          <cx:pt idx="8764">5</cx:pt>
          <cx:pt idx="8765">5</cx:pt>
          <cx:pt idx="8766">4</cx:pt>
          <cx:pt idx="8767">5</cx:pt>
          <cx:pt idx="8768">3</cx:pt>
          <cx:pt idx="8769">1</cx:pt>
          <cx:pt idx="8770">5</cx:pt>
          <cx:pt idx="8771">4</cx:pt>
          <cx:pt idx="8772">4</cx:pt>
          <cx:pt idx="8773">5</cx:pt>
          <cx:pt idx="8774">5</cx:pt>
          <cx:pt idx="8775">4</cx:pt>
          <cx:pt idx="8776">4</cx:pt>
          <cx:pt idx="8777">5</cx:pt>
          <cx:pt idx="8778">4</cx:pt>
          <cx:pt idx="8779">1</cx:pt>
          <cx:pt idx="8780">5</cx:pt>
          <cx:pt idx="8781">4</cx:pt>
          <cx:pt idx="8782">2</cx:pt>
          <cx:pt idx="8783">4</cx:pt>
          <cx:pt idx="8784">5</cx:pt>
          <cx:pt idx="8785">4</cx:pt>
          <cx:pt idx="8786">1</cx:pt>
          <cx:pt idx="8787">3</cx:pt>
          <cx:pt idx="8788">1</cx:pt>
          <cx:pt idx="8789">3</cx:pt>
          <cx:pt idx="8790">3</cx:pt>
          <cx:pt idx="8791">2</cx:pt>
          <cx:pt idx="8792">2</cx:pt>
          <cx:pt idx="8793">2</cx:pt>
          <cx:pt idx="8794">5</cx:pt>
          <cx:pt idx="8795">5</cx:pt>
          <cx:pt idx="8796">4</cx:pt>
          <cx:pt idx="8797">5</cx:pt>
          <cx:pt idx="8798">4</cx:pt>
          <cx:pt idx="8799">2</cx:pt>
          <cx:pt idx="8800">1</cx:pt>
          <cx:pt idx="8801">5</cx:pt>
          <cx:pt idx="8802">4</cx:pt>
          <cx:pt idx="8803">1</cx:pt>
          <cx:pt idx="8804">2</cx:pt>
          <cx:pt idx="8805">3</cx:pt>
          <cx:pt idx="8806">1</cx:pt>
          <cx:pt idx="8807">5</cx:pt>
          <cx:pt idx="8808">5</cx:pt>
          <cx:pt idx="8809">2</cx:pt>
          <cx:pt idx="8810">3</cx:pt>
          <cx:pt idx="8811">5</cx:pt>
          <cx:pt idx="8812">1</cx:pt>
          <cx:pt idx="8813">2</cx:pt>
          <cx:pt idx="8814">4</cx:pt>
          <cx:pt idx="8815">5</cx:pt>
          <cx:pt idx="8816">1</cx:pt>
          <cx:pt idx="8817">3</cx:pt>
          <cx:pt idx="8818">4</cx:pt>
          <cx:pt idx="8819">4</cx:pt>
          <cx:pt idx="8820">1</cx:pt>
          <cx:pt idx="8821">5</cx:pt>
          <cx:pt idx="8822">4</cx:pt>
          <cx:pt idx="8823">4</cx:pt>
          <cx:pt idx="8824">3</cx:pt>
          <cx:pt idx="8825">3</cx:pt>
          <cx:pt idx="8826">5</cx:pt>
          <cx:pt idx="8827">2</cx:pt>
          <cx:pt idx="8828">2</cx:pt>
          <cx:pt idx="8829">3</cx:pt>
          <cx:pt idx="8830">2</cx:pt>
          <cx:pt idx="8831">1</cx:pt>
          <cx:pt idx="8832">4</cx:pt>
          <cx:pt idx="8833">5</cx:pt>
          <cx:pt idx="8834">1</cx:pt>
          <cx:pt idx="8835">4</cx:pt>
          <cx:pt idx="8836">4</cx:pt>
          <cx:pt idx="8837">5</cx:pt>
          <cx:pt idx="8838">2</cx:pt>
          <cx:pt idx="8839">2</cx:pt>
          <cx:pt idx="8840">4</cx:pt>
          <cx:pt idx="8841">5</cx:pt>
          <cx:pt idx="8842">5</cx:pt>
          <cx:pt idx="8843">3</cx:pt>
          <cx:pt idx="8844">3</cx:pt>
          <cx:pt idx="8845">3</cx:pt>
          <cx:pt idx="8846">5</cx:pt>
          <cx:pt idx="8847">5</cx:pt>
          <cx:pt idx="8848">4</cx:pt>
          <cx:pt idx="8849">5</cx:pt>
          <cx:pt idx="8850">3</cx:pt>
          <cx:pt idx="8851">5</cx:pt>
          <cx:pt idx="8852">4</cx:pt>
          <cx:pt idx="8853">4</cx:pt>
          <cx:pt idx="8854">5</cx:pt>
          <cx:pt idx="8855">4</cx:pt>
          <cx:pt idx="8856">5</cx:pt>
          <cx:pt idx="8857">1</cx:pt>
          <cx:pt idx="8858">5</cx:pt>
          <cx:pt idx="8859">5</cx:pt>
          <cx:pt idx="8860">3</cx:pt>
          <cx:pt idx="8861">3</cx:pt>
          <cx:pt idx="8862">5</cx:pt>
          <cx:pt idx="8863">3</cx:pt>
          <cx:pt idx="8864">1</cx:pt>
          <cx:pt idx="8865">4</cx:pt>
          <cx:pt idx="8866">4</cx:pt>
          <cx:pt idx="8867">5</cx:pt>
          <cx:pt idx="8868">4</cx:pt>
          <cx:pt idx="8869">5</cx:pt>
          <cx:pt idx="8870">4</cx:pt>
          <cx:pt idx="8871">3</cx:pt>
          <cx:pt idx="8872">5</cx:pt>
          <cx:pt idx="8873">4</cx:pt>
          <cx:pt idx="8874">4</cx:pt>
          <cx:pt idx="8875">5</cx:pt>
          <cx:pt idx="8876">4</cx:pt>
          <cx:pt idx="8877">4</cx:pt>
          <cx:pt idx="8878">1</cx:pt>
          <cx:pt idx="8879">4</cx:pt>
          <cx:pt idx="8880">4</cx:pt>
          <cx:pt idx="8881">4</cx:pt>
          <cx:pt idx="8882">5</cx:pt>
          <cx:pt idx="8883">1</cx:pt>
          <cx:pt idx="8884">4</cx:pt>
          <cx:pt idx="8885">4</cx:pt>
          <cx:pt idx="8886">5</cx:pt>
          <cx:pt idx="8887">4</cx:pt>
          <cx:pt idx="8888">5</cx:pt>
          <cx:pt idx="8889">4</cx:pt>
          <cx:pt idx="8890">1</cx:pt>
          <cx:pt idx="8891">2</cx:pt>
          <cx:pt idx="8892">2</cx:pt>
          <cx:pt idx="8893">5</cx:pt>
          <cx:pt idx="8894">1</cx:pt>
          <cx:pt idx="8895">4</cx:pt>
          <cx:pt idx="8896">4</cx:pt>
          <cx:pt idx="8897">1</cx:pt>
          <cx:pt idx="8898">4</cx:pt>
          <cx:pt idx="8899">5</cx:pt>
          <cx:pt idx="8900">3</cx:pt>
          <cx:pt idx="8901">5</cx:pt>
          <cx:pt idx="8902">4</cx:pt>
          <cx:pt idx="8903">4</cx:pt>
          <cx:pt idx="8904">5</cx:pt>
          <cx:pt idx="8905">5</cx:pt>
          <cx:pt idx="8906">5</cx:pt>
          <cx:pt idx="8907">5</cx:pt>
          <cx:pt idx="8908">4</cx:pt>
          <cx:pt idx="8909">2</cx:pt>
          <cx:pt idx="8910">2</cx:pt>
          <cx:pt idx="8911">3</cx:pt>
          <cx:pt idx="8912">1</cx:pt>
          <cx:pt idx="8913">4</cx:pt>
          <cx:pt idx="8914">2</cx:pt>
          <cx:pt idx="8915">4</cx:pt>
          <cx:pt idx="8916">2</cx:pt>
          <cx:pt idx="8917">5</cx:pt>
          <cx:pt idx="8918">3</cx:pt>
          <cx:pt idx="8919">1</cx:pt>
          <cx:pt idx="8920">1</cx:pt>
          <cx:pt idx="8921">3</cx:pt>
          <cx:pt idx="8922">4</cx:pt>
          <cx:pt idx="8923">2</cx:pt>
          <cx:pt idx="8924">5</cx:pt>
          <cx:pt idx="8925">4</cx:pt>
          <cx:pt idx="8926">2</cx:pt>
          <cx:pt idx="8927">1</cx:pt>
          <cx:pt idx="8928">4</cx:pt>
          <cx:pt idx="8929">4</cx:pt>
          <cx:pt idx="8930">1</cx:pt>
          <cx:pt idx="8931">3</cx:pt>
          <cx:pt idx="8932">1</cx:pt>
          <cx:pt idx="8933">2</cx:pt>
          <cx:pt idx="8934">2</cx:pt>
          <cx:pt idx="8935">1</cx:pt>
          <cx:pt idx="8936">4</cx:pt>
          <cx:pt idx="8937">3</cx:pt>
          <cx:pt idx="8938">2</cx:pt>
          <cx:pt idx="8939">1</cx:pt>
          <cx:pt idx="8940">4</cx:pt>
          <cx:pt idx="8941">5</cx:pt>
          <cx:pt idx="8942">2</cx:pt>
          <cx:pt idx="8943">2</cx:pt>
          <cx:pt idx="8944">2</cx:pt>
          <cx:pt idx="8945">3</cx:pt>
          <cx:pt idx="8946">3</cx:pt>
          <cx:pt idx="8947">5</cx:pt>
          <cx:pt idx="8948">5</cx:pt>
          <cx:pt idx="8949">4</cx:pt>
          <cx:pt idx="8950">3</cx:pt>
          <cx:pt idx="8951">4</cx:pt>
          <cx:pt idx="8952">1</cx:pt>
          <cx:pt idx="8953">5</cx:pt>
          <cx:pt idx="8954">1</cx:pt>
          <cx:pt idx="8955">4</cx:pt>
          <cx:pt idx="8956">4</cx:pt>
          <cx:pt idx="8957">5</cx:pt>
          <cx:pt idx="8958">3</cx:pt>
          <cx:pt idx="8959">2</cx:pt>
          <cx:pt idx="8960">5</cx:pt>
          <cx:pt idx="8961">2</cx:pt>
          <cx:pt idx="8962">3</cx:pt>
          <cx:pt idx="8963">4</cx:pt>
          <cx:pt idx="8964">3</cx:pt>
          <cx:pt idx="8965">5</cx:pt>
          <cx:pt idx="8966">4</cx:pt>
          <cx:pt idx="8967">1</cx:pt>
          <cx:pt idx="8968">5</cx:pt>
          <cx:pt idx="8969">4</cx:pt>
          <cx:pt idx="8970">1</cx:pt>
          <cx:pt idx="8971">1</cx:pt>
          <cx:pt idx="8972">4</cx:pt>
          <cx:pt idx="8973">2</cx:pt>
          <cx:pt idx="8974">3</cx:pt>
          <cx:pt idx="8975">4</cx:pt>
          <cx:pt idx="8976">5</cx:pt>
          <cx:pt idx="8977">5</cx:pt>
          <cx:pt idx="8978">4</cx:pt>
          <cx:pt idx="8979">4</cx:pt>
          <cx:pt idx="8980">5</cx:pt>
          <cx:pt idx="8981">5</cx:pt>
          <cx:pt idx="8982">5</cx:pt>
          <cx:pt idx="8983">2</cx:pt>
          <cx:pt idx="8984">5</cx:pt>
          <cx:pt idx="8985">1</cx:pt>
          <cx:pt idx="8986">4</cx:pt>
          <cx:pt idx="8987">5</cx:pt>
          <cx:pt idx="8988">3</cx:pt>
          <cx:pt idx="8989">5</cx:pt>
          <cx:pt idx="8990">4</cx:pt>
          <cx:pt idx="8991">5</cx:pt>
          <cx:pt idx="8992">5</cx:pt>
          <cx:pt idx="8993">2</cx:pt>
          <cx:pt idx="8994">5</cx:pt>
          <cx:pt idx="8995">5</cx:pt>
          <cx:pt idx="8996">2</cx:pt>
          <cx:pt idx="8997">3</cx:pt>
          <cx:pt idx="8998">1</cx:pt>
          <cx:pt idx="8999">5</cx:pt>
          <cx:pt idx="9000">2</cx:pt>
          <cx:pt idx="9001">5</cx:pt>
          <cx:pt idx="9002">4</cx:pt>
          <cx:pt idx="9003">5</cx:pt>
          <cx:pt idx="9004">2</cx:pt>
          <cx:pt idx="9005">5</cx:pt>
          <cx:pt idx="9006">2</cx:pt>
          <cx:pt idx="9007">4</cx:pt>
          <cx:pt idx="9008">4</cx:pt>
          <cx:pt idx="9009">2</cx:pt>
          <cx:pt idx="9010">4</cx:pt>
          <cx:pt idx="9011">2</cx:pt>
          <cx:pt idx="9012">3</cx:pt>
          <cx:pt idx="9013">1</cx:pt>
          <cx:pt idx="9014">3</cx:pt>
          <cx:pt idx="9015">4</cx:pt>
          <cx:pt idx="9016">1</cx:pt>
          <cx:pt idx="9017">4</cx:pt>
          <cx:pt idx="9018">3</cx:pt>
          <cx:pt idx="9019">2</cx:pt>
          <cx:pt idx="9020">3</cx:pt>
          <cx:pt idx="9021">4</cx:pt>
          <cx:pt idx="9022">3</cx:pt>
          <cx:pt idx="9023">4</cx:pt>
          <cx:pt idx="9024">3</cx:pt>
          <cx:pt idx="9025">1</cx:pt>
          <cx:pt idx="9026">4</cx:pt>
          <cx:pt idx="9027">3</cx:pt>
          <cx:pt idx="9028">5</cx:pt>
          <cx:pt idx="9029">3</cx:pt>
          <cx:pt idx="9030">4</cx:pt>
          <cx:pt idx="9031">5</cx:pt>
          <cx:pt idx="9032">1</cx:pt>
          <cx:pt idx="9033">3</cx:pt>
          <cx:pt idx="9034">4</cx:pt>
          <cx:pt idx="9035">4</cx:pt>
          <cx:pt idx="9036">5</cx:pt>
          <cx:pt idx="9037">5</cx:pt>
          <cx:pt idx="9038">3</cx:pt>
          <cx:pt idx="9039">5</cx:pt>
          <cx:pt idx="9040">4</cx:pt>
          <cx:pt idx="9041">3</cx:pt>
          <cx:pt idx="9042">5</cx:pt>
          <cx:pt idx="9043">1</cx:pt>
          <cx:pt idx="9044">4</cx:pt>
          <cx:pt idx="9045">2</cx:pt>
          <cx:pt idx="9046">3</cx:pt>
          <cx:pt idx="9047">5</cx:pt>
          <cx:pt idx="9048">2</cx:pt>
          <cx:pt idx="9049">3</cx:pt>
          <cx:pt idx="9050">4</cx:pt>
          <cx:pt idx="9051">4</cx:pt>
          <cx:pt idx="9052">5</cx:pt>
          <cx:pt idx="9053">5</cx:pt>
          <cx:pt idx="9054">3</cx:pt>
          <cx:pt idx="9055">4</cx:pt>
          <cx:pt idx="9056">4</cx:pt>
          <cx:pt idx="9057">3</cx:pt>
          <cx:pt idx="9058">3</cx:pt>
          <cx:pt idx="9059">2</cx:pt>
          <cx:pt idx="9060">4</cx:pt>
          <cx:pt idx="9061">5</cx:pt>
          <cx:pt idx="9062">3</cx:pt>
          <cx:pt idx="9063">4</cx:pt>
          <cx:pt idx="9064">4</cx:pt>
          <cx:pt idx="9065">3</cx:pt>
          <cx:pt idx="9066">5</cx:pt>
          <cx:pt idx="9067">2</cx:pt>
          <cx:pt idx="9068">5</cx:pt>
          <cx:pt idx="9069">4</cx:pt>
          <cx:pt idx="9070">4</cx:pt>
          <cx:pt idx="9071">1</cx:pt>
          <cx:pt idx="9072">4</cx:pt>
          <cx:pt idx="9073">5</cx:pt>
          <cx:pt idx="9074">5</cx:pt>
          <cx:pt idx="9075">1</cx:pt>
          <cx:pt idx="9076">3</cx:pt>
          <cx:pt idx="9077">4</cx:pt>
          <cx:pt idx="9078">4</cx:pt>
          <cx:pt idx="9079">4</cx:pt>
          <cx:pt idx="9080">1</cx:pt>
          <cx:pt idx="9081">4</cx:pt>
          <cx:pt idx="9082">3</cx:pt>
          <cx:pt idx="9083">5</cx:pt>
          <cx:pt idx="9084">1</cx:pt>
          <cx:pt idx="9085">4</cx:pt>
          <cx:pt idx="9086">4</cx:pt>
          <cx:pt idx="9087">5</cx:pt>
          <cx:pt idx="9088">5</cx:pt>
          <cx:pt idx="9089">5</cx:pt>
          <cx:pt idx="9090">5</cx:pt>
          <cx:pt idx="9091">1</cx:pt>
          <cx:pt idx="9092">5</cx:pt>
          <cx:pt idx="9093">4</cx:pt>
          <cx:pt idx="9094">4</cx:pt>
          <cx:pt idx="9095">4</cx:pt>
          <cx:pt idx="9096">3</cx:pt>
          <cx:pt idx="9097">2</cx:pt>
          <cx:pt idx="9098">5</cx:pt>
          <cx:pt idx="9099">3</cx:pt>
          <cx:pt idx="9100">1</cx:pt>
          <cx:pt idx="9101">4</cx:pt>
          <cx:pt idx="9102">1</cx:pt>
          <cx:pt idx="9103">3</cx:pt>
          <cx:pt idx="9104">5</cx:pt>
          <cx:pt idx="9105">5</cx:pt>
          <cx:pt idx="9106">2</cx:pt>
          <cx:pt idx="9107">1</cx:pt>
          <cx:pt idx="9108">5</cx:pt>
          <cx:pt idx="9109">2</cx:pt>
          <cx:pt idx="9110">3</cx:pt>
          <cx:pt idx="9111">3</cx:pt>
          <cx:pt idx="9112">3</cx:pt>
          <cx:pt idx="9113">4</cx:pt>
          <cx:pt idx="9114">5</cx:pt>
          <cx:pt idx="9115">2</cx:pt>
          <cx:pt idx="9116">4</cx:pt>
          <cx:pt idx="9117">5</cx:pt>
          <cx:pt idx="9118">3</cx:pt>
          <cx:pt idx="9119">4</cx:pt>
          <cx:pt idx="9120">4</cx:pt>
          <cx:pt idx="9121">5</cx:pt>
          <cx:pt idx="9122">4</cx:pt>
          <cx:pt idx="9123">4</cx:pt>
          <cx:pt idx="9124">4</cx:pt>
          <cx:pt idx="9125">4</cx:pt>
          <cx:pt idx="9126">5</cx:pt>
          <cx:pt idx="9127">4</cx:pt>
          <cx:pt idx="9128">4</cx:pt>
          <cx:pt idx="9129">4</cx:pt>
          <cx:pt idx="9130">4</cx:pt>
          <cx:pt idx="9131">4</cx:pt>
          <cx:pt idx="9132">3</cx:pt>
          <cx:pt idx="9133">2</cx:pt>
          <cx:pt idx="9134">4</cx:pt>
          <cx:pt idx="9135">5</cx:pt>
          <cx:pt idx="9136">5</cx:pt>
          <cx:pt idx="9137">3</cx:pt>
          <cx:pt idx="9138">5</cx:pt>
          <cx:pt idx="9139">4</cx:pt>
          <cx:pt idx="9140">2</cx:pt>
          <cx:pt idx="9141">5</cx:pt>
          <cx:pt idx="9142">3</cx:pt>
          <cx:pt idx="9143">5</cx:pt>
          <cx:pt idx="9144">5</cx:pt>
          <cx:pt idx="9145">2</cx:pt>
          <cx:pt idx="9146">4</cx:pt>
          <cx:pt idx="9147">4</cx:pt>
          <cx:pt idx="9148">2</cx:pt>
          <cx:pt idx="9149">4</cx:pt>
          <cx:pt idx="9150">5</cx:pt>
          <cx:pt idx="9151">2</cx:pt>
          <cx:pt idx="9152">5</cx:pt>
          <cx:pt idx="9153">2</cx:pt>
          <cx:pt idx="9154">1</cx:pt>
          <cx:pt idx="9155">2</cx:pt>
          <cx:pt idx="9156">4</cx:pt>
          <cx:pt idx="9157">4</cx:pt>
          <cx:pt idx="9158">3</cx:pt>
          <cx:pt idx="9159">4</cx:pt>
          <cx:pt idx="9160">5</cx:pt>
          <cx:pt idx="9161">5</cx:pt>
          <cx:pt idx="9162">4</cx:pt>
          <cx:pt idx="9163">4</cx:pt>
          <cx:pt idx="9164">5</cx:pt>
          <cx:pt idx="9165">5</cx:pt>
          <cx:pt idx="9166">1</cx:pt>
          <cx:pt idx="9167">5</cx:pt>
          <cx:pt idx="9168">5</cx:pt>
          <cx:pt idx="9169">2</cx:pt>
          <cx:pt idx="9170">5</cx:pt>
          <cx:pt idx="9171">5</cx:pt>
          <cx:pt idx="9172">4</cx:pt>
          <cx:pt idx="9173">2</cx:pt>
          <cx:pt idx="9174">4</cx:pt>
          <cx:pt idx="9175">2</cx:pt>
          <cx:pt idx="9176">4</cx:pt>
          <cx:pt idx="9177">4</cx:pt>
          <cx:pt idx="9178">3</cx:pt>
          <cx:pt idx="9179">4</cx:pt>
          <cx:pt idx="9180">4</cx:pt>
          <cx:pt idx="9181">2</cx:pt>
          <cx:pt idx="9182">1</cx:pt>
          <cx:pt idx="9183">4</cx:pt>
          <cx:pt idx="9184">4</cx:pt>
          <cx:pt idx="9185">2</cx:pt>
          <cx:pt idx="9186">1</cx:pt>
          <cx:pt idx="9187">4</cx:pt>
          <cx:pt idx="9188">5</cx:pt>
          <cx:pt idx="9189">5</cx:pt>
          <cx:pt idx="9190">4</cx:pt>
          <cx:pt idx="9191">5</cx:pt>
          <cx:pt idx="9192">4</cx:pt>
          <cx:pt idx="9193">4</cx:pt>
          <cx:pt idx="9194">3</cx:pt>
          <cx:pt idx="9195">4</cx:pt>
          <cx:pt idx="9196">3</cx:pt>
          <cx:pt idx="9197">5</cx:pt>
          <cx:pt idx="9198">2</cx:pt>
          <cx:pt idx="9199">5</cx:pt>
          <cx:pt idx="9200">2</cx:pt>
          <cx:pt idx="9201">3</cx:pt>
          <cx:pt idx="9202">5</cx:pt>
          <cx:pt idx="9203">2</cx:pt>
          <cx:pt idx="9204">4</cx:pt>
          <cx:pt idx="9205">4</cx:pt>
          <cx:pt idx="9206">4</cx:pt>
          <cx:pt idx="9207">2</cx:pt>
          <cx:pt idx="9208">2</cx:pt>
          <cx:pt idx="9209">5</cx:pt>
          <cx:pt idx="9210">1</cx:pt>
          <cx:pt idx="9211">2</cx:pt>
          <cx:pt idx="9212">5</cx:pt>
          <cx:pt idx="9213">2</cx:pt>
          <cx:pt idx="9214">5</cx:pt>
          <cx:pt idx="9215">4</cx:pt>
          <cx:pt idx="9216">4</cx:pt>
          <cx:pt idx="9217">2</cx:pt>
          <cx:pt idx="9218">2</cx:pt>
          <cx:pt idx="9219">5</cx:pt>
          <cx:pt idx="9220">1</cx:pt>
          <cx:pt idx="9221">5</cx:pt>
          <cx:pt idx="9222">4</cx:pt>
          <cx:pt idx="9223">2</cx:pt>
          <cx:pt idx="9224">2</cx:pt>
          <cx:pt idx="9225">3</cx:pt>
          <cx:pt idx="9226">3</cx:pt>
          <cx:pt idx="9227">4</cx:pt>
          <cx:pt idx="9228">3</cx:pt>
          <cx:pt idx="9229">4</cx:pt>
          <cx:pt idx="9230">4</cx:pt>
          <cx:pt idx="9231">4</cx:pt>
          <cx:pt idx="9232">4</cx:pt>
          <cx:pt idx="9233">5</cx:pt>
          <cx:pt idx="9234">4</cx:pt>
          <cx:pt idx="9235">5</cx:pt>
          <cx:pt idx="9236">5</cx:pt>
          <cx:pt idx="9237">4</cx:pt>
          <cx:pt idx="9238">2</cx:pt>
          <cx:pt idx="9239">1</cx:pt>
          <cx:pt idx="9240">5</cx:pt>
          <cx:pt idx="9241">4</cx:pt>
          <cx:pt idx="9242">1</cx:pt>
          <cx:pt idx="9243">3</cx:pt>
          <cx:pt idx="9244">5</cx:pt>
          <cx:pt idx="9245">4</cx:pt>
          <cx:pt idx="9246">4</cx:pt>
          <cx:pt idx="9247">4</cx:pt>
          <cx:pt idx="9248">4</cx:pt>
          <cx:pt idx="9249">3</cx:pt>
          <cx:pt idx="9250">1</cx:pt>
          <cx:pt idx="9251">5</cx:pt>
          <cx:pt idx="9252">4</cx:pt>
          <cx:pt idx="9253">1</cx:pt>
          <cx:pt idx="9254">4</cx:pt>
          <cx:pt idx="9255">3</cx:pt>
          <cx:pt idx="9256">1</cx:pt>
          <cx:pt idx="9257">5</cx:pt>
          <cx:pt idx="9258">4</cx:pt>
          <cx:pt idx="9259">4</cx:pt>
          <cx:pt idx="9260">2</cx:pt>
          <cx:pt idx="9261">5</cx:pt>
          <cx:pt idx="9262">5</cx:pt>
          <cx:pt idx="9263">4</cx:pt>
          <cx:pt idx="9264">3</cx:pt>
          <cx:pt idx="9265">3</cx:pt>
          <cx:pt idx="9266">4</cx:pt>
          <cx:pt idx="9267">2</cx:pt>
          <cx:pt idx="9268">4</cx:pt>
          <cx:pt idx="9269">4</cx:pt>
          <cx:pt idx="9270">3</cx:pt>
          <cx:pt idx="9271">3</cx:pt>
          <cx:pt idx="9272">4</cx:pt>
          <cx:pt idx="9273">1</cx:pt>
          <cx:pt idx="9274">5</cx:pt>
          <cx:pt idx="9275">3</cx:pt>
          <cx:pt idx="9276">4</cx:pt>
          <cx:pt idx="9277">2</cx:pt>
          <cx:pt idx="9278">5</cx:pt>
          <cx:pt idx="9279">5</cx:pt>
          <cx:pt idx="9280">2</cx:pt>
          <cx:pt idx="9281">5</cx:pt>
          <cx:pt idx="9282">3</cx:pt>
          <cx:pt idx="9283">5</cx:pt>
          <cx:pt idx="9284">1</cx:pt>
          <cx:pt idx="9285">4</cx:pt>
          <cx:pt idx="9286">5</cx:pt>
          <cx:pt idx="9287">4</cx:pt>
          <cx:pt idx="9288">5</cx:pt>
          <cx:pt idx="9289">1</cx:pt>
          <cx:pt idx="9290">4</cx:pt>
          <cx:pt idx="9291">1</cx:pt>
          <cx:pt idx="9292">1</cx:pt>
          <cx:pt idx="9293">5</cx:pt>
          <cx:pt idx="9294">3</cx:pt>
          <cx:pt idx="9295">2</cx:pt>
          <cx:pt idx="9296">3</cx:pt>
          <cx:pt idx="9297">1</cx:pt>
          <cx:pt idx="9298">5</cx:pt>
          <cx:pt idx="9299">3</cx:pt>
          <cx:pt idx="9300">4</cx:pt>
          <cx:pt idx="9301">2</cx:pt>
          <cx:pt idx="9302">1</cx:pt>
          <cx:pt idx="9303">3</cx:pt>
          <cx:pt idx="9304">3</cx:pt>
          <cx:pt idx="9305">4</cx:pt>
          <cx:pt idx="9306">2</cx:pt>
          <cx:pt idx="9307">3</cx:pt>
          <cx:pt idx="9308">4</cx:pt>
          <cx:pt idx="9309">3</cx:pt>
          <cx:pt idx="9310">4</cx:pt>
          <cx:pt idx="9311">4</cx:pt>
          <cx:pt idx="9312">4</cx:pt>
          <cx:pt idx="9313">1</cx:pt>
          <cx:pt idx="9314">3</cx:pt>
          <cx:pt idx="9315">5</cx:pt>
          <cx:pt idx="9316">3</cx:pt>
          <cx:pt idx="9317">1</cx:pt>
          <cx:pt idx="9318">5</cx:pt>
          <cx:pt idx="9319">5</cx:pt>
          <cx:pt idx="9320">4</cx:pt>
          <cx:pt idx="9321">4</cx:pt>
          <cx:pt idx="9322">5</cx:pt>
          <cx:pt idx="9323">2</cx:pt>
          <cx:pt idx="9324">5</cx:pt>
          <cx:pt idx="9325">3</cx:pt>
          <cx:pt idx="9326">4</cx:pt>
          <cx:pt idx="9327">5</cx:pt>
          <cx:pt idx="9328">2</cx:pt>
          <cx:pt idx="9329">4</cx:pt>
          <cx:pt idx="9330">2</cx:pt>
          <cx:pt idx="9331">3</cx:pt>
          <cx:pt idx="9332">4</cx:pt>
          <cx:pt idx="9333">2</cx:pt>
          <cx:pt idx="9334">5</cx:pt>
          <cx:pt idx="9335">4</cx:pt>
          <cx:pt idx="9336">2</cx:pt>
          <cx:pt idx="9337">5</cx:pt>
          <cx:pt idx="9338">4</cx:pt>
          <cx:pt idx="9339">5</cx:pt>
          <cx:pt idx="9340">4</cx:pt>
          <cx:pt idx="9341">1</cx:pt>
          <cx:pt idx="9342">4</cx:pt>
          <cx:pt idx="9343">4</cx:pt>
          <cx:pt idx="9344">5</cx:pt>
          <cx:pt idx="9345">4</cx:pt>
          <cx:pt idx="9346">4</cx:pt>
          <cx:pt idx="9347">2</cx:pt>
          <cx:pt idx="9348">2</cx:pt>
          <cx:pt idx="9349">3</cx:pt>
          <cx:pt idx="9350">4</cx:pt>
          <cx:pt idx="9351">4</cx:pt>
          <cx:pt idx="9352">5</cx:pt>
          <cx:pt idx="9353">5</cx:pt>
          <cx:pt idx="9354">2</cx:pt>
          <cx:pt idx="9355">5</cx:pt>
          <cx:pt idx="9356">4</cx:pt>
          <cx:pt idx="9357">4</cx:pt>
          <cx:pt idx="9358">3</cx:pt>
          <cx:pt idx="9359">4</cx:pt>
          <cx:pt idx="9360">3</cx:pt>
          <cx:pt idx="9361">5</cx:pt>
          <cx:pt idx="9362">3</cx:pt>
          <cx:pt idx="9363">5</cx:pt>
          <cx:pt idx="9364">5</cx:pt>
          <cx:pt idx="9365">3</cx:pt>
          <cx:pt idx="9366">2</cx:pt>
          <cx:pt idx="9367">1</cx:pt>
          <cx:pt idx="9368">4</cx:pt>
          <cx:pt idx="9369">5</cx:pt>
          <cx:pt idx="9370">1</cx:pt>
          <cx:pt idx="9371">2</cx:pt>
          <cx:pt idx="9372">2</cx:pt>
          <cx:pt idx="9373">3</cx:pt>
          <cx:pt idx="9374">3</cx:pt>
          <cx:pt idx="9375">2</cx:pt>
          <cx:pt idx="9376">3</cx:pt>
          <cx:pt idx="9377">4</cx:pt>
          <cx:pt idx="9378">4</cx:pt>
          <cx:pt idx="9379">4</cx:pt>
          <cx:pt idx="9380">3</cx:pt>
          <cx:pt idx="9381">5</cx:pt>
          <cx:pt idx="9382">3</cx:pt>
          <cx:pt idx="9383">5</cx:pt>
          <cx:pt idx="9384">4</cx:pt>
          <cx:pt idx="9385">2</cx:pt>
          <cx:pt idx="9386">3</cx:pt>
          <cx:pt idx="9387">5</cx:pt>
          <cx:pt idx="9388">5</cx:pt>
          <cx:pt idx="9389">4</cx:pt>
          <cx:pt idx="9390">2</cx:pt>
          <cx:pt idx="9391">4</cx:pt>
          <cx:pt idx="9392">5</cx:pt>
          <cx:pt idx="9393">5</cx:pt>
          <cx:pt idx="9394">3</cx:pt>
          <cx:pt idx="9395">2</cx:pt>
          <cx:pt idx="9396">5</cx:pt>
          <cx:pt idx="9397">5</cx:pt>
          <cx:pt idx="9398">3</cx:pt>
          <cx:pt idx="9399">5</cx:pt>
          <cx:pt idx="9400">1</cx:pt>
          <cx:pt idx="9401">2</cx:pt>
          <cx:pt idx="9402">1</cx:pt>
          <cx:pt idx="9403">3</cx:pt>
          <cx:pt idx="9404">1</cx:pt>
          <cx:pt idx="9405">2</cx:pt>
          <cx:pt idx="9406">2</cx:pt>
          <cx:pt idx="9407">2</cx:pt>
          <cx:pt idx="9408">4</cx:pt>
          <cx:pt idx="9409">1</cx:pt>
          <cx:pt idx="9410">2</cx:pt>
          <cx:pt idx="9411">4</cx:pt>
          <cx:pt idx="9412">5</cx:pt>
          <cx:pt idx="9413">4</cx:pt>
          <cx:pt idx="9414">3</cx:pt>
          <cx:pt idx="9415">5</cx:pt>
          <cx:pt idx="9416">5</cx:pt>
          <cx:pt idx="9417">5</cx:pt>
          <cx:pt idx="9418">3</cx:pt>
          <cx:pt idx="9419">4</cx:pt>
          <cx:pt idx="9420">5</cx:pt>
          <cx:pt idx="9421">1</cx:pt>
          <cx:pt idx="9422">4</cx:pt>
          <cx:pt idx="9423">3</cx:pt>
          <cx:pt idx="9424">4</cx:pt>
          <cx:pt idx="9425">4</cx:pt>
          <cx:pt idx="9426">5</cx:pt>
          <cx:pt idx="9427">3</cx:pt>
          <cx:pt idx="9428">5</cx:pt>
          <cx:pt idx="9429">5</cx:pt>
          <cx:pt idx="9430">5</cx:pt>
          <cx:pt idx="9431">5</cx:pt>
          <cx:pt idx="9432">4</cx:pt>
          <cx:pt idx="9433">2</cx:pt>
          <cx:pt idx="9434">5</cx:pt>
          <cx:pt idx="9435">2</cx:pt>
          <cx:pt idx="9436">4</cx:pt>
          <cx:pt idx="9437">5</cx:pt>
          <cx:pt idx="9438">5</cx:pt>
          <cx:pt idx="9439">5</cx:pt>
          <cx:pt idx="9440">4</cx:pt>
          <cx:pt idx="9441">5</cx:pt>
          <cx:pt idx="9442">4</cx:pt>
          <cx:pt idx="9443">5</cx:pt>
          <cx:pt idx="9444">4</cx:pt>
          <cx:pt idx="9445">5</cx:pt>
          <cx:pt idx="9446">3</cx:pt>
          <cx:pt idx="9447">4</cx:pt>
          <cx:pt idx="9448">3</cx:pt>
          <cx:pt idx="9449">2</cx:pt>
          <cx:pt idx="9450">4</cx:pt>
          <cx:pt idx="9451">4</cx:pt>
          <cx:pt idx="9452">4</cx:pt>
          <cx:pt idx="9453">1</cx:pt>
          <cx:pt idx="9454">2</cx:pt>
          <cx:pt idx="9455">5</cx:pt>
          <cx:pt idx="9456">5</cx:pt>
          <cx:pt idx="9457">5</cx:pt>
          <cx:pt idx="9458">2</cx:pt>
          <cx:pt idx="9459">1</cx:pt>
          <cx:pt idx="9460">4</cx:pt>
          <cx:pt idx="9461">5</cx:pt>
          <cx:pt idx="9462">5</cx:pt>
          <cx:pt idx="9463">4</cx:pt>
          <cx:pt idx="9464">4</cx:pt>
          <cx:pt idx="9465">5</cx:pt>
          <cx:pt idx="9466">2</cx:pt>
          <cx:pt idx="9467">4</cx:pt>
          <cx:pt idx="9468">3</cx:pt>
          <cx:pt idx="9469">5</cx:pt>
          <cx:pt idx="9470">3</cx:pt>
          <cx:pt idx="9471">4</cx:pt>
          <cx:pt idx="9472">3</cx:pt>
          <cx:pt idx="9473">1</cx:pt>
          <cx:pt idx="9474">2</cx:pt>
          <cx:pt idx="9475">3</cx:pt>
          <cx:pt idx="9476">1</cx:pt>
          <cx:pt idx="9477">3</cx:pt>
          <cx:pt idx="9478">2</cx:pt>
          <cx:pt idx="9479">5</cx:pt>
          <cx:pt idx="9480">5</cx:pt>
          <cx:pt idx="9481">5</cx:pt>
          <cx:pt idx="9482">1</cx:pt>
          <cx:pt idx="9483">2</cx:pt>
          <cx:pt idx="9484">5</cx:pt>
          <cx:pt idx="9485">4</cx:pt>
          <cx:pt idx="9486">5</cx:pt>
          <cx:pt idx="9487">1</cx:pt>
          <cx:pt idx="9488">3</cx:pt>
          <cx:pt idx="9489">5</cx:pt>
          <cx:pt idx="9490">5</cx:pt>
          <cx:pt idx="9491">2</cx:pt>
          <cx:pt idx="9492">4</cx:pt>
          <cx:pt idx="9493">4</cx:pt>
          <cx:pt idx="9494">3</cx:pt>
          <cx:pt idx="9495">4</cx:pt>
          <cx:pt idx="9496">4</cx:pt>
          <cx:pt idx="9497">1</cx:pt>
          <cx:pt idx="9498">5</cx:pt>
          <cx:pt idx="9499">5</cx:pt>
          <cx:pt idx="9500">5</cx:pt>
          <cx:pt idx="9501">2</cx:pt>
          <cx:pt idx="9502">5</cx:pt>
          <cx:pt idx="9503">4</cx:pt>
          <cx:pt idx="9504">4</cx:pt>
          <cx:pt idx="9505">4</cx:pt>
          <cx:pt idx="9506">3</cx:pt>
          <cx:pt idx="9507">1</cx:pt>
          <cx:pt idx="9508">4</cx:pt>
          <cx:pt idx="9509">4</cx:pt>
          <cx:pt idx="9510">2</cx:pt>
          <cx:pt idx="9511">5</cx:pt>
          <cx:pt idx="9512">5</cx:pt>
          <cx:pt idx="9513">5</cx:pt>
          <cx:pt idx="9514">3</cx:pt>
          <cx:pt idx="9515">5</cx:pt>
          <cx:pt idx="9516">4</cx:pt>
          <cx:pt idx="9517">5</cx:pt>
          <cx:pt idx="9518">4</cx:pt>
          <cx:pt idx="9519">2</cx:pt>
          <cx:pt idx="9520">5</cx:pt>
          <cx:pt idx="9521">5</cx:pt>
          <cx:pt idx="9522">5</cx:pt>
          <cx:pt idx="9523">1</cx:pt>
          <cx:pt idx="9524">4</cx:pt>
          <cx:pt idx="9525">3</cx:pt>
          <cx:pt idx="9526">4</cx:pt>
          <cx:pt idx="9527">5</cx:pt>
          <cx:pt idx="9528">5</cx:pt>
          <cx:pt idx="9529">2</cx:pt>
          <cx:pt idx="9530">5</cx:pt>
          <cx:pt idx="9531">4</cx:pt>
          <cx:pt idx="9532">1</cx:pt>
          <cx:pt idx="9533">3</cx:pt>
          <cx:pt idx="9534">1</cx:pt>
          <cx:pt idx="9535">2</cx:pt>
          <cx:pt idx="9536">2</cx:pt>
          <cx:pt idx="9537">4</cx:pt>
          <cx:pt idx="9538">1</cx:pt>
          <cx:pt idx="9539">4</cx:pt>
          <cx:pt idx="9540">2</cx:pt>
          <cx:pt idx="9541">4</cx:pt>
          <cx:pt idx="9542">4</cx:pt>
          <cx:pt idx="9543">2</cx:pt>
          <cx:pt idx="9544">1</cx:pt>
          <cx:pt idx="9545">2</cx:pt>
          <cx:pt idx="9546">3</cx:pt>
          <cx:pt idx="9547">5</cx:pt>
          <cx:pt idx="9548">4</cx:pt>
          <cx:pt idx="9549">5</cx:pt>
          <cx:pt idx="9550">5</cx:pt>
          <cx:pt idx="9551">1</cx:pt>
          <cx:pt idx="9552">4</cx:pt>
          <cx:pt idx="9553">3</cx:pt>
          <cx:pt idx="9554">3</cx:pt>
          <cx:pt idx="9555">4</cx:pt>
          <cx:pt idx="9556">1</cx:pt>
          <cx:pt idx="9557">1</cx:pt>
          <cx:pt idx="9558">3</cx:pt>
          <cx:pt idx="9559">5</cx:pt>
          <cx:pt idx="9560">1</cx:pt>
          <cx:pt idx="9561">2</cx:pt>
          <cx:pt idx="9562">2</cx:pt>
          <cx:pt idx="9563">3</cx:pt>
          <cx:pt idx="9564">1</cx:pt>
          <cx:pt idx="9565">1</cx:pt>
          <cx:pt idx="9566">5</cx:pt>
          <cx:pt idx="9567">4</cx:pt>
          <cx:pt idx="9568">4</cx:pt>
          <cx:pt idx="9569">1</cx:pt>
          <cx:pt idx="9570">3</cx:pt>
          <cx:pt idx="9571">2</cx:pt>
          <cx:pt idx="9572">4</cx:pt>
          <cx:pt idx="9573">3</cx:pt>
          <cx:pt idx="9574">3</cx:pt>
          <cx:pt idx="9575">4</cx:pt>
          <cx:pt idx="9576">3</cx:pt>
          <cx:pt idx="9577">3</cx:pt>
          <cx:pt idx="9578">3</cx:pt>
          <cx:pt idx="9579">5</cx:pt>
          <cx:pt idx="9580">3</cx:pt>
          <cx:pt idx="9581">1</cx:pt>
          <cx:pt idx="9582">5</cx:pt>
          <cx:pt idx="9583">4</cx:pt>
          <cx:pt idx="9584">4</cx:pt>
          <cx:pt idx="9585">5</cx:pt>
          <cx:pt idx="9586">5</cx:pt>
          <cx:pt idx="9587">2</cx:pt>
          <cx:pt idx="9588">4</cx:pt>
          <cx:pt idx="9589">4</cx:pt>
          <cx:pt idx="9590">4</cx:pt>
          <cx:pt idx="9591">5</cx:pt>
          <cx:pt idx="9592">5</cx:pt>
          <cx:pt idx="9593">5</cx:pt>
          <cx:pt idx="9594">4</cx:pt>
          <cx:pt idx="9595">1</cx:pt>
          <cx:pt idx="9596">3</cx:pt>
          <cx:pt idx="9597">5</cx:pt>
          <cx:pt idx="9598">2</cx:pt>
          <cx:pt idx="9599">5</cx:pt>
          <cx:pt idx="9600">4</cx:pt>
          <cx:pt idx="9601">2</cx:pt>
          <cx:pt idx="9602">4</cx:pt>
          <cx:pt idx="9603">3</cx:pt>
          <cx:pt idx="9604">3</cx:pt>
          <cx:pt idx="9605">4</cx:pt>
          <cx:pt idx="9606">5</cx:pt>
          <cx:pt idx="9607">5</cx:pt>
          <cx:pt idx="9608">5</cx:pt>
          <cx:pt idx="9609">4</cx:pt>
          <cx:pt idx="9610">4</cx:pt>
          <cx:pt idx="9611">4</cx:pt>
          <cx:pt idx="9612">2</cx:pt>
          <cx:pt idx="9613">4</cx:pt>
          <cx:pt idx="9614">3</cx:pt>
          <cx:pt idx="9615">5</cx:pt>
          <cx:pt idx="9616">4</cx:pt>
          <cx:pt idx="9617">1</cx:pt>
          <cx:pt idx="9618">5</cx:pt>
          <cx:pt idx="9619">5</cx:pt>
          <cx:pt idx="9620">4</cx:pt>
          <cx:pt idx="9621">3</cx:pt>
          <cx:pt idx="9622">2</cx:pt>
          <cx:pt idx="9623">4</cx:pt>
          <cx:pt idx="9624">1</cx:pt>
          <cx:pt idx="9625">2</cx:pt>
          <cx:pt idx="9626">3</cx:pt>
          <cx:pt idx="9627">4</cx:pt>
          <cx:pt idx="9628">1</cx:pt>
          <cx:pt idx="9629">1</cx:pt>
          <cx:pt idx="9630">5</cx:pt>
          <cx:pt idx="9631">5</cx:pt>
          <cx:pt idx="9632">3</cx:pt>
          <cx:pt idx="9633">3</cx:pt>
          <cx:pt idx="9634">3</cx:pt>
          <cx:pt idx="9635">4</cx:pt>
          <cx:pt idx="9636">2</cx:pt>
          <cx:pt idx="9637">5</cx:pt>
          <cx:pt idx="9638">5</cx:pt>
          <cx:pt idx="9639">4</cx:pt>
          <cx:pt idx="9640">3</cx:pt>
          <cx:pt idx="9641">3</cx:pt>
          <cx:pt idx="9642">4</cx:pt>
          <cx:pt idx="9643">5</cx:pt>
          <cx:pt idx="9644">4</cx:pt>
          <cx:pt idx="9645">3</cx:pt>
          <cx:pt idx="9646">1</cx:pt>
          <cx:pt idx="9647">2</cx:pt>
          <cx:pt idx="9648">4</cx:pt>
          <cx:pt idx="9649">2</cx:pt>
          <cx:pt idx="9650">4</cx:pt>
          <cx:pt idx="9651">2</cx:pt>
          <cx:pt idx="9652">4</cx:pt>
          <cx:pt idx="9653">2</cx:pt>
          <cx:pt idx="9654">3</cx:pt>
          <cx:pt idx="9655">2</cx:pt>
          <cx:pt idx="9656">1</cx:pt>
          <cx:pt idx="9657">3</cx:pt>
          <cx:pt idx="9658">3</cx:pt>
          <cx:pt idx="9659">3</cx:pt>
          <cx:pt idx="9660">5</cx:pt>
          <cx:pt idx="9661">4</cx:pt>
          <cx:pt idx="9662">4</cx:pt>
          <cx:pt idx="9663">3</cx:pt>
          <cx:pt idx="9664">2</cx:pt>
          <cx:pt idx="9665">4</cx:pt>
          <cx:pt idx="9666">1</cx:pt>
          <cx:pt idx="9667">4</cx:pt>
          <cx:pt idx="9668">4</cx:pt>
          <cx:pt idx="9669">1</cx:pt>
          <cx:pt idx="9670">5</cx:pt>
          <cx:pt idx="9671">4</cx:pt>
          <cx:pt idx="9672">4</cx:pt>
          <cx:pt idx="9673">5</cx:pt>
          <cx:pt idx="9674">4</cx:pt>
          <cx:pt idx="9675">5</cx:pt>
          <cx:pt idx="9676">3</cx:pt>
          <cx:pt idx="9677">3</cx:pt>
          <cx:pt idx="9678">4</cx:pt>
          <cx:pt idx="9679">4</cx:pt>
          <cx:pt idx="9680">5</cx:pt>
          <cx:pt idx="9681">5</cx:pt>
          <cx:pt idx="9682">3</cx:pt>
          <cx:pt idx="9683">2</cx:pt>
          <cx:pt idx="9684">4</cx:pt>
          <cx:pt idx="9685">4</cx:pt>
          <cx:pt idx="9686">3</cx:pt>
          <cx:pt idx="9687">2</cx:pt>
          <cx:pt idx="9688">5</cx:pt>
          <cx:pt idx="9689">5</cx:pt>
          <cx:pt idx="9690">2</cx:pt>
          <cx:pt idx="9691">3</cx:pt>
          <cx:pt idx="9692">3</cx:pt>
          <cx:pt idx="9693">4</cx:pt>
          <cx:pt idx="9694">4</cx:pt>
          <cx:pt idx="9695">5</cx:pt>
          <cx:pt idx="9696">2</cx:pt>
          <cx:pt idx="9697">5</cx:pt>
          <cx:pt idx="9698">4</cx:pt>
          <cx:pt idx="9699">5</cx:pt>
          <cx:pt idx="9700">5</cx:pt>
          <cx:pt idx="9701">1</cx:pt>
          <cx:pt idx="9702">3</cx:pt>
          <cx:pt idx="9703">4</cx:pt>
          <cx:pt idx="9704">5</cx:pt>
          <cx:pt idx="9705">4</cx:pt>
          <cx:pt idx="9706">5</cx:pt>
          <cx:pt idx="9707">3</cx:pt>
          <cx:pt idx="9708">5</cx:pt>
          <cx:pt idx="9709">3</cx:pt>
          <cx:pt idx="9710">4</cx:pt>
          <cx:pt idx="9711">2</cx:pt>
          <cx:pt idx="9712">2</cx:pt>
          <cx:pt idx="9713">4</cx:pt>
          <cx:pt idx="9714">4</cx:pt>
          <cx:pt idx="9715">5</cx:pt>
          <cx:pt idx="9716">5</cx:pt>
          <cx:pt idx="9717">5</cx:pt>
          <cx:pt idx="9718">3</cx:pt>
          <cx:pt idx="9719">5</cx:pt>
          <cx:pt idx="9720">4</cx:pt>
          <cx:pt idx="9721">2</cx:pt>
          <cx:pt idx="9722">5</cx:pt>
          <cx:pt idx="9723">3</cx:pt>
          <cx:pt idx="9724">5</cx:pt>
          <cx:pt idx="9725">4</cx:pt>
          <cx:pt idx="9726">1</cx:pt>
          <cx:pt idx="9727">1</cx:pt>
          <cx:pt idx="9728">4</cx:pt>
          <cx:pt idx="9729">3</cx:pt>
          <cx:pt idx="9730">5</cx:pt>
          <cx:pt idx="9731">1</cx:pt>
          <cx:pt idx="9732">2</cx:pt>
          <cx:pt idx="9733">4</cx:pt>
          <cx:pt idx="9734">5</cx:pt>
          <cx:pt idx="9735">3</cx:pt>
          <cx:pt idx="9736">3</cx:pt>
          <cx:pt idx="9737">1</cx:pt>
          <cx:pt idx="9738">1</cx:pt>
          <cx:pt idx="9739">4</cx:pt>
          <cx:pt idx="9740">2</cx:pt>
          <cx:pt idx="9741">5</cx:pt>
          <cx:pt idx="9742">2</cx:pt>
          <cx:pt idx="9743">4</cx:pt>
          <cx:pt idx="9744">2</cx:pt>
          <cx:pt idx="9745">4</cx:pt>
          <cx:pt idx="9746">2</cx:pt>
          <cx:pt idx="9747">4</cx:pt>
          <cx:pt idx="9748">2</cx:pt>
          <cx:pt idx="9749">3</cx:pt>
          <cx:pt idx="9750">4</cx:pt>
          <cx:pt idx="9751">5</cx:pt>
          <cx:pt idx="9752">5</cx:pt>
          <cx:pt idx="9753">4</cx:pt>
          <cx:pt idx="9754">4</cx:pt>
          <cx:pt idx="9755">1</cx:pt>
          <cx:pt idx="9756">4</cx:pt>
          <cx:pt idx="9757">5</cx:pt>
          <cx:pt idx="9758">2</cx:pt>
          <cx:pt idx="9759">3</cx:pt>
          <cx:pt idx="9760">4</cx:pt>
          <cx:pt idx="9761">2</cx:pt>
          <cx:pt idx="9762">5</cx:pt>
          <cx:pt idx="9763">2</cx:pt>
          <cx:pt idx="9764">4</cx:pt>
          <cx:pt idx="9765">4</cx:pt>
          <cx:pt idx="9766">4</cx:pt>
          <cx:pt idx="9767">3</cx:pt>
          <cx:pt idx="9768">3</cx:pt>
          <cx:pt idx="9769">2</cx:pt>
          <cx:pt idx="9770">2</cx:pt>
          <cx:pt idx="9771">5</cx:pt>
          <cx:pt idx="9772">5</cx:pt>
          <cx:pt idx="9773">4</cx:pt>
          <cx:pt idx="9774">1</cx:pt>
          <cx:pt idx="9775">5</cx:pt>
          <cx:pt idx="9776">5</cx:pt>
          <cx:pt idx="9777">4</cx:pt>
          <cx:pt idx="9778">1</cx:pt>
          <cx:pt idx="9779">3</cx:pt>
          <cx:pt idx="9780">5</cx:pt>
          <cx:pt idx="9781">4</cx:pt>
          <cx:pt idx="9782">1</cx:pt>
          <cx:pt idx="9783">2</cx:pt>
          <cx:pt idx="9784">5</cx:pt>
          <cx:pt idx="9785">2</cx:pt>
          <cx:pt idx="9786">4</cx:pt>
          <cx:pt idx="9787">4</cx:pt>
          <cx:pt idx="9788">5</cx:pt>
          <cx:pt idx="9789">3</cx:pt>
          <cx:pt idx="9790">2</cx:pt>
          <cx:pt idx="9791">3</cx:pt>
          <cx:pt idx="9792">2</cx:pt>
          <cx:pt idx="9793">3</cx:pt>
          <cx:pt idx="9794">3</cx:pt>
          <cx:pt idx="9795">4</cx:pt>
          <cx:pt idx="9796">3</cx:pt>
          <cx:pt idx="9797">5</cx:pt>
          <cx:pt idx="9798">1</cx:pt>
          <cx:pt idx="9799">5</cx:pt>
          <cx:pt idx="9800">4</cx:pt>
          <cx:pt idx="9801">4</cx:pt>
          <cx:pt idx="9802">4</cx:pt>
          <cx:pt idx="9803">1</cx:pt>
          <cx:pt idx="9804">5</cx:pt>
          <cx:pt idx="9805">5</cx:pt>
          <cx:pt idx="9806">4</cx:pt>
          <cx:pt idx="9807">3</cx:pt>
          <cx:pt idx="9808">3</cx:pt>
          <cx:pt idx="9809">1</cx:pt>
          <cx:pt idx="9810">1</cx:pt>
          <cx:pt idx="9811">4</cx:pt>
          <cx:pt idx="9812">3</cx:pt>
          <cx:pt idx="9813">5</cx:pt>
          <cx:pt idx="9814">2</cx:pt>
          <cx:pt idx="9815">4</cx:pt>
          <cx:pt idx="9816">4</cx:pt>
          <cx:pt idx="9817">4</cx:pt>
          <cx:pt idx="9818">2</cx:pt>
          <cx:pt idx="9819">5</cx:pt>
          <cx:pt idx="9820">5</cx:pt>
          <cx:pt idx="9821">2</cx:pt>
          <cx:pt idx="9822">4</cx:pt>
          <cx:pt idx="9823">2</cx:pt>
          <cx:pt idx="9824">2</cx:pt>
          <cx:pt idx="9825">3</cx:pt>
          <cx:pt idx="9826">4</cx:pt>
          <cx:pt idx="9827">1</cx:pt>
          <cx:pt idx="9828">5</cx:pt>
          <cx:pt idx="9829">5</cx:pt>
          <cx:pt idx="9830">5</cx:pt>
          <cx:pt idx="9831">3</cx:pt>
          <cx:pt idx="9832">5</cx:pt>
          <cx:pt idx="9833">5</cx:pt>
          <cx:pt idx="9834">5</cx:pt>
          <cx:pt idx="9835">3</cx:pt>
          <cx:pt idx="9836">2</cx:pt>
          <cx:pt idx="9837">4</cx:pt>
          <cx:pt idx="9838">3</cx:pt>
          <cx:pt idx="9839">4</cx:pt>
          <cx:pt idx="9840">4</cx:pt>
          <cx:pt idx="9841">4</cx:pt>
          <cx:pt idx="9842">5</cx:pt>
          <cx:pt idx="9843">4</cx:pt>
          <cx:pt idx="9844">1</cx:pt>
          <cx:pt idx="9845">5</cx:pt>
          <cx:pt idx="9846">2</cx:pt>
          <cx:pt idx="9847">2</cx:pt>
          <cx:pt idx="9848">5</cx:pt>
          <cx:pt idx="9849">3</cx:pt>
          <cx:pt idx="9850">1</cx:pt>
          <cx:pt idx="9851">2</cx:pt>
          <cx:pt idx="9852">2</cx:pt>
          <cx:pt idx="9853">2</cx:pt>
          <cx:pt idx="9854">3</cx:pt>
          <cx:pt idx="9855">4</cx:pt>
          <cx:pt idx="9856">4</cx:pt>
          <cx:pt idx="9857">4</cx:pt>
          <cx:pt idx="9858">3</cx:pt>
          <cx:pt idx="9859">4</cx:pt>
          <cx:pt idx="9860">3</cx:pt>
          <cx:pt idx="9861">1</cx:pt>
          <cx:pt idx="9862">5</cx:pt>
          <cx:pt idx="9863">5</cx:pt>
          <cx:pt idx="9864">4</cx:pt>
          <cx:pt idx="9865">5</cx:pt>
          <cx:pt idx="9866">3</cx:pt>
          <cx:pt idx="9867">4</cx:pt>
          <cx:pt idx="9868">3</cx:pt>
          <cx:pt idx="9869">2</cx:pt>
          <cx:pt idx="9870">3</cx:pt>
          <cx:pt idx="9871">3</cx:pt>
          <cx:pt idx="9872">3</cx:pt>
          <cx:pt idx="9873">5</cx:pt>
          <cx:pt idx="9874">1</cx:pt>
          <cx:pt idx="9875">5</cx:pt>
          <cx:pt idx="9876">1</cx:pt>
          <cx:pt idx="9877">5</cx:pt>
          <cx:pt idx="9878">2</cx:pt>
          <cx:pt idx="9879">4</cx:pt>
          <cx:pt idx="9880">5</cx:pt>
          <cx:pt idx="9881">2</cx:pt>
          <cx:pt idx="9882">5</cx:pt>
          <cx:pt idx="9883">5</cx:pt>
          <cx:pt idx="9884">1</cx:pt>
          <cx:pt idx="9885">5</cx:pt>
          <cx:pt idx="9886">1</cx:pt>
          <cx:pt idx="9887">2</cx:pt>
          <cx:pt idx="9888">2</cx:pt>
          <cx:pt idx="9889">3</cx:pt>
          <cx:pt idx="9890">3</cx:pt>
          <cx:pt idx="9891">2</cx:pt>
          <cx:pt idx="9892">4</cx:pt>
          <cx:pt idx="9893">1</cx:pt>
          <cx:pt idx="9894">4</cx:pt>
          <cx:pt idx="9895">4</cx:pt>
          <cx:pt idx="9896">2</cx:pt>
          <cx:pt idx="9897">1</cx:pt>
          <cx:pt idx="9898">4</cx:pt>
          <cx:pt idx="9899">5</cx:pt>
          <cx:pt idx="9900">5</cx:pt>
          <cx:pt idx="9901">3</cx:pt>
          <cx:pt idx="9902">5</cx:pt>
          <cx:pt idx="9903">4</cx:pt>
          <cx:pt idx="9904">1</cx:pt>
          <cx:pt idx="9905">4</cx:pt>
          <cx:pt idx="9906">1</cx:pt>
          <cx:pt idx="9907">1</cx:pt>
          <cx:pt idx="9908">5</cx:pt>
          <cx:pt idx="9909">4</cx:pt>
          <cx:pt idx="9910">4</cx:pt>
          <cx:pt idx="9911">5</cx:pt>
          <cx:pt idx="9912">2</cx:pt>
          <cx:pt idx="9913">4</cx:pt>
          <cx:pt idx="9914">4</cx:pt>
          <cx:pt idx="9915">3</cx:pt>
          <cx:pt idx="9916">5</cx:pt>
          <cx:pt idx="9917">5</cx:pt>
          <cx:pt idx="9918">3</cx:pt>
          <cx:pt idx="9919">3</cx:pt>
          <cx:pt idx="9920">3</cx:pt>
          <cx:pt idx="9921">4</cx:pt>
          <cx:pt idx="9922">5</cx:pt>
          <cx:pt idx="9923">5</cx:pt>
          <cx:pt idx="9924">4</cx:pt>
          <cx:pt idx="9925">4</cx:pt>
          <cx:pt idx="9926">5</cx:pt>
          <cx:pt idx="9927">4</cx:pt>
          <cx:pt idx="9928">2</cx:pt>
          <cx:pt idx="9929">4</cx:pt>
          <cx:pt idx="9930">4</cx:pt>
          <cx:pt idx="9931">3</cx:pt>
          <cx:pt idx="9932">2</cx:pt>
          <cx:pt idx="9933">4</cx:pt>
          <cx:pt idx="9934">2</cx:pt>
          <cx:pt idx="9935">3</cx:pt>
          <cx:pt idx="9936">4</cx:pt>
          <cx:pt idx="9937">5</cx:pt>
          <cx:pt idx="9938">1</cx:pt>
          <cx:pt idx="9939">4</cx:pt>
          <cx:pt idx="9940">3</cx:pt>
          <cx:pt idx="9941">5</cx:pt>
          <cx:pt idx="9942">4</cx:pt>
          <cx:pt idx="9943">2</cx:pt>
          <cx:pt idx="9944">1</cx:pt>
          <cx:pt idx="9945">4</cx:pt>
          <cx:pt idx="9946">5</cx:pt>
          <cx:pt idx="9947">4</cx:pt>
          <cx:pt idx="9948">4</cx:pt>
          <cx:pt idx="9949">4</cx:pt>
          <cx:pt idx="9950">2</cx:pt>
          <cx:pt idx="9951">4</cx:pt>
          <cx:pt idx="9952">4</cx:pt>
          <cx:pt idx="9953">4</cx:pt>
          <cx:pt idx="9954">5</cx:pt>
          <cx:pt idx="9955">5</cx:pt>
          <cx:pt idx="9956">4</cx:pt>
          <cx:pt idx="9957">2</cx:pt>
          <cx:pt idx="9958">3</cx:pt>
          <cx:pt idx="9959">4</cx:pt>
          <cx:pt idx="9960">5</cx:pt>
          <cx:pt idx="9961">5</cx:pt>
          <cx:pt idx="9962">4</cx:pt>
          <cx:pt idx="9963">3</cx:pt>
          <cx:pt idx="9964">1</cx:pt>
          <cx:pt idx="9965">5</cx:pt>
          <cx:pt idx="9966">3</cx:pt>
          <cx:pt idx="9967">2</cx:pt>
          <cx:pt idx="9968">3</cx:pt>
          <cx:pt idx="9969">4</cx:pt>
          <cx:pt idx="9970">2</cx:pt>
          <cx:pt idx="9971">4</cx:pt>
          <cx:pt idx="9972">1</cx:pt>
          <cx:pt idx="9973">5</cx:pt>
          <cx:pt idx="9974">3</cx:pt>
          <cx:pt idx="9975">5</cx:pt>
          <cx:pt idx="9976">4</cx:pt>
          <cx:pt idx="9977">5</cx:pt>
          <cx:pt idx="9978">3</cx:pt>
          <cx:pt idx="9979">4</cx:pt>
          <cx:pt idx="9980">5</cx:pt>
          <cx:pt idx="9981">3</cx:pt>
          <cx:pt idx="9982">5</cx:pt>
          <cx:pt idx="9983">4</cx:pt>
          <cx:pt idx="9984">5</cx:pt>
          <cx:pt idx="9985">1</cx:pt>
          <cx:pt idx="9986">1</cx:pt>
          <cx:pt idx="9987">5</cx:pt>
          <cx:pt idx="9988">2</cx:pt>
          <cx:pt idx="9989">4</cx:pt>
          <cx:pt idx="9990">1</cx:pt>
          <cx:pt idx="9991">1</cx:pt>
          <cx:pt idx="9992">2</cx:pt>
          <cx:pt idx="9993">5</cx:pt>
          <cx:pt idx="9994">4</cx:pt>
          <cx:pt idx="9995">4</cx:pt>
          <cx:pt idx="9996">5</cx:pt>
          <cx:pt idx="9997">4</cx:pt>
          <cx:pt idx="9998">5</cx:pt>
          <cx:pt idx="9999">5</cx:pt>
          <cx:pt idx="10000">5</cx:pt>
          <cx:pt idx="10001">4</cx:pt>
          <cx:pt idx="10002">1</cx:pt>
          <cx:pt idx="10003">4</cx:pt>
          <cx:pt idx="10004">4</cx:pt>
          <cx:pt idx="10005">1</cx:pt>
          <cx:pt idx="10006">4</cx:pt>
          <cx:pt idx="10007">1</cx:pt>
          <cx:pt idx="10008">4</cx:pt>
          <cx:pt idx="10009">5</cx:pt>
          <cx:pt idx="10010">5</cx:pt>
          <cx:pt idx="10011">4</cx:pt>
          <cx:pt idx="10012">4</cx:pt>
          <cx:pt idx="10013">4</cx:pt>
          <cx:pt idx="10014">2</cx:pt>
          <cx:pt idx="10015">2</cx:pt>
          <cx:pt idx="10016">3</cx:pt>
          <cx:pt idx="10017">2</cx:pt>
          <cx:pt idx="10018">2</cx:pt>
          <cx:pt idx="10019">1</cx:pt>
          <cx:pt idx="10020">2</cx:pt>
          <cx:pt idx="10021">2</cx:pt>
          <cx:pt idx="10022">1</cx:pt>
          <cx:pt idx="10023">4</cx:pt>
          <cx:pt idx="10024">3</cx:pt>
          <cx:pt idx="10025">4</cx:pt>
          <cx:pt idx="10026">5</cx:pt>
          <cx:pt idx="10027">4</cx:pt>
          <cx:pt idx="10028">4</cx:pt>
          <cx:pt idx="10029">4</cx:pt>
          <cx:pt idx="10030">1</cx:pt>
          <cx:pt idx="10031">3</cx:pt>
          <cx:pt idx="10032">4</cx:pt>
          <cx:pt idx="10033">3</cx:pt>
          <cx:pt idx="10034">5</cx:pt>
          <cx:pt idx="10035">4</cx:pt>
          <cx:pt idx="10036">4</cx:pt>
          <cx:pt idx="10037">2</cx:pt>
          <cx:pt idx="10038">4</cx:pt>
          <cx:pt idx="10039">5</cx:pt>
          <cx:pt idx="10040">4</cx:pt>
          <cx:pt idx="10041">5</cx:pt>
          <cx:pt idx="10042">4</cx:pt>
          <cx:pt idx="10043">2</cx:pt>
          <cx:pt idx="10044">3</cx:pt>
          <cx:pt idx="10045">5</cx:pt>
          <cx:pt idx="10046">2</cx:pt>
          <cx:pt idx="10047">4</cx:pt>
          <cx:pt idx="10048">3</cx:pt>
          <cx:pt idx="10049">4</cx:pt>
          <cx:pt idx="10050">5</cx:pt>
          <cx:pt idx="10051">5</cx:pt>
          <cx:pt idx="10052">3</cx:pt>
          <cx:pt idx="10053">3</cx:pt>
          <cx:pt idx="10054">4</cx:pt>
          <cx:pt idx="10055">2</cx:pt>
          <cx:pt idx="10056">3</cx:pt>
          <cx:pt idx="10057">5</cx:pt>
          <cx:pt idx="10058">1</cx:pt>
          <cx:pt idx="10059">3</cx:pt>
          <cx:pt idx="10060">3</cx:pt>
          <cx:pt idx="10061">4</cx:pt>
          <cx:pt idx="10062">4</cx:pt>
          <cx:pt idx="10063">1</cx:pt>
          <cx:pt idx="10064">5</cx:pt>
          <cx:pt idx="10065">4</cx:pt>
          <cx:pt idx="10066">5</cx:pt>
          <cx:pt idx="10067">4</cx:pt>
          <cx:pt idx="10068">5</cx:pt>
          <cx:pt idx="10069">5</cx:pt>
          <cx:pt idx="10070">2</cx:pt>
          <cx:pt idx="10071">4</cx:pt>
          <cx:pt idx="10072">4</cx:pt>
          <cx:pt idx="10073">5</cx:pt>
          <cx:pt idx="10074">1</cx:pt>
          <cx:pt idx="10075">2</cx:pt>
          <cx:pt idx="10076">5</cx:pt>
          <cx:pt idx="10077">5</cx:pt>
          <cx:pt idx="10078">4</cx:pt>
          <cx:pt idx="10079">5</cx:pt>
          <cx:pt idx="10080">2</cx:pt>
          <cx:pt idx="10081">4</cx:pt>
          <cx:pt idx="10082">2</cx:pt>
          <cx:pt idx="10083">4</cx:pt>
          <cx:pt idx="10084">3</cx:pt>
          <cx:pt idx="10085">4</cx:pt>
          <cx:pt idx="10086">4</cx:pt>
          <cx:pt idx="10087">3</cx:pt>
          <cx:pt idx="10088">5</cx:pt>
          <cx:pt idx="10089">1</cx:pt>
          <cx:pt idx="10090">1</cx:pt>
          <cx:pt idx="10091">1</cx:pt>
          <cx:pt idx="10092">4</cx:pt>
          <cx:pt idx="10093">1</cx:pt>
          <cx:pt idx="10094">2</cx:pt>
          <cx:pt idx="10095">4</cx:pt>
          <cx:pt idx="10096">5</cx:pt>
          <cx:pt idx="10097">5</cx:pt>
          <cx:pt idx="10098">4</cx:pt>
          <cx:pt idx="10099">3</cx:pt>
          <cx:pt idx="10100">5</cx:pt>
          <cx:pt idx="10101">3</cx:pt>
          <cx:pt idx="10102">5</cx:pt>
          <cx:pt idx="10103">1</cx:pt>
          <cx:pt idx="10104">3</cx:pt>
          <cx:pt idx="10105">5</cx:pt>
          <cx:pt idx="10106">5</cx:pt>
          <cx:pt idx="10107">4</cx:pt>
          <cx:pt idx="10108">3</cx:pt>
          <cx:pt idx="10109">3</cx:pt>
          <cx:pt idx="10110">2</cx:pt>
          <cx:pt idx="10111">4</cx:pt>
          <cx:pt idx="10112">2</cx:pt>
          <cx:pt idx="10113">2</cx:pt>
          <cx:pt idx="10114">5</cx:pt>
          <cx:pt idx="10115">3</cx:pt>
          <cx:pt idx="10116">4</cx:pt>
          <cx:pt idx="10117">5</cx:pt>
          <cx:pt idx="10118">4</cx:pt>
          <cx:pt idx="10119">4</cx:pt>
          <cx:pt idx="10120">4</cx:pt>
          <cx:pt idx="10121">1</cx:pt>
          <cx:pt idx="10122">1</cx:pt>
          <cx:pt idx="10123">4</cx:pt>
          <cx:pt idx="10124">5</cx:pt>
          <cx:pt idx="10125">5</cx:pt>
          <cx:pt idx="10126">4</cx:pt>
          <cx:pt idx="10127">4</cx:pt>
          <cx:pt idx="10128">4</cx:pt>
          <cx:pt idx="10129">2</cx:pt>
          <cx:pt idx="10130">4</cx:pt>
          <cx:pt idx="10131">5</cx:pt>
          <cx:pt idx="10132">5</cx:pt>
          <cx:pt idx="10133">5</cx:pt>
          <cx:pt idx="10134">5</cx:pt>
          <cx:pt idx="10135">3</cx:pt>
          <cx:pt idx="10136">5</cx:pt>
          <cx:pt idx="10137">3</cx:pt>
          <cx:pt idx="10138">3</cx:pt>
          <cx:pt idx="10139">4</cx:pt>
          <cx:pt idx="10140">5</cx:pt>
          <cx:pt idx="10141">4</cx:pt>
          <cx:pt idx="10142">4</cx:pt>
          <cx:pt idx="10143">2</cx:pt>
          <cx:pt idx="10144">5</cx:pt>
          <cx:pt idx="10145">5</cx:pt>
          <cx:pt idx="10146">3</cx:pt>
          <cx:pt idx="10147">5</cx:pt>
          <cx:pt idx="10148">4</cx:pt>
          <cx:pt idx="10149">5</cx:pt>
          <cx:pt idx="10150">5</cx:pt>
          <cx:pt idx="10151">5</cx:pt>
          <cx:pt idx="10152">3</cx:pt>
          <cx:pt idx="10153">2</cx:pt>
          <cx:pt idx="10154">5</cx:pt>
          <cx:pt idx="10155">2</cx:pt>
          <cx:pt idx="10156">3</cx:pt>
          <cx:pt idx="10157">5</cx:pt>
          <cx:pt idx="10158">4</cx:pt>
          <cx:pt idx="10159">2</cx:pt>
          <cx:pt idx="10160">3</cx:pt>
          <cx:pt idx="10161">4</cx:pt>
          <cx:pt idx="10162">4</cx:pt>
          <cx:pt idx="10163">3</cx:pt>
          <cx:pt idx="10164">4</cx:pt>
          <cx:pt idx="10165">3</cx:pt>
          <cx:pt idx="10166">1</cx:pt>
          <cx:pt idx="10167">2</cx:pt>
          <cx:pt idx="10168">5</cx:pt>
          <cx:pt idx="10169">1</cx:pt>
          <cx:pt idx="10170">3</cx:pt>
          <cx:pt idx="10171">2</cx:pt>
          <cx:pt idx="10172">5</cx:pt>
          <cx:pt idx="10173">2</cx:pt>
          <cx:pt idx="10174">4</cx:pt>
          <cx:pt idx="10175">1</cx:pt>
          <cx:pt idx="10176">2</cx:pt>
          <cx:pt idx="10177">2</cx:pt>
          <cx:pt idx="10178">4</cx:pt>
          <cx:pt idx="10179">2</cx:pt>
          <cx:pt idx="10180">5</cx:pt>
          <cx:pt idx="10181">2</cx:pt>
          <cx:pt idx="10182">4</cx:pt>
          <cx:pt idx="10183">4</cx:pt>
          <cx:pt idx="10184">2</cx:pt>
          <cx:pt idx="10185">1</cx:pt>
          <cx:pt idx="10186">1</cx:pt>
          <cx:pt idx="10187">3</cx:pt>
          <cx:pt idx="10188">5</cx:pt>
          <cx:pt idx="10189">2</cx:pt>
          <cx:pt idx="10190">1</cx:pt>
          <cx:pt idx="10191">3</cx:pt>
          <cx:pt idx="10192">4</cx:pt>
          <cx:pt idx="10193">4</cx:pt>
          <cx:pt idx="10194">4</cx:pt>
          <cx:pt idx="10195">4</cx:pt>
          <cx:pt idx="10196">3</cx:pt>
          <cx:pt idx="10197">3</cx:pt>
          <cx:pt idx="10198">4</cx:pt>
          <cx:pt idx="10199">5</cx:pt>
          <cx:pt idx="10200">5</cx:pt>
          <cx:pt idx="10201">2</cx:pt>
          <cx:pt idx="10202">4</cx:pt>
          <cx:pt idx="10203">4</cx:pt>
          <cx:pt idx="10204">2</cx:pt>
          <cx:pt idx="10205">2</cx:pt>
          <cx:pt idx="10206">1</cx:pt>
          <cx:pt idx="10207">2</cx:pt>
          <cx:pt idx="10208">3</cx:pt>
          <cx:pt idx="10209">4</cx:pt>
          <cx:pt idx="10210">3</cx:pt>
          <cx:pt idx="10211">4</cx:pt>
          <cx:pt idx="10212">1</cx:pt>
          <cx:pt idx="10213">1</cx:pt>
          <cx:pt idx="10214">1</cx:pt>
          <cx:pt idx="10215">4</cx:pt>
          <cx:pt idx="10216">2</cx:pt>
          <cx:pt idx="10217">4</cx:pt>
          <cx:pt idx="10218">4</cx:pt>
          <cx:pt idx="10219">4</cx:pt>
          <cx:pt idx="10220">4</cx:pt>
          <cx:pt idx="10221">2</cx:pt>
          <cx:pt idx="10222">3</cx:pt>
          <cx:pt idx="10223">2</cx:pt>
          <cx:pt idx="10224">2</cx:pt>
          <cx:pt idx="10225">1</cx:pt>
          <cx:pt idx="10226">4</cx:pt>
          <cx:pt idx="10227">5</cx:pt>
          <cx:pt idx="10228">3</cx:pt>
          <cx:pt idx="10229">3</cx:pt>
          <cx:pt idx="10230">4</cx:pt>
          <cx:pt idx="10231">4</cx:pt>
          <cx:pt idx="10232">5</cx:pt>
          <cx:pt idx="10233">3</cx:pt>
          <cx:pt idx="10234">3</cx:pt>
          <cx:pt idx="10235">4</cx:pt>
          <cx:pt idx="10236">5</cx:pt>
          <cx:pt idx="10237">3</cx:pt>
          <cx:pt idx="10238">1</cx:pt>
          <cx:pt idx="10239">3</cx:pt>
          <cx:pt idx="10240">5</cx:pt>
          <cx:pt idx="10241">1</cx:pt>
          <cx:pt idx="10242">4</cx:pt>
          <cx:pt idx="10243">4</cx:pt>
          <cx:pt idx="10244">3</cx:pt>
          <cx:pt idx="10245">1</cx:pt>
          <cx:pt idx="10246">4</cx:pt>
          <cx:pt idx="10247">1</cx:pt>
          <cx:pt idx="10248">5</cx:pt>
          <cx:pt idx="10249">4</cx:pt>
          <cx:pt idx="10250">5</cx:pt>
          <cx:pt idx="10251">4</cx:pt>
          <cx:pt idx="10252">5</cx:pt>
          <cx:pt idx="10253">4</cx:pt>
          <cx:pt idx="10254">4</cx:pt>
          <cx:pt idx="10255">2</cx:pt>
          <cx:pt idx="10256">2</cx:pt>
          <cx:pt idx="10257">5</cx:pt>
          <cx:pt idx="10258">4</cx:pt>
          <cx:pt idx="10259">5</cx:pt>
          <cx:pt idx="10260">4</cx:pt>
          <cx:pt idx="10261">5</cx:pt>
          <cx:pt idx="10262">3</cx:pt>
          <cx:pt idx="10263">5</cx:pt>
          <cx:pt idx="10264">3</cx:pt>
          <cx:pt idx="10265">1</cx:pt>
          <cx:pt idx="10266">5</cx:pt>
          <cx:pt idx="10267">5</cx:pt>
          <cx:pt idx="10268">5</cx:pt>
          <cx:pt idx="10269">3</cx:pt>
          <cx:pt idx="10270">3</cx:pt>
          <cx:pt idx="10271">5</cx:pt>
          <cx:pt idx="10272">5</cx:pt>
          <cx:pt idx="10273">3</cx:pt>
          <cx:pt idx="10274">3</cx:pt>
          <cx:pt idx="10275">3</cx:pt>
          <cx:pt idx="10276">4</cx:pt>
          <cx:pt idx="10277">3</cx:pt>
          <cx:pt idx="10278">3</cx:pt>
          <cx:pt idx="10279">5</cx:pt>
          <cx:pt idx="10280">3</cx:pt>
          <cx:pt idx="10281">4</cx:pt>
          <cx:pt idx="10282">5</cx:pt>
          <cx:pt idx="10283">1</cx:pt>
          <cx:pt idx="10284">4</cx:pt>
          <cx:pt idx="10285">5</cx:pt>
          <cx:pt idx="10286">2</cx:pt>
          <cx:pt idx="10287">4</cx:pt>
          <cx:pt idx="10288">4</cx:pt>
          <cx:pt idx="10289">2</cx:pt>
          <cx:pt idx="10290">2</cx:pt>
          <cx:pt idx="10291">4</cx:pt>
          <cx:pt idx="10292">2</cx:pt>
          <cx:pt idx="10293">2</cx:pt>
          <cx:pt idx="10294">2</cx:pt>
          <cx:pt idx="10295">4</cx:pt>
          <cx:pt idx="10296">1</cx:pt>
          <cx:pt idx="10297">1</cx:pt>
          <cx:pt idx="10298">5</cx:pt>
          <cx:pt idx="10299">3</cx:pt>
          <cx:pt idx="10300">5</cx:pt>
          <cx:pt idx="10301">3</cx:pt>
          <cx:pt idx="10302">5</cx:pt>
          <cx:pt idx="10303">4</cx:pt>
          <cx:pt idx="10304">2</cx:pt>
          <cx:pt idx="10305">4</cx:pt>
          <cx:pt idx="10306">4</cx:pt>
          <cx:pt idx="10307">3</cx:pt>
          <cx:pt idx="10308">5</cx:pt>
          <cx:pt idx="10309">4</cx:pt>
          <cx:pt idx="10310">3</cx:pt>
          <cx:pt idx="10311">2</cx:pt>
          <cx:pt idx="10312">4</cx:pt>
          <cx:pt idx="10313">3</cx:pt>
          <cx:pt idx="10314">1</cx:pt>
          <cx:pt idx="10315">5</cx:pt>
          <cx:pt idx="10316">3</cx:pt>
          <cx:pt idx="10317">4</cx:pt>
          <cx:pt idx="10318">4</cx:pt>
          <cx:pt idx="10319">3</cx:pt>
          <cx:pt idx="10320">5</cx:pt>
          <cx:pt idx="10321">4</cx:pt>
          <cx:pt idx="10322">4</cx:pt>
          <cx:pt idx="10323">4</cx:pt>
          <cx:pt idx="10324">4</cx:pt>
          <cx:pt idx="10325">4</cx:pt>
          <cx:pt idx="10326">1</cx:pt>
          <cx:pt idx="10327">3</cx:pt>
          <cx:pt idx="10328">3</cx:pt>
          <cx:pt idx="10329">5</cx:pt>
          <cx:pt idx="10330">3</cx:pt>
          <cx:pt idx="10331">4</cx:pt>
          <cx:pt idx="10332">5</cx:pt>
          <cx:pt idx="10333">4</cx:pt>
          <cx:pt idx="10334">2</cx:pt>
          <cx:pt idx="10335">4</cx:pt>
          <cx:pt idx="10336">3</cx:pt>
          <cx:pt idx="10337">3</cx:pt>
          <cx:pt idx="10338">2</cx:pt>
          <cx:pt idx="10339">5</cx:pt>
          <cx:pt idx="10340">4</cx:pt>
          <cx:pt idx="10341">1</cx:pt>
          <cx:pt idx="10342">5</cx:pt>
          <cx:pt idx="10343">4</cx:pt>
          <cx:pt idx="10344">4</cx:pt>
          <cx:pt idx="10345">4</cx:pt>
          <cx:pt idx="10346">1</cx:pt>
          <cx:pt idx="10347">4</cx:pt>
          <cx:pt idx="10348">4</cx:pt>
          <cx:pt idx="10349">3</cx:pt>
          <cx:pt idx="10350">3</cx:pt>
          <cx:pt idx="10351">3</cx:pt>
          <cx:pt idx="10352">4</cx:pt>
          <cx:pt idx="10353">4</cx:pt>
          <cx:pt idx="10354">4</cx:pt>
          <cx:pt idx="10355">2</cx:pt>
          <cx:pt idx="10356">4</cx:pt>
          <cx:pt idx="10357">2</cx:pt>
          <cx:pt idx="10358">5</cx:pt>
          <cx:pt idx="10359">5</cx:pt>
          <cx:pt idx="10360">3</cx:pt>
          <cx:pt idx="10361">5</cx:pt>
          <cx:pt idx="10362">4</cx:pt>
          <cx:pt idx="10363">2</cx:pt>
          <cx:pt idx="10364">4</cx:pt>
          <cx:pt idx="10365">4</cx:pt>
          <cx:pt idx="10366">2</cx:pt>
          <cx:pt idx="10367">5</cx:pt>
          <cx:pt idx="10368">2</cx:pt>
          <cx:pt idx="10369">4</cx:pt>
          <cx:pt idx="10370">4</cx:pt>
          <cx:pt idx="10371">3</cx:pt>
          <cx:pt idx="10372">5</cx:pt>
          <cx:pt idx="10373">5</cx:pt>
          <cx:pt idx="10374">1</cx:pt>
          <cx:pt idx="10375">1</cx:pt>
          <cx:pt idx="10376">5</cx:pt>
          <cx:pt idx="10377">4</cx:pt>
          <cx:pt idx="10378">4</cx:pt>
          <cx:pt idx="10379">3</cx:pt>
          <cx:pt idx="10380">5</cx:pt>
          <cx:pt idx="10381">4</cx:pt>
          <cx:pt idx="10382">3</cx:pt>
          <cx:pt idx="10383">5</cx:pt>
          <cx:pt idx="10384">2</cx:pt>
          <cx:pt idx="10385">4</cx:pt>
          <cx:pt idx="10386">4</cx:pt>
          <cx:pt idx="10387">2</cx:pt>
          <cx:pt idx="10388">3</cx:pt>
          <cx:pt idx="10389">4</cx:pt>
          <cx:pt idx="10390">2</cx:pt>
          <cx:pt idx="10391">2</cx:pt>
          <cx:pt idx="10392">4</cx:pt>
          <cx:pt idx="10393">4</cx:pt>
          <cx:pt idx="10394">2</cx:pt>
          <cx:pt idx="10395">4</cx:pt>
          <cx:pt idx="10396">5</cx:pt>
          <cx:pt idx="10397">4</cx:pt>
          <cx:pt idx="10398">3</cx:pt>
          <cx:pt idx="10399">1</cx:pt>
          <cx:pt idx="10400">4</cx:pt>
          <cx:pt idx="10401">1</cx:pt>
          <cx:pt idx="10402">4</cx:pt>
          <cx:pt idx="10403">2</cx:pt>
          <cx:pt idx="10404">4</cx:pt>
          <cx:pt idx="10405">2</cx:pt>
          <cx:pt idx="10406">4</cx:pt>
          <cx:pt idx="10407">3</cx:pt>
          <cx:pt idx="10408">1</cx:pt>
          <cx:pt idx="10409">5</cx:pt>
          <cx:pt idx="10410">2</cx:pt>
          <cx:pt idx="10411">3</cx:pt>
          <cx:pt idx="10412">4</cx:pt>
          <cx:pt idx="10413">5</cx:pt>
          <cx:pt idx="10414">3</cx:pt>
          <cx:pt idx="10415">2</cx:pt>
          <cx:pt idx="10416">4</cx:pt>
          <cx:pt idx="10417">5</cx:pt>
          <cx:pt idx="10418">5</cx:pt>
          <cx:pt idx="10419">4</cx:pt>
          <cx:pt idx="10420">2</cx:pt>
          <cx:pt idx="10421">4</cx:pt>
          <cx:pt idx="10422">3</cx:pt>
          <cx:pt idx="10423">5</cx:pt>
          <cx:pt idx="10424">4</cx:pt>
          <cx:pt idx="10425">4</cx:pt>
          <cx:pt idx="10426">4</cx:pt>
          <cx:pt idx="10427">5</cx:pt>
          <cx:pt idx="10428">4</cx:pt>
          <cx:pt idx="10429">2</cx:pt>
          <cx:pt idx="10430">1</cx:pt>
          <cx:pt idx="10431">1</cx:pt>
          <cx:pt idx="10432">5</cx:pt>
          <cx:pt idx="10433">5</cx:pt>
          <cx:pt idx="10434">2</cx:pt>
          <cx:pt idx="10435">3</cx:pt>
          <cx:pt idx="10436">5</cx:pt>
          <cx:pt idx="10437">3</cx:pt>
          <cx:pt idx="10438">4</cx:pt>
          <cx:pt idx="10439">2</cx:pt>
          <cx:pt idx="10440">4</cx:pt>
          <cx:pt idx="10441">5</cx:pt>
          <cx:pt idx="10442">2</cx:pt>
          <cx:pt idx="10443">1</cx:pt>
          <cx:pt idx="10444">5</cx:pt>
          <cx:pt idx="10445">4</cx:pt>
          <cx:pt idx="10446">4</cx:pt>
          <cx:pt idx="10447">3</cx:pt>
          <cx:pt idx="10448">3</cx:pt>
          <cx:pt idx="10449">3</cx:pt>
          <cx:pt idx="10450">3</cx:pt>
          <cx:pt idx="10451">5</cx:pt>
          <cx:pt idx="10452">5</cx:pt>
          <cx:pt idx="10453">3</cx:pt>
          <cx:pt idx="10454">3</cx:pt>
          <cx:pt idx="10455">5</cx:pt>
          <cx:pt idx="10456">4</cx:pt>
          <cx:pt idx="10457">3</cx:pt>
          <cx:pt idx="10458">1</cx:pt>
          <cx:pt idx="10459">3</cx:pt>
          <cx:pt idx="10460">1</cx:pt>
          <cx:pt idx="10461">1</cx:pt>
          <cx:pt idx="10462">2</cx:pt>
          <cx:pt idx="10463">5</cx:pt>
          <cx:pt idx="10464">5</cx:pt>
          <cx:pt idx="10465">4</cx:pt>
          <cx:pt idx="10466">2</cx:pt>
          <cx:pt idx="10467">2</cx:pt>
          <cx:pt idx="10468">4</cx:pt>
          <cx:pt idx="10469">2</cx:pt>
          <cx:pt idx="10470">2</cx:pt>
          <cx:pt idx="10471">5</cx:pt>
          <cx:pt idx="10472">2</cx:pt>
          <cx:pt idx="10473">2</cx:pt>
          <cx:pt idx="10474">4</cx:pt>
          <cx:pt idx="10475">2</cx:pt>
          <cx:pt idx="10476">4</cx:pt>
          <cx:pt idx="10477">2</cx:pt>
          <cx:pt idx="10478">3</cx:pt>
          <cx:pt idx="10479">5</cx:pt>
          <cx:pt idx="10480">1</cx:pt>
          <cx:pt idx="10481">5</cx:pt>
          <cx:pt idx="10482">4</cx:pt>
          <cx:pt idx="10483">1</cx:pt>
          <cx:pt idx="10484">5</cx:pt>
          <cx:pt idx="10485">3</cx:pt>
          <cx:pt idx="10486">4</cx:pt>
          <cx:pt idx="10487">4</cx:pt>
          <cx:pt idx="10488">3</cx:pt>
          <cx:pt idx="10489">2</cx:pt>
          <cx:pt idx="10490">3</cx:pt>
          <cx:pt idx="10491">4</cx:pt>
          <cx:pt idx="10492">4</cx:pt>
          <cx:pt idx="10493">4</cx:pt>
          <cx:pt idx="10494">5</cx:pt>
          <cx:pt idx="10495">3</cx:pt>
          <cx:pt idx="10496">5</cx:pt>
          <cx:pt idx="10497">5</cx:pt>
          <cx:pt idx="10498">4</cx:pt>
          <cx:pt idx="10499">5</cx:pt>
          <cx:pt idx="10500">5</cx:pt>
          <cx:pt idx="10501">5</cx:pt>
          <cx:pt idx="10502">5</cx:pt>
          <cx:pt idx="10503">4</cx:pt>
          <cx:pt idx="10504">5</cx:pt>
          <cx:pt idx="10505">4</cx:pt>
          <cx:pt idx="10506">3</cx:pt>
          <cx:pt idx="10507">5</cx:pt>
          <cx:pt idx="10508">3</cx:pt>
          <cx:pt idx="10509">2</cx:pt>
          <cx:pt idx="10510">5</cx:pt>
          <cx:pt idx="10511">4</cx:pt>
          <cx:pt idx="10512">3</cx:pt>
          <cx:pt idx="10513">4</cx:pt>
          <cx:pt idx="10514">1</cx:pt>
          <cx:pt idx="10515">4</cx:pt>
          <cx:pt idx="10516">4</cx:pt>
          <cx:pt idx="10517">4</cx:pt>
          <cx:pt idx="10518">5</cx:pt>
          <cx:pt idx="10519">1</cx:pt>
          <cx:pt idx="10520">5</cx:pt>
          <cx:pt idx="10521">4</cx:pt>
          <cx:pt idx="10522">5</cx:pt>
          <cx:pt idx="10523">3</cx:pt>
          <cx:pt idx="10524">4</cx:pt>
          <cx:pt idx="10525">1</cx:pt>
          <cx:pt idx="10526">3</cx:pt>
          <cx:pt idx="10527">4</cx:pt>
          <cx:pt idx="10528">5</cx:pt>
          <cx:pt idx="10529">4</cx:pt>
          <cx:pt idx="10530">4</cx:pt>
          <cx:pt idx="10531">5</cx:pt>
          <cx:pt idx="10532">1</cx:pt>
          <cx:pt idx="10533">2</cx:pt>
          <cx:pt idx="10534">3</cx:pt>
          <cx:pt idx="10535">4</cx:pt>
          <cx:pt idx="10536">3</cx:pt>
          <cx:pt idx="10537">3</cx:pt>
          <cx:pt idx="10538">5</cx:pt>
          <cx:pt idx="10539">2</cx:pt>
          <cx:pt idx="10540">5</cx:pt>
          <cx:pt idx="10541">4</cx:pt>
          <cx:pt idx="10542">4</cx:pt>
          <cx:pt idx="10543">5</cx:pt>
          <cx:pt idx="10544">2</cx:pt>
          <cx:pt idx="10545">5</cx:pt>
          <cx:pt idx="10546">4</cx:pt>
          <cx:pt idx="10547">4</cx:pt>
          <cx:pt idx="10548">4</cx:pt>
          <cx:pt idx="10549">2</cx:pt>
          <cx:pt idx="10550">1</cx:pt>
          <cx:pt idx="10551">4</cx:pt>
          <cx:pt idx="10552">5</cx:pt>
          <cx:pt idx="10553">3</cx:pt>
          <cx:pt idx="10554">2</cx:pt>
          <cx:pt idx="10555">5</cx:pt>
          <cx:pt idx="10556">4</cx:pt>
          <cx:pt idx="10557">3</cx:pt>
          <cx:pt idx="10558">5</cx:pt>
          <cx:pt idx="10559">3</cx:pt>
          <cx:pt idx="10560">3</cx:pt>
          <cx:pt idx="10561">1</cx:pt>
          <cx:pt idx="10562">2</cx:pt>
          <cx:pt idx="10563">3</cx:pt>
          <cx:pt idx="10564">1</cx:pt>
          <cx:pt idx="10565">4</cx:pt>
          <cx:pt idx="10566">4</cx:pt>
          <cx:pt idx="10567">5</cx:pt>
          <cx:pt idx="10568">2</cx:pt>
          <cx:pt idx="10569">5</cx:pt>
          <cx:pt idx="10570">5</cx:pt>
          <cx:pt idx="10571">3</cx:pt>
          <cx:pt idx="10572">2</cx:pt>
          <cx:pt idx="10573">1</cx:pt>
          <cx:pt idx="10574">3</cx:pt>
          <cx:pt idx="10575">3</cx:pt>
          <cx:pt idx="10576">3</cx:pt>
          <cx:pt idx="10577">5</cx:pt>
          <cx:pt idx="10578">3</cx:pt>
          <cx:pt idx="10579">4</cx:pt>
          <cx:pt idx="10580">5</cx:pt>
          <cx:pt idx="10581">4</cx:pt>
          <cx:pt idx="10582">4</cx:pt>
          <cx:pt idx="10583">1</cx:pt>
          <cx:pt idx="10584">5</cx:pt>
          <cx:pt idx="10585">4</cx:pt>
          <cx:pt idx="10586">5</cx:pt>
          <cx:pt idx="10587">5</cx:pt>
          <cx:pt idx="10588">2</cx:pt>
          <cx:pt idx="10589">2</cx:pt>
          <cx:pt idx="10590">4</cx:pt>
          <cx:pt idx="10591">5</cx:pt>
          <cx:pt idx="10592">4</cx:pt>
          <cx:pt idx="10593">5</cx:pt>
          <cx:pt idx="10594">5</cx:pt>
          <cx:pt idx="10595">5</cx:pt>
          <cx:pt idx="10596">1</cx:pt>
          <cx:pt idx="10597">1</cx:pt>
          <cx:pt idx="10598">2</cx:pt>
          <cx:pt idx="10599">4</cx:pt>
          <cx:pt idx="10600">4</cx:pt>
          <cx:pt idx="10601">5</cx:pt>
          <cx:pt idx="10602">1</cx:pt>
          <cx:pt idx="10603">4</cx:pt>
          <cx:pt idx="10604">2</cx:pt>
          <cx:pt idx="10605">4</cx:pt>
          <cx:pt idx="10606">2</cx:pt>
          <cx:pt idx="10607">2</cx:pt>
          <cx:pt idx="10608">5</cx:pt>
          <cx:pt idx="10609">4</cx:pt>
          <cx:pt idx="10610">3</cx:pt>
          <cx:pt idx="10611">1</cx:pt>
          <cx:pt idx="10612">3</cx:pt>
          <cx:pt idx="10613">2</cx:pt>
          <cx:pt idx="10614">1</cx:pt>
          <cx:pt idx="10615">5</cx:pt>
          <cx:pt idx="10616">4</cx:pt>
          <cx:pt idx="10617">5</cx:pt>
          <cx:pt idx="10618">4</cx:pt>
          <cx:pt idx="10619">2</cx:pt>
          <cx:pt idx="10620">3</cx:pt>
          <cx:pt idx="10621">3</cx:pt>
          <cx:pt idx="10622">1</cx:pt>
          <cx:pt idx="10623">5</cx:pt>
          <cx:pt idx="10624">4</cx:pt>
          <cx:pt idx="10625">2</cx:pt>
          <cx:pt idx="10626">2</cx:pt>
          <cx:pt idx="10627">5</cx:pt>
          <cx:pt idx="10628">4</cx:pt>
          <cx:pt idx="10629">4</cx:pt>
          <cx:pt idx="10630">4</cx:pt>
          <cx:pt idx="10631">5</cx:pt>
          <cx:pt idx="10632">4</cx:pt>
          <cx:pt idx="10633">5</cx:pt>
          <cx:pt idx="10634">2</cx:pt>
          <cx:pt idx="10635">4</cx:pt>
          <cx:pt idx="10636">5</cx:pt>
          <cx:pt idx="10637">1</cx:pt>
          <cx:pt idx="10638">5</cx:pt>
          <cx:pt idx="10639">4</cx:pt>
          <cx:pt idx="10640">4</cx:pt>
          <cx:pt idx="10641">3</cx:pt>
          <cx:pt idx="10642">4</cx:pt>
          <cx:pt idx="10643">1</cx:pt>
          <cx:pt idx="10644">4</cx:pt>
          <cx:pt idx="10645">3</cx:pt>
          <cx:pt idx="10646">1</cx:pt>
          <cx:pt idx="10647">5</cx:pt>
          <cx:pt idx="10648">4</cx:pt>
          <cx:pt idx="10649">5</cx:pt>
          <cx:pt idx="10650">4</cx:pt>
          <cx:pt idx="10651">5</cx:pt>
          <cx:pt idx="10652">4</cx:pt>
          <cx:pt idx="10653">5</cx:pt>
          <cx:pt idx="10654">5</cx:pt>
          <cx:pt idx="10655">4</cx:pt>
          <cx:pt idx="10656">2</cx:pt>
          <cx:pt idx="10657">4</cx:pt>
          <cx:pt idx="10658">1</cx:pt>
          <cx:pt idx="10659">5</cx:pt>
          <cx:pt idx="10660">5</cx:pt>
          <cx:pt idx="10661">3</cx:pt>
          <cx:pt idx="10662">4</cx:pt>
          <cx:pt idx="10663">1</cx:pt>
          <cx:pt idx="10664">2</cx:pt>
          <cx:pt idx="10665">2</cx:pt>
          <cx:pt idx="10666">4</cx:pt>
          <cx:pt idx="10667">3</cx:pt>
          <cx:pt idx="10668">5</cx:pt>
          <cx:pt idx="10669">2</cx:pt>
          <cx:pt idx="10670">4</cx:pt>
          <cx:pt idx="10671">3</cx:pt>
          <cx:pt idx="10672">4</cx:pt>
          <cx:pt idx="10673">2</cx:pt>
          <cx:pt idx="10674">1</cx:pt>
          <cx:pt idx="10675">4</cx:pt>
          <cx:pt idx="10676">4</cx:pt>
          <cx:pt idx="10677">3</cx:pt>
          <cx:pt idx="10678">3</cx:pt>
          <cx:pt idx="10679">5</cx:pt>
          <cx:pt idx="10680">1</cx:pt>
          <cx:pt idx="10681">4</cx:pt>
          <cx:pt idx="10682">3</cx:pt>
          <cx:pt idx="10683">5</cx:pt>
          <cx:pt idx="10684">5</cx:pt>
          <cx:pt idx="10685">5</cx:pt>
          <cx:pt idx="10686">5</cx:pt>
          <cx:pt idx="10687">2</cx:pt>
          <cx:pt idx="10688">2</cx:pt>
          <cx:pt idx="10689">3</cx:pt>
          <cx:pt idx="10690">4</cx:pt>
          <cx:pt idx="10691">4</cx:pt>
          <cx:pt idx="10692">4</cx:pt>
          <cx:pt idx="10693">2</cx:pt>
          <cx:pt idx="10694">2</cx:pt>
          <cx:pt idx="10695">5</cx:pt>
          <cx:pt idx="10696">4</cx:pt>
          <cx:pt idx="10697">5</cx:pt>
          <cx:pt idx="10698">4</cx:pt>
          <cx:pt idx="10699">5</cx:pt>
          <cx:pt idx="10700">3</cx:pt>
          <cx:pt idx="10701">5</cx:pt>
          <cx:pt idx="10702">4</cx:pt>
          <cx:pt idx="10703">5</cx:pt>
          <cx:pt idx="10704">4</cx:pt>
          <cx:pt idx="10705">3</cx:pt>
          <cx:pt idx="10706">2</cx:pt>
          <cx:pt idx="10707">5</cx:pt>
          <cx:pt idx="10708">2</cx:pt>
          <cx:pt idx="10709">4</cx:pt>
          <cx:pt idx="10710">4</cx:pt>
          <cx:pt idx="10711">5</cx:pt>
          <cx:pt idx="10712">4</cx:pt>
          <cx:pt idx="10713">4</cx:pt>
          <cx:pt idx="10714">2</cx:pt>
          <cx:pt idx="10715">3</cx:pt>
          <cx:pt idx="10716">1</cx:pt>
          <cx:pt idx="10717">4</cx:pt>
          <cx:pt idx="10718">5</cx:pt>
          <cx:pt idx="10719">5</cx:pt>
          <cx:pt idx="10720">4</cx:pt>
          <cx:pt idx="10721">3</cx:pt>
          <cx:pt idx="10722">4</cx:pt>
          <cx:pt idx="10723">3</cx:pt>
          <cx:pt idx="10724">5</cx:pt>
          <cx:pt idx="10725">5</cx:pt>
          <cx:pt idx="10726">5</cx:pt>
          <cx:pt idx="10727">2</cx:pt>
          <cx:pt idx="10728">5</cx:pt>
          <cx:pt idx="10729">1</cx:pt>
          <cx:pt idx="10730">3</cx:pt>
          <cx:pt idx="10731">5</cx:pt>
          <cx:pt idx="10732">2</cx:pt>
          <cx:pt idx="10733">4</cx:pt>
          <cx:pt idx="10734">2</cx:pt>
          <cx:pt idx="10735">5</cx:pt>
          <cx:pt idx="10736">2</cx:pt>
          <cx:pt idx="10737">2</cx:pt>
          <cx:pt idx="10738">1</cx:pt>
          <cx:pt idx="10739">3</cx:pt>
          <cx:pt idx="10740">5</cx:pt>
          <cx:pt idx="10741">4</cx:pt>
          <cx:pt idx="10742">5</cx:pt>
          <cx:pt idx="10743">4</cx:pt>
          <cx:pt idx="10744">2</cx:pt>
          <cx:pt idx="10745">5</cx:pt>
          <cx:pt idx="10746">2</cx:pt>
          <cx:pt idx="10747">4</cx:pt>
          <cx:pt idx="10748">5</cx:pt>
          <cx:pt idx="10749">4</cx:pt>
          <cx:pt idx="10750">3</cx:pt>
          <cx:pt idx="10751">2</cx:pt>
          <cx:pt idx="10752">3</cx:pt>
          <cx:pt idx="10753">2</cx:pt>
          <cx:pt idx="10754">3</cx:pt>
          <cx:pt idx="10755">4</cx:pt>
          <cx:pt idx="10756">4</cx:pt>
          <cx:pt idx="10757">2</cx:pt>
          <cx:pt idx="10758">5</cx:pt>
          <cx:pt idx="10759">4</cx:pt>
          <cx:pt idx="10760">3</cx:pt>
          <cx:pt idx="10761">4</cx:pt>
          <cx:pt idx="10762">2</cx:pt>
          <cx:pt idx="10763">5</cx:pt>
          <cx:pt idx="10764">5</cx:pt>
          <cx:pt idx="10765">4</cx:pt>
          <cx:pt idx="10766">3</cx:pt>
          <cx:pt idx="10767">1</cx:pt>
          <cx:pt idx="10768">5</cx:pt>
          <cx:pt idx="10769">5</cx:pt>
          <cx:pt idx="10770">4</cx:pt>
          <cx:pt idx="10771">4</cx:pt>
          <cx:pt idx="10772">5</cx:pt>
          <cx:pt idx="10773">3</cx:pt>
          <cx:pt idx="10774">5</cx:pt>
          <cx:pt idx="10775">5</cx:pt>
          <cx:pt idx="10776">4</cx:pt>
          <cx:pt idx="10777">3</cx:pt>
          <cx:pt idx="10778">3</cx:pt>
          <cx:pt idx="10779">5</cx:pt>
          <cx:pt idx="10780">3</cx:pt>
          <cx:pt idx="10781">5</cx:pt>
          <cx:pt idx="10782">1</cx:pt>
          <cx:pt idx="10783">4</cx:pt>
          <cx:pt idx="10784">5</cx:pt>
          <cx:pt idx="10785">2</cx:pt>
          <cx:pt idx="10786">4</cx:pt>
          <cx:pt idx="10787">1</cx:pt>
          <cx:pt idx="10788">2</cx:pt>
          <cx:pt idx="10789">3</cx:pt>
          <cx:pt idx="10790">2</cx:pt>
          <cx:pt idx="10791">5</cx:pt>
          <cx:pt idx="10792">5</cx:pt>
          <cx:pt idx="10793">5</cx:pt>
          <cx:pt idx="10794">3</cx:pt>
          <cx:pt idx="10795">4</cx:pt>
          <cx:pt idx="10796">2</cx:pt>
          <cx:pt idx="10797">4</cx:pt>
          <cx:pt idx="10798">5</cx:pt>
          <cx:pt idx="10799">4</cx:pt>
          <cx:pt idx="10800">4</cx:pt>
          <cx:pt idx="10801">5</cx:pt>
          <cx:pt idx="10802">4</cx:pt>
          <cx:pt idx="10803">4</cx:pt>
          <cx:pt idx="10804">3</cx:pt>
          <cx:pt idx="10805">5</cx:pt>
          <cx:pt idx="10806">4</cx:pt>
          <cx:pt idx="10807">3</cx:pt>
          <cx:pt idx="10808">3</cx:pt>
          <cx:pt idx="10809">4</cx:pt>
          <cx:pt idx="10810">3</cx:pt>
          <cx:pt idx="10811">5</cx:pt>
          <cx:pt idx="10812">4</cx:pt>
          <cx:pt idx="10813">4</cx:pt>
          <cx:pt idx="10814">3</cx:pt>
          <cx:pt idx="10815">2</cx:pt>
          <cx:pt idx="10816">3</cx:pt>
          <cx:pt idx="10817">2</cx:pt>
          <cx:pt idx="10818">5</cx:pt>
          <cx:pt idx="10819">5</cx:pt>
          <cx:pt idx="10820">4</cx:pt>
          <cx:pt idx="10821">2</cx:pt>
          <cx:pt idx="10822">3</cx:pt>
          <cx:pt idx="10823">4</cx:pt>
          <cx:pt idx="10824">2</cx:pt>
          <cx:pt idx="10825">4</cx:pt>
          <cx:pt idx="10826">5</cx:pt>
          <cx:pt idx="10827">5</cx:pt>
          <cx:pt idx="10828">3</cx:pt>
          <cx:pt idx="10829">4</cx:pt>
          <cx:pt idx="10830">5</cx:pt>
          <cx:pt idx="10831">3</cx:pt>
          <cx:pt idx="10832">5</cx:pt>
          <cx:pt idx="10833">4</cx:pt>
          <cx:pt idx="10834">1</cx:pt>
          <cx:pt idx="10835">5</cx:pt>
          <cx:pt idx="10836">3</cx:pt>
          <cx:pt idx="10837">5</cx:pt>
          <cx:pt idx="10838">4</cx:pt>
          <cx:pt idx="10839">2</cx:pt>
          <cx:pt idx="10840">2</cx:pt>
          <cx:pt idx="10841">4</cx:pt>
          <cx:pt idx="10842">5</cx:pt>
          <cx:pt idx="10843">4</cx:pt>
          <cx:pt idx="10844">1</cx:pt>
          <cx:pt idx="10845">4</cx:pt>
          <cx:pt idx="10846">3</cx:pt>
          <cx:pt idx="10847">4</cx:pt>
          <cx:pt idx="10848">2</cx:pt>
          <cx:pt idx="10849">5</cx:pt>
          <cx:pt idx="10850">4</cx:pt>
          <cx:pt idx="10851">5</cx:pt>
          <cx:pt idx="10852">4</cx:pt>
          <cx:pt idx="10853">3</cx:pt>
          <cx:pt idx="10854">3</cx:pt>
          <cx:pt idx="10855">1</cx:pt>
          <cx:pt idx="10856">4</cx:pt>
          <cx:pt idx="10857">2</cx:pt>
          <cx:pt idx="10858">1</cx:pt>
          <cx:pt idx="10859">3</cx:pt>
          <cx:pt idx="10860">3</cx:pt>
          <cx:pt idx="10861">5</cx:pt>
          <cx:pt idx="10862">2</cx:pt>
          <cx:pt idx="10863">2</cx:pt>
          <cx:pt idx="10864">5</cx:pt>
          <cx:pt idx="10865">3</cx:pt>
          <cx:pt idx="10866">2</cx:pt>
          <cx:pt idx="10867">4</cx:pt>
          <cx:pt idx="10868">5</cx:pt>
          <cx:pt idx="10869">5</cx:pt>
          <cx:pt idx="10870">5</cx:pt>
          <cx:pt idx="10871">4</cx:pt>
          <cx:pt idx="10872">4</cx:pt>
          <cx:pt idx="10873">4</cx:pt>
          <cx:pt idx="10874">4</cx:pt>
          <cx:pt idx="10875">5</cx:pt>
          <cx:pt idx="10876">5</cx:pt>
          <cx:pt idx="10877">2</cx:pt>
          <cx:pt idx="10878">3</cx:pt>
          <cx:pt idx="10879">2</cx:pt>
          <cx:pt idx="10880">4</cx:pt>
          <cx:pt idx="10881">1</cx:pt>
          <cx:pt idx="10882">4</cx:pt>
          <cx:pt idx="10883">5</cx:pt>
          <cx:pt idx="10884">4</cx:pt>
          <cx:pt idx="10885">5</cx:pt>
          <cx:pt idx="10886">3</cx:pt>
          <cx:pt idx="10887">2</cx:pt>
          <cx:pt idx="10888">3</cx:pt>
          <cx:pt idx="10889">4</cx:pt>
          <cx:pt idx="10890">1</cx:pt>
          <cx:pt idx="10891">3</cx:pt>
          <cx:pt idx="10892">4</cx:pt>
          <cx:pt idx="10893">5</cx:pt>
          <cx:pt idx="10894">3</cx:pt>
          <cx:pt idx="10895">4</cx:pt>
          <cx:pt idx="10896">4</cx:pt>
          <cx:pt idx="10897">1</cx:pt>
          <cx:pt idx="10898">5</cx:pt>
          <cx:pt idx="10899">5</cx:pt>
          <cx:pt idx="10900">5</cx:pt>
          <cx:pt idx="10901">2</cx:pt>
          <cx:pt idx="10902">4</cx:pt>
          <cx:pt idx="10903">4</cx:pt>
          <cx:pt idx="10904">5</cx:pt>
          <cx:pt idx="10905">4</cx:pt>
          <cx:pt idx="10906">1</cx:pt>
          <cx:pt idx="10907">5</cx:pt>
          <cx:pt idx="10908">4</cx:pt>
          <cx:pt idx="10909">1</cx:pt>
          <cx:pt idx="10910">1</cx:pt>
          <cx:pt idx="10911">2</cx:pt>
          <cx:pt idx="10912">5</cx:pt>
          <cx:pt idx="10913">3</cx:pt>
          <cx:pt idx="10914">5</cx:pt>
          <cx:pt idx="10915">2</cx:pt>
          <cx:pt idx="10916">3</cx:pt>
          <cx:pt idx="10917">3</cx:pt>
          <cx:pt idx="10918">4</cx:pt>
          <cx:pt idx="10919">4</cx:pt>
          <cx:pt idx="10920">2</cx:pt>
          <cx:pt idx="10921">5</cx:pt>
          <cx:pt idx="10922">5</cx:pt>
          <cx:pt idx="10923">5</cx:pt>
          <cx:pt idx="10924">2</cx:pt>
          <cx:pt idx="10925">4</cx:pt>
          <cx:pt idx="10926">4</cx:pt>
          <cx:pt idx="10927">5</cx:pt>
          <cx:pt idx="10928">4</cx:pt>
          <cx:pt idx="10929">5</cx:pt>
          <cx:pt idx="10930">2</cx:pt>
          <cx:pt idx="10931">5</cx:pt>
          <cx:pt idx="10932">4</cx:pt>
          <cx:pt idx="10933">4</cx:pt>
          <cx:pt idx="10934">4</cx:pt>
          <cx:pt idx="10935">2</cx:pt>
          <cx:pt idx="10936">4</cx:pt>
          <cx:pt idx="10937">5</cx:pt>
          <cx:pt idx="10938">3</cx:pt>
          <cx:pt idx="10939">4</cx:pt>
          <cx:pt idx="10940">4</cx:pt>
          <cx:pt idx="10941">4</cx:pt>
          <cx:pt idx="10942">4</cx:pt>
          <cx:pt idx="10943">3</cx:pt>
          <cx:pt idx="10944">5</cx:pt>
          <cx:pt idx="10945">4</cx:pt>
          <cx:pt idx="10946">3</cx:pt>
          <cx:pt idx="10947">5</cx:pt>
          <cx:pt idx="10948">5</cx:pt>
          <cx:pt idx="10949">3</cx:pt>
          <cx:pt idx="10950">5</cx:pt>
          <cx:pt idx="10951">4</cx:pt>
          <cx:pt idx="10952">5</cx:pt>
          <cx:pt idx="10953">4</cx:pt>
          <cx:pt idx="10954">2</cx:pt>
          <cx:pt idx="10955">5</cx:pt>
          <cx:pt idx="10956">4</cx:pt>
          <cx:pt idx="10957">5</cx:pt>
          <cx:pt idx="10958">5</cx:pt>
          <cx:pt idx="10959">4</cx:pt>
          <cx:pt idx="10960">4</cx:pt>
          <cx:pt idx="10961">3</cx:pt>
          <cx:pt idx="10962">4</cx:pt>
          <cx:pt idx="10963">5</cx:pt>
          <cx:pt idx="10964">4</cx:pt>
          <cx:pt idx="10965">4</cx:pt>
          <cx:pt idx="10966">2</cx:pt>
          <cx:pt idx="10967">4</cx:pt>
          <cx:pt idx="10968">5</cx:pt>
          <cx:pt idx="10969">4</cx:pt>
          <cx:pt idx="10970">4</cx:pt>
          <cx:pt idx="10971">4</cx:pt>
          <cx:pt idx="10972">4</cx:pt>
          <cx:pt idx="10973">1</cx:pt>
          <cx:pt idx="10974">4</cx:pt>
          <cx:pt idx="10975">4</cx:pt>
          <cx:pt idx="10976">5</cx:pt>
          <cx:pt idx="10977">3</cx:pt>
          <cx:pt idx="10978">1</cx:pt>
          <cx:pt idx="10979">4</cx:pt>
          <cx:pt idx="10980">3</cx:pt>
          <cx:pt idx="10981">2</cx:pt>
          <cx:pt idx="10982">3</cx:pt>
          <cx:pt idx="10983">4</cx:pt>
          <cx:pt idx="10984">5</cx:pt>
          <cx:pt idx="10985">2</cx:pt>
          <cx:pt idx="10986">3</cx:pt>
          <cx:pt idx="10987">5</cx:pt>
          <cx:pt idx="10988">4</cx:pt>
          <cx:pt idx="10989">4</cx:pt>
          <cx:pt idx="10990">1</cx:pt>
          <cx:pt idx="10991">5</cx:pt>
          <cx:pt idx="10992">4</cx:pt>
          <cx:pt idx="10993">2</cx:pt>
          <cx:pt idx="10994">4</cx:pt>
          <cx:pt idx="10995">2</cx:pt>
          <cx:pt idx="10996">4</cx:pt>
          <cx:pt idx="10997">4</cx:pt>
          <cx:pt idx="10998">4</cx:pt>
          <cx:pt idx="10999">3</cx:pt>
          <cx:pt idx="11000">5</cx:pt>
          <cx:pt idx="11001">3</cx:pt>
          <cx:pt idx="11002">3</cx:pt>
          <cx:pt idx="11003">5</cx:pt>
          <cx:pt idx="11004">5</cx:pt>
          <cx:pt idx="11005">3</cx:pt>
          <cx:pt idx="11006">5</cx:pt>
          <cx:pt idx="11007">3</cx:pt>
          <cx:pt idx="11008">5</cx:pt>
          <cx:pt idx="11009">4</cx:pt>
          <cx:pt idx="11010">3</cx:pt>
          <cx:pt idx="11011">3</cx:pt>
          <cx:pt idx="11012">5</cx:pt>
          <cx:pt idx="11013">4</cx:pt>
          <cx:pt idx="11014">3</cx:pt>
          <cx:pt idx="11015">2</cx:pt>
          <cx:pt idx="11016">2</cx:pt>
          <cx:pt idx="11017">3</cx:pt>
          <cx:pt idx="11018">3</cx:pt>
          <cx:pt idx="11019">1</cx:pt>
          <cx:pt idx="11020">4</cx:pt>
          <cx:pt idx="11021">5</cx:pt>
          <cx:pt idx="11022">4</cx:pt>
          <cx:pt idx="11023">4</cx:pt>
          <cx:pt idx="11024">1</cx:pt>
          <cx:pt idx="11025">4</cx:pt>
          <cx:pt idx="11026">1</cx:pt>
          <cx:pt idx="11027">4</cx:pt>
          <cx:pt idx="11028">4</cx:pt>
          <cx:pt idx="11029">5</cx:pt>
          <cx:pt idx="11030">4</cx:pt>
          <cx:pt idx="11031">3</cx:pt>
          <cx:pt idx="11032">5</cx:pt>
          <cx:pt idx="11033">4</cx:pt>
          <cx:pt idx="11034">4</cx:pt>
          <cx:pt idx="11035">4</cx:pt>
          <cx:pt idx="11036">2</cx:pt>
          <cx:pt idx="11037">5</cx:pt>
          <cx:pt idx="11038">1</cx:pt>
          <cx:pt idx="11039">4</cx:pt>
          <cx:pt idx="11040">1</cx:pt>
          <cx:pt idx="11041">3</cx:pt>
          <cx:pt idx="11042">1</cx:pt>
          <cx:pt idx="11043">3</cx:pt>
          <cx:pt idx="11044">1</cx:pt>
          <cx:pt idx="11045">4</cx:pt>
          <cx:pt idx="11046">2</cx:pt>
          <cx:pt idx="11047">4</cx:pt>
          <cx:pt idx="11048">1</cx:pt>
          <cx:pt idx="11049">5</cx:pt>
          <cx:pt idx="11050">1</cx:pt>
          <cx:pt idx="11051">4</cx:pt>
          <cx:pt idx="11052">3</cx:pt>
          <cx:pt idx="11053">3</cx:pt>
          <cx:pt idx="11054">4</cx:pt>
          <cx:pt idx="11055">4</cx:pt>
          <cx:pt idx="11056">3</cx:pt>
          <cx:pt idx="11057">4</cx:pt>
          <cx:pt idx="11058">4</cx:pt>
          <cx:pt idx="11059">4</cx:pt>
          <cx:pt idx="11060">4</cx:pt>
          <cx:pt idx="11061">4</cx:pt>
          <cx:pt idx="11062">2</cx:pt>
          <cx:pt idx="11063">2</cx:pt>
          <cx:pt idx="11064">2</cx:pt>
          <cx:pt idx="11065">4</cx:pt>
          <cx:pt idx="11066">3</cx:pt>
          <cx:pt idx="11067">2</cx:pt>
          <cx:pt idx="11068">4</cx:pt>
          <cx:pt idx="11069">4</cx:pt>
          <cx:pt idx="11070">4</cx:pt>
          <cx:pt idx="11071">3</cx:pt>
          <cx:pt idx="11072">1</cx:pt>
          <cx:pt idx="11073">3</cx:pt>
          <cx:pt idx="11074">3</cx:pt>
          <cx:pt idx="11075">4</cx:pt>
          <cx:pt idx="11076">5</cx:pt>
          <cx:pt idx="11077">5</cx:pt>
          <cx:pt idx="11078">3</cx:pt>
          <cx:pt idx="11079">2</cx:pt>
          <cx:pt idx="11080">3</cx:pt>
          <cx:pt idx="11081">3</cx:pt>
          <cx:pt idx="11082">5</cx:pt>
          <cx:pt idx="11083">1</cx:pt>
          <cx:pt idx="11084">4</cx:pt>
          <cx:pt idx="11085">4</cx:pt>
          <cx:pt idx="11086">4</cx:pt>
          <cx:pt idx="11087">5</cx:pt>
          <cx:pt idx="11088">5</cx:pt>
          <cx:pt idx="11089">4</cx:pt>
          <cx:pt idx="11090">4</cx:pt>
          <cx:pt idx="11091">1</cx:pt>
          <cx:pt idx="11092">3</cx:pt>
          <cx:pt idx="11093">4</cx:pt>
          <cx:pt idx="11094">3</cx:pt>
          <cx:pt idx="11095">3</cx:pt>
          <cx:pt idx="11096">5</cx:pt>
          <cx:pt idx="11097">3</cx:pt>
          <cx:pt idx="11098">3</cx:pt>
          <cx:pt idx="11099">3</cx:pt>
          <cx:pt idx="11100">5</cx:pt>
          <cx:pt idx="11101">5</cx:pt>
          <cx:pt idx="11102">1</cx:pt>
          <cx:pt idx="11103">3</cx:pt>
          <cx:pt idx="11104">3</cx:pt>
          <cx:pt idx="11105">4</cx:pt>
          <cx:pt idx="11106">4</cx:pt>
          <cx:pt idx="11107">5</cx:pt>
          <cx:pt idx="11108">1</cx:pt>
          <cx:pt idx="11109">2</cx:pt>
          <cx:pt idx="11110">4</cx:pt>
          <cx:pt idx="11111">4</cx:pt>
          <cx:pt idx="11112">2</cx:pt>
          <cx:pt idx="11113">1</cx:pt>
          <cx:pt idx="11114">5</cx:pt>
          <cx:pt idx="11115">3</cx:pt>
          <cx:pt idx="11116">5</cx:pt>
          <cx:pt idx="11117">3</cx:pt>
          <cx:pt idx="11118">4</cx:pt>
          <cx:pt idx="11119">1</cx:pt>
          <cx:pt idx="11120">4</cx:pt>
          <cx:pt idx="11121">4</cx:pt>
          <cx:pt idx="11122">5</cx:pt>
          <cx:pt idx="11123">5</cx:pt>
          <cx:pt idx="11124">1</cx:pt>
          <cx:pt idx="11125">4</cx:pt>
          <cx:pt idx="11126">4</cx:pt>
          <cx:pt idx="11127">1</cx:pt>
          <cx:pt idx="11128">2</cx:pt>
          <cx:pt idx="11129">5</cx:pt>
          <cx:pt idx="11130">1</cx:pt>
          <cx:pt idx="11131">4</cx:pt>
          <cx:pt idx="11132">4</cx:pt>
          <cx:pt idx="11133">4</cx:pt>
          <cx:pt idx="11134">2</cx:pt>
          <cx:pt idx="11135">1</cx:pt>
          <cx:pt idx="11136">2</cx:pt>
          <cx:pt idx="11137">4</cx:pt>
          <cx:pt idx="11138">1</cx:pt>
          <cx:pt idx="11139">4</cx:pt>
          <cx:pt idx="11140">2</cx:pt>
          <cx:pt idx="11141">5</cx:pt>
          <cx:pt idx="11142">2</cx:pt>
          <cx:pt idx="11143">5</cx:pt>
          <cx:pt idx="11144">5</cx:pt>
          <cx:pt idx="11145">2</cx:pt>
          <cx:pt idx="11146">3</cx:pt>
          <cx:pt idx="11147">4</cx:pt>
          <cx:pt idx="11148">4</cx:pt>
          <cx:pt idx="11149">4</cx:pt>
          <cx:pt idx="11150">2</cx:pt>
          <cx:pt idx="11151">5</cx:pt>
          <cx:pt idx="11152">3</cx:pt>
          <cx:pt idx="11153">5</cx:pt>
          <cx:pt idx="11154">5</cx:pt>
          <cx:pt idx="11155">3</cx:pt>
          <cx:pt idx="11156">5</cx:pt>
          <cx:pt idx="11157">2</cx:pt>
          <cx:pt idx="11158">3</cx:pt>
          <cx:pt idx="11159">3</cx:pt>
          <cx:pt idx="11160">4</cx:pt>
          <cx:pt idx="11161">1</cx:pt>
          <cx:pt idx="11162">5</cx:pt>
          <cx:pt idx="11163">4</cx:pt>
          <cx:pt idx="11164">2</cx:pt>
          <cx:pt idx="11165">4</cx:pt>
          <cx:pt idx="11166">2</cx:pt>
          <cx:pt idx="11167">4</cx:pt>
          <cx:pt idx="11168">3</cx:pt>
          <cx:pt idx="11169">5</cx:pt>
          <cx:pt idx="11170">3</cx:pt>
          <cx:pt idx="11171">4</cx:pt>
          <cx:pt idx="11172">4</cx:pt>
          <cx:pt idx="11173">1</cx:pt>
          <cx:pt idx="11174">4</cx:pt>
          <cx:pt idx="11175">1</cx:pt>
          <cx:pt idx="11176">3</cx:pt>
          <cx:pt idx="11177">2</cx:pt>
          <cx:pt idx="11178">2</cx:pt>
          <cx:pt idx="11179">4</cx:pt>
          <cx:pt idx="11180">4</cx:pt>
          <cx:pt idx="11181">2</cx:pt>
          <cx:pt idx="11182">5</cx:pt>
          <cx:pt idx="11183">4</cx:pt>
          <cx:pt idx="11184">3</cx:pt>
          <cx:pt idx="11185">3</cx:pt>
          <cx:pt idx="11186">5</cx:pt>
          <cx:pt idx="11187">3</cx:pt>
          <cx:pt idx="11188">2</cx:pt>
          <cx:pt idx="11189">3</cx:pt>
          <cx:pt idx="11190">3</cx:pt>
          <cx:pt idx="11191">5</cx:pt>
          <cx:pt idx="11192">4</cx:pt>
          <cx:pt idx="11193">4</cx:pt>
          <cx:pt idx="11194">2</cx:pt>
          <cx:pt idx="11195">4</cx:pt>
          <cx:pt idx="11196">4</cx:pt>
          <cx:pt idx="11197">5</cx:pt>
          <cx:pt idx="11198">5</cx:pt>
          <cx:pt idx="11199">5</cx:pt>
          <cx:pt idx="11200">5</cx:pt>
          <cx:pt idx="11201">4</cx:pt>
          <cx:pt idx="11202">5</cx:pt>
          <cx:pt idx="11203">3</cx:pt>
          <cx:pt idx="11204">2</cx:pt>
          <cx:pt idx="11205">4</cx:pt>
          <cx:pt idx="11206">4</cx:pt>
          <cx:pt idx="11207">4</cx:pt>
          <cx:pt idx="11208">3</cx:pt>
          <cx:pt idx="11209">4</cx:pt>
          <cx:pt idx="11210">4</cx:pt>
          <cx:pt idx="11211">5</cx:pt>
          <cx:pt idx="11212">4</cx:pt>
          <cx:pt idx="11213">3</cx:pt>
          <cx:pt idx="11214">3</cx:pt>
          <cx:pt idx="11215">3</cx:pt>
          <cx:pt idx="11216">4</cx:pt>
          <cx:pt idx="11217">3</cx:pt>
          <cx:pt idx="11218">2</cx:pt>
          <cx:pt idx="11219">2</cx:pt>
          <cx:pt idx="11220">3</cx:pt>
          <cx:pt idx="11221">4</cx:pt>
          <cx:pt idx="11222">1</cx:pt>
          <cx:pt idx="11223">4</cx:pt>
          <cx:pt idx="11224">5</cx:pt>
          <cx:pt idx="11225">3</cx:pt>
          <cx:pt idx="11226">1</cx:pt>
          <cx:pt idx="11227">4</cx:pt>
          <cx:pt idx="11228">5</cx:pt>
          <cx:pt idx="11229">3</cx:pt>
          <cx:pt idx="11230">3</cx:pt>
          <cx:pt idx="11231">4</cx:pt>
          <cx:pt idx="11232">4</cx:pt>
          <cx:pt idx="11233">3</cx:pt>
          <cx:pt idx="11234">3</cx:pt>
          <cx:pt idx="11235">3</cx:pt>
          <cx:pt idx="11236">4</cx:pt>
          <cx:pt idx="11237">5</cx:pt>
          <cx:pt idx="11238">3</cx:pt>
          <cx:pt idx="11239">2</cx:pt>
          <cx:pt idx="11240">3</cx:pt>
          <cx:pt idx="11241">5</cx:pt>
          <cx:pt idx="11242">5</cx:pt>
          <cx:pt idx="11243">5</cx:pt>
          <cx:pt idx="11244">1</cx:pt>
          <cx:pt idx="11245">1</cx:pt>
          <cx:pt idx="11246">5</cx:pt>
          <cx:pt idx="11247">4</cx:pt>
          <cx:pt idx="11248">4</cx:pt>
          <cx:pt idx="11249">2</cx:pt>
          <cx:pt idx="11250">4</cx:pt>
          <cx:pt idx="11251">5</cx:pt>
          <cx:pt idx="11252">4</cx:pt>
          <cx:pt idx="11253">3</cx:pt>
          <cx:pt idx="11254">4</cx:pt>
          <cx:pt idx="11255">4</cx:pt>
          <cx:pt idx="11256">5</cx:pt>
          <cx:pt idx="11257">5</cx:pt>
          <cx:pt idx="11258">2</cx:pt>
          <cx:pt idx="11259">5</cx:pt>
          <cx:pt idx="11260">4</cx:pt>
          <cx:pt idx="11261">4</cx:pt>
          <cx:pt idx="11262">3</cx:pt>
          <cx:pt idx="11263">1</cx:pt>
          <cx:pt idx="11264">4</cx:pt>
          <cx:pt idx="11265">4</cx:pt>
          <cx:pt idx="11266">4</cx:pt>
          <cx:pt idx="11267">4</cx:pt>
          <cx:pt idx="11268">5</cx:pt>
          <cx:pt idx="11269">4</cx:pt>
          <cx:pt idx="11270">2</cx:pt>
          <cx:pt idx="11271">5</cx:pt>
          <cx:pt idx="11272">5</cx:pt>
          <cx:pt idx="11273">2</cx:pt>
          <cx:pt idx="11274">3</cx:pt>
          <cx:pt idx="11275">1</cx:pt>
          <cx:pt idx="11276">2</cx:pt>
          <cx:pt idx="11277">1</cx:pt>
          <cx:pt idx="11278">4</cx:pt>
          <cx:pt idx="11279">4</cx:pt>
          <cx:pt idx="11280">3</cx:pt>
          <cx:pt idx="11281">4</cx:pt>
          <cx:pt idx="11282">2</cx:pt>
          <cx:pt idx="11283">2</cx:pt>
          <cx:pt idx="11284">2</cx:pt>
          <cx:pt idx="11285">1</cx:pt>
          <cx:pt idx="11286">3</cx:pt>
          <cx:pt idx="11287">2</cx:pt>
          <cx:pt idx="11288">4</cx:pt>
          <cx:pt idx="11289">2</cx:pt>
          <cx:pt idx="11290">1</cx:pt>
          <cx:pt idx="11291">3</cx:pt>
          <cx:pt idx="11292">2</cx:pt>
          <cx:pt idx="11293">4</cx:pt>
          <cx:pt idx="11294">4</cx:pt>
          <cx:pt idx="11295">5</cx:pt>
          <cx:pt idx="11296">1</cx:pt>
          <cx:pt idx="11297">5</cx:pt>
          <cx:pt idx="11298">5</cx:pt>
          <cx:pt idx="11299">3</cx:pt>
          <cx:pt idx="11300">3</cx:pt>
          <cx:pt idx="11301">5</cx:pt>
          <cx:pt idx="11302">3</cx:pt>
          <cx:pt idx="11303">1</cx:pt>
          <cx:pt idx="11304">5</cx:pt>
          <cx:pt idx="11305">2</cx:pt>
          <cx:pt idx="11306">5</cx:pt>
          <cx:pt idx="11307">5</cx:pt>
          <cx:pt idx="11308">3</cx:pt>
          <cx:pt idx="11309">3</cx:pt>
          <cx:pt idx="11310">4</cx:pt>
          <cx:pt idx="11311">3</cx:pt>
          <cx:pt idx="11312">2</cx:pt>
          <cx:pt idx="11313">3</cx:pt>
          <cx:pt idx="11314">4</cx:pt>
          <cx:pt idx="11315">5</cx:pt>
          <cx:pt idx="11316">4</cx:pt>
          <cx:pt idx="11317">1</cx:pt>
          <cx:pt idx="11318">3</cx:pt>
          <cx:pt idx="11319">4</cx:pt>
          <cx:pt idx="11320">5</cx:pt>
          <cx:pt idx="11321">4</cx:pt>
          <cx:pt idx="11322">5</cx:pt>
          <cx:pt idx="11323">5</cx:pt>
          <cx:pt idx="11324">5</cx:pt>
          <cx:pt idx="11325">3</cx:pt>
          <cx:pt idx="11326">3</cx:pt>
          <cx:pt idx="11327">4</cx:pt>
          <cx:pt idx="11328">2</cx:pt>
          <cx:pt idx="11329">1</cx:pt>
          <cx:pt idx="11330">5</cx:pt>
          <cx:pt idx="11331">4</cx:pt>
          <cx:pt idx="11332">4</cx:pt>
          <cx:pt idx="11333">4</cx:pt>
          <cx:pt idx="11334">2</cx:pt>
          <cx:pt idx="11335">4</cx:pt>
          <cx:pt idx="11336">4</cx:pt>
          <cx:pt idx="11337">2</cx:pt>
          <cx:pt idx="11338">3</cx:pt>
          <cx:pt idx="11339">4</cx:pt>
          <cx:pt idx="11340">4</cx:pt>
          <cx:pt idx="11341">4</cx:pt>
          <cx:pt idx="11342">4</cx:pt>
          <cx:pt idx="11343">4</cx:pt>
          <cx:pt idx="11344">3</cx:pt>
          <cx:pt idx="11345">5</cx:pt>
          <cx:pt idx="11346">4</cx:pt>
          <cx:pt idx="11347">3</cx:pt>
          <cx:pt idx="11348">4</cx:pt>
          <cx:pt idx="11349">5</cx:pt>
          <cx:pt idx="11350">5</cx:pt>
          <cx:pt idx="11351">4</cx:pt>
          <cx:pt idx="11352">5</cx:pt>
          <cx:pt idx="11353">4</cx:pt>
          <cx:pt idx="11354">5</cx:pt>
          <cx:pt idx="11355">4</cx:pt>
          <cx:pt idx="11356">5</cx:pt>
          <cx:pt idx="11357">4</cx:pt>
          <cx:pt idx="11358">5</cx:pt>
          <cx:pt idx="11359">5</cx:pt>
          <cx:pt idx="11360">3</cx:pt>
          <cx:pt idx="11361">4</cx:pt>
          <cx:pt idx="11362">1</cx:pt>
          <cx:pt idx="11363">4</cx:pt>
          <cx:pt idx="11364">3</cx:pt>
          <cx:pt idx="11365">3</cx:pt>
          <cx:pt idx="11366">1</cx:pt>
          <cx:pt idx="11367">2</cx:pt>
          <cx:pt idx="11368">2</cx:pt>
          <cx:pt idx="11369">1</cx:pt>
          <cx:pt idx="11370">3</cx:pt>
          <cx:pt idx="11371">4</cx:pt>
          <cx:pt idx="11372">4</cx:pt>
          <cx:pt idx="11373">4</cx:pt>
          <cx:pt idx="11374">3</cx:pt>
          <cx:pt idx="11375">4</cx:pt>
          <cx:pt idx="11376">5</cx:pt>
          <cx:pt idx="11377">3</cx:pt>
          <cx:pt idx="11378">5</cx:pt>
          <cx:pt idx="11379">4</cx:pt>
          <cx:pt idx="11380">3</cx:pt>
          <cx:pt idx="11381">5</cx:pt>
          <cx:pt idx="11382">2</cx:pt>
          <cx:pt idx="11383">5</cx:pt>
          <cx:pt idx="11384">5</cx:pt>
          <cx:pt idx="11385">3</cx:pt>
          <cx:pt idx="11386">4</cx:pt>
          <cx:pt idx="11387">4</cx:pt>
          <cx:pt idx="11388">2</cx:pt>
          <cx:pt idx="11389">3</cx:pt>
          <cx:pt idx="11390">5</cx:pt>
          <cx:pt idx="11391">5</cx:pt>
          <cx:pt idx="11392">5</cx:pt>
          <cx:pt idx="11393">4</cx:pt>
          <cx:pt idx="11394">3</cx:pt>
          <cx:pt idx="11395">3</cx:pt>
          <cx:pt idx="11396">1</cx:pt>
          <cx:pt idx="11397">3</cx:pt>
          <cx:pt idx="11398">4</cx:pt>
          <cx:pt idx="11399">5</cx:pt>
          <cx:pt idx="11400">5</cx:pt>
          <cx:pt idx="11401">4</cx:pt>
          <cx:pt idx="11402">5</cx:pt>
          <cx:pt idx="11403">5</cx:pt>
          <cx:pt idx="11404">3</cx:pt>
          <cx:pt idx="11405">5</cx:pt>
          <cx:pt idx="11406">3</cx:pt>
          <cx:pt idx="11407">4</cx:pt>
          <cx:pt idx="11408">2</cx:pt>
          <cx:pt idx="11409">1</cx:pt>
          <cx:pt idx="11410">3</cx:pt>
          <cx:pt idx="11411">5</cx:pt>
          <cx:pt idx="11412">4</cx:pt>
          <cx:pt idx="11413">4</cx:pt>
          <cx:pt idx="11414">4</cx:pt>
          <cx:pt idx="11415">2</cx:pt>
          <cx:pt idx="11416">4</cx:pt>
          <cx:pt idx="11417">4</cx:pt>
          <cx:pt idx="11418">4</cx:pt>
          <cx:pt idx="11419">4</cx:pt>
          <cx:pt idx="11420">5</cx:pt>
          <cx:pt idx="11421">4</cx:pt>
          <cx:pt idx="11422">4</cx:pt>
          <cx:pt idx="11423">2</cx:pt>
          <cx:pt idx="11424">5</cx:pt>
          <cx:pt idx="11425">4</cx:pt>
          <cx:pt idx="11426">4</cx:pt>
          <cx:pt idx="11427">4</cx:pt>
          <cx:pt idx="11428">3</cx:pt>
          <cx:pt idx="11429">5</cx:pt>
          <cx:pt idx="11430">4</cx:pt>
          <cx:pt idx="11431">3</cx:pt>
          <cx:pt idx="11432">4</cx:pt>
          <cx:pt idx="11433">3</cx:pt>
          <cx:pt idx="11434">5</cx:pt>
          <cx:pt idx="11435">1</cx:pt>
          <cx:pt idx="11436">2</cx:pt>
          <cx:pt idx="11437">3</cx:pt>
          <cx:pt idx="11438">1</cx:pt>
          <cx:pt idx="11439">5</cx:pt>
          <cx:pt idx="11440">4</cx:pt>
          <cx:pt idx="11441">4</cx:pt>
          <cx:pt idx="11442">4</cx:pt>
          <cx:pt idx="11443">5</cx:pt>
          <cx:pt idx="11444">2</cx:pt>
          <cx:pt idx="11445">5</cx:pt>
          <cx:pt idx="11446">4</cx:pt>
          <cx:pt idx="11447">1</cx:pt>
          <cx:pt idx="11448">3</cx:pt>
          <cx:pt idx="11449">5</cx:pt>
          <cx:pt idx="11450">4</cx:pt>
          <cx:pt idx="11451">4</cx:pt>
          <cx:pt idx="11452">3</cx:pt>
          <cx:pt idx="11453">3</cx:pt>
          <cx:pt idx="11454">2</cx:pt>
          <cx:pt idx="11455">4</cx:pt>
          <cx:pt idx="11456">1</cx:pt>
          <cx:pt idx="11457">3</cx:pt>
          <cx:pt idx="11458">4</cx:pt>
          <cx:pt idx="11459">4</cx:pt>
          <cx:pt idx="11460">5</cx:pt>
          <cx:pt idx="11461">5</cx:pt>
          <cx:pt idx="11462">4</cx:pt>
          <cx:pt idx="11463">3</cx:pt>
          <cx:pt idx="11464">4</cx:pt>
          <cx:pt idx="11465">4</cx:pt>
          <cx:pt idx="11466">3</cx:pt>
          <cx:pt idx="11467">3</cx:pt>
          <cx:pt idx="11468">4</cx:pt>
          <cx:pt idx="11469">2</cx:pt>
          <cx:pt idx="11470">5</cx:pt>
          <cx:pt idx="11471">1</cx:pt>
          <cx:pt idx="11472">4</cx:pt>
          <cx:pt idx="11473">5</cx:pt>
          <cx:pt idx="11474">4</cx:pt>
          <cx:pt idx="11475">2</cx:pt>
          <cx:pt idx="11476">1</cx:pt>
          <cx:pt idx="11477">3</cx:pt>
          <cx:pt idx="11478">2</cx:pt>
          <cx:pt idx="11479">3</cx:pt>
          <cx:pt idx="11480">5</cx:pt>
          <cx:pt idx="11481">5</cx:pt>
          <cx:pt idx="11482">4</cx:pt>
          <cx:pt idx="11483">3</cx:pt>
          <cx:pt idx="11484">5</cx:pt>
          <cx:pt idx="11485">2</cx:pt>
          <cx:pt idx="11486">5</cx:pt>
          <cx:pt idx="11487">3</cx:pt>
          <cx:pt idx="11488">2</cx:pt>
          <cx:pt idx="11489">4</cx:pt>
          <cx:pt idx="11490">3</cx:pt>
          <cx:pt idx="11491">4</cx:pt>
          <cx:pt idx="11492">4</cx:pt>
          <cx:pt idx="11493">5</cx:pt>
          <cx:pt idx="11494">3</cx:pt>
          <cx:pt idx="11495">3</cx:pt>
          <cx:pt idx="11496">4</cx:pt>
          <cx:pt idx="11497">2</cx:pt>
          <cx:pt idx="11498">4</cx:pt>
          <cx:pt idx="11499">5</cx:pt>
          <cx:pt idx="11500">2</cx:pt>
          <cx:pt idx="11501">5</cx:pt>
          <cx:pt idx="11502">4</cx:pt>
          <cx:pt idx="11503">4</cx:pt>
          <cx:pt idx="11504">5</cx:pt>
          <cx:pt idx="11505">1</cx:pt>
          <cx:pt idx="11506">3</cx:pt>
          <cx:pt idx="11507">5</cx:pt>
          <cx:pt idx="11508">5</cx:pt>
          <cx:pt idx="11509">5</cx:pt>
          <cx:pt idx="11510">4</cx:pt>
          <cx:pt idx="11511">4</cx:pt>
          <cx:pt idx="11512">4</cx:pt>
          <cx:pt idx="11513">1</cx:pt>
          <cx:pt idx="11514">4</cx:pt>
          <cx:pt idx="11515">4</cx:pt>
          <cx:pt idx="11516">4</cx:pt>
          <cx:pt idx="11517">4</cx:pt>
          <cx:pt idx="11518">4</cx:pt>
          <cx:pt idx="11519">4</cx:pt>
          <cx:pt idx="11520">5</cx:pt>
          <cx:pt idx="11521">5</cx:pt>
          <cx:pt idx="11522">3</cx:pt>
          <cx:pt idx="11523">4</cx:pt>
          <cx:pt idx="11524">5</cx:pt>
          <cx:pt idx="11525">4</cx:pt>
          <cx:pt idx="11526">4</cx:pt>
          <cx:pt idx="11527">3</cx:pt>
          <cx:pt idx="11528">5</cx:pt>
          <cx:pt idx="11529">5</cx:pt>
          <cx:pt idx="11530">5</cx:pt>
          <cx:pt idx="11531">5</cx:pt>
          <cx:pt idx="11532">3</cx:pt>
          <cx:pt idx="11533">5</cx:pt>
          <cx:pt idx="11534">5</cx:pt>
          <cx:pt idx="11535">4</cx:pt>
          <cx:pt idx="11536">4</cx:pt>
          <cx:pt idx="11537">2</cx:pt>
          <cx:pt idx="11538">5</cx:pt>
          <cx:pt idx="11539">3</cx:pt>
          <cx:pt idx="11540">5</cx:pt>
          <cx:pt idx="11541">5</cx:pt>
          <cx:pt idx="11542">5</cx:pt>
          <cx:pt idx="11543">3</cx:pt>
          <cx:pt idx="11544">4</cx:pt>
          <cx:pt idx="11545">1</cx:pt>
          <cx:pt idx="11546">5</cx:pt>
          <cx:pt idx="11547">5</cx:pt>
          <cx:pt idx="11548">3</cx:pt>
          <cx:pt idx="11549">5</cx:pt>
          <cx:pt idx="11550">5</cx:pt>
          <cx:pt idx="11551">5</cx:pt>
          <cx:pt idx="11552">4</cx:pt>
          <cx:pt idx="11553">2</cx:pt>
          <cx:pt idx="11554">5</cx:pt>
          <cx:pt idx="11555">5</cx:pt>
          <cx:pt idx="11556">4</cx:pt>
          <cx:pt idx="11557">2</cx:pt>
          <cx:pt idx="11558">4</cx:pt>
          <cx:pt idx="11559">4</cx:pt>
          <cx:pt idx="11560">5</cx:pt>
          <cx:pt idx="11561">1</cx:pt>
          <cx:pt idx="11562">5</cx:pt>
          <cx:pt idx="11563">2</cx:pt>
          <cx:pt idx="11564">5</cx:pt>
          <cx:pt idx="11565">1</cx:pt>
          <cx:pt idx="11566">5</cx:pt>
          <cx:pt idx="11567">2</cx:pt>
          <cx:pt idx="11568">1</cx:pt>
          <cx:pt idx="11569">3</cx:pt>
          <cx:pt idx="11570">5</cx:pt>
          <cx:pt idx="11571">4</cx:pt>
          <cx:pt idx="11572">5</cx:pt>
          <cx:pt idx="11573">4</cx:pt>
          <cx:pt idx="11574">4</cx:pt>
          <cx:pt idx="11575">5</cx:pt>
          <cx:pt idx="11576">4</cx:pt>
          <cx:pt idx="11577">3</cx:pt>
          <cx:pt idx="11578">5</cx:pt>
          <cx:pt idx="11579">4</cx:pt>
          <cx:pt idx="11580">2</cx:pt>
          <cx:pt idx="11581">2</cx:pt>
          <cx:pt idx="11582">5</cx:pt>
          <cx:pt idx="11583">2</cx:pt>
          <cx:pt idx="11584">3</cx:pt>
          <cx:pt idx="11585">3</cx:pt>
          <cx:pt idx="11586">4</cx:pt>
          <cx:pt idx="11587">4</cx:pt>
          <cx:pt idx="11588">4</cx:pt>
          <cx:pt idx="11589">3</cx:pt>
          <cx:pt idx="11590">4</cx:pt>
          <cx:pt idx="11591">3</cx:pt>
          <cx:pt idx="11592">4</cx:pt>
          <cx:pt idx="11593">3</cx:pt>
          <cx:pt idx="11594">3</cx:pt>
          <cx:pt idx="11595">4</cx:pt>
          <cx:pt idx="11596">5</cx:pt>
          <cx:pt idx="11597">1</cx:pt>
          <cx:pt idx="11598">1</cx:pt>
          <cx:pt idx="11599">1</cx:pt>
          <cx:pt idx="11600">2</cx:pt>
          <cx:pt idx="11601">4</cx:pt>
          <cx:pt idx="11602">3</cx:pt>
          <cx:pt idx="11603">3</cx:pt>
          <cx:pt idx="11604">5</cx:pt>
          <cx:pt idx="11605">3</cx:pt>
          <cx:pt idx="11606">5</cx:pt>
          <cx:pt idx="11607">1</cx:pt>
          <cx:pt idx="11608">2</cx:pt>
          <cx:pt idx="11609">3</cx:pt>
          <cx:pt idx="11610">1</cx:pt>
          <cx:pt idx="11611">3</cx:pt>
          <cx:pt idx="11612">1</cx:pt>
          <cx:pt idx="11613">4</cx:pt>
          <cx:pt idx="11614">5</cx:pt>
          <cx:pt idx="11615">1</cx:pt>
          <cx:pt idx="11616">5</cx:pt>
          <cx:pt idx="11617">5</cx:pt>
          <cx:pt idx="11618">4</cx:pt>
          <cx:pt idx="11619">5</cx:pt>
          <cx:pt idx="11620">5</cx:pt>
          <cx:pt idx="11621">4</cx:pt>
          <cx:pt idx="11622">4</cx:pt>
          <cx:pt idx="11623">4</cx:pt>
          <cx:pt idx="11624">5</cx:pt>
          <cx:pt idx="11625">1</cx:pt>
          <cx:pt idx="11626">2</cx:pt>
          <cx:pt idx="11627">5</cx:pt>
          <cx:pt idx="11628">3</cx:pt>
          <cx:pt idx="11629">5</cx:pt>
          <cx:pt idx="11630">4</cx:pt>
          <cx:pt idx="11631">4</cx:pt>
          <cx:pt idx="11632">3</cx:pt>
          <cx:pt idx="11633">2</cx:pt>
          <cx:pt idx="11634">4</cx:pt>
          <cx:pt idx="11635">5</cx:pt>
          <cx:pt idx="11636">3</cx:pt>
          <cx:pt idx="11637">2</cx:pt>
          <cx:pt idx="11638">5</cx:pt>
          <cx:pt idx="11639">2</cx:pt>
          <cx:pt idx="11640">5</cx:pt>
          <cx:pt idx="11641">3</cx:pt>
          <cx:pt idx="11642">5</cx:pt>
          <cx:pt idx="11643">4</cx:pt>
          <cx:pt idx="11644">5</cx:pt>
          <cx:pt idx="11645">1</cx:pt>
          <cx:pt idx="11646">4</cx:pt>
          <cx:pt idx="11647">2</cx:pt>
          <cx:pt idx="11648">3</cx:pt>
          <cx:pt idx="11649">5</cx:pt>
          <cx:pt idx="11650">4</cx:pt>
          <cx:pt idx="11651">4</cx:pt>
          <cx:pt idx="11652">2</cx:pt>
          <cx:pt idx="11653">3</cx:pt>
          <cx:pt idx="11654">4</cx:pt>
          <cx:pt idx="11655">1</cx:pt>
          <cx:pt idx="11656">3</cx:pt>
          <cx:pt idx="11657">4</cx:pt>
          <cx:pt idx="11658">2</cx:pt>
          <cx:pt idx="11659">4</cx:pt>
          <cx:pt idx="11660">1</cx:pt>
          <cx:pt idx="11661">4</cx:pt>
          <cx:pt idx="11662">4</cx:pt>
          <cx:pt idx="11663">3</cx:pt>
          <cx:pt idx="11664">2</cx:pt>
          <cx:pt idx="11665">4</cx:pt>
          <cx:pt idx="11666">4</cx:pt>
          <cx:pt idx="11667">3</cx:pt>
          <cx:pt idx="11668">3</cx:pt>
          <cx:pt idx="11669">2</cx:pt>
          <cx:pt idx="11670">4</cx:pt>
          <cx:pt idx="11671">4</cx:pt>
          <cx:pt idx="11672">4</cx:pt>
          <cx:pt idx="11673">4</cx:pt>
          <cx:pt idx="11674">4</cx:pt>
          <cx:pt idx="11675">2</cx:pt>
          <cx:pt idx="11676">4</cx:pt>
          <cx:pt idx="11677">5</cx:pt>
          <cx:pt idx="11678">1</cx:pt>
          <cx:pt idx="11679">4</cx:pt>
          <cx:pt idx="11680">4</cx:pt>
          <cx:pt idx="11681">2</cx:pt>
          <cx:pt idx="11682">5</cx:pt>
          <cx:pt idx="11683">3</cx:pt>
          <cx:pt idx="11684">5</cx:pt>
          <cx:pt idx="11685">4</cx:pt>
          <cx:pt idx="11686">1</cx:pt>
          <cx:pt idx="11687">4</cx:pt>
          <cx:pt idx="11688">4</cx:pt>
          <cx:pt idx="11689">4</cx:pt>
          <cx:pt idx="11690">4</cx:pt>
          <cx:pt idx="11691">2</cx:pt>
          <cx:pt idx="11692">3</cx:pt>
          <cx:pt idx="11693">4</cx:pt>
          <cx:pt idx="11694">1</cx:pt>
          <cx:pt idx="11695">4</cx:pt>
          <cx:pt idx="11696">1</cx:pt>
          <cx:pt idx="11697">2</cx:pt>
          <cx:pt idx="11698">5</cx:pt>
          <cx:pt idx="11699">5</cx:pt>
          <cx:pt idx="11700">5</cx:pt>
          <cx:pt idx="11701">4</cx:pt>
          <cx:pt idx="11702">3</cx:pt>
          <cx:pt idx="11703">3</cx:pt>
          <cx:pt idx="11704">3</cx:pt>
          <cx:pt idx="11705">4</cx:pt>
          <cx:pt idx="11706">4</cx:pt>
          <cx:pt idx="11707">5</cx:pt>
          <cx:pt idx="11708">3</cx:pt>
          <cx:pt idx="11709">5</cx:pt>
          <cx:pt idx="11710">3</cx:pt>
          <cx:pt idx="11711">4</cx:pt>
          <cx:pt idx="11712">4</cx:pt>
          <cx:pt idx="11713">5</cx:pt>
          <cx:pt idx="11714">5</cx:pt>
          <cx:pt idx="11715">1</cx:pt>
          <cx:pt idx="11716">5</cx:pt>
          <cx:pt idx="11717">2</cx:pt>
          <cx:pt idx="11718">1</cx:pt>
          <cx:pt idx="11719">4</cx:pt>
          <cx:pt idx="11720">1</cx:pt>
          <cx:pt idx="11721">4</cx:pt>
          <cx:pt idx="11722">5</cx:pt>
          <cx:pt idx="11723">4</cx:pt>
          <cx:pt idx="11724">4</cx:pt>
          <cx:pt idx="11725">5</cx:pt>
          <cx:pt idx="11726">1</cx:pt>
          <cx:pt idx="11727">4</cx:pt>
          <cx:pt idx="11728">5</cx:pt>
          <cx:pt idx="11729">2</cx:pt>
          <cx:pt idx="11730">3</cx:pt>
          <cx:pt idx="11731">5</cx:pt>
          <cx:pt idx="11732">1</cx:pt>
          <cx:pt idx="11733">1</cx:pt>
          <cx:pt idx="11734">5</cx:pt>
          <cx:pt idx="11735">3</cx:pt>
          <cx:pt idx="11736">5</cx:pt>
          <cx:pt idx="11737">1</cx:pt>
          <cx:pt idx="11738">1</cx:pt>
          <cx:pt idx="11739">3</cx:pt>
          <cx:pt idx="11740">1</cx:pt>
          <cx:pt idx="11741">5</cx:pt>
          <cx:pt idx="11742">2</cx:pt>
          <cx:pt idx="11743">1</cx:pt>
          <cx:pt idx="11744">3</cx:pt>
          <cx:pt idx="11745">2</cx:pt>
          <cx:pt idx="11746">5</cx:pt>
          <cx:pt idx="11747">4</cx:pt>
          <cx:pt idx="11748">4</cx:pt>
          <cx:pt idx="11749">5</cx:pt>
          <cx:pt idx="11750">3</cx:pt>
          <cx:pt idx="11751">3</cx:pt>
          <cx:pt idx="11752">2</cx:pt>
          <cx:pt idx="11753">1</cx:pt>
          <cx:pt idx="11754">3</cx:pt>
          <cx:pt idx="11755">5</cx:pt>
          <cx:pt idx="11756">3</cx:pt>
          <cx:pt idx="11757">3</cx:pt>
          <cx:pt idx="11758">5</cx:pt>
          <cx:pt idx="11759">3</cx:pt>
          <cx:pt idx="11760">2</cx:pt>
          <cx:pt idx="11761">5</cx:pt>
          <cx:pt idx="11762">1</cx:pt>
          <cx:pt idx="11763">5</cx:pt>
          <cx:pt idx="11764">3</cx:pt>
          <cx:pt idx="11765">4</cx:pt>
          <cx:pt idx="11766">3</cx:pt>
          <cx:pt idx="11767">1</cx:pt>
          <cx:pt idx="11768">4</cx:pt>
          <cx:pt idx="11769">5</cx:pt>
          <cx:pt idx="11770">5</cx:pt>
          <cx:pt idx="11771">2</cx:pt>
          <cx:pt idx="11772">4</cx:pt>
          <cx:pt idx="11773">3</cx:pt>
          <cx:pt idx="11774">4</cx:pt>
          <cx:pt idx="11775">5</cx:pt>
          <cx:pt idx="11776">3</cx:pt>
          <cx:pt idx="11777">1</cx:pt>
          <cx:pt idx="11778">2</cx:pt>
          <cx:pt idx="11779">4</cx:pt>
          <cx:pt idx="11780">1</cx:pt>
          <cx:pt idx="11781">1</cx:pt>
          <cx:pt idx="11782">2</cx:pt>
          <cx:pt idx="11783">4</cx:pt>
          <cx:pt idx="11784">5</cx:pt>
          <cx:pt idx="11785">4</cx:pt>
          <cx:pt idx="11786">3</cx:pt>
          <cx:pt idx="11787">4</cx:pt>
          <cx:pt idx="11788">4</cx:pt>
          <cx:pt idx="11789">5</cx:pt>
          <cx:pt idx="11790">4</cx:pt>
          <cx:pt idx="11791">4</cx:pt>
          <cx:pt idx="11792">4</cx:pt>
          <cx:pt idx="11793">5</cx:pt>
          <cx:pt idx="11794">4</cx:pt>
          <cx:pt idx="11795">2</cx:pt>
          <cx:pt idx="11796">2</cx:pt>
          <cx:pt idx="11797">3</cx:pt>
          <cx:pt idx="11798">2</cx:pt>
          <cx:pt idx="11799">5</cx:pt>
          <cx:pt idx="11800">5</cx:pt>
          <cx:pt idx="11801">4</cx:pt>
          <cx:pt idx="11802">4</cx:pt>
          <cx:pt idx="11803">4</cx:pt>
          <cx:pt idx="11804">4</cx:pt>
          <cx:pt idx="11805">4</cx:pt>
          <cx:pt idx="11806">1</cx:pt>
          <cx:pt idx="11807">3</cx:pt>
          <cx:pt idx="11808">1</cx:pt>
          <cx:pt idx="11809">3</cx:pt>
          <cx:pt idx="11810">4</cx:pt>
          <cx:pt idx="11811">1</cx:pt>
          <cx:pt idx="11812">4</cx:pt>
          <cx:pt idx="11813">5</cx:pt>
          <cx:pt idx="11814">5</cx:pt>
          <cx:pt idx="11815">1</cx:pt>
          <cx:pt idx="11816">2</cx:pt>
          <cx:pt idx="11817">2</cx:pt>
          <cx:pt idx="11818">5</cx:pt>
          <cx:pt idx="11819">2</cx:pt>
          <cx:pt idx="11820">1</cx:pt>
          <cx:pt idx="11821">4</cx:pt>
          <cx:pt idx="11822">3</cx:pt>
          <cx:pt idx="11823">3</cx:pt>
          <cx:pt idx="11824">5</cx:pt>
          <cx:pt idx="11825">4</cx:pt>
          <cx:pt idx="11826">1</cx:pt>
          <cx:pt idx="11827">1</cx:pt>
          <cx:pt idx="11828">4</cx:pt>
          <cx:pt idx="11829">5</cx:pt>
          <cx:pt idx="11830">5</cx:pt>
          <cx:pt idx="11831">4</cx:pt>
          <cx:pt idx="11832">4</cx:pt>
          <cx:pt idx="11833">5</cx:pt>
          <cx:pt idx="11834">4</cx:pt>
          <cx:pt idx="11835">1</cx:pt>
          <cx:pt idx="11836">2</cx:pt>
          <cx:pt idx="11837">5</cx:pt>
          <cx:pt idx="11838">2</cx:pt>
          <cx:pt idx="11839">4</cx:pt>
          <cx:pt idx="11840">2</cx:pt>
          <cx:pt idx="11841">4</cx:pt>
          <cx:pt idx="11842">4</cx:pt>
          <cx:pt idx="11843">2</cx:pt>
          <cx:pt idx="11844">5</cx:pt>
          <cx:pt idx="11845">5</cx:pt>
          <cx:pt idx="11846">4</cx:pt>
          <cx:pt idx="11847">4</cx:pt>
          <cx:pt idx="11848">3</cx:pt>
          <cx:pt idx="11849">4</cx:pt>
          <cx:pt idx="11850">5</cx:pt>
          <cx:pt idx="11851">4</cx:pt>
          <cx:pt idx="11852">2</cx:pt>
          <cx:pt idx="11853">3</cx:pt>
          <cx:pt idx="11854">1</cx:pt>
          <cx:pt idx="11855">4</cx:pt>
          <cx:pt idx="11856">4</cx:pt>
          <cx:pt idx="11857">1</cx:pt>
          <cx:pt idx="11858">5</cx:pt>
          <cx:pt idx="11859">5</cx:pt>
          <cx:pt idx="11860">5</cx:pt>
          <cx:pt idx="11861">5</cx:pt>
          <cx:pt idx="11862">3</cx:pt>
          <cx:pt idx="11863">1</cx:pt>
          <cx:pt idx="11864">3</cx:pt>
          <cx:pt idx="11865">3</cx:pt>
          <cx:pt idx="11866">1</cx:pt>
          <cx:pt idx="11867">4</cx:pt>
          <cx:pt idx="11868">4</cx:pt>
          <cx:pt idx="11869">4</cx:pt>
          <cx:pt idx="11870">4</cx:pt>
          <cx:pt idx="11871">1</cx:pt>
          <cx:pt idx="11872">5</cx:pt>
          <cx:pt idx="11873">4</cx:pt>
          <cx:pt idx="11874">2</cx:pt>
          <cx:pt idx="11875">4</cx:pt>
          <cx:pt idx="11876">4</cx:pt>
          <cx:pt idx="11877">3</cx:pt>
          <cx:pt idx="11878">3</cx:pt>
          <cx:pt idx="11879">4</cx:pt>
          <cx:pt idx="11880">5</cx:pt>
          <cx:pt idx="11881">1</cx:pt>
          <cx:pt idx="11882">4</cx:pt>
          <cx:pt idx="11883">3</cx:pt>
          <cx:pt idx="11884">3</cx:pt>
          <cx:pt idx="11885">1</cx:pt>
          <cx:pt idx="11886">4</cx:pt>
          <cx:pt idx="11887">4</cx:pt>
          <cx:pt idx="11888">5</cx:pt>
          <cx:pt idx="11889">2</cx:pt>
          <cx:pt idx="11890">2</cx:pt>
          <cx:pt idx="11891">5</cx:pt>
          <cx:pt idx="11892">5</cx:pt>
          <cx:pt idx="11893">1</cx:pt>
          <cx:pt idx="11894">3</cx:pt>
          <cx:pt idx="11895">5</cx:pt>
          <cx:pt idx="11896">3</cx:pt>
          <cx:pt idx="11897">5</cx:pt>
          <cx:pt idx="11898">5</cx:pt>
          <cx:pt idx="11899">2</cx:pt>
          <cx:pt idx="11900">3</cx:pt>
          <cx:pt idx="11901">5</cx:pt>
          <cx:pt idx="11902">5</cx:pt>
          <cx:pt idx="11903">4</cx:pt>
          <cx:pt idx="11904">4</cx:pt>
          <cx:pt idx="11905">3</cx:pt>
          <cx:pt idx="11906">3</cx:pt>
          <cx:pt idx="11907">4</cx:pt>
          <cx:pt idx="11908">2</cx:pt>
          <cx:pt idx="11909">2</cx:pt>
          <cx:pt idx="11910">1</cx:pt>
          <cx:pt idx="11911">4</cx:pt>
          <cx:pt idx="11912">4</cx:pt>
          <cx:pt idx="11913">4</cx:pt>
          <cx:pt idx="11914">3</cx:pt>
          <cx:pt idx="11915">4</cx:pt>
          <cx:pt idx="11916">1</cx:pt>
          <cx:pt idx="11917">5</cx:pt>
          <cx:pt idx="11918">1</cx:pt>
          <cx:pt idx="11919">4</cx:pt>
          <cx:pt idx="11920">5</cx:pt>
          <cx:pt idx="11921">1</cx:pt>
          <cx:pt idx="11922">2</cx:pt>
          <cx:pt idx="11923">1</cx:pt>
          <cx:pt idx="11924">4</cx:pt>
          <cx:pt idx="11925">4</cx:pt>
          <cx:pt idx="11926">1</cx:pt>
          <cx:pt idx="11927">5</cx:pt>
          <cx:pt idx="11928">1</cx:pt>
          <cx:pt idx="11929">3</cx:pt>
          <cx:pt idx="11930">4</cx:pt>
          <cx:pt idx="11931">5</cx:pt>
          <cx:pt idx="11932">4</cx:pt>
          <cx:pt idx="11933">2</cx:pt>
          <cx:pt idx="11934">1</cx:pt>
          <cx:pt idx="11935">5</cx:pt>
          <cx:pt idx="11936">4</cx:pt>
          <cx:pt idx="11937">4</cx:pt>
          <cx:pt idx="11938">4</cx:pt>
          <cx:pt idx="11939">2</cx:pt>
          <cx:pt idx="11940">3</cx:pt>
          <cx:pt idx="11941">3</cx:pt>
          <cx:pt idx="11942">1</cx:pt>
          <cx:pt idx="11943">4</cx:pt>
          <cx:pt idx="11944">4</cx:pt>
          <cx:pt idx="11945">5</cx:pt>
          <cx:pt idx="11946">1</cx:pt>
          <cx:pt idx="11947">4</cx:pt>
          <cx:pt idx="11948">4</cx:pt>
          <cx:pt idx="11949">4</cx:pt>
          <cx:pt idx="11950">5</cx:pt>
          <cx:pt idx="11951">4</cx:pt>
          <cx:pt idx="11952">4</cx:pt>
          <cx:pt idx="11953">3</cx:pt>
          <cx:pt idx="11954">4</cx:pt>
          <cx:pt idx="11955">3</cx:pt>
          <cx:pt idx="11956">5</cx:pt>
          <cx:pt idx="11957">4</cx:pt>
          <cx:pt idx="11958">5</cx:pt>
          <cx:pt idx="11959">3</cx:pt>
          <cx:pt idx="11960">1</cx:pt>
          <cx:pt idx="11961">4</cx:pt>
          <cx:pt idx="11962">1</cx:pt>
          <cx:pt idx="11963">2</cx:pt>
          <cx:pt idx="11964">3</cx:pt>
          <cx:pt idx="11965">4</cx:pt>
          <cx:pt idx="11966">5</cx:pt>
          <cx:pt idx="11967">2</cx:pt>
          <cx:pt idx="11968">4</cx:pt>
          <cx:pt idx="11969">2</cx:pt>
          <cx:pt idx="11970">3</cx:pt>
          <cx:pt idx="11971">3</cx:pt>
          <cx:pt idx="11972">1</cx:pt>
          <cx:pt idx="11973">5</cx:pt>
          <cx:pt idx="11974">3</cx:pt>
          <cx:pt idx="11975">1</cx:pt>
          <cx:pt idx="11976">5</cx:pt>
          <cx:pt idx="11977">4</cx:pt>
          <cx:pt idx="11978">2</cx:pt>
          <cx:pt idx="11979">5</cx:pt>
          <cx:pt idx="11980">3</cx:pt>
          <cx:pt idx="11981">2</cx:pt>
          <cx:pt idx="11982">5</cx:pt>
          <cx:pt idx="11983">5</cx:pt>
          <cx:pt idx="11984">3</cx:pt>
          <cx:pt idx="11985">5</cx:pt>
          <cx:pt idx="11986">3</cx:pt>
          <cx:pt idx="11987">1</cx:pt>
          <cx:pt idx="11988">2</cx:pt>
          <cx:pt idx="11989">4</cx:pt>
          <cx:pt idx="11990">4</cx:pt>
          <cx:pt idx="11991">4</cx:pt>
          <cx:pt idx="11992">5</cx:pt>
          <cx:pt idx="11993">3</cx:pt>
          <cx:pt idx="11994">1</cx:pt>
          <cx:pt idx="11995">2</cx:pt>
          <cx:pt idx="11996">4</cx:pt>
          <cx:pt idx="11997">5</cx:pt>
          <cx:pt idx="11998">4</cx:pt>
          <cx:pt idx="11999">3</cx:pt>
          <cx:pt idx="12000">4</cx:pt>
          <cx:pt idx="12001">5</cx:pt>
          <cx:pt idx="12002">4</cx:pt>
          <cx:pt idx="12003">1</cx:pt>
          <cx:pt idx="12004">5</cx:pt>
          <cx:pt idx="12005">4</cx:pt>
          <cx:pt idx="12006">4</cx:pt>
          <cx:pt idx="12007">4</cx:pt>
          <cx:pt idx="12008">4</cx:pt>
          <cx:pt idx="12009">4</cx:pt>
          <cx:pt idx="12010">4</cx:pt>
          <cx:pt idx="12011">4</cx:pt>
          <cx:pt idx="12012">4</cx:pt>
          <cx:pt idx="12013">5</cx:pt>
          <cx:pt idx="12014">5</cx:pt>
          <cx:pt idx="12015">4</cx:pt>
          <cx:pt idx="12016">2</cx:pt>
          <cx:pt idx="12017">5</cx:pt>
          <cx:pt idx="12018">5</cx:pt>
          <cx:pt idx="12019">4</cx:pt>
          <cx:pt idx="12020">4</cx:pt>
          <cx:pt idx="12021">5</cx:pt>
          <cx:pt idx="12022">4</cx:pt>
          <cx:pt idx="12023">2</cx:pt>
          <cx:pt idx="12024">2</cx:pt>
          <cx:pt idx="12025">5</cx:pt>
          <cx:pt idx="12026">2</cx:pt>
          <cx:pt idx="12027">5</cx:pt>
          <cx:pt idx="12028">5</cx:pt>
          <cx:pt idx="12029">4</cx:pt>
          <cx:pt idx="12030">4</cx:pt>
          <cx:pt idx="12031">4</cx:pt>
          <cx:pt idx="12032">4</cx:pt>
          <cx:pt idx="12033">2</cx:pt>
          <cx:pt idx="12034">5</cx:pt>
          <cx:pt idx="12035">4</cx:pt>
          <cx:pt idx="12036">2</cx:pt>
          <cx:pt idx="12037">5</cx:pt>
          <cx:pt idx="12038">5</cx:pt>
          <cx:pt idx="12039">1</cx:pt>
          <cx:pt idx="12040">4</cx:pt>
          <cx:pt idx="12041">4</cx:pt>
          <cx:pt idx="12042">5</cx:pt>
          <cx:pt idx="12043">2</cx:pt>
          <cx:pt idx="12044">4</cx:pt>
          <cx:pt idx="12045">4</cx:pt>
          <cx:pt idx="12046">5</cx:pt>
          <cx:pt idx="12047">1</cx:pt>
          <cx:pt idx="12048">2</cx:pt>
          <cx:pt idx="12049">3</cx:pt>
          <cx:pt idx="12050">4</cx:pt>
          <cx:pt idx="12051">5</cx:pt>
          <cx:pt idx="12052">5</cx:pt>
          <cx:pt idx="12053">3</cx:pt>
          <cx:pt idx="12054">4</cx:pt>
          <cx:pt idx="12055">5</cx:pt>
          <cx:pt idx="12056">2</cx:pt>
          <cx:pt idx="12057">4</cx:pt>
          <cx:pt idx="12058">3</cx:pt>
          <cx:pt idx="12059">4</cx:pt>
          <cx:pt idx="12060">5</cx:pt>
          <cx:pt idx="12061">2</cx:pt>
          <cx:pt idx="12062">5</cx:pt>
          <cx:pt idx="12063">4</cx:pt>
          <cx:pt idx="12064">3</cx:pt>
          <cx:pt idx="12065">5</cx:pt>
          <cx:pt idx="12066">3</cx:pt>
          <cx:pt idx="12067">2</cx:pt>
          <cx:pt idx="12068">4</cx:pt>
          <cx:pt idx="12069">4</cx:pt>
          <cx:pt idx="12070">4</cx:pt>
          <cx:pt idx="12071">2</cx:pt>
          <cx:pt idx="12072">4</cx:pt>
          <cx:pt idx="12073">4</cx:pt>
          <cx:pt idx="12074">4</cx:pt>
          <cx:pt idx="12075">1</cx:pt>
          <cx:pt idx="12076">4</cx:pt>
          <cx:pt idx="12077">4</cx:pt>
          <cx:pt idx="12078">1</cx:pt>
          <cx:pt idx="12079">2</cx:pt>
          <cx:pt idx="12080">5</cx:pt>
          <cx:pt idx="12081">5</cx:pt>
          <cx:pt idx="12082">5</cx:pt>
          <cx:pt idx="12083">5</cx:pt>
          <cx:pt idx="12084">4</cx:pt>
          <cx:pt idx="12085">5</cx:pt>
          <cx:pt idx="12086">4</cx:pt>
          <cx:pt idx="12087">4</cx:pt>
          <cx:pt idx="12088">2</cx:pt>
          <cx:pt idx="12089">1</cx:pt>
          <cx:pt idx="12090">3</cx:pt>
          <cx:pt idx="12091">5</cx:pt>
          <cx:pt idx="12092">2</cx:pt>
          <cx:pt idx="12093">3</cx:pt>
          <cx:pt idx="12094">4</cx:pt>
          <cx:pt idx="12095">4</cx:pt>
          <cx:pt idx="12096">3</cx:pt>
          <cx:pt idx="12097">1</cx:pt>
          <cx:pt idx="12098">3</cx:pt>
          <cx:pt idx="12099">3</cx:pt>
          <cx:pt idx="12100">5</cx:pt>
          <cx:pt idx="12101">4</cx:pt>
          <cx:pt idx="12102">4</cx:pt>
          <cx:pt idx="12103">3</cx:pt>
          <cx:pt idx="12104">3</cx:pt>
          <cx:pt idx="12105">2</cx:pt>
          <cx:pt idx="12106">2</cx:pt>
          <cx:pt idx="12107">1</cx:pt>
          <cx:pt idx="12108">2</cx:pt>
          <cx:pt idx="12109">2</cx:pt>
          <cx:pt idx="12110">4</cx:pt>
          <cx:pt idx="12111">5</cx:pt>
          <cx:pt idx="12112">5</cx:pt>
          <cx:pt idx="12113">2</cx:pt>
          <cx:pt idx="12114">5</cx:pt>
          <cx:pt idx="12115">2</cx:pt>
          <cx:pt idx="12116">4</cx:pt>
          <cx:pt idx="12117">4</cx:pt>
          <cx:pt idx="12118">4</cx:pt>
          <cx:pt idx="12119">4</cx:pt>
          <cx:pt idx="12120">2</cx:pt>
          <cx:pt idx="12121">5</cx:pt>
          <cx:pt idx="12122">3</cx:pt>
          <cx:pt idx="12123">4</cx:pt>
          <cx:pt idx="12124">4</cx:pt>
          <cx:pt idx="12125">4</cx:pt>
          <cx:pt idx="12126">3</cx:pt>
          <cx:pt idx="12127">5</cx:pt>
          <cx:pt idx="12128">4</cx:pt>
          <cx:pt idx="12129">3</cx:pt>
          <cx:pt idx="12130">3</cx:pt>
          <cx:pt idx="12131">4</cx:pt>
          <cx:pt idx="12132">4</cx:pt>
          <cx:pt idx="12133">4</cx:pt>
          <cx:pt idx="12134">5</cx:pt>
          <cx:pt idx="12135">5</cx:pt>
          <cx:pt idx="12136">5</cx:pt>
          <cx:pt idx="12137">5</cx:pt>
          <cx:pt idx="12138">2</cx:pt>
          <cx:pt idx="12139">5</cx:pt>
          <cx:pt idx="12140">5</cx:pt>
          <cx:pt idx="12141">4</cx:pt>
          <cx:pt idx="12142">2</cx:pt>
          <cx:pt idx="12143">1</cx:pt>
          <cx:pt idx="12144">3</cx:pt>
          <cx:pt idx="12145">4</cx:pt>
          <cx:pt idx="12146">2</cx:pt>
          <cx:pt idx="12147">3</cx:pt>
          <cx:pt idx="12148">4</cx:pt>
          <cx:pt idx="12149">4</cx:pt>
          <cx:pt idx="12150">4</cx:pt>
          <cx:pt idx="12151">3</cx:pt>
          <cx:pt idx="12152">5</cx:pt>
          <cx:pt idx="12153">2</cx:pt>
          <cx:pt idx="12154">4</cx:pt>
          <cx:pt idx="12155">3</cx:pt>
          <cx:pt idx="12156">5</cx:pt>
          <cx:pt idx="12157">4</cx:pt>
          <cx:pt idx="12158">2</cx:pt>
          <cx:pt idx="12159">3</cx:pt>
          <cx:pt idx="12160">4</cx:pt>
          <cx:pt idx="12161">5</cx:pt>
          <cx:pt idx="12162">5</cx:pt>
          <cx:pt idx="12163">3</cx:pt>
          <cx:pt idx="12164">5</cx:pt>
          <cx:pt idx="12165">5</cx:pt>
          <cx:pt idx="12166">2</cx:pt>
          <cx:pt idx="12167">5</cx:pt>
          <cx:pt idx="12168">5</cx:pt>
          <cx:pt idx="12169">1</cx:pt>
          <cx:pt idx="12170">3</cx:pt>
          <cx:pt idx="12171">5</cx:pt>
          <cx:pt idx="12172">1</cx:pt>
          <cx:pt idx="12173">5</cx:pt>
          <cx:pt idx="12174">5</cx:pt>
          <cx:pt idx="12175">5</cx:pt>
          <cx:pt idx="12176">2</cx:pt>
          <cx:pt idx="12177">5</cx:pt>
          <cx:pt idx="12178">4</cx:pt>
          <cx:pt idx="12179">4</cx:pt>
          <cx:pt idx="12180">2</cx:pt>
          <cx:pt idx="12181">3</cx:pt>
          <cx:pt idx="12182">3</cx:pt>
          <cx:pt idx="12183">4</cx:pt>
          <cx:pt idx="12184">3</cx:pt>
          <cx:pt idx="12185">3</cx:pt>
          <cx:pt idx="12186">4</cx:pt>
          <cx:pt idx="12187">5</cx:pt>
          <cx:pt idx="12188">4</cx:pt>
          <cx:pt idx="12189">5</cx:pt>
          <cx:pt idx="12190">1</cx:pt>
          <cx:pt idx="12191">3</cx:pt>
          <cx:pt idx="12192">4</cx:pt>
          <cx:pt idx="12193">3</cx:pt>
          <cx:pt idx="12194">4</cx:pt>
          <cx:pt idx="12195">5</cx:pt>
          <cx:pt idx="12196">3</cx:pt>
          <cx:pt idx="12197">1</cx:pt>
          <cx:pt idx="12198">5</cx:pt>
          <cx:pt idx="12199">1</cx:pt>
          <cx:pt idx="12200">1</cx:pt>
          <cx:pt idx="12201">4</cx:pt>
          <cx:pt idx="12202">1</cx:pt>
          <cx:pt idx="12203">2</cx:pt>
          <cx:pt idx="12204">5</cx:pt>
          <cx:pt idx="12205">3</cx:pt>
          <cx:pt idx="12206">1</cx:pt>
          <cx:pt idx="12207">3</cx:pt>
          <cx:pt idx="12208">1</cx:pt>
          <cx:pt idx="12209">4</cx:pt>
          <cx:pt idx="12210">4</cx:pt>
          <cx:pt idx="12211">4</cx:pt>
          <cx:pt idx="12212">1</cx:pt>
          <cx:pt idx="12213">1</cx:pt>
          <cx:pt idx="12214">1</cx:pt>
          <cx:pt idx="12215">2</cx:pt>
          <cx:pt idx="12216">4</cx:pt>
          <cx:pt idx="12217">1</cx:pt>
          <cx:pt idx="12218">5</cx:pt>
          <cx:pt idx="12219">4</cx:pt>
          <cx:pt idx="12220">4</cx:pt>
          <cx:pt idx="12221">3</cx:pt>
          <cx:pt idx="12222">1</cx:pt>
          <cx:pt idx="12223">2</cx:pt>
          <cx:pt idx="12224">5</cx:pt>
          <cx:pt idx="12225">3</cx:pt>
          <cx:pt idx="12226">5</cx:pt>
          <cx:pt idx="12227">5</cx:pt>
          <cx:pt idx="12228">3</cx:pt>
          <cx:pt idx="12229">4</cx:pt>
          <cx:pt idx="12230">4</cx:pt>
          <cx:pt idx="12231">4</cx:pt>
          <cx:pt idx="12232">3</cx:pt>
          <cx:pt idx="12233">5</cx:pt>
          <cx:pt idx="12234">2</cx:pt>
          <cx:pt idx="12235">5</cx:pt>
          <cx:pt idx="12236">1</cx:pt>
          <cx:pt idx="12237">4</cx:pt>
          <cx:pt idx="12238">4</cx:pt>
          <cx:pt idx="12239">5</cx:pt>
          <cx:pt idx="12240">4</cx:pt>
          <cx:pt idx="12241">4</cx:pt>
          <cx:pt idx="12242">4</cx:pt>
          <cx:pt idx="12243">5</cx:pt>
          <cx:pt idx="12244">4</cx:pt>
          <cx:pt idx="12245">4</cx:pt>
          <cx:pt idx="12246">5</cx:pt>
          <cx:pt idx="12247">4</cx:pt>
          <cx:pt idx="12248">4</cx:pt>
          <cx:pt idx="12249">4</cx:pt>
          <cx:pt idx="12250">4</cx:pt>
          <cx:pt idx="12251">3</cx:pt>
          <cx:pt idx="12252">5</cx:pt>
          <cx:pt idx="12253">5</cx:pt>
          <cx:pt idx="12254">5</cx:pt>
          <cx:pt idx="12255">4</cx:pt>
          <cx:pt idx="12256">4</cx:pt>
          <cx:pt idx="12257">4</cx:pt>
          <cx:pt idx="12258">2</cx:pt>
          <cx:pt idx="12259">5</cx:pt>
          <cx:pt idx="12260">5</cx:pt>
          <cx:pt idx="12261">3</cx:pt>
          <cx:pt idx="12262">4</cx:pt>
          <cx:pt idx="12263">3</cx:pt>
          <cx:pt idx="12264">1</cx:pt>
          <cx:pt idx="12265">2</cx:pt>
          <cx:pt idx="12266">3</cx:pt>
          <cx:pt idx="12267">3</cx:pt>
          <cx:pt idx="12268">3</cx:pt>
          <cx:pt idx="12269">4</cx:pt>
          <cx:pt idx="12270">2</cx:pt>
          <cx:pt idx="12271">2</cx:pt>
          <cx:pt idx="12272">2</cx:pt>
          <cx:pt idx="12273">3</cx:pt>
          <cx:pt idx="12274">4</cx:pt>
          <cx:pt idx="12275">2</cx:pt>
          <cx:pt idx="12276">4</cx:pt>
          <cx:pt idx="12277">4</cx:pt>
          <cx:pt idx="12278">5</cx:pt>
          <cx:pt idx="12279">5</cx:pt>
          <cx:pt idx="12280">5</cx:pt>
          <cx:pt idx="12281">4</cx:pt>
          <cx:pt idx="12282">1</cx:pt>
          <cx:pt idx="12283">5</cx:pt>
          <cx:pt idx="12284">5</cx:pt>
          <cx:pt idx="12285">2</cx:pt>
          <cx:pt idx="12286">2</cx:pt>
          <cx:pt idx="12287">2</cx:pt>
          <cx:pt idx="12288">5</cx:pt>
          <cx:pt idx="12289">5</cx:pt>
          <cx:pt idx="12290">5</cx:pt>
          <cx:pt idx="12291">4</cx:pt>
          <cx:pt idx="12292">4</cx:pt>
          <cx:pt idx="12293">2</cx:pt>
          <cx:pt idx="12294">4</cx:pt>
          <cx:pt idx="12295">5</cx:pt>
          <cx:pt idx="12296">3</cx:pt>
          <cx:pt idx="12297">5</cx:pt>
          <cx:pt idx="12298">2</cx:pt>
          <cx:pt idx="12299">2</cx:pt>
          <cx:pt idx="12300">3</cx:pt>
          <cx:pt idx="12301">3</cx:pt>
          <cx:pt idx="12302">5</cx:pt>
          <cx:pt idx="12303">4</cx:pt>
          <cx:pt idx="12304">4</cx:pt>
          <cx:pt idx="12305">4</cx:pt>
          <cx:pt idx="12306">5</cx:pt>
          <cx:pt idx="12307">5</cx:pt>
          <cx:pt idx="12308">4</cx:pt>
          <cx:pt idx="12309">4</cx:pt>
          <cx:pt idx="12310">4</cx:pt>
          <cx:pt idx="12311">5</cx:pt>
          <cx:pt idx="12312">5</cx:pt>
          <cx:pt idx="12313">4</cx:pt>
          <cx:pt idx="12314">5</cx:pt>
          <cx:pt idx="12315">4</cx:pt>
          <cx:pt idx="12316">2</cx:pt>
          <cx:pt idx="12317">4</cx:pt>
          <cx:pt idx="12318">3</cx:pt>
          <cx:pt idx="12319">1</cx:pt>
          <cx:pt idx="12320">2</cx:pt>
          <cx:pt idx="12321">5</cx:pt>
          <cx:pt idx="12322">1</cx:pt>
          <cx:pt idx="12323">3</cx:pt>
          <cx:pt idx="12324">5</cx:pt>
          <cx:pt idx="12325">3</cx:pt>
          <cx:pt idx="12326">1</cx:pt>
          <cx:pt idx="12327">5</cx:pt>
          <cx:pt idx="12328">5</cx:pt>
          <cx:pt idx="12329">3</cx:pt>
          <cx:pt idx="12330">4</cx:pt>
          <cx:pt idx="12331">5</cx:pt>
          <cx:pt idx="12332">4</cx:pt>
          <cx:pt idx="12333">1</cx:pt>
          <cx:pt idx="12334">3</cx:pt>
          <cx:pt idx="12335">2</cx:pt>
          <cx:pt idx="12336">5</cx:pt>
          <cx:pt idx="12337">1</cx:pt>
          <cx:pt idx="12338">5</cx:pt>
          <cx:pt idx="12339">4</cx:pt>
          <cx:pt idx="12340">4</cx:pt>
          <cx:pt idx="12341">4</cx:pt>
          <cx:pt idx="12342">2</cx:pt>
          <cx:pt idx="12343">2</cx:pt>
          <cx:pt idx="12344">4</cx:pt>
          <cx:pt idx="12345">4</cx:pt>
          <cx:pt idx="12346">4</cx:pt>
          <cx:pt idx="12347">2</cx:pt>
          <cx:pt idx="12348">3</cx:pt>
          <cx:pt idx="12349">5</cx:pt>
          <cx:pt idx="12350">5</cx:pt>
          <cx:pt idx="12351">4</cx:pt>
          <cx:pt idx="12352">2</cx:pt>
          <cx:pt idx="12353">1</cx:pt>
          <cx:pt idx="12354">4</cx:pt>
          <cx:pt idx="12355">3</cx:pt>
          <cx:pt idx="12356">5</cx:pt>
          <cx:pt idx="12357">2</cx:pt>
          <cx:pt idx="12358">2</cx:pt>
          <cx:pt idx="12359">4</cx:pt>
          <cx:pt idx="12360">4</cx:pt>
          <cx:pt idx="12361">3</cx:pt>
          <cx:pt idx="12362">4</cx:pt>
          <cx:pt idx="12363">4</cx:pt>
          <cx:pt idx="12364">4</cx:pt>
          <cx:pt idx="12365">5</cx:pt>
          <cx:pt idx="12366">4</cx:pt>
          <cx:pt idx="12367">4</cx:pt>
          <cx:pt idx="12368">2</cx:pt>
          <cx:pt idx="12369">3</cx:pt>
          <cx:pt idx="12370">4</cx:pt>
          <cx:pt idx="12371">2</cx:pt>
          <cx:pt idx="12372">3</cx:pt>
          <cx:pt idx="12373">4</cx:pt>
          <cx:pt idx="12374">5</cx:pt>
          <cx:pt idx="12375">1</cx:pt>
          <cx:pt idx="12376">5</cx:pt>
          <cx:pt idx="12377">3</cx:pt>
          <cx:pt idx="12378">3</cx:pt>
          <cx:pt idx="12379">4</cx:pt>
          <cx:pt idx="12380">4</cx:pt>
          <cx:pt idx="12381">4</cx:pt>
          <cx:pt idx="12382">3</cx:pt>
          <cx:pt idx="12383">5</cx:pt>
          <cx:pt idx="12384">4</cx:pt>
          <cx:pt idx="12385">4</cx:pt>
          <cx:pt idx="12386">3</cx:pt>
          <cx:pt idx="12387">3</cx:pt>
          <cx:pt idx="12388">3</cx:pt>
          <cx:pt idx="12389">4</cx:pt>
          <cx:pt idx="12390">4</cx:pt>
          <cx:pt idx="12391">4</cx:pt>
          <cx:pt idx="12392">4</cx:pt>
          <cx:pt idx="12393">4</cx:pt>
          <cx:pt idx="12394">2</cx:pt>
          <cx:pt idx="12395">4</cx:pt>
          <cx:pt idx="12396">4</cx:pt>
          <cx:pt idx="12397">4</cx:pt>
          <cx:pt idx="12398">5</cx:pt>
          <cx:pt idx="12399">5</cx:pt>
          <cx:pt idx="12400">3</cx:pt>
          <cx:pt idx="12401">3</cx:pt>
          <cx:pt idx="12402">4</cx:pt>
          <cx:pt idx="12403">4</cx:pt>
          <cx:pt idx="12404">2</cx:pt>
          <cx:pt idx="12405">4</cx:pt>
          <cx:pt idx="12406">1</cx:pt>
          <cx:pt idx="12407">1</cx:pt>
          <cx:pt idx="12408">4</cx:pt>
          <cx:pt idx="12409">4</cx:pt>
          <cx:pt idx="12410">1</cx:pt>
          <cx:pt idx="12411">3</cx:pt>
          <cx:pt idx="12412">5</cx:pt>
          <cx:pt idx="12413">5</cx:pt>
          <cx:pt idx="12414">4</cx:pt>
          <cx:pt idx="12415">3</cx:pt>
          <cx:pt idx="12416">3</cx:pt>
          <cx:pt idx="12417">4</cx:pt>
          <cx:pt idx="12418">2</cx:pt>
          <cx:pt idx="12419">3</cx:pt>
          <cx:pt idx="12420">5</cx:pt>
          <cx:pt idx="12421">4</cx:pt>
          <cx:pt idx="12422">4</cx:pt>
          <cx:pt idx="12423">4</cx:pt>
          <cx:pt idx="12424">2</cx:pt>
          <cx:pt idx="12425">4</cx:pt>
          <cx:pt idx="12426">4</cx:pt>
          <cx:pt idx="12427">3</cx:pt>
          <cx:pt idx="12428">4</cx:pt>
          <cx:pt idx="12429">4</cx:pt>
          <cx:pt idx="12430">4</cx:pt>
          <cx:pt idx="12431">5</cx:pt>
          <cx:pt idx="12432">3</cx:pt>
          <cx:pt idx="12433">5</cx:pt>
          <cx:pt idx="12434">2</cx:pt>
          <cx:pt idx="12435">1</cx:pt>
          <cx:pt idx="12436">4</cx:pt>
          <cx:pt idx="12437">5</cx:pt>
          <cx:pt idx="12438">2</cx:pt>
          <cx:pt idx="12439">3</cx:pt>
          <cx:pt idx="12440">2</cx:pt>
          <cx:pt idx="12441">3</cx:pt>
          <cx:pt idx="12442">3</cx:pt>
          <cx:pt idx="12443">4</cx:pt>
          <cx:pt idx="12444">5</cx:pt>
          <cx:pt idx="12445">3</cx:pt>
          <cx:pt idx="12446">3</cx:pt>
          <cx:pt idx="12447">4</cx:pt>
          <cx:pt idx="12448">5</cx:pt>
          <cx:pt idx="12449">4</cx:pt>
          <cx:pt idx="12450">3</cx:pt>
          <cx:pt idx="12451">5</cx:pt>
          <cx:pt idx="12452">5</cx:pt>
          <cx:pt idx="12453">4</cx:pt>
          <cx:pt idx="12454">4</cx:pt>
          <cx:pt idx="12455">2</cx:pt>
          <cx:pt idx="12456">4</cx:pt>
          <cx:pt idx="12457">1</cx:pt>
          <cx:pt idx="12458">3</cx:pt>
          <cx:pt idx="12459">1</cx:pt>
          <cx:pt idx="12460">1</cx:pt>
          <cx:pt idx="12461">5</cx:pt>
          <cx:pt idx="12462">1</cx:pt>
          <cx:pt idx="12463">4</cx:pt>
          <cx:pt idx="12464">5</cx:pt>
          <cx:pt idx="12465">2</cx:pt>
          <cx:pt idx="12466">3</cx:pt>
          <cx:pt idx="12467">4</cx:pt>
          <cx:pt idx="12468">4</cx:pt>
          <cx:pt idx="12469">1</cx:pt>
          <cx:pt idx="12470">4</cx:pt>
          <cx:pt idx="12471">4</cx:pt>
          <cx:pt idx="12472">4</cx:pt>
          <cx:pt idx="12473">1</cx:pt>
          <cx:pt idx="12474">5</cx:pt>
          <cx:pt idx="12475">5</cx:pt>
          <cx:pt idx="12476">4</cx:pt>
          <cx:pt idx="12477">2</cx:pt>
          <cx:pt idx="12478">5</cx:pt>
          <cx:pt idx="12479">4</cx:pt>
          <cx:pt idx="12480">4</cx:pt>
          <cx:pt idx="12481">4</cx:pt>
          <cx:pt idx="12482">1</cx:pt>
          <cx:pt idx="12483">4</cx:pt>
          <cx:pt idx="12484">4</cx:pt>
          <cx:pt idx="12485">4</cx:pt>
          <cx:pt idx="12486">5</cx:pt>
          <cx:pt idx="12487">5</cx:pt>
          <cx:pt idx="12488">5</cx:pt>
          <cx:pt idx="12489">2</cx:pt>
          <cx:pt idx="12490">5</cx:pt>
          <cx:pt idx="12491">5</cx:pt>
          <cx:pt idx="12492">2</cx:pt>
          <cx:pt idx="12493">5</cx:pt>
          <cx:pt idx="12494">1</cx:pt>
          <cx:pt idx="12495">1</cx:pt>
          <cx:pt idx="12496">4</cx:pt>
          <cx:pt idx="12497">1</cx:pt>
          <cx:pt idx="12498">4</cx:pt>
          <cx:pt idx="12499">4</cx:pt>
          <cx:pt idx="12500">4</cx:pt>
          <cx:pt idx="12501">2</cx:pt>
          <cx:pt idx="12502">2</cx:pt>
          <cx:pt idx="12503">4</cx:pt>
          <cx:pt idx="12504">5</cx:pt>
          <cx:pt idx="12505">4</cx:pt>
          <cx:pt idx="12506">1</cx:pt>
          <cx:pt idx="12507">3</cx:pt>
          <cx:pt idx="12508">4</cx:pt>
          <cx:pt idx="12509">4</cx:pt>
          <cx:pt idx="12510">1</cx:pt>
          <cx:pt idx="12511">5</cx:pt>
          <cx:pt idx="12512">4</cx:pt>
          <cx:pt idx="12513">1</cx:pt>
          <cx:pt idx="12514">2</cx:pt>
          <cx:pt idx="12515">1</cx:pt>
          <cx:pt idx="12516">4</cx:pt>
          <cx:pt idx="12517">5</cx:pt>
          <cx:pt idx="12518">3</cx:pt>
          <cx:pt idx="12519">4</cx:pt>
          <cx:pt idx="12520">5</cx:pt>
          <cx:pt idx="12521">2</cx:pt>
          <cx:pt idx="12522">5</cx:pt>
          <cx:pt idx="12523">4</cx:pt>
          <cx:pt idx="12524">3</cx:pt>
          <cx:pt idx="12525">2</cx:pt>
          <cx:pt idx="12526">4</cx:pt>
          <cx:pt idx="12527">1</cx:pt>
          <cx:pt idx="12528">1</cx:pt>
          <cx:pt idx="12529">5</cx:pt>
          <cx:pt idx="12530">4</cx:pt>
          <cx:pt idx="12531">4</cx:pt>
          <cx:pt idx="12532">4</cx:pt>
          <cx:pt idx="12533">5</cx:pt>
          <cx:pt idx="12534">4</cx:pt>
          <cx:pt idx="12535">1</cx:pt>
          <cx:pt idx="12536">5</cx:pt>
          <cx:pt idx="12537">4</cx:pt>
          <cx:pt idx="12538">3</cx:pt>
          <cx:pt idx="12539">2</cx:pt>
          <cx:pt idx="12540">1</cx:pt>
          <cx:pt idx="12541">3</cx:pt>
          <cx:pt idx="12542">3</cx:pt>
          <cx:pt idx="12543">4</cx:pt>
          <cx:pt idx="12544">3</cx:pt>
          <cx:pt idx="12545">5</cx:pt>
          <cx:pt idx="12546">4</cx:pt>
          <cx:pt idx="12547">2</cx:pt>
          <cx:pt idx="12548">3</cx:pt>
          <cx:pt idx="12549">5</cx:pt>
          <cx:pt idx="12550">5</cx:pt>
          <cx:pt idx="12551">3</cx:pt>
          <cx:pt idx="12552">5</cx:pt>
          <cx:pt idx="12553">4</cx:pt>
          <cx:pt idx="12554">4</cx:pt>
          <cx:pt idx="12555">3</cx:pt>
          <cx:pt idx="12556">4</cx:pt>
          <cx:pt idx="12557">3</cx:pt>
          <cx:pt idx="12558">3</cx:pt>
          <cx:pt idx="12559">5</cx:pt>
          <cx:pt idx="12560">1</cx:pt>
          <cx:pt idx="12561">3</cx:pt>
          <cx:pt idx="12562">1</cx:pt>
          <cx:pt idx="12563">5</cx:pt>
          <cx:pt idx="12564">4</cx:pt>
          <cx:pt idx="12565">3</cx:pt>
          <cx:pt idx="12566">5</cx:pt>
          <cx:pt idx="12567">4</cx:pt>
          <cx:pt idx="12568">2</cx:pt>
          <cx:pt idx="12569">1</cx:pt>
          <cx:pt idx="12570">3</cx:pt>
          <cx:pt idx="12571">2</cx:pt>
          <cx:pt idx="12572">3</cx:pt>
          <cx:pt idx="12573">4</cx:pt>
          <cx:pt idx="12574">4</cx:pt>
          <cx:pt idx="12575">4</cx:pt>
          <cx:pt idx="12576">1</cx:pt>
          <cx:pt idx="12577">2</cx:pt>
          <cx:pt idx="12578">5</cx:pt>
          <cx:pt idx="12579">2</cx:pt>
          <cx:pt idx="12580">3</cx:pt>
          <cx:pt idx="12581">4</cx:pt>
          <cx:pt idx="12582">4</cx:pt>
          <cx:pt idx="12583">2</cx:pt>
          <cx:pt idx="12584">5</cx:pt>
          <cx:pt idx="12585">4</cx:pt>
          <cx:pt idx="12586">2</cx:pt>
          <cx:pt idx="12587">2</cx:pt>
          <cx:pt idx="12588">5</cx:pt>
          <cx:pt idx="12589">3</cx:pt>
          <cx:pt idx="12590">2</cx:pt>
          <cx:pt idx="12591">2</cx:pt>
          <cx:pt idx="12592">1</cx:pt>
          <cx:pt idx="12593">3</cx:pt>
          <cx:pt idx="12594">1</cx:pt>
          <cx:pt idx="12595">1</cx:pt>
          <cx:pt idx="12596">4</cx:pt>
          <cx:pt idx="12597">1</cx:pt>
          <cx:pt idx="12598">5</cx:pt>
          <cx:pt idx="12599">4</cx:pt>
          <cx:pt idx="12600">4</cx:pt>
          <cx:pt idx="12601">5</cx:pt>
          <cx:pt idx="12602">1</cx:pt>
          <cx:pt idx="12603">5</cx:pt>
          <cx:pt idx="12604">3</cx:pt>
          <cx:pt idx="12605">3</cx:pt>
          <cx:pt idx="12606">4</cx:pt>
          <cx:pt idx="12607">5</cx:pt>
          <cx:pt idx="12608">5</cx:pt>
          <cx:pt idx="12609">5</cx:pt>
          <cx:pt idx="12610">5</cx:pt>
          <cx:pt idx="12611">5</cx:pt>
          <cx:pt idx="12612">1</cx:pt>
          <cx:pt idx="12613">4</cx:pt>
          <cx:pt idx="12614">4</cx:pt>
          <cx:pt idx="12615">2</cx:pt>
          <cx:pt idx="12616">1</cx:pt>
          <cx:pt idx="12617">4</cx:pt>
          <cx:pt idx="12618">4</cx:pt>
          <cx:pt idx="12619">5</cx:pt>
          <cx:pt idx="12620">4</cx:pt>
          <cx:pt idx="12621">2</cx:pt>
          <cx:pt idx="12622">4</cx:pt>
          <cx:pt idx="12623">5</cx:pt>
          <cx:pt idx="12624">4</cx:pt>
          <cx:pt idx="12625">2</cx:pt>
          <cx:pt idx="12626">4</cx:pt>
          <cx:pt idx="12627">5</cx:pt>
          <cx:pt idx="12628">4</cx:pt>
          <cx:pt idx="12629">1</cx:pt>
          <cx:pt idx="12630">4</cx:pt>
          <cx:pt idx="12631">4</cx:pt>
          <cx:pt idx="12632">2</cx:pt>
          <cx:pt idx="12633">2</cx:pt>
          <cx:pt idx="12634">4</cx:pt>
          <cx:pt idx="12635">4</cx:pt>
          <cx:pt idx="12636">5</cx:pt>
          <cx:pt idx="12637">4</cx:pt>
          <cx:pt idx="12638">2</cx:pt>
          <cx:pt idx="12639">3</cx:pt>
          <cx:pt idx="12640">3</cx:pt>
          <cx:pt idx="12641">3</cx:pt>
          <cx:pt idx="12642">2</cx:pt>
          <cx:pt idx="12643">2</cx:pt>
          <cx:pt idx="12644">1</cx:pt>
          <cx:pt idx="12645">5</cx:pt>
          <cx:pt idx="12646">4</cx:pt>
          <cx:pt idx="12647">4</cx:pt>
          <cx:pt idx="12648">4</cx:pt>
          <cx:pt idx="12649">5</cx:pt>
          <cx:pt idx="12650">3</cx:pt>
          <cx:pt idx="12651">4</cx:pt>
          <cx:pt idx="12652">4</cx:pt>
          <cx:pt idx="12653">5</cx:pt>
          <cx:pt idx="12654">2</cx:pt>
          <cx:pt idx="12655">5</cx:pt>
          <cx:pt idx="12656">5</cx:pt>
          <cx:pt idx="12657">1</cx:pt>
          <cx:pt idx="12658">4</cx:pt>
          <cx:pt idx="12659">4</cx:pt>
          <cx:pt idx="12660">5</cx:pt>
          <cx:pt idx="12661">4</cx:pt>
          <cx:pt idx="12662">3</cx:pt>
          <cx:pt idx="12663">5</cx:pt>
          <cx:pt idx="12664">4</cx:pt>
          <cx:pt idx="12665">4</cx:pt>
          <cx:pt idx="12666">5</cx:pt>
          <cx:pt idx="12667">3</cx:pt>
          <cx:pt idx="12668">3</cx:pt>
          <cx:pt idx="12669">3</cx:pt>
          <cx:pt idx="12670">2</cx:pt>
          <cx:pt idx="12671">2</cx:pt>
          <cx:pt idx="12672">4</cx:pt>
          <cx:pt idx="12673">4</cx:pt>
          <cx:pt idx="12674">1</cx:pt>
          <cx:pt idx="12675">4</cx:pt>
          <cx:pt idx="12676">5</cx:pt>
          <cx:pt idx="12677">5</cx:pt>
          <cx:pt idx="12678">5</cx:pt>
          <cx:pt idx="12679">3</cx:pt>
          <cx:pt idx="12680">4</cx:pt>
          <cx:pt idx="12681">3</cx:pt>
          <cx:pt idx="12682">4</cx:pt>
          <cx:pt idx="12683">4</cx:pt>
          <cx:pt idx="12684">4</cx:pt>
          <cx:pt idx="12685">5</cx:pt>
          <cx:pt idx="12686">3</cx:pt>
          <cx:pt idx="12687">4</cx:pt>
          <cx:pt idx="12688">4</cx:pt>
          <cx:pt idx="12689">5</cx:pt>
          <cx:pt idx="12690">4</cx:pt>
          <cx:pt idx="12691">3</cx:pt>
          <cx:pt idx="12692">3</cx:pt>
          <cx:pt idx="12693">5</cx:pt>
          <cx:pt idx="12694">4</cx:pt>
          <cx:pt idx="12695">5</cx:pt>
          <cx:pt idx="12696">4</cx:pt>
          <cx:pt idx="12697">4</cx:pt>
          <cx:pt idx="12698">1</cx:pt>
          <cx:pt idx="12699">2</cx:pt>
          <cx:pt idx="12700">1</cx:pt>
          <cx:pt idx="12701">4</cx:pt>
          <cx:pt idx="12702">5</cx:pt>
          <cx:pt idx="12703">4</cx:pt>
          <cx:pt idx="12704">4</cx:pt>
          <cx:pt idx="12705">4</cx:pt>
          <cx:pt idx="12706">3</cx:pt>
          <cx:pt idx="12707">5</cx:pt>
          <cx:pt idx="12708">2</cx:pt>
          <cx:pt idx="12709">4</cx:pt>
          <cx:pt idx="12710">2</cx:pt>
          <cx:pt idx="12711">5</cx:pt>
          <cx:pt idx="12712">4</cx:pt>
          <cx:pt idx="12713">1</cx:pt>
          <cx:pt idx="12714">4</cx:pt>
          <cx:pt idx="12715">2</cx:pt>
          <cx:pt idx="12716">5</cx:pt>
          <cx:pt idx="12717">4</cx:pt>
          <cx:pt idx="12718">2</cx:pt>
          <cx:pt idx="12719">5</cx:pt>
          <cx:pt idx="12720">3</cx:pt>
          <cx:pt idx="12721">5</cx:pt>
          <cx:pt idx="12722">5</cx:pt>
          <cx:pt idx="12723">5</cx:pt>
          <cx:pt idx="12724">4</cx:pt>
          <cx:pt idx="12725">4</cx:pt>
          <cx:pt idx="12726">2</cx:pt>
          <cx:pt idx="12727">3</cx:pt>
          <cx:pt idx="12728">5</cx:pt>
          <cx:pt idx="12729">4</cx:pt>
          <cx:pt idx="12730">3</cx:pt>
          <cx:pt idx="12731">4</cx:pt>
          <cx:pt idx="12732">4</cx:pt>
          <cx:pt idx="12733">3</cx:pt>
          <cx:pt idx="12734">5</cx:pt>
          <cx:pt idx="12735">3</cx:pt>
          <cx:pt idx="12736">4</cx:pt>
          <cx:pt idx="12737">4</cx:pt>
          <cx:pt idx="12738">1</cx:pt>
          <cx:pt idx="12739">4</cx:pt>
          <cx:pt idx="12740">4</cx:pt>
          <cx:pt idx="12741">1</cx:pt>
          <cx:pt idx="12742">5</cx:pt>
          <cx:pt idx="12743">3</cx:pt>
          <cx:pt idx="12744">4</cx:pt>
          <cx:pt idx="12745">1</cx:pt>
          <cx:pt idx="12746">4</cx:pt>
          <cx:pt idx="12747">3</cx:pt>
          <cx:pt idx="12748">4</cx:pt>
          <cx:pt idx="12749">4</cx:pt>
          <cx:pt idx="12750">4</cx:pt>
          <cx:pt idx="12751">3</cx:pt>
          <cx:pt idx="12752">3</cx:pt>
          <cx:pt idx="12753">5</cx:pt>
          <cx:pt idx="12754">1</cx:pt>
          <cx:pt idx="12755">2</cx:pt>
          <cx:pt idx="12756">2</cx:pt>
          <cx:pt idx="12757">4</cx:pt>
          <cx:pt idx="12758">5</cx:pt>
          <cx:pt idx="12759">4</cx:pt>
          <cx:pt idx="12760">5</cx:pt>
          <cx:pt idx="12761">2</cx:pt>
          <cx:pt idx="12762">2</cx:pt>
          <cx:pt idx="12763">3</cx:pt>
          <cx:pt idx="12764">4</cx:pt>
          <cx:pt idx="12765">4</cx:pt>
          <cx:pt idx="12766">3</cx:pt>
          <cx:pt idx="12767">5</cx:pt>
          <cx:pt idx="12768">4</cx:pt>
          <cx:pt idx="12769">5</cx:pt>
          <cx:pt idx="12770">3</cx:pt>
          <cx:pt idx="12771">4</cx:pt>
          <cx:pt idx="12772">5</cx:pt>
          <cx:pt idx="12773">5</cx:pt>
          <cx:pt idx="12774">4</cx:pt>
          <cx:pt idx="12775">5</cx:pt>
          <cx:pt idx="12776">2</cx:pt>
          <cx:pt idx="12777">3</cx:pt>
          <cx:pt idx="12778">1</cx:pt>
          <cx:pt idx="12779">4</cx:pt>
          <cx:pt idx="12780">2</cx:pt>
          <cx:pt idx="12781">2</cx:pt>
          <cx:pt idx="12782">1</cx:pt>
          <cx:pt idx="12783">3</cx:pt>
          <cx:pt idx="12784">5</cx:pt>
          <cx:pt idx="12785">2</cx:pt>
          <cx:pt idx="12786">5</cx:pt>
          <cx:pt idx="12787">4</cx:pt>
          <cx:pt idx="12788">5</cx:pt>
          <cx:pt idx="12789">1</cx:pt>
          <cx:pt idx="12790">4</cx:pt>
          <cx:pt idx="12791">3</cx:pt>
          <cx:pt idx="12792">4</cx:pt>
          <cx:pt idx="12793">2</cx:pt>
          <cx:pt idx="12794">4</cx:pt>
          <cx:pt idx="12795">4</cx:pt>
          <cx:pt idx="12796">3</cx:pt>
          <cx:pt idx="12797">4</cx:pt>
          <cx:pt idx="12798">2</cx:pt>
          <cx:pt idx="12799">3</cx:pt>
          <cx:pt idx="12800">5</cx:pt>
          <cx:pt idx="12801">4</cx:pt>
          <cx:pt idx="12802">4</cx:pt>
          <cx:pt idx="12803">1</cx:pt>
          <cx:pt idx="12804">4</cx:pt>
          <cx:pt idx="12805">5</cx:pt>
          <cx:pt idx="12806">2</cx:pt>
          <cx:pt idx="12807">4</cx:pt>
          <cx:pt idx="12808">4</cx:pt>
          <cx:pt idx="12809">1</cx:pt>
          <cx:pt idx="12810">4</cx:pt>
          <cx:pt idx="12811">3</cx:pt>
          <cx:pt idx="12812">1</cx:pt>
          <cx:pt idx="12813">4</cx:pt>
          <cx:pt idx="12814">3</cx:pt>
          <cx:pt idx="12815">5</cx:pt>
          <cx:pt idx="12816">4</cx:pt>
          <cx:pt idx="12817">1</cx:pt>
          <cx:pt idx="12818">2</cx:pt>
          <cx:pt idx="12819">4</cx:pt>
          <cx:pt idx="12820">1</cx:pt>
          <cx:pt idx="12821">2</cx:pt>
          <cx:pt idx="12822">2</cx:pt>
          <cx:pt idx="12823">2</cx:pt>
          <cx:pt idx="12824">5</cx:pt>
          <cx:pt idx="12825">2</cx:pt>
          <cx:pt idx="12826">4</cx:pt>
          <cx:pt idx="12827">1</cx:pt>
          <cx:pt idx="12828">3</cx:pt>
          <cx:pt idx="12829">5</cx:pt>
          <cx:pt idx="12830">5</cx:pt>
          <cx:pt idx="12831">3</cx:pt>
          <cx:pt idx="12832">5</cx:pt>
          <cx:pt idx="12833">4</cx:pt>
          <cx:pt idx="12834">2</cx:pt>
          <cx:pt idx="12835">4</cx:pt>
          <cx:pt idx="12836">5</cx:pt>
          <cx:pt idx="12837">4</cx:pt>
          <cx:pt idx="12838">3</cx:pt>
          <cx:pt idx="12839">4</cx:pt>
          <cx:pt idx="12840">4</cx:pt>
          <cx:pt idx="12841">5</cx:pt>
          <cx:pt idx="12842">2</cx:pt>
          <cx:pt idx="12843">4</cx:pt>
          <cx:pt idx="12844">1</cx:pt>
          <cx:pt idx="12845">2</cx:pt>
          <cx:pt idx="12846">3</cx:pt>
          <cx:pt idx="12847">2</cx:pt>
          <cx:pt idx="12848">1</cx:pt>
          <cx:pt idx="12849">3</cx:pt>
          <cx:pt idx="12850">3</cx:pt>
          <cx:pt idx="12851">5</cx:pt>
          <cx:pt idx="12852">3</cx:pt>
          <cx:pt idx="12853">5</cx:pt>
          <cx:pt idx="12854">5</cx:pt>
          <cx:pt idx="12855">1</cx:pt>
          <cx:pt idx="12856">4</cx:pt>
          <cx:pt idx="12857">4</cx:pt>
          <cx:pt idx="12858">1</cx:pt>
          <cx:pt idx="12859">5</cx:pt>
          <cx:pt idx="12860">1</cx:pt>
          <cx:pt idx="12861">5</cx:pt>
          <cx:pt idx="12862">5</cx:pt>
          <cx:pt idx="12863">5</cx:pt>
          <cx:pt idx="12864">4</cx:pt>
          <cx:pt idx="12865">5</cx:pt>
          <cx:pt idx="12866">4</cx:pt>
          <cx:pt idx="12867">5</cx:pt>
          <cx:pt idx="12868">1</cx:pt>
          <cx:pt idx="12869">4</cx:pt>
          <cx:pt idx="12870">2</cx:pt>
          <cx:pt idx="12871">2</cx:pt>
          <cx:pt idx="12872">5</cx:pt>
          <cx:pt idx="12873">5</cx:pt>
          <cx:pt idx="12874">4</cx:pt>
          <cx:pt idx="12875">2</cx:pt>
          <cx:pt idx="12876">5</cx:pt>
          <cx:pt idx="12877">5</cx:pt>
          <cx:pt idx="12878">2</cx:pt>
          <cx:pt idx="12879">4</cx:pt>
          <cx:pt idx="12880">2</cx:pt>
          <cx:pt idx="12881">2</cx:pt>
          <cx:pt idx="12882">5</cx:pt>
          <cx:pt idx="12883">3</cx:pt>
          <cx:pt idx="12884">4</cx:pt>
          <cx:pt idx="12885">2</cx:pt>
          <cx:pt idx="12886">3</cx:pt>
          <cx:pt idx="12887">4</cx:pt>
          <cx:pt idx="12888">5</cx:pt>
          <cx:pt idx="12889">3</cx:pt>
          <cx:pt idx="12890">3</cx:pt>
          <cx:pt idx="12891">5</cx:pt>
          <cx:pt idx="12892">4</cx:pt>
          <cx:pt idx="12893">4</cx:pt>
          <cx:pt idx="12894">2</cx:pt>
          <cx:pt idx="12895">4</cx:pt>
          <cx:pt idx="12896">5</cx:pt>
          <cx:pt idx="12897">1</cx:pt>
          <cx:pt idx="12898">5</cx:pt>
          <cx:pt idx="12899">3</cx:pt>
          <cx:pt idx="12900">5</cx:pt>
          <cx:pt idx="12901">4</cx:pt>
          <cx:pt idx="12902">4</cx:pt>
          <cx:pt idx="12903">4</cx:pt>
          <cx:pt idx="12904">4</cx:pt>
          <cx:pt idx="12905">4</cx:pt>
          <cx:pt idx="12906">4</cx:pt>
          <cx:pt idx="12907">5</cx:pt>
          <cx:pt idx="12908">3</cx:pt>
          <cx:pt idx="12909">2</cx:pt>
          <cx:pt idx="12910">4</cx:pt>
          <cx:pt idx="12911">4</cx:pt>
          <cx:pt idx="12912">5</cx:pt>
          <cx:pt idx="12913">5</cx:pt>
          <cx:pt idx="12914">4</cx:pt>
          <cx:pt idx="12915">4</cx:pt>
          <cx:pt idx="12916">2</cx:pt>
          <cx:pt idx="12917">3</cx:pt>
          <cx:pt idx="12918">3</cx:pt>
          <cx:pt idx="12919">4</cx:pt>
          <cx:pt idx="12920">4</cx:pt>
          <cx:pt idx="12921">5</cx:pt>
          <cx:pt idx="12922">3</cx:pt>
          <cx:pt idx="12923">4</cx:pt>
          <cx:pt idx="12924">5</cx:pt>
          <cx:pt idx="12925">4</cx:pt>
          <cx:pt idx="12926">2</cx:pt>
          <cx:pt idx="12927">2</cx:pt>
          <cx:pt idx="12928">1</cx:pt>
          <cx:pt idx="12929">5</cx:pt>
          <cx:pt idx="12930">4</cx:pt>
          <cx:pt idx="12931">5</cx:pt>
          <cx:pt idx="12932">2</cx:pt>
          <cx:pt idx="12933">5</cx:pt>
          <cx:pt idx="12934">3</cx:pt>
          <cx:pt idx="12935">1</cx:pt>
          <cx:pt idx="12936">5</cx:pt>
          <cx:pt idx="12937">1</cx:pt>
          <cx:pt idx="12938">4</cx:pt>
          <cx:pt idx="12939">5</cx:pt>
          <cx:pt idx="12940">3</cx:pt>
          <cx:pt idx="12941">4</cx:pt>
          <cx:pt idx="12942">3</cx:pt>
          <cx:pt idx="12943">3</cx:pt>
          <cx:pt idx="12944">3</cx:pt>
          <cx:pt idx="12945">5</cx:pt>
          <cx:pt idx="12946">4</cx:pt>
          <cx:pt idx="12947">5</cx:pt>
          <cx:pt idx="12948">1</cx:pt>
          <cx:pt idx="12949">5</cx:pt>
          <cx:pt idx="12950">5</cx:pt>
          <cx:pt idx="12951">1</cx:pt>
          <cx:pt idx="12952">5</cx:pt>
          <cx:pt idx="12953">5</cx:pt>
          <cx:pt idx="12954">3</cx:pt>
          <cx:pt idx="12955">4</cx:pt>
          <cx:pt idx="12956">5</cx:pt>
          <cx:pt idx="12957">4</cx:pt>
          <cx:pt idx="12958">1</cx:pt>
          <cx:pt idx="12959">3</cx:pt>
          <cx:pt idx="12960">4</cx:pt>
          <cx:pt idx="12961">5</cx:pt>
          <cx:pt idx="12962">1</cx:pt>
          <cx:pt idx="12963">5</cx:pt>
          <cx:pt idx="12964">5</cx:pt>
          <cx:pt idx="12965">4</cx:pt>
          <cx:pt idx="12966">3</cx:pt>
          <cx:pt idx="12967">1</cx:pt>
          <cx:pt idx="12968">5</cx:pt>
          <cx:pt idx="12969">1</cx:pt>
          <cx:pt idx="12970">3</cx:pt>
          <cx:pt idx="12971">1</cx:pt>
          <cx:pt idx="12972">5</cx:pt>
          <cx:pt idx="12973">3</cx:pt>
          <cx:pt idx="12974">5</cx:pt>
          <cx:pt idx="12975">5</cx:pt>
          <cx:pt idx="12976">5</cx:pt>
          <cx:pt idx="12977">2</cx:pt>
          <cx:pt idx="12978">4</cx:pt>
          <cx:pt idx="12979">2</cx:pt>
          <cx:pt idx="12980">5</cx:pt>
          <cx:pt idx="12981">3</cx:pt>
          <cx:pt idx="12982">4</cx:pt>
          <cx:pt idx="12983">4</cx:pt>
          <cx:pt idx="12984">5</cx:pt>
          <cx:pt idx="12985">4</cx:pt>
          <cx:pt idx="12986">5</cx:pt>
          <cx:pt idx="12987">5</cx:pt>
          <cx:pt idx="12988">5</cx:pt>
          <cx:pt idx="12989">3</cx:pt>
          <cx:pt idx="12990">4</cx:pt>
          <cx:pt idx="12991">3</cx:pt>
          <cx:pt idx="12992">3</cx:pt>
          <cx:pt idx="12993">4</cx:pt>
          <cx:pt idx="12994">3</cx:pt>
          <cx:pt idx="12995">1</cx:pt>
          <cx:pt idx="12996">4</cx:pt>
          <cx:pt idx="12997">4</cx:pt>
          <cx:pt idx="12998">5</cx:pt>
          <cx:pt idx="12999">4</cx:pt>
          <cx:pt idx="13000">4</cx:pt>
          <cx:pt idx="13001">3</cx:pt>
          <cx:pt idx="13002">4</cx:pt>
          <cx:pt idx="13003">2</cx:pt>
          <cx:pt idx="13004">2</cx:pt>
          <cx:pt idx="13005">5</cx:pt>
          <cx:pt idx="13006">4</cx:pt>
          <cx:pt idx="13007">4</cx:pt>
          <cx:pt idx="13008">5</cx:pt>
          <cx:pt idx="13009">2</cx:pt>
          <cx:pt idx="13010">4</cx:pt>
          <cx:pt idx="13011">5</cx:pt>
          <cx:pt idx="13012">5</cx:pt>
          <cx:pt idx="13013">2</cx:pt>
          <cx:pt idx="13014">5</cx:pt>
          <cx:pt idx="13015">4</cx:pt>
          <cx:pt idx="13016">5</cx:pt>
          <cx:pt idx="13017">5</cx:pt>
          <cx:pt idx="13018">5</cx:pt>
          <cx:pt idx="13019">4</cx:pt>
          <cx:pt idx="13020">4</cx:pt>
          <cx:pt idx="13021">2</cx:pt>
          <cx:pt idx="13022">4</cx:pt>
          <cx:pt idx="13023">2</cx:pt>
          <cx:pt idx="13024">4</cx:pt>
          <cx:pt idx="13025">5</cx:pt>
          <cx:pt idx="13026">5</cx:pt>
          <cx:pt idx="13027">3</cx:pt>
          <cx:pt idx="13028">4</cx:pt>
          <cx:pt idx="13029">4</cx:pt>
          <cx:pt idx="13030">4</cx:pt>
          <cx:pt idx="13031">2</cx:pt>
          <cx:pt idx="13032">4</cx:pt>
          <cx:pt idx="13033">5</cx:pt>
          <cx:pt idx="13034">3</cx:pt>
          <cx:pt idx="13035">4</cx:pt>
          <cx:pt idx="13036">2</cx:pt>
          <cx:pt idx="13037">3</cx:pt>
          <cx:pt idx="13038">5</cx:pt>
          <cx:pt idx="13039">2</cx:pt>
          <cx:pt idx="13040">2</cx:pt>
          <cx:pt idx="13041">5</cx:pt>
          <cx:pt idx="13042">2</cx:pt>
          <cx:pt idx="13043">2</cx:pt>
          <cx:pt idx="13044">2</cx:pt>
          <cx:pt idx="13045">1</cx:pt>
          <cx:pt idx="13046">1</cx:pt>
          <cx:pt idx="13047">5</cx:pt>
          <cx:pt idx="13048">2</cx:pt>
          <cx:pt idx="13049">5</cx:pt>
          <cx:pt idx="13050">5</cx:pt>
          <cx:pt idx="13051">3</cx:pt>
          <cx:pt idx="13052">2</cx:pt>
          <cx:pt idx="13053">5</cx:pt>
          <cx:pt idx="13054">5</cx:pt>
          <cx:pt idx="13055">4</cx:pt>
          <cx:pt idx="13056">1</cx:pt>
          <cx:pt idx="13057">3</cx:pt>
          <cx:pt idx="13058">2</cx:pt>
          <cx:pt idx="13059">4</cx:pt>
          <cx:pt idx="13060">1</cx:pt>
          <cx:pt idx="13061">4</cx:pt>
          <cx:pt idx="13062">3</cx:pt>
          <cx:pt idx="13063">4</cx:pt>
          <cx:pt idx="13064">1</cx:pt>
          <cx:pt idx="13065">3</cx:pt>
          <cx:pt idx="13066">3</cx:pt>
          <cx:pt idx="13067">4</cx:pt>
          <cx:pt idx="13068">4</cx:pt>
          <cx:pt idx="13069">1</cx:pt>
          <cx:pt idx="13070">4</cx:pt>
          <cx:pt idx="13071">5</cx:pt>
          <cx:pt idx="13072">5</cx:pt>
          <cx:pt idx="13073">3</cx:pt>
          <cx:pt idx="13074">5</cx:pt>
          <cx:pt idx="13075">5</cx:pt>
          <cx:pt idx="13076">2</cx:pt>
          <cx:pt idx="13077">2</cx:pt>
          <cx:pt idx="13078">4</cx:pt>
          <cx:pt idx="13079">1</cx:pt>
          <cx:pt idx="13080">4</cx:pt>
          <cx:pt idx="13081">5</cx:pt>
          <cx:pt idx="13082">5</cx:pt>
          <cx:pt idx="13083">5</cx:pt>
          <cx:pt idx="13084">5</cx:pt>
          <cx:pt idx="13085">3</cx:pt>
          <cx:pt idx="13086">1</cx:pt>
          <cx:pt idx="13087">4</cx:pt>
          <cx:pt idx="13088">4</cx:pt>
          <cx:pt idx="13089">1</cx:pt>
          <cx:pt idx="13090">3</cx:pt>
          <cx:pt idx="13091">1</cx:pt>
          <cx:pt idx="13092">3</cx:pt>
          <cx:pt idx="13093">2</cx:pt>
          <cx:pt idx="13094">4</cx:pt>
          <cx:pt idx="13095">4</cx:pt>
          <cx:pt idx="13096">4</cx:pt>
          <cx:pt idx="13097">2</cx:pt>
          <cx:pt idx="13098">5</cx:pt>
          <cx:pt idx="13099">5</cx:pt>
          <cx:pt idx="13100">3</cx:pt>
          <cx:pt idx="13101">2</cx:pt>
          <cx:pt idx="13102">3</cx:pt>
          <cx:pt idx="13103">5</cx:pt>
          <cx:pt idx="13104">1</cx:pt>
          <cx:pt idx="13105">4</cx:pt>
          <cx:pt idx="13106">4</cx:pt>
          <cx:pt idx="13107">2</cx:pt>
          <cx:pt idx="13108">1</cx:pt>
          <cx:pt idx="13109">1</cx:pt>
          <cx:pt idx="13110">1</cx:pt>
          <cx:pt idx="13111">4</cx:pt>
          <cx:pt idx="13112">5</cx:pt>
          <cx:pt idx="13113">4</cx:pt>
          <cx:pt idx="13114">3</cx:pt>
          <cx:pt idx="13115">3</cx:pt>
          <cx:pt idx="13116">3</cx:pt>
          <cx:pt idx="13117">5</cx:pt>
          <cx:pt idx="13118">3</cx:pt>
          <cx:pt idx="13119">2</cx:pt>
          <cx:pt idx="13120">3</cx:pt>
          <cx:pt idx="13121">5</cx:pt>
          <cx:pt idx="13122">5</cx:pt>
          <cx:pt idx="13123">5</cx:pt>
          <cx:pt idx="13124">4</cx:pt>
          <cx:pt idx="13125">5</cx:pt>
          <cx:pt idx="13126">1</cx:pt>
          <cx:pt idx="13127">1</cx:pt>
          <cx:pt idx="13128">5</cx:pt>
          <cx:pt idx="13129">4</cx:pt>
          <cx:pt idx="13130">3</cx:pt>
          <cx:pt idx="13131">3</cx:pt>
          <cx:pt idx="13132">1</cx:pt>
          <cx:pt idx="13133">4</cx:pt>
          <cx:pt idx="13134">3</cx:pt>
          <cx:pt idx="13135">4</cx:pt>
          <cx:pt idx="13136">2</cx:pt>
          <cx:pt idx="13137">4</cx:pt>
          <cx:pt idx="13138">3</cx:pt>
          <cx:pt idx="13139">2</cx:pt>
          <cx:pt idx="13140">4</cx:pt>
          <cx:pt idx="13141">4</cx:pt>
          <cx:pt idx="13142">4</cx:pt>
          <cx:pt idx="13143">5</cx:pt>
          <cx:pt idx="13144">5</cx:pt>
          <cx:pt idx="13145">5</cx:pt>
          <cx:pt idx="13146">3</cx:pt>
          <cx:pt idx="13147">4</cx:pt>
          <cx:pt idx="13148">5</cx:pt>
          <cx:pt idx="13149">3</cx:pt>
          <cx:pt idx="13150">5</cx:pt>
          <cx:pt idx="13151">3</cx:pt>
          <cx:pt idx="13152">4</cx:pt>
          <cx:pt idx="13153">4</cx:pt>
          <cx:pt idx="13154">1</cx:pt>
          <cx:pt idx="13155">4</cx:pt>
          <cx:pt idx="13156">1</cx:pt>
          <cx:pt idx="13157">2</cx:pt>
          <cx:pt idx="13158">3</cx:pt>
          <cx:pt idx="13159">5</cx:pt>
          <cx:pt idx="13160">1</cx:pt>
          <cx:pt idx="13161">3</cx:pt>
          <cx:pt idx="13162">3</cx:pt>
          <cx:pt idx="13163">2</cx:pt>
          <cx:pt idx="13164">4</cx:pt>
          <cx:pt idx="13165">1</cx:pt>
          <cx:pt idx="13166">3</cx:pt>
          <cx:pt idx="13167">4</cx:pt>
          <cx:pt idx="13168">2</cx:pt>
          <cx:pt idx="13169">5</cx:pt>
          <cx:pt idx="13170">3</cx:pt>
          <cx:pt idx="13171">5</cx:pt>
          <cx:pt idx="13172">2</cx:pt>
          <cx:pt idx="13173">1</cx:pt>
          <cx:pt idx="13174">5</cx:pt>
          <cx:pt idx="13175">1</cx:pt>
          <cx:pt idx="13176">5</cx:pt>
          <cx:pt idx="13177">4</cx:pt>
          <cx:pt idx="13178">5</cx:pt>
          <cx:pt idx="13179">2</cx:pt>
          <cx:pt idx="13180">3</cx:pt>
          <cx:pt idx="13181">5</cx:pt>
          <cx:pt idx="13182">3</cx:pt>
          <cx:pt idx="13183">4</cx:pt>
          <cx:pt idx="13184">4</cx:pt>
          <cx:pt idx="13185">5</cx:pt>
          <cx:pt idx="13186">4</cx:pt>
          <cx:pt idx="13187">4</cx:pt>
          <cx:pt idx="13188">4</cx:pt>
          <cx:pt idx="13189">1</cx:pt>
          <cx:pt idx="13190">4</cx:pt>
          <cx:pt idx="13191">4</cx:pt>
          <cx:pt idx="13192">5</cx:pt>
          <cx:pt idx="13193">4</cx:pt>
          <cx:pt idx="13194">5</cx:pt>
          <cx:pt idx="13195">5</cx:pt>
          <cx:pt idx="13196">5</cx:pt>
          <cx:pt idx="13197">2</cx:pt>
          <cx:pt idx="13198">2</cx:pt>
          <cx:pt idx="13199">5</cx:pt>
          <cx:pt idx="13200">3</cx:pt>
          <cx:pt idx="13201">4</cx:pt>
          <cx:pt idx="13202">4</cx:pt>
          <cx:pt idx="13203">4</cx:pt>
          <cx:pt idx="13204">2</cx:pt>
          <cx:pt idx="13205">3</cx:pt>
          <cx:pt idx="13206">2</cx:pt>
          <cx:pt idx="13207">5</cx:pt>
          <cx:pt idx="13208">3</cx:pt>
          <cx:pt idx="13209">3</cx:pt>
          <cx:pt idx="13210">5</cx:pt>
          <cx:pt idx="13211">4</cx:pt>
          <cx:pt idx="13212">3</cx:pt>
          <cx:pt idx="13213">1</cx:pt>
          <cx:pt idx="13214">4</cx:pt>
          <cx:pt idx="13215">5</cx:pt>
          <cx:pt idx="13216">1</cx:pt>
          <cx:pt idx="13217">4</cx:pt>
          <cx:pt idx="13218">3</cx:pt>
          <cx:pt idx="13219">4</cx:pt>
          <cx:pt idx="13220">5</cx:pt>
          <cx:pt idx="13221">4</cx:pt>
          <cx:pt idx="13222">5</cx:pt>
          <cx:pt idx="13223">3</cx:pt>
          <cx:pt idx="13224">2</cx:pt>
          <cx:pt idx="13225">4</cx:pt>
          <cx:pt idx="13226">5</cx:pt>
          <cx:pt idx="13227">4</cx:pt>
          <cx:pt idx="13228">4</cx:pt>
          <cx:pt idx="13229">3</cx:pt>
          <cx:pt idx="13230">3</cx:pt>
          <cx:pt idx="13231">3</cx:pt>
          <cx:pt idx="13232">5</cx:pt>
          <cx:pt idx="13233">1</cx:pt>
          <cx:pt idx="13234">5</cx:pt>
          <cx:pt idx="13235">3</cx:pt>
          <cx:pt idx="13236">5</cx:pt>
          <cx:pt idx="13237">5</cx:pt>
          <cx:pt idx="13238">4</cx:pt>
          <cx:pt idx="13239">4</cx:pt>
          <cx:pt idx="13240">1</cx:pt>
          <cx:pt idx="13241">4</cx:pt>
          <cx:pt idx="13242">1</cx:pt>
          <cx:pt idx="13243">2</cx:pt>
          <cx:pt idx="13244">4</cx:pt>
          <cx:pt idx="13245">5</cx:pt>
          <cx:pt idx="13246">1</cx:pt>
          <cx:pt idx="13247">3</cx:pt>
          <cx:pt idx="13248">1</cx:pt>
          <cx:pt idx="13249">3</cx:pt>
          <cx:pt idx="13250">3</cx:pt>
          <cx:pt idx="13251">4</cx:pt>
          <cx:pt idx="13252">2</cx:pt>
          <cx:pt idx="13253">3</cx:pt>
          <cx:pt idx="13254">3</cx:pt>
          <cx:pt idx="13255">4</cx:pt>
          <cx:pt idx="13256">4</cx:pt>
          <cx:pt idx="13257">1</cx:pt>
          <cx:pt idx="13258">3</cx:pt>
          <cx:pt idx="13259">4</cx:pt>
          <cx:pt idx="13260">5</cx:pt>
          <cx:pt idx="13261">1</cx:pt>
          <cx:pt idx="13262">5</cx:pt>
          <cx:pt idx="13263">2</cx:pt>
          <cx:pt idx="13264">1</cx:pt>
          <cx:pt idx="13265">5</cx:pt>
          <cx:pt idx="13266">1</cx:pt>
          <cx:pt idx="13267">3</cx:pt>
          <cx:pt idx="13268">1</cx:pt>
          <cx:pt idx="13269">5</cx:pt>
          <cx:pt idx="13270">4</cx:pt>
          <cx:pt idx="13271">5</cx:pt>
          <cx:pt idx="13272">1</cx:pt>
          <cx:pt idx="13273">3</cx:pt>
          <cx:pt idx="13274">2</cx:pt>
          <cx:pt idx="13275">5</cx:pt>
          <cx:pt idx="13276">4</cx:pt>
          <cx:pt idx="13277">2</cx:pt>
          <cx:pt idx="13278">4</cx:pt>
          <cx:pt idx="13279">3</cx:pt>
          <cx:pt idx="13280">4</cx:pt>
          <cx:pt idx="13281">5</cx:pt>
          <cx:pt idx="13282">4</cx:pt>
          <cx:pt idx="13283">4</cx:pt>
          <cx:pt idx="13284">1</cx:pt>
          <cx:pt idx="13285">2</cx:pt>
          <cx:pt idx="13286">2</cx:pt>
          <cx:pt idx="13287">2</cx:pt>
          <cx:pt idx="13288">4</cx:pt>
          <cx:pt idx="13289">4</cx:pt>
          <cx:pt idx="13290">1</cx:pt>
          <cx:pt idx="13291">1</cx:pt>
          <cx:pt idx="13292">3</cx:pt>
          <cx:pt idx="13293">5</cx:pt>
          <cx:pt idx="13294">3</cx:pt>
          <cx:pt idx="13295">4</cx:pt>
          <cx:pt idx="13296">1</cx:pt>
          <cx:pt idx="13297">4</cx:pt>
          <cx:pt idx="13298">4</cx:pt>
          <cx:pt idx="13299">5</cx:pt>
          <cx:pt idx="13300">5</cx:pt>
          <cx:pt idx="13301">2</cx:pt>
          <cx:pt idx="13302">4</cx:pt>
          <cx:pt idx="13303">5</cx:pt>
          <cx:pt idx="13304">3</cx:pt>
          <cx:pt idx="13305">4</cx:pt>
          <cx:pt idx="13306">4</cx:pt>
          <cx:pt idx="13307">5</cx:pt>
          <cx:pt idx="13308">4</cx:pt>
          <cx:pt idx="13309">1</cx:pt>
          <cx:pt idx="13310">2</cx:pt>
          <cx:pt idx="13311">2</cx:pt>
          <cx:pt idx="13312">1</cx:pt>
          <cx:pt idx="13313">2</cx:pt>
          <cx:pt idx="13314">4</cx:pt>
          <cx:pt idx="13315">5</cx:pt>
          <cx:pt idx="13316">2</cx:pt>
          <cx:pt idx="13317">4</cx:pt>
          <cx:pt idx="13318">3</cx:pt>
          <cx:pt idx="13319">1</cx:pt>
          <cx:pt idx="13320">1</cx:pt>
          <cx:pt idx="13321">4</cx:pt>
          <cx:pt idx="13322">5</cx:pt>
          <cx:pt idx="13323">3</cx:pt>
          <cx:pt idx="13324">4</cx:pt>
          <cx:pt idx="13325">3</cx:pt>
          <cx:pt idx="13326">2</cx:pt>
          <cx:pt idx="13327">3</cx:pt>
          <cx:pt idx="13328">5</cx:pt>
          <cx:pt idx="13329">5</cx:pt>
          <cx:pt idx="13330">4</cx:pt>
          <cx:pt idx="13331">4</cx:pt>
          <cx:pt idx="13332">4</cx:pt>
          <cx:pt idx="13333">1</cx:pt>
          <cx:pt idx="13334">5</cx:pt>
          <cx:pt idx="13335">3</cx:pt>
          <cx:pt idx="13336">2</cx:pt>
          <cx:pt idx="13337">5</cx:pt>
          <cx:pt idx="13338">5</cx:pt>
          <cx:pt idx="13339">4</cx:pt>
          <cx:pt idx="13340">3</cx:pt>
          <cx:pt idx="13341">2</cx:pt>
          <cx:pt idx="13342">2</cx:pt>
          <cx:pt idx="13343">1</cx:pt>
          <cx:pt idx="13344">1</cx:pt>
          <cx:pt idx="13345">3</cx:pt>
          <cx:pt idx="13346">5</cx:pt>
          <cx:pt idx="13347">4</cx:pt>
          <cx:pt idx="13348">5</cx:pt>
          <cx:pt idx="13349">5</cx:pt>
          <cx:pt idx="13350">3</cx:pt>
          <cx:pt idx="13351">4</cx:pt>
          <cx:pt idx="13352">5</cx:pt>
          <cx:pt idx="13353">2</cx:pt>
          <cx:pt idx="13354">1</cx:pt>
          <cx:pt idx="13355">3</cx:pt>
          <cx:pt idx="13356">3</cx:pt>
          <cx:pt idx="13357">5</cx:pt>
          <cx:pt idx="13358">5</cx:pt>
          <cx:pt idx="13359">4</cx:pt>
          <cx:pt idx="13360">4</cx:pt>
          <cx:pt idx="13361">4</cx:pt>
          <cx:pt idx="13362">4</cx:pt>
          <cx:pt idx="13363">3</cx:pt>
          <cx:pt idx="13364">2</cx:pt>
          <cx:pt idx="13365">4</cx:pt>
          <cx:pt idx="13366">4</cx:pt>
          <cx:pt idx="13367">2</cx:pt>
          <cx:pt idx="13368">1</cx:pt>
          <cx:pt idx="13369">4</cx:pt>
          <cx:pt idx="13370">2</cx:pt>
          <cx:pt idx="13371">4</cx:pt>
          <cx:pt idx="13372">5</cx:pt>
          <cx:pt idx="13373">5</cx:pt>
          <cx:pt idx="13374">4</cx:pt>
          <cx:pt idx="13375">1</cx:pt>
          <cx:pt idx="13376">4</cx:pt>
          <cx:pt idx="13377">4</cx:pt>
          <cx:pt idx="13378">1</cx:pt>
          <cx:pt idx="13379">2</cx:pt>
          <cx:pt idx="13380">5</cx:pt>
          <cx:pt idx="13381">2</cx:pt>
          <cx:pt idx="13382">5</cx:pt>
          <cx:pt idx="13383">4</cx:pt>
          <cx:pt idx="13384">3</cx:pt>
          <cx:pt idx="13385">2</cx:pt>
          <cx:pt idx="13386">2</cx:pt>
          <cx:pt idx="13387">1</cx:pt>
          <cx:pt idx="13388">5</cx:pt>
          <cx:pt idx="13389">5</cx:pt>
          <cx:pt idx="13390">4</cx:pt>
          <cx:pt idx="13391">5</cx:pt>
          <cx:pt idx="13392">1</cx:pt>
          <cx:pt idx="13393">4</cx:pt>
          <cx:pt idx="13394">3</cx:pt>
          <cx:pt idx="13395">4</cx:pt>
          <cx:pt idx="13396">1</cx:pt>
          <cx:pt idx="13397">4</cx:pt>
          <cx:pt idx="13398">4</cx:pt>
          <cx:pt idx="13399">2</cx:pt>
          <cx:pt idx="13400">4</cx:pt>
          <cx:pt idx="13401">4</cx:pt>
          <cx:pt idx="13402">1</cx:pt>
          <cx:pt idx="13403">5</cx:pt>
          <cx:pt idx="13404">2</cx:pt>
          <cx:pt idx="13405">5</cx:pt>
          <cx:pt idx="13406">2</cx:pt>
          <cx:pt idx="13407">4</cx:pt>
          <cx:pt idx="13408">4</cx:pt>
          <cx:pt idx="13409">4</cx:pt>
          <cx:pt idx="13410">4</cx:pt>
          <cx:pt idx="13411">2</cx:pt>
          <cx:pt idx="13412">4</cx:pt>
          <cx:pt idx="13413">4</cx:pt>
          <cx:pt idx="13414">1</cx:pt>
          <cx:pt idx="13415">4</cx:pt>
          <cx:pt idx="13416">2</cx:pt>
          <cx:pt idx="13417">1</cx:pt>
          <cx:pt idx="13418">2</cx:pt>
          <cx:pt idx="13419">1</cx:pt>
          <cx:pt idx="13420">4</cx:pt>
          <cx:pt idx="13421">4</cx:pt>
          <cx:pt idx="13422">2</cx:pt>
          <cx:pt idx="13423">4</cx:pt>
          <cx:pt idx="13424">1</cx:pt>
          <cx:pt idx="13425">4</cx:pt>
          <cx:pt idx="13426">3</cx:pt>
          <cx:pt idx="13427">1</cx:pt>
          <cx:pt idx="13428">5</cx:pt>
          <cx:pt idx="13429">3</cx:pt>
          <cx:pt idx="13430">3</cx:pt>
          <cx:pt idx="13431">3</cx:pt>
          <cx:pt idx="13432">2</cx:pt>
          <cx:pt idx="13433">4</cx:pt>
          <cx:pt idx="13434">4</cx:pt>
          <cx:pt idx="13435">5</cx:pt>
          <cx:pt idx="13436">2</cx:pt>
          <cx:pt idx="13437">5</cx:pt>
          <cx:pt idx="13438">4</cx:pt>
          <cx:pt idx="13439">5</cx:pt>
          <cx:pt idx="13440">5</cx:pt>
          <cx:pt idx="13441">4</cx:pt>
          <cx:pt idx="13442">5</cx:pt>
          <cx:pt idx="13443">5</cx:pt>
          <cx:pt idx="13444">3</cx:pt>
          <cx:pt idx="13445">5</cx:pt>
          <cx:pt idx="13446">4</cx:pt>
          <cx:pt idx="13447">3</cx:pt>
          <cx:pt idx="13448">5</cx:pt>
          <cx:pt idx="13449">4</cx:pt>
          <cx:pt idx="13450">4</cx:pt>
          <cx:pt idx="13451">2</cx:pt>
          <cx:pt idx="13452">4</cx:pt>
          <cx:pt idx="13453">2</cx:pt>
          <cx:pt idx="13454">3</cx:pt>
          <cx:pt idx="13455">5</cx:pt>
          <cx:pt idx="13456">4</cx:pt>
          <cx:pt idx="13457">2</cx:pt>
          <cx:pt idx="13458">4</cx:pt>
          <cx:pt idx="13459">1</cx:pt>
          <cx:pt idx="13460">5</cx:pt>
          <cx:pt idx="13461">4</cx:pt>
          <cx:pt idx="13462">4</cx:pt>
          <cx:pt idx="13463">2</cx:pt>
          <cx:pt idx="13464">5</cx:pt>
          <cx:pt idx="13465">2</cx:pt>
          <cx:pt idx="13466">5</cx:pt>
          <cx:pt idx="13467">1</cx:pt>
          <cx:pt idx="13468">2</cx:pt>
          <cx:pt idx="13469">5</cx:pt>
          <cx:pt idx="13470">5</cx:pt>
          <cx:pt idx="13471">2</cx:pt>
          <cx:pt idx="13472">4</cx:pt>
          <cx:pt idx="13473">2</cx:pt>
          <cx:pt idx="13474">5</cx:pt>
          <cx:pt idx="13475">3</cx:pt>
          <cx:pt idx="13476">5</cx:pt>
          <cx:pt idx="13477">1</cx:pt>
          <cx:pt idx="13478">5</cx:pt>
          <cx:pt idx="13479">5</cx:pt>
          <cx:pt idx="13480">5</cx:pt>
          <cx:pt idx="13481">5</cx:pt>
          <cx:pt idx="13482">5</cx:pt>
          <cx:pt idx="13483">4</cx:pt>
          <cx:pt idx="13484">2</cx:pt>
          <cx:pt idx="13485">5</cx:pt>
          <cx:pt idx="13486">4</cx:pt>
          <cx:pt idx="13487">4</cx:pt>
          <cx:pt idx="13488">1</cx:pt>
          <cx:pt idx="13489">2</cx:pt>
          <cx:pt idx="13490">5</cx:pt>
          <cx:pt idx="13491">3</cx:pt>
          <cx:pt idx="13492">4</cx:pt>
          <cx:pt idx="13493">2</cx:pt>
          <cx:pt idx="13494">5</cx:pt>
          <cx:pt idx="13495">4</cx:pt>
          <cx:pt idx="13496">3</cx:pt>
          <cx:pt idx="13497">3</cx:pt>
          <cx:pt idx="13498">2</cx:pt>
          <cx:pt idx="13499">5</cx:pt>
          <cx:pt idx="13500">5</cx:pt>
          <cx:pt idx="13501">4</cx:pt>
          <cx:pt idx="13502">5</cx:pt>
          <cx:pt idx="13503">4</cx:pt>
          <cx:pt idx="13504">2</cx:pt>
          <cx:pt idx="13505">3</cx:pt>
          <cx:pt idx="13506">4</cx:pt>
          <cx:pt idx="13507">5</cx:pt>
          <cx:pt idx="13508">2</cx:pt>
          <cx:pt idx="13509">4</cx:pt>
          <cx:pt idx="13510">2</cx:pt>
          <cx:pt idx="13511">4</cx:pt>
          <cx:pt idx="13512">5</cx:pt>
          <cx:pt idx="13513">3</cx:pt>
          <cx:pt idx="13514">1</cx:pt>
          <cx:pt idx="13515">5</cx:pt>
          <cx:pt idx="13516">5</cx:pt>
          <cx:pt idx="13517">3</cx:pt>
          <cx:pt idx="13518">4</cx:pt>
          <cx:pt idx="13519">4</cx:pt>
          <cx:pt idx="13520">3</cx:pt>
          <cx:pt idx="13521">4</cx:pt>
          <cx:pt idx="13522">4</cx:pt>
          <cx:pt idx="13523">4</cx:pt>
          <cx:pt idx="13524">4</cx:pt>
          <cx:pt idx="13525">5</cx:pt>
          <cx:pt idx="13526">2</cx:pt>
          <cx:pt idx="13527">1</cx:pt>
          <cx:pt idx="13528">5</cx:pt>
          <cx:pt idx="13529">1</cx:pt>
          <cx:pt idx="13530">5</cx:pt>
          <cx:pt idx="13531">5</cx:pt>
          <cx:pt idx="13532">4</cx:pt>
          <cx:pt idx="13533">5</cx:pt>
          <cx:pt idx="13534">5</cx:pt>
          <cx:pt idx="13535">4</cx:pt>
          <cx:pt idx="13536">4</cx:pt>
          <cx:pt idx="13537">3</cx:pt>
          <cx:pt idx="13538">2</cx:pt>
          <cx:pt idx="13539">3</cx:pt>
          <cx:pt idx="13540">3</cx:pt>
          <cx:pt idx="13541">5</cx:pt>
          <cx:pt idx="13542">3</cx:pt>
          <cx:pt idx="13543">3</cx:pt>
          <cx:pt idx="13544">4</cx:pt>
          <cx:pt idx="13545">5</cx:pt>
          <cx:pt idx="13546">4</cx:pt>
          <cx:pt idx="13547">5</cx:pt>
          <cx:pt idx="13548">4</cx:pt>
          <cx:pt idx="13549">4</cx:pt>
          <cx:pt idx="13550">5</cx:pt>
          <cx:pt idx="13551">4</cx:pt>
          <cx:pt idx="13552">2</cx:pt>
          <cx:pt idx="13553">4</cx:pt>
          <cx:pt idx="13554">5</cx:pt>
          <cx:pt idx="13555">4</cx:pt>
          <cx:pt idx="13556">4</cx:pt>
          <cx:pt idx="13557">4</cx:pt>
          <cx:pt idx="13558">3</cx:pt>
          <cx:pt idx="13559">1</cx:pt>
          <cx:pt idx="13560">4</cx:pt>
          <cx:pt idx="13561">5</cx:pt>
          <cx:pt idx="13562">4</cx:pt>
          <cx:pt idx="13563">4</cx:pt>
          <cx:pt idx="13564">5</cx:pt>
          <cx:pt idx="13565">4</cx:pt>
          <cx:pt idx="13566">4</cx:pt>
          <cx:pt idx="13567">4</cx:pt>
          <cx:pt idx="13568">3</cx:pt>
          <cx:pt idx="13569">1</cx:pt>
          <cx:pt idx="13570">3</cx:pt>
          <cx:pt idx="13571">5</cx:pt>
          <cx:pt idx="13572">4</cx:pt>
          <cx:pt idx="13573">1</cx:pt>
          <cx:pt idx="13574">4</cx:pt>
          <cx:pt idx="13575">4</cx:pt>
          <cx:pt idx="13576">1</cx:pt>
          <cx:pt idx="13577">2</cx:pt>
          <cx:pt idx="13578">4</cx:pt>
          <cx:pt idx="13579">4</cx:pt>
          <cx:pt idx="13580">2</cx:pt>
          <cx:pt idx="13581">3</cx:pt>
          <cx:pt idx="13582">3</cx:pt>
          <cx:pt idx="13583">3</cx:pt>
          <cx:pt idx="13584">1</cx:pt>
          <cx:pt idx="13585">3</cx:pt>
          <cx:pt idx="13586">5</cx:pt>
          <cx:pt idx="13587">1</cx:pt>
          <cx:pt idx="13588">5</cx:pt>
          <cx:pt idx="13589">3</cx:pt>
          <cx:pt idx="13590">3</cx:pt>
          <cx:pt idx="13591">5</cx:pt>
          <cx:pt idx="13592">4</cx:pt>
          <cx:pt idx="13593">4</cx:pt>
          <cx:pt idx="13594">3</cx:pt>
          <cx:pt idx="13595">5</cx:pt>
          <cx:pt idx="13596">3</cx:pt>
          <cx:pt idx="13597">3</cx:pt>
          <cx:pt idx="13598">2</cx:pt>
          <cx:pt idx="13599">4</cx:pt>
          <cx:pt idx="13600">2</cx:pt>
          <cx:pt idx="13601">1</cx:pt>
          <cx:pt idx="13602">2</cx:pt>
          <cx:pt idx="13603">1</cx:pt>
          <cx:pt idx="13604">5</cx:pt>
          <cx:pt idx="13605">4</cx:pt>
          <cx:pt idx="13606">5</cx:pt>
          <cx:pt idx="13607">4</cx:pt>
          <cx:pt idx="13608">1</cx:pt>
          <cx:pt idx="13609">4</cx:pt>
          <cx:pt idx="13610">3</cx:pt>
          <cx:pt idx="13611">2</cx:pt>
          <cx:pt idx="13612">4</cx:pt>
          <cx:pt idx="13613">5</cx:pt>
          <cx:pt idx="13614">3</cx:pt>
          <cx:pt idx="13615">4</cx:pt>
          <cx:pt idx="13616">5</cx:pt>
          <cx:pt idx="13617">3</cx:pt>
          <cx:pt idx="13618">4</cx:pt>
          <cx:pt idx="13619">4</cx:pt>
          <cx:pt idx="13620">4</cx:pt>
          <cx:pt idx="13621">1</cx:pt>
          <cx:pt idx="13622">4</cx:pt>
          <cx:pt idx="13623">5</cx:pt>
          <cx:pt idx="13624">5</cx:pt>
          <cx:pt idx="13625">1</cx:pt>
          <cx:pt idx="13626">5</cx:pt>
          <cx:pt idx="13627">5</cx:pt>
          <cx:pt idx="13628">1</cx:pt>
          <cx:pt idx="13629">3</cx:pt>
          <cx:pt idx="13630">4</cx:pt>
          <cx:pt idx="13631">5</cx:pt>
          <cx:pt idx="13632">4</cx:pt>
          <cx:pt idx="13633">1</cx:pt>
          <cx:pt idx="13634">2</cx:pt>
          <cx:pt idx="13635">4</cx:pt>
          <cx:pt idx="13636">2</cx:pt>
          <cx:pt idx="13637">5</cx:pt>
          <cx:pt idx="13638">3</cx:pt>
          <cx:pt idx="13639">5</cx:pt>
          <cx:pt idx="13640">2</cx:pt>
          <cx:pt idx="13641">5</cx:pt>
          <cx:pt idx="13642">4</cx:pt>
          <cx:pt idx="13643">3</cx:pt>
          <cx:pt idx="13644">2</cx:pt>
          <cx:pt idx="13645">2</cx:pt>
          <cx:pt idx="13646">3</cx:pt>
          <cx:pt idx="13647">2</cx:pt>
          <cx:pt idx="13648">5</cx:pt>
          <cx:pt idx="13649">4</cx:pt>
          <cx:pt idx="13650">4</cx:pt>
          <cx:pt idx="13651">5</cx:pt>
          <cx:pt idx="13652">4</cx:pt>
          <cx:pt idx="13653">3</cx:pt>
          <cx:pt idx="13654">4</cx:pt>
          <cx:pt idx="13655">4</cx:pt>
          <cx:pt idx="13656">1</cx:pt>
          <cx:pt idx="13657">5</cx:pt>
          <cx:pt idx="13658">5</cx:pt>
          <cx:pt idx="13659">4</cx:pt>
          <cx:pt idx="13660">5</cx:pt>
          <cx:pt idx="13661">5</cx:pt>
          <cx:pt idx="13662">4</cx:pt>
          <cx:pt idx="13663">4</cx:pt>
          <cx:pt idx="13664">2</cx:pt>
          <cx:pt idx="13665">3</cx:pt>
          <cx:pt idx="13666">4</cx:pt>
          <cx:pt idx="13667">4</cx:pt>
          <cx:pt idx="13668">2</cx:pt>
          <cx:pt idx="13669">4</cx:pt>
          <cx:pt idx="13670">5</cx:pt>
          <cx:pt idx="13671">4</cx:pt>
          <cx:pt idx="13672">2</cx:pt>
          <cx:pt idx="13673">5</cx:pt>
          <cx:pt idx="13674">4</cx:pt>
          <cx:pt idx="13675">4</cx:pt>
          <cx:pt idx="13676">4</cx:pt>
          <cx:pt idx="13677">5</cx:pt>
          <cx:pt idx="13678">2</cx:pt>
          <cx:pt idx="13679">2</cx:pt>
          <cx:pt idx="13680">4</cx:pt>
          <cx:pt idx="13681">3</cx:pt>
          <cx:pt idx="13682">4</cx:pt>
          <cx:pt idx="13683">5</cx:pt>
          <cx:pt idx="13684">3</cx:pt>
          <cx:pt idx="13685">4</cx:pt>
          <cx:pt idx="13686">4</cx:pt>
          <cx:pt idx="13687">3</cx:pt>
          <cx:pt idx="13688">3</cx:pt>
          <cx:pt idx="13689">2</cx:pt>
          <cx:pt idx="13690">3</cx:pt>
          <cx:pt idx="13691">1</cx:pt>
          <cx:pt idx="13692">3</cx:pt>
          <cx:pt idx="13693">1</cx:pt>
          <cx:pt idx="13694">5</cx:pt>
          <cx:pt idx="13695">5</cx:pt>
          <cx:pt idx="13696">5</cx:pt>
          <cx:pt idx="13697">3</cx:pt>
          <cx:pt idx="13698">5</cx:pt>
          <cx:pt idx="13699">5</cx:pt>
          <cx:pt idx="13700">5</cx:pt>
          <cx:pt idx="13701">2</cx:pt>
          <cx:pt idx="13702">2</cx:pt>
          <cx:pt idx="13703">2</cx:pt>
          <cx:pt idx="13704">4</cx:pt>
          <cx:pt idx="13705">3</cx:pt>
          <cx:pt idx="13706">2</cx:pt>
          <cx:pt idx="13707">3</cx:pt>
          <cx:pt idx="13708">4</cx:pt>
          <cx:pt idx="13709">5</cx:pt>
          <cx:pt idx="13710">1</cx:pt>
          <cx:pt idx="13711">4</cx:pt>
          <cx:pt idx="13712">4</cx:pt>
          <cx:pt idx="13713">1</cx:pt>
          <cx:pt idx="13714">5</cx:pt>
          <cx:pt idx="13715">2</cx:pt>
          <cx:pt idx="13716">4</cx:pt>
          <cx:pt idx="13717">3</cx:pt>
          <cx:pt idx="13718">5</cx:pt>
          <cx:pt idx="13719">4</cx:pt>
          <cx:pt idx="13720">5</cx:pt>
          <cx:pt idx="13721">3</cx:pt>
          <cx:pt idx="13722">1</cx:pt>
          <cx:pt idx="13723">5</cx:pt>
          <cx:pt idx="13724">4</cx:pt>
          <cx:pt idx="13725">4</cx:pt>
          <cx:pt idx="13726">2</cx:pt>
          <cx:pt idx="13727">2</cx:pt>
          <cx:pt idx="13728">3</cx:pt>
          <cx:pt idx="13729">1</cx:pt>
          <cx:pt idx="13730">2</cx:pt>
          <cx:pt idx="13731">3</cx:pt>
          <cx:pt idx="13732">5</cx:pt>
          <cx:pt idx="13733">4</cx:pt>
          <cx:pt idx="13734">4</cx:pt>
          <cx:pt idx="13735">4</cx:pt>
          <cx:pt idx="13736">2</cx:pt>
          <cx:pt idx="13737">3</cx:pt>
          <cx:pt idx="13738">4</cx:pt>
          <cx:pt idx="13739">2</cx:pt>
          <cx:pt idx="13740">2</cx:pt>
          <cx:pt idx="13741">4</cx:pt>
          <cx:pt idx="13742">5</cx:pt>
          <cx:pt idx="13743">4</cx:pt>
          <cx:pt idx="13744">3</cx:pt>
          <cx:pt idx="13745">3</cx:pt>
          <cx:pt idx="13746">5</cx:pt>
          <cx:pt idx="13747">1</cx:pt>
          <cx:pt idx="13748">5</cx:pt>
          <cx:pt idx="13749">2</cx:pt>
          <cx:pt idx="13750">2</cx:pt>
          <cx:pt idx="13751">5</cx:pt>
          <cx:pt idx="13752">4</cx:pt>
          <cx:pt idx="13753">2</cx:pt>
          <cx:pt idx="13754">4</cx:pt>
          <cx:pt idx="13755">4</cx:pt>
          <cx:pt idx="13756">1</cx:pt>
          <cx:pt idx="13757">3</cx:pt>
          <cx:pt idx="13758">5</cx:pt>
          <cx:pt idx="13759">4</cx:pt>
          <cx:pt idx="13760">4</cx:pt>
          <cx:pt idx="13761">5</cx:pt>
          <cx:pt idx="13762">5</cx:pt>
          <cx:pt idx="13763">4</cx:pt>
          <cx:pt idx="13764">3</cx:pt>
          <cx:pt idx="13765">2</cx:pt>
          <cx:pt idx="13766">1</cx:pt>
          <cx:pt idx="13767">3</cx:pt>
          <cx:pt idx="13768">5</cx:pt>
          <cx:pt idx="13769">3</cx:pt>
          <cx:pt idx="13770">4</cx:pt>
          <cx:pt idx="13771">4</cx:pt>
          <cx:pt idx="13772">4</cx:pt>
          <cx:pt idx="13773">2</cx:pt>
          <cx:pt idx="13774">4</cx:pt>
          <cx:pt idx="13775">5</cx:pt>
          <cx:pt idx="13776">3</cx:pt>
          <cx:pt idx="13777">1</cx:pt>
          <cx:pt idx="13778">2</cx:pt>
          <cx:pt idx="13779">4</cx:pt>
          <cx:pt idx="13780">2</cx:pt>
          <cx:pt idx="13781">1</cx:pt>
          <cx:pt idx="13782">5</cx:pt>
          <cx:pt idx="13783">5</cx:pt>
          <cx:pt idx="13784">1</cx:pt>
          <cx:pt idx="13785">3</cx:pt>
          <cx:pt idx="13786">4</cx:pt>
          <cx:pt idx="13787">5</cx:pt>
          <cx:pt idx="13788">4</cx:pt>
          <cx:pt idx="13789">3</cx:pt>
          <cx:pt idx="13790">3</cx:pt>
          <cx:pt idx="13791">5</cx:pt>
          <cx:pt idx="13792">1</cx:pt>
          <cx:pt idx="13793">2</cx:pt>
          <cx:pt idx="13794">4</cx:pt>
          <cx:pt idx="13795">4</cx:pt>
          <cx:pt idx="13796">3</cx:pt>
          <cx:pt idx="13797">5</cx:pt>
          <cx:pt idx="13798">5</cx:pt>
          <cx:pt idx="13799">1</cx:pt>
          <cx:pt idx="13800">1</cx:pt>
          <cx:pt idx="13801">1</cx:pt>
          <cx:pt idx="13802">3</cx:pt>
          <cx:pt idx="13803">5</cx:pt>
          <cx:pt idx="13804">3</cx:pt>
          <cx:pt idx="13805">3</cx:pt>
          <cx:pt idx="13806">5</cx:pt>
          <cx:pt idx="13807">2</cx:pt>
          <cx:pt idx="13808">5</cx:pt>
          <cx:pt idx="13809">1</cx:pt>
          <cx:pt idx="13810">2</cx:pt>
          <cx:pt idx="13811">4</cx:pt>
          <cx:pt idx="13812">4</cx:pt>
          <cx:pt idx="13813">3</cx:pt>
          <cx:pt idx="13814">1</cx:pt>
          <cx:pt idx="13815">2</cx:pt>
          <cx:pt idx="13816">2</cx:pt>
          <cx:pt idx="13817">4</cx:pt>
          <cx:pt idx="13818">4</cx:pt>
          <cx:pt idx="13819">1</cx:pt>
          <cx:pt idx="13820">4</cx:pt>
          <cx:pt idx="13821">5</cx:pt>
          <cx:pt idx="13822">5</cx:pt>
          <cx:pt idx="13823">4</cx:pt>
          <cx:pt idx="13824">5</cx:pt>
          <cx:pt idx="13825">5</cx:pt>
          <cx:pt idx="13826">1</cx:pt>
          <cx:pt idx="13827">4</cx:pt>
          <cx:pt idx="13828">1</cx:pt>
          <cx:pt idx="13829">5</cx:pt>
          <cx:pt idx="13830">3</cx:pt>
          <cx:pt idx="13831">1</cx:pt>
          <cx:pt idx="13832">4</cx:pt>
          <cx:pt idx="13833">2</cx:pt>
          <cx:pt idx="13834">3</cx:pt>
          <cx:pt idx="13835">1</cx:pt>
          <cx:pt idx="13836">5</cx:pt>
          <cx:pt idx="13837">2</cx:pt>
          <cx:pt idx="13838">2</cx:pt>
          <cx:pt idx="13839">5</cx:pt>
          <cx:pt idx="13840">5</cx:pt>
          <cx:pt idx="13841">5</cx:pt>
          <cx:pt idx="13842">3</cx:pt>
          <cx:pt idx="13843">5</cx:pt>
          <cx:pt idx="13844">1</cx:pt>
          <cx:pt idx="13845">3</cx:pt>
          <cx:pt idx="13846">4</cx:pt>
          <cx:pt idx="13847">5</cx:pt>
          <cx:pt idx="13848">4</cx:pt>
          <cx:pt idx="13849">1</cx:pt>
          <cx:pt idx="13850">2</cx:pt>
          <cx:pt idx="13851">1</cx:pt>
          <cx:pt idx="13852">4</cx:pt>
          <cx:pt idx="13853">5</cx:pt>
          <cx:pt idx="13854">2</cx:pt>
          <cx:pt idx="13855">5</cx:pt>
          <cx:pt idx="13856">5</cx:pt>
          <cx:pt idx="13857">2</cx:pt>
          <cx:pt idx="13858">2</cx:pt>
          <cx:pt idx="13859">1</cx:pt>
          <cx:pt idx="13860">2</cx:pt>
          <cx:pt idx="13861">3</cx:pt>
          <cx:pt idx="13862">2</cx:pt>
          <cx:pt idx="13863">2</cx:pt>
          <cx:pt idx="13864">5</cx:pt>
          <cx:pt idx="13865">5</cx:pt>
          <cx:pt idx="13866">4</cx:pt>
          <cx:pt idx="13867">4</cx:pt>
          <cx:pt idx="13868">2</cx:pt>
          <cx:pt idx="13869">4</cx:pt>
          <cx:pt idx="13870">4</cx:pt>
          <cx:pt idx="13871">5</cx:pt>
          <cx:pt idx="13872">1</cx:pt>
          <cx:pt idx="13873">2</cx:pt>
          <cx:pt idx="13874">4</cx:pt>
          <cx:pt idx="13875">1</cx:pt>
          <cx:pt idx="13876">5</cx:pt>
          <cx:pt idx="13877">4</cx:pt>
          <cx:pt idx="13878">5</cx:pt>
          <cx:pt idx="13879">4</cx:pt>
          <cx:pt idx="13880">3</cx:pt>
          <cx:pt idx="13881">3</cx:pt>
          <cx:pt idx="13882">4</cx:pt>
          <cx:pt idx="13883">3</cx:pt>
          <cx:pt idx="13884">3</cx:pt>
          <cx:pt idx="13885">5</cx:pt>
          <cx:pt idx="13886">3</cx:pt>
          <cx:pt idx="13887">1</cx:pt>
          <cx:pt idx="13888">4</cx:pt>
          <cx:pt idx="13889">2</cx:pt>
          <cx:pt idx="13890">4</cx:pt>
          <cx:pt idx="13891">3</cx:pt>
          <cx:pt idx="13892">4</cx:pt>
          <cx:pt idx="13893">5</cx:pt>
          <cx:pt idx="13894">5</cx:pt>
          <cx:pt idx="13895">4</cx:pt>
          <cx:pt idx="13896">4</cx:pt>
          <cx:pt idx="13897">3</cx:pt>
          <cx:pt idx="13898">4</cx:pt>
          <cx:pt idx="13899">2</cx:pt>
          <cx:pt idx="13900">4</cx:pt>
          <cx:pt idx="13901">4</cx:pt>
          <cx:pt idx="13902">3</cx:pt>
          <cx:pt idx="13903">5</cx:pt>
          <cx:pt idx="13904">3</cx:pt>
          <cx:pt idx="13905">1</cx:pt>
          <cx:pt idx="13906">4</cx:pt>
          <cx:pt idx="13907">3</cx:pt>
          <cx:pt idx="13908">5</cx:pt>
          <cx:pt idx="13909">4</cx:pt>
          <cx:pt idx="13910">5</cx:pt>
          <cx:pt idx="13911">2</cx:pt>
          <cx:pt idx="13912">3</cx:pt>
          <cx:pt idx="13913">3</cx:pt>
          <cx:pt idx="13914">1</cx:pt>
          <cx:pt idx="13915">3</cx:pt>
          <cx:pt idx="13916">5</cx:pt>
          <cx:pt idx="13917">5</cx:pt>
          <cx:pt idx="13918">1</cx:pt>
          <cx:pt idx="13919">4</cx:pt>
          <cx:pt idx="13920">5</cx:pt>
          <cx:pt idx="13921">5</cx:pt>
          <cx:pt idx="13922">3</cx:pt>
          <cx:pt idx="13923">1</cx:pt>
          <cx:pt idx="13924">2</cx:pt>
          <cx:pt idx="13925">3</cx:pt>
          <cx:pt idx="13926">5</cx:pt>
          <cx:pt idx="13927">3</cx:pt>
          <cx:pt idx="13928">4</cx:pt>
          <cx:pt idx="13929">5</cx:pt>
          <cx:pt idx="13930">2</cx:pt>
          <cx:pt idx="13931">4</cx:pt>
          <cx:pt idx="13932">5</cx:pt>
          <cx:pt idx="13933">5</cx:pt>
          <cx:pt idx="13934">2</cx:pt>
          <cx:pt idx="13935">2</cx:pt>
          <cx:pt idx="13936">2</cx:pt>
          <cx:pt idx="13937">5</cx:pt>
          <cx:pt idx="13938">4</cx:pt>
          <cx:pt idx="13939">4</cx:pt>
          <cx:pt idx="13940">5</cx:pt>
          <cx:pt idx="13941">4</cx:pt>
          <cx:pt idx="13942">1</cx:pt>
          <cx:pt idx="13943">5</cx:pt>
          <cx:pt idx="13944">1</cx:pt>
          <cx:pt idx="13945">3</cx:pt>
          <cx:pt idx="13946">1</cx:pt>
          <cx:pt idx="13947">2</cx:pt>
          <cx:pt idx="13948">1</cx:pt>
          <cx:pt idx="13949">5</cx:pt>
          <cx:pt idx="13950">3</cx:pt>
          <cx:pt idx="13951">3</cx:pt>
          <cx:pt idx="13952">5</cx:pt>
          <cx:pt idx="13953">5</cx:pt>
          <cx:pt idx="13954">5</cx:pt>
          <cx:pt idx="13955">2</cx:pt>
          <cx:pt idx="13956">5</cx:pt>
          <cx:pt idx="13957">5</cx:pt>
          <cx:pt idx="13958">4</cx:pt>
          <cx:pt idx="13959">2</cx:pt>
          <cx:pt idx="13960">5</cx:pt>
          <cx:pt idx="13961">4</cx:pt>
          <cx:pt idx="13962">4</cx:pt>
          <cx:pt idx="13963">4</cx:pt>
          <cx:pt idx="13964">2</cx:pt>
          <cx:pt idx="13965">4</cx:pt>
          <cx:pt idx="13966">5</cx:pt>
          <cx:pt idx="13967">5</cx:pt>
          <cx:pt idx="13968">3</cx:pt>
          <cx:pt idx="13969">1</cx:pt>
          <cx:pt idx="13970">4</cx:pt>
          <cx:pt idx="13971">3</cx:pt>
          <cx:pt idx="13972">3</cx:pt>
          <cx:pt idx="13973">2</cx:pt>
          <cx:pt idx="13974">3</cx:pt>
          <cx:pt idx="13975">5</cx:pt>
          <cx:pt idx="13976">5</cx:pt>
          <cx:pt idx="13977">3</cx:pt>
          <cx:pt idx="13978">3</cx:pt>
          <cx:pt idx="13979">1</cx:pt>
          <cx:pt idx="13980">4</cx:pt>
          <cx:pt idx="13981">5</cx:pt>
          <cx:pt idx="13982">2</cx:pt>
          <cx:pt idx="13983">2</cx:pt>
          <cx:pt idx="13984">5</cx:pt>
          <cx:pt idx="13985">5</cx:pt>
          <cx:pt idx="13986">4</cx:pt>
          <cx:pt idx="13987">4</cx:pt>
          <cx:pt idx="13988">1</cx:pt>
          <cx:pt idx="13989">5</cx:pt>
          <cx:pt idx="13990">4</cx:pt>
          <cx:pt idx="13991">5</cx:pt>
          <cx:pt idx="13992">4</cx:pt>
          <cx:pt idx="13993">4</cx:pt>
          <cx:pt idx="13994">4</cx:pt>
          <cx:pt idx="13995">4</cx:pt>
          <cx:pt idx="13996">5</cx:pt>
          <cx:pt idx="13997">4</cx:pt>
          <cx:pt idx="13998">2</cx:pt>
          <cx:pt idx="13999">4</cx:pt>
          <cx:pt idx="14000">3</cx:pt>
          <cx:pt idx="14001">3</cx:pt>
          <cx:pt idx="14002">4</cx:pt>
          <cx:pt idx="14003">4</cx:pt>
          <cx:pt idx="14004">5</cx:pt>
          <cx:pt idx="14005">2</cx:pt>
          <cx:pt idx="14006">4</cx:pt>
          <cx:pt idx="14007">3</cx:pt>
          <cx:pt idx="14008">2</cx:pt>
          <cx:pt idx="14009">3</cx:pt>
          <cx:pt idx="14010">4</cx:pt>
          <cx:pt idx="14011">5</cx:pt>
          <cx:pt idx="14012">5</cx:pt>
          <cx:pt idx="14013">4</cx:pt>
          <cx:pt idx="14014">5</cx:pt>
          <cx:pt idx="14015">5</cx:pt>
          <cx:pt idx="14016">2</cx:pt>
          <cx:pt idx="14017">4</cx:pt>
          <cx:pt idx="14018">3</cx:pt>
          <cx:pt idx="14019">3</cx:pt>
          <cx:pt idx="14020">1</cx:pt>
          <cx:pt idx="14021">5</cx:pt>
          <cx:pt idx="14022">3</cx:pt>
          <cx:pt idx="14023">4</cx:pt>
          <cx:pt idx="14024">4</cx:pt>
          <cx:pt idx="14025">5</cx:pt>
          <cx:pt idx="14026">5</cx:pt>
          <cx:pt idx="14027">2</cx:pt>
          <cx:pt idx="14028">2</cx:pt>
          <cx:pt idx="14029">5</cx:pt>
          <cx:pt idx="14030">5</cx:pt>
          <cx:pt idx="14031">4</cx:pt>
          <cx:pt idx="14032">3</cx:pt>
          <cx:pt idx="14033">1</cx:pt>
          <cx:pt idx="14034">4</cx:pt>
          <cx:pt idx="14035">2</cx:pt>
          <cx:pt idx="14036">5</cx:pt>
          <cx:pt idx="14037">5</cx:pt>
          <cx:pt idx="14038">4</cx:pt>
          <cx:pt idx="14039">4</cx:pt>
          <cx:pt idx="14040">3</cx:pt>
          <cx:pt idx="14041">4</cx:pt>
          <cx:pt idx="14042">2</cx:pt>
          <cx:pt idx="14043">3</cx:pt>
          <cx:pt idx="14044">4</cx:pt>
          <cx:pt idx="14045">3</cx:pt>
          <cx:pt idx="14046">1</cx:pt>
          <cx:pt idx="14047">5</cx:pt>
          <cx:pt idx="14048">1</cx:pt>
          <cx:pt idx="14049">4</cx:pt>
          <cx:pt idx="14050">5</cx:pt>
          <cx:pt idx="14051">5</cx:pt>
          <cx:pt idx="14052">2</cx:pt>
          <cx:pt idx="14053">3</cx:pt>
          <cx:pt idx="14054">3</cx:pt>
          <cx:pt idx="14055">5</cx:pt>
          <cx:pt idx="14056">4</cx:pt>
          <cx:pt idx="14057">3</cx:pt>
          <cx:pt idx="14058">1</cx:pt>
          <cx:pt idx="14059">4</cx:pt>
          <cx:pt idx="14060">3</cx:pt>
          <cx:pt idx="14061">1</cx:pt>
          <cx:pt idx="14062">5</cx:pt>
          <cx:pt idx="14063">3</cx:pt>
          <cx:pt idx="14064">5</cx:pt>
          <cx:pt idx="14065">5</cx:pt>
          <cx:pt idx="14066">5</cx:pt>
          <cx:pt idx="14067">4</cx:pt>
          <cx:pt idx="14068">1</cx:pt>
          <cx:pt idx="14069">2</cx:pt>
          <cx:pt idx="14070">4</cx:pt>
          <cx:pt idx="14071">1</cx:pt>
          <cx:pt idx="14072">4</cx:pt>
          <cx:pt idx="14073">5</cx:pt>
          <cx:pt idx="14074">1</cx:pt>
          <cx:pt idx="14075">5</cx:pt>
          <cx:pt idx="14076">5</cx:pt>
          <cx:pt idx="14077">3</cx:pt>
          <cx:pt idx="14078">4</cx:pt>
          <cx:pt idx="14079">2</cx:pt>
          <cx:pt idx="14080">2</cx:pt>
          <cx:pt idx="14081">4</cx:pt>
          <cx:pt idx="14082">4</cx:pt>
          <cx:pt idx="14083">4</cx:pt>
          <cx:pt idx="14084">5</cx:pt>
          <cx:pt idx="14085">5</cx:pt>
          <cx:pt idx="14086">1</cx:pt>
          <cx:pt idx="14087">3</cx:pt>
          <cx:pt idx="14088">2</cx:pt>
          <cx:pt idx="14089">3</cx:pt>
          <cx:pt idx="14090">4</cx:pt>
          <cx:pt idx="14091">4</cx:pt>
          <cx:pt idx="14092">5</cx:pt>
          <cx:pt idx="14093">1</cx:pt>
          <cx:pt idx="14094">2</cx:pt>
          <cx:pt idx="14095">4</cx:pt>
          <cx:pt idx="14096">3</cx:pt>
          <cx:pt idx="14097">5</cx:pt>
          <cx:pt idx="14098">3</cx:pt>
          <cx:pt idx="14099">3</cx:pt>
          <cx:pt idx="14100">3</cx:pt>
          <cx:pt idx="14101">2</cx:pt>
          <cx:pt idx="14102">2</cx:pt>
          <cx:pt idx="14103">4</cx:pt>
          <cx:pt idx="14104">5</cx:pt>
          <cx:pt idx="14105">5</cx:pt>
          <cx:pt idx="14106">5</cx:pt>
          <cx:pt idx="14107">4</cx:pt>
          <cx:pt idx="14108">1</cx:pt>
          <cx:pt idx="14109">5</cx:pt>
          <cx:pt idx="14110">5</cx:pt>
          <cx:pt idx="14111">4</cx:pt>
          <cx:pt idx="14112">5</cx:pt>
          <cx:pt idx="14113">3</cx:pt>
          <cx:pt idx="14114">3</cx:pt>
          <cx:pt idx="14115">4</cx:pt>
          <cx:pt idx="14116">4</cx:pt>
          <cx:pt idx="14117">2</cx:pt>
          <cx:pt idx="14118">3</cx:pt>
          <cx:pt idx="14119">5</cx:pt>
          <cx:pt idx="14120">5</cx:pt>
          <cx:pt idx="14121">5</cx:pt>
          <cx:pt idx="14122">2</cx:pt>
          <cx:pt idx="14123">1</cx:pt>
          <cx:pt idx="14124">4</cx:pt>
          <cx:pt idx="14125">4</cx:pt>
          <cx:pt idx="14126">2</cx:pt>
          <cx:pt idx="14127">3</cx:pt>
          <cx:pt idx="14128">2</cx:pt>
          <cx:pt idx="14129">5</cx:pt>
          <cx:pt idx="14130">4</cx:pt>
          <cx:pt idx="14131">5</cx:pt>
          <cx:pt idx="14132">4</cx:pt>
          <cx:pt idx="14133">4</cx:pt>
          <cx:pt idx="14134">4</cx:pt>
          <cx:pt idx="14135">2</cx:pt>
          <cx:pt idx="14136">3</cx:pt>
          <cx:pt idx="14137">5</cx:pt>
          <cx:pt idx="14138">1</cx:pt>
          <cx:pt idx="14139">2</cx:pt>
          <cx:pt idx="14140">4</cx:pt>
          <cx:pt idx="14141">5</cx:pt>
          <cx:pt idx="14142">4</cx:pt>
          <cx:pt idx="14143">4</cx:pt>
          <cx:pt idx="14144">3</cx:pt>
          <cx:pt idx="14145">5</cx:pt>
          <cx:pt idx="14146">3</cx:pt>
          <cx:pt idx="14147">5</cx:pt>
          <cx:pt idx="14148">1</cx:pt>
          <cx:pt idx="14149">2</cx:pt>
          <cx:pt idx="14150">5</cx:pt>
          <cx:pt idx="14151">2</cx:pt>
          <cx:pt idx="14152">5</cx:pt>
          <cx:pt idx="14153">5</cx:pt>
          <cx:pt idx="14154">5</cx:pt>
          <cx:pt idx="14155">4</cx:pt>
          <cx:pt idx="14156">5</cx:pt>
          <cx:pt idx="14157">3</cx:pt>
          <cx:pt idx="14158">1</cx:pt>
          <cx:pt idx="14159">2</cx:pt>
          <cx:pt idx="14160">2</cx:pt>
          <cx:pt idx="14161">5</cx:pt>
          <cx:pt idx="14162">1</cx:pt>
          <cx:pt idx="14163">4</cx:pt>
          <cx:pt idx="14164">4</cx:pt>
          <cx:pt idx="14165">3</cx:pt>
          <cx:pt idx="14166">2</cx:pt>
          <cx:pt idx="14167">4</cx:pt>
          <cx:pt idx="14168">4</cx:pt>
          <cx:pt idx="14169">4</cx:pt>
          <cx:pt idx="14170">4</cx:pt>
          <cx:pt idx="14171">3</cx:pt>
          <cx:pt idx="14172">1</cx:pt>
          <cx:pt idx="14173">1</cx:pt>
          <cx:pt idx="14174">4</cx:pt>
          <cx:pt idx="14175">2</cx:pt>
          <cx:pt idx="14176">5</cx:pt>
          <cx:pt idx="14177">4</cx:pt>
          <cx:pt idx="14178">5</cx:pt>
          <cx:pt idx="14179">4</cx:pt>
          <cx:pt idx="14180">5</cx:pt>
          <cx:pt idx="14181">5</cx:pt>
          <cx:pt idx="14182">1</cx:pt>
          <cx:pt idx="14183">4</cx:pt>
          <cx:pt idx="14184">5</cx:pt>
          <cx:pt idx="14185">5</cx:pt>
          <cx:pt idx="14186">1</cx:pt>
          <cx:pt idx="14187">4</cx:pt>
          <cx:pt idx="14188">4</cx:pt>
          <cx:pt idx="14189">5</cx:pt>
          <cx:pt idx="14190">4</cx:pt>
          <cx:pt idx="14191">4</cx:pt>
          <cx:pt idx="14192">5</cx:pt>
          <cx:pt idx="14193">1</cx:pt>
          <cx:pt idx="14194">4</cx:pt>
          <cx:pt idx="14195">5</cx:pt>
          <cx:pt idx="14196">2</cx:pt>
          <cx:pt idx="14197">5</cx:pt>
          <cx:pt idx="14198">2</cx:pt>
          <cx:pt idx="14199">4</cx:pt>
          <cx:pt idx="14200">3</cx:pt>
          <cx:pt idx="14201">3</cx:pt>
          <cx:pt idx="14202">4</cx:pt>
          <cx:pt idx="14203">5</cx:pt>
          <cx:pt idx="14204">5</cx:pt>
          <cx:pt idx="14205">4</cx:pt>
          <cx:pt idx="14206">3</cx:pt>
          <cx:pt idx="14207">1</cx:pt>
          <cx:pt idx="14208">1</cx:pt>
          <cx:pt idx="14209">1</cx:pt>
          <cx:pt idx="14210">5</cx:pt>
          <cx:pt idx="14211">4</cx:pt>
          <cx:pt idx="14212">5</cx:pt>
          <cx:pt idx="14213">1</cx:pt>
          <cx:pt idx="14214">1</cx:pt>
          <cx:pt idx="14215">4</cx:pt>
          <cx:pt idx="14216">3</cx:pt>
          <cx:pt idx="14217">3</cx:pt>
          <cx:pt idx="14218">4</cx:pt>
          <cx:pt idx="14219">4</cx:pt>
          <cx:pt idx="14220">4</cx:pt>
          <cx:pt idx="14221">4</cx:pt>
          <cx:pt idx="14222">4</cx:pt>
          <cx:pt idx="14223">5</cx:pt>
          <cx:pt idx="14224">4</cx:pt>
          <cx:pt idx="14225">4</cx:pt>
          <cx:pt idx="14226">5</cx:pt>
          <cx:pt idx="14227">5</cx:pt>
          <cx:pt idx="14228">2</cx:pt>
          <cx:pt idx="14229">2</cx:pt>
          <cx:pt idx="14230">4</cx:pt>
          <cx:pt idx="14231">2</cx:pt>
          <cx:pt idx="14232">3</cx:pt>
          <cx:pt idx="14233">5</cx:pt>
          <cx:pt idx="14234">5</cx:pt>
          <cx:pt idx="14235">2</cx:pt>
          <cx:pt idx="14236">4</cx:pt>
          <cx:pt idx="14237">3</cx:pt>
          <cx:pt idx="14238">5</cx:pt>
          <cx:pt idx="14239">2</cx:pt>
          <cx:pt idx="14240">4</cx:pt>
          <cx:pt idx="14241">4</cx:pt>
          <cx:pt idx="14242">2</cx:pt>
          <cx:pt idx="14243">3</cx:pt>
          <cx:pt idx="14244">5</cx:pt>
          <cx:pt idx="14245">3</cx:pt>
          <cx:pt idx="14246">5</cx:pt>
          <cx:pt idx="14247">2</cx:pt>
          <cx:pt idx="14248">5</cx:pt>
          <cx:pt idx="14249">3</cx:pt>
          <cx:pt idx="14250">4</cx:pt>
          <cx:pt idx="14251">4</cx:pt>
          <cx:pt idx="14252">4</cx:pt>
          <cx:pt idx="14253">4</cx:pt>
          <cx:pt idx="14254">5</cx:pt>
          <cx:pt idx="14255">2</cx:pt>
          <cx:pt idx="14256">4</cx:pt>
          <cx:pt idx="14257">4</cx:pt>
          <cx:pt idx="14258">4</cx:pt>
          <cx:pt idx="14259">2</cx:pt>
          <cx:pt idx="14260">4</cx:pt>
          <cx:pt idx="14261">3</cx:pt>
          <cx:pt idx="14262">2</cx:pt>
          <cx:pt idx="14263">4</cx:pt>
          <cx:pt idx="14264">2</cx:pt>
          <cx:pt idx="14265">4</cx:pt>
          <cx:pt idx="14266">4</cx:pt>
          <cx:pt idx="14267">4</cx:pt>
          <cx:pt idx="14268">2</cx:pt>
          <cx:pt idx="14269">3</cx:pt>
          <cx:pt idx="14270">3</cx:pt>
          <cx:pt idx="14271">3</cx:pt>
          <cx:pt idx="14272">5</cx:pt>
          <cx:pt idx="14273">2</cx:pt>
          <cx:pt idx="14274">3</cx:pt>
          <cx:pt idx="14275">5</cx:pt>
          <cx:pt idx="14276">2</cx:pt>
          <cx:pt idx="14277">4</cx:pt>
          <cx:pt idx="14278">5</cx:pt>
          <cx:pt idx="14279">3</cx:pt>
          <cx:pt idx="14280">1</cx:pt>
          <cx:pt idx="14281">2</cx:pt>
          <cx:pt idx="14282">4</cx:pt>
          <cx:pt idx="14283">4</cx:pt>
          <cx:pt idx="14284">3</cx:pt>
          <cx:pt idx="14285">5</cx:pt>
          <cx:pt idx="14286">4</cx:pt>
          <cx:pt idx="14287">5</cx:pt>
          <cx:pt idx="14288">5</cx:pt>
          <cx:pt idx="14289">5</cx:pt>
          <cx:pt idx="14290">4</cx:pt>
          <cx:pt idx="14291">4</cx:pt>
          <cx:pt idx="14292">4</cx:pt>
          <cx:pt idx="14293">2</cx:pt>
          <cx:pt idx="14294">2</cx:pt>
          <cx:pt idx="14295">4</cx:pt>
          <cx:pt idx="14296">3</cx:pt>
          <cx:pt idx="14297">4</cx:pt>
          <cx:pt idx="14298">5</cx:pt>
          <cx:pt idx="14299">5</cx:pt>
          <cx:pt idx="14300">1</cx:pt>
          <cx:pt idx="14301">4</cx:pt>
          <cx:pt idx="14302">5</cx:pt>
          <cx:pt idx="14303">5</cx:pt>
          <cx:pt idx="14304">2</cx:pt>
          <cx:pt idx="14305">5</cx:pt>
          <cx:pt idx="14306">5</cx:pt>
          <cx:pt idx="14307">2</cx:pt>
          <cx:pt idx="14308">3</cx:pt>
          <cx:pt idx="14309">1</cx:pt>
          <cx:pt idx="14310">3</cx:pt>
          <cx:pt idx="14311">1</cx:pt>
          <cx:pt idx="14312">4</cx:pt>
          <cx:pt idx="14313">3</cx:pt>
          <cx:pt idx="14314">1</cx:pt>
          <cx:pt idx="14315">2</cx:pt>
          <cx:pt idx="14316">3</cx:pt>
          <cx:pt idx="14317">3</cx:pt>
          <cx:pt idx="14318">3</cx:pt>
          <cx:pt idx="14319">2</cx:pt>
          <cx:pt idx="14320">2</cx:pt>
          <cx:pt idx="14321">2</cx:pt>
          <cx:pt idx="14322">4</cx:pt>
          <cx:pt idx="14323">3</cx:pt>
          <cx:pt idx="14324">4</cx:pt>
          <cx:pt idx="14325">1</cx:pt>
          <cx:pt idx="14326">3</cx:pt>
          <cx:pt idx="14327">1</cx:pt>
          <cx:pt idx="14328">4</cx:pt>
          <cx:pt idx="14329">3</cx:pt>
          <cx:pt idx="14330">4</cx:pt>
          <cx:pt idx="14331">1</cx:pt>
          <cx:pt idx="14332">5</cx:pt>
          <cx:pt idx="14333">1</cx:pt>
          <cx:pt idx="14334">1</cx:pt>
          <cx:pt idx="14335">4</cx:pt>
          <cx:pt idx="14336">4</cx:pt>
          <cx:pt idx="14337">4</cx:pt>
          <cx:pt idx="14338">3</cx:pt>
          <cx:pt idx="14339">3</cx:pt>
          <cx:pt idx="14340">3</cx:pt>
          <cx:pt idx="14341">3</cx:pt>
          <cx:pt idx="14342">3</cx:pt>
          <cx:pt idx="14343">4</cx:pt>
          <cx:pt idx="14344">5</cx:pt>
          <cx:pt idx="14345">4</cx:pt>
          <cx:pt idx="14346">5</cx:pt>
          <cx:pt idx="14347">4</cx:pt>
          <cx:pt idx="14348">1</cx:pt>
          <cx:pt idx="14349">3</cx:pt>
          <cx:pt idx="14350">2</cx:pt>
          <cx:pt idx="14351">2</cx:pt>
          <cx:pt idx="14352">5</cx:pt>
          <cx:pt idx="14353">3</cx:pt>
          <cx:pt idx="14354">4</cx:pt>
          <cx:pt idx="14355">5</cx:pt>
          <cx:pt idx="14356">1</cx:pt>
          <cx:pt idx="14357">2</cx:pt>
          <cx:pt idx="14358">3</cx:pt>
          <cx:pt idx="14359">4</cx:pt>
          <cx:pt idx="14360">5</cx:pt>
          <cx:pt idx="14361">5</cx:pt>
          <cx:pt idx="14362">2</cx:pt>
          <cx:pt idx="14363">5</cx:pt>
          <cx:pt idx="14364">4</cx:pt>
          <cx:pt idx="14365">5</cx:pt>
          <cx:pt idx="14366">4</cx:pt>
          <cx:pt idx="14367">2</cx:pt>
          <cx:pt idx="14368">5</cx:pt>
          <cx:pt idx="14369">2</cx:pt>
          <cx:pt idx="14370">4</cx:pt>
          <cx:pt idx="14371">5</cx:pt>
          <cx:pt idx="14372">3</cx:pt>
          <cx:pt idx="14373">2</cx:pt>
          <cx:pt idx="14374">2</cx:pt>
          <cx:pt idx="14375">5</cx:pt>
          <cx:pt idx="14376">1</cx:pt>
          <cx:pt idx="14377">4</cx:pt>
          <cx:pt idx="14378">4</cx:pt>
          <cx:pt idx="14379">4</cx:pt>
          <cx:pt idx="14380">5</cx:pt>
          <cx:pt idx="14381">3</cx:pt>
          <cx:pt idx="14382">5</cx:pt>
          <cx:pt idx="14383">5</cx:pt>
          <cx:pt idx="14384">4</cx:pt>
          <cx:pt idx="14385">5</cx:pt>
          <cx:pt idx="14386">4</cx:pt>
          <cx:pt idx="14387">1</cx:pt>
          <cx:pt idx="14388">3</cx:pt>
          <cx:pt idx="14389">4</cx:pt>
          <cx:pt idx="14390">4</cx:pt>
          <cx:pt idx="14391">3</cx:pt>
          <cx:pt idx="14392">4</cx:pt>
          <cx:pt idx="14393">4</cx:pt>
          <cx:pt idx="14394">4</cx:pt>
          <cx:pt idx="14395">3</cx:pt>
          <cx:pt idx="14396">3</cx:pt>
          <cx:pt idx="14397">2</cx:pt>
          <cx:pt idx="14398">3</cx:pt>
          <cx:pt idx="14399">4</cx:pt>
          <cx:pt idx="14400">3</cx:pt>
          <cx:pt idx="14401">4</cx:pt>
          <cx:pt idx="14402">1</cx:pt>
          <cx:pt idx="14403">5</cx:pt>
          <cx:pt idx="14404">1</cx:pt>
          <cx:pt idx="14405">1</cx:pt>
          <cx:pt idx="14406">5</cx:pt>
          <cx:pt idx="14407">4</cx:pt>
          <cx:pt idx="14408">3</cx:pt>
          <cx:pt idx="14409">1</cx:pt>
          <cx:pt idx="14410">5</cx:pt>
          <cx:pt idx="14411">4</cx:pt>
          <cx:pt idx="14412">2</cx:pt>
          <cx:pt idx="14413">3</cx:pt>
          <cx:pt idx="14414">5</cx:pt>
          <cx:pt idx="14415">4</cx:pt>
          <cx:pt idx="14416">4</cx:pt>
          <cx:pt idx="14417">5</cx:pt>
          <cx:pt idx="14418">5</cx:pt>
          <cx:pt idx="14419">3</cx:pt>
          <cx:pt idx="14420">3</cx:pt>
          <cx:pt idx="14421">1</cx:pt>
          <cx:pt idx="14422">4</cx:pt>
          <cx:pt idx="14423">3</cx:pt>
          <cx:pt idx="14424">4</cx:pt>
          <cx:pt idx="14425">4</cx:pt>
          <cx:pt idx="14426">5</cx:pt>
          <cx:pt idx="14427">5</cx:pt>
          <cx:pt idx="14428">5</cx:pt>
          <cx:pt idx="14429">4</cx:pt>
          <cx:pt idx="14430">4</cx:pt>
          <cx:pt idx="14431">3</cx:pt>
          <cx:pt idx="14432">1</cx:pt>
          <cx:pt idx="14433">5</cx:pt>
          <cx:pt idx="14434">5</cx:pt>
          <cx:pt idx="14435">1</cx:pt>
          <cx:pt idx="14436">3</cx:pt>
          <cx:pt idx="14437">4</cx:pt>
          <cx:pt idx="14438">5</cx:pt>
          <cx:pt idx="14439">4</cx:pt>
          <cx:pt idx="14440">4</cx:pt>
          <cx:pt idx="14441">5</cx:pt>
          <cx:pt idx="14442">3</cx:pt>
          <cx:pt idx="14443">1</cx:pt>
          <cx:pt idx="14444">5</cx:pt>
          <cx:pt idx="14445">4</cx:pt>
          <cx:pt idx="14446">4</cx:pt>
          <cx:pt idx="14447">4</cx:pt>
          <cx:pt idx="14448">4</cx:pt>
          <cx:pt idx="14449">3</cx:pt>
          <cx:pt idx="14450">5</cx:pt>
          <cx:pt idx="14451">2</cx:pt>
          <cx:pt idx="14452">5</cx:pt>
          <cx:pt idx="14453">4</cx:pt>
          <cx:pt idx="14454">3</cx:pt>
          <cx:pt idx="14455">5</cx:pt>
          <cx:pt idx="14456">4</cx:pt>
          <cx:pt idx="14457">5</cx:pt>
          <cx:pt idx="14458">4</cx:pt>
          <cx:pt idx="14459">2</cx:pt>
          <cx:pt idx="14460">4</cx:pt>
          <cx:pt idx="14461">4</cx:pt>
          <cx:pt idx="14462">3</cx:pt>
          <cx:pt idx="14463">4</cx:pt>
          <cx:pt idx="14464">4</cx:pt>
          <cx:pt idx="14465">4</cx:pt>
          <cx:pt idx="14466">4</cx:pt>
          <cx:pt idx="14467">4</cx:pt>
          <cx:pt idx="14468">1</cx:pt>
          <cx:pt idx="14469">2</cx:pt>
          <cx:pt idx="14470">2</cx:pt>
          <cx:pt idx="14471">4</cx:pt>
          <cx:pt idx="14472">3</cx:pt>
          <cx:pt idx="14473">4</cx:pt>
          <cx:pt idx="14474">2</cx:pt>
          <cx:pt idx="14475">4</cx:pt>
          <cx:pt idx="14476">5</cx:pt>
          <cx:pt idx="14477">2</cx:pt>
          <cx:pt idx="14478">4</cx:pt>
          <cx:pt idx="14479">2</cx:pt>
          <cx:pt idx="14480">4</cx:pt>
          <cx:pt idx="14481">4</cx:pt>
          <cx:pt idx="14482">3</cx:pt>
          <cx:pt idx="14483">1</cx:pt>
          <cx:pt idx="14484">2</cx:pt>
          <cx:pt idx="14485">4</cx:pt>
          <cx:pt idx="14486">4</cx:pt>
          <cx:pt idx="14487">3</cx:pt>
          <cx:pt idx="14488">2</cx:pt>
          <cx:pt idx="14489">4</cx:pt>
          <cx:pt idx="14490">4</cx:pt>
          <cx:pt idx="14491">5</cx:pt>
          <cx:pt idx="14492">4</cx:pt>
          <cx:pt idx="14493">5</cx:pt>
          <cx:pt idx="14494">1</cx:pt>
          <cx:pt idx="14495">4</cx:pt>
          <cx:pt idx="14496">3</cx:pt>
          <cx:pt idx="14497">3</cx:pt>
          <cx:pt idx="14498">4</cx:pt>
          <cx:pt idx="14499">5</cx:pt>
          <cx:pt idx="14500">3</cx:pt>
          <cx:pt idx="14501">5</cx:pt>
          <cx:pt idx="14502">4</cx:pt>
          <cx:pt idx="14503">4</cx:pt>
          <cx:pt idx="14504">4</cx:pt>
          <cx:pt idx="14505">2</cx:pt>
          <cx:pt idx="14506">4</cx:pt>
          <cx:pt idx="14507">1</cx:pt>
          <cx:pt idx="14508">1</cx:pt>
          <cx:pt idx="14509">3</cx:pt>
          <cx:pt idx="14510">1</cx:pt>
          <cx:pt idx="14511">2</cx:pt>
          <cx:pt idx="14512">3</cx:pt>
          <cx:pt idx="14513">3</cx:pt>
          <cx:pt idx="14514">3</cx:pt>
          <cx:pt idx="14515">2</cx:pt>
          <cx:pt idx="14516">5</cx:pt>
          <cx:pt idx="14517">1</cx:pt>
          <cx:pt idx="14518">3</cx:pt>
          <cx:pt idx="14519">3</cx:pt>
          <cx:pt idx="14520">4</cx:pt>
          <cx:pt idx="14521">3</cx:pt>
          <cx:pt idx="14522">3</cx:pt>
          <cx:pt idx="14523">5</cx:pt>
          <cx:pt idx="14524">5</cx:pt>
          <cx:pt idx="14525">5</cx:pt>
          <cx:pt idx="14526">1</cx:pt>
          <cx:pt idx="14527">4</cx:pt>
          <cx:pt idx="14528">4</cx:pt>
          <cx:pt idx="14529">2</cx:pt>
          <cx:pt idx="14530">2</cx:pt>
          <cx:pt idx="14531">4</cx:pt>
          <cx:pt idx="14532">4</cx:pt>
          <cx:pt idx="14533">1</cx:pt>
          <cx:pt idx="14534">4</cx:pt>
          <cx:pt idx="14535">1</cx:pt>
          <cx:pt idx="14536">1</cx:pt>
          <cx:pt idx="14537">5</cx:pt>
          <cx:pt idx="14538">2</cx:pt>
          <cx:pt idx="14539">5</cx:pt>
          <cx:pt idx="14540">4</cx:pt>
          <cx:pt idx="14541">2</cx:pt>
          <cx:pt idx="14542">1</cx:pt>
          <cx:pt idx="14543">5</cx:pt>
          <cx:pt idx="14544">3</cx:pt>
          <cx:pt idx="14545">2</cx:pt>
          <cx:pt idx="14546">3</cx:pt>
          <cx:pt idx="14547">2</cx:pt>
          <cx:pt idx="14548">3</cx:pt>
          <cx:pt idx="14549">5</cx:pt>
          <cx:pt idx="14550">1</cx:pt>
          <cx:pt idx="14551">2</cx:pt>
          <cx:pt idx="14552">3</cx:pt>
          <cx:pt idx="14553">4</cx:pt>
          <cx:pt idx="14554">5</cx:pt>
          <cx:pt idx="14555">3</cx:pt>
          <cx:pt idx="14556">5</cx:pt>
          <cx:pt idx="14557">2</cx:pt>
          <cx:pt idx="14558">5</cx:pt>
          <cx:pt idx="14559">1</cx:pt>
          <cx:pt idx="14560">4</cx:pt>
          <cx:pt idx="14561">4</cx:pt>
          <cx:pt idx="14562">3</cx:pt>
          <cx:pt idx="14563">2</cx:pt>
          <cx:pt idx="14564">3</cx:pt>
          <cx:pt idx="14565">5</cx:pt>
          <cx:pt idx="14566">4</cx:pt>
          <cx:pt idx="14567">4</cx:pt>
          <cx:pt idx="14568">4</cx:pt>
          <cx:pt idx="14569">5</cx:pt>
          <cx:pt idx="14570">4</cx:pt>
          <cx:pt idx="14571">4</cx:pt>
          <cx:pt idx="14572">3</cx:pt>
          <cx:pt idx="14573">2</cx:pt>
          <cx:pt idx="14574">4</cx:pt>
          <cx:pt idx="14575">1</cx:pt>
          <cx:pt idx="14576">5</cx:pt>
          <cx:pt idx="14577">3</cx:pt>
          <cx:pt idx="14578">1</cx:pt>
          <cx:pt idx="14579">1</cx:pt>
          <cx:pt idx="14580">4</cx:pt>
          <cx:pt idx="14581">3</cx:pt>
          <cx:pt idx="14582">4</cx:pt>
          <cx:pt idx="14583">1</cx:pt>
          <cx:pt idx="14584">3</cx:pt>
          <cx:pt idx="14585">3</cx:pt>
          <cx:pt idx="14586">5</cx:pt>
          <cx:pt idx="14587">4</cx:pt>
          <cx:pt idx="14588">5</cx:pt>
          <cx:pt idx="14589">1</cx:pt>
          <cx:pt idx="14590">1</cx:pt>
          <cx:pt idx="14591">4</cx:pt>
          <cx:pt idx="14592">3</cx:pt>
          <cx:pt idx="14593">2</cx:pt>
          <cx:pt idx="14594">2</cx:pt>
          <cx:pt idx="14595">3</cx:pt>
          <cx:pt idx="14596">3</cx:pt>
          <cx:pt idx="14597">4</cx:pt>
          <cx:pt idx="14598">5</cx:pt>
          <cx:pt idx="14599">5</cx:pt>
          <cx:pt idx="14600">2</cx:pt>
          <cx:pt idx="14601">4</cx:pt>
          <cx:pt idx="14602">4</cx:pt>
          <cx:pt idx="14603">3</cx:pt>
          <cx:pt idx="14604">2</cx:pt>
          <cx:pt idx="14605">5</cx:pt>
          <cx:pt idx="14606">4</cx:pt>
          <cx:pt idx="14607">5</cx:pt>
          <cx:pt idx="14608">5</cx:pt>
          <cx:pt idx="14609">4</cx:pt>
          <cx:pt idx="14610">5</cx:pt>
          <cx:pt idx="14611">2</cx:pt>
          <cx:pt idx="14612">4</cx:pt>
          <cx:pt idx="14613">3</cx:pt>
          <cx:pt idx="14614">1</cx:pt>
          <cx:pt idx="14615">4</cx:pt>
          <cx:pt idx="14616">4</cx:pt>
          <cx:pt idx="14617">3</cx:pt>
          <cx:pt idx="14618">4</cx:pt>
          <cx:pt idx="14619">1</cx:pt>
          <cx:pt idx="14620">5</cx:pt>
          <cx:pt idx="14621">2</cx:pt>
          <cx:pt idx="14622">3</cx:pt>
          <cx:pt idx="14623">2</cx:pt>
          <cx:pt idx="14624">3</cx:pt>
          <cx:pt idx="14625">2</cx:pt>
          <cx:pt idx="14626">5</cx:pt>
          <cx:pt idx="14627">5</cx:pt>
          <cx:pt idx="14628">2</cx:pt>
          <cx:pt idx="14629">5</cx:pt>
          <cx:pt idx="14630">2</cx:pt>
          <cx:pt idx="14631">4</cx:pt>
          <cx:pt idx="14632">4</cx:pt>
          <cx:pt idx="14633">4</cx:pt>
          <cx:pt idx="14634">2</cx:pt>
          <cx:pt idx="14635">2</cx:pt>
          <cx:pt idx="14636">1</cx:pt>
          <cx:pt idx="14637">5</cx:pt>
          <cx:pt idx="14638">4</cx:pt>
          <cx:pt idx="14639">4</cx:pt>
          <cx:pt idx="14640">4</cx:pt>
          <cx:pt idx="14641">2</cx:pt>
          <cx:pt idx="14642">4</cx:pt>
          <cx:pt idx="14643">5</cx:pt>
          <cx:pt idx="14644">3</cx:pt>
          <cx:pt idx="14645">2</cx:pt>
          <cx:pt idx="14646">4</cx:pt>
          <cx:pt idx="14647">4</cx:pt>
          <cx:pt idx="14648">4</cx:pt>
          <cx:pt idx="14649">3</cx:pt>
          <cx:pt idx="14650">2</cx:pt>
          <cx:pt idx="14651">4</cx:pt>
          <cx:pt idx="14652">4</cx:pt>
          <cx:pt idx="14653">4</cx:pt>
          <cx:pt idx="14654">5</cx:pt>
          <cx:pt idx="14655">4</cx:pt>
          <cx:pt idx="14656">4</cx:pt>
          <cx:pt idx="14657">4</cx:pt>
          <cx:pt idx="14658">3</cx:pt>
          <cx:pt idx="14659">4</cx:pt>
          <cx:pt idx="14660">1</cx:pt>
          <cx:pt idx="14661">3</cx:pt>
          <cx:pt idx="14662">3</cx:pt>
          <cx:pt idx="14663">1</cx:pt>
          <cx:pt idx="14664">4</cx:pt>
          <cx:pt idx="14665">4</cx:pt>
          <cx:pt idx="14666">5</cx:pt>
          <cx:pt idx="14667">2</cx:pt>
          <cx:pt idx="14668">4</cx:pt>
          <cx:pt idx="14669">2</cx:pt>
          <cx:pt idx="14670">1</cx:pt>
          <cx:pt idx="14671">4</cx:pt>
          <cx:pt idx="14672">2</cx:pt>
          <cx:pt idx="14673">3</cx:pt>
          <cx:pt idx="14674">1</cx:pt>
          <cx:pt idx="14675">4</cx:pt>
          <cx:pt idx="14676">4</cx:pt>
          <cx:pt idx="14677">3</cx:pt>
          <cx:pt idx="14678">1</cx:pt>
          <cx:pt idx="14679">5</cx:pt>
          <cx:pt idx="14680">4</cx:pt>
          <cx:pt idx="14681">1</cx:pt>
          <cx:pt idx="14682">4</cx:pt>
          <cx:pt idx="14683">2</cx:pt>
          <cx:pt idx="14684">3</cx:pt>
          <cx:pt idx="14685">4</cx:pt>
          <cx:pt idx="14686">5</cx:pt>
          <cx:pt idx="14687">5</cx:pt>
          <cx:pt idx="14688">3</cx:pt>
          <cx:pt idx="14689">4</cx:pt>
          <cx:pt idx="14690">1</cx:pt>
          <cx:pt idx="14691">4</cx:pt>
          <cx:pt idx="14692">4</cx:pt>
          <cx:pt idx="14693">5</cx:pt>
          <cx:pt idx="14694">5</cx:pt>
          <cx:pt idx="14695">3</cx:pt>
          <cx:pt idx="14696">4</cx:pt>
          <cx:pt idx="14697">5</cx:pt>
          <cx:pt idx="14698">4</cx:pt>
          <cx:pt idx="14699">1</cx:pt>
          <cx:pt idx="14700">2</cx:pt>
          <cx:pt idx="14701">3</cx:pt>
          <cx:pt idx="14702">4</cx:pt>
          <cx:pt idx="14703">4</cx:pt>
          <cx:pt idx="14704">1</cx:pt>
          <cx:pt idx="14705">3</cx:pt>
          <cx:pt idx="14706">5</cx:pt>
          <cx:pt idx="14707">2</cx:pt>
          <cx:pt idx="14708">5</cx:pt>
          <cx:pt idx="14709">3</cx:pt>
          <cx:pt idx="14710">5</cx:pt>
          <cx:pt idx="14711">5</cx:pt>
          <cx:pt idx="14712">5</cx:pt>
          <cx:pt idx="14713">2</cx:pt>
          <cx:pt idx="14714">4</cx:pt>
          <cx:pt idx="14715">5</cx:pt>
          <cx:pt idx="14716">1</cx:pt>
          <cx:pt idx="14717">5</cx:pt>
          <cx:pt idx="14718">5</cx:pt>
          <cx:pt idx="14719">4</cx:pt>
          <cx:pt idx="14720">4</cx:pt>
          <cx:pt idx="14721">3</cx:pt>
          <cx:pt idx="14722">4</cx:pt>
          <cx:pt idx="14723">2</cx:pt>
          <cx:pt idx="14724">5</cx:pt>
          <cx:pt idx="14725">5</cx:pt>
          <cx:pt idx="14726">4</cx:pt>
          <cx:pt idx="14727">4</cx:pt>
          <cx:pt idx="14728">3</cx:pt>
          <cx:pt idx="14729">3</cx:pt>
          <cx:pt idx="14730">3</cx:pt>
          <cx:pt idx="14731">4</cx:pt>
          <cx:pt idx="14732">4</cx:pt>
          <cx:pt idx="14733">3</cx:pt>
          <cx:pt idx="14734">5</cx:pt>
          <cx:pt idx="14735">4</cx:pt>
          <cx:pt idx="14736">4</cx:pt>
          <cx:pt idx="14737">1</cx:pt>
          <cx:pt idx="14738">2</cx:pt>
          <cx:pt idx="14739">4</cx:pt>
          <cx:pt idx="14740">3</cx:pt>
          <cx:pt idx="14741">5</cx:pt>
          <cx:pt idx="14742">4</cx:pt>
          <cx:pt idx="14743">4</cx:pt>
          <cx:pt idx="14744">4</cx:pt>
          <cx:pt idx="14745">5</cx:pt>
          <cx:pt idx="14746">4</cx:pt>
          <cx:pt idx="14747">2</cx:pt>
          <cx:pt idx="14748">4</cx:pt>
          <cx:pt idx="14749">2</cx:pt>
          <cx:pt idx="14750">4</cx:pt>
          <cx:pt idx="14751">3</cx:pt>
          <cx:pt idx="14752">1</cx:pt>
          <cx:pt idx="14753">3</cx:pt>
          <cx:pt idx="14754">4</cx:pt>
          <cx:pt idx="14755">4</cx:pt>
          <cx:pt idx="14756">4</cx:pt>
          <cx:pt idx="14757">4</cx:pt>
          <cx:pt idx="14758">4</cx:pt>
          <cx:pt idx="14759">5</cx:pt>
          <cx:pt idx="14760">4</cx:pt>
          <cx:pt idx="14761">3</cx:pt>
          <cx:pt idx="14762">5</cx:pt>
          <cx:pt idx="14763">4</cx:pt>
          <cx:pt idx="14764">4</cx:pt>
          <cx:pt idx="14765">4</cx:pt>
          <cx:pt idx="14766">5</cx:pt>
          <cx:pt idx="14767">4</cx:pt>
          <cx:pt idx="14768">4</cx:pt>
          <cx:pt idx="14769">2</cx:pt>
          <cx:pt idx="14770">5</cx:pt>
          <cx:pt idx="14771">5</cx:pt>
          <cx:pt idx="14772">3</cx:pt>
          <cx:pt idx="14773">5</cx:pt>
          <cx:pt idx="14774">4</cx:pt>
          <cx:pt idx="14775">4</cx:pt>
          <cx:pt idx="14776">4</cx:pt>
          <cx:pt idx="14777">5</cx:pt>
          <cx:pt idx="14778">4</cx:pt>
          <cx:pt idx="14779">3</cx:pt>
          <cx:pt idx="14780">5</cx:pt>
          <cx:pt idx="14781">1</cx:pt>
          <cx:pt idx="14782">1</cx:pt>
          <cx:pt idx="14783">5</cx:pt>
          <cx:pt idx="14784">4</cx:pt>
          <cx:pt idx="14785">4</cx:pt>
          <cx:pt idx="14786">5</cx:pt>
          <cx:pt idx="14787">3</cx:pt>
          <cx:pt idx="14788">3</cx:pt>
          <cx:pt idx="14789">4</cx:pt>
          <cx:pt idx="14790">4</cx:pt>
          <cx:pt idx="14791">1</cx:pt>
          <cx:pt idx="14792">4</cx:pt>
          <cx:pt idx="14793">5</cx:pt>
          <cx:pt idx="14794">5</cx:pt>
          <cx:pt idx="14795">4</cx:pt>
          <cx:pt idx="14796">4</cx:pt>
          <cx:pt idx="14797">1</cx:pt>
          <cx:pt idx="14798">4</cx:pt>
          <cx:pt idx="14799">1</cx:pt>
          <cx:pt idx="14800">5</cx:pt>
          <cx:pt idx="14801">4</cx:pt>
          <cx:pt idx="14802">4</cx:pt>
          <cx:pt idx="14803">1</cx:pt>
          <cx:pt idx="14804">5</cx:pt>
          <cx:pt idx="14805">5</cx:pt>
          <cx:pt idx="14806">5</cx:pt>
          <cx:pt idx="14807">3</cx:pt>
          <cx:pt idx="14808">4</cx:pt>
          <cx:pt idx="14809">4</cx:pt>
          <cx:pt idx="14810">4</cx:pt>
          <cx:pt idx="14811">5</cx:pt>
          <cx:pt idx="14812">5</cx:pt>
          <cx:pt idx="14813">5</cx:pt>
          <cx:pt idx="14814">4</cx:pt>
          <cx:pt idx="14815">5</cx:pt>
          <cx:pt idx="14816">3</cx:pt>
          <cx:pt idx="14817">3</cx:pt>
          <cx:pt idx="14818">4</cx:pt>
          <cx:pt idx="14819">3</cx:pt>
          <cx:pt idx="14820">3</cx:pt>
          <cx:pt idx="14821">5</cx:pt>
          <cx:pt idx="14822">4</cx:pt>
          <cx:pt idx="14823">2</cx:pt>
          <cx:pt idx="14824">3</cx:pt>
          <cx:pt idx="14825">5</cx:pt>
          <cx:pt idx="14826">5</cx:pt>
          <cx:pt idx="14827">3</cx:pt>
          <cx:pt idx="14828">5</cx:pt>
          <cx:pt idx="14829">5</cx:pt>
          <cx:pt idx="14830">3</cx:pt>
          <cx:pt idx="14831">4</cx:pt>
          <cx:pt idx="14832">2</cx:pt>
          <cx:pt idx="14833">5</cx:pt>
          <cx:pt idx="14834">4</cx:pt>
          <cx:pt idx="14835">4</cx:pt>
          <cx:pt idx="14836">3</cx:pt>
          <cx:pt idx="14837">3</cx:pt>
          <cx:pt idx="14838">4</cx:pt>
          <cx:pt idx="14839">4</cx:pt>
          <cx:pt idx="14840">4</cx:pt>
          <cx:pt idx="14841">4</cx:pt>
          <cx:pt idx="14842">4</cx:pt>
          <cx:pt idx="14843">3</cx:pt>
          <cx:pt idx="14844">5</cx:pt>
          <cx:pt idx="14845">4</cx:pt>
          <cx:pt idx="14846">3</cx:pt>
          <cx:pt idx="14847">2</cx:pt>
          <cx:pt idx="14848">4</cx:pt>
          <cx:pt idx="14849">5</cx:pt>
          <cx:pt idx="14850">5</cx:pt>
          <cx:pt idx="14851">1</cx:pt>
          <cx:pt idx="14852">1</cx:pt>
          <cx:pt idx="14853">4</cx:pt>
          <cx:pt idx="14854">3</cx:pt>
          <cx:pt idx="14855">3</cx:pt>
          <cx:pt idx="14856">4</cx:pt>
          <cx:pt idx="14857">4</cx:pt>
          <cx:pt idx="14858">5</cx:pt>
          <cx:pt idx="14859">1</cx:pt>
          <cx:pt idx="14860">3</cx:pt>
          <cx:pt idx="14861">1</cx:pt>
          <cx:pt idx="14862">5</cx:pt>
          <cx:pt idx="14863">4</cx:pt>
          <cx:pt idx="14864">5</cx:pt>
          <cx:pt idx="14865">3</cx:pt>
          <cx:pt idx="14866">5</cx:pt>
          <cx:pt idx="14867">1</cx:pt>
          <cx:pt idx="14868">4</cx:pt>
          <cx:pt idx="14869">5</cx:pt>
          <cx:pt idx="14870">5</cx:pt>
          <cx:pt idx="14871">3</cx:pt>
          <cx:pt idx="14872">5</cx:pt>
          <cx:pt idx="14873">5</cx:pt>
          <cx:pt idx="14874">4</cx:pt>
          <cx:pt idx="14875">2</cx:pt>
          <cx:pt idx="14876">3</cx:pt>
          <cx:pt idx="14877">3</cx:pt>
          <cx:pt idx="14878">3</cx:pt>
          <cx:pt idx="14879">5</cx:pt>
          <cx:pt idx="14880">4</cx:pt>
          <cx:pt idx="14881">4</cx:pt>
          <cx:pt idx="14882">5</cx:pt>
          <cx:pt idx="14883">5</cx:pt>
          <cx:pt idx="14884">2</cx:pt>
          <cx:pt idx="14885">4</cx:pt>
          <cx:pt idx="14886">3</cx:pt>
          <cx:pt idx="14887">4</cx:pt>
          <cx:pt idx="14888">4</cx:pt>
          <cx:pt idx="14889">5</cx:pt>
          <cx:pt idx="14890">4</cx:pt>
          <cx:pt idx="14891">4</cx:pt>
          <cx:pt idx="14892">4</cx:pt>
          <cx:pt idx="14893">4</cx:pt>
          <cx:pt idx="14894">1</cx:pt>
          <cx:pt idx="14895">4</cx:pt>
          <cx:pt idx="14896">2</cx:pt>
          <cx:pt idx="14897">4</cx:pt>
          <cx:pt idx="14898">2</cx:pt>
          <cx:pt idx="14899">5</cx:pt>
          <cx:pt idx="14900">5</cx:pt>
          <cx:pt idx="14901">4</cx:pt>
          <cx:pt idx="14902">1</cx:pt>
          <cx:pt idx="14903">5</cx:pt>
          <cx:pt idx="14904">5</cx:pt>
          <cx:pt idx="14905">3</cx:pt>
          <cx:pt idx="14906">3</cx:pt>
          <cx:pt idx="14907">2</cx:pt>
          <cx:pt idx="14908">5</cx:pt>
          <cx:pt idx="14909">4</cx:pt>
          <cx:pt idx="14910">4</cx:pt>
          <cx:pt idx="14911">5</cx:pt>
          <cx:pt idx="14912">4</cx:pt>
          <cx:pt idx="14913">2</cx:pt>
          <cx:pt idx="14914">4</cx:pt>
          <cx:pt idx="14915">4</cx:pt>
          <cx:pt idx="14916">4</cx:pt>
          <cx:pt idx="14917">3</cx:pt>
          <cx:pt idx="14918">4</cx:pt>
          <cx:pt idx="14919">1</cx:pt>
          <cx:pt idx="14920">5</cx:pt>
          <cx:pt idx="14921">5</cx:pt>
          <cx:pt idx="14922">4</cx:pt>
          <cx:pt idx="14923">5</cx:pt>
          <cx:pt idx="14924">5</cx:pt>
          <cx:pt idx="14925">2</cx:pt>
          <cx:pt idx="14926">5</cx:pt>
          <cx:pt idx="14927">5</cx:pt>
          <cx:pt idx="14928">3</cx:pt>
          <cx:pt idx="14929">2</cx:pt>
          <cx:pt idx="14930">1</cx:pt>
          <cx:pt idx="14931">3</cx:pt>
          <cx:pt idx="14932">2</cx:pt>
          <cx:pt idx="14933">3</cx:pt>
          <cx:pt idx="14934">4</cx:pt>
          <cx:pt idx="14935">3</cx:pt>
          <cx:pt idx="14936">5</cx:pt>
          <cx:pt idx="14937">4</cx:pt>
          <cx:pt idx="14938">3</cx:pt>
          <cx:pt idx="14939">5</cx:pt>
          <cx:pt idx="14940">5</cx:pt>
          <cx:pt idx="14941">3</cx:pt>
          <cx:pt idx="14942">4</cx:pt>
          <cx:pt idx="14943">1</cx:pt>
          <cx:pt idx="14944">2</cx:pt>
          <cx:pt idx="14945">4</cx:pt>
          <cx:pt idx="14946">2</cx:pt>
          <cx:pt idx="14947">5</cx:pt>
          <cx:pt idx="14948">5</cx:pt>
          <cx:pt idx="14949">2</cx:pt>
          <cx:pt idx="14950">4</cx:pt>
          <cx:pt idx="14951">3</cx:pt>
          <cx:pt idx="14952">1</cx:pt>
          <cx:pt idx="14953">5</cx:pt>
          <cx:pt idx="14954">5</cx:pt>
          <cx:pt idx="14955">3</cx:pt>
          <cx:pt idx="14956">5</cx:pt>
          <cx:pt idx="14957">5</cx:pt>
          <cx:pt idx="14958">3</cx:pt>
          <cx:pt idx="14959">3</cx:pt>
          <cx:pt idx="14960">3</cx:pt>
          <cx:pt idx="14961">2</cx:pt>
          <cx:pt idx="14962">3</cx:pt>
          <cx:pt idx="14963">4</cx:pt>
          <cx:pt idx="14964">4</cx:pt>
          <cx:pt idx="14965">5</cx:pt>
          <cx:pt idx="14966">1</cx:pt>
          <cx:pt idx="14967">5</cx:pt>
          <cx:pt idx="14968">4</cx:pt>
          <cx:pt idx="14969">2</cx:pt>
          <cx:pt idx="14970">5</cx:pt>
          <cx:pt idx="14971">3</cx:pt>
          <cx:pt idx="14972">5</cx:pt>
          <cx:pt idx="14973">5</cx:pt>
          <cx:pt idx="14974">4</cx:pt>
          <cx:pt idx="14975">5</cx:pt>
          <cx:pt idx="14976">4</cx:pt>
          <cx:pt idx="14977">5</cx:pt>
          <cx:pt idx="14978">2</cx:pt>
          <cx:pt idx="14979">2</cx:pt>
          <cx:pt idx="14980">3</cx:pt>
          <cx:pt idx="14981">3</cx:pt>
          <cx:pt idx="14982">4</cx:pt>
          <cx:pt idx="14983">1</cx:pt>
          <cx:pt idx="14984">3</cx:pt>
          <cx:pt idx="14985">3</cx:pt>
          <cx:pt idx="14986">2</cx:pt>
          <cx:pt idx="14987">5</cx:pt>
          <cx:pt idx="14988">5</cx:pt>
          <cx:pt idx="14989">4</cx:pt>
          <cx:pt idx="14990">4</cx:pt>
          <cx:pt idx="14991">1</cx:pt>
          <cx:pt idx="14992">2</cx:pt>
          <cx:pt idx="14993">1</cx:pt>
          <cx:pt idx="14994">3</cx:pt>
          <cx:pt idx="14995">2</cx:pt>
          <cx:pt idx="14996">5</cx:pt>
          <cx:pt idx="14997">4</cx:pt>
          <cx:pt idx="14998">3</cx:pt>
          <cx:pt idx="14999">1</cx:pt>
          <cx:pt idx="15000">4</cx:pt>
          <cx:pt idx="15001">5</cx:pt>
          <cx:pt idx="15002">5</cx:pt>
          <cx:pt idx="15003">4</cx:pt>
          <cx:pt idx="15004">4</cx:pt>
          <cx:pt idx="15005">2</cx:pt>
          <cx:pt idx="15006">4</cx:pt>
          <cx:pt idx="15007">4</cx:pt>
          <cx:pt idx="15008">5</cx:pt>
          <cx:pt idx="15009">1</cx:pt>
          <cx:pt idx="15010">4</cx:pt>
          <cx:pt idx="15011">4</cx:pt>
          <cx:pt idx="15012">5</cx:pt>
          <cx:pt idx="15013">4</cx:pt>
          <cx:pt idx="15014">5</cx:pt>
          <cx:pt idx="15015">1</cx:pt>
          <cx:pt idx="15016">2</cx:pt>
          <cx:pt idx="15017">4</cx:pt>
          <cx:pt idx="15018">2</cx:pt>
          <cx:pt idx="15019">5</cx:pt>
          <cx:pt idx="15020">1</cx:pt>
          <cx:pt idx="15021">4</cx:pt>
          <cx:pt idx="15022">1</cx:pt>
          <cx:pt idx="15023">4</cx:pt>
          <cx:pt idx="15024">4</cx:pt>
          <cx:pt idx="15025">4</cx:pt>
          <cx:pt idx="15026">4</cx:pt>
          <cx:pt idx="15027">3</cx:pt>
          <cx:pt idx="15028">5</cx:pt>
          <cx:pt idx="15029">4</cx:pt>
          <cx:pt idx="15030">4</cx:pt>
          <cx:pt idx="15031">5</cx:pt>
          <cx:pt idx="15032">5</cx:pt>
          <cx:pt idx="15033">5</cx:pt>
          <cx:pt idx="15034">3</cx:pt>
          <cx:pt idx="15035">5</cx:pt>
          <cx:pt idx="15036">5</cx:pt>
          <cx:pt idx="15037">4</cx:pt>
          <cx:pt idx="15038">5</cx:pt>
          <cx:pt idx="15039">4</cx:pt>
          <cx:pt idx="15040">4</cx:pt>
          <cx:pt idx="15041">5</cx:pt>
          <cx:pt idx="15042">5</cx:pt>
          <cx:pt idx="15043">4</cx:pt>
          <cx:pt idx="15044">4</cx:pt>
          <cx:pt idx="15045">5</cx:pt>
          <cx:pt idx="15046">5</cx:pt>
          <cx:pt idx="15047">4</cx:pt>
          <cx:pt idx="15048">2</cx:pt>
          <cx:pt idx="15049">2</cx:pt>
          <cx:pt idx="15050">5</cx:pt>
          <cx:pt idx="15051">5</cx:pt>
          <cx:pt idx="15052">5</cx:pt>
          <cx:pt idx="15053">2</cx:pt>
          <cx:pt idx="15054">5</cx:pt>
          <cx:pt idx="15055">5</cx:pt>
          <cx:pt idx="15056">5</cx:pt>
          <cx:pt idx="15057">4</cx:pt>
          <cx:pt idx="15058">4</cx:pt>
          <cx:pt idx="15059">2</cx:pt>
          <cx:pt idx="15060">4</cx:pt>
          <cx:pt idx="15061">4</cx:pt>
          <cx:pt idx="15062">5</cx:pt>
          <cx:pt idx="15063">2</cx:pt>
          <cx:pt idx="15064">4</cx:pt>
          <cx:pt idx="15065">2</cx:pt>
          <cx:pt idx="15066">5</cx:pt>
          <cx:pt idx="15067">5</cx:pt>
          <cx:pt idx="15068">5</cx:pt>
          <cx:pt idx="15069">3</cx:pt>
          <cx:pt idx="15070">5</cx:pt>
          <cx:pt idx="15071">3</cx:pt>
          <cx:pt idx="15072">5</cx:pt>
          <cx:pt idx="15073">3</cx:pt>
          <cx:pt idx="15074">5</cx:pt>
          <cx:pt idx="15075">1</cx:pt>
          <cx:pt idx="15076">5</cx:pt>
          <cx:pt idx="15077">4</cx:pt>
          <cx:pt idx="15078">5</cx:pt>
          <cx:pt idx="15079">5</cx:pt>
          <cx:pt idx="15080">5</cx:pt>
          <cx:pt idx="15081">4</cx:pt>
          <cx:pt idx="15082">2</cx:pt>
          <cx:pt idx="15083">5</cx:pt>
          <cx:pt idx="15084">3</cx:pt>
          <cx:pt idx="15085">4</cx:pt>
          <cx:pt idx="15086">3</cx:pt>
          <cx:pt idx="15087">4</cx:pt>
          <cx:pt idx="15088">4</cx:pt>
          <cx:pt idx="15089">4</cx:pt>
          <cx:pt idx="15090">3</cx:pt>
          <cx:pt idx="15091">4</cx:pt>
          <cx:pt idx="15092">3</cx:pt>
          <cx:pt idx="15093">2</cx:pt>
          <cx:pt idx="15094">4</cx:pt>
          <cx:pt idx="15095">4</cx:pt>
          <cx:pt idx="15096">2</cx:pt>
          <cx:pt idx="15097">5</cx:pt>
          <cx:pt idx="15098">2</cx:pt>
          <cx:pt idx="15099">5</cx:pt>
          <cx:pt idx="15100">3</cx:pt>
          <cx:pt idx="15101">5</cx:pt>
          <cx:pt idx="15102">1</cx:pt>
          <cx:pt idx="15103">5</cx:pt>
          <cx:pt idx="15104">4</cx:pt>
          <cx:pt idx="15105">4</cx:pt>
          <cx:pt idx="15106">5</cx:pt>
          <cx:pt idx="15107">3</cx:pt>
          <cx:pt idx="15108">2</cx:pt>
          <cx:pt idx="15109">5</cx:pt>
          <cx:pt idx="15110">3</cx:pt>
          <cx:pt idx="15111">5</cx:pt>
          <cx:pt idx="15112">4</cx:pt>
          <cx:pt idx="15113">1</cx:pt>
          <cx:pt idx="15114">4</cx:pt>
          <cx:pt idx="15115">3</cx:pt>
          <cx:pt idx="15116">3</cx:pt>
          <cx:pt idx="15117">3</cx:pt>
          <cx:pt idx="15118">4</cx:pt>
          <cx:pt idx="15119">4</cx:pt>
          <cx:pt idx="15120">4</cx:pt>
          <cx:pt idx="15121">4</cx:pt>
          <cx:pt idx="15122">3</cx:pt>
          <cx:pt idx="15123">5</cx:pt>
          <cx:pt idx="15124">5</cx:pt>
          <cx:pt idx="15125">1</cx:pt>
          <cx:pt idx="15126">4</cx:pt>
          <cx:pt idx="15127">5</cx:pt>
          <cx:pt idx="15128">2</cx:pt>
          <cx:pt idx="15129">3</cx:pt>
          <cx:pt idx="15130">4</cx:pt>
          <cx:pt idx="15131">2</cx:pt>
          <cx:pt idx="15132">5</cx:pt>
          <cx:pt idx="15133">4</cx:pt>
          <cx:pt idx="15134">3</cx:pt>
          <cx:pt idx="15135">2</cx:pt>
          <cx:pt idx="15136">5</cx:pt>
          <cx:pt idx="15137">5</cx:pt>
          <cx:pt idx="15138">1</cx:pt>
          <cx:pt idx="15139">1</cx:pt>
          <cx:pt idx="15140">4</cx:pt>
          <cx:pt idx="15141">5</cx:pt>
          <cx:pt idx="15142">4</cx:pt>
          <cx:pt idx="15143">4</cx:pt>
          <cx:pt idx="15144">4</cx:pt>
          <cx:pt idx="15145">2</cx:pt>
          <cx:pt idx="15146">1</cx:pt>
          <cx:pt idx="15147">1</cx:pt>
          <cx:pt idx="15148">3</cx:pt>
          <cx:pt idx="15149">2</cx:pt>
          <cx:pt idx="15150">5</cx:pt>
          <cx:pt idx="15151">5</cx:pt>
          <cx:pt idx="15152">5</cx:pt>
          <cx:pt idx="15153">2</cx:pt>
          <cx:pt idx="15154">4</cx:pt>
          <cx:pt idx="15155">5</cx:pt>
          <cx:pt idx="15156">4</cx:pt>
          <cx:pt idx="15157">4</cx:pt>
          <cx:pt idx="15158">5</cx:pt>
          <cx:pt idx="15159">3</cx:pt>
          <cx:pt idx="15160">4</cx:pt>
          <cx:pt idx="15161">3</cx:pt>
          <cx:pt idx="15162">5</cx:pt>
          <cx:pt idx="15163">3</cx:pt>
          <cx:pt idx="15164">2</cx:pt>
          <cx:pt idx="15165">5</cx:pt>
          <cx:pt idx="15166">5</cx:pt>
          <cx:pt idx="15167">5</cx:pt>
          <cx:pt idx="15168">4</cx:pt>
          <cx:pt idx="15169">5</cx:pt>
          <cx:pt idx="15170">3</cx:pt>
          <cx:pt idx="15171">5</cx:pt>
          <cx:pt idx="15172">5</cx:pt>
          <cx:pt idx="15173">2</cx:pt>
          <cx:pt idx="15174">4</cx:pt>
          <cx:pt idx="15175">3</cx:pt>
          <cx:pt idx="15176">5</cx:pt>
          <cx:pt idx="15177">1</cx:pt>
          <cx:pt idx="15178">4</cx:pt>
          <cx:pt idx="15179">5</cx:pt>
          <cx:pt idx="15180">4</cx:pt>
          <cx:pt idx="15181">5</cx:pt>
          <cx:pt idx="15182">5</cx:pt>
          <cx:pt idx="15183">1</cx:pt>
          <cx:pt idx="15184">3</cx:pt>
          <cx:pt idx="15185">2</cx:pt>
          <cx:pt idx="15186">4</cx:pt>
          <cx:pt idx="15187">4</cx:pt>
          <cx:pt idx="15188">5</cx:pt>
          <cx:pt idx="15189">4</cx:pt>
          <cx:pt idx="15190">3</cx:pt>
          <cx:pt idx="15191">4</cx:pt>
          <cx:pt idx="15192">1</cx:pt>
          <cx:pt idx="15193">4</cx:pt>
          <cx:pt idx="15194">3</cx:pt>
          <cx:pt idx="15195">4</cx:pt>
          <cx:pt idx="15196">3</cx:pt>
          <cx:pt idx="15197">2</cx:pt>
          <cx:pt idx="15198">3</cx:pt>
          <cx:pt idx="15199">4</cx:pt>
          <cx:pt idx="15200">3</cx:pt>
          <cx:pt idx="15201">4</cx:pt>
          <cx:pt idx="15202">4</cx:pt>
          <cx:pt idx="15203">1</cx:pt>
          <cx:pt idx="15204">3</cx:pt>
          <cx:pt idx="15205">4</cx:pt>
          <cx:pt idx="15206">2</cx:pt>
          <cx:pt idx="15207">1</cx:pt>
          <cx:pt idx="15208">4</cx:pt>
          <cx:pt idx="15209">5</cx:pt>
          <cx:pt idx="15210">1</cx:pt>
          <cx:pt idx="15211">3</cx:pt>
          <cx:pt idx="15212">5</cx:pt>
          <cx:pt idx="15213">2</cx:pt>
          <cx:pt idx="15214">5</cx:pt>
          <cx:pt idx="15215">4</cx:pt>
          <cx:pt idx="15216">3</cx:pt>
          <cx:pt idx="15217">4</cx:pt>
          <cx:pt idx="15218">4</cx:pt>
          <cx:pt idx="15219">1</cx:pt>
          <cx:pt idx="15220">2</cx:pt>
          <cx:pt idx="15221">4</cx:pt>
          <cx:pt idx="15222">1</cx:pt>
          <cx:pt idx="15223">4</cx:pt>
          <cx:pt idx="15224">1</cx:pt>
          <cx:pt idx="15225">1</cx:pt>
          <cx:pt idx="15226">5</cx:pt>
          <cx:pt idx="15227">4</cx:pt>
          <cx:pt idx="15228">5</cx:pt>
          <cx:pt idx="15229">5</cx:pt>
          <cx:pt idx="15230">3</cx:pt>
          <cx:pt idx="15231">2</cx:pt>
          <cx:pt idx="15232">5</cx:pt>
          <cx:pt idx="15233">4</cx:pt>
          <cx:pt idx="15234">5</cx:pt>
          <cx:pt idx="15235">3</cx:pt>
          <cx:pt idx="15236">5</cx:pt>
          <cx:pt idx="15237">5</cx:pt>
          <cx:pt idx="15238">3</cx:pt>
          <cx:pt idx="15239">5</cx:pt>
          <cx:pt idx="15240">4</cx:pt>
          <cx:pt idx="15241">1</cx:pt>
          <cx:pt idx="15242">4</cx:pt>
          <cx:pt idx="15243">5</cx:pt>
          <cx:pt idx="15244">4</cx:pt>
          <cx:pt idx="15245">4</cx:pt>
          <cx:pt idx="15246">1</cx:pt>
          <cx:pt idx="15247">4</cx:pt>
          <cx:pt idx="15248">5</cx:pt>
          <cx:pt idx="15249">5</cx:pt>
          <cx:pt idx="15250">3</cx:pt>
          <cx:pt idx="15251">2</cx:pt>
          <cx:pt idx="15252">5</cx:pt>
          <cx:pt idx="15253">5</cx:pt>
          <cx:pt idx="15254">5</cx:pt>
          <cx:pt idx="15255">5</cx:pt>
          <cx:pt idx="15256">4</cx:pt>
          <cx:pt idx="15257">5</cx:pt>
          <cx:pt idx="15258">5</cx:pt>
          <cx:pt idx="15259">5</cx:pt>
          <cx:pt idx="15260">2</cx:pt>
          <cx:pt idx="15261">3</cx:pt>
          <cx:pt idx="15262">2</cx:pt>
          <cx:pt idx="15263">2</cx:pt>
          <cx:pt idx="15264">5</cx:pt>
          <cx:pt idx="15265">5</cx:pt>
          <cx:pt idx="15266">4</cx:pt>
          <cx:pt idx="15267">4</cx:pt>
          <cx:pt idx="15268">5</cx:pt>
          <cx:pt idx="15269">3</cx:pt>
          <cx:pt idx="15270">3</cx:pt>
          <cx:pt idx="15271">5</cx:pt>
          <cx:pt idx="15272">1</cx:pt>
          <cx:pt idx="15273">1</cx:pt>
          <cx:pt idx="15274">1</cx:pt>
          <cx:pt idx="15275">2</cx:pt>
          <cx:pt idx="15276">4</cx:pt>
          <cx:pt idx="15277">4</cx:pt>
          <cx:pt idx="15278">2</cx:pt>
          <cx:pt idx="15279">4</cx:pt>
          <cx:pt idx="15280">4</cx:pt>
          <cx:pt idx="15281">3</cx:pt>
          <cx:pt idx="15282">5</cx:pt>
          <cx:pt idx="15283">1</cx:pt>
          <cx:pt idx="15284">2</cx:pt>
          <cx:pt idx="15285">3</cx:pt>
          <cx:pt idx="15286">3</cx:pt>
          <cx:pt idx="15287">2</cx:pt>
          <cx:pt idx="15288">5</cx:pt>
          <cx:pt idx="15289">4</cx:pt>
          <cx:pt idx="15290">3</cx:pt>
          <cx:pt idx="15291">2</cx:pt>
          <cx:pt idx="15292">2</cx:pt>
          <cx:pt idx="15293">5</cx:pt>
          <cx:pt idx="15294">4</cx:pt>
          <cx:pt idx="15295">3</cx:pt>
          <cx:pt idx="15296">3</cx:pt>
          <cx:pt idx="15297">3</cx:pt>
          <cx:pt idx="15298">1</cx:pt>
          <cx:pt idx="15299">2</cx:pt>
          <cx:pt idx="15300">3</cx:pt>
          <cx:pt idx="15301">4</cx:pt>
          <cx:pt idx="15302">3</cx:pt>
          <cx:pt idx="15303">2</cx:pt>
          <cx:pt idx="15304">4</cx:pt>
          <cx:pt idx="15305">4</cx:pt>
          <cx:pt idx="15306">5</cx:pt>
          <cx:pt idx="15307">4</cx:pt>
          <cx:pt idx="15308">3</cx:pt>
          <cx:pt idx="15309">3</cx:pt>
          <cx:pt idx="15310">1</cx:pt>
          <cx:pt idx="15311">4</cx:pt>
          <cx:pt idx="15312">1</cx:pt>
          <cx:pt idx="15313">3</cx:pt>
          <cx:pt idx="15314">5</cx:pt>
          <cx:pt idx="15315">5</cx:pt>
          <cx:pt idx="15316">5</cx:pt>
          <cx:pt idx="15317">4</cx:pt>
          <cx:pt idx="15318">4</cx:pt>
          <cx:pt idx="15319">4</cx:pt>
          <cx:pt idx="15320">3</cx:pt>
          <cx:pt idx="15321">5</cx:pt>
          <cx:pt idx="15322">4</cx:pt>
          <cx:pt idx="15323">5</cx:pt>
          <cx:pt idx="15324">3</cx:pt>
          <cx:pt idx="15325">4</cx:pt>
          <cx:pt idx="15326">5</cx:pt>
          <cx:pt idx="15327">2</cx:pt>
          <cx:pt idx="15328">5</cx:pt>
          <cx:pt idx="15329">3</cx:pt>
          <cx:pt idx="15330">1</cx:pt>
          <cx:pt idx="15331">5</cx:pt>
          <cx:pt idx="15332">4</cx:pt>
          <cx:pt idx="15333">4</cx:pt>
          <cx:pt idx="15334">1</cx:pt>
          <cx:pt idx="15335">1</cx:pt>
          <cx:pt idx="15336">5</cx:pt>
          <cx:pt idx="15337">2</cx:pt>
          <cx:pt idx="15338">4</cx:pt>
          <cx:pt idx="15339">4</cx:pt>
          <cx:pt idx="15340">5</cx:pt>
          <cx:pt idx="15341">4</cx:pt>
          <cx:pt idx="15342">4</cx:pt>
          <cx:pt idx="15343">4</cx:pt>
          <cx:pt idx="15344">5</cx:pt>
          <cx:pt idx="15345">1</cx:pt>
          <cx:pt idx="15346">1</cx:pt>
          <cx:pt idx="15347">1</cx:pt>
          <cx:pt idx="15348">4</cx:pt>
          <cx:pt idx="15349">3</cx:pt>
          <cx:pt idx="15350">2</cx:pt>
          <cx:pt idx="15351">4</cx:pt>
          <cx:pt idx="15352">5</cx:pt>
          <cx:pt idx="15353">3</cx:pt>
          <cx:pt idx="15354">1</cx:pt>
          <cx:pt idx="15355">1</cx:pt>
          <cx:pt idx="15356">5</cx:pt>
          <cx:pt idx="15357">4</cx:pt>
          <cx:pt idx="15358">2</cx:pt>
          <cx:pt idx="15359">5</cx:pt>
          <cx:pt idx="15360">4</cx:pt>
          <cx:pt idx="15361">4</cx:pt>
          <cx:pt idx="15362">4</cx:pt>
          <cx:pt idx="15363">4</cx:pt>
          <cx:pt idx="15364">2</cx:pt>
          <cx:pt idx="15365">5</cx:pt>
          <cx:pt idx="15366">5</cx:pt>
          <cx:pt idx="15367">4</cx:pt>
          <cx:pt idx="15368">1</cx:pt>
          <cx:pt idx="15369">4</cx:pt>
          <cx:pt idx="15370">2</cx:pt>
          <cx:pt idx="15371">2</cx:pt>
          <cx:pt idx="15372">4</cx:pt>
          <cx:pt idx="15373">4</cx:pt>
          <cx:pt idx="15374">2</cx:pt>
          <cx:pt idx="15375">4</cx:pt>
          <cx:pt idx="15376">3</cx:pt>
          <cx:pt idx="15377">5</cx:pt>
          <cx:pt idx="15378">1</cx:pt>
          <cx:pt idx="15379">4</cx:pt>
          <cx:pt idx="15380">2</cx:pt>
          <cx:pt idx="15381">5</cx:pt>
          <cx:pt idx="15382">3</cx:pt>
          <cx:pt idx="15383">1</cx:pt>
          <cx:pt idx="15384">5</cx:pt>
          <cx:pt idx="15385">4</cx:pt>
          <cx:pt idx="15386">5</cx:pt>
          <cx:pt idx="15387">4</cx:pt>
          <cx:pt idx="15388">2</cx:pt>
          <cx:pt idx="15389">5</cx:pt>
          <cx:pt idx="15390">5</cx:pt>
          <cx:pt idx="15391">3</cx:pt>
          <cx:pt idx="15392">1</cx:pt>
          <cx:pt idx="15393">2</cx:pt>
          <cx:pt idx="15394">4</cx:pt>
          <cx:pt idx="15395">5</cx:pt>
          <cx:pt idx="15396">5</cx:pt>
          <cx:pt idx="15397">5</cx:pt>
          <cx:pt idx="15398">4</cx:pt>
          <cx:pt idx="15399">2</cx:pt>
          <cx:pt idx="15400">1</cx:pt>
          <cx:pt idx="15401">1</cx:pt>
          <cx:pt idx="15402">4</cx:pt>
          <cx:pt idx="15403">4</cx:pt>
          <cx:pt idx="15404">5</cx:pt>
          <cx:pt idx="15405">3</cx:pt>
          <cx:pt idx="15406">3</cx:pt>
          <cx:pt idx="15407">4</cx:pt>
          <cx:pt idx="15408">1</cx:pt>
          <cx:pt idx="15409">5</cx:pt>
          <cx:pt idx="15410">4</cx:pt>
          <cx:pt idx="15411">5</cx:pt>
          <cx:pt idx="15412">4</cx:pt>
          <cx:pt idx="15413">1</cx:pt>
          <cx:pt idx="15414">3</cx:pt>
          <cx:pt idx="15415">3</cx:pt>
          <cx:pt idx="15416">2</cx:pt>
          <cx:pt idx="15417">5</cx:pt>
          <cx:pt idx="15418">1</cx:pt>
          <cx:pt idx="15419">1</cx:pt>
          <cx:pt idx="15420">2</cx:pt>
          <cx:pt idx="15421">3</cx:pt>
          <cx:pt idx="15422">4</cx:pt>
          <cx:pt idx="15423">5</cx:pt>
          <cx:pt idx="15424">3</cx:pt>
          <cx:pt idx="15425">5</cx:pt>
          <cx:pt idx="15426">1</cx:pt>
          <cx:pt idx="15427">5</cx:pt>
          <cx:pt idx="15428">2</cx:pt>
          <cx:pt idx="15429">5</cx:pt>
          <cx:pt idx="15430">4</cx:pt>
          <cx:pt idx="15431">4</cx:pt>
          <cx:pt idx="15432">2</cx:pt>
          <cx:pt idx="15433">2</cx:pt>
          <cx:pt idx="15434">4</cx:pt>
          <cx:pt idx="15435">4</cx:pt>
          <cx:pt idx="15436">1</cx:pt>
          <cx:pt idx="15437">4</cx:pt>
          <cx:pt idx="15438">4</cx:pt>
          <cx:pt idx="15439">3</cx:pt>
          <cx:pt idx="15440">1</cx:pt>
          <cx:pt idx="15441">1</cx:pt>
          <cx:pt idx="15442">4</cx:pt>
          <cx:pt idx="15443">5</cx:pt>
          <cx:pt idx="15444">2</cx:pt>
          <cx:pt idx="15445">4</cx:pt>
          <cx:pt idx="15446">3</cx:pt>
          <cx:pt idx="15447">4</cx:pt>
          <cx:pt idx="15448">4</cx:pt>
          <cx:pt idx="15449">5</cx:pt>
          <cx:pt idx="15450">2</cx:pt>
          <cx:pt idx="15451">2</cx:pt>
          <cx:pt idx="15452">5</cx:pt>
          <cx:pt idx="15453">4</cx:pt>
          <cx:pt idx="15454">5</cx:pt>
          <cx:pt idx="15455">4</cx:pt>
          <cx:pt idx="15456">1</cx:pt>
          <cx:pt idx="15457">4</cx:pt>
          <cx:pt idx="15458">4</cx:pt>
          <cx:pt idx="15459">4</cx:pt>
          <cx:pt idx="15460">4</cx:pt>
          <cx:pt idx="15461">3</cx:pt>
          <cx:pt idx="15462">1</cx:pt>
          <cx:pt idx="15463">4</cx:pt>
          <cx:pt idx="15464">2</cx:pt>
          <cx:pt idx="15465">4</cx:pt>
          <cx:pt idx="15466">5</cx:pt>
          <cx:pt idx="15467">1</cx:pt>
          <cx:pt idx="15468">2</cx:pt>
          <cx:pt idx="15469">4</cx:pt>
          <cx:pt idx="15470">1</cx:pt>
          <cx:pt idx="15471">3</cx:pt>
          <cx:pt idx="15472">3</cx:pt>
          <cx:pt idx="15473">4</cx:pt>
          <cx:pt idx="15474">4</cx:pt>
          <cx:pt idx="15475">4</cx:pt>
          <cx:pt idx="15476">5</cx:pt>
          <cx:pt idx="15477">5</cx:pt>
          <cx:pt idx="15478">3</cx:pt>
          <cx:pt idx="15479">1</cx:pt>
          <cx:pt idx="15480">4</cx:pt>
          <cx:pt idx="15481">3</cx:pt>
          <cx:pt idx="15482">4</cx:pt>
          <cx:pt idx="15483">1</cx:pt>
          <cx:pt idx="15484">5</cx:pt>
          <cx:pt idx="15485">5</cx:pt>
          <cx:pt idx="15486">1</cx:pt>
          <cx:pt idx="15487">3</cx:pt>
          <cx:pt idx="15488">4</cx:pt>
          <cx:pt idx="15489">4</cx:pt>
          <cx:pt idx="15490">1</cx:pt>
          <cx:pt idx="15491">2</cx:pt>
          <cx:pt idx="15492">5</cx:pt>
          <cx:pt idx="15493">5</cx:pt>
          <cx:pt idx="15494">4</cx:pt>
          <cx:pt idx="15495">2</cx:pt>
          <cx:pt idx="15496">5</cx:pt>
          <cx:pt idx="15497">5</cx:pt>
          <cx:pt idx="15498">5</cx:pt>
          <cx:pt idx="15499">4</cx:pt>
          <cx:pt idx="15500">4</cx:pt>
          <cx:pt idx="15501">4</cx:pt>
          <cx:pt idx="15502">3</cx:pt>
          <cx:pt idx="15503">3</cx:pt>
          <cx:pt idx="15504">5</cx:pt>
          <cx:pt idx="15505">4</cx:pt>
          <cx:pt idx="15506">5</cx:pt>
          <cx:pt idx="15507">5</cx:pt>
          <cx:pt idx="15508">5</cx:pt>
          <cx:pt idx="15509">1</cx:pt>
          <cx:pt idx="15510">2</cx:pt>
          <cx:pt idx="15511">3</cx:pt>
          <cx:pt idx="15512">5</cx:pt>
          <cx:pt idx="15513">4</cx:pt>
          <cx:pt idx="15514">2</cx:pt>
          <cx:pt idx="15515">1</cx:pt>
          <cx:pt idx="15516">1</cx:pt>
          <cx:pt idx="15517">4</cx:pt>
          <cx:pt idx="15518">5</cx:pt>
          <cx:pt idx="15519">2</cx:pt>
          <cx:pt idx="15520">4</cx:pt>
          <cx:pt idx="15521">1</cx:pt>
          <cx:pt idx="15522">5</cx:pt>
          <cx:pt idx="15523">4</cx:pt>
          <cx:pt idx="15524">3</cx:pt>
          <cx:pt idx="15525">1</cx:pt>
          <cx:pt idx="15526">3</cx:pt>
          <cx:pt idx="15527">2</cx:pt>
          <cx:pt idx="15528">4</cx:pt>
          <cx:pt idx="15529">1</cx:pt>
          <cx:pt idx="15530">4</cx:pt>
          <cx:pt idx="15531">4</cx:pt>
          <cx:pt idx="15532">4</cx:pt>
          <cx:pt idx="15533">2</cx:pt>
          <cx:pt idx="15534">5</cx:pt>
          <cx:pt idx="15535">4</cx:pt>
          <cx:pt idx="15536">5</cx:pt>
          <cx:pt idx="15537">5</cx:pt>
          <cx:pt idx="15538">5</cx:pt>
          <cx:pt idx="15539">3</cx:pt>
          <cx:pt idx="15540">5</cx:pt>
          <cx:pt idx="15541">1</cx:pt>
          <cx:pt idx="15542">4</cx:pt>
          <cx:pt idx="15543">1</cx:pt>
          <cx:pt idx="15544">3</cx:pt>
          <cx:pt idx="15545">1</cx:pt>
          <cx:pt idx="15546">1</cx:pt>
          <cx:pt idx="15547">4</cx:pt>
          <cx:pt idx="15548">2</cx:pt>
          <cx:pt idx="15549">5</cx:pt>
          <cx:pt idx="15550">4</cx:pt>
          <cx:pt idx="15551">4</cx:pt>
          <cx:pt idx="15552">4</cx:pt>
          <cx:pt idx="15553">4</cx:pt>
          <cx:pt idx="15554">4</cx:pt>
          <cx:pt idx="15555">1</cx:pt>
          <cx:pt idx="15556">1</cx:pt>
          <cx:pt idx="15557">5</cx:pt>
          <cx:pt idx="15558">4</cx:pt>
          <cx:pt idx="15559">2</cx:pt>
          <cx:pt idx="15560">3</cx:pt>
          <cx:pt idx="15561">5</cx:pt>
          <cx:pt idx="15562">3</cx:pt>
          <cx:pt idx="15563">2</cx:pt>
          <cx:pt idx="15564">4</cx:pt>
          <cx:pt idx="15565">5</cx:pt>
          <cx:pt idx="15566">4</cx:pt>
          <cx:pt idx="15567">5</cx:pt>
          <cx:pt idx="15568">5</cx:pt>
          <cx:pt idx="15569">4</cx:pt>
          <cx:pt idx="15570">5</cx:pt>
          <cx:pt idx="15571">3</cx:pt>
          <cx:pt idx="15572">5</cx:pt>
          <cx:pt idx="15573">1</cx:pt>
          <cx:pt idx="15574">2</cx:pt>
          <cx:pt idx="15575">1</cx:pt>
          <cx:pt idx="15576">4</cx:pt>
          <cx:pt idx="15577">2</cx:pt>
          <cx:pt idx="15578">5</cx:pt>
          <cx:pt idx="15579">4</cx:pt>
          <cx:pt idx="15580">4</cx:pt>
          <cx:pt idx="15581">5</cx:pt>
          <cx:pt idx="15582">2</cx:pt>
          <cx:pt idx="15583">2</cx:pt>
          <cx:pt idx="15584">2</cx:pt>
          <cx:pt idx="15585">5</cx:pt>
          <cx:pt idx="15586">3</cx:pt>
          <cx:pt idx="15587">4</cx:pt>
          <cx:pt idx="15588">3</cx:pt>
          <cx:pt idx="15589">5</cx:pt>
          <cx:pt idx="15590">4</cx:pt>
          <cx:pt idx="15591">4</cx:pt>
          <cx:pt idx="15592">4</cx:pt>
          <cx:pt idx="15593">5</cx:pt>
          <cx:pt idx="15594">2</cx:pt>
          <cx:pt idx="15595">4</cx:pt>
          <cx:pt idx="15596">4</cx:pt>
          <cx:pt idx="15597">4</cx:pt>
          <cx:pt idx="15598">5</cx:pt>
          <cx:pt idx="15599">2</cx:pt>
          <cx:pt idx="15600">4</cx:pt>
          <cx:pt idx="15601">1</cx:pt>
          <cx:pt idx="15602">4</cx:pt>
          <cx:pt idx="15603">2</cx:pt>
          <cx:pt idx="15604">4</cx:pt>
          <cx:pt idx="15605">1</cx:pt>
          <cx:pt idx="15606">4</cx:pt>
          <cx:pt idx="15607">1</cx:pt>
          <cx:pt idx="15608">4</cx:pt>
          <cx:pt idx="15609">1</cx:pt>
          <cx:pt idx="15610">4</cx:pt>
          <cx:pt idx="15611">2</cx:pt>
          <cx:pt idx="15612">1</cx:pt>
          <cx:pt idx="15613">5</cx:pt>
          <cx:pt idx="15614">4</cx:pt>
          <cx:pt idx="15615">4</cx:pt>
          <cx:pt idx="15616">5</cx:pt>
          <cx:pt idx="15617">2</cx:pt>
          <cx:pt idx="15618">3</cx:pt>
          <cx:pt idx="15619">2</cx:pt>
          <cx:pt idx="15620">4</cx:pt>
          <cx:pt idx="15621">4</cx:pt>
          <cx:pt idx="15622">1</cx:pt>
          <cx:pt idx="15623">4</cx:pt>
          <cx:pt idx="15624">1</cx:pt>
          <cx:pt idx="15625">5</cx:pt>
          <cx:pt idx="15626">4</cx:pt>
          <cx:pt idx="15627">1</cx:pt>
          <cx:pt idx="15628">4</cx:pt>
          <cx:pt idx="15629">4</cx:pt>
          <cx:pt idx="15630">5</cx:pt>
          <cx:pt idx="15631">2</cx:pt>
          <cx:pt idx="15632">2</cx:pt>
          <cx:pt idx="15633">5</cx:pt>
          <cx:pt idx="15634">4</cx:pt>
          <cx:pt idx="15635">4</cx:pt>
          <cx:pt idx="15636">4</cx:pt>
          <cx:pt idx="15637">5</cx:pt>
          <cx:pt idx="15638">4</cx:pt>
          <cx:pt idx="15639">2</cx:pt>
          <cx:pt idx="15640">5</cx:pt>
          <cx:pt idx="15641">3</cx:pt>
          <cx:pt idx="15642">1</cx:pt>
          <cx:pt idx="15643">4</cx:pt>
          <cx:pt idx="15644">4</cx:pt>
          <cx:pt idx="15645">5</cx:pt>
          <cx:pt idx="15646">3</cx:pt>
          <cx:pt idx="15647">4</cx:pt>
          <cx:pt idx="15648">3</cx:pt>
          <cx:pt idx="15649">4</cx:pt>
          <cx:pt idx="15650">5</cx:pt>
          <cx:pt idx="15651">2</cx:pt>
          <cx:pt idx="15652">4</cx:pt>
          <cx:pt idx="15653">4</cx:pt>
          <cx:pt idx="15654">3</cx:pt>
          <cx:pt idx="15655">1</cx:pt>
          <cx:pt idx="15656">2</cx:pt>
          <cx:pt idx="15657">4</cx:pt>
          <cx:pt idx="15658">4</cx:pt>
          <cx:pt idx="15659">5</cx:pt>
          <cx:pt idx="15660">4</cx:pt>
          <cx:pt idx="15661">4</cx:pt>
          <cx:pt idx="15662">5</cx:pt>
          <cx:pt idx="15663">4</cx:pt>
          <cx:pt idx="15664">5</cx:pt>
          <cx:pt idx="15665">3</cx:pt>
          <cx:pt idx="15666">3</cx:pt>
          <cx:pt idx="15667">1</cx:pt>
          <cx:pt idx="15668">1</cx:pt>
          <cx:pt idx="15669">4</cx:pt>
          <cx:pt idx="15670">2</cx:pt>
          <cx:pt idx="15671">2</cx:pt>
          <cx:pt idx="15672">4</cx:pt>
          <cx:pt idx="15673">5</cx:pt>
          <cx:pt idx="15674">3</cx:pt>
          <cx:pt idx="15675">5</cx:pt>
          <cx:pt idx="15676">1</cx:pt>
          <cx:pt idx="15677">3</cx:pt>
          <cx:pt idx="15678">4</cx:pt>
          <cx:pt idx="15679">1</cx:pt>
          <cx:pt idx="15680">2</cx:pt>
          <cx:pt idx="15681">4</cx:pt>
          <cx:pt idx="15682">4</cx:pt>
          <cx:pt idx="15683">4</cx:pt>
          <cx:pt idx="15684">5</cx:pt>
          <cx:pt idx="15685">2</cx:pt>
          <cx:pt idx="15686">4</cx:pt>
          <cx:pt idx="15687">1</cx:pt>
          <cx:pt idx="15688">4</cx:pt>
          <cx:pt idx="15689">5</cx:pt>
          <cx:pt idx="15690">2</cx:pt>
          <cx:pt idx="15691">1</cx:pt>
          <cx:pt idx="15692">2</cx:pt>
          <cx:pt idx="15693">3</cx:pt>
          <cx:pt idx="15694">5</cx:pt>
          <cx:pt idx="15695">3</cx:pt>
          <cx:pt idx="15696">4</cx:pt>
          <cx:pt idx="15697">5</cx:pt>
          <cx:pt idx="15698">4</cx:pt>
          <cx:pt idx="15699">5</cx:pt>
          <cx:pt idx="15700">4</cx:pt>
          <cx:pt idx="15701">2</cx:pt>
          <cx:pt idx="15702">1</cx:pt>
          <cx:pt idx="15703">5</cx:pt>
          <cx:pt idx="15704">2</cx:pt>
          <cx:pt idx="15705">1</cx:pt>
          <cx:pt idx="15706">1</cx:pt>
          <cx:pt idx="15707">1</cx:pt>
          <cx:pt idx="15708">1</cx:pt>
          <cx:pt idx="15709">5</cx:pt>
          <cx:pt idx="15710">4</cx:pt>
          <cx:pt idx="15711">5</cx:pt>
          <cx:pt idx="15712">2</cx:pt>
          <cx:pt idx="15713">4</cx:pt>
          <cx:pt idx="15714">2</cx:pt>
          <cx:pt idx="15715">4</cx:pt>
          <cx:pt idx="15716">3</cx:pt>
          <cx:pt idx="15717">4</cx:pt>
          <cx:pt idx="15718">5</cx:pt>
          <cx:pt idx="15719">4</cx:pt>
          <cx:pt idx="15720">5</cx:pt>
          <cx:pt idx="15721">2</cx:pt>
          <cx:pt idx="15722">4</cx:pt>
          <cx:pt idx="15723">3</cx:pt>
          <cx:pt idx="15724">3</cx:pt>
          <cx:pt idx="15725">3</cx:pt>
          <cx:pt idx="15726">5</cx:pt>
          <cx:pt idx="15727">4</cx:pt>
          <cx:pt idx="15728">4</cx:pt>
          <cx:pt idx="15729">4</cx:pt>
          <cx:pt idx="15730">5</cx:pt>
          <cx:pt idx="15731">2</cx:pt>
          <cx:pt idx="15732">5</cx:pt>
          <cx:pt idx="15733">3</cx:pt>
          <cx:pt idx="15734">1</cx:pt>
          <cx:pt idx="15735">5</cx:pt>
          <cx:pt idx="15736">2</cx:pt>
          <cx:pt idx="15737">2</cx:pt>
          <cx:pt idx="15738">5</cx:pt>
          <cx:pt idx="15739">3</cx:pt>
          <cx:pt idx="15740">1</cx:pt>
          <cx:pt idx="15741">4</cx:pt>
          <cx:pt idx="15742">5</cx:pt>
          <cx:pt idx="15743">2</cx:pt>
          <cx:pt idx="15744">2</cx:pt>
          <cx:pt idx="15745">5</cx:pt>
          <cx:pt idx="15746">3</cx:pt>
          <cx:pt idx="15747">5</cx:pt>
          <cx:pt idx="15748">4</cx:pt>
          <cx:pt idx="15749">4</cx:pt>
          <cx:pt idx="15750">4</cx:pt>
          <cx:pt idx="15751">5</cx:pt>
          <cx:pt idx="15752">4</cx:pt>
          <cx:pt idx="15753">3</cx:pt>
          <cx:pt idx="15754">4</cx:pt>
          <cx:pt idx="15755">4</cx:pt>
          <cx:pt idx="15756">3</cx:pt>
          <cx:pt idx="15757">5</cx:pt>
          <cx:pt idx="15758">5</cx:pt>
          <cx:pt idx="15759">4</cx:pt>
          <cx:pt idx="15760">2</cx:pt>
          <cx:pt idx="15761">3</cx:pt>
          <cx:pt idx="15762">4</cx:pt>
          <cx:pt idx="15763">2</cx:pt>
          <cx:pt idx="15764">3</cx:pt>
          <cx:pt idx="15765">2</cx:pt>
          <cx:pt idx="15766">3</cx:pt>
          <cx:pt idx="15767">5</cx:pt>
          <cx:pt idx="15768">5</cx:pt>
          <cx:pt idx="15769">2</cx:pt>
          <cx:pt idx="15770">1</cx:pt>
          <cx:pt idx="15771">5</cx:pt>
          <cx:pt idx="15772">4</cx:pt>
          <cx:pt idx="15773">3</cx:pt>
          <cx:pt idx="15774">3</cx:pt>
          <cx:pt idx="15775">5</cx:pt>
          <cx:pt idx="15776">2</cx:pt>
          <cx:pt idx="15777">4</cx:pt>
          <cx:pt idx="15778">4</cx:pt>
          <cx:pt idx="15779">2</cx:pt>
          <cx:pt idx="15780">5</cx:pt>
          <cx:pt idx="15781">2</cx:pt>
          <cx:pt idx="15782">3</cx:pt>
          <cx:pt idx="15783">4</cx:pt>
          <cx:pt idx="15784">5</cx:pt>
          <cx:pt idx="15785">2</cx:pt>
          <cx:pt idx="15786">2</cx:pt>
          <cx:pt idx="15787">1</cx:pt>
          <cx:pt idx="15788">4</cx:pt>
          <cx:pt idx="15789">4</cx:pt>
          <cx:pt idx="15790">4</cx:pt>
          <cx:pt idx="15791">5</cx:pt>
          <cx:pt idx="15792">4</cx:pt>
          <cx:pt idx="15793">5</cx:pt>
          <cx:pt idx="15794">3</cx:pt>
          <cx:pt idx="15795">4</cx:pt>
          <cx:pt idx="15796">5</cx:pt>
          <cx:pt idx="15797">5</cx:pt>
          <cx:pt idx="15798">2</cx:pt>
          <cx:pt idx="15799">4</cx:pt>
          <cx:pt idx="15800">3</cx:pt>
          <cx:pt idx="15801">2</cx:pt>
          <cx:pt idx="15802">4</cx:pt>
          <cx:pt idx="15803">5</cx:pt>
          <cx:pt idx="15804">1</cx:pt>
          <cx:pt idx="15805">1</cx:pt>
          <cx:pt idx="15806">5</cx:pt>
          <cx:pt idx="15807">3</cx:pt>
          <cx:pt idx="15808">4</cx:pt>
          <cx:pt idx="15809">1</cx:pt>
          <cx:pt idx="15810">4</cx:pt>
          <cx:pt idx="15811">4</cx:pt>
          <cx:pt idx="15812">5</cx:pt>
          <cx:pt idx="15813">4</cx:pt>
          <cx:pt idx="15814">2</cx:pt>
          <cx:pt idx="15815">4</cx:pt>
          <cx:pt idx="15816">5</cx:pt>
          <cx:pt idx="15817">4</cx:pt>
          <cx:pt idx="15818">5</cx:pt>
          <cx:pt idx="15819">5</cx:pt>
          <cx:pt idx="15820">4</cx:pt>
          <cx:pt idx="15821">4</cx:pt>
          <cx:pt idx="15822">4</cx:pt>
          <cx:pt idx="15823">3</cx:pt>
          <cx:pt idx="15824">3</cx:pt>
          <cx:pt idx="15825">2</cx:pt>
          <cx:pt idx="15826">5</cx:pt>
          <cx:pt idx="15827">3</cx:pt>
          <cx:pt idx="15828">3</cx:pt>
          <cx:pt idx="15829">5</cx:pt>
          <cx:pt idx="15830">3</cx:pt>
          <cx:pt idx="15831">3</cx:pt>
          <cx:pt idx="15832">3</cx:pt>
          <cx:pt idx="15833">5</cx:pt>
          <cx:pt idx="15834">3</cx:pt>
          <cx:pt idx="15835">5</cx:pt>
          <cx:pt idx="15836">1</cx:pt>
          <cx:pt idx="15837">4</cx:pt>
          <cx:pt idx="15838">1</cx:pt>
          <cx:pt idx="15839">4</cx:pt>
          <cx:pt idx="15840">5</cx:pt>
          <cx:pt idx="15841">2</cx:pt>
          <cx:pt idx="15842">4</cx:pt>
          <cx:pt idx="15843">5</cx:pt>
          <cx:pt idx="15844">2</cx:pt>
          <cx:pt idx="15845">5</cx:pt>
          <cx:pt idx="15846">4</cx:pt>
          <cx:pt idx="15847">1</cx:pt>
          <cx:pt idx="15848">1</cx:pt>
          <cx:pt idx="15849">5</cx:pt>
          <cx:pt idx="15850">5</cx:pt>
          <cx:pt idx="15851">1</cx:pt>
          <cx:pt idx="15852">4</cx:pt>
          <cx:pt idx="15853">3</cx:pt>
          <cx:pt idx="15854">4</cx:pt>
          <cx:pt idx="15855">4</cx:pt>
          <cx:pt idx="15856">1</cx:pt>
          <cx:pt idx="15857">5</cx:pt>
          <cx:pt idx="15858">4</cx:pt>
          <cx:pt idx="15859">4</cx:pt>
          <cx:pt idx="15860">5</cx:pt>
          <cx:pt idx="15861">4</cx:pt>
          <cx:pt idx="15862">5</cx:pt>
          <cx:pt idx="15863">5</cx:pt>
          <cx:pt idx="15864">4</cx:pt>
          <cx:pt idx="15865">1</cx:pt>
          <cx:pt idx="15866">3</cx:pt>
          <cx:pt idx="15867">4</cx:pt>
          <cx:pt idx="15868">5</cx:pt>
          <cx:pt idx="15869">5</cx:pt>
          <cx:pt idx="15870">5</cx:pt>
          <cx:pt idx="15871">5</cx:pt>
          <cx:pt idx="15872">4</cx:pt>
          <cx:pt idx="15873">5</cx:pt>
          <cx:pt idx="15874">3</cx:pt>
          <cx:pt idx="15875">4</cx:pt>
          <cx:pt idx="15876">4</cx:pt>
          <cx:pt idx="15877">5</cx:pt>
          <cx:pt idx="15878">2</cx:pt>
          <cx:pt idx="15879">1</cx:pt>
          <cx:pt idx="15880">3</cx:pt>
          <cx:pt idx="15881">3</cx:pt>
          <cx:pt idx="15882">5</cx:pt>
          <cx:pt idx="15883">4</cx:pt>
          <cx:pt idx="15884">2</cx:pt>
          <cx:pt idx="15885">1</cx:pt>
          <cx:pt idx="15886">4</cx:pt>
          <cx:pt idx="15887">1</cx:pt>
          <cx:pt idx="15888">5</cx:pt>
          <cx:pt idx="15889">1</cx:pt>
          <cx:pt idx="15890">1</cx:pt>
          <cx:pt idx="15891">4</cx:pt>
          <cx:pt idx="15892">5</cx:pt>
          <cx:pt idx="15893">4</cx:pt>
          <cx:pt idx="15894">5</cx:pt>
          <cx:pt idx="15895">1</cx:pt>
          <cx:pt idx="15896">3</cx:pt>
          <cx:pt idx="15897">5</cx:pt>
          <cx:pt idx="15898">2</cx:pt>
          <cx:pt idx="15899">3</cx:pt>
          <cx:pt idx="15900">2</cx:pt>
          <cx:pt idx="15901">3</cx:pt>
          <cx:pt idx="15902">2</cx:pt>
          <cx:pt idx="15903">1</cx:pt>
          <cx:pt idx="15904">4</cx:pt>
          <cx:pt idx="15905">4</cx:pt>
          <cx:pt idx="15906">1</cx:pt>
          <cx:pt idx="15907">4</cx:pt>
          <cx:pt idx="15908">4</cx:pt>
          <cx:pt idx="15909">5</cx:pt>
          <cx:pt idx="15910">2</cx:pt>
          <cx:pt idx="15911">4</cx:pt>
          <cx:pt idx="15912">3</cx:pt>
          <cx:pt idx="15913">1</cx:pt>
          <cx:pt idx="15914">3</cx:pt>
          <cx:pt idx="15915">4</cx:pt>
          <cx:pt idx="15916">4</cx:pt>
          <cx:pt idx="15917">3</cx:pt>
          <cx:pt idx="15918">5</cx:pt>
          <cx:pt idx="15919">1</cx:pt>
          <cx:pt idx="15920">5</cx:pt>
          <cx:pt idx="15921">5</cx:pt>
          <cx:pt idx="15922">2</cx:pt>
          <cx:pt idx="15923">2</cx:pt>
          <cx:pt idx="15924">3</cx:pt>
          <cx:pt idx="15925">1</cx:pt>
          <cx:pt idx="15926">3</cx:pt>
          <cx:pt idx="15927">4</cx:pt>
          <cx:pt idx="15928">3</cx:pt>
          <cx:pt idx="15929">4</cx:pt>
          <cx:pt idx="15930">2</cx:pt>
          <cx:pt idx="15931">4</cx:pt>
          <cx:pt idx="15932">4</cx:pt>
          <cx:pt idx="15933">2</cx:pt>
          <cx:pt idx="15934">2</cx:pt>
          <cx:pt idx="15935">1</cx:pt>
          <cx:pt idx="15936">1</cx:pt>
          <cx:pt idx="15937">3</cx:pt>
          <cx:pt idx="15938">3</cx:pt>
          <cx:pt idx="15939">2</cx:pt>
          <cx:pt idx="15940">2</cx:pt>
          <cx:pt idx="15941">4</cx:pt>
          <cx:pt idx="15942">1</cx:pt>
          <cx:pt idx="15943">3</cx:pt>
          <cx:pt idx="15944">1</cx:pt>
          <cx:pt idx="15945">4</cx:pt>
          <cx:pt idx="15946">1</cx:pt>
          <cx:pt idx="15947">5</cx:pt>
          <cx:pt idx="15948">4</cx:pt>
          <cx:pt idx="15949">4</cx:pt>
          <cx:pt idx="15950">5</cx:pt>
          <cx:pt idx="15951">3</cx:pt>
          <cx:pt idx="15952">5</cx:pt>
          <cx:pt idx="15953">4</cx:pt>
          <cx:pt idx="15954">5</cx:pt>
          <cx:pt idx="15955">5</cx:pt>
          <cx:pt idx="15956">4</cx:pt>
          <cx:pt idx="15957">4</cx:pt>
          <cx:pt idx="15958">4</cx:pt>
          <cx:pt idx="15959">5</cx:pt>
          <cx:pt idx="15960">3</cx:pt>
          <cx:pt idx="15961">4</cx:pt>
          <cx:pt idx="15962">5</cx:pt>
          <cx:pt idx="15963">4</cx:pt>
          <cx:pt idx="15964">2</cx:pt>
          <cx:pt idx="15965">4</cx:pt>
          <cx:pt idx="15966">2</cx:pt>
          <cx:pt idx="15967">3</cx:pt>
          <cx:pt idx="15968">4</cx:pt>
          <cx:pt idx="15969">1</cx:pt>
          <cx:pt idx="15970">4</cx:pt>
          <cx:pt idx="15971">1</cx:pt>
          <cx:pt idx="15972">3</cx:pt>
          <cx:pt idx="15973">2</cx:pt>
          <cx:pt idx="15974">4</cx:pt>
          <cx:pt idx="15975">4</cx:pt>
          <cx:pt idx="15976">3</cx:pt>
          <cx:pt idx="15977">5</cx:pt>
          <cx:pt idx="15978">3</cx:pt>
          <cx:pt idx="15979">5</cx:pt>
          <cx:pt idx="15980">4</cx:pt>
          <cx:pt idx="15981">3</cx:pt>
          <cx:pt idx="15982">3</cx:pt>
          <cx:pt idx="15983">4</cx:pt>
          <cx:pt idx="15984">3</cx:pt>
          <cx:pt idx="15985">1</cx:pt>
          <cx:pt idx="15986">2</cx:pt>
          <cx:pt idx="15987">1</cx:pt>
          <cx:pt idx="15988">5</cx:pt>
          <cx:pt idx="15989">5</cx:pt>
          <cx:pt idx="15990">4</cx:pt>
          <cx:pt idx="15991">2</cx:pt>
          <cx:pt idx="15992">3</cx:pt>
          <cx:pt idx="15993">4</cx:pt>
          <cx:pt idx="15994">1</cx:pt>
          <cx:pt idx="15995">4</cx:pt>
          <cx:pt idx="15996">2</cx:pt>
          <cx:pt idx="15997">5</cx:pt>
          <cx:pt idx="15998">5</cx:pt>
          <cx:pt idx="15999">4</cx:pt>
          <cx:pt idx="16000">5</cx:pt>
          <cx:pt idx="16001">3</cx:pt>
          <cx:pt idx="16002">1</cx:pt>
          <cx:pt idx="16003">2</cx:pt>
          <cx:pt idx="16004">4</cx:pt>
          <cx:pt idx="16005">4</cx:pt>
          <cx:pt idx="16006">5</cx:pt>
          <cx:pt idx="16007">5</cx:pt>
          <cx:pt idx="16008">5</cx:pt>
          <cx:pt idx="16009">1</cx:pt>
          <cx:pt idx="16010">3</cx:pt>
          <cx:pt idx="16011">5</cx:pt>
          <cx:pt idx="16012">2</cx:pt>
          <cx:pt idx="16013">3</cx:pt>
          <cx:pt idx="16014">4</cx:pt>
          <cx:pt idx="16015">3</cx:pt>
          <cx:pt idx="16016">4</cx:pt>
          <cx:pt idx="16017">4</cx:pt>
          <cx:pt idx="16018">4</cx:pt>
          <cx:pt idx="16019">3</cx:pt>
          <cx:pt idx="16020">5</cx:pt>
          <cx:pt idx="16021">4</cx:pt>
          <cx:pt idx="16022">2</cx:pt>
          <cx:pt idx="16023">4</cx:pt>
          <cx:pt idx="16024">3</cx:pt>
          <cx:pt idx="16025">4</cx:pt>
          <cx:pt idx="16026">4</cx:pt>
          <cx:pt idx="16027">4</cx:pt>
          <cx:pt idx="16028">4</cx:pt>
          <cx:pt idx="16029">4</cx:pt>
          <cx:pt idx="16030">4</cx:pt>
          <cx:pt idx="16031">3</cx:pt>
          <cx:pt idx="16032">5</cx:pt>
          <cx:pt idx="16033">1</cx:pt>
          <cx:pt idx="16034">5</cx:pt>
          <cx:pt idx="16035">5</cx:pt>
          <cx:pt idx="16036">5</cx:pt>
          <cx:pt idx="16037">3</cx:pt>
          <cx:pt idx="16038">2</cx:pt>
          <cx:pt idx="16039">4</cx:pt>
          <cx:pt idx="16040">3</cx:pt>
          <cx:pt idx="16041">1</cx:pt>
          <cx:pt idx="16042">4</cx:pt>
          <cx:pt idx="16043">1</cx:pt>
          <cx:pt idx="16044">3</cx:pt>
          <cx:pt idx="16045">3</cx:pt>
          <cx:pt idx="16046">4</cx:pt>
          <cx:pt idx="16047">4</cx:pt>
          <cx:pt idx="16048">5</cx:pt>
          <cx:pt idx="16049">2</cx:pt>
          <cx:pt idx="16050">3</cx:pt>
          <cx:pt idx="16051">3</cx:pt>
          <cx:pt idx="16052">5</cx:pt>
          <cx:pt idx="16053">3</cx:pt>
          <cx:pt idx="16054">5</cx:pt>
          <cx:pt idx="16055">2</cx:pt>
          <cx:pt idx="16056">4</cx:pt>
          <cx:pt idx="16057">2</cx:pt>
          <cx:pt idx="16058">1</cx:pt>
          <cx:pt idx="16059">4</cx:pt>
          <cx:pt idx="16060">1</cx:pt>
          <cx:pt idx="16061">3</cx:pt>
          <cx:pt idx="16062">1</cx:pt>
          <cx:pt idx="16063">3</cx:pt>
          <cx:pt idx="16064">3</cx:pt>
          <cx:pt idx="16065">4</cx:pt>
          <cx:pt idx="16066">5</cx:pt>
          <cx:pt idx="16067">3</cx:pt>
          <cx:pt idx="16068">1</cx:pt>
          <cx:pt idx="16069">1</cx:pt>
          <cx:pt idx="16070">4</cx:pt>
          <cx:pt idx="16071">1</cx:pt>
          <cx:pt idx="16072">5</cx:pt>
          <cx:pt idx="16073">3</cx:pt>
          <cx:pt idx="16074">5</cx:pt>
          <cx:pt idx="16075">2</cx:pt>
          <cx:pt idx="16076">4</cx:pt>
          <cx:pt idx="16077">5</cx:pt>
          <cx:pt idx="16078">3</cx:pt>
          <cx:pt idx="16079">5</cx:pt>
          <cx:pt idx="16080">2</cx:pt>
          <cx:pt idx="16081">3</cx:pt>
          <cx:pt idx="16082">5</cx:pt>
          <cx:pt idx="16083">3</cx:pt>
          <cx:pt idx="16084">4</cx:pt>
          <cx:pt idx="16085">5</cx:pt>
          <cx:pt idx="16086">5</cx:pt>
          <cx:pt idx="16087">5</cx:pt>
          <cx:pt idx="16088">5</cx:pt>
          <cx:pt idx="16089">3</cx:pt>
          <cx:pt idx="16090">4</cx:pt>
          <cx:pt idx="16091">4</cx:pt>
          <cx:pt idx="16092">4</cx:pt>
          <cx:pt idx="16093">5</cx:pt>
          <cx:pt idx="16094">4</cx:pt>
          <cx:pt idx="16095">5</cx:pt>
          <cx:pt idx="16096">2</cx:pt>
          <cx:pt idx="16097">3</cx:pt>
          <cx:pt idx="16098">4</cx:pt>
          <cx:pt idx="16099">3</cx:pt>
          <cx:pt idx="16100">5</cx:pt>
          <cx:pt idx="16101">5</cx:pt>
          <cx:pt idx="16102">2</cx:pt>
          <cx:pt idx="16103">4</cx:pt>
          <cx:pt idx="16104">4</cx:pt>
          <cx:pt idx="16105">3</cx:pt>
          <cx:pt idx="16106">4</cx:pt>
          <cx:pt idx="16107">4</cx:pt>
          <cx:pt idx="16108">4</cx:pt>
          <cx:pt idx="16109">5</cx:pt>
          <cx:pt idx="16110">5</cx:pt>
          <cx:pt idx="16111">4</cx:pt>
          <cx:pt idx="16112">1</cx:pt>
          <cx:pt idx="16113">4</cx:pt>
          <cx:pt idx="16114">5</cx:pt>
          <cx:pt idx="16115">5</cx:pt>
          <cx:pt idx="16116">5</cx:pt>
          <cx:pt idx="16117">5</cx:pt>
          <cx:pt idx="16118">5</cx:pt>
          <cx:pt idx="16119">4</cx:pt>
          <cx:pt idx="16120">4</cx:pt>
          <cx:pt idx="16121">3</cx:pt>
          <cx:pt idx="16122">4</cx:pt>
          <cx:pt idx="16123">4</cx:pt>
          <cx:pt idx="16124">4</cx:pt>
          <cx:pt idx="16125">5</cx:pt>
          <cx:pt idx="16126">2</cx:pt>
          <cx:pt idx="16127">3</cx:pt>
          <cx:pt idx="16128">4</cx:pt>
          <cx:pt idx="16129">3</cx:pt>
          <cx:pt idx="16130">4</cx:pt>
          <cx:pt idx="16131">4</cx:pt>
          <cx:pt idx="16132">4</cx:pt>
          <cx:pt idx="16133">5</cx:pt>
          <cx:pt idx="16134">4</cx:pt>
          <cx:pt idx="16135">3</cx:pt>
          <cx:pt idx="16136">2</cx:pt>
          <cx:pt idx="16137">2</cx:pt>
          <cx:pt idx="16138">2</cx:pt>
          <cx:pt idx="16139">3</cx:pt>
          <cx:pt idx="16140">5</cx:pt>
          <cx:pt idx="16141">1</cx:pt>
          <cx:pt idx="16142">3</cx:pt>
          <cx:pt idx="16143">4</cx:pt>
          <cx:pt idx="16144">1</cx:pt>
          <cx:pt idx="16145">5</cx:pt>
          <cx:pt idx="16146">4</cx:pt>
          <cx:pt idx="16147">5</cx:pt>
          <cx:pt idx="16148">4</cx:pt>
          <cx:pt idx="16149">4</cx:pt>
          <cx:pt idx="16150">4</cx:pt>
          <cx:pt idx="16151">1</cx:pt>
          <cx:pt idx="16152">3</cx:pt>
          <cx:pt idx="16153">2</cx:pt>
          <cx:pt idx="16154">3</cx:pt>
          <cx:pt idx="16155">4</cx:pt>
          <cx:pt idx="16156">1</cx:pt>
          <cx:pt idx="16157">5</cx:pt>
          <cx:pt idx="16158">3</cx:pt>
          <cx:pt idx="16159">4</cx:pt>
          <cx:pt idx="16160">5</cx:pt>
          <cx:pt idx="16161">4</cx:pt>
          <cx:pt idx="16162">2</cx:pt>
          <cx:pt idx="16163">1</cx:pt>
          <cx:pt idx="16164">3</cx:pt>
          <cx:pt idx="16165">4</cx:pt>
          <cx:pt idx="16166">3</cx:pt>
          <cx:pt idx="16167">3</cx:pt>
          <cx:pt idx="16168">5</cx:pt>
          <cx:pt idx="16169">3</cx:pt>
          <cx:pt idx="16170">4</cx:pt>
          <cx:pt idx="16171">3</cx:pt>
          <cx:pt idx="16172">4</cx:pt>
          <cx:pt idx="16173">5</cx:pt>
          <cx:pt idx="16174">5</cx:pt>
          <cx:pt idx="16175">4</cx:pt>
          <cx:pt idx="16176">4</cx:pt>
          <cx:pt idx="16177">4</cx:pt>
          <cx:pt idx="16178">3</cx:pt>
          <cx:pt idx="16179">5</cx:pt>
          <cx:pt idx="16180">5</cx:pt>
          <cx:pt idx="16181">2</cx:pt>
          <cx:pt idx="16182">5</cx:pt>
          <cx:pt idx="16183">2</cx:pt>
          <cx:pt idx="16184">4</cx:pt>
          <cx:pt idx="16185">3</cx:pt>
          <cx:pt idx="16186">1</cx:pt>
          <cx:pt idx="16187">5</cx:pt>
          <cx:pt idx="16188">4</cx:pt>
          <cx:pt idx="16189">4</cx:pt>
          <cx:pt idx="16190">2</cx:pt>
          <cx:pt idx="16191">4</cx:pt>
          <cx:pt idx="16192">5</cx:pt>
          <cx:pt idx="16193">4</cx:pt>
          <cx:pt idx="16194">4</cx:pt>
          <cx:pt idx="16195">4</cx:pt>
          <cx:pt idx="16196">5</cx:pt>
          <cx:pt idx="16197">4</cx:pt>
          <cx:pt idx="16198">1</cx:pt>
          <cx:pt idx="16199">2</cx:pt>
          <cx:pt idx="16200">5</cx:pt>
          <cx:pt idx="16201">2</cx:pt>
          <cx:pt idx="16202">4</cx:pt>
          <cx:pt idx="16203">2</cx:pt>
          <cx:pt idx="16204">5</cx:pt>
          <cx:pt idx="16205">4</cx:pt>
          <cx:pt idx="16206">4</cx:pt>
          <cx:pt idx="16207">1</cx:pt>
          <cx:pt idx="16208">4</cx:pt>
          <cx:pt idx="16209">5</cx:pt>
          <cx:pt idx="16210">2</cx:pt>
          <cx:pt idx="16211">5</cx:pt>
          <cx:pt idx="16212">3</cx:pt>
          <cx:pt idx="16213">2</cx:pt>
          <cx:pt idx="16214">4</cx:pt>
          <cx:pt idx="16215">4</cx:pt>
          <cx:pt idx="16216">3</cx:pt>
          <cx:pt idx="16217">4</cx:pt>
          <cx:pt idx="16218">2</cx:pt>
          <cx:pt idx="16219">5</cx:pt>
          <cx:pt idx="16220">4</cx:pt>
          <cx:pt idx="16221">5</cx:pt>
          <cx:pt idx="16222">5</cx:pt>
          <cx:pt idx="16223">1</cx:pt>
          <cx:pt idx="16224">1</cx:pt>
          <cx:pt idx="16225">4</cx:pt>
          <cx:pt idx="16226">2</cx:pt>
          <cx:pt idx="16227">5</cx:pt>
          <cx:pt idx="16228">5</cx:pt>
          <cx:pt idx="16229">5</cx:pt>
          <cx:pt idx="16230">1</cx:pt>
          <cx:pt idx="16231">3</cx:pt>
          <cx:pt idx="16232">5</cx:pt>
          <cx:pt idx="16233">4</cx:pt>
          <cx:pt idx="16234">4</cx:pt>
          <cx:pt idx="16235">3</cx:pt>
          <cx:pt idx="16236">3</cx:pt>
          <cx:pt idx="16237">1</cx:pt>
          <cx:pt idx="16238">1</cx:pt>
          <cx:pt idx="16239">4</cx:pt>
          <cx:pt idx="16240">3</cx:pt>
          <cx:pt idx="16241">4</cx:pt>
          <cx:pt idx="16242">4</cx:pt>
          <cx:pt idx="16243">4</cx:pt>
          <cx:pt idx="16244">3</cx:pt>
          <cx:pt idx="16245">5</cx:pt>
          <cx:pt idx="16246">5</cx:pt>
          <cx:pt idx="16247">3</cx:pt>
          <cx:pt idx="16248">5</cx:pt>
          <cx:pt idx="16249">4</cx:pt>
          <cx:pt idx="16250">5</cx:pt>
          <cx:pt idx="16251">1</cx:pt>
          <cx:pt idx="16252">4</cx:pt>
          <cx:pt idx="16253">5</cx:pt>
          <cx:pt idx="16254">3</cx:pt>
          <cx:pt idx="16255">4</cx:pt>
          <cx:pt idx="16256">4</cx:pt>
          <cx:pt idx="16257">1</cx:pt>
          <cx:pt idx="16258">4</cx:pt>
          <cx:pt idx="16259">1</cx:pt>
          <cx:pt idx="16260">4</cx:pt>
          <cx:pt idx="16261">5</cx:pt>
          <cx:pt idx="16262">3</cx:pt>
          <cx:pt idx="16263">4</cx:pt>
          <cx:pt idx="16264">5</cx:pt>
          <cx:pt idx="16265">4</cx:pt>
          <cx:pt idx="16266">5</cx:pt>
          <cx:pt idx="16267">5</cx:pt>
          <cx:pt idx="16268">2</cx:pt>
          <cx:pt idx="16269">2</cx:pt>
          <cx:pt idx="16270">3</cx:pt>
          <cx:pt idx="16271">2</cx:pt>
          <cx:pt idx="16272">1</cx:pt>
          <cx:pt idx="16273">2</cx:pt>
          <cx:pt idx="16274">1</cx:pt>
          <cx:pt idx="16275">5</cx:pt>
          <cx:pt idx="16276">3</cx:pt>
          <cx:pt idx="16277">5</cx:pt>
          <cx:pt idx="16278">4</cx:pt>
          <cx:pt idx="16279">1</cx:pt>
          <cx:pt idx="16280">3</cx:pt>
          <cx:pt idx="16281">2</cx:pt>
          <cx:pt idx="16282">4</cx:pt>
          <cx:pt idx="16283">4</cx:pt>
          <cx:pt idx="16284">4</cx:pt>
          <cx:pt idx="16285">2</cx:pt>
          <cx:pt idx="16286">2</cx:pt>
          <cx:pt idx="16287">3</cx:pt>
          <cx:pt idx="16288">4</cx:pt>
          <cx:pt idx="16289">5</cx:pt>
          <cx:pt idx="16290">4</cx:pt>
          <cx:pt idx="16291">3</cx:pt>
          <cx:pt idx="16292">4</cx:pt>
          <cx:pt idx="16293">4</cx:pt>
          <cx:pt idx="16294">4</cx:pt>
          <cx:pt idx="16295">1</cx:pt>
          <cx:pt idx="16296">4</cx:pt>
          <cx:pt idx="16297">4</cx:pt>
          <cx:pt idx="16298">5</cx:pt>
          <cx:pt idx="16299">4</cx:pt>
          <cx:pt idx="16300">4</cx:pt>
          <cx:pt idx="16301">3</cx:pt>
          <cx:pt idx="16302">5</cx:pt>
          <cx:pt idx="16303">2</cx:pt>
          <cx:pt idx="16304">1</cx:pt>
          <cx:pt idx="16305">1</cx:pt>
          <cx:pt idx="16306">4</cx:pt>
          <cx:pt idx="16307">1</cx:pt>
          <cx:pt idx="16308">3</cx:pt>
          <cx:pt idx="16309">2</cx:pt>
          <cx:pt idx="16310">1</cx:pt>
          <cx:pt idx="16311">1</cx:pt>
          <cx:pt idx="16312">3</cx:pt>
          <cx:pt idx="16313">2</cx:pt>
          <cx:pt idx="16314">4</cx:pt>
          <cx:pt idx="16315">3</cx:pt>
          <cx:pt idx="16316">5</cx:pt>
          <cx:pt idx="16317">3</cx:pt>
          <cx:pt idx="16318">2</cx:pt>
          <cx:pt idx="16319">4</cx:pt>
          <cx:pt idx="16320">1</cx:pt>
          <cx:pt idx="16321">5</cx:pt>
          <cx:pt idx="16322">4</cx:pt>
          <cx:pt idx="16323">5</cx:pt>
          <cx:pt idx="16324">4</cx:pt>
          <cx:pt idx="16325">4</cx:pt>
          <cx:pt idx="16326">5</cx:pt>
          <cx:pt idx="16327">4</cx:pt>
          <cx:pt idx="16328">5</cx:pt>
          <cx:pt idx="16329">4</cx:pt>
          <cx:pt idx="16330">2</cx:pt>
          <cx:pt idx="16331">1</cx:pt>
          <cx:pt idx="16332">5</cx:pt>
          <cx:pt idx="16333">3</cx:pt>
          <cx:pt idx="16334">5</cx:pt>
          <cx:pt idx="16335">5</cx:pt>
          <cx:pt idx="16336">4</cx:pt>
          <cx:pt idx="16337">3</cx:pt>
          <cx:pt idx="16338">4</cx:pt>
          <cx:pt idx="16339">3</cx:pt>
          <cx:pt idx="16340">3</cx:pt>
          <cx:pt idx="16341">2</cx:pt>
          <cx:pt idx="16342">2</cx:pt>
          <cx:pt idx="16343">3</cx:pt>
          <cx:pt idx="16344">4</cx:pt>
          <cx:pt idx="16345">1</cx:pt>
          <cx:pt idx="16346">3</cx:pt>
          <cx:pt idx="16347">4</cx:pt>
          <cx:pt idx="16348">5</cx:pt>
          <cx:pt idx="16349">3</cx:pt>
          <cx:pt idx="16350">5</cx:pt>
          <cx:pt idx="16351">3</cx:pt>
          <cx:pt idx="16352">1</cx:pt>
          <cx:pt idx="16353">4</cx:pt>
          <cx:pt idx="16354">4</cx:pt>
          <cx:pt idx="16355">5</cx:pt>
          <cx:pt idx="16356">2</cx:pt>
          <cx:pt idx="16357">4</cx:pt>
          <cx:pt idx="16358">3</cx:pt>
          <cx:pt idx="16359">5</cx:pt>
          <cx:pt idx="16360">3</cx:pt>
          <cx:pt idx="16361">2</cx:pt>
          <cx:pt idx="16362">3</cx:pt>
          <cx:pt idx="16363">4</cx:pt>
          <cx:pt idx="16364">2</cx:pt>
          <cx:pt idx="16365">2</cx:pt>
          <cx:pt idx="16366">2</cx:pt>
          <cx:pt idx="16367">1</cx:pt>
          <cx:pt idx="16368">4</cx:pt>
          <cx:pt idx="16369">2</cx:pt>
          <cx:pt idx="16370">2</cx:pt>
          <cx:pt idx="16371">4</cx:pt>
          <cx:pt idx="16372">4</cx:pt>
          <cx:pt idx="16373">4</cx:pt>
          <cx:pt idx="16374">2</cx:pt>
          <cx:pt idx="16375">2</cx:pt>
          <cx:pt idx="16376">1</cx:pt>
          <cx:pt idx="16377">4</cx:pt>
          <cx:pt idx="16378">3</cx:pt>
          <cx:pt idx="16379">5</cx:pt>
          <cx:pt idx="16380">2</cx:pt>
          <cx:pt idx="16381">1</cx:pt>
          <cx:pt idx="16382">5</cx:pt>
          <cx:pt idx="16383">3</cx:pt>
          <cx:pt idx="16384">2</cx:pt>
          <cx:pt idx="16385">4</cx:pt>
          <cx:pt idx="16386">4</cx:pt>
          <cx:pt idx="16387">3</cx:pt>
          <cx:pt idx="16388">5</cx:pt>
          <cx:pt idx="16389">2</cx:pt>
          <cx:pt idx="16390">2</cx:pt>
          <cx:pt idx="16391">5</cx:pt>
          <cx:pt idx="16392">4</cx:pt>
          <cx:pt idx="16393">5</cx:pt>
          <cx:pt idx="16394">2</cx:pt>
          <cx:pt idx="16395">5</cx:pt>
          <cx:pt idx="16396">2</cx:pt>
          <cx:pt idx="16397">5</cx:pt>
          <cx:pt idx="16398">5</cx:pt>
          <cx:pt idx="16399">5</cx:pt>
          <cx:pt idx="16400">5</cx:pt>
          <cx:pt idx="16401">2</cx:pt>
          <cx:pt idx="16402">2</cx:pt>
          <cx:pt idx="16403">2</cx:pt>
          <cx:pt idx="16404">1</cx:pt>
          <cx:pt idx="16405">4</cx:pt>
          <cx:pt idx="16406">5</cx:pt>
          <cx:pt idx="16407">4</cx:pt>
          <cx:pt idx="16408">4</cx:pt>
          <cx:pt idx="16409">3</cx:pt>
          <cx:pt idx="16410">4</cx:pt>
          <cx:pt idx="16411">3</cx:pt>
          <cx:pt idx="16412">1</cx:pt>
          <cx:pt idx="16413">1</cx:pt>
          <cx:pt idx="16414">4</cx:pt>
          <cx:pt idx="16415">4</cx:pt>
          <cx:pt idx="16416">3</cx:pt>
          <cx:pt idx="16417">4</cx:pt>
          <cx:pt idx="16418">4</cx:pt>
          <cx:pt idx="16419">5</cx:pt>
          <cx:pt idx="16420">5</cx:pt>
          <cx:pt idx="16421">1</cx:pt>
          <cx:pt idx="16422">5</cx:pt>
          <cx:pt idx="16423">4</cx:pt>
          <cx:pt idx="16424">1</cx:pt>
          <cx:pt idx="16425">3</cx:pt>
          <cx:pt idx="16426">2</cx:pt>
          <cx:pt idx="16427">4</cx:pt>
          <cx:pt idx="16428">5</cx:pt>
          <cx:pt idx="16429">1</cx:pt>
          <cx:pt idx="16430">5</cx:pt>
          <cx:pt idx="16431">1</cx:pt>
          <cx:pt idx="16432">4</cx:pt>
          <cx:pt idx="16433">4</cx:pt>
          <cx:pt idx="16434">4</cx:pt>
          <cx:pt idx="16435">4</cx:pt>
          <cx:pt idx="16436">5</cx:pt>
          <cx:pt idx="16437">1</cx:pt>
          <cx:pt idx="16438">4</cx:pt>
          <cx:pt idx="16439">3</cx:pt>
          <cx:pt idx="16440">3</cx:pt>
          <cx:pt idx="16441">1</cx:pt>
          <cx:pt idx="16442">5</cx:pt>
          <cx:pt idx="16443">5</cx:pt>
          <cx:pt idx="16444">4</cx:pt>
          <cx:pt idx="16445">3</cx:pt>
          <cx:pt idx="16446">5</cx:pt>
          <cx:pt idx="16447">1</cx:pt>
          <cx:pt idx="16448">5</cx:pt>
          <cx:pt idx="16449">4</cx:pt>
          <cx:pt idx="16450">4</cx:pt>
          <cx:pt idx="16451">3</cx:pt>
          <cx:pt idx="16452">4</cx:pt>
          <cx:pt idx="16453">3</cx:pt>
          <cx:pt idx="16454">5</cx:pt>
          <cx:pt idx="16455">2</cx:pt>
          <cx:pt idx="16456">1</cx:pt>
          <cx:pt idx="16457">1</cx:pt>
          <cx:pt idx="16458">1</cx:pt>
          <cx:pt idx="16459">5</cx:pt>
          <cx:pt idx="16460">4</cx:pt>
          <cx:pt idx="16461">4</cx:pt>
          <cx:pt idx="16462">5</cx:pt>
          <cx:pt idx="16463">5</cx:pt>
          <cx:pt idx="16464">5</cx:pt>
          <cx:pt idx="16465">2</cx:pt>
          <cx:pt idx="16466">4</cx:pt>
          <cx:pt idx="16467">1</cx:pt>
          <cx:pt idx="16468">2</cx:pt>
          <cx:pt idx="16469">1</cx:pt>
          <cx:pt idx="16470">2</cx:pt>
          <cx:pt idx="16471">3</cx:pt>
          <cx:pt idx="16472">2</cx:pt>
          <cx:pt idx="16473">4</cx:pt>
          <cx:pt idx="16474">2</cx:pt>
          <cx:pt idx="16475">2</cx:pt>
          <cx:pt idx="16476">3</cx:pt>
          <cx:pt idx="16477">2</cx:pt>
          <cx:pt idx="16478">3</cx:pt>
          <cx:pt idx="16479">1</cx:pt>
          <cx:pt idx="16480">2</cx:pt>
          <cx:pt idx="16481">4</cx:pt>
          <cx:pt idx="16482">4</cx:pt>
          <cx:pt idx="16483">1</cx:pt>
          <cx:pt idx="16484">2</cx:pt>
          <cx:pt idx="16485">5</cx:pt>
          <cx:pt idx="16486">2</cx:pt>
          <cx:pt idx="16487">2</cx:pt>
          <cx:pt idx="16488">3</cx:pt>
          <cx:pt idx="16489">1</cx:pt>
          <cx:pt idx="16490">4</cx:pt>
          <cx:pt idx="16491">4</cx:pt>
          <cx:pt idx="16492">5</cx:pt>
          <cx:pt idx="16493">5</cx:pt>
          <cx:pt idx="16494">4</cx:pt>
          <cx:pt idx="16495">3</cx:pt>
          <cx:pt idx="16496">4</cx:pt>
          <cx:pt idx="16497">4</cx:pt>
          <cx:pt idx="16498">4</cx:pt>
          <cx:pt idx="16499">5</cx:pt>
          <cx:pt idx="16500">2</cx:pt>
          <cx:pt idx="16501">3</cx:pt>
          <cx:pt idx="16502">5</cx:pt>
          <cx:pt idx="16503">5</cx:pt>
          <cx:pt idx="16504">3</cx:pt>
          <cx:pt idx="16505">4</cx:pt>
          <cx:pt idx="16506">1</cx:pt>
          <cx:pt idx="16507">4</cx:pt>
          <cx:pt idx="16508">2</cx:pt>
          <cx:pt idx="16509">5</cx:pt>
          <cx:pt idx="16510">4</cx:pt>
          <cx:pt idx="16511">5</cx:pt>
          <cx:pt idx="16512">3</cx:pt>
          <cx:pt idx="16513">3</cx:pt>
          <cx:pt idx="16514">3</cx:pt>
          <cx:pt idx="16515">5</cx:pt>
          <cx:pt idx="16516">5</cx:pt>
          <cx:pt idx="16517">4</cx:pt>
          <cx:pt idx="16518">1</cx:pt>
          <cx:pt idx="16519">2</cx:pt>
          <cx:pt idx="16520">2</cx:pt>
          <cx:pt idx="16521">4</cx:pt>
          <cx:pt idx="16522">5</cx:pt>
          <cx:pt idx="16523">4</cx:pt>
          <cx:pt idx="16524">2</cx:pt>
          <cx:pt idx="16525">3</cx:pt>
          <cx:pt idx="16526">4</cx:pt>
          <cx:pt idx="16527">4</cx:pt>
          <cx:pt idx="16528">3</cx:pt>
          <cx:pt idx="16529">5</cx:pt>
          <cx:pt idx="16530">1</cx:pt>
          <cx:pt idx="16531">3</cx:pt>
          <cx:pt idx="16532">5</cx:pt>
          <cx:pt idx="16533">5</cx:pt>
          <cx:pt idx="16534">3</cx:pt>
          <cx:pt idx="16535">4</cx:pt>
          <cx:pt idx="16536">2</cx:pt>
          <cx:pt idx="16537">5</cx:pt>
          <cx:pt idx="16538">2</cx:pt>
          <cx:pt idx="16539">5</cx:pt>
          <cx:pt idx="16540">2</cx:pt>
          <cx:pt idx="16541">5</cx:pt>
          <cx:pt idx="16542">5</cx:pt>
          <cx:pt idx="16543">5</cx:pt>
          <cx:pt idx="16544">5</cx:pt>
          <cx:pt idx="16545">3</cx:pt>
          <cx:pt idx="16546">4</cx:pt>
          <cx:pt idx="16547">4</cx:pt>
          <cx:pt idx="16548">5</cx:pt>
          <cx:pt idx="16549">1</cx:pt>
          <cx:pt idx="16550">4</cx:pt>
          <cx:pt idx="16551">2</cx:pt>
          <cx:pt idx="16552">2</cx:pt>
          <cx:pt idx="16553">5</cx:pt>
          <cx:pt idx="16554">5</cx:pt>
          <cx:pt idx="16555">4</cx:pt>
          <cx:pt idx="16556">1</cx:pt>
          <cx:pt idx="16557">3</cx:pt>
          <cx:pt idx="16558">5</cx:pt>
          <cx:pt idx="16559">4</cx:pt>
          <cx:pt idx="16560">4</cx:pt>
          <cx:pt idx="16561">5</cx:pt>
          <cx:pt idx="16562">3</cx:pt>
          <cx:pt idx="16563">2</cx:pt>
          <cx:pt idx="16564">5</cx:pt>
          <cx:pt idx="16565">4</cx:pt>
          <cx:pt idx="16566">3</cx:pt>
          <cx:pt idx="16567">1</cx:pt>
          <cx:pt idx="16568">3</cx:pt>
          <cx:pt idx="16569">4</cx:pt>
          <cx:pt idx="16570">1</cx:pt>
          <cx:pt idx="16571">5</cx:pt>
          <cx:pt idx="16572">1</cx:pt>
          <cx:pt idx="16573">4</cx:pt>
          <cx:pt idx="16574">4</cx:pt>
          <cx:pt idx="16575">2</cx:pt>
          <cx:pt idx="16576">5</cx:pt>
          <cx:pt idx="16577">4</cx:pt>
          <cx:pt idx="16578">3</cx:pt>
          <cx:pt idx="16579">5</cx:pt>
          <cx:pt idx="16580">5</cx:pt>
          <cx:pt idx="16581">5</cx:pt>
          <cx:pt idx="16582">5</cx:pt>
          <cx:pt idx="16583">5</cx:pt>
          <cx:pt idx="16584">5</cx:pt>
          <cx:pt idx="16585">1</cx:pt>
          <cx:pt idx="16586">1</cx:pt>
          <cx:pt idx="16587">1</cx:pt>
          <cx:pt idx="16588">4</cx:pt>
          <cx:pt idx="16589">4</cx:pt>
          <cx:pt idx="16590">3</cx:pt>
          <cx:pt idx="16591">1</cx:pt>
          <cx:pt idx="16592">5</cx:pt>
          <cx:pt idx="16593">5</cx:pt>
          <cx:pt idx="16594">5</cx:pt>
          <cx:pt idx="16595">4</cx:pt>
          <cx:pt idx="16596">2</cx:pt>
          <cx:pt idx="16597">2</cx:pt>
          <cx:pt idx="16598">5</cx:pt>
          <cx:pt idx="16599">4</cx:pt>
          <cx:pt idx="16600">2</cx:pt>
          <cx:pt idx="16601">4</cx:pt>
          <cx:pt idx="16602">3</cx:pt>
          <cx:pt idx="16603">5</cx:pt>
          <cx:pt idx="16604">2</cx:pt>
          <cx:pt idx="16605">4</cx:pt>
          <cx:pt idx="16606">4</cx:pt>
          <cx:pt idx="16607">4</cx:pt>
          <cx:pt idx="16608">3</cx:pt>
          <cx:pt idx="16609">3</cx:pt>
          <cx:pt idx="16610">4</cx:pt>
          <cx:pt idx="16611">5</cx:pt>
          <cx:pt idx="16612">5</cx:pt>
          <cx:pt idx="16613">4</cx:pt>
          <cx:pt idx="16614">4</cx:pt>
          <cx:pt idx="16615">5</cx:pt>
          <cx:pt idx="16616">1</cx:pt>
          <cx:pt idx="16617">3</cx:pt>
          <cx:pt idx="16618">4</cx:pt>
          <cx:pt idx="16619">5</cx:pt>
          <cx:pt idx="16620">3</cx:pt>
          <cx:pt idx="16621">2</cx:pt>
          <cx:pt idx="16622">5</cx:pt>
          <cx:pt idx="16623">4</cx:pt>
          <cx:pt idx="16624">5</cx:pt>
          <cx:pt idx="16625">2</cx:pt>
          <cx:pt idx="16626">4</cx:pt>
          <cx:pt idx="16627">4</cx:pt>
          <cx:pt idx="16628">5</cx:pt>
          <cx:pt idx="16629">2</cx:pt>
          <cx:pt idx="16630">4</cx:pt>
          <cx:pt idx="16631">5</cx:pt>
          <cx:pt idx="16632">4</cx:pt>
          <cx:pt idx="16633">4</cx:pt>
          <cx:pt idx="16634">3</cx:pt>
          <cx:pt idx="16635">4</cx:pt>
          <cx:pt idx="16636">2</cx:pt>
          <cx:pt idx="16637">5</cx:pt>
          <cx:pt idx="16638">1</cx:pt>
          <cx:pt idx="16639">3</cx:pt>
          <cx:pt idx="16640">3</cx:pt>
          <cx:pt idx="16641">5</cx:pt>
          <cx:pt idx="16642">4</cx:pt>
          <cx:pt idx="16643">4</cx:pt>
          <cx:pt idx="16644">3</cx:pt>
          <cx:pt idx="16645">1</cx:pt>
          <cx:pt idx="16646">5</cx:pt>
          <cx:pt idx="16647">5</cx:pt>
          <cx:pt idx="16648">5</cx:pt>
          <cx:pt idx="16649">5</cx:pt>
          <cx:pt idx="16650">3</cx:pt>
          <cx:pt idx="16651">2</cx:pt>
          <cx:pt idx="16652">3</cx:pt>
          <cx:pt idx="16653">1</cx:pt>
          <cx:pt idx="16654">4</cx:pt>
          <cx:pt idx="16655">2</cx:pt>
          <cx:pt idx="16656">5</cx:pt>
          <cx:pt idx="16657">5</cx:pt>
          <cx:pt idx="16658">1</cx:pt>
          <cx:pt idx="16659">5</cx:pt>
          <cx:pt idx="16660">5</cx:pt>
          <cx:pt idx="16661">4</cx:pt>
          <cx:pt idx="16662">4</cx:pt>
          <cx:pt idx="16663">4</cx:pt>
          <cx:pt idx="16664">5</cx:pt>
          <cx:pt idx="16665">4</cx:pt>
          <cx:pt idx="16666">5</cx:pt>
          <cx:pt idx="16667">2</cx:pt>
          <cx:pt idx="16668">2</cx:pt>
          <cx:pt idx="16669">5</cx:pt>
          <cx:pt idx="16670">5</cx:pt>
          <cx:pt idx="16671">4</cx:pt>
          <cx:pt idx="16672">4</cx:pt>
          <cx:pt idx="16673">4</cx:pt>
          <cx:pt idx="16674">4</cx:pt>
          <cx:pt idx="16675">5</cx:pt>
          <cx:pt idx="16676">1</cx:pt>
          <cx:pt idx="16677">2</cx:pt>
          <cx:pt idx="16678">4</cx:pt>
          <cx:pt idx="16679">2</cx:pt>
          <cx:pt idx="16680">4</cx:pt>
          <cx:pt idx="16681">5</cx:pt>
          <cx:pt idx="16682">3</cx:pt>
          <cx:pt idx="16683">5</cx:pt>
          <cx:pt idx="16684">5</cx:pt>
          <cx:pt idx="16685">2</cx:pt>
          <cx:pt idx="16686">5</cx:pt>
          <cx:pt idx="16687">3</cx:pt>
          <cx:pt idx="16688">1</cx:pt>
          <cx:pt idx="16689">4</cx:pt>
          <cx:pt idx="16690">4</cx:pt>
          <cx:pt idx="16691">4</cx:pt>
          <cx:pt idx="16692">1</cx:pt>
          <cx:pt idx="16693">4</cx:pt>
          <cx:pt idx="16694">1</cx:pt>
          <cx:pt idx="16695">2</cx:pt>
          <cx:pt idx="16696">4</cx:pt>
          <cx:pt idx="16697">3</cx:pt>
          <cx:pt idx="16698">4</cx:pt>
          <cx:pt idx="16699">4</cx:pt>
          <cx:pt idx="16700">3</cx:pt>
          <cx:pt idx="16701">1</cx:pt>
          <cx:pt idx="16702">1</cx:pt>
          <cx:pt idx="16703">4</cx:pt>
          <cx:pt idx="16704">5</cx:pt>
          <cx:pt idx="16705">2</cx:pt>
          <cx:pt idx="16706">2</cx:pt>
          <cx:pt idx="16707">5</cx:pt>
          <cx:pt idx="16708">4</cx:pt>
          <cx:pt idx="16709">2</cx:pt>
          <cx:pt idx="16710">5</cx:pt>
          <cx:pt idx="16711">3</cx:pt>
          <cx:pt idx="16712">5</cx:pt>
          <cx:pt idx="16713">5</cx:pt>
          <cx:pt idx="16714">3</cx:pt>
          <cx:pt idx="16715">3</cx:pt>
          <cx:pt idx="16716">4</cx:pt>
          <cx:pt idx="16717">4</cx:pt>
          <cx:pt idx="16718">4</cx:pt>
          <cx:pt idx="16719">5</cx:pt>
          <cx:pt idx="16720">3</cx:pt>
          <cx:pt idx="16721">4</cx:pt>
          <cx:pt idx="16722">4</cx:pt>
          <cx:pt idx="16723">4</cx:pt>
          <cx:pt idx="16724">3</cx:pt>
          <cx:pt idx="16725">3</cx:pt>
          <cx:pt idx="16726">1</cx:pt>
          <cx:pt idx="16727">4</cx:pt>
          <cx:pt idx="16728">4</cx:pt>
          <cx:pt idx="16729">5</cx:pt>
          <cx:pt idx="16730">4</cx:pt>
          <cx:pt idx="16731">4</cx:pt>
          <cx:pt idx="16732">4</cx:pt>
          <cx:pt idx="16733">3</cx:pt>
          <cx:pt idx="16734">4</cx:pt>
          <cx:pt idx="16735">3</cx:pt>
          <cx:pt idx="16736">3</cx:pt>
          <cx:pt idx="16737">2</cx:pt>
          <cx:pt idx="16738">4</cx:pt>
          <cx:pt idx="16739">1</cx:pt>
          <cx:pt idx="16740">5</cx:pt>
          <cx:pt idx="16741">1</cx:pt>
          <cx:pt idx="16742">3</cx:pt>
          <cx:pt idx="16743">4</cx:pt>
          <cx:pt idx="16744">5</cx:pt>
          <cx:pt idx="16745">3</cx:pt>
          <cx:pt idx="16746">2</cx:pt>
          <cx:pt idx="16747">3</cx:pt>
          <cx:pt idx="16748">4</cx:pt>
          <cx:pt idx="16749">5</cx:pt>
          <cx:pt idx="16750">1</cx:pt>
          <cx:pt idx="16751">4</cx:pt>
          <cx:pt idx="16752">5</cx:pt>
          <cx:pt idx="16753">5</cx:pt>
          <cx:pt idx="16754">2</cx:pt>
          <cx:pt idx="16755">5</cx:pt>
          <cx:pt idx="16756">2</cx:pt>
          <cx:pt idx="16757">4</cx:pt>
          <cx:pt idx="16758">2</cx:pt>
          <cx:pt idx="16759">4</cx:pt>
          <cx:pt idx="16760">3</cx:pt>
          <cx:pt idx="16761">2</cx:pt>
          <cx:pt idx="16762">5</cx:pt>
          <cx:pt idx="16763">4</cx:pt>
          <cx:pt idx="16764">4</cx:pt>
          <cx:pt idx="16765">4</cx:pt>
          <cx:pt idx="16766">5</cx:pt>
          <cx:pt idx="16767">1</cx:pt>
          <cx:pt idx="16768">3</cx:pt>
          <cx:pt idx="16769">2</cx:pt>
          <cx:pt idx="16770">2</cx:pt>
          <cx:pt idx="16771">4</cx:pt>
          <cx:pt idx="16772">5</cx:pt>
          <cx:pt idx="16773">4</cx:pt>
          <cx:pt idx="16774">5</cx:pt>
          <cx:pt idx="16775">3</cx:pt>
          <cx:pt idx="16776">4</cx:pt>
          <cx:pt idx="16777">5</cx:pt>
          <cx:pt idx="16778">4</cx:pt>
          <cx:pt idx="16779">4</cx:pt>
          <cx:pt idx="16780">2</cx:pt>
          <cx:pt idx="16781">2</cx:pt>
          <cx:pt idx="16782">3</cx:pt>
          <cx:pt idx="16783">3</cx:pt>
          <cx:pt idx="16784">4</cx:pt>
          <cx:pt idx="16785">4</cx:pt>
          <cx:pt idx="16786">3</cx:pt>
          <cx:pt idx="16787">5</cx:pt>
          <cx:pt idx="16788">1</cx:pt>
          <cx:pt idx="16789">2</cx:pt>
          <cx:pt idx="16790">5</cx:pt>
          <cx:pt idx="16791">4</cx:pt>
          <cx:pt idx="16792">2</cx:pt>
          <cx:pt idx="16793">4</cx:pt>
          <cx:pt idx="16794">4</cx:pt>
          <cx:pt idx="16795">4</cx:pt>
          <cx:pt idx="16796">2</cx:pt>
          <cx:pt idx="16797">4</cx:pt>
          <cx:pt idx="16798">2</cx:pt>
          <cx:pt idx="16799">4</cx:pt>
          <cx:pt idx="16800">3</cx:pt>
          <cx:pt idx="16801">3</cx:pt>
          <cx:pt idx="16802">2</cx:pt>
          <cx:pt idx="16803">5</cx:pt>
          <cx:pt idx="16804">4</cx:pt>
          <cx:pt idx="16805">4</cx:pt>
          <cx:pt idx="16806">3</cx:pt>
          <cx:pt idx="16807">5</cx:pt>
          <cx:pt idx="16808">5</cx:pt>
          <cx:pt idx="16809">3</cx:pt>
          <cx:pt idx="16810">4</cx:pt>
          <cx:pt idx="16811">5</cx:pt>
          <cx:pt idx="16812">2</cx:pt>
          <cx:pt idx="16813">3</cx:pt>
          <cx:pt idx="16814">4</cx:pt>
          <cx:pt idx="16815">5</cx:pt>
          <cx:pt idx="16816">4</cx:pt>
          <cx:pt idx="16817">4</cx:pt>
          <cx:pt idx="16818">2</cx:pt>
          <cx:pt idx="16819">4</cx:pt>
          <cx:pt idx="16820">4</cx:pt>
          <cx:pt idx="16821">1</cx:pt>
          <cx:pt idx="16822">4</cx:pt>
          <cx:pt idx="16823">5</cx:pt>
          <cx:pt idx="16824">3</cx:pt>
          <cx:pt idx="16825">2</cx:pt>
          <cx:pt idx="16826">5</cx:pt>
          <cx:pt idx="16827">4</cx:pt>
          <cx:pt idx="16828">1</cx:pt>
          <cx:pt idx="16829">2</cx:pt>
          <cx:pt idx="16830">4</cx:pt>
          <cx:pt idx="16831">5</cx:pt>
          <cx:pt idx="16832">1</cx:pt>
          <cx:pt idx="16833">5</cx:pt>
          <cx:pt idx="16834">4</cx:pt>
          <cx:pt idx="16835">4</cx:pt>
          <cx:pt idx="16836">4</cx:pt>
          <cx:pt idx="16837">4</cx:pt>
          <cx:pt idx="16838">5</cx:pt>
          <cx:pt idx="16839">2</cx:pt>
          <cx:pt idx="16840">1</cx:pt>
          <cx:pt idx="16841">4</cx:pt>
          <cx:pt idx="16842">4</cx:pt>
          <cx:pt idx="16843">5</cx:pt>
          <cx:pt idx="16844">1</cx:pt>
          <cx:pt idx="16845">5</cx:pt>
          <cx:pt idx="16846">2</cx:pt>
          <cx:pt idx="16847">5</cx:pt>
          <cx:pt idx="16848">4</cx:pt>
          <cx:pt idx="16849">2</cx:pt>
          <cx:pt idx="16850">5</cx:pt>
          <cx:pt idx="16851">5</cx:pt>
          <cx:pt idx="16852">4</cx:pt>
          <cx:pt idx="16853">4</cx:pt>
          <cx:pt idx="16854">5</cx:pt>
          <cx:pt idx="16855">1</cx:pt>
          <cx:pt idx="16856">3</cx:pt>
          <cx:pt idx="16857">4</cx:pt>
          <cx:pt idx="16858">4</cx:pt>
          <cx:pt idx="16859">5</cx:pt>
          <cx:pt idx="16860">3</cx:pt>
          <cx:pt idx="16861">4</cx:pt>
          <cx:pt idx="16862">1</cx:pt>
          <cx:pt idx="16863">3</cx:pt>
          <cx:pt idx="16864">4</cx:pt>
          <cx:pt idx="16865">5</cx:pt>
          <cx:pt idx="16866">4</cx:pt>
          <cx:pt idx="16867">4</cx:pt>
          <cx:pt idx="16868">1</cx:pt>
          <cx:pt idx="16869">2</cx:pt>
          <cx:pt idx="16870">5</cx:pt>
          <cx:pt idx="16871">5</cx:pt>
          <cx:pt idx="16872">4</cx:pt>
          <cx:pt idx="16873">2</cx:pt>
          <cx:pt idx="16874">3</cx:pt>
          <cx:pt idx="16875">3</cx:pt>
          <cx:pt idx="16876">4</cx:pt>
          <cx:pt idx="16877">3</cx:pt>
          <cx:pt idx="16878">5</cx:pt>
          <cx:pt idx="16879">2</cx:pt>
          <cx:pt idx="16880">4</cx:pt>
          <cx:pt idx="16881">4</cx:pt>
          <cx:pt idx="16882">5</cx:pt>
          <cx:pt idx="16883">5</cx:pt>
          <cx:pt idx="16884">2</cx:pt>
          <cx:pt idx="16885">1</cx:pt>
          <cx:pt idx="16886">3</cx:pt>
          <cx:pt idx="16887">4</cx:pt>
          <cx:pt idx="16888">1</cx:pt>
          <cx:pt idx="16889">5</cx:pt>
          <cx:pt idx="16890">4</cx:pt>
          <cx:pt idx="16891">5</cx:pt>
          <cx:pt idx="16892">5</cx:pt>
          <cx:pt idx="16893">5</cx:pt>
          <cx:pt idx="16894">4</cx:pt>
          <cx:pt idx="16895">5</cx:pt>
          <cx:pt idx="16896">3</cx:pt>
          <cx:pt idx="16897">2</cx:pt>
          <cx:pt idx="16898">1</cx:pt>
          <cx:pt idx="16899">2</cx:pt>
          <cx:pt idx="16900">3</cx:pt>
          <cx:pt idx="16901">4</cx:pt>
          <cx:pt idx="16902">5</cx:pt>
          <cx:pt idx="16903">5</cx:pt>
          <cx:pt idx="16904">4</cx:pt>
          <cx:pt idx="16905">1</cx:pt>
          <cx:pt idx="16906">4</cx:pt>
          <cx:pt idx="16907">2</cx:pt>
          <cx:pt idx="16908">4</cx:pt>
          <cx:pt idx="16909">4</cx:pt>
          <cx:pt idx="16910">3</cx:pt>
          <cx:pt idx="16911">2</cx:pt>
          <cx:pt idx="16912">4</cx:pt>
          <cx:pt idx="16913">4</cx:pt>
          <cx:pt idx="16914">5</cx:pt>
          <cx:pt idx="16915">1</cx:pt>
          <cx:pt idx="16916">3</cx:pt>
          <cx:pt idx="16917">5</cx:pt>
          <cx:pt idx="16918">1</cx:pt>
          <cx:pt idx="16919">3</cx:pt>
          <cx:pt idx="16920">2</cx:pt>
          <cx:pt idx="16921">5</cx:pt>
          <cx:pt idx="16922">1</cx:pt>
          <cx:pt idx="16923">4</cx:pt>
          <cx:pt idx="16924">5</cx:pt>
          <cx:pt idx="16925">4</cx:pt>
          <cx:pt idx="16926">4</cx:pt>
          <cx:pt idx="16927">3</cx:pt>
          <cx:pt idx="16928">4</cx:pt>
          <cx:pt idx="16929">4</cx:pt>
          <cx:pt idx="16930">4</cx:pt>
          <cx:pt idx="16931">4</cx:pt>
          <cx:pt idx="16932">2</cx:pt>
          <cx:pt idx="16933">4</cx:pt>
          <cx:pt idx="16934">4</cx:pt>
          <cx:pt idx="16935">5</cx:pt>
          <cx:pt idx="16936">4</cx:pt>
          <cx:pt idx="16937">4</cx:pt>
          <cx:pt idx="16938">5</cx:pt>
          <cx:pt idx="16939">5</cx:pt>
          <cx:pt idx="16940">4</cx:pt>
          <cx:pt idx="16941">2</cx:pt>
          <cx:pt idx="16942">1</cx:pt>
          <cx:pt idx="16943">5</cx:pt>
          <cx:pt idx="16944">4</cx:pt>
          <cx:pt idx="16945">4</cx:pt>
          <cx:pt idx="16946">3</cx:pt>
          <cx:pt idx="16947">4</cx:pt>
          <cx:pt idx="16948">5</cx:pt>
          <cx:pt idx="16949">2</cx:pt>
          <cx:pt idx="16950">4</cx:pt>
          <cx:pt idx="16951">2</cx:pt>
          <cx:pt idx="16952">4</cx:pt>
          <cx:pt idx="16953">5</cx:pt>
          <cx:pt idx="16954">2</cx:pt>
          <cx:pt idx="16955">5</cx:pt>
          <cx:pt idx="16956">2</cx:pt>
          <cx:pt idx="16957">2</cx:pt>
          <cx:pt idx="16958">2</cx:pt>
          <cx:pt idx="16959">3</cx:pt>
          <cx:pt idx="16960">4</cx:pt>
          <cx:pt idx="16961">5</cx:pt>
          <cx:pt idx="16962">4</cx:pt>
          <cx:pt idx="16963">5</cx:pt>
          <cx:pt idx="16964">4</cx:pt>
          <cx:pt idx="16965">3</cx:pt>
          <cx:pt idx="16966">4</cx:pt>
          <cx:pt idx="16967">4</cx:pt>
          <cx:pt idx="16968">5</cx:pt>
          <cx:pt idx="16969">5</cx:pt>
          <cx:pt idx="16970">5</cx:pt>
          <cx:pt idx="16971">3</cx:pt>
          <cx:pt idx="16972">3</cx:pt>
          <cx:pt idx="16973">3</cx:pt>
          <cx:pt idx="16974">5</cx:pt>
          <cx:pt idx="16975">4</cx:pt>
          <cx:pt idx="16976">2</cx:pt>
          <cx:pt idx="16977">4</cx:pt>
          <cx:pt idx="16978">1</cx:pt>
          <cx:pt idx="16979">1</cx:pt>
          <cx:pt idx="16980">4</cx:pt>
          <cx:pt idx="16981">5</cx:pt>
          <cx:pt idx="16982">4</cx:pt>
          <cx:pt idx="16983">1</cx:pt>
          <cx:pt idx="16984">5</cx:pt>
          <cx:pt idx="16985">5</cx:pt>
          <cx:pt idx="16986">4</cx:pt>
          <cx:pt idx="16987">1</cx:pt>
          <cx:pt idx="16988">4</cx:pt>
          <cx:pt idx="16989">4</cx:pt>
          <cx:pt idx="16990">5</cx:pt>
          <cx:pt idx="16991">3</cx:pt>
          <cx:pt idx="16992">3</cx:pt>
          <cx:pt idx="16993">4</cx:pt>
          <cx:pt idx="16994">4</cx:pt>
          <cx:pt idx="16995">3</cx:pt>
          <cx:pt idx="16996">3</cx:pt>
          <cx:pt idx="16997">3</cx:pt>
          <cx:pt idx="16998">3</cx:pt>
          <cx:pt idx="16999">3</cx:pt>
          <cx:pt idx="17000">4</cx:pt>
          <cx:pt idx="17001">2</cx:pt>
          <cx:pt idx="17002">5</cx:pt>
          <cx:pt idx="17003">3</cx:pt>
          <cx:pt idx="17004">5</cx:pt>
          <cx:pt idx="17005">2</cx:pt>
          <cx:pt idx="17006">3</cx:pt>
          <cx:pt idx="17007">5</cx:pt>
          <cx:pt idx="17008">3</cx:pt>
          <cx:pt idx="17009">3</cx:pt>
          <cx:pt idx="17010">3</cx:pt>
          <cx:pt idx="17011">3</cx:pt>
          <cx:pt idx="17012">5</cx:pt>
          <cx:pt idx="17013">5</cx:pt>
          <cx:pt idx="17014">5</cx:pt>
          <cx:pt idx="17015">2</cx:pt>
          <cx:pt idx="17016">2</cx:pt>
          <cx:pt idx="17017">3</cx:pt>
          <cx:pt idx="17018">1</cx:pt>
          <cx:pt idx="17019">1</cx:pt>
          <cx:pt idx="17020">3</cx:pt>
          <cx:pt idx="17021">5</cx:pt>
          <cx:pt idx="17022">2</cx:pt>
          <cx:pt idx="17023">4</cx:pt>
          <cx:pt idx="17024">5</cx:pt>
          <cx:pt idx="17025">4</cx:pt>
          <cx:pt idx="17026">3</cx:pt>
          <cx:pt idx="17027">1</cx:pt>
          <cx:pt idx="17028">4</cx:pt>
          <cx:pt idx="17029">1</cx:pt>
          <cx:pt idx="17030">1</cx:pt>
          <cx:pt idx="17031">2</cx:pt>
          <cx:pt idx="17032">4</cx:pt>
          <cx:pt idx="17033">4</cx:pt>
          <cx:pt idx="17034">3</cx:pt>
          <cx:pt idx="17035">3</cx:pt>
          <cx:pt idx="17036">5</cx:pt>
          <cx:pt idx="17037">4</cx:pt>
          <cx:pt idx="17038">4</cx:pt>
          <cx:pt idx="17039">4</cx:pt>
          <cx:pt idx="17040">5</cx:pt>
          <cx:pt idx="17041">4</cx:pt>
          <cx:pt idx="17042">4</cx:pt>
          <cx:pt idx="17043">4</cx:pt>
          <cx:pt idx="17044">5</cx:pt>
          <cx:pt idx="17045">2</cx:pt>
          <cx:pt idx="17046">5</cx:pt>
          <cx:pt idx="17047">1</cx:pt>
          <cx:pt idx="17048">5</cx:pt>
          <cx:pt idx="17049">4</cx:pt>
          <cx:pt idx="17050">4</cx:pt>
          <cx:pt idx="17051">4</cx:pt>
          <cx:pt idx="17052">4</cx:pt>
          <cx:pt idx="17053">2</cx:pt>
          <cx:pt idx="17054">3</cx:pt>
          <cx:pt idx="17055">5</cx:pt>
          <cx:pt idx="17056">5</cx:pt>
          <cx:pt idx="17057">1</cx:pt>
          <cx:pt idx="17058">5</cx:pt>
          <cx:pt idx="17059">2</cx:pt>
          <cx:pt idx="17060">3</cx:pt>
          <cx:pt idx="17061">2</cx:pt>
          <cx:pt idx="17062">5</cx:pt>
          <cx:pt idx="17063">5</cx:pt>
          <cx:pt idx="17064">3</cx:pt>
          <cx:pt idx="17065">4</cx:pt>
          <cx:pt idx="17066">5</cx:pt>
          <cx:pt idx="17067">4</cx:pt>
          <cx:pt idx="17068">4</cx:pt>
          <cx:pt idx="17069">3</cx:pt>
          <cx:pt idx="17070">2</cx:pt>
          <cx:pt idx="17071">4</cx:pt>
          <cx:pt idx="17072">1</cx:pt>
          <cx:pt idx="17073">4</cx:pt>
          <cx:pt idx="17074">3</cx:pt>
          <cx:pt idx="17075">5</cx:pt>
          <cx:pt idx="17076">4</cx:pt>
          <cx:pt idx="17077">2</cx:pt>
          <cx:pt idx="17078">2</cx:pt>
          <cx:pt idx="17079">4</cx:pt>
          <cx:pt idx="17080">5</cx:pt>
          <cx:pt idx="17081">1</cx:pt>
          <cx:pt idx="17082">4</cx:pt>
          <cx:pt idx="17083">4</cx:pt>
          <cx:pt idx="17084">5</cx:pt>
          <cx:pt idx="17085">2</cx:pt>
          <cx:pt idx="17086">4</cx:pt>
          <cx:pt idx="17087">1</cx:pt>
          <cx:pt idx="17088">5</cx:pt>
          <cx:pt idx="17089">4</cx:pt>
          <cx:pt idx="17090">1</cx:pt>
          <cx:pt idx="17091">3</cx:pt>
          <cx:pt idx="17092">5</cx:pt>
          <cx:pt idx="17093">3</cx:pt>
          <cx:pt idx="17094">4</cx:pt>
          <cx:pt idx="17095">5</cx:pt>
          <cx:pt idx="17096">5</cx:pt>
          <cx:pt idx="17097">3</cx:pt>
          <cx:pt idx="17098">4</cx:pt>
          <cx:pt idx="17099">4</cx:pt>
          <cx:pt idx="17100">4</cx:pt>
          <cx:pt idx="17101">4</cx:pt>
          <cx:pt idx="17102">3</cx:pt>
          <cx:pt idx="17103">5</cx:pt>
          <cx:pt idx="17104">4</cx:pt>
          <cx:pt idx="17105">1</cx:pt>
          <cx:pt idx="17106">4</cx:pt>
          <cx:pt idx="17107">5</cx:pt>
          <cx:pt idx="17108">4</cx:pt>
          <cx:pt idx="17109">2</cx:pt>
          <cx:pt idx="17110">4</cx:pt>
          <cx:pt idx="17111">4</cx:pt>
          <cx:pt idx="17112">4</cx:pt>
          <cx:pt idx="17113">4</cx:pt>
          <cx:pt idx="17114">5</cx:pt>
          <cx:pt idx="17115">4</cx:pt>
          <cx:pt idx="17116">3</cx:pt>
          <cx:pt idx="17117">2</cx:pt>
          <cx:pt idx="17118">3</cx:pt>
          <cx:pt idx="17119">2</cx:pt>
          <cx:pt idx="17120">1</cx:pt>
          <cx:pt idx="17121">5</cx:pt>
          <cx:pt idx="17122">5</cx:pt>
          <cx:pt idx="17123">1</cx:pt>
          <cx:pt idx="17124">2</cx:pt>
          <cx:pt idx="17125">1</cx:pt>
          <cx:pt idx="17126">3</cx:pt>
          <cx:pt idx="17127">3</cx:pt>
          <cx:pt idx="17128">5</cx:pt>
          <cx:pt idx="17129">4</cx:pt>
          <cx:pt idx="17130">3</cx:pt>
          <cx:pt idx="17131">2</cx:pt>
          <cx:pt idx="17132">5</cx:pt>
          <cx:pt idx="17133">5</cx:pt>
          <cx:pt idx="17134">5</cx:pt>
          <cx:pt idx="17135">3</cx:pt>
          <cx:pt idx="17136">5</cx:pt>
          <cx:pt idx="17137">5</cx:pt>
          <cx:pt idx="17138">3</cx:pt>
          <cx:pt idx="17139">5</cx:pt>
          <cx:pt idx="17140">5</cx:pt>
          <cx:pt idx="17141">1</cx:pt>
          <cx:pt idx="17142">3</cx:pt>
          <cx:pt idx="17143">1</cx:pt>
          <cx:pt idx="17144">3</cx:pt>
          <cx:pt idx="17145">4</cx:pt>
          <cx:pt idx="17146">3</cx:pt>
          <cx:pt idx="17147">4</cx:pt>
          <cx:pt idx="17148">4</cx:pt>
          <cx:pt idx="17149">5</cx:pt>
          <cx:pt idx="17150">1</cx:pt>
          <cx:pt idx="17151">4</cx:pt>
          <cx:pt idx="17152">4</cx:pt>
          <cx:pt idx="17153">2</cx:pt>
          <cx:pt idx="17154">2</cx:pt>
          <cx:pt idx="17155">2</cx:pt>
          <cx:pt idx="17156">2</cx:pt>
          <cx:pt idx="17157">3</cx:pt>
          <cx:pt idx="17158">5</cx:pt>
          <cx:pt idx="17159">1</cx:pt>
          <cx:pt idx="17160">3</cx:pt>
          <cx:pt idx="17161">5</cx:pt>
          <cx:pt idx="17162">3</cx:pt>
          <cx:pt idx="17163">3</cx:pt>
          <cx:pt idx="17164">4</cx:pt>
          <cx:pt idx="17165">3</cx:pt>
          <cx:pt idx="17166">5</cx:pt>
          <cx:pt idx="17167">2</cx:pt>
          <cx:pt idx="17168">3</cx:pt>
          <cx:pt idx="17169">3</cx:pt>
          <cx:pt idx="17170">5</cx:pt>
          <cx:pt idx="17171">2</cx:pt>
          <cx:pt idx="17172">3</cx:pt>
          <cx:pt idx="17173">2</cx:pt>
          <cx:pt idx="17174">4</cx:pt>
          <cx:pt idx="17175">5</cx:pt>
          <cx:pt idx="17176">1</cx:pt>
          <cx:pt idx="17177">5</cx:pt>
          <cx:pt idx="17178">5</cx:pt>
          <cx:pt idx="17179">5</cx:pt>
          <cx:pt idx="17180">4</cx:pt>
          <cx:pt idx="17181">3</cx:pt>
          <cx:pt idx="17182">5</cx:pt>
          <cx:pt idx="17183">5</cx:pt>
          <cx:pt idx="17184">5</cx:pt>
          <cx:pt idx="17185">2</cx:pt>
          <cx:pt idx="17186">2</cx:pt>
          <cx:pt idx="17187">4</cx:pt>
          <cx:pt idx="17188">1</cx:pt>
          <cx:pt idx="17189">2</cx:pt>
          <cx:pt idx="17190">3</cx:pt>
          <cx:pt idx="17191">5</cx:pt>
          <cx:pt idx="17192">5</cx:pt>
          <cx:pt idx="17193">5</cx:pt>
          <cx:pt idx="17194">4</cx:pt>
          <cx:pt idx="17195">2</cx:pt>
          <cx:pt idx="17196">3</cx:pt>
          <cx:pt idx="17197">2</cx:pt>
          <cx:pt idx="17198">5</cx:pt>
          <cx:pt idx="17199">3</cx:pt>
          <cx:pt idx="17200">5</cx:pt>
          <cx:pt idx="17201">5</cx:pt>
          <cx:pt idx="17202">4</cx:pt>
          <cx:pt idx="17203">3</cx:pt>
          <cx:pt idx="17204">5</cx:pt>
          <cx:pt idx="17205">4</cx:pt>
          <cx:pt idx="17206">3</cx:pt>
          <cx:pt idx="17207">5</cx:pt>
          <cx:pt idx="17208">2</cx:pt>
          <cx:pt idx="17209">2</cx:pt>
          <cx:pt idx="17210">2</cx:pt>
          <cx:pt idx="17211">4</cx:pt>
          <cx:pt idx="17212">2</cx:pt>
          <cx:pt idx="17213">1</cx:pt>
          <cx:pt idx="17214">4</cx:pt>
          <cx:pt idx="17215">5</cx:pt>
          <cx:pt idx="17216">2</cx:pt>
          <cx:pt idx="17217">4</cx:pt>
          <cx:pt idx="17218">2</cx:pt>
          <cx:pt idx="17219">5</cx:pt>
          <cx:pt idx="17220">2</cx:pt>
          <cx:pt idx="17221">2</cx:pt>
          <cx:pt idx="17222">5</cx:pt>
          <cx:pt idx="17223">4</cx:pt>
          <cx:pt idx="17224">3</cx:pt>
          <cx:pt idx="17225">3</cx:pt>
          <cx:pt idx="17226">5</cx:pt>
          <cx:pt idx="17227">4</cx:pt>
          <cx:pt idx="17228">1</cx:pt>
          <cx:pt idx="17229">4</cx:pt>
          <cx:pt idx="17230">5</cx:pt>
          <cx:pt idx="17231">1</cx:pt>
          <cx:pt idx="17232">5</cx:pt>
          <cx:pt idx="17233">5</cx:pt>
          <cx:pt idx="17234">4</cx:pt>
          <cx:pt idx="17235">4</cx:pt>
          <cx:pt idx="17236">5</cx:pt>
          <cx:pt idx="17237">5</cx:pt>
          <cx:pt idx="17238">2</cx:pt>
          <cx:pt idx="17239">4</cx:pt>
          <cx:pt idx="17240">1</cx:pt>
          <cx:pt idx="17241">5</cx:pt>
          <cx:pt idx="17242">4</cx:pt>
          <cx:pt idx="17243">3</cx:pt>
          <cx:pt idx="17244">4</cx:pt>
          <cx:pt idx="17245">5</cx:pt>
          <cx:pt idx="17246">3</cx:pt>
          <cx:pt idx="17247">2</cx:pt>
          <cx:pt idx="17248">3</cx:pt>
          <cx:pt idx="17249">3</cx:pt>
          <cx:pt idx="17250">5</cx:pt>
          <cx:pt idx="17251">4</cx:pt>
          <cx:pt idx="17252">4</cx:pt>
          <cx:pt idx="17253">1</cx:pt>
          <cx:pt idx="17254">4</cx:pt>
          <cx:pt idx="17255">5</cx:pt>
          <cx:pt idx="17256">2</cx:pt>
          <cx:pt idx="17257">4</cx:pt>
          <cx:pt idx="17258">2</cx:pt>
          <cx:pt idx="17259">1</cx:pt>
          <cx:pt idx="17260">4</cx:pt>
          <cx:pt idx="17261">5</cx:pt>
          <cx:pt idx="17262">1</cx:pt>
          <cx:pt idx="17263">3</cx:pt>
          <cx:pt idx="17264">3</cx:pt>
          <cx:pt idx="17265">4</cx:pt>
          <cx:pt idx="17266">3</cx:pt>
          <cx:pt idx="17267">4</cx:pt>
          <cx:pt idx="17268">4</cx:pt>
          <cx:pt idx="17269">5</cx:pt>
          <cx:pt idx="17270">3</cx:pt>
          <cx:pt idx="17271">3</cx:pt>
          <cx:pt idx="17272">2</cx:pt>
          <cx:pt idx="17273">1</cx:pt>
          <cx:pt idx="17274">4</cx:pt>
          <cx:pt idx="17275">4</cx:pt>
          <cx:pt idx="17276">5</cx:pt>
          <cx:pt idx="17277">3</cx:pt>
          <cx:pt idx="17278">5</cx:pt>
          <cx:pt idx="17279">5</cx:pt>
          <cx:pt idx="17280">5</cx:pt>
          <cx:pt idx="17281">1</cx:pt>
          <cx:pt idx="17282">4</cx:pt>
          <cx:pt idx="17283">3</cx:pt>
          <cx:pt idx="17284">4</cx:pt>
          <cx:pt idx="17285">5</cx:pt>
          <cx:pt idx="17286">4</cx:pt>
          <cx:pt idx="17287">4</cx:pt>
          <cx:pt idx="17288">3</cx:pt>
          <cx:pt idx="17289">4</cx:pt>
          <cx:pt idx="17290">3</cx:pt>
          <cx:pt idx="17291">5</cx:pt>
          <cx:pt idx="17292">2</cx:pt>
          <cx:pt idx="17293">5</cx:pt>
          <cx:pt idx="17294">2</cx:pt>
          <cx:pt idx="17295">2</cx:pt>
          <cx:pt idx="17296">3</cx:pt>
          <cx:pt idx="17297">4</cx:pt>
          <cx:pt idx="17298">5</cx:pt>
          <cx:pt idx="17299">4</cx:pt>
          <cx:pt idx="17300">2</cx:pt>
          <cx:pt idx="17301">3</cx:pt>
          <cx:pt idx="17302">4</cx:pt>
          <cx:pt idx="17303">4</cx:pt>
          <cx:pt idx="17304">4</cx:pt>
          <cx:pt idx="17305">5</cx:pt>
          <cx:pt idx="17306">5</cx:pt>
          <cx:pt idx="17307">4</cx:pt>
          <cx:pt idx="17308">4</cx:pt>
          <cx:pt idx="17309">2</cx:pt>
          <cx:pt idx="17310">4</cx:pt>
          <cx:pt idx="17311">1</cx:pt>
          <cx:pt idx="17312">4</cx:pt>
          <cx:pt idx="17313">4</cx:pt>
          <cx:pt idx="17314">1</cx:pt>
          <cx:pt idx="17315">3</cx:pt>
          <cx:pt idx="17316">2</cx:pt>
          <cx:pt idx="17317">3</cx:pt>
          <cx:pt idx="17318">3</cx:pt>
          <cx:pt idx="17319">5</cx:pt>
          <cx:pt idx="17320">5</cx:pt>
          <cx:pt idx="17321">4</cx:pt>
          <cx:pt idx="17322">5</cx:pt>
          <cx:pt idx="17323">2</cx:pt>
          <cx:pt idx="17324">3</cx:pt>
          <cx:pt idx="17325">3</cx:pt>
          <cx:pt idx="17326">4</cx:pt>
          <cx:pt idx="17327">4</cx:pt>
          <cx:pt idx="17328">2</cx:pt>
          <cx:pt idx="17329">4</cx:pt>
          <cx:pt idx="17330">4</cx:pt>
          <cx:pt idx="17331">4</cx:pt>
          <cx:pt idx="17332">3</cx:pt>
          <cx:pt idx="17333">3</cx:pt>
          <cx:pt idx="17334">4</cx:pt>
          <cx:pt idx="17335">1</cx:pt>
          <cx:pt idx="17336">5</cx:pt>
          <cx:pt idx="17337">4</cx:pt>
          <cx:pt idx="17338">3</cx:pt>
          <cx:pt idx="17339">4</cx:pt>
          <cx:pt idx="17340">1</cx:pt>
          <cx:pt idx="17341">1</cx:pt>
          <cx:pt idx="17342">5</cx:pt>
          <cx:pt idx="17343">4</cx:pt>
          <cx:pt idx="17344">2</cx:pt>
          <cx:pt idx="17345">3</cx:pt>
          <cx:pt idx="17346">5</cx:pt>
          <cx:pt idx="17347">1</cx:pt>
          <cx:pt idx="17348">4</cx:pt>
          <cx:pt idx="17349">5</cx:pt>
          <cx:pt idx="17350">5</cx:pt>
          <cx:pt idx="17351">3</cx:pt>
          <cx:pt idx="17352">4</cx:pt>
          <cx:pt idx="17353">2</cx:pt>
          <cx:pt idx="17354">2</cx:pt>
          <cx:pt idx="17355">1</cx:pt>
          <cx:pt idx="17356">4</cx:pt>
          <cx:pt idx="17357">5</cx:pt>
          <cx:pt idx="17358">2</cx:pt>
          <cx:pt idx="17359">3</cx:pt>
          <cx:pt idx="17360">2</cx:pt>
          <cx:pt idx="17361">4</cx:pt>
          <cx:pt idx="17362">2</cx:pt>
          <cx:pt idx="17363">1</cx:pt>
          <cx:pt idx="17364">1</cx:pt>
          <cx:pt idx="17365">4</cx:pt>
          <cx:pt idx="17366">4</cx:pt>
          <cx:pt idx="17367">5</cx:pt>
          <cx:pt idx="17368">4</cx:pt>
          <cx:pt idx="17369">4</cx:pt>
          <cx:pt idx="17370">1</cx:pt>
          <cx:pt idx="17371">1</cx:pt>
          <cx:pt idx="17372">5</cx:pt>
          <cx:pt idx="17373">3</cx:pt>
          <cx:pt idx="17374">4</cx:pt>
          <cx:pt idx="17375">4</cx:pt>
          <cx:pt idx="17376">5</cx:pt>
          <cx:pt idx="17377">1</cx:pt>
          <cx:pt idx="17378">4</cx:pt>
          <cx:pt idx="17379">2</cx:pt>
          <cx:pt idx="17380">5</cx:pt>
          <cx:pt idx="17381">3</cx:pt>
          <cx:pt idx="17382">3</cx:pt>
          <cx:pt idx="17383">3</cx:pt>
          <cx:pt idx="17384">3</cx:pt>
          <cx:pt idx="17385">5</cx:pt>
          <cx:pt idx="17386">3</cx:pt>
          <cx:pt idx="17387">5</cx:pt>
          <cx:pt idx="17388">1</cx:pt>
          <cx:pt idx="17389">3</cx:pt>
          <cx:pt idx="17390">5</cx:pt>
          <cx:pt idx="17391">4</cx:pt>
          <cx:pt idx="17392">1</cx:pt>
          <cx:pt idx="17393">5</cx:pt>
          <cx:pt idx="17394">4</cx:pt>
          <cx:pt idx="17395">4</cx:pt>
          <cx:pt idx="17396">4</cx:pt>
          <cx:pt idx="17397">1</cx:pt>
          <cx:pt idx="17398">4</cx:pt>
          <cx:pt idx="17399">3</cx:pt>
          <cx:pt idx="17400">5</cx:pt>
          <cx:pt idx="17401">5</cx:pt>
          <cx:pt idx="17402">1</cx:pt>
          <cx:pt idx="17403">4</cx:pt>
          <cx:pt idx="17404">2</cx:pt>
          <cx:pt idx="17405">5</cx:pt>
          <cx:pt idx="17406">4</cx:pt>
          <cx:pt idx="17407">1</cx:pt>
          <cx:pt idx="17408">5</cx:pt>
          <cx:pt idx="17409">5</cx:pt>
          <cx:pt idx="17410">5</cx:pt>
          <cx:pt idx="17411">4</cx:pt>
          <cx:pt idx="17412">4</cx:pt>
          <cx:pt idx="17413">3</cx:pt>
          <cx:pt idx="17414">5</cx:pt>
          <cx:pt idx="17415">4</cx:pt>
          <cx:pt idx="17416">5</cx:pt>
          <cx:pt idx="17417">5</cx:pt>
          <cx:pt idx="17418">5</cx:pt>
          <cx:pt idx="17419">3</cx:pt>
          <cx:pt idx="17420">1</cx:pt>
          <cx:pt idx="17421">5</cx:pt>
          <cx:pt idx="17422">3</cx:pt>
          <cx:pt idx="17423">3</cx:pt>
          <cx:pt idx="17424">5</cx:pt>
          <cx:pt idx="17425">5</cx:pt>
          <cx:pt idx="17426">2</cx:pt>
          <cx:pt idx="17427">2</cx:pt>
          <cx:pt idx="17428">5</cx:pt>
          <cx:pt idx="17429">5</cx:pt>
          <cx:pt idx="17430">1</cx:pt>
          <cx:pt idx="17431">5</cx:pt>
          <cx:pt idx="17432">1</cx:pt>
          <cx:pt idx="17433">2</cx:pt>
          <cx:pt idx="17434">2</cx:pt>
          <cx:pt idx="17435">1</cx:pt>
          <cx:pt idx="17436">1</cx:pt>
          <cx:pt idx="17437">4</cx:pt>
          <cx:pt idx="17438">4</cx:pt>
          <cx:pt idx="17439">2</cx:pt>
          <cx:pt idx="17440">4</cx:pt>
          <cx:pt idx="17441">2</cx:pt>
          <cx:pt idx="17442">3</cx:pt>
          <cx:pt idx="17443">4</cx:pt>
          <cx:pt idx="17444">4</cx:pt>
          <cx:pt idx="17445">4</cx:pt>
          <cx:pt idx="17446">4</cx:pt>
          <cx:pt idx="17447">4</cx:pt>
          <cx:pt idx="17448">5</cx:pt>
          <cx:pt idx="17449">3</cx:pt>
          <cx:pt idx="17450">5</cx:pt>
          <cx:pt idx="17451">4</cx:pt>
          <cx:pt idx="17452">1</cx:pt>
          <cx:pt idx="17453">5</cx:pt>
          <cx:pt idx="17454">3</cx:pt>
          <cx:pt idx="17455">4</cx:pt>
          <cx:pt idx="17456">4</cx:pt>
          <cx:pt idx="17457">3</cx:pt>
          <cx:pt idx="17458">2</cx:pt>
          <cx:pt idx="17459">2</cx:pt>
          <cx:pt idx="17460">4</cx:pt>
          <cx:pt idx="17461">5</cx:pt>
          <cx:pt idx="17462">5</cx:pt>
          <cx:pt idx="17463">3</cx:pt>
          <cx:pt idx="17464">5</cx:pt>
          <cx:pt idx="17465">4</cx:pt>
          <cx:pt idx="17466">2</cx:pt>
          <cx:pt idx="17467">5</cx:pt>
          <cx:pt idx="17468">4</cx:pt>
          <cx:pt idx="17469">4</cx:pt>
          <cx:pt idx="17470">3</cx:pt>
          <cx:pt idx="17471">3</cx:pt>
          <cx:pt idx="17472">4</cx:pt>
          <cx:pt idx="17473">1</cx:pt>
          <cx:pt idx="17474">4</cx:pt>
          <cx:pt idx="17475">4</cx:pt>
          <cx:pt idx="17476">2</cx:pt>
          <cx:pt idx="17477">1</cx:pt>
          <cx:pt idx="17478">4</cx:pt>
          <cx:pt idx="17479">5</cx:pt>
          <cx:pt idx="17480">2</cx:pt>
          <cx:pt idx="17481">4</cx:pt>
          <cx:pt idx="17482">5</cx:pt>
          <cx:pt idx="17483">3</cx:pt>
          <cx:pt idx="17484">1</cx:pt>
          <cx:pt idx="17485">4</cx:pt>
          <cx:pt idx="17486">4</cx:pt>
          <cx:pt idx="17487">2</cx:pt>
          <cx:pt idx="17488">4</cx:pt>
          <cx:pt idx="17489">4</cx:pt>
          <cx:pt idx="17490">2</cx:pt>
          <cx:pt idx="17491">5</cx:pt>
          <cx:pt idx="17492">5</cx:pt>
          <cx:pt idx="17493">5</cx:pt>
          <cx:pt idx="17494">1</cx:pt>
          <cx:pt idx="17495">4</cx:pt>
          <cx:pt idx="17496">4</cx:pt>
          <cx:pt idx="17497">4</cx:pt>
          <cx:pt idx="17498">1</cx:pt>
          <cx:pt idx="17499">5</cx:pt>
          <cx:pt idx="17500">5</cx:pt>
          <cx:pt idx="17501">3</cx:pt>
          <cx:pt idx="17502">4</cx:pt>
          <cx:pt idx="17503">4</cx:pt>
          <cx:pt idx="17504">1</cx:pt>
          <cx:pt idx="17505">4</cx:pt>
          <cx:pt idx="17506">4</cx:pt>
          <cx:pt idx="17507">2</cx:pt>
          <cx:pt idx="17508">4</cx:pt>
          <cx:pt idx="17509">5</cx:pt>
          <cx:pt idx="17510">1</cx:pt>
          <cx:pt idx="17511">3</cx:pt>
          <cx:pt idx="17512">4</cx:pt>
          <cx:pt idx="17513">1</cx:pt>
          <cx:pt idx="17514">5</cx:pt>
          <cx:pt idx="17515">5</cx:pt>
          <cx:pt idx="17516">2</cx:pt>
          <cx:pt idx="17517">5</cx:pt>
          <cx:pt idx="17518">2</cx:pt>
          <cx:pt idx="17519">4</cx:pt>
          <cx:pt idx="17520">3</cx:pt>
          <cx:pt idx="17521">2</cx:pt>
          <cx:pt idx="17522">5</cx:pt>
          <cx:pt idx="17523">5</cx:pt>
          <cx:pt idx="17524">4</cx:pt>
          <cx:pt idx="17525">3</cx:pt>
          <cx:pt idx="17526">4</cx:pt>
          <cx:pt idx="17527">5</cx:pt>
          <cx:pt idx="17528">2</cx:pt>
          <cx:pt idx="17529">4</cx:pt>
          <cx:pt idx="17530">4</cx:pt>
          <cx:pt idx="17531">5</cx:pt>
          <cx:pt idx="17532">5</cx:pt>
          <cx:pt idx="17533">1</cx:pt>
          <cx:pt idx="17534">4</cx:pt>
          <cx:pt idx="17535">1</cx:pt>
          <cx:pt idx="17536">1</cx:pt>
          <cx:pt idx="17537">1</cx:pt>
          <cx:pt idx="17538">4</cx:pt>
          <cx:pt idx="17539">4</cx:pt>
          <cx:pt idx="17540">5</cx:pt>
          <cx:pt idx="17541">4</cx:pt>
          <cx:pt idx="17542">4</cx:pt>
          <cx:pt idx="17543">4</cx:pt>
          <cx:pt idx="17544">1</cx:pt>
          <cx:pt idx="17545">4</cx:pt>
          <cx:pt idx="17546">5</cx:pt>
          <cx:pt idx="17547">1</cx:pt>
          <cx:pt idx="17548">4</cx:pt>
          <cx:pt idx="17549">1</cx:pt>
          <cx:pt idx="17550">3</cx:pt>
          <cx:pt idx="17551">4</cx:pt>
          <cx:pt idx="17552">5</cx:pt>
          <cx:pt idx="17553">2</cx:pt>
          <cx:pt idx="17554">5</cx:pt>
          <cx:pt idx="17555">3</cx:pt>
          <cx:pt idx="17556">2</cx:pt>
          <cx:pt idx="17557">1</cx:pt>
          <cx:pt idx="17558">4</cx:pt>
          <cx:pt idx="17559">4</cx:pt>
          <cx:pt idx="17560">5</cx:pt>
          <cx:pt idx="17561">4</cx:pt>
          <cx:pt idx="17562">2</cx:pt>
          <cx:pt idx="17563">4</cx:pt>
          <cx:pt idx="17564">4</cx:pt>
          <cx:pt idx="17565">4</cx:pt>
          <cx:pt idx="17566">5</cx:pt>
          <cx:pt idx="17567">4</cx:pt>
          <cx:pt idx="17568">5</cx:pt>
          <cx:pt idx="17569">3</cx:pt>
          <cx:pt idx="17570">3</cx:pt>
          <cx:pt idx="17571">5</cx:pt>
          <cx:pt idx="17572">3</cx:pt>
          <cx:pt idx="17573">2</cx:pt>
          <cx:pt idx="17574">3</cx:pt>
          <cx:pt idx="17575">2</cx:pt>
          <cx:pt idx="17576">4</cx:pt>
          <cx:pt idx="17577">2</cx:pt>
          <cx:pt idx="17578">2</cx:pt>
          <cx:pt idx="17579">2</cx:pt>
          <cx:pt idx="17580">2</cx:pt>
          <cx:pt idx="17581">4</cx:pt>
          <cx:pt idx="17582">4</cx:pt>
          <cx:pt idx="17583">3</cx:pt>
          <cx:pt idx="17584">2</cx:pt>
          <cx:pt idx="17585">5</cx:pt>
          <cx:pt idx="17586">4</cx:pt>
          <cx:pt idx="17587">5</cx:pt>
          <cx:pt idx="17588">4</cx:pt>
          <cx:pt idx="17589">3</cx:pt>
          <cx:pt idx="17590">4</cx:pt>
          <cx:pt idx="17591">2</cx:pt>
          <cx:pt idx="17592">4</cx:pt>
          <cx:pt idx="17593">5</cx:pt>
          <cx:pt idx="17594">5</cx:pt>
          <cx:pt idx="17595">4</cx:pt>
          <cx:pt idx="17596">1</cx:pt>
          <cx:pt idx="17597">4</cx:pt>
          <cx:pt idx="17598">5</cx:pt>
          <cx:pt idx="17599">5</cx:pt>
          <cx:pt idx="17600">1</cx:pt>
          <cx:pt idx="17601">3</cx:pt>
          <cx:pt idx="17602">5</cx:pt>
          <cx:pt idx="17603">3</cx:pt>
          <cx:pt idx="17604">5</cx:pt>
          <cx:pt idx="17605">4</cx:pt>
          <cx:pt idx="17606">5</cx:pt>
          <cx:pt idx="17607">5</cx:pt>
          <cx:pt idx="17608">5</cx:pt>
          <cx:pt idx="17609">4</cx:pt>
          <cx:pt idx="17610">4</cx:pt>
          <cx:pt idx="17611">4</cx:pt>
          <cx:pt idx="17612">3</cx:pt>
          <cx:pt idx="17613">5</cx:pt>
          <cx:pt idx="17614">4</cx:pt>
          <cx:pt idx="17615">2</cx:pt>
          <cx:pt idx="17616">4</cx:pt>
          <cx:pt idx="17617">3</cx:pt>
          <cx:pt idx="17618">4</cx:pt>
          <cx:pt idx="17619">4</cx:pt>
          <cx:pt idx="17620">4</cx:pt>
          <cx:pt idx="17621">4</cx:pt>
          <cx:pt idx="17622">5</cx:pt>
          <cx:pt idx="17623">4</cx:pt>
          <cx:pt idx="17624">5</cx:pt>
          <cx:pt idx="17625">4</cx:pt>
          <cx:pt idx="17626">4</cx:pt>
          <cx:pt idx="17627">4</cx:pt>
          <cx:pt idx="17628">4</cx:pt>
          <cx:pt idx="17629">4</cx:pt>
          <cx:pt idx="17630">5</cx:pt>
          <cx:pt idx="17631">4</cx:pt>
          <cx:pt idx="17632">2</cx:pt>
          <cx:pt idx="17633">3</cx:pt>
          <cx:pt idx="17634">5</cx:pt>
          <cx:pt idx="17635">4</cx:pt>
          <cx:pt idx="17636">3</cx:pt>
          <cx:pt idx="17637">3</cx:pt>
          <cx:pt idx="17638">2</cx:pt>
          <cx:pt idx="17639">5</cx:pt>
          <cx:pt idx="17640">2</cx:pt>
          <cx:pt idx="17641">4</cx:pt>
          <cx:pt idx="17642">1</cx:pt>
          <cx:pt idx="17643">5</cx:pt>
          <cx:pt idx="17644">2</cx:pt>
          <cx:pt idx="17645">4</cx:pt>
          <cx:pt idx="17646">5</cx:pt>
          <cx:pt idx="17647">5</cx:pt>
          <cx:pt idx="17648">4</cx:pt>
          <cx:pt idx="17649">5</cx:pt>
          <cx:pt idx="17650">5</cx:pt>
          <cx:pt idx="17651">5</cx:pt>
          <cx:pt idx="17652">5</cx:pt>
          <cx:pt idx="17653">4</cx:pt>
          <cx:pt idx="17654">4</cx:pt>
          <cx:pt idx="17655">5</cx:pt>
          <cx:pt idx="17656">5</cx:pt>
          <cx:pt idx="17657">4</cx:pt>
          <cx:pt idx="17658">5</cx:pt>
          <cx:pt idx="17659">3</cx:pt>
          <cx:pt idx="17660">1</cx:pt>
          <cx:pt idx="17661">4</cx:pt>
          <cx:pt idx="17662">5</cx:pt>
          <cx:pt idx="17663">5</cx:pt>
          <cx:pt idx="17664">4</cx:pt>
          <cx:pt idx="17665">5</cx:pt>
          <cx:pt idx="17666">1</cx:pt>
          <cx:pt idx="17667">4</cx:pt>
          <cx:pt idx="17668">1</cx:pt>
          <cx:pt idx="17669">2</cx:pt>
          <cx:pt idx="17670">4</cx:pt>
          <cx:pt idx="17671">4</cx:pt>
          <cx:pt idx="17672">4</cx:pt>
          <cx:pt idx="17673">5</cx:pt>
          <cx:pt idx="17674">4</cx:pt>
          <cx:pt idx="17675">5</cx:pt>
          <cx:pt idx="17676">5</cx:pt>
          <cx:pt idx="17677">4</cx:pt>
          <cx:pt idx="17678">5</cx:pt>
          <cx:pt idx="17679">4</cx:pt>
          <cx:pt idx="17680">4</cx:pt>
          <cx:pt idx="17681">5</cx:pt>
          <cx:pt idx="17682">4</cx:pt>
          <cx:pt idx="17683">4</cx:pt>
          <cx:pt idx="17684">4</cx:pt>
          <cx:pt idx="17685">3</cx:pt>
          <cx:pt idx="17686">2</cx:pt>
          <cx:pt idx="17687">5</cx:pt>
          <cx:pt idx="17688">1</cx:pt>
          <cx:pt idx="17689">4</cx:pt>
          <cx:pt idx="17690">5</cx:pt>
          <cx:pt idx="17691">4</cx:pt>
          <cx:pt idx="17692">3</cx:pt>
          <cx:pt idx="17693">3</cx:pt>
          <cx:pt idx="17694">5</cx:pt>
          <cx:pt idx="17695">4</cx:pt>
          <cx:pt idx="17696">5</cx:pt>
          <cx:pt idx="17697">3</cx:pt>
          <cx:pt idx="17698">1</cx:pt>
          <cx:pt idx="17699">4</cx:pt>
          <cx:pt idx="17700">2</cx:pt>
          <cx:pt idx="17701">5</cx:pt>
          <cx:pt idx="17702">5</cx:pt>
          <cx:pt idx="17703">4</cx:pt>
          <cx:pt idx="17704">1</cx:pt>
          <cx:pt idx="17705">5</cx:pt>
          <cx:pt idx="17706">5</cx:pt>
          <cx:pt idx="17707">4</cx:pt>
          <cx:pt idx="17708">2</cx:pt>
          <cx:pt idx="17709">2</cx:pt>
          <cx:pt idx="17710">3</cx:pt>
          <cx:pt idx="17711">4</cx:pt>
          <cx:pt idx="17712">1</cx:pt>
          <cx:pt idx="17713">4</cx:pt>
          <cx:pt idx="17714">5</cx:pt>
          <cx:pt idx="17715">4</cx:pt>
          <cx:pt idx="17716">5</cx:pt>
          <cx:pt idx="17717">5</cx:pt>
          <cx:pt idx="17718">5</cx:pt>
          <cx:pt idx="17719">2</cx:pt>
          <cx:pt idx="17720">2</cx:pt>
          <cx:pt idx="17721">3</cx:pt>
          <cx:pt idx="17722">5</cx:pt>
          <cx:pt idx="17723">2</cx:pt>
          <cx:pt idx="17724">2</cx:pt>
          <cx:pt idx="17725">5</cx:pt>
          <cx:pt idx="17726">5</cx:pt>
          <cx:pt idx="17727">3</cx:pt>
          <cx:pt idx="17728">4</cx:pt>
          <cx:pt idx="17729">1</cx:pt>
          <cx:pt idx="17730">5</cx:pt>
          <cx:pt idx="17731">4</cx:pt>
          <cx:pt idx="17732">5</cx:pt>
          <cx:pt idx="17733">4</cx:pt>
          <cx:pt idx="17734">5</cx:pt>
          <cx:pt idx="17735">4</cx:pt>
          <cx:pt idx="17736">3</cx:pt>
          <cx:pt idx="17737">3</cx:pt>
          <cx:pt idx="17738">4</cx:pt>
          <cx:pt idx="17739">5</cx:pt>
          <cx:pt idx="17740">1</cx:pt>
          <cx:pt idx="17741">2</cx:pt>
          <cx:pt idx="17742">4</cx:pt>
          <cx:pt idx="17743">2</cx:pt>
          <cx:pt idx="17744">3</cx:pt>
          <cx:pt idx="17745">2</cx:pt>
          <cx:pt idx="17746">5</cx:pt>
          <cx:pt idx="17747">4</cx:pt>
          <cx:pt idx="17748">5</cx:pt>
          <cx:pt idx="17749">4</cx:pt>
          <cx:pt idx="17750">5</cx:pt>
          <cx:pt idx="17751">4</cx:pt>
          <cx:pt idx="17752">5</cx:pt>
          <cx:pt idx="17753">4</cx:pt>
          <cx:pt idx="17754">2</cx:pt>
          <cx:pt idx="17755">4</cx:pt>
          <cx:pt idx="17756">5</cx:pt>
          <cx:pt idx="17757">3</cx:pt>
          <cx:pt idx="17758">4</cx:pt>
          <cx:pt idx="17759">3</cx:pt>
          <cx:pt idx="17760">4</cx:pt>
          <cx:pt idx="17761">2</cx:pt>
          <cx:pt idx="17762">5</cx:pt>
          <cx:pt idx="17763">2</cx:pt>
          <cx:pt idx="17764">5</cx:pt>
          <cx:pt idx="17765">3</cx:pt>
          <cx:pt idx="17766">5</cx:pt>
          <cx:pt idx="17767">2</cx:pt>
          <cx:pt idx="17768">4</cx:pt>
          <cx:pt idx="17769">3</cx:pt>
          <cx:pt idx="17770">3</cx:pt>
          <cx:pt idx="17771">2</cx:pt>
          <cx:pt idx="17772">5</cx:pt>
          <cx:pt idx="17773">4</cx:pt>
          <cx:pt idx="17774">4</cx:pt>
          <cx:pt idx="17775">2</cx:pt>
          <cx:pt idx="17776">5</cx:pt>
          <cx:pt idx="17777">4</cx:pt>
          <cx:pt idx="17778">1</cx:pt>
          <cx:pt idx="17779">2</cx:pt>
          <cx:pt idx="17780">4</cx:pt>
          <cx:pt idx="17781">5</cx:pt>
          <cx:pt idx="17782">5</cx:pt>
          <cx:pt idx="17783">4</cx:pt>
          <cx:pt idx="17784">2</cx:pt>
          <cx:pt idx="17785">4</cx:pt>
          <cx:pt idx="17786">5</cx:pt>
          <cx:pt idx="17787">5</cx:pt>
          <cx:pt idx="17788">3</cx:pt>
          <cx:pt idx="17789">1</cx:pt>
          <cx:pt idx="17790">2</cx:pt>
          <cx:pt idx="17791">5</cx:pt>
          <cx:pt idx="17792">3</cx:pt>
          <cx:pt idx="17793">2</cx:pt>
          <cx:pt idx="17794">4</cx:pt>
          <cx:pt idx="17795">1</cx:pt>
          <cx:pt idx="17796">3</cx:pt>
          <cx:pt idx="17797">5</cx:pt>
          <cx:pt idx="17798">4</cx:pt>
          <cx:pt idx="17799">1</cx:pt>
          <cx:pt idx="17800">4</cx:pt>
          <cx:pt idx="17801">4</cx:pt>
          <cx:pt idx="17802">4</cx:pt>
          <cx:pt idx="17803">5</cx:pt>
          <cx:pt idx="17804">3</cx:pt>
          <cx:pt idx="17805">5</cx:pt>
          <cx:pt idx="17806">1</cx:pt>
          <cx:pt idx="17807">4</cx:pt>
          <cx:pt idx="17808">2</cx:pt>
          <cx:pt idx="17809">3</cx:pt>
          <cx:pt idx="17810">2</cx:pt>
          <cx:pt idx="17811">1</cx:pt>
          <cx:pt idx="17812">3</cx:pt>
          <cx:pt idx="17813">4</cx:pt>
          <cx:pt idx="17814">4</cx:pt>
          <cx:pt idx="17815">4</cx:pt>
          <cx:pt idx="17816">1</cx:pt>
          <cx:pt idx="17817">5</cx:pt>
          <cx:pt idx="17818">5</cx:pt>
          <cx:pt idx="17819">5</cx:pt>
          <cx:pt idx="17820">4</cx:pt>
          <cx:pt idx="17821">1</cx:pt>
          <cx:pt idx="17822">1</cx:pt>
          <cx:pt idx="17823">4</cx:pt>
          <cx:pt idx="17824">4</cx:pt>
          <cx:pt idx="17825">3</cx:pt>
          <cx:pt idx="17826">3</cx:pt>
          <cx:pt idx="17827">1</cx:pt>
          <cx:pt idx="17828">3</cx:pt>
          <cx:pt idx="17829">3</cx:pt>
          <cx:pt idx="17830">2</cx:pt>
          <cx:pt idx="17831">4</cx:pt>
          <cx:pt idx="17832">1</cx:pt>
          <cx:pt idx="17833">5</cx:pt>
          <cx:pt idx="17834">2</cx:pt>
          <cx:pt idx="17835">4</cx:pt>
          <cx:pt idx="17836">4</cx:pt>
          <cx:pt idx="17837">5</cx:pt>
          <cx:pt idx="17838">4</cx:pt>
          <cx:pt idx="17839">4</cx:pt>
          <cx:pt idx="17840">4</cx:pt>
          <cx:pt idx="17841">5</cx:pt>
          <cx:pt idx="17842">4</cx:pt>
          <cx:pt idx="17843">5</cx:pt>
          <cx:pt idx="17844">2</cx:pt>
          <cx:pt idx="17845">1</cx:pt>
          <cx:pt idx="17846">5</cx:pt>
          <cx:pt idx="17847">5</cx:pt>
          <cx:pt idx="17848">5</cx:pt>
          <cx:pt idx="17849">4</cx:pt>
          <cx:pt idx="17850">2</cx:pt>
          <cx:pt idx="17851">2</cx:pt>
          <cx:pt idx="17852">4</cx:pt>
          <cx:pt idx="17853">3</cx:pt>
          <cx:pt idx="17854">2</cx:pt>
          <cx:pt idx="17855">3</cx:pt>
          <cx:pt idx="17856">1</cx:pt>
          <cx:pt idx="17857">5</cx:pt>
          <cx:pt idx="17858">4</cx:pt>
          <cx:pt idx="17859">3</cx:pt>
          <cx:pt idx="17860">3</cx:pt>
          <cx:pt idx="17861">5</cx:pt>
          <cx:pt idx="17862">4</cx:pt>
          <cx:pt idx="17863">4</cx:pt>
          <cx:pt idx="17864">2</cx:pt>
          <cx:pt idx="17865">4</cx:pt>
          <cx:pt idx="17866">5</cx:pt>
          <cx:pt idx="17867">5</cx:pt>
          <cx:pt idx="17868">4</cx:pt>
          <cx:pt idx="17869">3</cx:pt>
          <cx:pt idx="17870">5</cx:pt>
          <cx:pt idx="17871">3</cx:pt>
          <cx:pt idx="17872">2</cx:pt>
          <cx:pt idx="17873">1</cx:pt>
          <cx:pt idx="17874">2</cx:pt>
          <cx:pt idx="17875">1</cx:pt>
          <cx:pt idx="17876">3</cx:pt>
          <cx:pt idx="17877">3</cx:pt>
          <cx:pt idx="17878">4</cx:pt>
          <cx:pt idx="17879">5</cx:pt>
          <cx:pt idx="17880">1</cx:pt>
          <cx:pt idx="17881">4</cx:pt>
          <cx:pt idx="17882">1</cx:pt>
          <cx:pt idx="17883">5</cx:pt>
          <cx:pt idx="17884">4</cx:pt>
          <cx:pt idx="17885">3</cx:pt>
          <cx:pt idx="17886">3</cx:pt>
          <cx:pt idx="17887">5</cx:pt>
          <cx:pt idx="17888">5</cx:pt>
          <cx:pt idx="17889">1</cx:pt>
          <cx:pt idx="17890">4</cx:pt>
          <cx:pt idx="17891">4</cx:pt>
          <cx:pt idx="17892">4</cx:pt>
          <cx:pt idx="17893">5</cx:pt>
          <cx:pt idx="17894">3</cx:pt>
          <cx:pt idx="17895">4</cx:pt>
          <cx:pt idx="17896">3</cx:pt>
          <cx:pt idx="17897">5</cx:pt>
          <cx:pt idx="17898">5</cx:pt>
          <cx:pt idx="17899">2</cx:pt>
          <cx:pt idx="17900">2</cx:pt>
          <cx:pt idx="17901">4</cx:pt>
          <cx:pt idx="17902">4</cx:pt>
          <cx:pt idx="17903">5</cx:pt>
          <cx:pt idx="17904">1</cx:pt>
          <cx:pt idx="17905">3</cx:pt>
          <cx:pt idx="17906">5</cx:pt>
          <cx:pt idx="17907">5</cx:pt>
          <cx:pt idx="17908">4</cx:pt>
          <cx:pt idx="17909">1</cx:pt>
          <cx:pt idx="17910">3</cx:pt>
          <cx:pt idx="17911">3</cx:pt>
          <cx:pt idx="17912">1</cx:pt>
          <cx:pt idx="17913">2</cx:pt>
          <cx:pt idx="17914">4</cx:pt>
          <cx:pt idx="17915">4</cx:pt>
          <cx:pt idx="17916">5</cx:pt>
          <cx:pt idx="17917">4</cx:pt>
          <cx:pt idx="17918">3</cx:pt>
          <cx:pt idx="17919">2</cx:pt>
          <cx:pt idx="17920">1</cx:pt>
          <cx:pt idx="17921">5</cx:pt>
          <cx:pt idx="17922">3</cx:pt>
          <cx:pt idx="17923">3</cx:pt>
          <cx:pt idx="17924">3</cx:pt>
          <cx:pt idx="17925">4</cx:pt>
          <cx:pt idx="17926">4</cx:pt>
          <cx:pt idx="17927">3</cx:pt>
          <cx:pt idx="17928">4</cx:pt>
          <cx:pt idx="17929">2</cx:pt>
          <cx:pt idx="17930">1</cx:pt>
          <cx:pt idx="17931">2</cx:pt>
          <cx:pt idx="17932">5</cx:pt>
          <cx:pt idx="17933">2</cx:pt>
          <cx:pt idx="17934">2</cx:pt>
          <cx:pt idx="17935">2</cx:pt>
          <cx:pt idx="17936">4</cx:pt>
          <cx:pt idx="17937">4</cx:pt>
          <cx:pt idx="17938">2</cx:pt>
          <cx:pt idx="17939">5</cx:pt>
          <cx:pt idx="17940">3</cx:pt>
          <cx:pt idx="17941">1</cx:pt>
          <cx:pt idx="17942">4</cx:pt>
          <cx:pt idx="17943">3</cx:pt>
          <cx:pt idx="17944">4</cx:pt>
          <cx:pt idx="17945">2</cx:pt>
          <cx:pt idx="17946">3</cx:pt>
          <cx:pt idx="17947">3</cx:pt>
          <cx:pt idx="17948">5</cx:pt>
          <cx:pt idx="17949">4</cx:pt>
          <cx:pt idx="17950">5</cx:pt>
          <cx:pt idx="17951">2</cx:pt>
          <cx:pt idx="17952">5</cx:pt>
          <cx:pt idx="17953">4</cx:pt>
          <cx:pt idx="17954">4</cx:pt>
          <cx:pt idx="17955">5</cx:pt>
          <cx:pt idx="17956">4</cx:pt>
          <cx:pt idx="17957">4</cx:pt>
          <cx:pt idx="17958">1</cx:pt>
          <cx:pt idx="17959">5</cx:pt>
          <cx:pt idx="17960">5</cx:pt>
          <cx:pt idx="17961">4</cx:pt>
          <cx:pt idx="17962">1</cx:pt>
          <cx:pt idx="17963">5</cx:pt>
          <cx:pt idx="17964">4</cx:pt>
          <cx:pt idx="17965">4</cx:pt>
          <cx:pt idx="17966">2</cx:pt>
          <cx:pt idx="17967">4</cx:pt>
          <cx:pt idx="17968">5</cx:pt>
          <cx:pt idx="17969">4</cx:pt>
          <cx:pt idx="17970">4</cx:pt>
          <cx:pt idx="17971">2</cx:pt>
          <cx:pt idx="17972">2</cx:pt>
          <cx:pt idx="17973">1</cx:pt>
          <cx:pt idx="17974">1</cx:pt>
          <cx:pt idx="17975">2</cx:pt>
          <cx:pt idx="17976">4</cx:pt>
          <cx:pt idx="17977">3</cx:pt>
          <cx:pt idx="17978">5</cx:pt>
          <cx:pt idx="17979">4</cx:pt>
          <cx:pt idx="17980">3</cx:pt>
          <cx:pt idx="17981">5</cx:pt>
          <cx:pt idx="17982">2</cx:pt>
          <cx:pt idx="17983">5</cx:pt>
          <cx:pt idx="17984">2</cx:pt>
          <cx:pt idx="17985">5</cx:pt>
          <cx:pt idx="17986">4</cx:pt>
          <cx:pt idx="17987">1</cx:pt>
          <cx:pt idx="17988">5</cx:pt>
          <cx:pt idx="17989">4</cx:pt>
          <cx:pt idx="17990">2</cx:pt>
          <cx:pt idx="17991">4</cx:pt>
          <cx:pt idx="17992">3</cx:pt>
          <cx:pt idx="17993">4</cx:pt>
          <cx:pt idx="17994">2</cx:pt>
          <cx:pt idx="17995">4</cx:pt>
          <cx:pt idx="17996">5</cx:pt>
          <cx:pt idx="17997">3</cx:pt>
          <cx:pt idx="17998">4</cx:pt>
          <cx:pt idx="17999">5</cx:pt>
          <cx:pt idx="18000">3</cx:pt>
          <cx:pt idx="18001">5</cx:pt>
          <cx:pt idx="18002">5</cx:pt>
          <cx:pt idx="18003">4</cx:pt>
          <cx:pt idx="18004">4</cx:pt>
          <cx:pt idx="18005">2</cx:pt>
          <cx:pt idx="18006">4</cx:pt>
          <cx:pt idx="18007">5</cx:pt>
          <cx:pt idx="18008">2</cx:pt>
          <cx:pt idx="18009">3</cx:pt>
          <cx:pt idx="18010">5</cx:pt>
          <cx:pt idx="18011">5</cx:pt>
          <cx:pt idx="18012">5</cx:pt>
          <cx:pt idx="18013">4</cx:pt>
          <cx:pt idx="18014">5</cx:pt>
          <cx:pt idx="18015">2</cx:pt>
          <cx:pt idx="18016">3</cx:pt>
          <cx:pt idx="18017">5</cx:pt>
          <cx:pt idx="18018">5</cx:pt>
          <cx:pt idx="18019">3</cx:pt>
          <cx:pt idx="18020">1</cx:pt>
          <cx:pt idx="18021">4</cx:pt>
          <cx:pt idx="18022">4</cx:pt>
          <cx:pt idx="18023">2</cx:pt>
          <cx:pt idx="18024">3</cx:pt>
          <cx:pt idx="18025">4</cx:pt>
          <cx:pt idx="18026">5</cx:pt>
          <cx:pt idx="18027">5</cx:pt>
          <cx:pt idx="18028">2</cx:pt>
          <cx:pt idx="18029">5</cx:pt>
          <cx:pt idx="18030">1</cx:pt>
          <cx:pt idx="18031">4</cx:pt>
          <cx:pt idx="18032">5</cx:pt>
          <cx:pt idx="18033">2</cx:pt>
          <cx:pt idx="18034">5</cx:pt>
          <cx:pt idx="18035">4</cx:pt>
          <cx:pt idx="18036">5</cx:pt>
          <cx:pt idx="18037">3</cx:pt>
          <cx:pt idx="18038">3</cx:pt>
          <cx:pt idx="18039">4</cx:pt>
          <cx:pt idx="18040">3</cx:pt>
          <cx:pt idx="18041">4</cx:pt>
          <cx:pt idx="18042">4</cx:pt>
          <cx:pt idx="18043">4</cx:pt>
          <cx:pt idx="18044">4</cx:pt>
          <cx:pt idx="18045">4</cx:pt>
          <cx:pt idx="18046">4</cx:pt>
          <cx:pt idx="18047">4</cx:pt>
          <cx:pt idx="18048">1</cx:pt>
          <cx:pt idx="18049">4</cx:pt>
          <cx:pt idx="18050">3</cx:pt>
          <cx:pt idx="18051">1</cx:pt>
          <cx:pt idx="18052">4</cx:pt>
          <cx:pt idx="18053">3</cx:pt>
          <cx:pt idx="18054">5</cx:pt>
          <cx:pt idx="18055">3</cx:pt>
          <cx:pt idx="18056">2</cx:pt>
          <cx:pt idx="18057">4</cx:pt>
          <cx:pt idx="18058">5</cx:pt>
          <cx:pt idx="18059">4</cx:pt>
          <cx:pt idx="18060">3</cx:pt>
          <cx:pt idx="18061">4</cx:pt>
          <cx:pt idx="18062">1</cx:pt>
          <cx:pt idx="18063">1</cx:pt>
          <cx:pt idx="18064">4</cx:pt>
          <cx:pt idx="18065">2</cx:pt>
          <cx:pt idx="18066">2</cx:pt>
          <cx:pt idx="18067">5</cx:pt>
          <cx:pt idx="18068">3</cx:pt>
          <cx:pt idx="18069">3</cx:pt>
          <cx:pt idx="18070">5</cx:pt>
          <cx:pt idx="18071">3</cx:pt>
          <cx:pt idx="18072">1</cx:pt>
          <cx:pt idx="18073">2</cx:pt>
          <cx:pt idx="18074">3</cx:pt>
          <cx:pt idx="18075">5</cx:pt>
          <cx:pt idx="18076">5</cx:pt>
          <cx:pt idx="18077">3</cx:pt>
          <cx:pt idx="18078">3</cx:pt>
          <cx:pt idx="18079">2</cx:pt>
          <cx:pt idx="18080">3</cx:pt>
          <cx:pt idx="18081">5</cx:pt>
          <cx:pt idx="18082">4</cx:pt>
          <cx:pt idx="18083">2</cx:pt>
          <cx:pt idx="18084">4</cx:pt>
          <cx:pt idx="18085">3</cx:pt>
          <cx:pt idx="18086">1</cx:pt>
          <cx:pt idx="18087">3</cx:pt>
          <cx:pt idx="18088">3</cx:pt>
          <cx:pt idx="18089">4</cx:pt>
          <cx:pt idx="18090">5</cx:pt>
          <cx:pt idx="18091">1</cx:pt>
          <cx:pt idx="18092">4</cx:pt>
          <cx:pt idx="18093">4</cx:pt>
          <cx:pt idx="18094">4</cx:pt>
          <cx:pt idx="18095">4</cx:pt>
          <cx:pt idx="18096">1</cx:pt>
          <cx:pt idx="18097">5</cx:pt>
          <cx:pt idx="18098">3</cx:pt>
          <cx:pt idx="18099">3</cx:pt>
          <cx:pt idx="18100">4</cx:pt>
          <cx:pt idx="18101">4</cx:pt>
          <cx:pt idx="18102">4</cx:pt>
          <cx:pt idx="18103">4</cx:pt>
          <cx:pt idx="18104">5</cx:pt>
          <cx:pt idx="18105">3</cx:pt>
          <cx:pt idx="18106">2</cx:pt>
          <cx:pt idx="18107">3</cx:pt>
          <cx:pt idx="18108">3</cx:pt>
          <cx:pt idx="18109">5</cx:pt>
          <cx:pt idx="18110">3</cx:pt>
          <cx:pt idx="18111">4</cx:pt>
          <cx:pt idx="18112">2</cx:pt>
          <cx:pt idx="18113">2</cx:pt>
          <cx:pt idx="18114">2</cx:pt>
          <cx:pt idx="18115">4</cx:pt>
          <cx:pt idx="18116">4</cx:pt>
          <cx:pt idx="18117">5</cx:pt>
          <cx:pt idx="18118">1</cx:pt>
          <cx:pt idx="18119">2</cx:pt>
          <cx:pt idx="18120">3</cx:pt>
          <cx:pt idx="18121">3</cx:pt>
          <cx:pt idx="18122">3</cx:pt>
          <cx:pt idx="18123">4</cx:pt>
          <cx:pt idx="18124">2</cx:pt>
          <cx:pt idx="18125">4</cx:pt>
          <cx:pt idx="18126">4</cx:pt>
          <cx:pt idx="18127">2</cx:pt>
          <cx:pt idx="18128">5</cx:pt>
          <cx:pt idx="18129">4</cx:pt>
          <cx:pt idx="18130">2</cx:pt>
          <cx:pt idx="18131">1</cx:pt>
          <cx:pt idx="18132">1</cx:pt>
          <cx:pt idx="18133">2</cx:pt>
          <cx:pt idx="18134">4</cx:pt>
          <cx:pt idx="18135">4</cx:pt>
          <cx:pt idx="18136">3</cx:pt>
          <cx:pt idx="18137">4</cx:pt>
          <cx:pt idx="18138">4</cx:pt>
          <cx:pt idx="18139">4</cx:pt>
          <cx:pt idx="18140">5</cx:pt>
          <cx:pt idx="18141">4</cx:pt>
          <cx:pt idx="18142">3</cx:pt>
          <cx:pt idx="18143">2</cx:pt>
          <cx:pt idx="18144">5</cx:pt>
          <cx:pt idx="18145">1</cx:pt>
          <cx:pt idx="18146">5</cx:pt>
          <cx:pt idx="18147">4</cx:pt>
          <cx:pt idx="18148">4</cx:pt>
          <cx:pt idx="18149">3</cx:pt>
          <cx:pt idx="18150">1</cx:pt>
          <cx:pt idx="18151">5</cx:pt>
          <cx:pt idx="18152">5</cx:pt>
          <cx:pt idx="18153">4</cx:pt>
          <cx:pt idx="18154">4</cx:pt>
          <cx:pt idx="18155">3</cx:pt>
          <cx:pt idx="18156">2</cx:pt>
          <cx:pt idx="18157">4</cx:pt>
          <cx:pt idx="18158">4</cx:pt>
          <cx:pt idx="18159">1</cx:pt>
          <cx:pt idx="18160">1</cx:pt>
          <cx:pt idx="18161">5</cx:pt>
          <cx:pt idx="18162">3</cx:pt>
          <cx:pt idx="18163">2</cx:pt>
          <cx:pt idx="18164">1</cx:pt>
          <cx:pt idx="18165">1</cx:pt>
          <cx:pt idx="18166">3</cx:pt>
          <cx:pt idx="18167">1</cx:pt>
          <cx:pt idx="18168">5</cx:pt>
          <cx:pt idx="18169">5</cx:pt>
          <cx:pt idx="18170">2</cx:pt>
          <cx:pt idx="18171">5</cx:pt>
          <cx:pt idx="18172">1</cx:pt>
          <cx:pt idx="18173">5</cx:pt>
          <cx:pt idx="18174">3</cx:pt>
          <cx:pt idx="18175">4</cx:pt>
          <cx:pt idx="18176">4</cx:pt>
          <cx:pt idx="18177">5</cx:pt>
          <cx:pt idx="18178">2</cx:pt>
          <cx:pt idx="18179">4</cx:pt>
          <cx:pt idx="18180">5</cx:pt>
          <cx:pt idx="18181">4</cx:pt>
          <cx:pt idx="18182">4</cx:pt>
          <cx:pt idx="18183">4</cx:pt>
          <cx:pt idx="18184">5</cx:pt>
          <cx:pt idx="18185">5</cx:pt>
          <cx:pt idx="18186">4</cx:pt>
          <cx:pt idx="18187">5</cx:pt>
          <cx:pt idx="18188">5</cx:pt>
          <cx:pt idx="18189">1</cx:pt>
          <cx:pt idx="18190">4</cx:pt>
          <cx:pt idx="18191">3</cx:pt>
          <cx:pt idx="18192">2</cx:pt>
          <cx:pt idx="18193">1</cx:pt>
          <cx:pt idx="18194">5</cx:pt>
          <cx:pt idx="18195">4</cx:pt>
          <cx:pt idx="18196">3</cx:pt>
          <cx:pt idx="18197">3</cx:pt>
          <cx:pt idx="18198">2</cx:pt>
          <cx:pt idx="18199">4</cx:pt>
          <cx:pt idx="18200">1</cx:pt>
          <cx:pt idx="18201">2</cx:pt>
          <cx:pt idx="18202">2</cx:pt>
          <cx:pt idx="18203">1</cx:pt>
          <cx:pt idx="18204">2</cx:pt>
          <cx:pt idx="18205">4</cx:pt>
          <cx:pt idx="18206">2</cx:pt>
          <cx:pt idx="18207">3</cx:pt>
          <cx:pt idx="18208">1</cx:pt>
          <cx:pt idx="18209">4</cx:pt>
          <cx:pt idx="18210">5</cx:pt>
          <cx:pt idx="18211">4</cx:pt>
          <cx:pt idx="18212">5</cx:pt>
          <cx:pt idx="18213">4</cx:pt>
          <cx:pt idx="18214">5</cx:pt>
          <cx:pt idx="18215">5</cx:pt>
          <cx:pt idx="18216">5</cx:pt>
          <cx:pt idx="18217">1</cx:pt>
          <cx:pt idx="18218">5</cx:pt>
          <cx:pt idx="18219">2</cx:pt>
          <cx:pt idx="18220">3</cx:pt>
          <cx:pt idx="18221">5</cx:pt>
          <cx:pt idx="18222">1</cx:pt>
          <cx:pt idx="18223">3</cx:pt>
          <cx:pt idx="18224">1</cx:pt>
          <cx:pt idx="18225">4</cx:pt>
          <cx:pt idx="18226">2</cx:pt>
          <cx:pt idx="18227">5</cx:pt>
          <cx:pt idx="18228">5</cx:pt>
          <cx:pt idx="18229">5</cx:pt>
          <cx:pt idx="18230">4</cx:pt>
          <cx:pt idx="18231">1</cx:pt>
          <cx:pt idx="18232">3</cx:pt>
          <cx:pt idx="18233">3</cx:pt>
          <cx:pt idx="18234">4</cx:pt>
          <cx:pt idx="18235">4</cx:pt>
          <cx:pt idx="18236">5</cx:pt>
          <cx:pt idx="18237">2</cx:pt>
          <cx:pt idx="18238">4</cx:pt>
          <cx:pt idx="18239">1</cx:pt>
          <cx:pt idx="18240">4</cx:pt>
          <cx:pt idx="18241">4</cx:pt>
          <cx:pt idx="18242">4</cx:pt>
          <cx:pt idx="18243">5</cx:pt>
          <cx:pt idx="18244">3</cx:pt>
          <cx:pt idx="18245">1</cx:pt>
          <cx:pt idx="18246">2</cx:pt>
          <cx:pt idx="18247">3</cx:pt>
          <cx:pt idx="18248">1</cx:pt>
          <cx:pt idx="18249">4</cx:pt>
          <cx:pt idx="18250">5</cx:pt>
          <cx:pt idx="18251">5</cx:pt>
          <cx:pt idx="18252">4</cx:pt>
          <cx:pt idx="18253">5</cx:pt>
          <cx:pt idx="18254">5</cx:pt>
          <cx:pt idx="18255">4</cx:pt>
          <cx:pt idx="18256">2</cx:pt>
          <cx:pt idx="18257">4</cx:pt>
          <cx:pt idx="18258">4</cx:pt>
          <cx:pt idx="18259">2</cx:pt>
          <cx:pt idx="18260">3</cx:pt>
          <cx:pt idx="18261">2</cx:pt>
          <cx:pt idx="18262">2</cx:pt>
          <cx:pt idx="18263">5</cx:pt>
          <cx:pt idx="18264">3</cx:pt>
          <cx:pt idx="18265">1</cx:pt>
          <cx:pt idx="18266">4</cx:pt>
          <cx:pt idx="18267">1</cx:pt>
          <cx:pt idx="18268">4</cx:pt>
          <cx:pt idx="18269">4</cx:pt>
          <cx:pt idx="18270">5</cx:pt>
          <cx:pt idx="18271">4</cx:pt>
          <cx:pt idx="18272">5</cx:pt>
          <cx:pt idx="18273">4</cx:pt>
          <cx:pt idx="18274">5</cx:pt>
          <cx:pt idx="18275">4</cx:pt>
          <cx:pt idx="18276">3</cx:pt>
          <cx:pt idx="18277">4</cx:pt>
          <cx:pt idx="18278">4</cx:pt>
          <cx:pt idx="18279">3</cx:pt>
          <cx:pt idx="18280">3</cx:pt>
          <cx:pt idx="18281">3</cx:pt>
          <cx:pt idx="18282">4</cx:pt>
          <cx:pt idx="18283">5</cx:pt>
          <cx:pt idx="18284">5</cx:pt>
          <cx:pt idx="18285">2</cx:pt>
          <cx:pt idx="18286">4</cx:pt>
          <cx:pt idx="18287">3</cx:pt>
          <cx:pt idx="18288">2</cx:pt>
          <cx:pt idx="18289">4</cx:pt>
          <cx:pt idx="18290">4</cx:pt>
          <cx:pt idx="18291">5</cx:pt>
          <cx:pt idx="18292">4</cx:pt>
          <cx:pt idx="18293">3</cx:pt>
          <cx:pt idx="18294">4</cx:pt>
          <cx:pt idx="18295">2</cx:pt>
          <cx:pt idx="18296">2</cx:pt>
          <cx:pt idx="18297">4</cx:pt>
          <cx:pt idx="18298">5</cx:pt>
          <cx:pt idx="18299">5</cx:pt>
          <cx:pt idx="18300">4</cx:pt>
          <cx:pt idx="18301">4</cx:pt>
          <cx:pt idx="18302">5</cx:pt>
          <cx:pt idx="18303">1</cx:pt>
          <cx:pt idx="18304">4</cx:pt>
          <cx:pt idx="18305">5</cx:pt>
          <cx:pt idx="18306">2</cx:pt>
          <cx:pt idx="18307">4</cx:pt>
          <cx:pt idx="18308">5</cx:pt>
          <cx:pt idx="18309">3</cx:pt>
          <cx:pt idx="18310">4</cx:pt>
          <cx:pt idx="18311">4</cx:pt>
          <cx:pt idx="18312">2</cx:pt>
          <cx:pt idx="18313">1</cx:pt>
          <cx:pt idx="18314">3</cx:pt>
          <cx:pt idx="18315">5</cx:pt>
          <cx:pt idx="18316">1</cx:pt>
          <cx:pt idx="18317">2</cx:pt>
          <cx:pt idx="18318">2</cx:pt>
          <cx:pt idx="18319">1</cx:pt>
          <cx:pt idx="18320">4</cx:pt>
          <cx:pt idx="18321">1</cx:pt>
          <cx:pt idx="18322">1</cx:pt>
          <cx:pt idx="18323">2</cx:pt>
          <cx:pt idx="18324">1</cx:pt>
          <cx:pt idx="18325">5</cx:pt>
          <cx:pt idx="18326">4</cx:pt>
          <cx:pt idx="18327">2</cx:pt>
          <cx:pt idx="18328">3</cx:pt>
          <cx:pt idx="18329">3</cx:pt>
          <cx:pt idx="18330">4</cx:pt>
          <cx:pt idx="18331">5</cx:pt>
          <cx:pt idx="18332">2</cx:pt>
          <cx:pt idx="18333">3</cx:pt>
          <cx:pt idx="18334">5</cx:pt>
          <cx:pt idx="18335">4</cx:pt>
          <cx:pt idx="18336">4</cx:pt>
          <cx:pt idx="18337">4</cx:pt>
          <cx:pt idx="18338">2</cx:pt>
          <cx:pt idx="18339">4</cx:pt>
          <cx:pt idx="18340">2</cx:pt>
          <cx:pt idx="18341">4</cx:pt>
          <cx:pt idx="18342">5</cx:pt>
          <cx:pt idx="18343">5</cx:pt>
          <cx:pt idx="18344">4</cx:pt>
          <cx:pt idx="18345">4</cx:pt>
          <cx:pt idx="18346">4</cx:pt>
          <cx:pt idx="18347">4</cx:pt>
          <cx:pt idx="18348">5</cx:pt>
          <cx:pt idx="18349">4</cx:pt>
          <cx:pt idx="18350">1</cx:pt>
          <cx:pt idx="18351">4</cx:pt>
          <cx:pt idx="18352">1</cx:pt>
          <cx:pt idx="18353">2</cx:pt>
          <cx:pt idx="18354">4</cx:pt>
          <cx:pt idx="18355">5</cx:pt>
          <cx:pt idx="18356">5</cx:pt>
          <cx:pt idx="18357">5</cx:pt>
          <cx:pt idx="18358">3</cx:pt>
          <cx:pt idx="18359">4</cx:pt>
          <cx:pt idx="18360">1</cx:pt>
          <cx:pt idx="18361">3</cx:pt>
          <cx:pt idx="18362">1</cx:pt>
          <cx:pt idx="18363">5</cx:pt>
          <cx:pt idx="18364">5</cx:pt>
          <cx:pt idx="18365">3</cx:pt>
          <cx:pt idx="18366">4</cx:pt>
          <cx:pt idx="18367">4</cx:pt>
          <cx:pt idx="18368">4</cx:pt>
          <cx:pt idx="18369">1</cx:pt>
          <cx:pt idx="18370">5</cx:pt>
          <cx:pt idx="18371">4</cx:pt>
          <cx:pt idx="18372">5</cx:pt>
          <cx:pt idx="18373">3</cx:pt>
          <cx:pt idx="18374">3</cx:pt>
          <cx:pt idx="18375">3</cx:pt>
          <cx:pt idx="18376">3</cx:pt>
          <cx:pt idx="18377">2</cx:pt>
          <cx:pt idx="18378">1</cx:pt>
          <cx:pt idx="18379">1</cx:pt>
          <cx:pt idx="18380">2</cx:pt>
          <cx:pt idx="18381">4</cx:pt>
          <cx:pt idx="18382">1</cx:pt>
          <cx:pt idx="18383">2</cx:pt>
          <cx:pt idx="18384">4</cx:pt>
          <cx:pt idx="18385">5</cx:pt>
          <cx:pt idx="18386">3</cx:pt>
          <cx:pt idx="18387">3</cx:pt>
          <cx:pt idx="18388">2</cx:pt>
          <cx:pt idx="18389">5</cx:pt>
          <cx:pt idx="18390">4</cx:pt>
          <cx:pt idx="18391">3</cx:pt>
          <cx:pt idx="18392">4</cx:pt>
          <cx:pt idx="18393">5</cx:pt>
          <cx:pt idx="18394">1</cx:pt>
          <cx:pt idx="18395">5</cx:pt>
          <cx:pt idx="18396">4</cx:pt>
          <cx:pt idx="18397">4</cx:pt>
          <cx:pt idx="18398">4</cx:pt>
          <cx:pt idx="18399">5</cx:pt>
          <cx:pt idx="18400">4</cx:pt>
          <cx:pt idx="18401">3</cx:pt>
          <cx:pt idx="18402">3</cx:pt>
          <cx:pt idx="18403">4</cx:pt>
          <cx:pt idx="18404">4</cx:pt>
          <cx:pt idx="18405">2</cx:pt>
          <cx:pt idx="18406">3</cx:pt>
          <cx:pt idx="18407">4</cx:pt>
          <cx:pt idx="18408">5</cx:pt>
          <cx:pt idx="18409">5</cx:pt>
          <cx:pt idx="18410">4</cx:pt>
          <cx:pt idx="18411">1</cx:pt>
          <cx:pt idx="18412">3</cx:pt>
          <cx:pt idx="18413">4</cx:pt>
          <cx:pt idx="18414">5</cx:pt>
          <cx:pt idx="18415">4</cx:pt>
          <cx:pt idx="18416">3</cx:pt>
          <cx:pt idx="18417">4</cx:pt>
          <cx:pt idx="18418">3</cx:pt>
          <cx:pt idx="18419">2</cx:pt>
          <cx:pt idx="18420">3</cx:pt>
          <cx:pt idx="18421">4</cx:pt>
          <cx:pt idx="18422">4</cx:pt>
          <cx:pt idx="18423">4</cx:pt>
          <cx:pt idx="18424">2</cx:pt>
          <cx:pt idx="18425">1</cx:pt>
          <cx:pt idx="18426">3</cx:pt>
          <cx:pt idx="18427">4</cx:pt>
          <cx:pt idx="18428">1</cx:pt>
          <cx:pt idx="18429">2</cx:pt>
          <cx:pt idx="18430">4</cx:pt>
          <cx:pt idx="18431">4</cx:pt>
          <cx:pt idx="18432">5</cx:pt>
          <cx:pt idx="18433">1</cx:pt>
          <cx:pt idx="18434">4</cx:pt>
          <cx:pt idx="18435">2</cx:pt>
          <cx:pt idx="18436">4</cx:pt>
          <cx:pt idx="18437">3</cx:pt>
          <cx:pt idx="18438">3</cx:pt>
          <cx:pt idx="18439">1</cx:pt>
          <cx:pt idx="18440">5</cx:pt>
          <cx:pt idx="18441">3</cx:pt>
          <cx:pt idx="18442">4</cx:pt>
          <cx:pt idx="18443">5</cx:pt>
          <cx:pt idx="18444">5</cx:pt>
          <cx:pt idx="18445">3</cx:pt>
          <cx:pt idx="18446">3</cx:pt>
          <cx:pt idx="18447">4</cx:pt>
          <cx:pt idx="18448">1</cx:pt>
          <cx:pt idx="18449">3</cx:pt>
          <cx:pt idx="18450">3</cx:pt>
          <cx:pt idx="18451">5</cx:pt>
          <cx:pt idx="18452">3</cx:pt>
          <cx:pt idx="18453">2</cx:pt>
          <cx:pt idx="18454">5</cx:pt>
          <cx:pt idx="18455">2</cx:pt>
          <cx:pt idx="18456">2</cx:pt>
          <cx:pt idx="18457">3</cx:pt>
          <cx:pt idx="18458">5</cx:pt>
          <cx:pt idx="18459">2</cx:pt>
          <cx:pt idx="18460">5</cx:pt>
          <cx:pt idx="18461">4</cx:pt>
          <cx:pt idx="18462">4</cx:pt>
          <cx:pt idx="18463">4</cx:pt>
          <cx:pt idx="18464">3</cx:pt>
          <cx:pt idx="18465">5</cx:pt>
          <cx:pt idx="18466">5</cx:pt>
          <cx:pt idx="18467">5</cx:pt>
          <cx:pt idx="18468">4</cx:pt>
          <cx:pt idx="18469">2</cx:pt>
          <cx:pt idx="18470">4</cx:pt>
          <cx:pt idx="18471">2</cx:pt>
          <cx:pt idx="18472">5</cx:pt>
          <cx:pt idx="18473">4</cx:pt>
          <cx:pt idx="18474">5</cx:pt>
          <cx:pt idx="18475">4</cx:pt>
          <cx:pt idx="18476">3</cx:pt>
          <cx:pt idx="18477">2</cx:pt>
          <cx:pt idx="18478">4</cx:pt>
          <cx:pt idx="18479">1</cx:pt>
          <cx:pt idx="18480">3</cx:pt>
          <cx:pt idx="18481">2</cx:pt>
          <cx:pt idx="18482">5</cx:pt>
          <cx:pt idx="18483">3</cx:pt>
          <cx:pt idx="18484">3</cx:pt>
          <cx:pt idx="18485">3</cx:pt>
          <cx:pt idx="18486">2</cx:pt>
          <cx:pt idx="18487">4</cx:pt>
          <cx:pt idx="18488">5</cx:pt>
          <cx:pt idx="18489">5</cx:pt>
          <cx:pt idx="18490">1</cx:pt>
          <cx:pt idx="18491">3</cx:pt>
          <cx:pt idx="18492">4</cx:pt>
          <cx:pt idx="18493">2</cx:pt>
          <cx:pt idx="18494">5</cx:pt>
          <cx:pt idx="18495">3</cx:pt>
          <cx:pt idx="18496">5</cx:pt>
          <cx:pt idx="18497">3</cx:pt>
          <cx:pt idx="18498">5</cx:pt>
          <cx:pt idx="18499">3</cx:pt>
          <cx:pt idx="18500">4</cx:pt>
          <cx:pt idx="18501">5</cx:pt>
          <cx:pt idx="18502">4</cx:pt>
          <cx:pt idx="18503">1</cx:pt>
          <cx:pt idx="18504">5</cx:pt>
          <cx:pt idx="18505">3</cx:pt>
          <cx:pt idx="18506">4</cx:pt>
          <cx:pt idx="18507">4</cx:pt>
          <cx:pt idx="18508">2</cx:pt>
          <cx:pt idx="18509">2</cx:pt>
          <cx:pt idx="18510">3</cx:pt>
          <cx:pt idx="18511">3</cx:pt>
          <cx:pt idx="18512">4</cx:pt>
          <cx:pt idx="18513">5</cx:pt>
          <cx:pt idx="18514">1</cx:pt>
          <cx:pt idx="18515">5</cx:pt>
          <cx:pt idx="18516">3</cx:pt>
          <cx:pt idx="18517">2</cx:pt>
          <cx:pt idx="18518">2</cx:pt>
          <cx:pt idx="18519">5</cx:pt>
          <cx:pt idx="18520">5</cx:pt>
          <cx:pt idx="18521">1</cx:pt>
          <cx:pt idx="18522">5</cx:pt>
          <cx:pt idx="18523">4</cx:pt>
          <cx:pt idx="18524">1</cx:pt>
          <cx:pt idx="18525">4</cx:pt>
          <cx:pt idx="18526">4</cx:pt>
          <cx:pt idx="18527">2</cx:pt>
          <cx:pt idx="18528">2</cx:pt>
          <cx:pt idx="18529">4</cx:pt>
          <cx:pt idx="18530">3</cx:pt>
          <cx:pt idx="18531">2</cx:pt>
          <cx:pt idx="18532">4</cx:pt>
          <cx:pt idx="18533">2</cx:pt>
          <cx:pt idx="18534">1</cx:pt>
          <cx:pt idx="18535">3</cx:pt>
          <cx:pt idx="18536">3</cx:pt>
          <cx:pt idx="18537">1</cx:pt>
          <cx:pt idx="18538">5</cx:pt>
          <cx:pt idx="18539">5</cx:pt>
          <cx:pt idx="18540">2</cx:pt>
          <cx:pt idx="18541">5</cx:pt>
          <cx:pt idx="18542">4</cx:pt>
          <cx:pt idx="18543">2</cx:pt>
          <cx:pt idx="18544">3</cx:pt>
          <cx:pt idx="18545">5</cx:pt>
          <cx:pt idx="18546">4</cx:pt>
          <cx:pt idx="18547">5</cx:pt>
          <cx:pt idx="18548">5</cx:pt>
          <cx:pt idx="18549">5</cx:pt>
          <cx:pt idx="18550">2</cx:pt>
          <cx:pt idx="18551">1</cx:pt>
          <cx:pt idx="18552">3</cx:pt>
          <cx:pt idx="18553">5</cx:pt>
          <cx:pt idx="18554">4</cx:pt>
          <cx:pt idx="18555">2</cx:pt>
          <cx:pt idx="18556">5</cx:pt>
          <cx:pt idx="18557">3</cx:pt>
          <cx:pt idx="18558">1</cx:pt>
          <cx:pt idx="18559">4</cx:pt>
          <cx:pt idx="18560">5</cx:pt>
          <cx:pt idx="18561">4</cx:pt>
          <cx:pt idx="18562">5</cx:pt>
          <cx:pt idx="18563">5</cx:pt>
          <cx:pt idx="18564">3</cx:pt>
          <cx:pt idx="18565">2</cx:pt>
          <cx:pt idx="18566">5</cx:pt>
          <cx:pt idx="18567">4</cx:pt>
          <cx:pt idx="18568">5</cx:pt>
          <cx:pt idx="18569">4</cx:pt>
          <cx:pt idx="18570">4</cx:pt>
          <cx:pt idx="18571">1</cx:pt>
          <cx:pt idx="18572">5</cx:pt>
          <cx:pt idx="18573">5</cx:pt>
          <cx:pt idx="18574">5</cx:pt>
          <cx:pt idx="18575">5</cx:pt>
          <cx:pt idx="18576">2</cx:pt>
          <cx:pt idx="18577">5</cx:pt>
          <cx:pt idx="18578">5</cx:pt>
          <cx:pt idx="18579">5</cx:pt>
          <cx:pt idx="18580">4</cx:pt>
          <cx:pt idx="18581">5</cx:pt>
          <cx:pt idx="18582">3</cx:pt>
          <cx:pt idx="18583">5</cx:pt>
          <cx:pt idx="18584">3</cx:pt>
          <cx:pt idx="18585">2</cx:pt>
          <cx:pt idx="18586">3</cx:pt>
          <cx:pt idx="18587">5</cx:pt>
          <cx:pt idx="18588">3</cx:pt>
          <cx:pt idx="18589">2</cx:pt>
          <cx:pt idx="18590">4</cx:pt>
          <cx:pt idx="18591">1</cx:pt>
          <cx:pt idx="18592">3</cx:pt>
          <cx:pt idx="18593">3</cx:pt>
          <cx:pt idx="18594">5</cx:pt>
          <cx:pt idx="18595">1</cx:pt>
          <cx:pt idx="18596">3</cx:pt>
          <cx:pt idx="18597">4</cx:pt>
          <cx:pt idx="18598">1</cx:pt>
          <cx:pt idx="18599">5</cx:pt>
          <cx:pt idx="18600">5</cx:pt>
          <cx:pt idx="18601">4</cx:pt>
          <cx:pt idx="18602">4</cx:pt>
          <cx:pt idx="18603">4</cx:pt>
          <cx:pt idx="18604">1</cx:pt>
          <cx:pt idx="18605">4</cx:pt>
          <cx:pt idx="18606">5</cx:pt>
          <cx:pt idx="18607">2</cx:pt>
          <cx:pt idx="18608">1</cx:pt>
          <cx:pt idx="18609">4</cx:pt>
          <cx:pt idx="18610">2</cx:pt>
          <cx:pt idx="18611">3</cx:pt>
          <cx:pt idx="18612">1</cx:pt>
          <cx:pt idx="18613">5</cx:pt>
          <cx:pt idx="18614">4</cx:pt>
          <cx:pt idx="18615">5</cx:pt>
          <cx:pt idx="18616">5</cx:pt>
          <cx:pt idx="18617">5</cx:pt>
          <cx:pt idx="18618">2</cx:pt>
          <cx:pt idx="18619">2</cx:pt>
          <cx:pt idx="18620">5</cx:pt>
          <cx:pt idx="18621">2</cx:pt>
          <cx:pt idx="18622">4</cx:pt>
          <cx:pt idx="18623">1</cx:pt>
          <cx:pt idx="18624">3</cx:pt>
          <cx:pt idx="18625">1</cx:pt>
          <cx:pt idx="18626">2</cx:pt>
          <cx:pt idx="18627">4</cx:pt>
          <cx:pt idx="18628">4</cx:pt>
          <cx:pt idx="18629">1</cx:pt>
          <cx:pt idx="18630">3</cx:pt>
          <cx:pt idx="18631">3</cx:pt>
          <cx:pt idx="18632">2</cx:pt>
          <cx:pt idx="18633">2</cx:pt>
          <cx:pt idx="18634">3</cx:pt>
          <cx:pt idx="18635">4</cx:pt>
          <cx:pt idx="18636">5</cx:pt>
          <cx:pt idx="18637">4</cx:pt>
          <cx:pt idx="18638">1</cx:pt>
          <cx:pt idx="18639">3</cx:pt>
          <cx:pt idx="18640">4</cx:pt>
          <cx:pt idx="18641">4</cx:pt>
          <cx:pt idx="18642">2</cx:pt>
          <cx:pt idx="18643">3</cx:pt>
          <cx:pt idx="18644">2</cx:pt>
          <cx:pt idx="18645">4</cx:pt>
          <cx:pt idx="18646">3</cx:pt>
          <cx:pt idx="18647">5</cx:pt>
          <cx:pt idx="18648">4</cx:pt>
          <cx:pt idx="18649">4</cx:pt>
          <cx:pt idx="18650">2</cx:pt>
          <cx:pt idx="18651">2</cx:pt>
          <cx:pt idx="18652">3</cx:pt>
          <cx:pt idx="18653">2</cx:pt>
          <cx:pt idx="18654">4</cx:pt>
          <cx:pt idx="18655">5</cx:pt>
          <cx:pt idx="18656">5</cx:pt>
          <cx:pt idx="18657">4</cx:pt>
          <cx:pt idx="18658">4</cx:pt>
          <cx:pt idx="18659">1</cx:pt>
          <cx:pt idx="18660">4</cx:pt>
          <cx:pt idx="18661">5</cx:pt>
          <cx:pt idx="18662">3</cx:pt>
          <cx:pt idx="18663">4</cx:pt>
          <cx:pt idx="18664">5</cx:pt>
          <cx:pt idx="18665">5</cx:pt>
          <cx:pt idx="18666">5</cx:pt>
          <cx:pt idx="18667">3</cx:pt>
          <cx:pt idx="18668">2</cx:pt>
          <cx:pt idx="18669">3</cx:pt>
          <cx:pt idx="18670">4</cx:pt>
          <cx:pt idx="18671">5</cx:pt>
          <cx:pt idx="18672">5</cx:pt>
          <cx:pt idx="18673">1</cx:pt>
          <cx:pt idx="18674">4</cx:pt>
          <cx:pt idx="18675">2</cx:pt>
          <cx:pt idx="18676">4</cx:pt>
          <cx:pt idx="18677">4</cx:pt>
          <cx:pt idx="18678">4</cx:pt>
          <cx:pt idx="18679">1</cx:pt>
          <cx:pt idx="18680">5</cx:pt>
          <cx:pt idx="18681">2</cx:pt>
          <cx:pt idx="18682">2</cx:pt>
          <cx:pt idx="18683">5</cx:pt>
          <cx:pt idx="18684">4</cx:pt>
          <cx:pt idx="18685">4</cx:pt>
          <cx:pt idx="18686">1</cx:pt>
          <cx:pt idx="18687">5</cx:pt>
          <cx:pt idx="18688">1</cx:pt>
          <cx:pt idx="18689">5</cx:pt>
          <cx:pt idx="18690">4</cx:pt>
          <cx:pt idx="18691">5</cx:pt>
          <cx:pt idx="18692">3</cx:pt>
          <cx:pt idx="18693">4</cx:pt>
          <cx:pt idx="18694">5</cx:pt>
          <cx:pt idx="18695">1</cx:pt>
          <cx:pt idx="18696">5</cx:pt>
          <cx:pt idx="18697">3</cx:pt>
          <cx:pt idx="18698">4</cx:pt>
          <cx:pt idx="18699">1</cx:pt>
          <cx:pt idx="18700">5</cx:pt>
          <cx:pt idx="18701">2</cx:pt>
          <cx:pt idx="18702">4</cx:pt>
          <cx:pt idx="18703">3</cx:pt>
          <cx:pt idx="18704">1</cx:pt>
          <cx:pt idx="18705">3</cx:pt>
          <cx:pt idx="18706">2</cx:pt>
          <cx:pt idx="18707">3</cx:pt>
          <cx:pt idx="18708">1</cx:pt>
          <cx:pt idx="18709">1</cx:pt>
          <cx:pt idx="18710">4</cx:pt>
          <cx:pt idx="18711">5</cx:pt>
          <cx:pt idx="18712">3</cx:pt>
          <cx:pt idx="18713">2</cx:pt>
          <cx:pt idx="18714">3</cx:pt>
          <cx:pt idx="18715">4</cx:pt>
          <cx:pt idx="18716">2</cx:pt>
          <cx:pt idx="18717">3</cx:pt>
          <cx:pt idx="18718">1</cx:pt>
          <cx:pt idx="18719">1</cx:pt>
          <cx:pt idx="18720">5</cx:pt>
          <cx:pt idx="18721">4</cx:pt>
          <cx:pt idx="18722">5</cx:pt>
          <cx:pt idx="18723">3</cx:pt>
          <cx:pt idx="18724">4</cx:pt>
          <cx:pt idx="18725">5</cx:pt>
          <cx:pt idx="18726">5</cx:pt>
          <cx:pt idx="18727">5</cx:pt>
          <cx:pt idx="18728">5</cx:pt>
          <cx:pt idx="18729">4</cx:pt>
          <cx:pt idx="18730">1</cx:pt>
          <cx:pt idx="18731">4</cx:pt>
          <cx:pt idx="18732">3</cx:pt>
          <cx:pt idx="18733">1</cx:pt>
          <cx:pt idx="18734">5</cx:pt>
          <cx:pt idx="18735">5</cx:pt>
          <cx:pt idx="18736">4</cx:pt>
          <cx:pt idx="18737">3</cx:pt>
          <cx:pt idx="18738">3</cx:pt>
          <cx:pt idx="18739">2</cx:pt>
          <cx:pt idx="18740">2</cx:pt>
          <cx:pt idx="18741">4</cx:pt>
          <cx:pt idx="18742">4</cx:pt>
          <cx:pt idx="18743">2</cx:pt>
          <cx:pt idx="18744">3</cx:pt>
          <cx:pt idx="18745">4</cx:pt>
          <cx:pt idx="18746">4</cx:pt>
          <cx:pt idx="18747">1</cx:pt>
          <cx:pt idx="18748">5</cx:pt>
          <cx:pt idx="18749">3</cx:pt>
          <cx:pt idx="18750">1</cx:pt>
          <cx:pt idx="18751">3</cx:pt>
          <cx:pt idx="18752">4</cx:pt>
          <cx:pt idx="18753">4</cx:pt>
          <cx:pt idx="18754">5</cx:pt>
          <cx:pt idx="18755">1</cx:pt>
          <cx:pt idx="18756">5</cx:pt>
          <cx:pt idx="18757">4</cx:pt>
          <cx:pt idx="18758">4</cx:pt>
          <cx:pt idx="18759">3</cx:pt>
          <cx:pt idx="18760">1</cx:pt>
          <cx:pt idx="18761">4</cx:pt>
          <cx:pt idx="18762">5</cx:pt>
          <cx:pt idx="18763">3</cx:pt>
          <cx:pt idx="18764">5</cx:pt>
          <cx:pt idx="18765">5</cx:pt>
          <cx:pt idx="18766">4</cx:pt>
          <cx:pt idx="18767">5</cx:pt>
          <cx:pt idx="18768">4</cx:pt>
          <cx:pt idx="18769">1</cx:pt>
          <cx:pt idx="18770">3</cx:pt>
          <cx:pt idx="18771">1</cx:pt>
          <cx:pt idx="18772">3</cx:pt>
          <cx:pt idx="18773">5</cx:pt>
          <cx:pt idx="18774">3</cx:pt>
          <cx:pt idx="18775">4</cx:pt>
          <cx:pt idx="18776">3</cx:pt>
          <cx:pt idx="18777">4</cx:pt>
          <cx:pt idx="18778">4</cx:pt>
          <cx:pt idx="18779">1</cx:pt>
          <cx:pt idx="18780">3</cx:pt>
          <cx:pt idx="18781">1</cx:pt>
          <cx:pt idx="18782">5</cx:pt>
          <cx:pt idx="18783">5</cx:pt>
          <cx:pt idx="18784">1</cx:pt>
          <cx:pt idx="18785">4</cx:pt>
          <cx:pt idx="18786">5</cx:pt>
          <cx:pt idx="18787">4</cx:pt>
          <cx:pt idx="18788">4</cx:pt>
          <cx:pt idx="18789">4</cx:pt>
          <cx:pt idx="18790">5</cx:pt>
          <cx:pt idx="18791">4</cx:pt>
          <cx:pt idx="18792">4</cx:pt>
          <cx:pt idx="18793">2</cx:pt>
          <cx:pt idx="18794">5</cx:pt>
          <cx:pt idx="18795">4</cx:pt>
          <cx:pt idx="18796">2</cx:pt>
          <cx:pt idx="18797">2</cx:pt>
          <cx:pt idx="18798">2</cx:pt>
          <cx:pt idx="18799">2</cx:pt>
          <cx:pt idx="18800">5</cx:pt>
          <cx:pt idx="18801">3</cx:pt>
          <cx:pt idx="18802">5</cx:pt>
          <cx:pt idx="18803">2</cx:pt>
          <cx:pt idx="18804">3</cx:pt>
          <cx:pt idx="18805">2</cx:pt>
          <cx:pt idx="18806">2</cx:pt>
          <cx:pt idx="18807">2</cx:pt>
          <cx:pt idx="18808">3</cx:pt>
          <cx:pt idx="18809">3</cx:pt>
          <cx:pt idx="18810">4</cx:pt>
          <cx:pt idx="18811">5</cx:pt>
          <cx:pt idx="18812">4</cx:pt>
          <cx:pt idx="18813">3</cx:pt>
          <cx:pt idx="18814">4</cx:pt>
          <cx:pt idx="18815">5</cx:pt>
          <cx:pt idx="18816">3</cx:pt>
          <cx:pt idx="18817">2</cx:pt>
          <cx:pt idx="18818">4</cx:pt>
          <cx:pt idx="18819">4</cx:pt>
          <cx:pt idx="18820">4</cx:pt>
          <cx:pt idx="18821">5</cx:pt>
          <cx:pt idx="18822">5</cx:pt>
          <cx:pt idx="18823">4</cx:pt>
          <cx:pt idx="18824">3</cx:pt>
          <cx:pt idx="18825">2</cx:pt>
          <cx:pt idx="18826">4</cx:pt>
          <cx:pt idx="18827">3</cx:pt>
          <cx:pt idx="18828">2</cx:pt>
          <cx:pt idx="18829">4</cx:pt>
          <cx:pt idx="18830">4</cx:pt>
          <cx:pt idx="18831">4</cx:pt>
          <cx:pt idx="18832">4</cx:pt>
          <cx:pt idx="18833">1</cx:pt>
          <cx:pt idx="18834">2</cx:pt>
          <cx:pt idx="18835">1</cx:pt>
          <cx:pt idx="18836">3</cx:pt>
          <cx:pt idx="18837">2</cx:pt>
          <cx:pt idx="18838">5</cx:pt>
          <cx:pt idx="18839">5</cx:pt>
          <cx:pt idx="18840">1</cx:pt>
          <cx:pt idx="18841">3</cx:pt>
          <cx:pt idx="18842">4</cx:pt>
          <cx:pt idx="18843">5</cx:pt>
          <cx:pt idx="18844">5</cx:pt>
          <cx:pt idx="18845">5</cx:pt>
          <cx:pt idx="18846">4</cx:pt>
          <cx:pt idx="18847">5</cx:pt>
          <cx:pt idx="18848">4</cx:pt>
          <cx:pt idx="18849">3</cx:pt>
          <cx:pt idx="18850">2</cx:pt>
          <cx:pt idx="18851">2</cx:pt>
          <cx:pt idx="18852">1</cx:pt>
          <cx:pt idx="18853">3</cx:pt>
          <cx:pt idx="18854">3</cx:pt>
          <cx:pt idx="18855">5</cx:pt>
          <cx:pt idx="18856">5</cx:pt>
          <cx:pt idx="18857">4</cx:pt>
          <cx:pt idx="18858">4</cx:pt>
          <cx:pt idx="18859">4</cx:pt>
          <cx:pt idx="18860">3</cx:pt>
          <cx:pt idx="18861">2</cx:pt>
          <cx:pt idx="18862">3</cx:pt>
          <cx:pt idx="18863">4</cx:pt>
          <cx:pt idx="18864">4</cx:pt>
          <cx:pt idx="18865">3</cx:pt>
          <cx:pt idx="18866">2</cx:pt>
          <cx:pt idx="18867">4</cx:pt>
          <cx:pt idx="18868">2</cx:pt>
          <cx:pt idx="18869">1</cx:pt>
          <cx:pt idx="18870">3</cx:pt>
          <cx:pt idx="18871">2</cx:pt>
          <cx:pt idx="18872">5</cx:pt>
          <cx:pt idx="18873">2</cx:pt>
          <cx:pt idx="18874">4</cx:pt>
          <cx:pt idx="18875">3</cx:pt>
          <cx:pt idx="18876">4</cx:pt>
          <cx:pt idx="18877">4</cx:pt>
          <cx:pt idx="18878">4</cx:pt>
          <cx:pt idx="18879">2</cx:pt>
          <cx:pt idx="18880">5</cx:pt>
          <cx:pt idx="18881">3</cx:pt>
          <cx:pt idx="18882">1</cx:pt>
          <cx:pt idx="18883">4</cx:pt>
          <cx:pt idx="18884">4</cx:pt>
          <cx:pt idx="18885">5</cx:pt>
          <cx:pt idx="18886">5</cx:pt>
          <cx:pt idx="18887">5</cx:pt>
          <cx:pt idx="18888">5</cx:pt>
          <cx:pt idx="18889">4</cx:pt>
          <cx:pt idx="18890">5</cx:pt>
          <cx:pt idx="18891">3</cx:pt>
          <cx:pt idx="18892">4</cx:pt>
          <cx:pt idx="18893">3</cx:pt>
          <cx:pt idx="18894">4</cx:pt>
          <cx:pt idx="18895">2</cx:pt>
          <cx:pt idx="18896">4</cx:pt>
          <cx:pt idx="18897">5</cx:pt>
          <cx:pt idx="18898">5</cx:pt>
          <cx:pt idx="18899">2</cx:pt>
          <cx:pt idx="18900">5</cx:pt>
          <cx:pt idx="18901">4</cx:pt>
          <cx:pt idx="18902">4</cx:pt>
          <cx:pt idx="18903">5</cx:pt>
          <cx:pt idx="18904">5</cx:pt>
          <cx:pt idx="18905">4</cx:pt>
          <cx:pt idx="18906">4</cx:pt>
          <cx:pt idx="18907">5</cx:pt>
          <cx:pt idx="18908">1</cx:pt>
          <cx:pt idx="18909">4</cx:pt>
          <cx:pt idx="18910">4</cx:pt>
          <cx:pt idx="18911">5</cx:pt>
          <cx:pt idx="18912">3</cx:pt>
          <cx:pt idx="18913">2</cx:pt>
          <cx:pt idx="18914">3</cx:pt>
          <cx:pt idx="18915">2</cx:pt>
          <cx:pt idx="18916">5</cx:pt>
          <cx:pt idx="18917">2</cx:pt>
          <cx:pt idx="18918">5</cx:pt>
          <cx:pt idx="18919">1</cx:pt>
          <cx:pt idx="18920">4</cx:pt>
          <cx:pt idx="18921">2</cx:pt>
          <cx:pt idx="18922">4</cx:pt>
          <cx:pt idx="18923">4</cx:pt>
          <cx:pt idx="18924">4</cx:pt>
          <cx:pt idx="18925">5</cx:pt>
          <cx:pt idx="18926">2</cx:pt>
          <cx:pt idx="18927">3</cx:pt>
          <cx:pt idx="18928">2</cx:pt>
          <cx:pt idx="18929">4</cx:pt>
          <cx:pt idx="18930">4</cx:pt>
          <cx:pt idx="18931">2</cx:pt>
          <cx:pt idx="18932">4</cx:pt>
          <cx:pt idx="18933">4</cx:pt>
          <cx:pt idx="18934">3</cx:pt>
          <cx:pt idx="18935">5</cx:pt>
          <cx:pt idx="18936">1</cx:pt>
          <cx:pt idx="18937">5</cx:pt>
          <cx:pt idx="18938">4</cx:pt>
          <cx:pt idx="18939">4</cx:pt>
          <cx:pt idx="18940">1</cx:pt>
          <cx:pt idx="18941">4</cx:pt>
          <cx:pt idx="18942">3</cx:pt>
          <cx:pt idx="18943">4</cx:pt>
          <cx:pt idx="18944">4</cx:pt>
          <cx:pt idx="18945">3</cx:pt>
          <cx:pt idx="18946">5</cx:pt>
          <cx:pt idx="18947">4</cx:pt>
          <cx:pt idx="18948">4</cx:pt>
          <cx:pt idx="18949">3</cx:pt>
          <cx:pt idx="18950">5</cx:pt>
          <cx:pt idx="18951">3</cx:pt>
          <cx:pt idx="18952">1</cx:pt>
          <cx:pt idx="18953">5</cx:pt>
          <cx:pt idx="18954">4</cx:pt>
          <cx:pt idx="18955">5</cx:pt>
          <cx:pt idx="18956">5</cx:pt>
          <cx:pt idx="18957">5</cx:pt>
          <cx:pt idx="18958">3</cx:pt>
          <cx:pt idx="18959">5</cx:pt>
          <cx:pt idx="18960">4</cx:pt>
          <cx:pt idx="18961">5</cx:pt>
          <cx:pt idx="18962">2</cx:pt>
          <cx:pt idx="18963">2</cx:pt>
          <cx:pt idx="18964">4</cx:pt>
          <cx:pt idx="18965">2</cx:pt>
          <cx:pt idx="18966">1</cx:pt>
          <cx:pt idx="18967">5</cx:pt>
          <cx:pt idx="18968">5</cx:pt>
          <cx:pt idx="18969">3</cx:pt>
          <cx:pt idx="18970">5</cx:pt>
          <cx:pt idx="18971">4</cx:pt>
          <cx:pt idx="18972">5</cx:pt>
          <cx:pt idx="18973">4</cx:pt>
          <cx:pt idx="18974">2</cx:pt>
          <cx:pt idx="18975">4</cx:pt>
          <cx:pt idx="18976">5</cx:pt>
          <cx:pt idx="18977">2</cx:pt>
          <cx:pt idx="18978">5</cx:pt>
          <cx:pt idx="18979">4</cx:pt>
          <cx:pt idx="18980">4</cx:pt>
          <cx:pt idx="18981">4</cx:pt>
          <cx:pt idx="18982">3</cx:pt>
          <cx:pt idx="18983">5</cx:pt>
          <cx:pt idx="18984">3</cx:pt>
          <cx:pt idx="18985">2</cx:pt>
          <cx:pt idx="18986">4</cx:pt>
          <cx:pt idx="18987">5</cx:pt>
          <cx:pt idx="18988">5</cx:pt>
          <cx:pt idx="18989">5</cx:pt>
          <cx:pt idx="18990">4</cx:pt>
          <cx:pt idx="18991">3</cx:pt>
          <cx:pt idx="18992">5</cx:pt>
          <cx:pt idx="18993">5</cx:pt>
          <cx:pt idx="18994">2</cx:pt>
          <cx:pt idx="18995">4</cx:pt>
          <cx:pt idx="18996">3</cx:pt>
          <cx:pt idx="18997">4</cx:pt>
          <cx:pt idx="18998">3</cx:pt>
          <cx:pt idx="18999">4</cx:pt>
          <cx:pt idx="19000">4</cx:pt>
          <cx:pt idx="19001">5</cx:pt>
          <cx:pt idx="19002">4</cx:pt>
          <cx:pt idx="19003">1</cx:pt>
          <cx:pt idx="19004">4</cx:pt>
          <cx:pt idx="19005">3</cx:pt>
          <cx:pt idx="19006">2</cx:pt>
          <cx:pt idx="19007">4</cx:pt>
          <cx:pt idx="19008">4</cx:pt>
          <cx:pt idx="19009">1</cx:pt>
          <cx:pt idx="19010">1</cx:pt>
          <cx:pt idx="19011">3</cx:pt>
          <cx:pt idx="19012">3</cx:pt>
          <cx:pt idx="19013">4</cx:pt>
          <cx:pt idx="19014">3</cx:pt>
          <cx:pt idx="19015">4</cx:pt>
          <cx:pt idx="19016">1</cx:pt>
          <cx:pt idx="19017">1</cx:pt>
          <cx:pt idx="19018">4</cx:pt>
          <cx:pt idx="19019">1</cx:pt>
          <cx:pt idx="19020">5</cx:pt>
          <cx:pt idx="19021">3</cx:pt>
          <cx:pt idx="19022">3</cx:pt>
          <cx:pt idx="19023">4</cx:pt>
          <cx:pt idx="19024">5</cx:pt>
          <cx:pt idx="19025">5</cx:pt>
          <cx:pt idx="19026">5</cx:pt>
          <cx:pt idx="19027">4</cx:pt>
          <cx:pt idx="19028">4</cx:pt>
          <cx:pt idx="19029">4</cx:pt>
          <cx:pt idx="19030">1</cx:pt>
          <cx:pt idx="19031">2</cx:pt>
          <cx:pt idx="19032">4</cx:pt>
          <cx:pt idx="19033">5</cx:pt>
          <cx:pt idx="19034">5</cx:pt>
          <cx:pt idx="19035">2</cx:pt>
          <cx:pt idx="19036">1</cx:pt>
          <cx:pt idx="19037">4</cx:pt>
          <cx:pt idx="19038">1</cx:pt>
          <cx:pt idx="19039">4</cx:pt>
          <cx:pt idx="19040">3</cx:pt>
          <cx:pt idx="19041">2</cx:pt>
          <cx:pt idx="19042">2</cx:pt>
          <cx:pt idx="19043">3</cx:pt>
          <cx:pt idx="19044">2</cx:pt>
          <cx:pt idx="19045">1</cx:pt>
          <cx:pt idx="19046">3</cx:pt>
          <cx:pt idx="19047">3</cx:pt>
          <cx:pt idx="19048">5</cx:pt>
          <cx:pt idx="19049">3</cx:pt>
          <cx:pt idx="19050">4</cx:pt>
          <cx:pt idx="19051">5</cx:pt>
          <cx:pt idx="19052">5</cx:pt>
          <cx:pt idx="19053">1</cx:pt>
          <cx:pt idx="19054">1</cx:pt>
          <cx:pt idx="19055">4</cx:pt>
          <cx:pt idx="19056">4</cx:pt>
          <cx:pt idx="19057">4</cx:pt>
          <cx:pt idx="19058">5</cx:pt>
          <cx:pt idx="19059">4</cx:pt>
          <cx:pt idx="19060">3</cx:pt>
          <cx:pt idx="19061">3</cx:pt>
          <cx:pt idx="19062">5</cx:pt>
          <cx:pt idx="19063">2</cx:pt>
          <cx:pt idx="19064">1</cx:pt>
          <cx:pt idx="19065">4</cx:pt>
          <cx:pt idx="19066">3</cx:pt>
          <cx:pt idx="19067">1</cx:pt>
          <cx:pt idx="19068">3</cx:pt>
          <cx:pt idx="19069">5</cx:pt>
          <cx:pt idx="19070">5</cx:pt>
          <cx:pt idx="19071">5</cx:pt>
          <cx:pt idx="19072">4</cx:pt>
          <cx:pt idx="19073">5</cx:pt>
          <cx:pt idx="19074">2</cx:pt>
          <cx:pt idx="19075">5</cx:pt>
          <cx:pt idx="19076">3</cx:pt>
          <cx:pt idx="19077">5</cx:pt>
          <cx:pt idx="19078">5</cx:pt>
          <cx:pt idx="19079">4</cx:pt>
          <cx:pt idx="19080">2</cx:pt>
          <cx:pt idx="19081">2</cx:pt>
          <cx:pt idx="19082">4</cx:pt>
          <cx:pt idx="19083">1</cx:pt>
          <cx:pt idx="19084">4</cx:pt>
          <cx:pt idx="19085">5</cx:pt>
          <cx:pt idx="19086">4</cx:pt>
          <cx:pt idx="19087">3</cx:pt>
          <cx:pt idx="19088">5</cx:pt>
          <cx:pt idx="19089">4</cx:pt>
          <cx:pt idx="19090">4</cx:pt>
          <cx:pt idx="19091">3</cx:pt>
          <cx:pt idx="19092">5</cx:pt>
          <cx:pt idx="19093">3</cx:pt>
          <cx:pt idx="19094">1</cx:pt>
          <cx:pt idx="19095">4</cx:pt>
          <cx:pt idx="19096">4</cx:pt>
          <cx:pt idx="19097">5</cx:pt>
          <cx:pt idx="19098">4</cx:pt>
          <cx:pt idx="19099">3</cx:pt>
          <cx:pt idx="19100">2</cx:pt>
          <cx:pt idx="19101">4</cx:pt>
          <cx:pt idx="19102">3</cx:pt>
          <cx:pt idx="19103">4</cx:pt>
          <cx:pt idx="19104">5</cx:pt>
          <cx:pt idx="19105">4</cx:pt>
          <cx:pt idx="19106">4</cx:pt>
          <cx:pt idx="19107">2</cx:pt>
          <cx:pt idx="19108">2</cx:pt>
          <cx:pt idx="19109">3</cx:pt>
          <cx:pt idx="19110">2</cx:pt>
          <cx:pt idx="19111">3</cx:pt>
          <cx:pt idx="19112">5</cx:pt>
          <cx:pt idx="19113">3</cx:pt>
          <cx:pt idx="19114">3</cx:pt>
          <cx:pt idx="19115">2</cx:pt>
          <cx:pt idx="19116">3</cx:pt>
          <cx:pt idx="19117">5</cx:pt>
          <cx:pt idx="19118">5</cx:pt>
          <cx:pt idx="19119">5</cx:pt>
          <cx:pt idx="19120">3</cx:pt>
          <cx:pt idx="19121">5</cx:pt>
          <cx:pt idx="19122">5</cx:pt>
          <cx:pt idx="19123">3</cx:pt>
          <cx:pt idx="19124">3</cx:pt>
          <cx:pt idx="19125">4</cx:pt>
          <cx:pt idx="19126">4</cx:pt>
          <cx:pt idx="19127">2</cx:pt>
          <cx:pt idx="19128">5</cx:pt>
          <cx:pt idx="19129">3</cx:pt>
          <cx:pt idx="19130">2</cx:pt>
          <cx:pt idx="19131">4</cx:pt>
          <cx:pt idx="19132">5</cx:pt>
          <cx:pt idx="19133">1</cx:pt>
          <cx:pt idx="19134">5</cx:pt>
          <cx:pt idx="19135">4</cx:pt>
          <cx:pt idx="19136">5</cx:pt>
          <cx:pt idx="19137">5</cx:pt>
          <cx:pt idx="19138">5</cx:pt>
          <cx:pt idx="19139">2</cx:pt>
          <cx:pt idx="19140">5</cx:pt>
          <cx:pt idx="19141">3</cx:pt>
          <cx:pt idx="19142">5</cx:pt>
          <cx:pt idx="19143">4</cx:pt>
          <cx:pt idx="19144">3</cx:pt>
          <cx:pt idx="19145">4</cx:pt>
          <cx:pt idx="19146">4</cx:pt>
          <cx:pt idx="19147">2</cx:pt>
          <cx:pt idx="19148">4</cx:pt>
          <cx:pt idx="19149">3</cx:pt>
          <cx:pt idx="19150">4</cx:pt>
          <cx:pt idx="19151">4</cx:pt>
          <cx:pt idx="19152">5</cx:pt>
          <cx:pt idx="19153">2</cx:pt>
          <cx:pt idx="19154">4</cx:pt>
          <cx:pt idx="19155">5</cx:pt>
          <cx:pt idx="19156">4</cx:pt>
          <cx:pt idx="19157">1</cx:pt>
          <cx:pt idx="19158">5</cx:pt>
          <cx:pt idx="19159">4</cx:pt>
          <cx:pt idx="19160">4</cx:pt>
          <cx:pt idx="19161">1</cx:pt>
          <cx:pt idx="19162">3</cx:pt>
          <cx:pt idx="19163">4</cx:pt>
          <cx:pt idx="19164">2</cx:pt>
          <cx:pt idx="19165">5</cx:pt>
          <cx:pt idx="19166">3</cx:pt>
          <cx:pt idx="19167">5</cx:pt>
          <cx:pt idx="19168">3</cx:pt>
          <cx:pt idx="19169">4</cx:pt>
          <cx:pt idx="19170">3</cx:pt>
          <cx:pt idx="19171">1</cx:pt>
          <cx:pt idx="19172">4</cx:pt>
          <cx:pt idx="19173">5</cx:pt>
          <cx:pt idx="19174">5</cx:pt>
          <cx:pt idx="19175">3</cx:pt>
          <cx:pt idx="19176">4</cx:pt>
          <cx:pt idx="19177">3</cx:pt>
          <cx:pt idx="19178">4</cx:pt>
          <cx:pt idx="19179">2</cx:pt>
          <cx:pt idx="19180">4</cx:pt>
          <cx:pt idx="19181">3</cx:pt>
          <cx:pt idx="19182">1</cx:pt>
          <cx:pt idx="19183">2</cx:pt>
          <cx:pt idx="19184">5</cx:pt>
          <cx:pt idx="19185">2</cx:pt>
          <cx:pt idx="19186">4</cx:pt>
          <cx:pt idx="19187">3</cx:pt>
          <cx:pt idx="19188">3</cx:pt>
          <cx:pt idx="19189">3</cx:pt>
          <cx:pt idx="19190">5</cx:pt>
          <cx:pt idx="19191">1</cx:pt>
          <cx:pt idx="19192">1</cx:pt>
          <cx:pt idx="19193">4</cx:pt>
          <cx:pt idx="19194">4</cx:pt>
          <cx:pt idx="19195">5</cx:pt>
          <cx:pt idx="19196">4</cx:pt>
          <cx:pt idx="19197">3</cx:pt>
          <cx:pt idx="19198">3</cx:pt>
          <cx:pt idx="19199">5</cx:pt>
          <cx:pt idx="19200">1</cx:pt>
          <cx:pt idx="19201">1</cx:pt>
          <cx:pt idx="19202">2</cx:pt>
          <cx:pt idx="19203">5</cx:pt>
          <cx:pt idx="19204">4</cx:pt>
          <cx:pt idx="19205">1</cx:pt>
          <cx:pt idx="19206">1</cx:pt>
          <cx:pt idx="19207">3</cx:pt>
          <cx:pt idx="19208">4</cx:pt>
          <cx:pt idx="19209">3</cx:pt>
          <cx:pt idx="19210">5</cx:pt>
          <cx:pt idx="19211">5</cx:pt>
          <cx:pt idx="19212">3</cx:pt>
          <cx:pt idx="19213">4</cx:pt>
          <cx:pt idx="19214">5</cx:pt>
          <cx:pt idx="19215">1</cx:pt>
          <cx:pt idx="19216">2</cx:pt>
          <cx:pt idx="19217">1</cx:pt>
          <cx:pt idx="19218">4</cx:pt>
          <cx:pt idx="19219">2</cx:pt>
          <cx:pt idx="19220">5</cx:pt>
          <cx:pt idx="19221">4</cx:pt>
          <cx:pt idx="19222">4</cx:pt>
          <cx:pt idx="19223">1</cx:pt>
          <cx:pt idx="19224">2</cx:pt>
          <cx:pt idx="19225">1</cx:pt>
          <cx:pt idx="19226">5</cx:pt>
          <cx:pt idx="19227">5</cx:pt>
          <cx:pt idx="19228">4</cx:pt>
          <cx:pt idx="19229">4</cx:pt>
          <cx:pt idx="19230">5</cx:pt>
          <cx:pt idx="19231">2</cx:pt>
          <cx:pt idx="19232">3</cx:pt>
          <cx:pt idx="19233">5</cx:pt>
          <cx:pt idx="19234">4</cx:pt>
          <cx:pt idx="19235">1</cx:pt>
          <cx:pt idx="19236">4</cx:pt>
          <cx:pt idx="19237">3</cx:pt>
          <cx:pt idx="19238">4</cx:pt>
          <cx:pt idx="19239">4</cx:pt>
          <cx:pt idx="19240">4</cx:pt>
          <cx:pt idx="19241">5</cx:pt>
          <cx:pt idx="19242">2</cx:pt>
          <cx:pt idx="19243">2</cx:pt>
          <cx:pt idx="19244">5</cx:pt>
          <cx:pt idx="19245">4</cx:pt>
          <cx:pt idx="19246">1</cx:pt>
          <cx:pt idx="19247">1</cx:pt>
          <cx:pt idx="19248">5</cx:pt>
          <cx:pt idx="19249">4</cx:pt>
          <cx:pt idx="19250">2</cx:pt>
          <cx:pt idx="19251">4</cx:pt>
          <cx:pt idx="19252">3</cx:pt>
          <cx:pt idx="19253">1</cx:pt>
          <cx:pt idx="19254">5</cx:pt>
          <cx:pt idx="19255">2</cx:pt>
          <cx:pt idx="19256">5</cx:pt>
          <cx:pt idx="19257">4</cx:pt>
          <cx:pt idx="19258">3</cx:pt>
          <cx:pt idx="19259">4</cx:pt>
          <cx:pt idx="19260">4</cx:pt>
          <cx:pt idx="19261">4</cx:pt>
          <cx:pt idx="19262">4</cx:pt>
          <cx:pt idx="19263">4</cx:pt>
          <cx:pt idx="19264">4</cx:pt>
          <cx:pt idx="19265">5</cx:pt>
          <cx:pt idx="19266">5</cx:pt>
          <cx:pt idx="19267">1</cx:pt>
          <cx:pt idx="19268">5</cx:pt>
          <cx:pt idx="19269">5</cx:pt>
          <cx:pt idx="19270">3</cx:pt>
          <cx:pt idx="19271">4</cx:pt>
          <cx:pt idx="19272">3</cx:pt>
          <cx:pt idx="19273">4</cx:pt>
          <cx:pt idx="19274">4</cx:pt>
          <cx:pt idx="19275">5</cx:pt>
          <cx:pt idx="19276">5</cx:pt>
          <cx:pt idx="19277">3</cx:pt>
          <cx:pt idx="19278">4</cx:pt>
          <cx:pt idx="19279">4</cx:pt>
          <cx:pt idx="19280">3</cx:pt>
          <cx:pt idx="19281">3</cx:pt>
          <cx:pt idx="19282">1</cx:pt>
          <cx:pt idx="19283">2</cx:pt>
          <cx:pt idx="19284">5</cx:pt>
          <cx:pt idx="19285">5</cx:pt>
          <cx:pt idx="19286">2</cx:pt>
          <cx:pt idx="19287">4</cx:pt>
          <cx:pt idx="19288">4</cx:pt>
          <cx:pt idx="19289">1</cx:pt>
          <cx:pt idx="19290">1</cx:pt>
          <cx:pt idx="19291">2</cx:pt>
          <cx:pt idx="19292">1</cx:pt>
          <cx:pt idx="19293">4</cx:pt>
          <cx:pt idx="19294">5</cx:pt>
          <cx:pt idx="19295">3</cx:pt>
          <cx:pt idx="19296">4</cx:pt>
          <cx:pt idx="19297">1</cx:pt>
          <cx:pt idx="19298">4</cx:pt>
          <cx:pt idx="19299">4</cx:pt>
          <cx:pt idx="19300">1</cx:pt>
          <cx:pt idx="19301">2</cx:pt>
          <cx:pt idx="19302">4</cx:pt>
          <cx:pt idx="19303">2</cx:pt>
          <cx:pt idx="19304">2</cx:pt>
          <cx:pt idx="19305">4</cx:pt>
          <cx:pt idx="19306">3</cx:pt>
          <cx:pt idx="19307">4</cx:pt>
          <cx:pt idx="19308">5</cx:pt>
          <cx:pt idx="19309">1</cx:pt>
          <cx:pt idx="19310">2</cx:pt>
          <cx:pt idx="19311">4</cx:pt>
          <cx:pt idx="19312">4</cx:pt>
          <cx:pt idx="19313">2</cx:pt>
          <cx:pt idx="19314">5</cx:pt>
          <cx:pt idx="19315">5</cx:pt>
          <cx:pt idx="19316">3</cx:pt>
          <cx:pt idx="19317">2</cx:pt>
          <cx:pt idx="19318">4</cx:pt>
          <cx:pt idx="19319">3</cx:pt>
          <cx:pt idx="19320">3</cx:pt>
          <cx:pt idx="19321">3</cx:pt>
          <cx:pt idx="19322">4</cx:pt>
          <cx:pt idx="19323">5</cx:pt>
          <cx:pt idx="19324">1</cx:pt>
          <cx:pt idx="19325">4</cx:pt>
          <cx:pt idx="19326">2</cx:pt>
          <cx:pt idx="19327">3</cx:pt>
          <cx:pt idx="19328">5</cx:pt>
          <cx:pt idx="19329">5</cx:pt>
          <cx:pt idx="19330">4</cx:pt>
          <cx:pt idx="19331">3</cx:pt>
          <cx:pt idx="19332">5</cx:pt>
          <cx:pt idx="19333">5</cx:pt>
          <cx:pt idx="19334">4</cx:pt>
          <cx:pt idx="19335">3</cx:pt>
          <cx:pt idx="19336">1</cx:pt>
          <cx:pt idx="19337">5</cx:pt>
          <cx:pt idx="19338">2</cx:pt>
          <cx:pt idx="19339">4</cx:pt>
          <cx:pt idx="19340">1</cx:pt>
          <cx:pt idx="19341">5</cx:pt>
          <cx:pt idx="19342">5</cx:pt>
          <cx:pt idx="19343">5</cx:pt>
          <cx:pt idx="19344">4</cx:pt>
          <cx:pt idx="19345">5</cx:pt>
          <cx:pt idx="19346">5</cx:pt>
          <cx:pt idx="19347">5</cx:pt>
          <cx:pt idx="19348">4</cx:pt>
          <cx:pt idx="19349">5</cx:pt>
          <cx:pt idx="19350">2</cx:pt>
          <cx:pt idx="19351">3</cx:pt>
          <cx:pt idx="19352">2</cx:pt>
          <cx:pt idx="19353">4</cx:pt>
          <cx:pt idx="19354">2</cx:pt>
          <cx:pt idx="19355">5</cx:pt>
          <cx:pt idx="19356">5</cx:pt>
          <cx:pt idx="19357">4</cx:pt>
          <cx:pt idx="19358">3</cx:pt>
          <cx:pt idx="19359">2</cx:pt>
          <cx:pt idx="19360">5</cx:pt>
          <cx:pt idx="19361">5</cx:pt>
          <cx:pt idx="19362">5</cx:pt>
          <cx:pt idx="19363">4</cx:pt>
          <cx:pt idx="19364">3</cx:pt>
          <cx:pt idx="19365">5</cx:pt>
          <cx:pt idx="19366">1</cx:pt>
          <cx:pt idx="19367">1</cx:pt>
          <cx:pt idx="19368">5</cx:pt>
          <cx:pt idx="19369">3</cx:pt>
          <cx:pt idx="19370">5</cx:pt>
          <cx:pt idx="19371">4</cx:pt>
          <cx:pt idx="19372">4</cx:pt>
          <cx:pt idx="19373">2</cx:pt>
          <cx:pt idx="19374">1</cx:pt>
          <cx:pt idx="19375">5</cx:pt>
          <cx:pt idx="19376">5</cx:pt>
          <cx:pt idx="19377">1</cx:pt>
          <cx:pt idx="19378">1</cx:pt>
          <cx:pt idx="19379">4</cx:pt>
          <cx:pt idx="19380">5</cx:pt>
          <cx:pt idx="19381">5</cx:pt>
          <cx:pt idx="19382">3</cx:pt>
          <cx:pt idx="19383">2</cx:pt>
          <cx:pt idx="19384">4</cx:pt>
          <cx:pt idx="19385">4</cx:pt>
          <cx:pt idx="19386">4</cx:pt>
          <cx:pt idx="19387">4</cx:pt>
          <cx:pt idx="19388">4</cx:pt>
          <cx:pt idx="19389">4</cx:pt>
          <cx:pt idx="19390">4</cx:pt>
          <cx:pt idx="19391">1</cx:pt>
          <cx:pt idx="19392">4</cx:pt>
          <cx:pt idx="19393">4</cx:pt>
          <cx:pt idx="19394">5</cx:pt>
          <cx:pt idx="19395">3</cx:pt>
          <cx:pt idx="19396">4</cx:pt>
          <cx:pt idx="19397">5</cx:pt>
          <cx:pt idx="19398">5</cx:pt>
          <cx:pt idx="19399">2</cx:pt>
          <cx:pt idx="19400">2</cx:pt>
          <cx:pt idx="19401">2</cx:pt>
          <cx:pt idx="19402">5</cx:pt>
          <cx:pt idx="19403">5</cx:pt>
          <cx:pt idx="19404">4</cx:pt>
          <cx:pt idx="19405">2</cx:pt>
          <cx:pt idx="19406">5</cx:pt>
          <cx:pt idx="19407">4</cx:pt>
          <cx:pt idx="19408">2</cx:pt>
          <cx:pt idx="19409">5</cx:pt>
          <cx:pt idx="19410">5</cx:pt>
          <cx:pt idx="19411">4</cx:pt>
          <cx:pt idx="19412">5</cx:pt>
          <cx:pt idx="19413">4</cx:pt>
          <cx:pt idx="19414">5</cx:pt>
          <cx:pt idx="19415">4</cx:pt>
          <cx:pt idx="19416">5</cx:pt>
          <cx:pt idx="19417">4</cx:pt>
          <cx:pt idx="19418">1</cx:pt>
          <cx:pt idx="19419">3</cx:pt>
          <cx:pt idx="19420">4</cx:pt>
          <cx:pt idx="19421">5</cx:pt>
          <cx:pt idx="19422">1</cx:pt>
          <cx:pt idx="19423">5</cx:pt>
          <cx:pt idx="19424">5</cx:pt>
          <cx:pt idx="19425">4</cx:pt>
          <cx:pt idx="19426">4</cx:pt>
          <cx:pt idx="19427">3</cx:pt>
          <cx:pt idx="19428">1</cx:pt>
          <cx:pt idx="19429">2</cx:pt>
          <cx:pt idx="19430">4</cx:pt>
          <cx:pt idx="19431">2</cx:pt>
          <cx:pt idx="19432">2</cx:pt>
          <cx:pt idx="19433">1</cx:pt>
          <cx:pt idx="19434">1</cx:pt>
          <cx:pt idx="19435">4</cx:pt>
          <cx:pt idx="19436">1</cx:pt>
          <cx:pt idx="19437">3</cx:pt>
          <cx:pt idx="19438">3</cx:pt>
          <cx:pt idx="19439">5</cx:pt>
          <cx:pt idx="19440">4</cx:pt>
          <cx:pt idx="19441">1</cx:pt>
          <cx:pt idx="19442">3</cx:pt>
          <cx:pt idx="19443">4</cx:pt>
          <cx:pt idx="19444">3</cx:pt>
          <cx:pt idx="19445">1</cx:pt>
          <cx:pt idx="19446">4</cx:pt>
          <cx:pt idx="19447">4</cx:pt>
          <cx:pt idx="19448">2</cx:pt>
          <cx:pt idx="19449">4</cx:pt>
          <cx:pt idx="19450">4</cx:pt>
          <cx:pt idx="19451">3</cx:pt>
          <cx:pt idx="19452">5</cx:pt>
          <cx:pt idx="19453">1</cx:pt>
          <cx:pt idx="19454">3</cx:pt>
          <cx:pt idx="19455">1</cx:pt>
          <cx:pt idx="19456">4</cx:pt>
          <cx:pt idx="19457">5</cx:pt>
          <cx:pt idx="19458">4</cx:pt>
          <cx:pt idx="19459">4</cx:pt>
          <cx:pt idx="19460">4</cx:pt>
          <cx:pt idx="19461">3</cx:pt>
          <cx:pt idx="19462">5</cx:pt>
          <cx:pt idx="19463">5</cx:pt>
          <cx:pt idx="19464">3</cx:pt>
          <cx:pt idx="19465">3</cx:pt>
          <cx:pt idx="19466">1</cx:pt>
          <cx:pt idx="19467">5</cx:pt>
          <cx:pt idx="19468">4</cx:pt>
          <cx:pt idx="19469">5</cx:pt>
          <cx:pt idx="19470">4</cx:pt>
          <cx:pt idx="19471">3</cx:pt>
          <cx:pt idx="19472">5</cx:pt>
          <cx:pt idx="19473">4</cx:pt>
          <cx:pt idx="19474">2</cx:pt>
          <cx:pt idx="19475">4</cx:pt>
          <cx:pt idx="19476">4</cx:pt>
          <cx:pt idx="19477">1</cx:pt>
          <cx:pt idx="19478">5</cx:pt>
          <cx:pt idx="19479">4</cx:pt>
          <cx:pt idx="19480">5</cx:pt>
          <cx:pt idx="19481">4</cx:pt>
          <cx:pt idx="19482">4</cx:pt>
          <cx:pt idx="19483">1</cx:pt>
          <cx:pt idx="19484">2</cx:pt>
          <cx:pt idx="19485">5</cx:pt>
          <cx:pt idx="19486">5</cx:pt>
          <cx:pt idx="19487">4</cx:pt>
          <cx:pt idx="19488">1</cx:pt>
          <cx:pt idx="19489">3</cx:pt>
          <cx:pt idx="19490">5</cx:pt>
          <cx:pt idx="19491">4</cx:pt>
          <cx:pt idx="19492">5</cx:pt>
          <cx:pt idx="19493">1</cx:pt>
          <cx:pt idx="19494">5</cx:pt>
          <cx:pt idx="19495">4</cx:pt>
          <cx:pt idx="19496">5</cx:pt>
          <cx:pt idx="19497">4</cx:pt>
          <cx:pt idx="19498">4</cx:pt>
          <cx:pt idx="19499">5</cx:pt>
          <cx:pt idx="19500">1</cx:pt>
          <cx:pt idx="19501">4</cx:pt>
          <cx:pt idx="19502">3</cx:pt>
          <cx:pt idx="19503">4</cx:pt>
          <cx:pt idx="19504">5</cx:pt>
          <cx:pt idx="19505">3</cx:pt>
          <cx:pt idx="19506">5</cx:pt>
          <cx:pt idx="19507">4</cx:pt>
          <cx:pt idx="19508">5</cx:pt>
          <cx:pt idx="19509">4</cx:pt>
          <cx:pt idx="19510">1</cx:pt>
          <cx:pt idx="19511">4</cx:pt>
          <cx:pt idx="19512">3</cx:pt>
          <cx:pt idx="19513">2</cx:pt>
          <cx:pt idx="19514">5</cx:pt>
          <cx:pt idx="19515">5</cx:pt>
          <cx:pt idx="19516">1</cx:pt>
          <cx:pt idx="19517">4</cx:pt>
          <cx:pt idx="19518">5</cx:pt>
          <cx:pt idx="19519">2</cx:pt>
          <cx:pt idx="19520">4</cx:pt>
          <cx:pt idx="19521">5</cx:pt>
          <cx:pt idx="19522">4</cx:pt>
          <cx:pt idx="19523">3</cx:pt>
          <cx:pt idx="19524">5</cx:pt>
          <cx:pt idx="19525">4</cx:pt>
          <cx:pt idx="19526">5</cx:pt>
          <cx:pt idx="19527">5</cx:pt>
          <cx:pt idx="19528">1</cx:pt>
          <cx:pt idx="19529">4</cx:pt>
          <cx:pt idx="19530">5</cx:pt>
          <cx:pt idx="19531">1</cx:pt>
          <cx:pt idx="19532">4</cx:pt>
          <cx:pt idx="19533">4</cx:pt>
          <cx:pt idx="19534">4</cx:pt>
          <cx:pt idx="19535">3</cx:pt>
          <cx:pt idx="19536">3</cx:pt>
          <cx:pt idx="19537">4</cx:pt>
          <cx:pt idx="19538">4</cx:pt>
          <cx:pt idx="19539">2</cx:pt>
          <cx:pt idx="19540">4</cx:pt>
          <cx:pt idx="19541">5</cx:pt>
          <cx:pt idx="19542">4</cx:pt>
          <cx:pt idx="19543">4</cx:pt>
          <cx:pt idx="19544">5</cx:pt>
          <cx:pt idx="19545">4</cx:pt>
          <cx:pt idx="19546">5</cx:pt>
          <cx:pt idx="19547">5</cx:pt>
          <cx:pt idx="19548">3</cx:pt>
          <cx:pt idx="19549">5</cx:pt>
          <cx:pt idx="19550">4</cx:pt>
          <cx:pt idx="19551">3</cx:pt>
          <cx:pt idx="19552">1</cx:pt>
          <cx:pt idx="19553">2</cx:pt>
          <cx:pt idx="19554">4</cx:pt>
          <cx:pt idx="19555">4</cx:pt>
          <cx:pt idx="19556">5</cx:pt>
          <cx:pt idx="19557">5</cx:pt>
          <cx:pt idx="19558">1</cx:pt>
          <cx:pt idx="19559">3</cx:pt>
          <cx:pt idx="19560">5</cx:pt>
          <cx:pt idx="19561">2</cx:pt>
          <cx:pt idx="19562">5</cx:pt>
          <cx:pt idx="19563">4</cx:pt>
          <cx:pt idx="19564">4</cx:pt>
          <cx:pt idx="19565">3</cx:pt>
          <cx:pt idx="19566">5</cx:pt>
          <cx:pt idx="19567">5</cx:pt>
          <cx:pt idx="19568">4</cx:pt>
          <cx:pt idx="19569">2</cx:pt>
          <cx:pt idx="19570">5</cx:pt>
          <cx:pt idx="19571">4</cx:pt>
          <cx:pt idx="19572">3</cx:pt>
          <cx:pt idx="19573">4</cx:pt>
          <cx:pt idx="19574">5</cx:pt>
          <cx:pt idx="19575">2</cx:pt>
          <cx:pt idx="19576">5</cx:pt>
          <cx:pt idx="19577">5</cx:pt>
          <cx:pt idx="19578">3</cx:pt>
          <cx:pt idx="19579">2</cx:pt>
          <cx:pt idx="19580">1</cx:pt>
          <cx:pt idx="19581">2</cx:pt>
          <cx:pt idx="19582">4</cx:pt>
          <cx:pt idx="19583">3</cx:pt>
          <cx:pt idx="19584">3</cx:pt>
          <cx:pt idx="19585">4</cx:pt>
          <cx:pt idx="19586">4</cx:pt>
          <cx:pt idx="19587">1</cx:pt>
          <cx:pt idx="19588">4</cx:pt>
          <cx:pt idx="19589">4</cx:pt>
          <cx:pt idx="19590">2</cx:pt>
          <cx:pt idx="19591">1</cx:pt>
          <cx:pt idx="19592">2</cx:pt>
          <cx:pt idx="19593">2</cx:pt>
          <cx:pt idx="19594">5</cx:pt>
          <cx:pt idx="19595">3</cx:pt>
          <cx:pt idx="19596">1</cx:pt>
          <cx:pt idx="19597">4</cx:pt>
          <cx:pt idx="19598">3</cx:pt>
          <cx:pt idx="19599">3</cx:pt>
          <cx:pt idx="19600">3</cx:pt>
          <cx:pt idx="19601">4</cx:pt>
          <cx:pt idx="19602">5</cx:pt>
          <cx:pt idx="19603">5</cx:pt>
          <cx:pt idx="19604">4</cx:pt>
          <cx:pt idx="19605">3</cx:pt>
          <cx:pt idx="19606">5</cx:pt>
          <cx:pt idx="19607">4</cx:pt>
          <cx:pt idx="19608">3</cx:pt>
          <cx:pt idx="19609">5</cx:pt>
          <cx:pt idx="19610">1</cx:pt>
          <cx:pt idx="19611">4</cx:pt>
          <cx:pt idx="19612">4</cx:pt>
          <cx:pt idx="19613">3</cx:pt>
          <cx:pt idx="19614">2</cx:pt>
          <cx:pt idx="19615">3</cx:pt>
          <cx:pt idx="19616">5</cx:pt>
          <cx:pt idx="19617">4</cx:pt>
          <cx:pt idx="19618">3</cx:pt>
          <cx:pt idx="19619">4</cx:pt>
          <cx:pt idx="19620">2</cx:pt>
          <cx:pt idx="19621">1</cx:pt>
          <cx:pt idx="19622">2</cx:pt>
          <cx:pt idx="19623">3</cx:pt>
          <cx:pt idx="19624">4</cx:pt>
          <cx:pt idx="19625">3</cx:pt>
          <cx:pt idx="19626">3</cx:pt>
          <cx:pt idx="19627">1</cx:pt>
          <cx:pt idx="19628">3</cx:pt>
          <cx:pt idx="19629">4</cx:pt>
          <cx:pt idx="19630">4</cx:pt>
          <cx:pt idx="19631">2</cx:pt>
          <cx:pt idx="19632">5</cx:pt>
          <cx:pt idx="19633">4</cx:pt>
          <cx:pt idx="19634">1</cx:pt>
          <cx:pt idx="19635">5</cx:pt>
          <cx:pt idx="19636">3</cx:pt>
          <cx:pt idx="19637">4</cx:pt>
          <cx:pt idx="19638">2</cx:pt>
          <cx:pt idx="19639">4</cx:pt>
          <cx:pt idx="19640">5</cx:pt>
          <cx:pt idx="19641">4</cx:pt>
          <cx:pt idx="19642">5</cx:pt>
          <cx:pt idx="19643">4</cx:pt>
          <cx:pt idx="19644">5</cx:pt>
          <cx:pt idx="19645">3</cx:pt>
          <cx:pt idx="19646">3</cx:pt>
          <cx:pt idx="19647">1</cx:pt>
          <cx:pt idx="19648">4</cx:pt>
          <cx:pt idx="19649">4</cx:pt>
          <cx:pt idx="19650">5</cx:pt>
          <cx:pt idx="19651">2</cx:pt>
          <cx:pt idx="19652">5</cx:pt>
          <cx:pt idx="19653">4</cx:pt>
          <cx:pt idx="19654">2</cx:pt>
          <cx:pt idx="19655">3</cx:pt>
          <cx:pt idx="19656">5</cx:pt>
          <cx:pt idx="19657">1</cx:pt>
          <cx:pt idx="19658">3</cx:pt>
          <cx:pt idx="19659">4</cx:pt>
          <cx:pt idx="19660">3</cx:pt>
          <cx:pt idx="19661">3</cx:pt>
          <cx:pt idx="19662">5</cx:pt>
          <cx:pt idx="19663">2</cx:pt>
          <cx:pt idx="19664">1</cx:pt>
          <cx:pt idx="19665">4</cx:pt>
          <cx:pt idx="19666">5</cx:pt>
          <cx:pt idx="19667">1</cx:pt>
          <cx:pt idx="19668">3</cx:pt>
          <cx:pt idx="19669">3</cx:pt>
          <cx:pt idx="19670">3</cx:pt>
          <cx:pt idx="19671">1</cx:pt>
          <cx:pt idx="19672">4</cx:pt>
          <cx:pt idx="19673">4</cx:pt>
          <cx:pt idx="19674">4</cx:pt>
          <cx:pt idx="19675">4</cx:pt>
          <cx:pt idx="19676">5</cx:pt>
          <cx:pt idx="19677">1</cx:pt>
          <cx:pt idx="19678">4</cx:pt>
          <cx:pt idx="19679">1</cx:pt>
          <cx:pt idx="19680">5</cx:pt>
          <cx:pt idx="19681">4</cx:pt>
          <cx:pt idx="19682">1</cx:pt>
          <cx:pt idx="19683">1</cx:pt>
          <cx:pt idx="19684">1</cx:pt>
          <cx:pt idx="19685">2</cx:pt>
          <cx:pt idx="19686">4</cx:pt>
          <cx:pt idx="19687">5</cx:pt>
          <cx:pt idx="19688">4</cx:pt>
          <cx:pt idx="19689">4</cx:pt>
          <cx:pt idx="19690">4</cx:pt>
          <cx:pt idx="19691">3</cx:pt>
          <cx:pt idx="19692">3</cx:pt>
          <cx:pt idx="19693">2</cx:pt>
          <cx:pt idx="19694">3</cx:pt>
          <cx:pt idx="19695">5</cx:pt>
          <cx:pt idx="19696">5</cx:pt>
          <cx:pt idx="19697">3</cx:pt>
          <cx:pt idx="19698">5</cx:pt>
          <cx:pt idx="19699">2</cx:pt>
          <cx:pt idx="19700">4</cx:pt>
          <cx:pt idx="19701">2</cx:pt>
          <cx:pt idx="19702">4</cx:pt>
          <cx:pt idx="19703">3</cx:pt>
          <cx:pt idx="19704">2</cx:pt>
          <cx:pt idx="19705">4</cx:pt>
          <cx:pt idx="19706">2</cx:pt>
          <cx:pt idx="19707">5</cx:pt>
          <cx:pt idx="19708">5</cx:pt>
          <cx:pt idx="19709">5</cx:pt>
          <cx:pt idx="19710">4</cx:pt>
          <cx:pt idx="19711">4</cx:pt>
          <cx:pt idx="19712">5</cx:pt>
          <cx:pt idx="19713">4</cx:pt>
          <cx:pt idx="19714">3</cx:pt>
          <cx:pt idx="19715">4</cx:pt>
          <cx:pt idx="19716">4</cx:pt>
          <cx:pt idx="19717">4</cx:pt>
          <cx:pt idx="19718">3</cx:pt>
          <cx:pt idx="19719">4</cx:pt>
          <cx:pt idx="19720">4</cx:pt>
          <cx:pt idx="19721">4</cx:pt>
          <cx:pt idx="19722">5</cx:pt>
          <cx:pt idx="19723">5</cx:pt>
          <cx:pt idx="19724">5</cx:pt>
          <cx:pt idx="19725">1</cx:pt>
          <cx:pt idx="19726">5</cx:pt>
          <cx:pt idx="19727">2</cx:pt>
          <cx:pt idx="19728">5</cx:pt>
          <cx:pt idx="19729">1</cx:pt>
          <cx:pt idx="19730">2</cx:pt>
          <cx:pt idx="19731">5</cx:pt>
          <cx:pt idx="19732">3</cx:pt>
          <cx:pt idx="19733">3</cx:pt>
          <cx:pt idx="19734">4</cx:pt>
          <cx:pt idx="19735">1</cx:pt>
          <cx:pt idx="19736">2</cx:pt>
          <cx:pt idx="19737">3</cx:pt>
          <cx:pt idx="19738">5</cx:pt>
          <cx:pt idx="19739">4</cx:pt>
          <cx:pt idx="19740">2</cx:pt>
          <cx:pt idx="19741">2</cx:pt>
          <cx:pt idx="19742">5</cx:pt>
          <cx:pt idx="19743">1</cx:pt>
          <cx:pt idx="19744">2</cx:pt>
          <cx:pt idx="19745">3</cx:pt>
          <cx:pt idx="19746">4</cx:pt>
          <cx:pt idx="19747">5</cx:pt>
          <cx:pt idx="19748">4</cx:pt>
          <cx:pt idx="19749">1</cx:pt>
          <cx:pt idx="19750">4</cx:pt>
          <cx:pt idx="19751">4</cx:pt>
          <cx:pt idx="19752">4</cx:pt>
          <cx:pt idx="19753">4</cx:pt>
          <cx:pt idx="19754">5</cx:pt>
          <cx:pt idx="19755">5</cx:pt>
          <cx:pt idx="19756">4</cx:pt>
          <cx:pt idx="19757">5</cx:pt>
          <cx:pt idx="19758">4</cx:pt>
          <cx:pt idx="19759">1</cx:pt>
          <cx:pt idx="19760">4</cx:pt>
          <cx:pt idx="19761">2</cx:pt>
          <cx:pt idx="19762">3</cx:pt>
          <cx:pt idx="19763">5</cx:pt>
          <cx:pt idx="19764">4</cx:pt>
          <cx:pt idx="19765">5</cx:pt>
          <cx:pt idx="19766">2</cx:pt>
          <cx:pt idx="19767">1</cx:pt>
          <cx:pt idx="19768">4</cx:pt>
          <cx:pt idx="19769">4</cx:pt>
          <cx:pt idx="19770">3</cx:pt>
          <cx:pt idx="19771">4</cx:pt>
          <cx:pt idx="19772">4</cx:pt>
          <cx:pt idx="19773">4</cx:pt>
          <cx:pt idx="19774">5</cx:pt>
          <cx:pt idx="19775">2</cx:pt>
          <cx:pt idx="19776">5</cx:pt>
          <cx:pt idx="19777">2</cx:pt>
          <cx:pt idx="19778">4</cx:pt>
          <cx:pt idx="19779">5</cx:pt>
          <cx:pt idx="19780">2</cx:pt>
          <cx:pt idx="19781">3</cx:pt>
          <cx:pt idx="19782">5</cx:pt>
          <cx:pt idx="19783">5</cx:pt>
          <cx:pt idx="19784">4</cx:pt>
          <cx:pt idx="19785">4</cx:pt>
          <cx:pt idx="19786">5</cx:pt>
          <cx:pt idx="19787">4</cx:pt>
          <cx:pt idx="19788">5</cx:pt>
          <cx:pt idx="19789">5</cx:pt>
          <cx:pt idx="19790">1</cx:pt>
          <cx:pt idx="19791">2</cx:pt>
          <cx:pt idx="19792">5</cx:pt>
          <cx:pt idx="19793">5</cx:pt>
          <cx:pt idx="19794">4</cx:pt>
          <cx:pt idx="19795">4</cx:pt>
          <cx:pt idx="19796">4</cx:pt>
          <cx:pt idx="19797">4</cx:pt>
          <cx:pt idx="19798">2</cx:pt>
          <cx:pt idx="19799">5</cx:pt>
          <cx:pt idx="19800">3</cx:pt>
          <cx:pt idx="19801">1</cx:pt>
          <cx:pt idx="19802">1</cx:pt>
          <cx:pt idx="19803">4</cx:pt>
          <cx:pt idx="19804">4</cx:pt>
          <cx:pt idx="19805">4</cx:pt>
          <cx:pt idx="19806">3</cx:pt>
          <cx:pt idx="19807">5</cx:pt>
          <cx:pt idx="19808">3</cx:pt>
          <cx:pt idx="19809">2</cx:pt>
          <cx:pt idx="19810">5</cx:pt>
          <cx:pt idx="19811">2</cx:pt>
          <cx:pt idx="19812">5</cx:pt>
          <cx:pt idx="19813">2</cx:pt>
          <cx:pt idx="19814">5</cx:pt>
          <cx:pt idx="19815">3</cx:pt>
          <cx:pt idx="19816">4</cx:pt>
          <cx:pt idx="19817">5</cx:pt>
          <cx:pt idx="19818">5</cx:pt>
          <cx:pt idx="19819">4</cx:pt>
          <cx:pt idx="19820">5</cx:pt>
          <cx:pt idx="19821">5</cx:pt>
          <cx:pt idx="19822">5</cx:pt>
          <cx:pt idx="19823">5</cx:pt>
          <cx:pt idx="19824">2</cx:pt>
          <cx:pt idx="19825">4</cx:pt>
          <cx:pt idx="19826">4</cx:pt>
          <cx:pt idx="19827">4</cx:pt>
          <cx:pt idx="19828">4</cx:pt>
          <cx:pt idx="19829">4</cx:pt>
          <cx:pt idx="19830">4</cx:pt>
          <cx:pt idx="19831">3</cx:pt>
          <cx:pt idx="19832">2</cx:pt>
          <cx:pt idx="19833">3</cx:pt>
          <cx:pt idx="19834">4</cx:pt>
          <cx:pt idx="19835">2</cx:pt>
          <cx:pt idx="19836">3</cx:pt>
          <cx:pt idx="19837">5</cx:pt>
          <cx:pt idx="19838">5</cx:pt>
          <cx:pt idx="19839">4</cx:pt>
          <cx:pt idx="19840">4</cx:pt>
          <cx:pt idx="19841">4</cx:pt>
          <cx:pt idx="19842">3</cx:pt>
          <cx:pt idx="19843">4</cx:pt>
          <cx:pt idx="19844">5</cx:pt>
          <cx:pt idx="19845">1</cx:pt>
          <cx:pt idx="19846">3</cx:pt>
          <cx:pt idx="19847">2</cx:pt>
          <cx:pt idx="19848">4</cx:pt>
          <cx:pt idx="19849">5</cx:pt>
          <cx:pt idx="19850">2</cx:pt>
          <cx:pt idx="19851">1</cx:pt>
          <cx:pt idx="19852">3</cx:pt>
          <cx:pt idx="19853">4</cx:pt>
          <cx:pt idx="19854">5</cx:pt>
          <cx:pt idx="19855">4</cx:pt>
          <cx:pt idx="19856">3</cx:pt>
          <cx:pt idx="19857">5</cx:pt>
          <cx:pt idx="19858">3</cx:pt>
          <cx:pt idx="19859">2</cx:pt>
          <cx:pt idx="19860">4</cx:pt>
          <cx:pt idx="19861">1</cx:pt>
          <cx:pt idx="19862">5</cx:pt>
          <cx:pt idx="19863">4</cx:pt>
          <cx:pt idx="19864">1</cx:pt>
          <cx:pt idx="19865">3</cx:pt>
          <cx:pt idx="19866">4</cx:pt>
          <cx:pt idx="19867">1</cx:pt>
          <cx:pt idx="19868">4</cx:pt>
          <cx:pt idx="19869">3</cx:pt>
          <cx:pt idx="19870">1</cx:pt>
          <cx:pt idx="19871">4</cx:pt>
          <cx:pt idx="19872">4</cx:pt>
          <cx:pt idx="19873">5</cx:pt>
          <cx:pt idx="19874">4</cx:pt>
          <cx:pt idx="19875">4</cx:pt>
          <cx:pt idx="19876">3</cx:pt>
          <cx:pt idx="19877">4</cx:pt>
          <cx:pt idx="19878">4</cx:pt>
          <cx:pt idx="19879">5</cx:pt>
          <cx:pt idx="19880">3</cx:pt>
          <cx:pt idx="19881">5</cx:pt>
          <cx:pt idx="19882">4</cx:pt>
          <cx:pt idx="19883">2</cx:pt>
          <cx:pt idx="19884">5</cx:pt>
          <cx:pt idx="19885">5</cx:pt>
          <cx:pt idx="19886">4</cx:pt>
          <cx:pt idx="19887">5</cx:pt>
          <cx:pt idx="19888">4</cx:pt>
          <cx:pt idx="19889">4</cx:pt>
          <cx:pt idx="19890">3</cx:pt>
          <cx:pt idx="19891">5</cx:pt>
          <cx:pt idx="19892">4</cx:pt>
          <cx:pt idx="19893">5</cx:pt>
          <cx:pt idx="19894">2</cx:pt>
          <cx:pt idx="19895">4</cx:pt>
          <cx:pt idx="19896">4</cx:pt>
          <cx:pt idx="19897">5</cx:pt>
          <cx:pt idx="19898">1</cx:pt>
          <cx:pt idx="19899">1</cx:pt>
          <cx:pt idx="19900">4</cx:pt>
          <cx:pt idx="19901">4</cx:pt>
          <cx:pt idx="19902">5</cx:pt>
          <cx:pt idx="19903">1</cx:pt>
          <cx:pt idx="19904">3</cx:pt>
          <cx:pt idx="19905">4</cx:pt>
          <cx:pt idx="19906">4</cx:pt>
          <cx:pt idx="19907">5</cx:pt>
          <cx:pt idx="19908">1</cx:pt>
          <cx:pt idx="19909">3</cx:pt>
          <cx:pt idx="19910">2</cx:pt>
          <cx:pt idx="19911">3</cx:pt>
          <cx:pt idx="19912">5</cx:pt>
          <cx:pt idx="19913">1</cx:pt>
          <cx:pt idx="19914">5</cx:pt>
          <cx:pt idx="19915">5</cx:pt>
          <cx:pt idx="19916">5</cx:pt>
          <cx:pt idx="19917">2</cx:pt>
          <cx:pt idx="19918">4</cx:pt>
          <cx:pt idx="19919">3</cx:pt>
          <cx:pt idx="19920">5</cx:pt>
          <cx:pt idx="19921">5</cx:pt>
          <cx:pt idx="19922">5</cx:pt>
          <cx:pt idx="19923">5</cx:pt>
          <cx:pt idx="19924">3</cx:pt>
          <cx:pt idx="19925">4</cx:pt>
          <cx:pt idx="19926">4</cx:pt>
          <cx:pt idx="19927">3</cx:pt>
          <cx:pt idx="19928">3</cx:pt>
          <cx:pt idx="19929">2</cx:pt>
          <cx:pt idx="19930">5</cx:pt>
          <cx:pt idx="19931">5</cx:pt>
          <cx:pt idx="19932">4</cx:pt>
          <cx:pt idx="19933">2</cx:pt>
          <cx:pt idx="19934">5</cx:pt>
          <cx:pt idx="19935">5</cx:pt>
          <cx:pt idx="19936">3</cx:pt>
          <cx:pt idx="19937">5</cx:pt>
          <cx:pt idx="19938">4</cx:pt>
          <cx:pt idx="19939">1</cx:pt>
          <cx:pt idx="19940">3</cx:pt>
          <cx:pt idx="19941">2</cx:pt>
          <cx:pt idx="19942">5</cx:pt>
          <cx:pt idx="19943">5</cx:pt>
          <cx:pt idx="19944">2</cx:pt>
          <cx:pt idx="19945">5</cx:pt>
          <cx:pt idx="19946">4</cx:pt>
          <cx:pt idx="19947">5</cx:pt>
          <cx:pt idx="19948">5</cx:pt>
          <cx:pt idx="19949">2</cx:pt>
          <cx:pt idx="19950">5</cx:pt>
          <cx:pt idx="19951">4</cx:pt>
          <cx:pt idx="19952">3</cx:pt>
          <cx:pt idx="19953">3</cx:pt>
          <cx:pt idx="19954">3</cx:pt>
          <cx:pt idx="19955">3</cx:pt>
          <cx:pt idx="19956">4</cx:pt>
          <cx:pt idx="19957">3</cx:pt>
          <cx:pt idx="19958">3</cx:pt>
          <cx:pt idx="19959">5</cx:pt>
          <cx:pt idx="19960">4</cx:pt>
          <cx:pt idx="19961">5</cx:pt>
          <cx:pt idx="19962">5</cx:pt>
          <cx:pt idx="19963">5</cx:pt>
          <cx:pt idx="19964">4</cx:pt>
          <cx:pt idx="19965">3</cx:pt>
          <cx:pt idx="19966">4</cx:pt>
          <cx:pt idx="19967">1</cx:pt>
          <cx:pt idx="19968">4</cx:pt>
          <cx:pt idx="19969">5</cx:pt>
          <cx:pt idx="19970">4</cx:pt>
          <cx:pt idx="19971">5</cx:pt>
          <cx:pt idx="19972">1</cx:pt>
          <cx:pt idx="19973">5</cx:pt>
          <cx:pt idx="19974">4</cx:pt>
          <cx:pt idx="19975">1</cx:pt>
          <cx:pt idx="19976">4</cx:pt>
          <cx:pt idx="19977">1</cx:pt>
          <cx:pt idx="19978">4</cx:pt>
          <cx:pt idx="19979">3</cx:pt>
          <cx:pt idx="19980">5</cx:pt>
          <cx:pt idx="19981">4</cx:pt>
          <cx:pt idx="19982">1</cx:pt>
          <cx:pt idx="19983">3</cx:pt>
          <cx:pt idx="19984">5</cx:pt>
          <cx:pt idx="19985">5</cx:pt>
          <cx:pt idx="19986">5</cx:pt>
          <cx:pt idx="19987">1</cx:pt>
          <cx:pt idx="19988">2</cx:pt>
          <cx:pt idx="19989">3</cx:pt>
          <cx:pt idx="19990">1</cx:pt>
          <cx:pt idx="19991">3</cx:pt>
          <cx:pt idx="19992">3</cx:pt>
          <cx:pt idx="19993">4</cx:pt>
          <cx:pt idx="19994">1</cx:pt>
          <cx:pt idx="19995">5</cx:pt>
          <cx:pt idx="19996">3</cx:pt>
          <cx:pt idx="19997">5</cx:pt>
          <cx:pt idx="19998">4</cx:pt>
          <cx:pt idx="19999">5</cx:pt>
          <cx:pt idx="20000">2</cx:pt>
          <cx:pt idx="20001">5</cx:pt>
          <cx:pt idx="20002">4</cx:pt>
          <cx:pt idx="20003">5</cx:pt>
          <cx:pt idx="20004">4</cx:pt>
          <cx:pt idx="20005">1</cx:pt>
          <cx:pt idx="20006">2</cx:pt>
          <cx:pt idx="20007">4</cx:pt>
          <cx:pt idx="20008">3</cx:pt>
          <cx:pt idx="20009">1</cx:pt>
          <cx:pt idx="20010">4</cx:pt>
          <cx:pt idx="20011">4</cx:pt>
          <cx:pt idx="20012">4</cx:pt>
          <cx:pt idx="20013">2</cx:pt>
          <cx:pt idx="20014">5</cx:pt>
          <cx:pt idx="20015">4</cx:pt>
          <cx:pt idx="20016">1</cx:pt>
          <cx:pt idx="20017">5</cx:pt>
          <cx:pt idx="20018">1</cx:pt>
          <cx:pt idx="20019">4</cx:pt>
          <cx:pt idx="20020">4</cx:pt>
          <cx:pt idx="20021">5</cx:pt>
          <cx:pt idx="20022">4</cx:pt>
          <cx:pt idx="20023">4</cx:pt>
          <cx:pt idx="20024">5</cx:pt>
          <cx:pt idx="20025">4</cx:pt>
          <cx:pt idx="20026">4</cx:pt>
          <cx:pt idx="20027">4</cx:pt>
          <cx:pt idx="20028">5</cx:pt>
          <cx:pt idx="20029">3</cx:pt>
          <cx:pt idx="20030">3</cx:pt>
          <cx:pt idx="20031">1</cx:pt>
          <cx:pt idx="20032">4</cx:pt>
          <cx:pt idx="20033">3</cx:pt>
          <cx:pt idx="20034">5</cx:pt>
          <cx:pt idx="20035">4</cx:pt>
          <cx:pt idx="20036">4</cx:pt>
          <cx:pt idx="20037">3</cx:pt>
          <cx:pt idx="20038">5</cx:pt>
          <cx:pt idx="20039">1</cx:pt>
          <cx:pt idx="20040">3</cx:pt>
          <cx:pt idx="20041">4</cx:pt>
          <cx:pt idx="20042">5</cx:pt>
          <cx:pt idx="20043">4</cx:pt>
          <cx:pt idx="20044">5</cx:pt>
          <cx:pt idx="20045">2</cx:pt>
          <cx:pt idx="20046">4</cx:pt>
          <cx:pt idx="20047">4</cx:pt>
          <cx:pt idx="20048">4</cx:pt>
          <cx:pt idx="20049">1</cx:pt>
          <cx:pt idx="20050">5</cx:pt>
          <cx:pt idx="20051">5</cx:pt>
          <cx:pt idx="20052">4</cx:pt>
          <cx:pt idx="20053">3</cx:pt>
          <cx:pt idx="20054">4</cx:pt>
          <cx:pt idx="20055">4</cx:pt>
          <cx:pt idx="20056">4</cx:pt>
          <cx:pt idx="20057">3</cx:pt>
          <cx:pt idx="20058">5</cx:pt>
          <cx:pt idx="20059">5</cx:pt>
          <cx:pt idx="20060">2</cx:pt>
          <cx:pt idx="20061">2</cx:pt>
          <cx:pt idx="20062">4</cx:pt>
          <cx:pt idx="20063">2</cx:pt>
          <cx:pt idx="20064">3</cx:pt>
          <cx:pt idx="20065">3</cx:pt>
          <cx:pt idx="20066">4</cx:pt>
          <cx:pt idx="20067">1</cx:pt>
          <cx:pt idx="20068">1</cx:pt>
          <cx:pt idx="20069">5</cx:pt>
          <cx:pt idx="20070">5</cx:pt>
          <cx:pt idx="20071">2</cx:pt>
          <cx:pt idx="20072">1</cx:pt>
          <cx:pt idx="20073">1</cx:pt>
          <cx:pt idx="20074">1</cx:pt>
          <cx:pt idx="20075">2</cx:pt>
          <cx:pt idx="20076">2</cx:pt>
          <cx:pt idx="20077">4</cx:pt>
          <cx:pt idx="20078">3</cx:pt>
          <cx:pt idx="20079">3</cx:pt>
          <cx:pt idx="20080">4</cx:pt>
          <cx:pt idx="20081">2</cx:pt>
          <cx:pt idx="20082">4</cx:pt>
          <cx:pt idx="20083">5</cx:pt>
          <cx:pt idx="20084">5</cx:pt>
          <cx:pt idx="20085">1</cx:pt>
          <cx:pt idx="20086">3</cx:pt>
          <cx:pt idx="20087">4</cx:pt>
          <cx:pt idx="20088">5</cx:pt>
          <cx:pt idx="20089">2</cx:pt>
          <cx:pt idx="20090">5</cx:pt>
          <cx:pt idx="20091">4</cx:pt>
          <cx:pt idx="20092">5</cx:pt>
          <cx:pt idx="20093">2</cx:pt>
          <cx:pt idx="20094">1</cx:pt>
          <cx:pt idx="20095">4</cx:pt>
          <cx:pt idx="20096">2</cx:pt>
          <cx:pt idx="20097">1</cx:pt>
          <cx:pt idx="20098">5</cx:pt>
          <cx:pt idx="20099">4</cx:pt>
          <cx:pt idx="20100">4</cx:pt>
          <cx:pt idx="20101">5</cx:pt>
          <cx:pt idx="20102">4</cx:pt>
          <cx:pt idx="20103">1</cx:pt>
          <cx:pt idx="20104">4</cx:pt>
          <cx:pt idx="20105">2</cx:pt>
          <cx:pt idx="20106">5</cx:pt>
          <cx:pt idx="20107">2</cx:pt>
          <cx:pt idx="20108">4</cx:pt>
          <cx:pt idx="20109">4</cx:pt>
          <cx:pt idx="20110">5</cx:pt>
          <cx:pt idx="20111">4</cx:pt>
          <cx:pt idx="20112">5</cx:pt>
          <cx:pt idx="20113">2</cx:pt>
          <cx:pt idx="20114">5</cx:pt>
          <cx:pt idx="20115">2</cx:pt>
          <cx:pt idx="20116">3</cx:pt>
          <cx:pt idx="20117">5</cx:pt>
          <cx:pt idx="20118">2</cx:pt>
          <cx:pt idx="20119">5</cx:pt>
          <cx:pt idx="20120">2</cx:pt>
          <cx:pt idx="20121">4</cx:pt>
          <cx:pt idx="20122">5</cx:pt>
          <cx:pt idx="20123">3</cx:pt>
          <cx:pt idx="20124">4</cx:pt>
          <cx:pt idx="20125">4</cx:pt>
          <cx:pt idx="20126">5</cx:pt>
          <cx:pt idx="20127">3</cx:pt>
          <cx:pt idx="20128">4</cx:pt>
          <cx:pt idx="20129">1</cx:pt>
          <cx:pt idx="20130">2</cx:pt>
          <cx:pt idx="20131">5</cx:pt>
          <cx:pt idx="20132">5</cx:pt>
          <cx:pt idx="20133">5</cx:pt>
          <cx:pt idx="20134">1</cx:pt>
          <cx:pt idx="20135">4</cx:pt>
          <cx:pt idx="20136">1</cx:pt>
          <cx:pt idx="20137">4</cx:pt>
          <cx:pt idx="20138">5</cx:pt>
          <cx:pt idx="20139">5</cx:pt>
          <cx:pt idx="20140">5</cx:pt>
          <cx:pt idx="20141">5</cx:pt>
          <cx:pt idx="20142">5</cx:pt>
          <cx:pt idx="20143">5</cx:pt>
          <cx:pt idx="20144">5</cx:pt>
          <cx:pt idx="20145">4</cx:pt>
          <cx:pt idx="20146">3</cx:pt>
          <cx:pt idx="20147">5</cx:pt>
          <cx:pt idx="20148">4</cx:pt>
          <cx:pt idx="20149">4</cx:pt>
          <cx:pt idx="20150">3</cx:pt>
          <cx:pt idx="20151">1</cx:pt>
          <cx:pt idx="20152">5</cx:pt>
          <cx:pt idx="20153">4</cx:pt>
          <cx:pt idx="20154">2</cx:pt>
          <cx:pt idx="20155">2</cx:pt>
          <cx:pt idx="20156">5</cx:pt>
          <cx:pt idx="20157">4</cx:pt>
          <cx:pt idx="20158">2</cx:pt>
          <cx:pt idx="20159">4</cx:pt>
          <cx:pt idx="20160">3</cx:pt>
          <cx:pt idx="20161">3</cx:pt>
          <cx:pt idx="20162">4</cx:pt>
          <cx:pt idx="20163">3</cx:pt>
          <cx:pt idx="20164">3</cx:pt>
          <cx:pt idx="20165">4</cx:pt>
          <cx:pt idx="20166">3</cx:pt>
          <cx:pt idx="20167">5</cx:pt>
          <cx:pt idx="20168">3</cx:pt>
          <cx:pt idx="20169">5</cx:pt>
          <cx:pt idx="20170">3</cx:pt>
          <cx:pt idx="20171">1</cx:pt>
          <cx:pt idx="20172">1</cx:pt>
          <cx:pt idx="20173">5</cx:pt>
          <cx:pt idx="20174">3</cx:pt>
          <cx:pt idx="20175">3</cx:pt>
          <cx:pt idx="20176">4</cx:pt>
          <cx:pt idx="20177">4</cx:pt>
          <cx:pt idx="20178">4</cx:pt>
          <cx:pt idx="20179">2</cx:pt>
          <cx:pt idx="20180">4</cx:pt>
          <cx:pt idx="20181">3</cx:pt>
          <cx:pt idx="20182">2</cx:pt>
          <cx:pt idx="20183">5</cx:pt>
          <cx:pt idx="20184">2</cx:pt>
          <cx:pt idx="20185">3</cx:pt>
          <cx:pt idx="20186">2</cx:pt>
          <cx:pt idx="20187">5</cx:pt>
          <cx:pt idx="20188">4</cx:pt>
          <cx:pt idx="20189">3</cx:pt>
          <cx:pt idx="20190">5</cx:pt>
          <cx:pt idx="20191">5</cx:pt>
          <cx:pt idx="20192">4</cx:pt>
          <cx:pt idx="20193">5</cx:pt>
          <cx:pt idx="20194">5</cx:pt>
          <cx:pt idx="20195">5</cx:pt>
          <cx:pt idx="20196">5</cx:pt>
          <cx:pt idx="20197">1</cx:pt>
          <cx:pt idx="20198">3</cx:pt>
          <cx:pt idx="20199">4</cx:pt>
          <cx:pt idx="20200">5</cx:pt>
          <cx:pt idx="20201">2</cx:pt>
          <cx:pt idx="20202">1</cx:pt>
          <cx:pt idx="20203">4</cx:pt>
          <cx:pt idx="20204">3</cx:pt>
          <cx:pt idx="20205">3</cx:pt>
          <cx:pt idx="20206">3</cx:pt>
          <cx:pt idx="20207">4</cx:pt>
          <cx:pt idx="20208">4</cx:pt>
          <cx:pt idx="20209">1</cx:pt>
          <cx:pt idx="20210">4</cx:pt>
          <cx:pt idx="20211">3</cx:pt>
          <cx:pt idx="20212">5</cx:pt>
          <cx:pt idx="20213">4</cx:pt>
          <cx:pt idx="20214">4</cx:pt>
          <cx:pt idx="20215">1</cx:pt>
          <cx:pt idx="20216">5</cx:pt>
          <cx:pt idx="20217">5</cx:pt>
          <cx:pt idx="20218">5</cx:pt>
          <cx:pt idx="20219">2</cx:pt>
          <cx:pt idx="20220">4</cx:pt>
          <cx:pt idx="20221">3</cx:pt>
          <cx:pt idx="20222">5</cx:pt>
          <cx:pt idx="20223">2</cx:pt>
          <cx:pt idx="20224">3</cx:pt>
          <cx:pt idx="20225">2</cx:pt>
          <cx:pt idx="20226">3</cx:pt>
          <cx:pt idx="20227">2</cx:pt>
          <cx:pt idx="20228">4</cx:pt>
          <cx:pt idx="20229">5</cx:pt>
          <cx:pt idx="20230">2</cx:pt>
          <cx:pt idx="20231">4</cx:pt>
          <cx:pt idx="20232">4</cx:pt>
          <cx:pt idx="20233">3</cx:pt>
          <cx:pt idx="20234">3</cx:pt>
          <cx:pt idx="20235">4</cx:pt>
          <cx:pt idx="20236">3</cx:pt>
          <cx:pt idx="20237">4</cx:pt>
          <cx:pt idx="20238">1</cx:pt>
          <cx:pt idx="20239">3</cx:pt>
          <cx:pt idx="20240">4</cx:pt>
          <cx:pt idx="20241">4</cx:pt>
          <cx:pt idx="20242">5</cx:pt>
          <cx:pt idx="20243">4</cx:pt>
          <cx:pt idx="20244">3</cx:pt>
          <cx:pt idx="20245">4</cx:pt>
          <cx:pt idx="20246">4</cx:pt>
          <cx:pt idx="20247">4</cx:pt>
          <cx:pt idx="20248">2</cx:pt>
          <cx:pt idx="20249">3</cx:pt>
          <cx:pt idx="20250">5</cx:pt>
          <cx:pt idx="20251">5</cx:pt>
          <cx:pt idx="20252">5</cx:pt>
          <cx:pt idx="20253">3</cx:pt>
          <cx:pt idx="20254">1</cx:pt>
          <cx:pt idx="20255">4</cx:pt>
          <cx:pt idx="20256">3</cx:pt>
          <cx:pt idx="20257">5</cx:pt>
          <cx:pt idx="20258">5</cx:pt>
          <cx:pt idx="20259">3</cx:pt>
          <cx:pt idx="20260">2</cx:pt>
          <cx:pt idx="20261">4</cx:pt>
          <cx:pt idx="20262">4</cx:pt>
          <cx:pt idx="20263">4</cx:pt>
          <cx:pt idx="20264">4</cx:pt>
          <cx:pt idx="20265">1</cx:pt>
          <cx:pt idx="20266">3</cx:pt>
          <cx:pt idx="20267">5</cx:pt>
          <cx:pt idx="20268">1</cx:pt>
          <cx:pt idx="20269">4</cx:pt>
          <cx:pt idx="20270">4</cx:pt>
          <cx:pt idx="20271">4</cx:pt>
          <cx:pt idx="20272">5</cx:pt>
          <cx:pt idx="20273">5</cx:pt>
          <cx:pt idx="20274">3</cx:pt>
          <cx:pt idx="20275">4</cx:pt>
          <cx:pt idx="20276">3</cx:pt>
          <cx:pt idx="20277">5</cx:pt>
          <cx:pt idx="20278">4</cx:pt>
          <cx:pt idx="20279">3</cx:pt>
          <cx:pt idx="20280">5</cx:pt>
          <cx:pt idx="20281">2</cx:pt>
          <cx:pt idx="20282">4</cx:pt>
          <cx:pt idx="20283">4</cx:pt>
          <cx:pt idx="20284">5</cx:pt>
          <cx:pt idx="20285">5</cx:pt>
          <cx:pt idx="20286">5</cx:pt>
          <cx:pt idx="20287">4</cx:pt>
          <cx:pt idx="20288">4</cx:pt>
          <cx:pt idx="20289">3</cx:pt>
          <cx:pt idx="20290">3</cx:pt>
          <cx:pt idx="20291">5</cx:pt>
          <cx:pt idx="20292">4</cx:pt>
          <cx:pt idx="20293">1</cx:pt>
          <cx:pt idx="20294">1</cx:pt>
          <cx:pt idx="20295">5</cx:pt>
          <cx:pt idx="20296">4</cx:pt>
          <cx:pt idx="20297">5</cx:pt>
          <cx:pt idx="20298">2</cx:pt>
          <cx:pt idx="20299">5</cx:pt>
          <cx:pt idx="20300">4</cx:pt>
          <cx:pt idx="20301">3</cx:pt>
          <cx:pt idx="20302">4</cx:pt>
          <cx:pt idx="20303">5</cx:pt>
          <cx:pt idx="20304">3</cx:pt>
          <cx:pt idx="20305">4</cx:pt>
          <cx:pt idx="20306">4</cx:pt>
          <cx:pt idx="20307">5</cx:pt>
          <cx:pt idx="20308">1</cx:pt>
          <cx:pt idx="20309">3</cx:pt>
          <cx:pt idx="20310">4</cx:pt>
          <cx:pt idx="20311">2</cx:pt>
          <cx:pt idx="20312">3</cx:pt>
          <cx:pt idx="20313">4</cx:pt>
          <cx:pt idx="20314">5</cx:pt>
          <cx:pt idx="20315">5</cx:pt>
          <cx:pt idx="20316">1</cx:pt>
          <cx:pt idx="20317">3</cx:pt>
          <cx:pt idx="20318">1</cx:pt>
          <cx:pt idx="20319">4</cx:pt>
          <cx:pt idx="20320">3</cx:pt>
          <cx:pt idx="20321">1</cx:pt>
          <cx:pt idx="20322">5</cx:pt>
          <cx:pt idx="20323">4</cx:pt>
          <cx:pt idx="20324">5</cx:pt>
          <cx:pt idx="20325">4</cx:pt>
          <cx:pt idx="20326">4</cx:pt>
          <cx:pt idx="20327">5</cx:pt>
          <cx:pt idx="20328">3</cx:pt>
          <cx:pt idx="20329">4</cx:pt>
          <cx:pt idx="20330">1</cx:pt>
          <cx:pt idx="20331">3</cx:pt>
          <cx:pt idx="20332">4</cx:pt>
          <cx:pt idx="20333">2</cx:pt>
          <cx:pt idx="20334">3</cx:pt>
          <cx:pt idx="20335">2</cx:pt>
          <cx:pt idx="20336">5</cx:pt>
          <cx:pt idx="20337">1</cx:pt>
          <cx:pt idx="20338">3</cx:pt>
          <cx:pt idx="20339">3</cx:pt>
          <cx:pt idx="20340">4</cx:pt>
          <cx:pt idx="20341">3</cx:pt>
          <cx:pt idx="20342">5</cx:pt>
          <cx:pt idx="20343">4</cx:pt>
          <cx:pt idx="20344">3</cx:pt>
          <cx:pt idx="20345">5</cx:pt>
          <cx:pt idx="20346">3</cx:pt>
          <cx:pt idx="20347">5</cx:pt>
          <cx:pt idx="20348">2</cx:pt>
          <cx:pt idx="20349">4</cx:pt>
          <cx:pt idx="20350">4</cx:pt>
          <cx:pt idx="20351">5</cx:pt>
          <cx:pt idx="20352">2</cx:pt>
          <cx:pt idx="20353">2</cx:pt>
          <cx:pt idx="20354">5</cx:pt>
          <cx:pt idx="20355">4</cx:pt>
          <cx:pt idx="20356">5</cx:pt>
          <cx:pt idx="20357">3</cx:pt>
          <cx:pt idx="20358">2</cx:pt>
          <cx:pt idx="20359">1</cx:pt>
          <cx:pt idx="20360">4</cx:pt>
          <cx:pt idx="20361">5</cx:pt>
          <cx:pt idx="20362">4</cx:pt>
          <cx:pt idx="20363">1</cx:pt>
          <cx:pt idx="20364">4</cx:pt>
          <cx:pt idx="20365">4</cx:pt>
          <cx:pt idx="20366">2</cx:pt>
          <cx:pt idx="20367">4</cx:pt>
          <cx:pt idx="20368">5</cx:pt>
          <cx:pt idx="20369">1</cx:pt>
          <cx:pt idx="20370">3</cx:pt>
          <cx:pt idx="20371">3</cx:pt>
          <cx:pt idx="20372">1</cx:pt>
          <cx:pt idx="20373">3</cx:pt>
          <cx:pt idx="20374">1</cx:pt>
          <cx:pt idx="20375">1</cx:pt>
          <cx:pt idx="20376">5</cx:pt>
          <cx:pt idx="20377">4</cx:pt>
          <cx:pt idx="20378">4</cx:pt>
          <cx:pt idx="20379">5</cx:pt>
          <cx:pt idx="20380">4</cx:pt>
          <cx:pt idx="20381">2</cx:pt>
          <cx:pt idx="20382">4</cx:pt>
          <cx:pt idx="20383">5</cx:pt>
          <cx:pt idx="20384">5</cx:pt>
          <cx:pt idx="20385">3</cx:pt>
          <cx:pt idx="20386">5</cx:pt>
          <cx:pt idx="20387">5</cx:pt>
          <cx:pt idx="20388">1</cx:pt>
          <cx:pt idx="20389">3</cx:pt>
          <cx:pt idx="20390">5</cx:pt>
          <cx:pt idx="20391">5</cx:pt>
          <cx:pt idx="20392">1</cx:pt>
          <cx:pt idx="20393">3</cx:pt>
          <cx:pt idx="20394">2</cx:pt>
          <cx:pt idx="20395">4</cx:pt>
          <cx:pt idx="20396">4</cx:pt>
          <cx:pt idx="20397">4</cx:pt>
          <cx:pt idx="20398">5</cx:pt>
          <cx:pt idx="20399">4</cx:pt>
          <cx:pt idx="20400">5</cx:pt>
          <cx:pt idx="20401">3</cx:pt>
          <cx:pt idx="20402">5</cx:pt>
          <cx:pt idx="20403">3</cx:pt>
          <cx:pt idx="20404">1</cx:pt>
          <cx:pt idx="20405">1</cx:pt>
          <cx:pt idx="20406">4</cx:pt>
          <cx:pt idx="20407">4</cx:pt>
          <cx:pt idx="20408">1</cx:pt>
          <cx:pt idx="20409">4</cx:pt>
          <cx:pt idx="20410">3</cx:pt>
          <cx:pt idx="20411">5</cx:pt>
          <cx:pt idx="20412">4</cx:pt>
          <cx:pt idx="20413">4</cx:pt>
          <cx:pt idx="20414">1</cx:pt>
          <cx:pt idx="20415">3</cx:pt>
          <cx:pt idx="20416">4</cx:pt>
          <cx:pt idx="20417">3</cx:pt>
          <cx:pt idx="20418">1</cx:pt>
          <cx:pt idx="20419">5</cx:pt>
          <cx:pt idx="20420">5</cx:pt>
          <cx:pt idx="20421">4</cx:pt>
          <cx:pt idx="20422">5</cx:pt>
          <cx:pt idx="20423">2</cx:pt>
          <cx:pt idx="20424">5</cx:pt>
          <cx:pt idx="20425">5</cx:pt>
          <cx:pt idx="20426">5</cx:pt>
          <cx:pt idx="20427">1</cx:pt>
          <cx:pt idx="20428">3</cx:pt>
          <cx:pt idx="20429">5</cx:pt>
          <cx:pt idx="20430">3</cx:pt>
          <cx:pt idx="20431">3</cx:pt>
          <cx:pt idx="20432">5</cx:pt>
          <cx:pt idx="20433">5</cx:pt>
          <cx:pt idx="20434">4</cx:pt>
          <cx:pt idx="20435">1</cx:pt>
          <cx:pt idx="20436">4</cx:pt>
          <cx:pt idx="20437">4</cx:pt>
          <cx:pt idx="20438">2</cx:pt>
          <cx:pt idx="20439">5</cx:pt>
          <cx:pt idx="20440">4</cx:pt>
          <cx:pt idx="20441">5</cx:pt>
          <cx:pt idx="20442">5</cx:pt>
          <cx:pt idx="20443">4</cx:pt>
          <cx:pt idx="20444">5</cx:pt>
          <cx:pt idx="20445">4</cx:pt>
          <cx:pt idx="20446">1</cx:pt>
          <cx:pt idx="20447">4</cx:pt>
          <cx:pt idx="20448">4</cx:pt>
          <cx:pt idx="20449">2</cx:pt>
          <cx:pt idx="20450">1</cx:pt>
          <cx:pt idx="20451">1</cx:pt>
          <cx:pt idx="20452">5</cx:pt>
          <cx:pt idx="20453">2</cx:pt>
          <cx:pt idx="20454">4</cx:pt>
          <cx:pt idx="20455">5</cx:pt>
          <cx:pt idx="20456">3</cx:pt>
          <cx:pt idx="20457">2</cx:pt>
          <cx:pt idx="20458">2</cx:pt>
          <cx:pt idx="20459">5</cx:pt>
          <cx:pt idx="20460">4</cx:pt>
          <cx:pt idx="20461">2</cx:pt>
          <cx:pt idx="20462">3</cx:pt>
          <cx:pt idx="20463">2</cx:pt>
          <cx:pt idx="20464">5</cx:pt>
          <cx:pt idx="20465">2</cx:pt>
          <cx:pt idx="20466">4</cx:pt>
          <cx:pt idx="20467">4</cx:pt>
          <cx:pt idx="20468">1</cx:pt>
          <cx:pt idx="20469">5</cx:pt>
          <cx:pt idx="20470">5</cx:pt>
          <cx:pt idx="20471">4</cx:pt>
          <cx:pt idx="20472">2</cx:pt>
          <cx:pt idx="20473">4</cx:pt>
          <cx:pt idx="20474">5</cx:pt>
          <cx:pt idx="20475">2</cx:pt>
          <cx:pt idx="20476">3</cx:pt>
          <cx:pt idx="20477">5</cx:pt>
          <cx:pt idx="20478">4</cx:pt>
          <cx:pt idx="20479">1</cx:pt>
          <cx:pt idx="20480">3</cx:pt>
          <cx:pt idx="20481">1</cx:pt>
          <cx:pt idx="20482">3</cx:pt>
          <cx:pt idx="20483">2</cx:pt>
          <cx:pt idx="20484">3</cx:pt>
          <cx:pt idx="20485">3</cx:pt>
          <cx:pt idx="20486">3</cx:pt>
          <cx:pt idx="20487">5</cx:pt>
          <cx:pt idx="20488">4</cx:pt>
          <cx:pt idx="20489">5</cx:pt>
          <cx:pt idx="20490">4</cx:pt>
          <cx:pt idx="20491">2</cx:pt>
          <cx:pt idx="20492">4</cx:pt>
          <cx:pt idx="20493">4</cx:pt>
          <cx:pt idx="20494">4</cx:pt>
          <cx:pt idx="20495">4</cx:pt>
          <cx:pt idx="20496">5</cx:pt>
          <cx:pt idx="20497">4</cx:pt>
          <cx:pt idx="20498">3</cx:pt>
          <cx:pt idx="20499">4</cx:pt>
          <cx:pt idx="20500">1</cx:pt>
          <cx:pt idx="20501">3</cx:pt>
          <cx:pt idx="20502">5</cx:pt>
          <cx:pt idx="20503">1</cx:pt>
          <cx:pt idx="20504">1</cx:pt>
          <cx:pt idx="20505">4</cx:pt>
          <cx:pt idx="20506">5</cx:pt>
          <cx:pt idx="20507">1</cx:pt>
          <cx:pt idx="20508">4</cx:pt>
          <cx:pt idx="20509">5</cx:pt>
          <cx:pt idx="20510">1</cx:pt>
          <cx:pt idx="20511">1</cx:pt>
          <cx:pt idx="20512">4</cx:pt>
          <cx:pt idx="20513">4</cx:pt>
          <cx:pt idx="20514">2</cx:pt>
          <cx:pt idx="20515">4</cx:pt>
          <cx:pt idx="20516">5</cx:pt>
          <cx:pt idx="20517">5</cx:pt>
          <cx:pt idx="20518">5</cx:pt>
          <cx:pt idx="20519">3</cx:pt>
          <cx:pt idx="20520">5</cx:pt>
          <cx:pt idx="20521">3</cx:pt>
          <cx:pt idx="20522">5</cx:pt>
          <cx:pt idx="20523">4</cx:pt>
          <cx:pt idx="20524">2</cx:pt>
          <cx:pt idx="20525">1</cx:pt>
          <cx:pt idx="20526">3</cx:pt>
          <cx:pt idx="20527">5</cx:pt>
          <cx:pt idx="20528">4</cx:pt>
          <cx:pt idx="20529">2</cx:pt>
          <cx:pt idx="20530">5</cx:pt>
          <cx:pt idx="20531">2</cx:pt>
          <cx:pt idx="20532">5</cx:pt>
          <cx:pt idx="20533">1</cx:pt>
          <cx:pt idx="20534">3</cx:pt>
          <cx:pt idx="20535">4</cx:pt>
          <cx:pt idx="20536">3</cx:pt>
          <cx:pt idx="20537">3</cx:pt>
          <cx:pt idx="20538">4</cx:pt>
          <cx:pt idx="20539">2</cx:pt>
          <cx:pt idx="20540">1</cx:pt>
          <cx:pt idx="20541">5</cx:pt>
          <cx:pt idx="20542">4</cx:pt>
          <cx:pt idx="20543">3</cx:pt>
          <cx:pt idx="20544">4</cx:pt>
          <cx:pt idx="20545">4</cx:pt>
          <cx:pt idx="20546">4</cx:pt>
          <cx:pt idx="20547">3</cx:pt>
          <cx:pt idx="20548">4</cx:pt>
          <cx:pt idx="20549">4</cx:pt>
          <cx:pt idx="20550">2</cx:pt>
          <cx:pt idx="20551">1</cx:pt>
          <cx:pt idx="20552">2</cx:pt>
          <cx:pt idx="20553">5</cx:pt>
          <cx:pt idx="20554">2</cx:pt>
          <cx:pt idx="20555">2</cx:pt>
          <cx:pt idx="20556">5</cx:pt>
          <cx:pt idx="20557">4</cx:pt>
          <cx:pt idx="20558">4</cx:pt>
          <cx:pt idx="20559">4</cx:pt>
          <cx:pt idx="20560">5</cx:pt>
          <cx:pt idx="20561">3</cx:pt>
          <cx:pt idx="20562">5</cx:pt>
          <cx:pt idx="20563">5</cx:pt>
          <cx:pt idx="20564">3</cx:pt>
          <cx:pt idx="20565">5</cx:pt>
          <cx:pt idx="20566">2</cx:pt>
          <cx:pt idx="20567">4</cx:pt>
          <cx:pt idx="20568">5</cx:pt>
          <cx:pt idx="20569">4</cx:pt>
          <cx:pt idx="20570">4</cx:pt>
          <cx:pt idx="20571">4</cx:pt>
          <cx:pt idx="20572">2</cx:pt>
          <cx:pt idx="20573">5</cx:pt>
          <cx:pt idx="20574">3</cx:pt>
          <cx:pt idx="20575">5</cx:pt>
          <cx:pt idx="20576">5</cx:pt>
          <cx:pt idx="20577">4</cx:pt>
          <cx:pt idx="20578">2</cx:pt>
          <cx:pt idx="20579">1</cx:pt>
          <cx:pt idx="20580">1</cx:pt>
          <cx:pt idx="20581">5</cx:pt>
          <cx:pt idx="20582">4</cx:pt>
          <cx:pt idx="20583">5</cx:pt>
          <cx:pt idx="20584">4</cx:pt>
          <cx:pt idx="20585">1</cx:pt>
          <cx:pt idx="20586">4</cx:pt>
          <cx:pt idx="20587">3</cx:pt>
          <cx:pt idx="20588">2</cx:pt>
          <cx:pt idx="20589">3</cx:pt>
          <cx:pt idx="20590">3</cx:pt>
          <cx:pt idx="20591">5</cx:pt>
          <cx:pt idx="20592">3</cx:pt>
          <cx:pt idx="20593">1</cx:pt>
          <cx:pt idx="20594">3</cx:pt>
          <cx:pt idx="20595">4</cx:pt>
          <cx:pt idx="20596">1</cx:pt>
          <cx:pt idx="20597">3</cx:pt>
          <cx:pt idx="20598">5</cx:pt>
          <cx:pt idx="20599">4</cx:pt>
          <cx:pt idx="20600">4</cx:pt>
          <cx:pt idx="20601">1</cx:pt>
          <cx:pt idx="20602">4</cx:pt>
          <cx:pt idx="20603">5</cx:pt>
          <cx:pt idx="20604">5</cx:pt>
          <cx:pt idx="20605">4</cx:pt>
          <cx:pt idx="20606">5</cx:pt>
          <cx:pt idx="20607">5</cx:pt>
          <cx:pt idx="20608">5</cx:pt>
          <cx:pt idx="20609">5</cx:pt>
          <cx:pt idx="20610">4</cx:pt>
          <cx:pt idx="20611">5</cx:pt>
          <cx:pt idx="20612">5</cx:pt>
          <cx:pt idx="20613">5</cx:pt>
          <cx:pt idx="20614">3</cx:pt>
          <cx:pt idx="20615">5</cx:pt>
          <cx:pt idx="20616">3</cx:pt>
          <cx:pt idx="20617">5</cx:pt>
          <cx:pt idx="20618">5</cx:pt>
          <cx:pt idx="20619">2</cx:pt>
          <cx:pt idx="20620">4</cx:pt>
          <cx:pt idx="20621">4</cx:pt>
          <cx:pt idx="20622">3</cx:pt>
          <cx:pt idx="20623">3</cx:pt>
          <cx:pt idx="20624">4</cx:pt>
          <cx:pt idx="20625">1</cx:pt>
          <cx:pt idx="20626">3</cx:pt>
          <cx:pt idx="20627">5</cx:pt>
          <cx:pt idx="20628">3</cx:pt>
          <cx:pt idx="20629">4</cx:pt>
          <cx:pt idx="20630">5</cx:pt>
          <cx:pt idx="20631">4</cx:pt>
          <cx:pt idx="20632">3</cx:pt>
          <cx:pt idx="20633">2</cx:pt>
          <cx:pt idx="20634">4</cx:pt>
          <cx:pt idx="20635">5</cx:pt>
          <cx:pt idx="20636">4</cx:pt>
          <cx:pt idx="20637">2</cx:pt>
          <cx:pt idx="20638">1</cx:pt>
          <cx:pt idx="20639">3</cx:pt>
          <cx:pt idx="20640">2</cx:pt>
          <cx:pt idx="20641">1</cx:pt>
          <cx:pt idx="20642">3</cx:pt>
          <cx:pt idx="20643">4</cx:pt>
          <cx:pt idx="20644">4</cx:pt>
          <cx:pt idx="20645">3</cx:pt>
          <cx:pt idx="20646">4</cx:pt>
          <cx:pt idx="20647">4</cx:pt>
          <cx:pt idx="20648">4</cx:pt>
          <cx:pt idx="20649">3</cx:pt>
          <cx:pt idx="20650">2</cx:pt>
          <cx:pt idx="20651">5</cx:pt>
          <cx:pt idx="20652">4</cx:pt>
          <cx:pt idx="20653">3</cx:pt>
          <cx:pt idx="20654">5</cx:pt>
          <cx:pt idx="20655">1</cx:pt>
          <cx:pt idx="20656">2</cx:pt>
          <cx:pt idx="20657">1</cx:pt>
          <cx:pt idx="20658">5</cx:pt>
          <cx:pt idx="20659">5</cx:pt>
          <cx:pt idx="20660">2</cx:pt>
          <cx:pt idx="20661">4</cx:pt>
          <cx:pt idx="20662">2</cx:pt>
          <cx:pt idx="20663">3</cx:pt>
          <cx:pt idx="20664">2</cx:pt>
          <cx:pt idx="20665">4</cx:pt>
          <cx:pt idx="20666">5</cx:pt>
          <cx:pt idx="20667">4</cx:pt>
          <cx:pt idx="20668">3</cx:pt>
          <cx:pt idx="20669">5</cx:pt>
          <cx:pt idx="20670">5</cx:pt>
          <cx:pt idx="20671">5</cx:pt>
          <cx:pt idx="20672">5</cx:pt>
          <cx:pt idx="20673">5</cx:pt>
          <cx:pt idx="20674">5</cx:pt>
          <cx:pt idx="20675">5</cx:pt>
          <cx:pt idx="20676">3</cx:pt>
          <cx:pt idx="20677">5</cx:pt>
          <cx:pt idx="20678">5</cx:pt>
          <cx:pt idx="20679">2</cx:pt>
          <cx:pt idx="20680">5</cx:pt>
          <cx:pt idx="20681">2</cx:pt>
          <cx:pt idx="20682">4</cx:pt>
          <cx:pt idx="20683">3</cx:pt>
          <cx:pt idx="20684">4</cx:pt>
          <cx:pt idx="20685">5</cx:pt>
          <cx:pt idx="20686">4</cx:pt>
          <cx:pt idx="20687">1</cx:pt>
          <cx:pt idx="20688">2</cx:pt>
          <cx:pt idx="20689">4</cx:pt>
          <cx:pt idx="20690">2</cx:pt>
          <cx:pt idx="20691">5</cx:pt>
          <cx:pt idx="20692">4</cx:pt>
          <cx:pt idx="20693">5</cx:pt>
          <cx:pt idx="20694">2</cx:pt>
          <cx:pt idx="20695">4</cx:pt>
          <cx:pt idx="20696">4</cx:pt>
          <cx:pt idx="20697">4</cx:pt>
          <cx:pt idx="20698">2</cx:pt>
          <cx:pt idx="20699">5</cx:pt>
          <cx:pt idx="20700">1</cx:pt>
          <cx:pt idx="20701">2</cx:pt>
          <cx:pt idx="20702">2</cx:pt>
          <cx:pt idx="20703">5</cx:pt>
          <cx:pt idx="20704">2</cx:pt>
          <cx:pt idx="20705">4</cx:pt>
          <cx:pt idx="20706">4</cx:pt>
          <cx:pt idx="20707">3</cx:pt>
          <cx:pt idx="20708">4</cx:pt>
          <cx:pt idx="20709">5</cx:pt>
          <cx:pt idx="20710">3</cx:pt>
          <cx:pt idx="20711">1</cx:pt>
          <cx:pt idx="20712">3</cx:pt>
          <cx:pt idx="20713">4</cx:pt>
          <cx:pt idx="20714">4</cx:pt>
          <cx:pt idx="20715">1</cx:pt>
          <cx:pt idx="20716">4</cx:pt>
          <cx:pt idx="20717">5</cx:pt>
          <cx:pt idx="20718">1</cx:pt>
          <cx:pt idx="20719">5</cx:pt>
          <cx:pt idx="20720">3</cx:pt>
          <cx:pt idx="20721">1</cx:pt>
          <cx:pt idx="20722">5</cx:pt>
          <cx:pt idx="20723">4</cx:pt>
          <cx:pt idx="20724">5</cx:pt>
          <cx:pt idx="20725">4</cx:pt>
          <cx:pt idx="20726">3</cx:pt>
          <cx:pt idx="20727">4</cx:pt>
          <cx:pt idx="20728">5</cx:pt>
          <cx:pt idx="20729">5</cx:pt>
          <cx:pt idx="20730">5</cx:pt>
          <cx:pt idx="20731">3</cx:pt>
          <cx:pt idx="20732">4</cx:pt>
          <cx:pt idx="20733">3</cx:pt>
          <cx:pt idx="20734">4</cx:pt>
          <cx:pt idx="20735">4</cx:pt>
          <cx:pt idx="20736">4</cx:pt>
          <cx:pt idx="20737">4</cx:pt>
          <cx:pt idx="20738">4</cx:pt>
          <cx:pt idx="20739">3</cx:pt>
          <cx:pt idx="20740">3</cx:pt>
          <cx:pt idx="20741">2</cx:pt>
          <cx:pt idx="20742">4</cx:pt>
          <cx:pt idx="20743">5</cx:pt>
          <cx:pt idx="20744">2</cx:pt>
          <cx:pt idx="20745">2</cx:pt>
          <cx:pt idx="20746">4</cx:pt>
          <cx:pt idx="20747">2</cx:pt>
          <cx:pt idx="20748">5</cx:pt>
          <cx:pt idx="20749">1</cx:pt>
          <cx:pt idx="20750">5</cx:pt>
          <cx:pt idx="20751">2</cx:pt>
          <cx:pt idx="20752">2</cx:pt>
          <cx:pt idx="20753">1</cx:pt>
          <cx:pt idx="20754">5</cx:pt>
          <cx:pt idx="20755">5</cx:pt>
          <cx:pt idx="20756">4</cx:pt>
          <cx:pt idx="20757">3</cx:pt>
          <cx:pt idx="20758">3</cx:pt>
          <cx:pt idx="20759">4</cx:pt>
          <cx:pt idx="20760">4</cx:pt>
          <cx:pt idx="20761">4</cx:pt>
          <cx:pt idx="20762">5</cx:pt>
          <cx:pt idx="20763">2</cx:pt>
          <cx:pt idx="20764">4</cx:pt>
          <cx:pt idx="20765">4</cx:pt>
          <cx:pt idx="20766">2</cx:pt>
          <cx:pt idx="20767">4</cx:pt>
          <cx:pt idx="20768">4</cx:pt>
          <cx:pt idx="20769">4</cx:pt>
          <cx:pt idx="20770">2</cx:pt>
          <cx:pt idx="20771">4</cx:pt>
          <cx:pt idx="20772">1</cx:pt>
          <cx:pt idx="20773">3</cx:pt>
          <cx:pt idx="20774">5</cx:pt>
          <cx:pt idx="20775">1</cx:pt>
          <cx:pt idx="20776">4</cx:pt>
          <cx:pt idx="20777">4</cx:pt>
          <cx:pt idx="20778">4</cx:pt>
          <cx:pt idx="20779">5</cx:pt>
          <cx:pt idx="20780">5</cx:pt>
          <cx:pt idx="20781">3</cx:pt>
          <cx:pt idx="20782">4</cx:pt>
          <cx:pt idx="20783">4</cx:pt>
          <cx:pt idx="20784">5</cx:pt>
          <cx:pt idx="20785">5</cx:pt>
          <cx:pt idx="20786">2</cx:pt>
          <cx:pt idx="20787">4</cx:pt>
          <cx:pt idx="20788">5</cx:pt>
          <cx:pt idx="20789">4</cx:pt>
          <cx:pt idx="20790">3</cx:pt>
          <cx:pt idx="20791">4</cx:pt>
          <cx:pt idx="20792">4</cx:pt>
          <cx:pt idx="20793">3</cx:pt>
          <cx:pt idx="20794">3</cx:pt>
          <cx:pt idx="20795">5</cx:pt>
          <cx:pt idx="20796">3</cx:pt>
          <cx:pt idx="20797">2</cx:pt>
          <cx:pt idx="20798">4</cx:pt>
          <cx:pt idx="20799">1</cx:pt>
          <cx:pt idx="20800">4</cx:pt>
          <cx:pt idx="20801">4</cx:pt>
          <cx:pt idx="20802">4</cx:pt>
          <cx:pt idx="20803">4</cx:pt>
          <cx:pt idx="20804">5</cx:pt>
          <cx:pt idx="20805">5</cx:pt>
          <cx:pt idx="20806">4</cx:pt>
          <cx:pt idx="20807">2</cx:pt>
          <cx:pt idx="20808">5</cx:pt>
          <cx:pt idx="20809">5</cx:pt>
          <cx:pt idx="20810">2</cx:pt>
          <cx:pt idx="20811">1</cx:pt>
          <cx:pt idx="20812">3</cx:pt>
          <cx:pt idx="20813">1</cx:pt>
          <cx:pt idx="20814">5</cx:pt>
          <cx:pt idx="20815">4</cx:pt>
          <cx:pt idx="20816">4</cx:pt>
          <cx:pt idx="20817">3</cx:pt>
          <cx:pt idx="20818">3</cx:pt>
          <cx:pt idx="20819">5</cx:pt>
          <cx:pt idx="20820">4</cx:pt>
          <cx:pt idx="20821">3</cx:pt>
          <cx:pt idx="20822">4</cx:pt>
          <cx:pt idx="20823">1</cx:pt>
          <cx:pt idx="20824">2</cx:pt>
          <cx:pt idx="20825">1</cx:pt>
          <cx:pt idx="20826">1</cx:pt>
          <cx:pt idx="20827">4</cx:pt>
          <cx:pt idx="20828">4</cx:pt>
          <cx:pt idx="20829">5</cx:pt>
          <cx:pt idx="20830">3</cx:pt>
          <cx:pt idx="20831">4</cx:pt>
          <cx:pt idx="20832">5</cx:pt>
          <cx:pt idx="20833">1</cx:pt>
          <cx:pt idx="20834">2</cx:pt>
          <cx:pt idx="20835">5</cx:pt>
          <cx:pt idx="20836">5</cx:pt>
          <cx:pt idx="20837">1</cx:pt>
          <cx:pt idx="20838">5</cx:pt>
          <cx:pt idx="20839">2</cx:pt>
          <cx:pt idx="20840">3</cx:pt>
          <cx:pt idx="20841">1</cx:pt>
          <cx:pt idx="20842">5</cx:pt>
          <cx:pt idx="20843">2</cx:pt>
          <cx:pt idx="20844">4</cx:pt>
          <cx:pt idx="20845">4</cx:pt>
          <cx:pt idx="20846">5</cx:pt>
          <cx:pt idx="20847">1</cx:pt>
          <cx:pt idx="20848">5</cx:pt>
          <cx:pt idx="20849">4</cx:pt>
          <cx:pt idx="20850">3</cx:pt>
          <cx:pt idx="20851">4</cx:pt>
          <cx:pt idx="20852">5</cx:pt>
          <cx:pt idx="20853">1</cx:pt>
          <cx:pt idx="20854">2</cx:pt>
          <cx:pt idx="20855">4</cx:pt>
          <cx:pt idx="20856">5</cx:pt>
          <cx:pt idx="20857">5</cx:pt>
          <cx:pt idx="20858">1</cx:pt>
          <cx:pt idx="20859">2</cx:pt>
          <cx:pt idx="20860">4</cx:pt>
          <cx:pt idx="20861">3</cx:pt>
          <cx:pt idx="20862">4</cx:pt>
          <cx:pt idx="20863">5</cx:pt>
          <cx:pt idx="20864">4</cx:pt>
          <cx:pt idx="20865">4</cx:pt>
          <cx:pt idx="20866">5</cx:pt>
          <cx:pt idx="20867">3</cx:pt>
          <cx:pt idx="20868">2</cx:pt>
          <cx:pt idx="20869">3</cx:pt>
          <cx:pt idx="20870">5</cx:pt>
          <cx:pt idx="20871">3</cx:pt>
          <cx:pt idx="20872">5</cx:pt>
          <cx:pt idx="20873">2</cx:pt>
          <cx:pt idx="20874">5</cx:pt>
          <cx:pt idx="20875">4</cx:pt>
          <cx:pt idx="20876">3</cx:pt>
          <cx:pt idx="20877">5</cx:pt>
          <cx:pt idx="20878">3</cx:pt>
          <cx:pt idx="20879">4</cx:pt>
          <cx:pt idx="20880">1</cx:pt>
          <cx:pt idx="20881">4</cx:pt>
          <cx:pt idx="20882">2</cx:pt>
          <cx:pt idx="20883">4</cx:pt>
          <cx:pt idx="20884">5</cx:pt>
          <cx:pt idx="20885">3</cx:pt>
          <cx:pt idx="20886">4</cx:pt>
          <cx:pt idx="20887">3</cx:pt>
          <cx:pt idx="20888">2</cx:pt>
          <cx:pt idx="20889">5</cx:pt>
          <cx:pt idx="20890">5</cx:pt>
          <cx:pt idx="20891">4</cx:pt>
          <cx:pt idx="20892">5</cx:pt>
          <cx:pt idx="20893">1</cx:pt>
          <cx:pt idx="20894">4</cx:pt>
          <cx:pt idx="20895">4</cx:pt>
          <cx:pt idx="20896">3</cx:pt>
          <cx:pt idx="20897">5</cx:pt>
          <cx:pt idx="20898">4</cx:pt>
          <cx:pt idx="20899">4</cx:pt>
          <cx:pt idx="20900">4</cx:pt>
          <cx:pt idx="20901">3</cx:pt>
          <cx:pt idx="20902">2</cx:pt>
          <cx:pt idx="20903">5</cx:pt>
          <cx:pt idx="20904">3</cx:pt>
          <cx:pt idx="20905">5</cx:pt>
          <cx:pt idx="20906">5</cx:pt>
          <cx:pt idx="20907">3</cx:pt>
          <cx:pt idx="20908">1</cx:pt>
          <cx:pt idx="20909">1</cx:pt>
          <cx:pt idx="20910">5</cx:pt>
          <cx:pt idx="20911">2</cx:pt>
          <cx:pt idx="20912">2</cx:pt>
          <cx:pt idx="20913">3</cx:pt>
          <cx:pt idx="20914">3</cx:pt>
          <cx:pt idx="20915">3</cx:pt>
          <cx:pt idx="20916">4</cx:pt>
          <cx:pt idx="20917">4</cx:pt>
          <cx:pt idx="20918">4</cx:pt>
          <cx:pt idx="20919">5</cx:pt>
          <cx:pt idx="20920">2</cx:pt>
          <cx:pt idx="20921">5</cx:pt>
          <cx:pt idx="20922">2</cx:pt>
          <cx:pt idx="20923">2</cx:pt>
          <cx:pt idx="20924">1</cx:pt>
          <cx:pt idx="20925">3</cx:pt>
          <cx:pt idx="20926">5</cx:pt>
          <cx:pt idx="20927">4</cx:pt>
          <cx:pt idx="20928">2</cx:pt>
          <cx:pt idx="20929">1</cx:pt>
          <cx:pt idx="20930">5</cx:pt>
          <cx:pt idx="20931">5</cx:pt>
          <cx:pt idx="20932">1</cx:pt>
          <cx:pt idx="20933">4</cx:pt>
          <cx:pt idx="20934">5</cx:pt>
          <cx:pt idx="20935">5</cx:pt>
          <cx:pt idx="20936">5</cx:pt>
          <cx:pt idx="20937">3</cx:pt>
          <cx:pt idx="20938">5</cx:pt>
          <cx:pt idx="20939">5</cx:pt>
          <cx:pt idx="20940">4</cx:pt>
          <cx:pt idx="20941">5</cx:pt>
          <cx:pt idx="20942">4</cx:pt>
          <cx:pt idx="20943">3</cx:pt>
          <cx:pt idx="20944">4</cx:pt>
          <cx:pt idx="20945">3</cx:pt>
          <cx:pt idx="20946">3</cx:pt>
          <cx:pt idx="20947">3</cx:pt>
          <cx:pt idx="20948">1</cx:pt>
          <cx:pt idx="20949">1</cx:pt>
          <cx:pt idx="20950">1</cx:pt>
          <cx:pt idx="20951">5</cx:pt>
          <cx:pt idx="20952">1</cx:pt>
          <cx:pt idx="20953">5</cx:pt>
          <cx:pt idx="20954">5</cx:pt>
          <cx:pt idx="20955">3</cx:pt>
          <cx:pt idx="20956">4</cx:pt>
          <cx:pt idx="20957">5</cx:pt>
          <cx:pt idx="20958">2</cx:pt>
          <cx:pt idx="20959">1</cx:pt>
          <cx:pt idx="20960">4</cx:pt>
          <cx:pt idx="20961">3</cx:pt>
          <cx:pt idx="20962">1</cx:pt>
          <cx:pt idx="20963">4</cx:pt>
          <cx:pt idx="20964">3</cx:pt>
          <cx:pt idx="20965">1</cx:pt>
          <cx:pt idx="20966">3</cx:pt>
          <cx:pt idx="20967">3</cx:pt>
          <cx:pt idx="20968">4</cx:pt>
          <cx:pt idx="20969">3</cx:pt>
          <cx:pt idx="20970">3</cx:pt>
          <cx:pt idx="20971">3</cx:pt>
          <cx:pt idx="20972">2</cx:pt>
          <cx:pt idx="20973">3</cx:pt>
          <cx:pt idx="20974">4</cx:pt>
          <cx:pt idx="20975">3</cx:pt>
          <cx:pt idx="20976">1</cx:pt>
          <cx:pt idx="20977">4</cx:pt>
          <cx:pt idx="20978">5</cx:pt>
          <cx:pt idx="20979">2</cx:pt>
          <cx:pt idx="20980">5</cx:pt>
          <cx:pt idx="20981">1</cx:pt>
          <cx:pt idx="20982">1</cx:pt>
          <cx:pt idx="20983">3</cx:pt>
          <cx:pt idx="20984">2</cx:pt>
          <cx:pt idx="20985">3</cx:pt>
          <cx:pt idx="20986">1</cx:pt>
          <cx:pt idx="20987">5</cx:pt>
          <cx:pt idx="20988">5</cx:pt>
          <cx:pt idx="20989">4</cx:pt>
          <cx:pt idx="20990">5</cx:pt>
          <cx:pt idx="20991">4</cx:pt>
          <cx:pt idx="20992">2</cx:pt>
          <cx:pt idx="20993">4</cx:pt>
          <cx:pt idx="20994">4</cx:pt>
          <cx:pt idx="20995">4</cx:pt>
          <cx:pt idx="20996">5</cx:pt>
          <cx:pt idx="20997">4</cx:pt>
          <cx:pt idx="20998">4</cx:pt>
          <cx:pt idx="20999">4</cx:pt>
          <cx:pt idx="21000">5</cx:pt>
          <cx:pt idx="21001">4</cx:pt>
          <cx:pt idx="21002">4</cx:pt>
          <cx:pt idx="21003">5</cx:pt>
          <cx:pt idx="21004">4</cx:pt>
          <cx:pt idx="21005">1</cx:pt>
          <cx:pt idx="21006">3</cx:pt>
          <cx:pt idx="21007">2</cx:pt>
          <cx:pt idx="21008">4</cx:pt>
          <cx:pt idx="21009">1</cx:pt>
          <cx:pt idx="21010">5</cx:pt>
          <cx:pt idx="21011">4</cx:pt>
          <cx:pt idx="21012">5</cx:pt>
          <cx:pt idx="21013">4</cx:pt>
          <cx:pt idx="21014">5</cx:pt>
          <cx:pt idx="21015">4</cx:pt>
          <cx:pt idx="21016">1</cx:pt>
          <cx:pt idx="21017">4</cx:pt>
          <cx:pt idx="21018">1</cx:pt>
          <cx:pt idx="21019">2</cx:pt>
          <cx:pt idx="21020">2</cx:pt>
          <cx:pt idx="21021">2</cx:pt>
          <cx:pt idx="21022">2</cx:pt>
          <cx:pt idx="21023">4</cx:pt>
          <cx:pt idx="21024">5</cx:pt>
          <cx:pt idx="21025">2</cx:pt>
          <cx:pt idx="21026">5</cx:pt>
          <cx:pt idx="21027">5</cx:pt>
          <cx:pt idx="21028">5</cx:pt>
          <cx:pt idx="21029">5</cx:pt>
          <cx:pt idx="21030">1</cx:pt>
          <cx:pt idx="21031">5</cx:pt>
          <cx:pt idx="21032">3</cx:pt>
          <cx:pt idx="21033">5</cx:pt>
          <cx:pt idx="21034">4</cx:pt>
          <cx:pt idx="21035">5</cx:pt>
          <cx:pt idx="21036">5</cx:pt>
          <cx:pt idx="21037">1</cx:pt>
          <cx:pt idx="21038">3</cx:pt>
          <cx:pt idx="21039">2</cx:pt>
          <cx:pt idx="21040">2</cx:pt>
          <cx:pt idx="21041">4</cx:pt>
          <cx:pt idx="21042">3</cx:pt>
          <cx:pt idx="21043">5</cx:pt>
          <cx:pt idx="21044">4</cx:pt>
          <cx:pt idx="21045">3</cx:pt>
          <cx:pt idx="21046">5</cx:pt>
          <cx:pt idx="21047">4</cx:pt>
          <cx:pt idx="21048">5</cx:pt>
          <cx:pt idx="21049">4</cx:pt>
          <cx:pt idx="21050">1</cx:pt>
          <cx:pt idx="21051">2</cx:pt>
          <cx:pt idx="21052">5</cx:pt>
          <cx:pt idx="21053">4</cx:pt>
          <cx:pt idx="21054">1</cx:pt>
          <cx:pt idx="21055">4</cx:pt>
          <cx:pt idx="21056">4</cx:pt>
          <cx:pt idx="21057">2</cx:pt>
          <cx:pt idx="21058">2</cx:pt>
          <cx:pt idx="21059">4</cx:pt>
          <cx:pt idx="21060">4</cx:pt>
          <cx:pt idx="21061">4</cx:pt>
          <cx:pt idx="21062">5</cx:pt>
          <cx:pt idx="21063">4</cx:pt>
          <cx:pt idx="21064">3</cx:pt>
          <cx:pt idx="21065">5</cx:pt>
          <cx:pt idx="21066">2</cx:pt>
          <cx:pt idx="21067">4</cx:pt>
          <cx:pt idx="21068">5</cx:pt>
          <cx:pt idx="21069">3</cx:pt>
          <cx:pt idx="21070">1</cx:pt>
          <cx:pt idx="21071">2</cx:pt>
          <cx:pt idx="21072">4</cx:pt>
          <cx:pt idx="21073">4</cx:pt>
          <cx:pt idx="21074">4</cx:pt>
          <cx:pt idx="21075">2</cx:pt>
          <cx:pt idx="21076">5</cx:pt>
          <cx:pt idx="21077">5</cx:pt>
          <cx:pt idx="21078">4</cx:pt>
          <cx:pt idx="21079">4</cx:pt>
          <cx:pt idx="21080">2</cx:pt>
          <cx:pt idx="21081">3</cx:pt>
          <cx:pt idx="21082">3</cx:pt>
          <cx:pt idx="21083">5</cx:pt>
          <cx:pt idx="21084">4</cx:pt>
          <cx:pt idx="21085">1</cx:pt>
          <cx:pt idx="21086">2</cx:pt>
          <cx:pt idx="21087">3</cx:pt>
          <cx:pt idx="21088">4</cx:pt>
          <cx:pt idx="21089">4</cx:pt>
          <cx:pt idx="21090">4</cx:pt>
          <cx:pt idx="21091">4</cx:pt>
          <cx:pt idx="21092">2</cx:pt>
          <cx:pt idx="21093">1</cx:pt>
          <cx:pt idx="21094">1</cx:pt>
          <cx:pt idx="21095">1</cx:pt>
          <cx:pt idx="21096">4</cx:pt>
          <cx:pt idx="21097">5</cx:pt>
          <cx:pt idx="21098">4</cx:pt>
          <cx:pt idx="21099">1</cx:pt>
          <cx:pt idx="21100">3</cx:pt>
          <cx:pt idx="21101">4</cx:pt>
          <cx:pt idx="21102">4</cx:pt>
          <cx:pt idx="21103">5</cx:pt>
          <cx:pt idx="21104">1</cx:pt>
          <cx:pt idx="21105">2</cx:pt>
          <cx:pt idx="21106">1</cx:pt>
          <cx:pt idx="21107">2</cx:pt>
          <cx:pt idx="21108">1</cx:pt>
          <cx:pt idx="21109">4</cx:pt>
          <cx:pt idx="21110">3</cx:pt>
          <cx:pt idx="21111">3</cx:pt>
          <cx:pt idx="21112">4</cx:pt>
          <cx:pt idx="21113">2</cx:pt>
          <cx:pt idx="21114">3</cx:pt>
          <cx:pt idx="21115">1</cx:pt>
          <cx:pt idx="21116">4</cx:pt>
          <cx:pt idx="21117">4</cx:pt>
          <cx:pt idx="21118">2</cx:pt>
          <cx:pt idx="21119">3</cx:pt>
          <cx:pt idx="21120">5</cx:pt>
          <cx:pt idx="21121">5</cx:pt>
          <cx:pt idx="21122">5</cx:pt>
          <cx:pt idx="21123">5</cx:pt>
          <cx:pt idx="21124">3</cx:pt>
          <cx:pt idx="21125">4</cx:pt>
          <cx:pt idx="21126">3</cx:pt>
          <cx:pt idx="21127">2</cx:pt>
          <cx:pt idx="21128">2</cx:pt>
          <cx:pt idx="21129">4</cx:pt>
          <cx:pt idx="21130">1</cx:pt>
          <cx:pt idx="21131">2</cx:pt>
          <cx:pt idx="21132">4</cx:pt>
          <cx:pt idx="21133">2</cx:pt>
          <cx:pt idx="21134">3</cx:pt>
          <cx:pt idx="21135">4</cx:pt>
          <cx:pt idx="21136">5</cx:pt>
          <cx:pt idx="21137">3</cx:pt>
          <cx:pt idx="21138">4</cx:pt>
          <cx:pt idx="21139">5</cx:pt>
          <cx:pt idx="21140">3</cx:pt>
          <cx:pt idx="21141">2</cx:pt>
          <cx:pt idx="21142">3</cx:pt>
          <cx:pt idx="21143">2</cx:pt>
          <cx:pt idx="21144">5</cx:pt>
          <cx:pt idx="21145">2</cx:pt>
          <cx:pt idx="21146">2</cx:pt>
          <cx:pt idx="21147">3</cx:pt>
          <cx:pt idx="21148">4</cx:pt>
          <cx:pt idx="21149">5</cx:pt>
          <cx:pt idx="21150">3</cx:pt>
          <cx:pt idx="21151">4</cx:pt>
          <cx:pt idx="21152">4</cx:pt>
          <cx:pt idx="21153">5</cx:pt>
          <cx:pt idx="21154">4</cx:pt>
          <cx:pt idx="21155">4</cx:pt>
          <cx:pt idx="21156">4</cx:pt>
          <cx:pt idx="21157">2</cx:pt>
          <cx:pt idx="21158">1</cx:pt>
          <cx:pt idx="21159">1</cx:pt>
          <cx:pt idx="21160">5</cx:pt>
          <cx:pt idx="21161">5</cx:pt>
          <cx:pt idx="21162">5</cx:pt>
          <cx:pt idx="21163">2</cx:pt>
          <cx:pt idx="21164">3</cx:pt>
          <cx:pt idx="21165">4</cx:pt>
          <cx:pt idx="21166">2</cx:pt>
          <cx:pt idx="21167">1</cx:pt>
          <cx:pt idx="21168">4</cx:pt>
          <cx:pt idx="21169">5</cx:pt>
          <cx:pt idx="21170">2</cx:pt>
          <cx:pt idx="21171">4</cx:pt>
          <cx:pt idx="21172">4</cx:pt>
          <cx:pt idx="21173">4</cx:pt>
          <cx:pt idx="21174">5</cx:pt>
          <cx:pt idx="21175">4</cx:pt>
          <cx:pt idx="21176">4</cx:pt>
          <cx:pt idx="21177">4</cx:pt>
          <cx:pt idx="21178">2</cx:pt>
          <cx:pt idx="21179">4</cx:pt>
          <cx:pt idx="21180">4</cx:pt>
          <cx:pt idx="21181">1</cx:pt>
          <cx:pt idx="21182">3</cx:pt>
          <cx:pt idx="21183">3</cx:pt>
          <cx:pt idx="21184">1</cx:pt>
          <cx:pt idx="21185">4</cx:pt>
          <cx:pt idx="21186">5</cx:pt>
          <cx:pt idx="21187">3</cx:pt>
          <cx:pt idx="21188">4</cx:pt>
          <cx:pt idx="21189">1</cx:pt>
          <cx:pt idx="21190">3</cx:pt>
          <cx:pt idx="21191">1</cx:pt>
          <cx:pt idx="21192">1</cx:pt>
          <cx:pt idx="21193">3</cx:pt>
          <cx:pt idx="21194">3</cx:pt>
          <cx:pt idx="21195">1</cx:pt>
          <cx:pt idx="21196">4</cx:pt>
          <cx:pt idx="21197">3</cx:pt>
          <cx:pt idx="21198">5</cx:pt>
          <cx:pt idx="21199">1</cx:pt>
          <cx:pt idx="21200">4</cx:pt>
          <cx:pt idx="21201">1</cx:pt>
          <cx:pt idx="21202">4</cx:pt>
          <cx:pt idx="21203">4</cx:pt>
          <cx:pt idx="21204">1</cx:pt>
          <cx:pt idx="21205">3</cx:pt>
          <cx:pt idx="21206">4</cx:pt>
          <cx:pt idx="21207">4</cx:pt>
          <cx:pt idx="21208">5</cx:pt>
          <cx:pt idx="21209">2</cx:pt>
          <cx:pt idx="21210">5</cx:pt>
          <cx:pt idx="21211">3</cx:pt>
          <cx:pt idx="21212">3</cx:pt>
          <cx:pt idx="21213">5</cx:pt>
          <cx:pt idx="21214">4</cx:pt>
          <cx:pt idx="21215">1</cx:pt>
          <cx:pt idx="21216">4</cx:pt>
          <cx:pt idx="21217">4</cx:pt>
          <cx:pt idx="21218">4</cx:pt>
          <cx:pt idx="21219">4</cx:pt>
          <cx:pt idx="21220">3</cx:pt>
          <cx:pt idx="21221">3</cx:pt>
          <cx:pt idx="21222">1</cx:pt>
          <cx:pt idx="21223">3</cx:pt>
          <cx:pt idx="21224">3</cx:pt>
          <cx:pt idx="21225">5</cx:pt>
          <cx:pt idx="21226">2</cx:pt>
          <cx:pt idx="21227">4</cx:pt>
          <cx:pt idx="21228">2</cx:pt>
          <cx:pt idx="21229">3</cx:pt>
          <cx:pt idx="21230">2</cx:pt>
          <cx:pt idx="21231">5</cx:pt>
          <cx:pt idx="21232">5</cx:pt>
          <cx:pt idx="21233">1</cx:pt>
          <cx:pt idx="21234">2</cx:pt>
          <cx:pt idx="21235">4</cx:pt>
          <cx:pt idx="21236">3</cx:pt>
          <cx:pt idx="21237">4</cx:pt>
          <cx:pt idx="21238">3</cx:pt>
          <cx:pt idx="21239">5</cx:pt>
          <cx:pt idx="21240">5</cx:pt>
          <cx:pt idx="21241">5</cx:pt>
          <cx:pt idx="21242">2</cx:pt>
          <cx:pt idx="21243">1</cx:pt>
          <cx:pt idx="21244">4</cx:pt>
          <cx:pt idx="21245">4</cx:pt>
          <cx:pt idx="21246">4</cx:pt>
          <cx:pt idx="21247">3</cx:pt>
          <cx:pt idx="21248">4</cx:pt>
          <cx:pt idx="21249">4</cx:pt>
          <cx:pt idx="21250">5</cx:pt>
          <cx:pt idx="21251">3</cx:pt>
          <cx:pt idx="21252">4</cx:pt>
          <cx:pt idx="21253">5</cx:pt>
          <cx:pt idx="21254">4</cx:pt>
          <cx:pt idx="21255">1</cx:pt>
          <cx:pt idx="21256">1</cx:pt>
          <cx:pt idx="21257">4</cx:pt>
          <cx:pt idx="21258">2</cx:pt>
          <cx:pt idx="21259">2</cx:pt>
          <cx:pt idx="21260">5</cx:pt>
          <cx:pt idx="21261">1</cx:pt>
          <cx:pt idx="21262">4</cx:pt>
          <cx:pt idx="21263">3</cx:pt>
          <cx:pt idx="21264">4</cx:pt>
          <cx:pt idx="21265">2</cx:pt>
          <cx:pt idx="21266">5</cx:pt>
          <cx:pt idx="21267">4</cx:pt>
          <cx:pt idx="21268">4</cx:pt>
          <cx:pt idx="21269">5</cx:pt>
          <cx:pt idx="21270">4</cx:pt>
          <cx:pt idx="21271">4</cx:pt>
          <cx:pt idx="21272">4</cx:pt>
          <cx:pt idx="21273">4</cx:pt>
          <cx:pt idx="21274">5</cx:pt>
          <cx:pt idx="21275">4</cx:pt>
          <cx:pt idx="21276">5</cx:pt>
          <cx:pt idx="21277">4</cx:pt>
          <cx:pt idx="21278">3</cx:pt>
          <cx:pt idx="21279">3</cx:pt>
          <cx:pt idx="21280">3</cx:pt>
          <cx:pt idx="21281">5</cx:pt>
          <cx:pt idx="21282">5</cx:pt>
          <cx:pt idx="21283">5</cx:pt>
          <cx:pt idx="21284">5</cx:pt>
          <cx:pt idx="21285">2</cx:pt>
          <cx:pt idx="21286">4</cx:pt>
          <cx:pt idx="21287">3</cx:pt>
          <cx:pt idx="21288">2</cx:pt>
          <cx:pt idx="21289">3</cx:pt>
          <cx:pt idx="21290">3</cx:pt>
          <cx:pt idx="21291">5</cx:pt>
          <cx:pt idx="21292">4</cx:pt>
          <cx:pt idx="21293">5</cx:pt>
          <cx:pt idx="21294">4</cx:pt>
          <cx:pt idx="21295">3</cx:pt>
          <cx:pt idx="21296">2</cx:pt>
          <cx:pt idx="21297">3</cx:pt>
          <cx:pt idx="21298">4</cx:pt>
          <cx:pt idx="21299">5</cx:pt>
          <cx:pt idx="21300">5</cx:pt>
          <cx:pt idx="21301">2</cx:pt>
          <cx:pt idx="21302">1</cx:pt>
          <cx:pt idx="21303">1</cx:pt>
          <cx:pt idx="21304">5</cx:pt>
          <cx:pt idx="21305">5</cx:pt>
          <cx:pt idx="21306">4</cx:pt>
          <cx:pt idx="21307">3</cx:pt>
          <cx:pt idx="21308">2</cx:pt>
          <cx:pt idx="21309">2</cx:pt>
          <cx:pt idx="21310">4</cx:pt>
          <cx:pt idx="21311">3</cx:pt>
          <cx:pt idx="21312">5</cx:pt>
          <cx:pt idx="21313">5</cx:pt>
          <cx:pt idx="21314">4</cx:pt>
          <cx:pt idx="21315">1</cx:pt>
          <cx:pt idx="21316">4</cx:pt>
          <cx:pt idx="21317">4</cx:pt>
          <cx:pt idx="21318">5</cx:pt>
          <cx:pt idx="21319">3</cx:pt>
          <cx:pt idx="21320">3</cx:pt>
          <cx:pt idx="21321">4</cx:pt>
          <cx:pt idx="21322">5</cx:pt>
          <cx:pt idx="21323">1</cx:pt>
          <cx:pt idx="21324">4</cx:pt>
          <cx:pt idx="21325">1</cx:pt>
          <cx:pt idx="21326">1</cx:pt>
          <cx:pt idx="21327">4</cx:pt>
          <cx:pt idx="21328">3</cx:pt>
          <cx:pt idx="21329">4</cx:pt>
          <cx:pt idx="21330">4</cx:pt>
          <cx:pt idx="21331">5</cx:pt>
          <cx:pt idx="21332">5</cx:pt>
          <cx:pt idx="21333">3</cx:pt>
          <cx:pt idx="21334">4</cx:pt>
          <cx:pt idx="21335">5</cx:pt>
          <cx:pt idx="21336">2</cx:pt>
          <cx:pt idx="21337">5</cx:pt>
          <cx:pt idx="21338">5</cx:pt>
          <cx:pt idx="21339">4</cx:pt>
          <cx:pt idx="21340">5</cx:pt>
          <cx:pt idx="21341">1</cx:pt>
          <cx:pt idx="21342">4</cx:pt>
          <cx:pt idx="21343">4</cx:pt>
          <cx:pt idx="21344">5</cx:pt>
          <cx:pt idx="21345">4</cx:pt>
          <cx:pt idx="21346">5</cx:pt>
          <cx:pt idx="21347">3</cx:pt>
          <cx:pt idx="21348">3</cx:pt>
          <cx:pt idx="21349">1</cx:pt>
          <cx:pt idx="21350">5</cx:pt>
          <cx:pt idx="21351">4</cx:pt>
          <cx:pt idx="21352">5</cx:pt>
          <cx:pt idx="21353">1</cx:pt>
          <cx:pt idx="21354">2</cx:pt>
          <cx:pt idx="21355">1</cx:pt>
          <cx:pt idx="21356">5</cx:pt>
          <cx:pt idx="21357">2</cx:pt>
          <cx:pt idx="21358">4</cx:pt>
          <cx:pt idx="21359">2</cx:pt>
          <cx:pt idx="21360">1</cx:pt>
          <cx:pt idx="21361">5</cx:pt>
          <cx:pt idx="21362">1</cx:pt>
          <cx:pt idx="21363">3</cx:pt>
          <cx:pt idx="21364">4</cx:pt>
          <cx:pt idx="21365">4</cx:pt>
          <cx:pt idx="21366">5</cx:pt>
          <cx:pt idx="21367">5</cx:pt>
          <cx:pt idx="21368">4</cx:pt>
          <cx:pt idx="21369">2</cx:pt>
          <cx:pt idx="21370">4</cx:pt>
          <cx:pt idx="21371">2</cx:pt>
          <cx:pt idx="21372">4</cx:pt>
          <cx:pt idx="21373">5</cx:pt>
          <cx:pt idx="21374">1</cx:pt>
          <cx:pt idx="21375">5</cx:pt>
          <cx:pt idx="21376">3</cx:pt>
          <cx:pt idx="21377">3</cx:pt>
          <cx:pt idx="21378">1</cx:pt>
          <cx:pt idx="21379">5</cx:pt>
          <cx:pt idx="21380">2</cx:pt>
          <cx:pt idx="21381">4</cx:pt>
          <cx:pt idx="21382">5</cx:pt>
          <cx:pt idx="21383">5</cx:pt>
          <cx:pt idx="21384">5</cx:pt>
          <cx:pt idx="21385">3</cx:pt>
          <cx:pt idx="21386">1</cx:pt>
          <cx:pt idx="21387">2</cx:pt>
          <cx:pt idx="21388">3</cx:pt>
          <cx:pt idx="21389">3</cx:pt>
          <cx:pt idx="21390">3</cx:pt>
          <cx:pt idx="21391">1</cx:pt>
          <cx:pt idx="21392">1</cx:pt>
          <cx:pt idx="21393">4</cx:pt>
          <cx:pt idx="21394">4</cx:pt>
          <cx:pt idx="21395">3</cx:pt>
          <cx:pt idx="21396">3</cx:pt>
          <cx:pt idx="21397">4</cx:pt>
          <cx:pt idx="21398">1</cx:pt>
          <cx:pt idx="21399">5</cx:pt>
          <cx:pt idx="21400">5</cx:pt>
          <cx:pt idx="21401">1</cx:pt>
          <cx:pt idx="21402">3</cx:pt>
          <cx:pt idx="21403">4</cx:pt>
          <cx:pt idx="21404">2</cx:pt>
          <cx:pt idx="21405">2</cx:pt>
          <cx:pt idx="21406">5</cx:pt>
          <cx:pt idx="21407">3</cx:pt>
          <cx:pt idx="21408">3</cx:pt>
          <cx:pt idx="21409">3</cx:pt>
          <cx:pt idx="21410">1</cx:pt>
          <cx:pt idx="21411">5</cx:pt>
          <cx:pt idx="21412">2</cx:pt>
          <cx:pt idx="21413">5</cx:pt>
          <cx:pt idx="21414">4</cx:pt>
          <cx:pt idx="21415">4</cx:pt>
          <cx:pt idx="21416">5</cx:pt>
          <cx:pt idx="21417">3</cx:pt>
          <cx:pt idx="21418">3</cx:pt>
          <cx:pt idx="21419">2</cx:pt>
          <cx:pt idx="21420">3</cx:pt>
          <cx:pt idx="21421">2</cx:pt>
          <cx:pt idx="21422">1</cx:pt>
          <cx:pt idx="21423">4</cx:pt>
          <cx:pt idx="21424">3</cx:pt>
          <cx:pt idx="21425">4</cx:pt>
          <cx:pt idx="21426">4</cx:pt>
          <cx:pt idx="21427">5</cx:pt>
          <cx:pt idx="21428">4</cx:pt>
          <cx:pt idx="21429">2</cx:pt>
          <cx:pt idx="21430">5</cx:pt>
          <cx:pt idx="21431">3</cx:pt>
          <cx:pt idx="21432">3</cx:pt>
          <cx:pt idx="21433">5</cx:pt>
          <cx:pt idx="21434">3</cx:pt>
          <cx:pt idx="21435">4</cx:pt>
          <cx:pt idx="21436">5</cx:pt>
          <cx:pt idx="21437">1</cx:pt>
          <cx:pt idx="21438">5</cx:pt>
          <cx:pt idx="21439">5</cx:pt>
          <cx:pt idx="21440">5</cx:pt>
          <cx:pt idx="21441">3</cx:pt>
          <cx:pt idx="21442">2</cx:pt>
          <cx:pt idx="21443">4</cx:pt>
          <cx:pt idx="21444">4</cx:pt>
          <cx:pt idx="21445">3</cx:pt>
          <cx:pt idx="21446">1</cx:pt>
          <cx:pt idx="21447">2</cx:pt>
          <cx:pt idx="21448">4</cx:pt>
          <cx:pt idx="21449">3</cx:pt>
          <cx:pt idx="21450">2</cx:pt>
          <cx:pt idx="21451">3</cx:pt>
          <cx:pt idx="21452">5</cx:pt>
          <cx:pt idx="21453">1</cx:pt>
          <cx:pt idx="21454">3</cx:pt>
          <cx:pt idx="21455">4</cx:pt>
          <cx:pt idx="21456">1</cx:pt>
          <cx:pt idx="21457">4</cx:pt>
          <cx:pt idx="21458">5</cx:pt>
          <cx:pt idx="21459">3</cx:pt>
          <cx:pt idx="21460">4</cx:pt>
          <cx:pt idx="21461">5</cx:pt>
          <cx:pt idx="21462">1</cx:pt>
          <cx:pt idx="21463">4</cx:pt>
          <cx:pt idx="21464">5</cx:pt>
          <cx:pt idx="21465">4</cx:pt>
          <cx:pt idx="21466">2</cx:pt>
          <cx:pt idx="21467">2</cx:pt>
          <cx:pt idx="21468">3</cx:pt>
          <cx:pt idx="21469">2</cx:pt>
          <cx:pt idx="21470">4</cx:pt>
          <cx:pt idx="21471">5</cx:pt>
          <cx:pt idx="21472">4</cx:pt>
          <cx:pt idx="21473">5</cx:pt>
          <cx:pt idx="21474">1</cx:pt>
          <cx:pt idx="21475">5</cx:pt>
          <cx:pt idx="21476">5</cx:pt>
          <cx:pt idx="21477">5</cx:pt>
          <cx:pt idx="21478">3</cx:pt>
          <cx:pt idx="21479">2</cx:pt>
          <cx:pt idx="21480">4</cx:pt>
          <cx:pt idx="21481">4</cx:pt>
          <cx:pt idx="21482">3</cx:pt>
          <cx:pt idx="21483">5</cx:pt>
          <cx:pt idx="21484">5</cx:pt>
          <cx:pt idx="21485">1</cx:pt>
          <cx:pt idx="21486">3</cx:pt>
          <cx:pt idx="21487">4</cx:pt>
          <cx:pt idx="21488">1</cx:pt>
          <cx:pt idx="21489">2</cx:pt>
          <cx:pt idx="21490">4</cx:pt>
          <cx:pt idx="21491">5</cx:pt>
          <cx:pt idx="21492">3</cx:pt>
          <cx:pt idx="21493">5</cx:pt>
          <cx:pt idx="21494">4</cx:pt>
          <cx:pt idx="21495">3</cx:pt>
          <cx:pt idx="21496">3</cx:pt>
          <cx:pt idx="21497">5</cx:pt>
          <cx:pt idx="21498">1</cx:pt>
          <cx:pt idx="21499">2</cx:pt>
          <cx:pt idx="21500">4</cx:pt>
          <cx:pt idx="21501">4</cx:pt>
          <cx:pt idx="21502">4</cx:pt>
          <cx:pt idx="21503">4</cx:pt>
          <cx:pt idx="21504">4</cx:pt>
          <cx:pt idx="21505">1</cx:pt>
          <cx:pt idx="21506">4</cx:pt>
          <cx:pt idx="21507">5</cx:pt>
          <cx:pt idx="21508">4</cx:pt>
          <cx:pt idx="21509">4</cx:pt>
          <cx:pt idx="21510">4</cx:pt>
          <cx:pt idx="21511">5</cx:pt>
          <cx:pt idx="21512">3</cx:pt>
          <cx:pt idx="21513">2</cx:pt>
          <cx:pt idx="21514">3</cx:pt>
          <cx:pt idx="21515">4</cx:pt>
          <cx:pt idx="21516">5</cx:pt>
          <cx:pt idx="21517">4</cx:pt>
          <cx:pt idx="21518">5</cx:pt>
          <cx:pt idx="21519">5</cx:pt>
          <cx:pt idx="21520">5</cx:pt>
          <cx:pt idx="21521">5</cx:pt>
          <cx:pt idx="21522">2</cx:pt>
          <cx:pt idx="21523">4</cx:pt>
          <cx:pt idx="21524">3</cx:pt>
          <cx:pt idx="21525">4</cx:pt>
          <cx:pt idx="21526">4</cx:pt>
          <cx:pt idx="21527">5</cx:pt>
          <cx:pt idx="21528">3</cx:pt>
          <cx:pt idx="21529">1</cx:pt>
          <cx:pt idx="21530">4</cx:pt>
          <cx:pt idx="21531">4</cx:pt>
          <cx:pt idx="21532">5</cx:pt>
          <cx:pt idx="21533">4</cx:pt>
          <cx:pt idx="21534">1</cx:pt>
          <cx:pt idx="21535">5</cx:pt>
          <cx:pt idx="21536">4</cx:pt>
          <cx:pt idx="21537">5</cx:pt>
          <cx:pt idx="21538">3</cx:pt>
          <cx:pt idx="21539">5</cx:pt>
          <cx:pt idx="21540">1</cx:pt>
          <cx:pt idx="21541">3</cx:pt>
          <cx:pt idx="21542">3</cx:pt>
          <cx:pt idx="21543">1</cx:pt>
          <cx:pt idx="21544">1</cx:pt>
          <cx:pt idx="21545">4</cx:pt>
          <cx:pt idx="21546">4</cx:pt>
          <cx:pt idx="21547">4</cx:pt>
          <cx:pt idx="21548">5</cx:pt>
          <cx:pt idx="21549">2</cx:pt>
          <cx:pt idx="21550">5</cx:pt>
          <cx:pt idx="21551">3</cx:pt>
          <cx:pt idx="21552">4</cx:pt>
          <cx:pt idx="21553">3</cx:pt>
          <cx:pt idx="21554">5</cx:pt>
          <cx:pt idx="21555">1</cx:pt>
          <cx:pt idx="21556">5</cx:pt>
          <cx:pt idx="21557">5</cx:pt>
          <cx:pt idx="21558">4</cx:pt>
          <cx:pt idx="21559">1</cx:pt>
          <cx:pt idx="21560">5</cx:pt>
          <cx:pt idx="21561">4</cx:pt>
          <cx:pt idx="21562">2</cx:pt>
          <cx:pt idx="21563">5</cx:pt>
          <cx:pt idx="21564">5</cx:pt>
          <cx:pt idx="21565">4</cx:pt>
          <cx:pt idx="21566">5</cx:pt>
          <cx:pt idx="21567">3</cx:pt>
          <cx:pt idx="21568">3</cx:pt>
          <cx:pt idx="21569">3</cx:pt>
          <cx:pt idx="21570">4</cx:pt>
          <cx:pt idx="21571">2</cx:pt>
          <cx:pt idx="21572">5</cx:pt>
          <cx:pt idx="21573">1</cx:pt>
          <cx:pt idx="21574">1</cx:pt>
          <cx:pt idx="21575">5</cx:pt>
          <cx:pt idx="21576">1</cx:pt>
          <cx:pt idx="21577">3</cx:pt>
          <cx:pt idx="21578">4</cx:pt>
          <cx:pt idx="21579">3</cx:pt>
          <cx:pt idx="21580">5</cx:pt>
          <cx:pt idx="21581">4</cx:pt>
          <cx:pt idx="21582">4</cx:pt>
          <cx:pt idx="21583">1</cx:pt>
          <cx:pt idx="21584">4</cx:pt>
          <cx:pt idx="21585">4</cx:pt>
          <cx:pt idx="21586">5</cx:pt>
          <cx:pt idx="21587">5</cx:pt>
          <cx:pt idx="21588">4</cx:pt>
          <cx:pt idx="21589">5</cx:pt>
          <cx:pt idx="21590">5</cx:pt>
          <cx:pt idx="21591">4</cx:pt>
          <cx:pt idx="21592">5</cx:pt>
          <cx:pt idx="21593">4</cx:pt>
          <cx:pt idx="21594">5</cx:pt>
          <cx:pt idx="21595">4</cx:pt>
          <cx:pt idx="21596">4</cx:pt>
          <cx:pt idx="21597">1</cx:pt>
          <cx:pt idx="21598">1</cx:pt>
          <cx:pt idx="21599">5</cx:pt>
          <cx:pt idx="21600">4</cx:pt>
          <cx:pt idx="21601">5</cx:pt>
          <cx:pt idx="21602">4</cx:pt>
          <cx:pt idx="21603">2</cx:pt>
          <cx:pt idx="21604">4</cx:pt>
          <cx:pt idx="21605">4</cx:pt>
          <cx:pt idx="21606">2</cx:pt>
          <cx:pt idx="21607">2</cx:pt>
          <cx:pt idx="21608">2</cx:pt>
          <cx:pt idx="21609">5</cx:pt>
          <cx:pt idx="21610">5</cx:pt>
          <cx:pt idx="21611">4</cx:pt>
          <cx:pt idx="21612">5</cx:pt>
          <cx:pt idx="21613">3</cx:pt>
          <cx:pt idx="21614">5</cx:pt>
          <cx:pt idx="21615">1</cx:pt>
          <cx:pt idx="21616">5</cx:pt>
          <cx:pt idx="21617">4</cx:pt>
          <cx:pt idx="21618">3</cx:pt>
          <cx:pt idx="21619">2</cx:pt>
          <cx:pt idx="21620">4</cx:pt>
          <cx:pt idx="21621">1</cx:pt>
          <cx:pt idx="21622">2</cx:pt>
          <cx:pt idx="21623">3</cx:pt>
          <cx:pt idx="21624">5</cx:pt>
          <cx:pt idx="21625">4</cx:pt>
          <cx:pt idx="21626">5</cx:pt>
          <cx:pt idx="21627">4</cx:pt>
          <cx:pt idx="21628">3</cx:pt>
          <cx:pt idx="21629">5</cx:pt>
          <cx:pt idx="21630">2</cx:pt>
          <cx:pt idx="21631">3</cx:pt>
          <cx:pt idx="21632">4</cx:pt>
          <cx:pt idx="21633">4</cx:pt>
          <cx:pt idx="21634">4</cx:pt>
          <cx:pt idx="21635">5</cx:pt>
          <cx:pt idx="21636">3</cx:pt>
          <cx:pt idx="21637">4</cx:pt>
          <cx:pt idx="21638">5</cx:pt>
          <cx:pt idx="21639">2</cx:pt>
          <cx:pt idx="21640">5</cx:pt>
          <cx:pt idx="21641">3</cx:pt>
          <cx:pt idx="21642">5</cx:pt>
          <cx:pt idx="21643">4</cx:pt>
          <cx:pt idx="21644">4</cx:pt>
          <cx:pt idx="21645">5</cx:pt>
          <cx:pt idx="21646">4</cx:pt>
          <cx:pt idx="21647">3</cx:pt>
          <cx:pt idx="21648">1</cx:pt>
          <cx:pt idx="21649">1</cx:pt>
          <cx:pt idx="21650">4</cx:pt>
          <cx:pt idx="21651">4</cx:pt>
          <cx:pt idx="21652">5</cx:pt>
          <cx:pt idx="21653">4</cx:pt>
          <cx:pt idx="21654">5</cx:pt>
          <cx:pt idx="21655">4</cx:pt>
          <cx:pt idx="21656">2</cx:pt>
          <cx:pt idx="21657">3</cx:pt>
          <cx:pt idx="21658">1</cx:pt>
          <cx:pt idx="21659">4</cx:pt>
          <cx:pt idx="21660">5</cx:pt>
          <cx:pt idx="21661">5</cx:pt>
          <cx:pt idx="21662">3</cx:pt>
          <cx:pt idx="21663">2</cx:pt>
          <cx:pt idx="21664">1</cx:pt>
          <cx:pt idx="21665">4</cx:pt>
          <cx:pt idx="21666">3</cx:pt>
          <cx:pt idx="21667">2</cx:pt>
          <cx:pt idx="21668">2</cx:pt>
          <cx:pt idx="21669">4</cx:pt>
          <cx:pt idx="21670">4</cx:pt>
          <cx:pt idx="21671">2</cx:pt>
          <cx:pt idx="21672">2</cx:pt>
          <cx:pt idx="21673">4</cx:pt>
          <cx:pt idx="21674">1</cx:pt>
          <cx:pt idx="21675">4</cx:pt>
          <cx:pt idx="21676">5</cx:pt>
          <cx:pt idx="21677">1</cx:pt>
          <cx:pt idx="21678">3</cx:pt>
          <cx:pt idx="21679">5</cx:pt>
          <cx:pt idx="21680">4</cx:pt>
          <cx:pt idx="21681">2</cx:pt>
          <cx:pt idx="21682">5</cx:pt>
          <cx:pt idx="21683">5</cx:pt>
          <cx:pt idx="21684">3</cx:pt>
          <cx:pt idx="21685">3</cx:pt>
          <cx:pt idx="21686">4</cx:pt>
          <cx:pt idx="21687">5</cx:pt>
          <cx:pt idx="21688">5</cx:pt>
          <cx:pt idx="21689">2</cx:pt>
          <cx:pt idx="21690">1</cx:pt>
          <cx:pt idx="21691">5</cx:pt>
          <cx:pt idx="21692">2</cx:pt>
          <cx:pt idx="21693">3</cx:pt>
          <cx:pt idx="21694">2</cx:pt>
          <cx:pt idx="21695">3</cx:pt>
          <cx:pt idx="21696">3</cx:pt>
          <cx:pt idx="21697">1</cx:pt>
          <cx:pt idx="21698">4</cx:pt>
          <cx:pt idx="21699">3</cx:pt>
          <cx:pt idx="21700">4</cx:pt>
          <cx:pt idx="21701">5</cx:pt>
          <cx:pt idx="21702">5</cx:pt>
          <cx:pt idx="21703">2</cx:pt>
          <cx:pt idx="21704">1</cx:pt>
          <cx:pt idx="21705">5</cx:pt>
          <cx:pt idx="21706">4</cx:pt>
          <cx:pt idx="21707">4</cx:pt>
          <cx:pt idx="21708">2</cx:pt>
          <cx:pt idx="21709">5</cx:pt>
          <cx:pt idx="21710">3</cx:pt>
          <cx:pt idx="21711">1</cx:pt>
          <cx:pt idx="21712">2</cx:pt>
          <cx:pt idx="21713">5</cx:pt>
          <cx:pt idx="21714">1</cx:pt>
          <cx:pt idx="21715">5</cx:pt>
          <cx:pt idx="21716">2</cx:pt>
          <cx:pt idx="21717">5</cx:pt>
          <cx:pt idx="21718">1</cx:pt>
          <cx:pt idx="21719">4</cx:pt>
          <cx:pt idx="21720">5</cx:pt>
          <cx:pt idx="21721">2</cx:pt>
          <cx:pt idx="21722">4</cx:pt>
          <cx:pt idx="21723">1</cx:pt>
          <cx:pt idx="21724">5</cx:pt>
          <cx:pt idx="21725">2</cx:pt>
          <cx:pt idx="21726">3</cx:pt>
          <cx:pt idx="21727">5</cx:pt>
          <cx:pt idx="21728">5</cx:pt>
          <cx:pt idx="21729">2</cx:pt>
          <cx:pt idx="21730">4</cx:pt>
          <cx:pt idx="21731">4</cx:pt>
          <cx:pt idx="21732">4</cx:pt>
          <cx:pt idx="21733">2</cx:pt>
          <cx:pt idx="21734">4</cx:pt>
          <cx:pt idx="21735">3</cx:pt>
          <cx:pt idx="21736">4</cx:pt>
          <cx:pt idx="21737">1</cx:pt>
          <cx:pt idx="21738">4</cx:pt>
          <cx:pt idx="21739">1</cx:pt>
          <cx:pt idx="21740">1</cx:pt>
          <cx:pt idx="21741">5</cx:pt>
          <cx:pt idx="21742">3</cx:pt>
          <cx:pt idx="21743">4</cx:pt>
          <cx:pt idx="21744">4</cx:pt>
          <cx:pt idx="21745">5</cx:pt>
          <cx:pt idx="21746">4</cx:pt>
          <cx:pt idx="21747">1</cx:pt>
          <cx:pt idx="21748">3</cx:pt>
          <cx:pt idx="21749">1</cx:pt>
          <cx:pt idx="21750">5</cx:pt>
          <cx:pt idx="21751">1</cx:pt>
          <cx:pt idx="21752">1</cx:pt>
          <cx:pt idx="21753">5</cx:pt>
          <cx:pt idx="21754">4</cx:pt>
          <cx:pt idx="21755">4</cx:pt>
          <cx:pt idx="21756">1</cx:pt>
          <cx:pt idx="21757">1</cx:pt>
          <cx:pt idx="21758">3</cx:pt>
          <cx:pt idx="21759">5</cx:pt>
          <cx:pt idx="21760">5</cx:pt>
          <cx:pt idx="21761">2</cx:pt>
          <cx:pt idx="21762">2</cx:pt>
          <cx:pt idx="21763">1</cx:pt>
          <cx:pt idx="21764">4</cx:pt>
          <cx:pt idx="21765">2</cx:pt>
          <cx:pt idx="21766">1</cx:pt>
          <cx:pt idx="21767">3</cx:pt>
          <cx:pt idx="21768">5</cx:pt>
          <cx:pt idx="21769">3</cx:pt>
          <cx:pt idx="21770">2</cx:pt>
          <cx:pt idx="21771">3</cx:pt>
          <cx:pt idx="21772">4</cx:pt>
          <cx:pt idx="21773">2</cx:pt>
          <cx:pt idx="21774">2</cx:pt>
          <cx:pt idx="21775">5</cx:pt>
          <cx:pt idx="21776">5</cx:pt>
          <cx:pt idx="21777">5</cx:pt>
          <cx:pt idx="21778">4</cx:pt>
          <cx:pt idx="21779">3</cx:pt>
          <cx:pt idx="21780">3</cx:pt>
          <cx:pt idx="21781">4</cx:pt>
          <cx:pt idx="21782">4</cx:pt>
          <cx:pt idx="21783">5</cx:pt>
          <cx:pt idx="21784">5</cx:pt>
          <cx:pt idx="21785">4</cx:pt>
          <cx:pt idx="21786">4</cx:pt>
          <cx:pt idx="21787">4</cx:pt>
          <cx:pt idx="21788">3</cx:pt>
          <cx:pt idx="21789">3</cx:pt>
          <cx:pt idx="21790">2</cx:pt>
          <cx:pt idx="21791">4</cx:pt>
          <cx:pt idx="21792">4</cx:pt>
          <cx:pt idx="21793">1</cx:pt>
          <cx:pt idx="21794">4</cx:pt>
          <cx:pt idx="21795">1</cx:pt>
          <cx:pt idx="21796">5</cx:pt>
          <cx:pt idx="21797">5</cx:pt>
          <cx:pt idx="21798">2</cx:pt>
          <cx:pt idx="21799">5</cx:pt>
          <cx:pt idx="21800">5</cx:pt>
          <cx:pt idx="21801">2</cx:pt>
          <cx:pt idx="21802">4</cx:pt>
          <cx:pt idx="21803">3</cx:pt>
          <cx:pt idx="21804">5</cx:pt>
          <cx:pt idx="21805">2</cx:pt>
          <cx:pt idx="21806">4</cx:pt>
          <cx:pt idx="21807">5</cx:pt>
          <cx:pt idx="21808">2</cx:pt>
          <cx:pt idx="21809">3</cx:pt>
          <cx:pt idx="21810">4</cx:pt>
          <cx:pt idx="21811">2</cx:pt>
          <cx:pt idx="21812">4</cx:pt>
          <cx:pt idx="21813">4</cx:pt>
          <cx:pt idx="21814">5</cx:pt>
          <cx:pt idx="21815">4</cx:pt>
          <cx:pt idx="21816">5</cx:pt>
          <cx:pt idx="21817">2</cx:pt>
          <cx:pt idx="21818">1</cx:pt>
          <cx:pt idx="21819">4</cx:pt>
          <cx:pt idx="21820">1</cx:pt>
          <cx:pt idx="21821">2</cx:pt>
          <cx:pt idx="21822">5</cx:pt>
          <cx:pt idx="21823">5</cx:pt>
          <cx:pt idx="21824">4</cx:pt>
          <cx:pt idx="21825">4</cx:pt>
          <cx:pt idx="21826">5</cx:pt>
          <cx:pt idx="21827">5</cx:pt>
          <cx:pt idx="21828">5</cx:pt>
          <cx:pt idx="21829">4</cx:pt>
          <cx:pt idx="21830">1</cx:pt>
          <cx:pt idx="21831">3</cx:pt>
          <cx:pt idx="21832">4</cx:pt>
          <cx:pt idx="21833">5</cx:pt>
          <cx:pt idx="21834">5</cx:pt>
          <cx:pt idx="21835">1</cx:pt>
          <cx:pt idx="21836">2</cx:pt>
          <cx:pt idx="21837">5</cx:pt>
          <cx:pt idx="21838">3</cx:pt>
          <cx:pt idx="21839">5</cx:pt>
          <cx:pt idx="21840">3</cx:pt>
          <cx:pt idx="21841">3</cx:pt>
          <cx:pt idx="21842">2</cx:pt>
          <cx:pt idx="21843">4</cx:pt>
          <cx:pt idx="21844">1</cx:pt>
          <cx:pt idx="21845">5</cx:pt>
          <cx:pt idx="21846">5</cx:pt>
          <cx:pt idx="21847">3</cx:pt>
          <cx:pt idx="21848">4</cx:pt>
          <cx:pt idx="21849">5</cx:pt>
          <cx:pt idx="21850">5</cx:pt>
          <cx:pt idx="21851">5</cx:pt>
          <cx:pt idx="21852">5</cx:pt>
          <cx:pt idx="21853">5</cx:pt>
          <cx:pt idx="21854">1</cx:pt>
          <cx:pt idx="21855">4</cx:pt>
          <cx:pt idx="21856">1</cx:pt>
          <cx:pt idx="21857">2</cx:pt>
          <cx:pt idx="21858">5</cx:pt>
          <cx:pt idx="21859">3</cx:pt>
          <cx:pt idx="21860">1</cx:pt>
          <cx:pt idx="21861">3</cx:pt>
          <cx:pt idx="21862">5</cx:pt>
          <cx:pt idx="21863">5</cx:pt>
          <cx:pt idx="21864">2</cx:pt>
          <cx:pt idx="21865">4</cx:pt>
          <cx:pt idx="21866">2</cx:pt>
          <cx:pt idx="21867">3</cx:pt>
          <cx:pt idx="21868">4</cx:pt>
          <cx:pt idx="21869">2</cx:pt>
          <cx:pt idx="21870">2</cx:pt>
          <cx:pt idx="21871">4</cx:pt>
          <cx:pt idx="21872">4</cx:pt>
          <cx:pt idx="21873">3</cx:pt>
          <cx:pt idx="21874">4</cx:pt>
          <cx:pt idx="21875">1</cx:pt>
          <cx:pt idx="21876">2</cx:pt>
          <cx:pt idx="21877">3</cx:pt>
          <cx:pt idx="21878">3</cx:pt>
          <cx:pt idx="21879">5</cx:pt>
          <cx:pt idx="21880">2</cx:pt>
          <cx:pt idx="21881">1</cx:pt>
          <cx:pt idx="21882">5</cx:pt>
          <cx:pt idx="21883">4</cx:pt>
          <cx:pt idx="21884">2</cx:pt>
          <cx:pt idx="21885">4</cx:pt>
          <cx:pt idx="21886">2</cx:pt>
          <cx:pt idx="21887">4</cx:pt>
          <cx:pt idx="21888">4</cx:pt>
          <cx:pt idx="21889">3</cx:pt>
          <cx:pt idx="21890">1</cx:pt>
          <cx:pt idx="21891">2</cx:pt>
          <cx:pt idx="21892">3</cx:pt>
          <cx:pt idx="21893">4</cx:pt>
          <cx:pt idx="21894">2</cx:pt>
          <cx:pt idx="21895">3</cx:pt>
          <cx:pt idx="21896">4</cx:pt>
          <cx:pt idx="21897">2</cx:pt>
          <cx:pt idx="21898">5</cx:pt>
          <cx:pt idx="21899">5</cx:pt>
          <cx:pt idx="21900">3</cx:pt>
          <cx:pt idx="21901">4</cx:pt>
          <cx:pt idx="21902">3</cx:pt>
          <cx:pt idx="21903">5</cx:pt>
          <cx:pt idx="21904">4</cx:pt>
          <cx:pt idx="21905">3</cx:pt>
          <cx:pt idx="21906">3</cx:pt>
          <cx:pt idx="21907">4</cx:pt>
          <cx:pt idx="21908">2</cx:pt>
          <cx:pt idx="21909">3</cx:pt>
          <cx:pt idx="21910">4</cx:pt>
          <cx:pt idx="21911">1</cx:pt>
          <cx:pt idx="21912">5</cx:pt>
          <cx:pt idx="21913">4</cx:pt>
          <cx:pt idx="21914">2</cx:pt>
          <cx:pt idx="21915">1</cx:pt>
          <cx:pt idx="21916">3</cx:pt>
          <cx:pt idx="21917">1</cx:pt>
          <cx:pt idx="21918">4</cx:pt>
          <cx:pt idx="21919">5</cx:pt>
          <cx:pt idx="21920">1</cx:pt>
          <cx:pt idx="21921">5</cx:pt>
          <cx:pt idx="21922">1</cx:pt>
          <cx:pt idx="21923">4</cx:pt>
          <cx:pt idx="21924">5</cx:pt>
          <cx:pt idx="21925">5</cx:pt>
          <cx:pt idx="21926">3</cx:pt>
          <cx:pt idx="21927">4</cx:pt>
          <cx:pt idx="21928">4</cx:pt>
          <cx:pt idx="21929">4</cx:pt>
          <cx:pt idx="21930">4</cx:pt>
          <cx:pt idx="21931">2</cx:pt>
          <cx:pt idx="21932">4</cx:pt>
          <cx:pt idx="21933">3</cx:pt>
          <cx:pt idx="21934">1</cx:pt>
          <cx:pt idx="21935">4</cx:pt>
          <cx:pt idx="21936">5</cx:pt>
          <cx:pt idx="21937">5</cx:pt>
          <cx:pt idx="21938">4</cx:pt>
          <cx:pt idx="21939">5</cx:pt>
          <cx:pt idx="21940">2</cx:pt>
          <cx:pt idx="21941">1</cx:pt>
          <cx:pt idx="21942">3</cx:pt>
          <cx:pt idx="21943">4</cx:pt>
          <cx:pt idx="21944">1</cx:pt>
          <cx:pt idx="21945">5</cx:pt>
          <cx:pt idx="21946">4</cx:pt>
          <cx:pt idx="21947">1</cx:pt>
          <cx:pt idx="21948">4</cx:pt>
          <cx:pt idx="21949">5</cx:pt>
          <cx:pt idx="21950">3</cx:pt>
          <cx:pt idx="21951">5</cx:pt>
          <cx:pt idx="21952">4</cx:pt>
          <cx:pt idx="21953">4</cx:pt>
          <cx:pt idx="21954">3</cx:pt>
          <cx:pt idx="21955">2</cx:pt>
          <cx:pt idx="21956">5</cx:pt>
          <cx:pt idx="21957">2</cx:pt>
          <cx:pt idx="21958">4</cx:pt>
          <cx:pt idx="21959">2</cx:pt>
          <cx:pt idx="21960">4</cx:pt>
          <cx:pt idx="21961">2</cx:pt>
          <cx:pt idx="21962">4</cx:pt>
          <cx:pt idx="21963">3</cx:pt>
          <cx:pt idx="21964">3</cx:pt>
          <cx:pt idx="21965">4</cx:pt>
          <cx:pt idx="21966">4</cx:pt>
          <cx:pt idx="21967">3</cx:pt>
          <cx:pt idx="21968">3</cx:pt>
          <cx:pt idx="21969">4</cx:pt>
          <cx:pt idx="21970">5</cx:pt>
          <cx:pt idx="21971">1</cx:pt>
          <cx:pt idx="21972">4</cx:pt>
          <cx:pt idx="21973">5</cx:pt>
          <cx:pt idx="21974">3</cx:pt>
          <cx:pt idx="21975">2</cx:pt>
          <cx:pt idx="21976">5</cx:pt>
          <cx:pt idx="21977">3</cx:pt>
          <cx:pt idx="21978">3</cx:pt>
          <cx:pt idx="21979">1</cx:pt>
          <cx:pt idx="21980">4</cx:pt>
          <cx:pt idx="21981">3</cx:pt>
          <cx:pt idx="21982">4</cx:pt>
          <cx:pt idx="21983">2</cx:pt>
          <cx:pt idx="21984">3</cx:pt>
          <cx:pt idx="21985">4</cx:pt>
          <cx:pt idx="21986">4</cx:pt>
          <cx:pt idx="21987">5</cx:pt>
          <cx:pt idx="21988">4</cx:pt>
          <cx:pt idx="21989">4</cx:pt>
          <cx:pt idx="21990">4</cx:pt>
          <cx:pt idx="21991">4</cx:pt>
          <cx:pt idx="21992">1</cx:pt>
          <cx:pt idx="21993">4</cx:pt>
          <cx:pt idx="21994">5</cx:pt>
          <cx:pt idx="21995">2</cx:pt>
          <cx:pt idx="21996">3</cx:pt>
          <cx:pt idx="21997">1</cx:pt>
          <cx:pt idx="21998">3</cx:pt>
          <cx:pt idx="21999">5</cx:pt>
          <cx:pt idx="22000">2</cx:pt>
          <cx:pt idx="22001">3</cx:pt>
          <cx:pt idx="22002">5</cx:pt>
          <cx:pt idx="22003">4</cx:pt>
          <cx:pt idx="22004">4</cx:pt>
          <cx:pt idx="22005">4</cx:pt>
          <cx:pt idx="22006">4</cx:pt>
          <cx:pt idx="22007">5</cx:pt>
          <cx:pt idx="22008">3</cx:pt>
          <cx:pt idx="22009">5</cx:pt>
          <cx:pt idx="22010">4</cx:pt>
          <cx:pt idx="22011">2</cx:pt>
          <cx:pt idx="22012">4</cx:pt>
          <cx:pt idx="22013">5</cx:pt>
          <cx:pt idx="22014">3</cx:pt>
          <cx:pt idx="22015">5</cx:pt>
          <cx:pt idx="22016">4</cx:pt>
          <cx:pt idx="22017">2</cx:pt>
          <cx:pt idx="22018">5</cx:pt>
          <cx:pt idx="22019">4</cx:pt>
          <cx:pt idx="22020">5</cx:pt>
          <cx:pt idx="22021">5</cx:pt>
          <cx:pt idx="22022">2</cx:pt>
          <cx:pt idx="22023">1</cx:pt>
          <cx:pt idx="22024">4</cx:pt>
          <cx:pt idx="22025">3</cx:pt>
          <cx:pt idx="22026">3</cx:pt>
          <cx:pt idx="22027">5</cx:pt>
          <cx:pt idx="22028">3</cx:pt>
          <cx:pt idx="22029">5</cx:pt>
          <cx:pt idx="22030">4</cx:pt>
          <cx:pt idx="22031">2</cx:pt>
          <cx:pt idx="22032">4</cx:pt>
          <cx:pt idx="22033">5</cx:pt>
          <cx:pt idx="22034">4</cx:pt>
          <cx:pt idx="22035">2</cx:pt>
          <cx:pt idx="22036">5</cx:pt>
          <cx:pt idx="22037">5</cx:pt>
          <cx:pt idx="22038">5</cx:pt>
          <cx:pt idx="22039">1</cx:pt>
          <cx:pt idx="22040">2</cx:pt>
          <cx:pt idx="22041">2</cx:pt>
          <cx:pt idx="22042">3</cx:pt>
          <cx:pt idx="22043">4</cx:pt>
          <cx:pt idx="22044">3</cx:pt>
          <cx:pt idx="22045">4</cx:pt>
          <cx:pt idx="22046">5</cx:pt>
          <cx:pt idx="22047">5</cx:pt>
          <cx:pt idx="22048">3</cx:pt>
          <cx:pt idx="22049">5</cx:pt>
          <cx:pt idx="22050">4</cx:pt>
          <cx:pt idx="22051">2</cx:pt>
          <cx:pt idx="22052">5</cx:pt>
          <cx:pt idx="22053">4</cx:pt>
          <cx:pt idx="22054">4</cx:pt>
          <cx:pt idx="22055">5</cx:pt>
          <cx:pt idx="22056">5</cx:pt>
          <cx:pt idx="22057">5</cx:pt>
          <cx:pt idx="22058">2</cx:pt>
          <cx:pt idx="22059">2</cx:pt>
          <cx:pt idx="22060">4</cx:pt>
          <cx:pt idx="22061">3</cx:pt>
          <cx:pt idx="22062">3</cx:pt>
          <cx:pt idx="22063">5</cx:pt>
          <cx:pt idx="22064">2</cx:pt>
          <cx:pt idx="22065">4</cx:pt>
          <cx:pt idx="22066">2</cx:pt>
          <cx:pt idx="22067">1</cx:pt>
          <cx:pt idx="22068">2</cx:pt>
          <cx:pt idx="22069">5</cx:pt>
          <cx:pt idx="22070">2</cx:pt>
          <cx:pt idx="22071">3</cx:pt>
          <cx:pt idx="22072">1</cx:pt>
          <cx:pt idx="22073">4</cx:pt>
          <cx:pt idx="22074">1</cx:pt>
          <cx:pt idx="22075">2</cx:pt>
          <cx:pt idx="22076">5</cx:pt>
          <cx:pt idx="22077">4</cx:pt>
          <cx:pt idx="22078">4</cx:pt>
          <cx:pt idx="22079">4</cx:pt>
          <cx:pt idx="22080">5</cx:pt>
          <cx:pt idx="22081">5</cx:pt>
          <cx:pt idx="22082">4</cx:pt>
          <cx:pt idx="22083">5</cx:pt>
          <cx:pt idx="22084">4</cx:pt>
          <cx:pt idx="22085">5</cx:pt>
          <cx:pt idx="22086">1</cx:pt>
          <cx:pt idx="22087">2</cx:pt>
          <cx:pt idx="22088">4</cx:pt>
          <cx:pt idx="22089">1</cx:pt>
          <cx:pt idx="22090">3</cx:pt>
          <cx:pt idx="22091">4</cx:pt>
          <cx:pt idx="22092">3</cx:pt>
          <cx:pt idx="22093">3</cx:pt>
          <cx:pt idx="22094">5</cx:pt>
          <cx:pt idx="22095">2</cx:pt>
          <cx:pt idx="22096">2</cx:pt>
          <cx:pt idx="22097">3</cx:pt>
          <cx:pt idx="22098">4</cx:pt>
          <cx:pt idx="22099">3</cx:pt>
          <cx:pt idx="22100">3</cx:pt>
          <cx:pt idx="22101">1</cx:pt>
          <cx:pt idx="22102">2</cx:pt>
          <cx:pt idx="22103">5</cx:pt>
          <cx:pt idx="22104">4</cx:pt>
          <cx:pt idx="22105">5</cx:pt>
          <cx:pt idx="22106">4</cx:pt>
          <cx:pt idx="22107">5</cx:pt>
          <cx:pt idx="22108">5</cx:pt>
          <cx:pt idx="22109">3</cx:pt>
          <cx:pt idx="22110">1</cx:pt>
          <cx:pt idx="22111">3</cx:pt>
          <cx:pt idx="22112">5</cx:pt>
          <cx:pt idx="22113">3</cx:pt>
          <cx:pt idx="22114">4</cx:pt>
          <cx:pt idx="22115">4</cx:pt>
          <cx:pt idx="22116">4</cx:pt>
          <cx:pt idx="22117">4</cx:pt>
          <cx:pt idx="22118">4</cx:pt>
          <cx:pt idx="22119">3</cx:pt>
          <cx:pt idx="22120">2</cx:pt>
          <cx:pt idx="22121">1</cx:pt>
          <cx:pt idx="22122">5</cx:pt>
          <cx:pt idx="22123">4</cx:pt>
          <cx:pt idx="22124">4</cx:pt>
          <cx:pt idx="22125">3</cx:pt>
          <cx:pt idx="22126">5</cx:pt>
          <cx:pt idx="22127">5</cx:pt>
          <cx:pt idx="22128">4</cx:pt>
          <cx:pt idx="22129">5</cx:pt>
          <cx:pt idx="22130">4</cx:pt>
          <cx:pt idx="22131">1</cx:pt>
          <cx:pt idx="22132">4</cx:pt>
          <cx:pt idx="22133">4</cx:pt>
          <cx:pt idx="22134">5</cx:pt>
          <cx:pt idx="22135">3</cx:pt>
          <cx:pt idx="22136">1</cx:pt>
          <cx:pt idx="22137">1</cx:pt>
          <cx:pt idx="22138">2</cx:pt>
          <cx:pt idx="22139">2</cx:pt>
          <cx:pt idx="22140">3</cx:pt>
          <cx:pt idx="22141">4</cx:pt>
          <cx:pt idx="22142">4</cx:pt>
          <cx:pt idx="22143">5</cx:pt>
          <cx:pt idx="22144">5</cx:pt>
          <cx:pt idx="22145">1</cx:pt>
          <cx:pt idx="22146">5</cx:pt>
          <cx:pt idx="22147">2</cx:pt>
          <cx:pt idx="22148">2</cx:pt>
          <cx:pt idx="22149">3</cx:pt>
          <cx:pt idx="22150">2</cx:pt>
          <cx:pt idx="22151">5</cx:pt>
          <cx:pt idx="22152">5</cx:pt>
          <cx:pt idx="22153">2</cx:pt>
          <cx:pt idx="22154">2</cx:pt>
          <cx:pt idx="22155">1</cx:pt>
          <cx:pt idx="22156">3</cx:pt>
          <cx:pt idx="22157">3</cx:pt>
          <cx:pt idx="22158">4</cx:pt>
          <cx:pt idx="22159">1</cx:pt>
          <cx:pt idx="22160">4</cx:pt>
          <cx:pt idx="22161">4</cx:pt>
          <cx:pt idx="22162">3</cx:pt>
          <cx:pt idx="22163">5</cx:pt>
          <cx:pt idx="22164">1</cx:pt>
          <cx:pt idx="22165">3</cx:pt>
          <cx:pt idx="22166">4</cx:pt>
          <cx:pt idx="22167">1</cx:pt>
          <cx:pt idx="22168">4</cx:pt>
          <cx:pt idx="22169">2</cx:pt>
          <cx:pt idx="22170">2</cx:pt>
          <cx:pt idx="22171">3</cx:pt>
          <cx:pt idx="22172">3</cx:pt>
          <cx:pt idx="22173">1</cx:pt>
          <cx:pt idx="22174">4</cx:pt>
          <cx:pt idx="22175">3</cx:pt>
          <cx:pt idx="22176">2</cx:pt>
          <cx:pt idx="22177">4</cx:pt>
          <cx:pt idx="22178">4</cx:pt>
          <cx:pt idx="22179">5</cx:pt>
          <cx:pt idx="22180">5</cx:pt>
          <cx:pt idx="22181">3</cx:pt>
          <cx:pt idx="22182">4</cx:pt>
          <cx:pt idx="22183">1</cx:pt>
          <cx:pt idx="22184">3</cx:pt>
          <cx:pt idx="22185">2</cx:pt>
          <cx:pt idx="22186">5</cx:pt>
          <cx:pt idx="22187">3</cx:pt>
          <cx:pt idx="22188">4</cx:pt>
          <cx:pt idx="22189">5</cx:pt>
          <cx:pt idx="22190">4</cx:pt>
          <cx:pt idx="22191">1</cx:pt>
          <cx:pt idx="22192">5</cx:pt>
          <cx:pt idx="22193">4</cx:pt>
          <cx:pt idx="22194">3</cx:pt>
          <cx:pt idx="22195">2</cx:pt>
          <cx:pt idx="22196">1</cx:pt>
          <cx:pt idx="22197">2</cx:pt>
          <cx:pt idx="22198">3</cx:pt>
          <cx:pt idx="22199">1</cx:pt>
          <cx:pt idx="22200">1</cx:pt>
          <cx:pt idx="22201">5</cx:pt>
          <cx:pt idx="22202">4</cx:pt>
          <cx:pt idx="22203">5</cx:pt>
          <cx:pt idx="22204">5</cx:pt>
          <cx:pt idx="22205">2</cx:pt>
          <cx:pt idx="22206">1</cx:pt>
          <cx:pt idx="22207">4</cx:pt>
          <cx:pt idx="22208">1</cx:pt>
          <cx:pt idx="22209">3</cx:pt>
          <cx:pt idx="22210">5</cx:pt>
          <cx:pt idx="22211">3</cx:pt>
          <cx:pt idx="22212">5</cx:pt>
          <cx:pt idx="22213">5</cx:pt>
          <cx:pt idx="22214">4</cx:pt>
          <cx:pt idx="22215">4</cx:pt>
          <cx:pt idx="22216">1</cx:pt>
          <cx:pt idx="22217">5</cx:pt>
          <cx:pt idx="22218">3</cx:pt>
          <cx:pt idx="22219">2</cx:pt>
          <cx:pt idx="22220">1</cx:pt>
          <cx:pt idx="22221">4</cx:pt>
          <cx:pt idx="22222">3</cx:pt>
          <cx:pt idx="22223">2</cx:pt>
          <cx:pt idx="22224">3</cx:pt>
          <cx:pt idx="22225">3</cx:pt>
          <cx:pt idx="22226">4</cx:pt>
          <cx:pt idx="22227">1</cx:pt>
          <cx:pt idx="22228">5</cx:pt>
          <cx:pt idx="22229">5</cx:pt>
          <cx:pt idx="22230">5</cx:pt>
          <cx:pt idx="22231">4</cx:pt>
          <cx:pt idx="22232">1</cx:pt>
          <cx:pt idx="22233">4</cx:pt>
          <cx:pt idx="22234">1</cx:pt>
          <cx:pt idx="22235">3</cx:pt>
          <cx:pt idx="22236">3</cx:pt>
          <cx:pt idx="22237">4</cx:pt>
          <cx:pt idx="22238">1</cx:pt>
          <cx:pt idx="22239">3</cx:pt>
          <cx:pt idx="22240">5</cx:pt>
          <cx:pt idx="22241">2</cx:pt>
          <cx:pt idx="22242">4</cx:pt>
          <cx:pt idx="22243">5</cx:pt>
          <cx:pt idx="22244">5</cx:pt>
          <cx:pt idx="22245">3</cx:pt>
          <cx:pt idx="22246">1</cx:pt>
          <cx:pt idx="22247">5</cx:pt>
          <cx:pt idx="22248">5</cx:pt>
          <cx:pt idx="22249">1</cx:pt>
          <cx:pt idx="22250">4</cx:pt>
          <cx:pt idx="22251">3</cx:pt>
          <cx:pt idx="22252">3</cx:pt>
          <cx:pt idx="22253">5</cx:pt>
          <cx:pt idx="22254">3</cx:pt>
          <cx:pt idx="22255">4</cx:pt>
          <cx:pt idx="22256">1</cx:pt>
          <cx:pt idx="22257">5</cx:pt>
          <cx:pt idx="22258">5</cx:pt>
          <cx:pt idx="22259">2</cx:pt>
          <cx:pt idx="22260">5</cx:pt>
          <cx:pt idx="22261">3</cx:pt>
          <cx:pt idx="22262">4</cx:pt>
          <cx:pt idx="22263">3</cx:pt>
          <cx:pt idx="22264">5</cx:pt>
          <cx:pt idx="22265">4</cx:pt>
          <cx:pt idx="22266">4</cx:pt>
          <cx:pt idx="22267">3</cx:pt>
          <cx:pt idx="22268">1</cx:pt>
          <cx:pt idx="22269">4</cx:pt>
          <cx:pt idx="22270">1</cx:pt>
          <cx:pt idx="22271">4</cx:pt>
          <cx:pt idx="22272">4</cx:pt>
          <cx:pt idx="22273">4</cx:pt>
          <cx:pt idx="22274">5</cx:pt>
          <cx:pt idx="22275">2</cx:pt>
          <cx:pt idx="22276">4</cx:pt>
          <cx:pt idx="22277">2</cx:pt>
          <cx:pt idx="22278">3</cx:pt>
          <cx:pt idx="22279">3</cx:pt>
          <cx:pt idx="22280">3</cx:pt>
          <cx:pt idx="22281">4</cx:pt>
          <cx:pt idx="22282">4</cx:pt>
          <cx:pt idx="22283">5</cx:pt>
          <cx:pt idx="22284">4</cx:pt>
          <cx:pt idx="22285">5</cx:pt>
          <cx:pt idx="22286">4</cx:pt>
          <cx:pt idx="22287">4</cx:pt>
          <cx:pt idx="22288">1</cx:pt>
          <cx:pt idx="22289">2</cx:pt>
          <cx:pt idx="22290">5</cx:pt>
          <cx:pt idx="22291">2</cx:pt>
          <cx:pt idx="22292">4</cx:pt>
          <cx:pt idx="22293">1</cx:pt>
          <cx:pt idx="22294">2</cx:pt>
          <cx:pt idx="22295">5</cx:pt>
          <cx:pt idx="22296">4</cx:pt>
          <cx:pt idx="22297">5</cx:pt>
          <cx:pt idx="22298">4</cx:pt>
          <cx:pt idx="22299">3</cx:pt>
          <cx:pt idx="22300">4</cx:pt>
          <cx:pt idx="22301">3</cx:pt>
          <cx:pt idx="22302">2</cx:pt>
          <cx:pt idx="22303">2</cx:pt>
          <cx:pt idx="22304">1</cx:pt>
          <cx:pt idx="22305">4</cx:pt>
          <cx:pt idx="22306">5</cx:pt>
          <cx:pt idx="22307">5</cx:pt>
          <cx:pt idx="22308">2</cx:pt>
          <cx:pt idx="22309">4</cx:pt>
          <cx:pt idx="22310">1</cx:pt>
          <cx:pt idx="22311">2</cx:pt>
          <cx:pt idx="22312">1</cx:pt>
          <cx:pt idx="22313">4</cx:pt>
          <cx:pt idx="22314">4</cx:pt>
          <cx:pt idx="22315">4</cx:pt>
          <cx:pt idx="22316">5</cx:pt>
          <cx:pt idx="22317">5</cx:pt>
          <cx:pt idx="22318">3</cx:pt>
          <cx:pt idx="22319">5</cx:pt>
          <cx:pt idx="22320">5</cx:pt>
          <cx:pt idx="22321">1</cx:pt>
          <cx:pt idx="22322">3</cx:pt>
          <cx:pt idx="22323">5</cx:pt>
          <cx:pt idx="22324">5</cx:pt>
          <cx:pt idx="22325">2</cx:pt>
          <cx:pt idx="22326">5</cx:pt>
          <cx:pt idx="22327">2</cx:pt>
          <cx:pt idx="22328">1</cx:pt>
          <cx:pt idx="22329">4</cx:pt>
          <cx:pt idx="22330">2</cx:pt>
          <cx:pt idx="22331">5</cx:pt>
          <cx:pt idx="22332">4</cx:pt>
          <cx:pt idx="22333">4</cx:pt>
          <cx:pt idx="22334">1</cx:pt>
          <cx:pt idx="22335">5</cx:pt>
          <cx:pt idx="22336">3</cx:pt>
          <cx:pt idx="22337">1</cx:pt>
          <cx:pt idx="22338">3</cx:pt>
          <cx:pt idx="22339">2</cx:pt>
          <cx:pt idx="22340">4</cx:pt>
          <cx:pt idx="22341">3</cx:pt>
          <cx:pt idx="22342">5</cx:pt>
          <cx:pt idx="22343">4</cx:pt>
          <cx:pt idx="22344">3</cx:pt>
          <cx:pt idx="22345">5</cx:pt>
          <cx:pt idx="22346">1</cx:pt>
          <cx:pt idx="22347">4</cx:pt>
          <cx:pt idx="22348">5</cx:pt>
          <cx:pt idx="22349">4</cx:pt>
          <cx:pt idx="22350">4</cx:pt>
          <cx:pt idx="22351">1</cx:pt>
          <cx:pt idx="22352">5</cx:pt>
          <cx:pt idx="22353">1</cx:pt>
          <cx:pt idx="22354">3</cx:pt>
          <cx:pt idx="22355">4</cx:pt>
          <cx:pt idx="22356">4</cx:pt>
          <cx:pt idx="22357">5</cx:pt>
          <cx:pt idx="22358">5</cx:pt>
          <cx:pt idx="22359">4</cx:pt>
          <cx:pt idx="22360">3</cx:pt>
          <cx:pt idx="22361">1</cx:pt>
          <cx:pt idx="22362">2</cx:pt>
          <cx:pt idx="22363">4</cx:pt>
          <cx:pt idx="22364">2</cx:pt>
          <cx:pt idx="22365">4</cx:pt>
          <cx:pt idx="22366">3</cx:pt>
          <cx:pt idx="22367">2</cx:pt>
          <cx:pt idx="22368">2</cx:pt>
          <cx:pt idx="22369">2</cx:pt>
          <cx:pt idx="22370">5</cx:pt>
          <cx:pt idx="22371">2</cx:pt>
          <cx:pt idx="22372">3</cx:pt>
          <cx:pt idx="22373">4</cx:pt>
          <cx:pt idx="22374">4</cx:pt>
          <cx:pt idx="22375">5</cx:pt>
          <cx:pt idx="22376">2</cx:pt>
          <cx:pt idx="22377">1</cx:pt>
          <cx:pt idx="22378">4</cx:pt>
          <cx:pt idx="22379">1</cx:pt>
          <cx:pt idx="22380">4</cx:pt>
          <cx:pt idx="22381">3</cx:pt>
          <cx:pt idx="22382">3</cx:pt>
          <cx:pt idx="22383">3</cx:pt>
          <cx:pt idx="22384">5</cx:pt>
          <cx:pt idx="22385">3</cx:pt>
          <cx:pt idx="22386">3</cx:pt>
          <cx:pt idx="22387">5</cx:pt>
          <cx:pt idx="22388">1</cx:pt>
          <cx:pt idx="22389">2</cx:pt>
          <cx:pt idx="22390">1</cx:pt>
          <cx:pt idx="22391">3</cx:pt>
          <cx:pt idx="22392">3</cx:pt>
          <cx:pt idx="22393">5</cx:pt>
          <cx:pt idx="22394">4</cx:pt>
          <cx:pt idx="22395">1</cx:pt>
          <cx:pt idx="22396">4</cx:pt>
          <cx:pt idx="22397">3</cx:pt>
          <cx:pt idx="22398">4</cx:pt>
          <cx:pt idx="22399">4</cx:pt>
          <cx:pt idx="22400">1</cx:pt>
          <cx:pt idx="22401">2</cx:pt>
          <cx:pt idx="22402">5</cx:pt>
          <cx:pt idx="22403">5</cx:pt>
          <cx:pt idx="22404">1</cx:pt>
          <cx:pt idx="22405">1</cx:pt>
          <cx:pt idx="22406">4</cx:pt>
          <cx:pt idx="22407">4</cx:pt>
          <cx:pt idx="22408">4</cx:pt>
          <cx:pt idx="22409">5</cx:pt>
          <cx:pt idx="22410">4</cx:pt>
          <cx:pt idx="22411">4</cx:pt>
          <cx:pt idx="22412">3</cx:pt>
          <cx:pt idx="22413">2</cx:pt>
          <cx:pt idx="22414">3</cx:pt>
          <cx:pt idx="22415">5</cx:pt>
          <cx:pt idx="22416">4</cx:pt>
          <cx:pt idx="22417">5</cx:pt>
          <cx:pt idx="22418">2</cx:pt>
          <cx:pt idx="22419">4</cx:pt>
          <cx:pt idx="22420">5</cx:pt>
          <cx:pt idx="22421">4</cx:pt>
          <cx:pt idx="22422">4</cx:pt>
          <cx:pt idx="22423">3</cx:pt>
          <cx:pt idx="22424">5</cx:pt>
          <cx:pt idx="22425">5</cx:pt>
          <cx:pt idx="22426">5</cx:pt>
          <cx:pt idx="22427">1</cx:pt>
          <cx:pt idx="22428">5</cx:pt>
          <cx:pt idx="22429">1</cx:pt>
          <cx:pt idx="22430">2</cx:pt>
          <cx:pt idx="22431">5</cx:pt>
          <cx:pt idx="22432">4</cx:pt>
          <cx:pt idx="22433">4</cx:pt>
          <cx:pt idx="22434">5</cx:pt>
          <cx:pt idx="22435">2</cx:pt>
          <cx:pt idx="22436">4</cx:pt>
          <cx:pt idx="22437">4</cx:pt>
          <cx:pt idx="22438">5</cx:pt>
          <cx:pt idx="22439">5</cx:pt>
          <cx:pt idx="22440">5</cx:pt>
          <cx:pt idx="22441">5</cx:pt>
          <cx:pt idx="22442">1</cx:pt>
          <cx:pt idx="22443">2</cx:pt>
          <cx:pt idx="22444">5</cx:pt>
          <cx:pt idx="22445">5</cx:pt>
          <cx:pt idx="22446">5</cx:pt>
          <cx:pt idx="22447">4</cx:pt>
          <cx:pt idx="22448">1</cx:pt>
          <cx:pt idx="22449">2</cx:pt>
          <cx:pt idx="22450">5</cx:pt>
          <cx:pt idx="22451">5</cx:pt>
          <cx:pt idx="22452">2</cx:pt>
          <cx:pt idx="22453">5</cx:pt>
          <cx:pt idx="22454">5</cx:pt>
          <cx:pt idx="22455">4</cx:pt>
          <cx:pt idx="22456">3</cx:pt>
          <cx:pt idx="22457">5</cx:pt>
          <cx:pt idx="22458">4</cx:pt>
          <cx:pt idx="22459">3</cx:pt>
          <cx:pt idx="22460">2</cx:pt>
          <cx:pt idx="22461">5</cx:pt>
          <cx:pt idx="22462">4</cx:pt>
          <cx:pt idx="22463">5</cx:pt>
          <cx:pt idx="22464">2</cx:pt>
          <cx:pt idx="22465">4</cx:pt>
          <cx:pt idx="22466">5</cx:pt>
          <cx:pt idx="22467">1</cx:pt>
          <cx:pt idx="22468">3</cx:pt>
          <cx:pt idx="22469">4</cx:pt>
          <cx:pt idx="22470">5</cx:pt>
          <cx:pt idx="22471">2</cx:pt>
          <cx:pt idx="22472">1</cx:pt>
          <cx:pt idx="22473">5</cx:pt>
          <cx:pt idx="22474">5</cx:pt>
          <cx:pt idx="22475">5</cx:pt>
          <cx:pt idx="22476">1</cx:pt>
          <cx:pt idx="22477">4</cx:pt>
          <cx:pt idx="22478">4</cx:pt>
          <cx:pt idx="22479">4</cx:pt>
          <cx:pt idx="22480">4</cx:pt>
          <cx:pt idx="22481">5</cx:pt>
          <cx:pt idx="22482">3</cx:pt>
          <cx:pt idx="22483">5</cx:pt>
          <cx:pt idx="22484">1</cx:pt>
          <cx:pt idx="22485">4</cx:pt>
          <cx:pt idx="22486">2</cx:pt>
          <cx:pt idx="22487">3</cx:pt>
          <cx:pt idx="22488">2</cx:pt>
          <cx:pt idx="22489">2</cx:pt>
          <cx:pt idx="22490">5</cx:pt>
          <cx:pt idx="22491">4</cx:pt>
          <cx:pt idx="22492">5</cx:pt>
          <cx:pt idx="22493">3</cx:pt>
          <cx:pt idx="22494">4</cx:pt>
          <cx:pt idx="22495">2</cx:pt>
          <cx:pt idx="22496">4</cx:pt>
          <cx:pt idx="22497">4</cx:pt>
          <cx:pt idx="22498">4</cx:pt>
          <cx:pt idx="22499">4</cx:pt>
          <cx:pt idx="22500">5</cx:pt>
          <cx:pt idx="22501">3</cx:pt>
          <cx:pt idx="22502">1</cx:pt>
          <cx:pt idx="22503">4</cx:pt>
          <cx:pt idx="22504">4</cx:pt>
          <cx:pt idx="22505">2</cx:pt>
          <cx:pt idx="22506">4</cx:pt>
          <cx:pt idx="22507">5</cx:pt>
          <cx:pt idx="22508">3</cx:pt>
          <cx:pt idx="22509">4</cx:pt>
          <cx:pt idx="22510">4</cx:pt>
          <cx:pt idx="22511">5</cx:pt>
          <cx:pt idx="22512">4</cx:pt>
          <cx:pt idx="22513">4</cx:pt>
          <cx:pt idx="22514">5</cx:pt>
          <cx:pt idx="22515">2</cx:pt>
          <cx:pt idx="22516">1</cx:pt>
          <cx:pt idx="22517">4</cx:pt>
          <cx:pt idx="22518">3</cx:pt>
          <cx:pt idx="22519">4</cx:pt>
          <cx:pt idx="22520">2</cx:pt>
          <cx:pt idx="22521">5</cx:pt>
          <cx:pt idx="22522">5</cx:pt>
          <cx:pt idx="22523">5</cx:pt>
          <cx:pt idx="22524">4</cx:pt>
          <cx:pt idx="22525">2</cx:pt>
          <cx:pt idx="22526">4</cx:pt>
          <cx:pt idx="22527">4</cx:pt>
          <cx:pt idx="22528">4</cx:pt>
          <cx:pt idx="22529">2</cx:pt>
          <cx:pt idx="22530">4</cx:pt>
          <cx:pt idx="22531">3</cx:pt>
          <cx:pt idx="22532">3</cx:pt>
          <cx:pt idx="22533">5</cx:pt>
          <cx:pt idx="22534">4</cx:pt>
          <cx:pt idx="22535">2</cx:pt>
          <cx:pt idx="22536">3</cx:pt>
          <cx:pt idx="22537">3</cx:pt>
          <cx:pt idx="22538">4</cx:pt>
          <cx:pt idx="22539">4</cx:pt>
          <cx:pt idx="22540">4</cx:pt>
          <cx:pt idx="22541">4</cx:pt>
          <cx:pt idx="22542">5</cx:pt>
          <cx:pt idx="22543">4</cx:pt>
          <cx:pt idx="22544">3</cx:pt>
          <cx:pt idx="22545">3</cx:pt>
          <cx:pt idx="22546">3</cx:pt>
          <cx:pt idx="22547">5</cx:pt>
          <cx:pt idx="22548">2</cx:pt>
          <cx:pt idx="22549">4</cx:pt>
          <cx:pt idx="22550">5</cx:pt>
          <cx:pt idx="22551">3</cx:pt>
          <cx:pt idx="22552">5</cx:pt>
          <cx:pt idx="22553">5</cx:pt>
          <cx:pt idx="22554">5</cx:pt>
          <cx:pt idx="22555">4</cx:pt>
          <cx:pt idx="22556">3</cx:pt>
          <cx:pt idx="22557">4</cx:pt>
          <cx:pt idx="22558">5</cx:pt>
          <cx:pt idx="22559">4</cx:pt>
          <cx:pt idx="22560">4</cx:pt>
          <cx:pt idx="22561">4</cx:pt>
          <cx:pt idx="22562">5</cx:pt>
          <cx:pt idx="22563">5</cx:pt>
          <cx:pt idx="22564">4</cx:pt>
          <cx:pt idx="22565">4</cx:pt>
          <cx:pt idx="22566">5</cx:pt>
          <cx:pt idx="22567">4</cx:pt>
          <cx:pt idx="22568">5</cx:pt>
          <cx:pt idx="22569">4</cx:pt>
          <cx:pt idx="22570">5</cx:pt>
          <cx:pt idx="22571">5</cx:pt>
          <cx:pt idx="22572">2</cx:pt>
          <cx:pt idx="22573">3</cx:pt>
          <cx:pt idx="22574">4</cx:pt>
          <cx:pt idx="22575">2</cx:pt>
          <cx:pt idx="22576">4</cx:pt>
          <cx:pt idx="22577">4</cx:pt>
          <cx:pt idx="22578">5</cx:pt>
          <cx:pt idx="22579">2</cx:pt>
          <cx:pt idx="22580">5</cx:pt>
          <cx:pt idx="22581">1</cx:pt>
          <cx:pt idx="22582">5</cx:pt>
          <cx:pt idx="22583">2</cx:pt>
          <cx:pt idx="22584">1</cx:pt>
          <cx:pt idx="22585">1</cx:pt>
          <cx:pt idx="22586">5</cx:pt>
          <cx:pt idx="22587">4</cx:pt>
          <cx:pt idx="22588">5</cx:pt>
          <cx:pt idx="22589">1</cx:pt>
          <cx:pt idx="22590">4</cx:pt>
          <cx:pt idx="22591">1</cx:pt>
          <cx:pt idx="22592">4</cx:pt>
          <cx:pt idx="22593">4</cx:pt>
          <cx:pt idx="22594">5</cx:pt>
          <cx:pt idx="22595">1</cx:pt>
          <cx:pt idx="22596">4</cx:pt>
          <cx:pt idx="22597">4</cx:pt>
          <cx:pt idx="22598">2</cx:pt>
          <cx:pt idx="22599">4</cx:pt>
          <cx:pt idx="22600">5</cx:pt>
          <cx:pt idx="22601">4</cx:pt>
          <cx:pt idx="22602">4</cx:pt>
          <cx:pt idx="22603">4</cx:pt>
          <cx:pt idx="22604">2</cx:pt>
          <cx:pt idx="22605">1</cx:pt>
          <cx:pt idx="22606">4</cx:pt>
          <cx:pt idx="22607">5</cx:pt>
          <cx:pt idx="22608">5</cx:pt>
          <cx:pt idx="22609">4</cx:pt>
          <cx:pt idx="22610">4</cx:pt>
          <cx:pt idx="22611">5</cx:pt>
          <cx:pt idx="22612">1</cx:pt>
          <cx:pt idx="22613">5</cx:pt>
          <cx:pt idx="22614">5</cx:pt>
          <cx:pt idx="22615">5</cx:pt>
          <cx:pt idx="22616">4</cx:pt>
          <cx:pt idx="22617">2</cx:pt>
          <cx:pt idx="22618">2</cx:pt>
          <cx:pt idx="22619">3</cx:pt>
          <cx:pt idx="22620">5</cx:pt>
          <cx:pt idx="22621">2</cx:pt>
          <cx:pt idx="22622">4</cx:pt>
          <cx:pt idx="22623">2</cx:pt>
          <cx:pt idx="22624">2</cx:pt>
          <cx:pt idx="22625">2</cx:pt>
          <cx:pt idx="22626">3</cx:pt>
          <cx:pt idx="22627">4</cx:pt>
          <cx:pt idx="22628">2</cx:pt>
          <cx:pt idx="22629">4</cx:pt>
          <cx:pt idx="22630">5</cx:pt>
          <cx:pt idx="22631">3</cx:pt>
          <cx:pt idx="22632">5</cx:pt>
          <cx:pt idx="22633">5</cx:pt>
          <cx:pt idx="22634">1</cx:pt>
          <cx:pt idx="22635">1</cx:pt>
          <cx:pt idx="22636">2</cx:pt>
          <cx:pt idx="22637">4</cx:pt>
          <cx:pt idx="22638">3</cx:pt>
          <cx:pt idx="22639">4</cx:pt>
          <cx:pt idx="22640">5</cx:pt>
          <cx:pt idx="22641">3</cx:pt>
          <cx:pt idx="22642">2</cx:pt>
          <cx:pt idx="22643">4</cx:pt>
          <cx:pt idx="22644">4</cx:pt>
          <cx:pt idx="22645">5</cx:pt>
          <cx:pt idx="22646">2</cx:pt>
          <cx:pt idx="22647">4</cx:pt>
          <cx:pt idx="22648">4</cx:pt>
          <cx:pt idx="22649">2</cx:pt>
          <cx:pt idx="22650">2</cx:pt>
          <cx:pt idx="22651">3</cx:pt>
          <cx:pt idx="22652">5</cx:pt>
          <cx:pt idx="22653">3</cx:pt>
          <cx:pt idx="22654">4</cx:pt>
          <cx:pt idx="22655">2</cx:pt>
          <cx:pt idx="22656">5</cx:pt>
          <cx:pt idx="22657">2</cx:pt>
          <cx:pt idx="22658">5</cx:pt>
          <cx:pt idx="22659">3</cx:pt>
          <cx:pt idx="22660">3</cx:pt>
          <cx:pt idx="22661">5</cx:pt>
          <cx:pt idx="22662">5</cx:pt>
          <cx:pt idx="22663">5</cx:pt>
          <cx:pt idx="22664">5</cx:pt>
          <cx:pt idx="22665">4</cx:pt>
          <cx:pt idx="22666">2</cx:pt>
          <cx:pt idx="22667">4</cx:pt>
          <cx:pt idx="22668">4</cx:pt>
          <cx:pt idx="22669">5</cx:pt>
          <cx:pt idx="22670">2</cx:pt>
          <cx:pt idx="22671">2</cx:pt>
          <cx:pt idx="22672">3</cx:pt>
          <cx:pt idx="22673">3</cx:pt>
          <cx:pt idx="22674">5</cx:pt>
          <cx:pt idx="22675">1</cx:pt>
          <cx:pt idx="22676">4</cx:pt>
          <cx:pt idx="22677">5</cx:pt>
          <cx:pt idx="22678">5</cx:pt>
          <cx:pt idx="22679">5</cx:pt>
          <cx:pt idx="22680">3</cx:pt>
          <cx:pt idx="22681">5</cx:pt>
          <cx:pt idx="22682">3</cx:pt>
          <cx:pt idx="22683">5</cx:pt>
          <cx:pt idx="22684">4</cx:pt>
          <cx:pt idx="22685">4</cx:pt>
          <cx:pt idx="22686">3</cx:pt>
          <cx:pt idx="22687">3</cx:pt>
          <cx:pt idx="22688">3</cx:pt>
          <cx:pt idx="22689">4</cx:pt>
          <cx:pt idx="22690">4</cx:pt>
          <cx:pt idx="22691">5</cx:pt>
          <cx:pt idx="22692">3</cx:pt>
          <cx:pt idx="22693">4</cx:pt>
          <cx:pt idx="22694">3</cx:pt>
          <cx:pt idx="22695">4</cx:pt>
          <cx:pt idx="22696">4</cx:pt>
          <cx:pt idx="22697">4</cx:pt>
          <cx:pt idx="22698">4</cx:pt>
          <cx:pt idx="22699">4</cx:pt>
          <cx:pt idx="22700">5</cx:pt>
          <cx:pt idx="22701">4</cx:pt>
          <cx:pt idx="22702">4</cx:pt>
          <cx:pt idx="22703">1</cx:pt>
          <cx:pt idx="22704">4</cx:pt>
          <cx:pt idx="22705">5</cx:pt>
          <cx:pt idx="22706">5</cx:pt>
          <cx:pt idx="22707">5</cx:pt>
          <cx:pt idx="22708">5</cx:pt>
          <cx:pt idx="22709">4</cx:pt>
          <cx:pt idx="22710">3</cx:pt>
          <cx:pt idx="22711">4</cx:pt>
          <cx:pt idx="22712">3</cx:pt>
          <cx:pt idx="22713">5</cx:pt>
          <cx:pt idx="22714">3</cx:pt>
          <cx:pt idx="22715">5</cx:pt>
          <cx:pt idx="22716">1</cx:pt>
          <cx:pt idx="22717">2</cx:pt>
          <cx:pt idx="22718">1</cx:pt>
          <cx:pt idx="22719">1</cx:pt>
          <cx:pt idx="22720">1</cx:pt>
          <cx:pt idx="22721">1</cx:pt>
          <cx:pt idx="22722">5</cx:pt>
          <cx:pt idx="22723">4</cx:pt>
          <cx:pt idx="22724">4</cx:pt>
          <cx:pt idx="22725">5</cx:pt>
          <cx:pt idx="22726">4</cx:pt>
          <cx:pt idx="22727">2</cx:pt>
          <cx:pt idx="22728">2</cx:pt>
          <cx:pt idx="22729">4</cx:pt>
          <cx:pt idx="22730">4</cx:pt>
          <cx:pt idx="22731">2</cx:pt>
          <cx:pt idx="22732">5</cx:pt>
          <cx:pt idx="22733">4</cx:pt>
          <cx:pt idx="22734">4</cx:pt>
          <cx:pt idx="22735">4</cx:pt>
          <cx:pt idx="22736">5</cx:pt>
          <cx:pt idx="22737">4</cx:pt>
          <cx:pt idx="22738">5</cx:pt>
          <cx:pt idx="22739">5</cx:pt>
          <cx:pt idx="22740">5</cx:pt>
          <cx:pt idx="22741">4</cx:pt>
          <cx:pt idx="22742">4</cx:pt>
          <cx:pt idx="22743">3</cx:pt>
          <cx:pt idx="22744">3</cx:pt>
          <cx:pt idx="22745">2</cx:pt>
          <cx:pt idx="22746">3</cx:pt>
          <cx:pt idx="22747">5</cx:pt>
          <cx:pt idx="22748">5</cx:pt>
          <cx:pt idx="22749">5</cx:pt>
          <cx:pt idx="22750">4</cx:pt>
          <cx:pt idx="22751">3</cx:pt>
          <cx:pt idx="22752">2</cx:pt>
          <cx:pt idx="22753">3</cx:pt>
          <cx:pt idx="22754">4</cx:pt>
          <cx:pt idx="22755">3</cx:pt>
          <cx:pt idx="22756">4</cx:pt>
          <cx:pt idx="22757">1</cx:pt>
          <cx:pt idx="22758">5</cx:pt>
          <cx:pt idx="22759">5</cx:pt>
          <cx:pt idx="22760">5</cx:pt>
          <cx:pt idx="22761">3</cx:pt>
          <cx:pt idx="22762">4</cx:pt>
          <cx:pt idx="22763">3</cx:pt>
          <cx:pt idx="22764">5</cx:pt>
          <cx:pt idx="22765">4</cx:pt>
          <cx:pt idx="22766">3</cx:pt>
          <cx:pt idx="22767">4</cx:pt>
          <cx:pt idx="22768">3</cx:pt>
          <cx:pt idx="22769">4</cx:pt>
          <cx:pt idx="22770">5</cx:pt>
          <cx:pt idx="22771">5</cx:pt>
          <cx:pt idx="22772">1</cx:pt>
          <cx:pt idx="22773">1</cx:pt>
          <cx:pt idx="22774">5</cx:pt>
          <cx:pt idx="22775">1</cx:pt>
          <cx:pt idx="22776">4</cx:pt>
          <cx:pt idx="22777">1</cx:pt>
          <cx:pt idx="22778">5</cx:pt>
          <cx:pt idx="22779">5</cx:pt>
          <cx:pt idx="22780">3</cx:pt>
          <cx:pt idx="22781">3</cx:pt>
          <cx:pt idx="22782">2</cx:pt>
          <cx:pt idx="22783">3</cx:pt>
          <cx:pt idx="22784">2</cx:pt>
          <cx:pt idx="22785">4</cx:pt>
          <cx:pt idx="22786">3</cx:pt>
          <cx:pt idx="22787">4</cx:pt>
          <cx:pt idx="22788">4</cx:pt>
          <cx:pt idx="22789">2</cx:pt>
          <cx:pt idx="22790">5</cx:pt>
          <cx:pt idx="22791">2</cx:pt>
          <cx:pt idx="22792">2</cx:pt>
          <cx:pt idx="22793">5</cx:pt>
          <cx:pt idx="22794">2</cx:pt>
          <cx:pt idx="22795">3</cx:pt>
          <cx:pt idx="22796">1</cx:pt>
          <cx:pt idx="22797">3</cx:pt>
          <cx:pt idx="22798">4</cx:pt>
          <cx:pt idx="22799">5</cx:pt>
          <cx:pt idx="22800">5</cx:pt>
          <cx:pt idx="22801">4</cx:pt>
          <cx:pt idx="22802">5</cx:pt>
          <cx:pt idx="22803">2</cx:pt>
          <cx:pt idx="22804">2</cx:pt>
          <cx:pt idx="22805">1</cx:pt>
          <cx:pt idx="22806">4</cx:pt>
          <cx:pt idx="22807">2</cx:pt>
          <cx:pt idx="22808">3</cx:pt>
          <cx:pt idx="22809">3</cx:pt>
          <cx:pt idx="22810">4</cx:pt>
          <cx:pt idx="22811">5</cx:pt>
          <cx:pt idx="22812">2</cx:pt>
          <cx:pt idx="22813">1</cx:pt>
          <cx:pt idx="22814">4</cx:pt>
          <cx:pt idx="22815">4</cx:pt>
          <cx:pt idx="22816">2</cx:pt>
          <cx:pt idx="22817">5</cx:pt>
          <cx:pt idx="22818">3</cx:pt>
          <cx:pt idx="22819">4</cx:pt>
          <cx:pt idx="22820">4</cx:pt>
          <cx:pt idx="22821">2</cx:pt>
          <cx:pt idx="22822">2</cx:pt>
          <cx:pt idx="22823">1</cx:pt>
          <cx:pt idx="22824">1</cx:pt>
          <cx:pt idx="22825">4</cx:pt>
          <cx:pt idx="22826">4</cx:pt>
          <cx:pt idx="22827">1</cx:pt>
          <cx:pt idx="22828">3</cx:pt>
          <cx:pt idx="22829">5</cx:pt>
          <cx:pt idx="22830">3</cx:pt>
          <cx:pt idx="22831">5</cx:pt>
          <cx:pt idx="22832">5</cx:pt>
          <cx:pt idx="22833">4</cx:pt>
          <cx:pt idx="22834">5</cx:pt>
          <cx:pt idx="22835">4</cx:pt>
          <cx:pt idx="22836">4</cx:pt>
          <cx:pt idx="22837">4</cx:pt>
          <cx:pt idx="22838">2</cx:pt>
          <cx:pt idx="22839">4</cx:pt>
          <cx:pt idx="22840">4</cx:pt>
          <cx:pt idx="22841">5</cx:pt>
          <cx:pt idx="22842">5</cx:pt>
          <cx:pt idx="22843">4</cx:pt>
          <cx:pt idx="22844">5</cx:pt>
          <cx:pt idx="22845">4</cx:pt>
          <cx:pt idx="22846">3</cx:pt>
          <cx:pt idx="22847">5</cx:pt>
          <cx:pt idx="22848">5</cx:pt>
          <cx:pt idx="22849">3</cx:pt>
          <cx:pt idx="22850">4</cx:pt>
          <cx:pt idx="22851">4</cx:pt>
          <cx:pt idx="22852">4</cx:pt>
          <cx:pt idx="22853">4</cx:pt>
          <cx:pt idx="22854">4</cx:pt>
          <cx:pt idx="22855">4</cx:pt>
          <cx:pt idx="22856">2</cx:pt>
          <cx:pt idx="22857">3</cx:pt>
          <cx:pt idx="22858">5</cx:pt>
          <cx:pt idx="22859">1</cx:pt>
          <cx:pt idx="22860">4</cx:pt>
          <cx:pt idx="22861">3</cx:pt>
          <cx:pt idx="22862">3</cx:pt>
          <cx:pt idx="22863">4</cx:pt>
          <cx:pt idx="22864">4</cx:pt>
          <cx:pt idx="22865">4</cx:pt>
          <cx:pt idx="22866">1</cx:pt>
          <cx:pt idx="22867">2</cx:pt>
          <cx:pt idx="22868">4</cx:pt>
          <cx:pt idx="22869">4</cx:pt>
          <cx:pt idx="22870">1</cx:pt>
          <cx:pt idx="22871">4</cx:pt>
          <cx:pt idx="22872">2</cx:pt>
          <cx:pt idx="22873">4</cx:pt>
          <cx:pt idx="22874">3</cx:pt>
          <cx:pt idx="22875">3</cx:pt>
          <cx:pt idx="22876">4</cx:pt>
          <cx:pt idx="22877">4</cx:pt>
          <cx:pt idx="22878">4</cx:pt>
          <cx:pt idx="22879">4</cx:pt>
          <cx:pt idx="22880">1</cx:pt>
          <cx:pt idx="22881">4</cx:pt>
          <cx:pt idx="22882">3</cx:pt>
          <cx:pt idx="22883">1</cx:pt>
          <cx:pt idx="22884">2</cx:pt>
          <cx:pt idx="22885">4</cx:pt>
          <cx:pt idx="22886">5</cx:pt>
          <cx:pt idx="22887">5</cx:pt>
          <cx:pt idx="22888">2</cx:pt>
          <cx:pt idx="22889">3</cx:pt>
          <cx:pt idx="22890">1</cx:pt>
          <cx:pt idx="22891">3</cx:pt>
          <cx:pt idx="22892">5</cx:pt>
          <cx:pt idx="22893">3</cx:pt>
          <cx:pt idx="22894">1</cx:pt>
          <cx:pt idx="22895">4</cx:pt>
          <cx:pt idx="22896">4</cx:pt>
          <cx:pt idx="22897">4</cx:pt>
          <cx:pt idx="22898">4</cx:pt>
          <cx:pt idx="22899">5</cx:pt>
          <cx:pt idx="22900">1</cx:pt>
          <cx:pt idx="22901">1</cx:pt>
          <cx:pt idx="22902">2</cx:pt>
          <cx:pt idx="22903">3</cx:pt>
          <cx:pt idx="22904">4</cx:pt>
          <cx:pt idx="22905">4</cx:pt>
          <cx:pt idx="22906">4</cx:pt>
          <cx:pt idx="22907">3</cx:pt>
          <cx:pt idx="22908">4</cx:pt>
          <cx:pt idx="22909">3</cx:pt>
          <cx:pt idx="22910">2</cx:pt>
          <cx:pt idx="22911">1</cx:pt>
          <cx:pt idx="22912">5</cx:pt>
          <cx:pt idx="22913">4</cx:pt>
          <cx:pt idx="22914">2</cx:pt>
          <cx:pt idx="22915">1</cx:pt>
          <cx:pt idx="22916">1</cx:pt>
          <cx:pt idx="22917">3</cx:pt>
          <cx:pt idx="22918">4</cx:pt>
          <cx:pt idx="22919">5</cx:pt>
          <cx:pt idx="22920">5</cx:pt>
          <cx:pt idx="22921">3</cx:pt>
          <cx:pt idx="22922">1</cx:pt>
          <cx:pt idx="22923">3</cx:pt>
          <cx:pt idx="22924">5</cx:pt>
          <cx:pt idx="22925">2</cx:pt>
          <cx:pt idx="22926">5</cx:pt>
          <cx:pt idx="22927">4</cx:pt>
          <cx:pt idx="22928">3</cx:pt>
          <cx:pt idx="22929">5</cx:pt>
          <cx:pt idx="22930">5</cx:pt>
          <cx:pt idx="22931">4</cx:pt>
          <cx:pt idx="22932">3</cx:pt>
          <cx:pt idx="22933">2</cx:pt>
          <cx:pt idx="22934">2</cx:pt>
          <cx:pt idx="22935">2</cx:pt>
          <cx:pt idx="22936">3</cx:pt>
          <cx:pt idx="22937">2</cx:pt>
          <cx:pt idx="22938">3</cx:pt>
          <cx:pt idx="22939">5</cx:pt>
          <cx:pt idx="22940">4</cx:pt>
          <cx:pt idx="22941">1</cx:pt>
          <cx:pt idx="22942">3</cx:pt>
          <cx:pt idx="22943">4</cx:pt>
          <cx:pt idx="22944">5</cx:pt>
          <cx:pt idx="22945">4</cx:pt>
          <cx:pt idx="22946">5</cx:pt>
          <cx:pt idx="22947">4</cx:pt>
          <cx:pt idx="22948">4</cx:pt>
          <cx:pt idx="22949">5</cx:pt>
          <cx:pt idx="22950">1</cx:pt>
          <cx:pt idx="22951">3</cx:pt>
          <cx:pt idx="22952">4</cx:pt>
          <cx:pt idx="22953">5</cx:pt>
          <cx:pt idx="22954">1</cx:pt>
          <cx:pt idx="22955">4</cx:pt>
          <cx:pt idx="22956">4</cx:pt>
          <cx:pt idx="22957">3</cx:pt>
          <cx:pt idx="22958">5</cx:pt>
          <cx:pt idx="22959">1</cx:pt>
          <cx:pt idx="22960">1</cx:pt>
          <cx:pt idx="22961">2</cx:pt>
          <cx:pt idx="22962">3</cx:pt>
          <cx:pt idx="22963">4</cx:pt>
          <cx:pt idx="22964">4</cx:pt>
          <cx:pt idx="22965">4</cx:pt>
          <cx:pt idx="22966">2</cx:pt>
          <cx:pt idx="22967">3</cx:pt>
          <cx:pt idx="22968">4</cx:pt>
          <cx:pt idx="22969">5</cx:pt>
          <cx:pt idx="22970">5</cx:pt>
          <cx:pt idx="22971">3</cx:pt>
          <cx:pt idx="22972">5</cx:pt>
          <cx:pt idx="22973">1</cx:pt>
          <cx:pt idx="22974">4</cx:pt>
          <cx:pt idx="22975">5</cx:pt>
          <cx:pt idx="22976">4</cx:pt>
          <cx:pt idx="22977">5</cx:pt>
          <cx:pt idx="22978">4</cx:pt>
          <cx:pt idx="22979">4</cx:pt>
          <cx:pt idx="22980">4</cx:pt>
          <cx:pt idx="22981">3</cx:pt>
          <cx:pt idx="22982">4</cx:pt>
          <cx:pt idx="22983">4</cx:pt>
          <cx:pt idx="22984">4</cx:pt>
          <cx:pt idx="22985">5</cx:pt>
          <cx:pt idx="22986">1</cx:pt>
          <cx:pt idx="22987">4</cx:pt>
          <cx:pt idx="22988">4</cx:pt>
          <cx:pt idx="22989">5</cx:pt>
          <cx:pt idx="22990">4</cx:pt>
          <cx:pt idx="22991">4</cx:pt>
          <cx:pt idx="22992">4</cx:pt>
          <cx:pt idx="22993">3</cx:pt>
          <cx:pt idx="22994">4</cx:pt>
          <cx:pt idx="22995">3</cx:pt>
          <cx:pt idx="22996">3</cx:pt>
          <cx:pt idx="22997">4</cx:pt>
          <cx:pt idx="22998">3</cx:pt>
          <cx:pt idx="22999">3</cx:pt>
          <cx:pt idx="23000">4</cx:pt>
          <cx:pt idx="23001">4</cx:pt>
          <cx:pt idx="23002">3</cx:pt>
          <cx:pt idx="23003">2</cx:pt>
          <cx:pt idx="23004">3</cx:pt>
          <cx:pt idx="23005">2</cx:pt>
          <cx:pt idx="23006">4</cx:pt>
          <cx:pt idx="23007">5</cx:pt>
          <cx:pt idx="23008">4</cx:pt>
          <cx:pt idx="23009">3</cx:pt>
          <cx:pt idx="23010">4</cx:pt>
          <cx:pt idx="23011">5</cx:pt>
          <cx:pt idx="23012">3</cx:pt>
          <cx:pt idx="23013">4</cx:pt>
          <cx:pt idx="23014">2</cx:pt>
          <cx:pt idx="23015">3</cx:pt>
          <cx:pt idx="23016">2</cx:pt>
          <cx:pt idx="23017">5</cx:pt>
          <cx:pt idx="23018">2</cx:pt>
          <cx:pt idx="23019">1</cx:pt>
          <cx:pt idx="23020">4</cx:pt>
          <cx:pt idx="23021">4</cx:pt>
          <cx:pt idx="23022">3</cx:pt>
          <cx:pt idx="23023">3</cx:pt>
          <cx:pt idx="23024">2</cx:pt>
          <cx:pt idx="23025">5</cx:pt>
          <cx:pt idx="23026">4</cx:pt>
          <cx:pt idx="23027">5</cx:pt>
          <cx:pt idx="23028">5</cx:pt>
          <cx:pt idx="23029">1</cx:pt>
          <cx:pt idx="23030">2</cx:pt>
          <cx:pt idx="23031">5</cx:pt>
          <cx:pt idx="23032">4</cx:pt>
          <cx:pt idx="23033">5</cx:pt>
          <cx:pt idx="23034">4</cx:pt>
          <cx:pt idx="23035">4</cx:pt>
          <cx:pt idx="23036">4</cx:pt>
          <cx:pt idx="23037">2</cx:pt>
          <cx:pt idx="23038">5</cx:pt>
          <cx:pt idx="23039">2</cx:pt>
          <cx:pt idx="23040">5</cx:pt>
          <cx:pt idx="23041">1</cx:pt>
          <cx:pt idx="23042">4</cx:pt>
          <cx:pt idx="23043">1</cx:pt>
          <cx:pt idx="23044">3</cx:pt>
          <cx:pt idx="23045">2</cx:pt>
          <cx:pt idx="23046">4</cx:pt>
          <cx:pt idx="23047">4</cx:pt>
          <cx:pt idx="23048">3</cx:pt>
          <cx:pt idx="23049">5</cx:pt>
          <cx:pt idx="23050">4</cx:pt>
          <cx:pt idx="23051">5</cx:pt>
          <cx:pt idx="23052">3</cx:pt>
          <cx:pt idx="23053">5</cx:pt>
          <cx:pt idx="23054">5</cx:pt>
          <cx:pt idx="23055">5</cx:pt>
          <cx:pt idx="23056">4</cx:pt>
          <cx:pt idx="23057">5</cx:pt>
          <cx:pt idx="23058">3</cx:pt>
          <cx:pt idx="23059">1</cx:pt>
          <cx:pt idx="23060">4</cx:pt>
          <cx:pt idx="23061">5</cx:pt>
          <cx:pt idx="23062">1</cx:pt>
          <cx:pt idx="23063">2</cx:pt>
          <cx:pt idx="23064">3</cx:pt>
          <cx:pt idx="23065">5</cx:pt>
          <cx:pt idx="23066">4</cx:pt>
          <cx:pt idx="23067">1</cx:pt>
          <cx:pt idx="23068">2</cx:pt>
          <cx:pt idx="23069">2</cx:pt>
          <cx:pt idx="23070">2</cx:pt>
          <cx:pt idx="23071">4</cx:pt>
          <cx:pt idx="23072">5</cx:pt>
          <cx:pt idx="23073">5</cx:pt>
          <cx:pt idx="23074">5</cx:pt>
          <cx:pt idx="23075">4</cx:pt>
          <cx:pt idx="23076">4</cx:pt>
          <cx:pt idx="23077">2</cx:pt>
          <cx:pt idx="23078">3</cx:pt>
          <cx:pt idx="23079">3</cx:pt>
          <cx:pt idx="23080">4</cx:pt>
          <cx:pt idx="23081">4</cx:pt>
          <cx:pt idx="23082">4</cx:pt>
          <cx:pt idx="23083">4</cx:pt>
          <cx:pt idx="23084">4</cx:pt>
          <cx:pt idx="23085">5</cx:pt>
          <cx:pt idx="23086">5</cx:pt>
          <cx:pt idx="23087">5</cx:pt>
          <cx:pt idx="23088">3</cx:pt>
          <cx:pt idx="23089">5</cx:pt>
          <cx:pt idx="23090">2</cx:pt>
          <cx:pt idx="23091">4</cx:pt>
          <cx:pt idx="23092">5</cx:pt>
          <cx:pt idx="23093">2</cx:pt>
          <cx:pt idx="23094">5</cx:pt>
          <cx:pt idx="23095">4</cx:pt>
          <cx:pt idx="23096">4</cx:pt>
          <cx:pt idx="23097">3</cx:pt>
          <cx:pt idx="23098">5</cx:pt>
          <cx:pt idx="23099">4</cx:pt>
          <cx:pt idx="23100">4</cx:pt>
          <cx:pt idx="23101">2</cx:pt>
          <cx:pt idx="23102">4</cx:pt>
          <cx:pt idx="23103">5</cx:pt>
          <cx:pt idx="23104">3</cx:pt>
          <cx:pt idx="23105">5</cx:pt>
          <cx:pt idx="23106">3</cx:pt>
          <cx:pt idx="23107">2</cx:pt>
          <cx:pt idx="23108">4</cx:pt>
          <cx:pt idx="23109">1</cx:pt>
          <cx:pt idx="23110">1</cx:pt>
          <cx:pt idx="23111">4</cx:pt>
          <cx:pt idx="23112">3</cx:pt>
          <cx:pt idx="23113">5</cx:pt>
          <cx:pt idx="23114">3</cx:pt>
          <cx:pt idx="23115">2</cx:pt>
          <cx:pt idx="23116">5</cx:pt>
          <cx:pt idx="23117">1</cx:pt>
          <cx:pt idx="23118">4</cx:pt>
          <cx:pt idx="23119">3</cx:pt>
          <cx:pt idx="23120">3</cx:pt>
          <cx:pt idx="23121">5</cx:pt>
          <cx:pt idx="23122">5</cx:pt>
          <cx:pt idx="23123">4</cx:pt>
          <cx:pt idx="23124">3</cx:pt>
          <cx:pt idx="23125">1</cx:pt>
          <cx:pt idx="23126">5</cx:pt>
          <cx:pt idx="23127">5</cx:pt>
          <cx:pt idx="23128">5</cx:pt>
          <cx:pt idx="23129">2</cx:pt>
          <cx:pt idx="23130">3</cx:pt>
          <cx:pt idx="23131">3</cx:pt>
          <cx:pt idx="23132">1</cx:pt>
          <cx:pt idx="23133">5</cx:pt>
          <cx:pt idx="23134">3</cx:pt>
          <cx:pt idx="23135">4</cx:pt>
          <cx:pt idx="23136">5</cx:pt>
          <cx:pt idx="23137">2</cx:pt>
          <cx:pt idx="23138">1</cx:pt>
          <cx:pt idx="23139">5</cx:pt>
          <cx:pt idx="23140">3</cx:pt>
          <cx:pt idx="23141">2</cx:pt>
          <cx:pt idx="23142">2</cx:pt>
          <cx:pt idx="23143">2</cx:pt>
          <cx:pt idx="23144">2</cx:pt>
          <cx:pt idx="23145">5</cx:pt>
          <cx:pt idx="23146">1</cx:pt>
          <cx:pt idx="23147">3</cx:pt>
          <cx:pt idx="23148">4</cx:pt>
          <cx:pt idx="23149">4</cx:pt>
          <cx:pt idx="23150">4</cx:pt>
          <cx:pt idx="23151">2</cx:pt>
          <cx:pt idx="23152">5</cx:pt>
          <cx:pt idx="23153">5</cx:pt>
          <cx:pt idx="23154">4</cx:pt>
          <cx:pt idx="23155">4</cx:pt>
          <cx:pt idx="23156">1</cx:pt>
          <cx:pt idx="23157">4</cx:pt>
          <cx:pt idx="23158">5</cx:pt>
          <cx:pt idx="23159">4</cx:pt>
          <cx:pt idx="23160">2</cx:pt>
          <cx:pt idx="23161">5</cx:pt>
          <cx:pt idx="23162">4</cx:pt>
          <cx:pt idx="23163">4</cx:pt>
          <cx:pt idx="23164">3</cx:pt>
          <cx:pt idx="23165">4</cx:pt>
          <cx:pt idx="23166">2</cx:pt>
          <cx:pt idx="23167">3</cx:pt>
          <cx:pt idx="23168">4</cx:pt>
          <cx:pt idx="23169">2</cx:pt>
          <cx:pt idx="23170">4</cx:pt>
          <cx:pt idx="23171">1</cx:pt>
          <cx:pt idx="23172">5</cx:pt>
          <cx:pt idx="23173">4</cx:pt>
          <cx:pt idx="23174">4</cx:pt>
          <cx:pt idx="23175">2</cx:pt>
          <cx:pt idx="23176">4</cx:pt>
          <cx:pt idx="23177">1</cx:pt>
          <cx:pt idx="23178">4</cx:pt>
          <cx:pt idx="23179">5</cx:pt>
          <cx:pt idx="23180">3</cx:pt>
          <cx:pt idx="23181">1</cx:pt>
          <cx:pt idx="23182">1</cx:pt>
          <cx:pt idx="23183">4</cx:pt>
          <cx:pt idx="23184">5</cx:pt>
          <cx:pt idx="23185">4</cx:pt>
          <cx:pt idx="23186">4</cx:pt>
          <cx:pt idx="23187">5</cx:pt>
          <cx:pt idx="23188">1</cx:pt>
          <cx:pt idx="23189">4</cx:pt>
          <cx:pt idx="23190">2</cx:pt>
          <cx:pt idx="23191">4</cx:pt>
          <cx:pt idx="23192">4</cx:pt>
          <cx:pt idx="23193">5</cx:pt>
          <cx:pt idx="23194">2</cx:pt>
          <cx:pt idx="23195">5</cx:pt>
          <cx:pt idx="23196">3</cx:pt>
          <cx:pt idx="23197">4</cx:pt>
          <cx:pt idx="23198">5</cx:pt>
          <cx:pt idx="23199">2</cx:pt>
          <cx:pt idx="23200">5</cx:pt>
          <cx:pt idx="23201">1</cx:pt>
          <cx:pt idx="23202">5</cx:pt>
          <cx:pt idx="23203">5</cx:pt>
          <cx:pt idx="23204">1</cx:pt>
          <cx:pt idx="23205">4</cx:pt>
          <cx:pt idx="23206">4</cx:pt>
          <cx:pt idx="23207">3</cx:pt>
          <cx:pt idx="23208">2</cx:pt>
          <cx:pt idx="23209">2</cx:pt>
          <cx:pt idx="23210">5</cx:pt>
          <cx:pt idx="23211">1</cx:pt>
          <cx:pt idx="23212">3</cx:pt>
          <cx:pt idx="23213">4</cx:pt>
          <cx:pt idx="23214">4</cx:pt>
          <cx:pt idx="23215">5</cx:pt>
          <cx:pt idx="23216">5</cx:pt>
          <cx:pt idx="23217">4</cx:pt>
          <cx:pt idx="23218">2</cx:pt>
          <cx:pt idx="23219">1</cx:pt>
          <cx:pt idx="23220">3</cx:pt>
          <cx:pt idx="23221">2</cx:pt>
          <cx:pt idx="23222">2</cx:pt>
          <cx:pt idx="23223">5</cx:pt>
          <cx:pt idx="23224">1</cx:pt>
          <cx:pt idx="23225">4</cx:pt>
          <cx:pt idx="23226">5</cx:pt>
          <cx:pt idx="23227">1</cx:pt>
          <cx:pt idx="23228">2</cx:pt>
          <cx:pt idx="23229">1</cx:pt>
          <cx:pt idx="23230">3</cx:pt>
          <cx:pt idx="23231">5</cx:pt>
          <cx:pt idx="23232">5</cx:pt>
          <cx:pt idx="23233">4</cx:pt>
          <cx:pt idx="23234">4</cx:pt>
          <cx:pt idx="23235">4</cx:pt>
          <cx:pt idx="23236">2</cx:pt>
          <cx:pt idx="23237">2</cx:pt>
          <cx:pt idx="23238">1</cx:pt>
          <cx:pt idx="23239">4</cx:pt>
          <cx:pt idx="23240">4</cx:pt>
          <cx:pt idx="23241">5</cx:pt>
          <cx:pt idx="23242">4</cx:pt>
          <cx:pt idx="23243">4</cx:pt>
          <cx:pt idx="23244">5</cx:pt>
          <cx:pt idx="23245">3</cx:pt>
          <cx:pt idx="23246">3</cx:pt>
          <cx:pt idx="23247">4</cx:pt>
          <cx:pt idx="23248">4</cx:pt>
          <cx:pt idx="23249">4</cx:pt>
          <cx:pt idx="23250">3</cx:pt>
          <cx:pt idx="23251">3</cx:pt>
          <cx:pt idx="23252">3</cx:pt>
          <cx:pt idx="23253">3</cx:pt>
          <cx:pt idx="23254">5</cx:pt>
          <cx:pt idx="23255">5</cx:pt>
          <cx:pt idx="23256">4</cx:pt>
          <cx:pt idx="23257">4</cx:pt>
          <cx:pt idx="23258">4</cx:pt>
          <cx:pt idx="23259">4</cx:pt>
          <cx:pt idx="23260">4</cx:pt>
          <cx:pt idx="23261">4</cx:pt>
          <cx:pt idx="23262">5</cx:pt>
          <cx:pt idx="23263">2</cx:pt>
          <cx:pt idx="23264">4</cx:pt>
          <cx:pt idx="23265">3</cx:pt>
          <cx:pt idx="23266">2</cx:pt>
          <cx:pt idx="23267">4</cx:pt>
          <cx:pt idx="23268">3</cx:pt>
          <cx:pt idx="23269">4</cx:pt>
          <cx:pt idx="23270">2</cx:pt>
          <cx:pt idx="23271">4</cx:pt>
          <cx:pt idx="23272">3</cx:pt>
          <cx:pt idx="23273">2</cx:pt>
          <cx:pt idx="23274">5</cx:pt>
          <cx:pt idx="23275">5</cx:pt>
          <cx:pt idx="23276">2</cx:pt>
          <cx:pt idx="23277">3</cx:pt>
          <cx:pt idx="23278">4</cx:pt>
          <cx:pt idx="23279">5</cx:pt>
          <cx:pt idx="23280">1</cx:pt>
          <cx:pt idx="23281">5</cx:pt>
          <cx:pt idx="23282">5</cx:pt>
          <cx:pt idx="23283">4</cx:pt>
          <cx:pt idx="23284">4</cx:pt>
          <cx:pt idx="23285">2</cx:pt>
          <cx:pt idx="23286">5</cx:pt>
          <cx:pt idx="23287">5</cx:pt>
          <cx:pt idx="23288">3</cx:pt>
          <cx:pt idx="23289">5</cx:pt>
          <cx:pt idx="23290">5</cx:pt>
          <cx:pt idx="23291">4</cx:pt>
          <cx:pt idx="23292">4</cx:pt>
          <cx:pt idx="23293">5</cx:pt>
          <cx:pt idx="23294">1</cx:pt>
          <cx:pt idx="23295">5</cx:pt>
          <cx:pt idx="23296">5</cx:pt>
          <cx:pt idx="23297">5</cx:pt>
          <cx:pt idx="23298">3</cx:pt>
          <cx:pt idx="23299">3</cx:pt>
          <cx:pt idx="23300">5</cx:pt>
          <cx:pt idx="23301">2</cx:pt>
          <cx:pt idx="23302">2</cx:pt>
          <cx:pt idx="23303">5</cx:pt>
          <cx:pt idx="23304">2</cx:pt>
          <cx:pt idx="23305">4</cx:pt>
          <cx:pt idx="23306">5</cx:pt>
          <cx:pt idx="23307">3</cx:pt>
          <cx:pt idx="23308">4</cx:pt>
          <cx:pt idx="23309">5</cx:pt>
          <cx:pt idx="23310">4</cx:pt>
          <cx:pt idx="23311">1</cx:pt>
          <cx:pt idx="23312">4</cx:pt>
          <cx:pt idx="23313">1</cx:pt>
          <cx:pt idx="23314">2</cx:pt>
          <cx:pt idx="23315">5</cx:pt>
          <cx:pt idx="23316">5</cx:pt>
          <cx:pt idx="23317">4</cx:pt>
          <cx:pt idx="23318">2</cx:pt>
          <cx:pt idx="23319">1</cx:pt>
          <cx:pt idx="23320">1</cx:pt>
          <cx:pt idx="23321">2</cx:pt>
          <cx:pt idx="23322">5</cx:pt>
          <cx:pt idx="23323">5</cx:pt>
          <cx:pt idx="23324">5</cx:pt>
          <cx:pt idx="23325">5</cx:pt>
          <cx:pt idx="23326">5</cx:pt>
          <cx:pt idx="23327">5</cx:pt>
          <cx:pt idx="23328">4</cx:pt>
          <cx:pt idx="23329">5</cx:pt>
          <cx:pt idx="23330">5</cx:pt>
          <cx:pt idx="23331">3</cx:pt>
          <cx:pt idx="23332">3</cx:pt>
          <cx:pt idx="23333">5</cx:pt>
          <cx:pt idx="23334">4</cx:pt>
          <cx:pt idx="23335">5</cx:pt>
          <cx:pt idx="23336">5</cx:pt>
          <cx:pt idx="23337">5</cx:pt>
          <cx:pt idx="23338">3</cx:pt>
          <cx:pt idx="23339">1</cx:pt>
          <cx:pt idx="23340">5</cx:pt>
          <cx:pt idx="23341">1</cx:pt>
          <cx:pt idx="23342">3</cx:pt>
          <cx:pt idx="23343">3</cx:pt>
          <cx:pt idx="23344">5</cx:pt>
          <cx:pt idx="23345">5</cx:pt>
          <cx:pt idx="23346">1</cx:pt>
          <cx:pt idx="23347">2</cx:pt>
          <cx:pt idx="23348">4</cx:pt>
          <cx:pt idx="23349">5</cx:pt>
          <cx:pt idx="23350">5</cx:pt>
          <cx:pt idx="23351">5</cx:pt>
          <cx:pt idx="23352">4</cx:pt>
          <cx:pt idx="23353">3</cx:pt>
          <cx:pt idx="23354">3</cx:pt>
          <cx:pt idx="23355">2</cx:pt>
          <cx:pt idx="23356">2</cx:pt>
          <cx:pt idx="23357">1</cx:pt>
          <cx:pt idx="23358">2</cx:pt>
          <cx:pt idx="23359">4</cx:pt>
          <cx:pt idx="23360">3</cx:pt>
          <cx:pt idx="23361">4</cx:pt>
          <cx:pt idx="23362">3</cx:pt>
          <cx:pt idx="23363">4</cx:pt>
          <cx:pt idx="23364">5</cx:pt>
          <cx:pt idx="23365">4</cx:pt>
          <cx:pt idx="23366">4</cx:pt>
          <cx:pt idx="23367">2</cx:pt>
          <cx:pt idx="23368">4</cx:pt>
          <cx:pt idx="23369">3</cx:pt>
          <cx:pt idx="23370">3</cx:pt>
          <cx:pt idx="23371">4</cx:pt>
          <cx:pt idx="23372">4</cx:pt>
          <cx:pt idx="23373">5</cx:pt>
          <cx:pt idx="23374">5</cx:pt>
          <cx:pt idx="23375">5</cx:pt>
          <cx:pt idx="23376">5</cx:pt>
          <cx:pt idx="23377">3</cx:pt>
          <cx:pt idx="23378">5</cx:pt>
          <cx:pt idx="23379">3</cx:pt>
          <cx:pt idx="23380">5</cx:pt>
          <cx:pt idx="23381">4</cx:pt>
          <cx:pt idx="23382">4</cx:pt>
          <cx:pt idx="23383">4</cx:pt>
          <cx:pt idx="23384">3</cx:pt>
          <cx:pt idx="23385">3</cx:pt>
          <cx:pt idx="23386">5</cx:pt>
          <cx:pt idx="23387">2</cx:pt>
          <cx:pt idx="23388">2</cx:pt>
          <cx:pt idx="23389">2</cx:pt>
          <cx:pt idx="23390">3</cx:pt>
          <cx:pt idx="23391">5</cx:pt>
          <cx:pt idx="23392">4</cx:pt>
          <cx:pt idx="23393">5</cx:pt>
          <cx:pt idx="23394">4</cx:pt>
          <cx:pt idx="23395">4</cx:pt>
          <cx:pt idx="23396">3</cx:pt>
          <cx:pt idx="23397">4</cx:pt>
          <cx:pt idx="23398">2</cx:pt>
          <cx:pt idx="23399">1</cx:pt>
          <cx:pt idx="23400">5</cx:pt>
          <cx:pt idx="23401">4</cx:pt>
          <cx:pt idx="23402">4</cx:pt>
          <cx:pt idx="23403">4</cx:pt>
          <cx:pt idx="23404">2</cx:pt>
          <cx:pt idx="23405">1</cx:pt>
          <cx:pt idx="23406">4</cx:pt>
          <cx:pt idx="23407">4</cx:pt>
          <cx:pt idx="23408">3</cx:pt>
          <cx:pt idx="23409">5</cx:pt>
          <cx:pt idx="23410">5</cx:pt>
          <cx:pt idx="23411">2</cx:pt>
          <cx:pt idx="23412">4</cx:pt>
          <cx:pt idx="23413">2</cx:pt>
          <cx:pt idx="23414">2</cx:pt>
          <cx:pt idx="23415">5</cx:pt>
          <cx:pt idx="23416">3</cx:pt>
          <cx:pt idx="23417">5</cx:pt>
          <cx:pt idx="23418">2</cx:pt>
          <cx:pt idx="23419">2</cx:pt>
          <cx:pt idx="23420">4</cx:pt>
          <cx:pt idx="23421">2</cx:pt>
          <cx:pt idx="23422">5</cx:pt>
          <cx:pt idx="23423">4</cx:pt>
          <cx:pt idx="23424">4</cx:pt>
          <cx:pt idx="23425">5</cx:pt>
          <cx:pt idx="23426">4</cx:pt>
          <cx:pt idx="23427">1</cx:pt>
          <cx:pt idx="23428">5</cx:pt>
          <cx:pt idx="23429">3</cx:pt>
          <cx:pt idx="23430">2</cx:pt>
          <cx:pt idx="23431">5</cx:pt>
          <cx:pt idx="23432">3</cx:pt>
          <cx:pt idx="23433">5</cx:pt>
          <cx:pt idx="23434">2</cx:pt>
          <cx:pt idx="23435">5</cx:pt>
          <cx:pt idx="23436">4</cx:pt>
          <cx:pt idx="23437">5</cx:pt>
          <cx:pt idx="23438">4</cx:pt>
          <cx:pt idx="23439">4</cx:pt>
          <cx:pt idx="23440">3</cx:pt>
          <cx:pt idx="23441">2</cx:pt>
          <cx:pt idx="23442">4</cx:pt>
          <cx:pt idx="23443">3</cx:pt>
          <cx:pt idx="23444">4</cx:pt>
          <cx:pt idx="23445">4</cx:pt>
          <cx:pt idx="23446">5</cx:pt>
          <cx:pt idx="23447">3</cx:pt>
          <cx:pt idx="23448">5</cx:pt>
          <cx:pt idx="23449">5</cx:pt>
          <cx:pt idx="23450">2</cx:pt>
          <cx:pt idx="23451">4</cx:pt>
          <cx:pt idx="23452">5</cx:pt>
          <cx:pt idx="23453">1</cx:pt>
          <cx:pt idx="23454">5</cx:pt>
          <cx:pt idx="23455">4</cx:pt>
          <cx:pt idx="23456">3</cx:pt>
          <cx:pt idx="23457">2</cx:pt>
          <cx:pt idx="23458">1</cx:pt>
          <cx:pt idx="23459">5</cx:pt>
          <cx:pt idx="23460">3</cx:pt>
          <cx:pt idx="23461">4</cx:pt>
          <cx:pt idx="23462">4</cx:pt>
          <cx:pt idx="23463">4</cx:pt>
          <cx:pt idx="23464">1</cx:pt>
          <cx:pt idx="23465">2</cx:pt>
          <cx:pt idx="23466">4</cx:pt>
          <cx:pt idx="23467">4</cx:pt>
          <cx:pt idx="23468">4</cx:pt>
          <cx:pt idx="23469">1</cx:pt>
          <cx:pt idx="23470">3</cx:pt>
          <cx:pt idx="23471">1</cx:pt>
          <cx:pt idx="23472">5</cx:pt>
          <cx:pt idx="23473">5</cx:pt>
          <cx:pt idx="23474">3</cx:pt>
          <cx:pt idx="23475">1</cx:pt>
          <cx:pt idx="23476">3</cx:pt>
          <cx:pt idx="23477">4</cx:pt>
          <cx:pt idx="23478">1</cx:pt>
          <cx:pt idx="23479">3</cx:pt>
          <cx:pt idx="23480">5</cx:pt>
          <cx:pt idx="23481">3</cx:pt>
          <cx:pt idx="23482">2</cx:pt>
          <cx:pt idx="23483">3</cx:pt>
          <cx:pt idx="23484">4</cx:pt>
          <cx:pt idx="23485">2</cx:pt>
          <cx:pt idx="23486">2</cx:pt>
          <cx:pt idx="23487">5</cx:pt>
          <cx:pt idx="23488">1</cx:pt>
          <cx:pt idx="23489">3</cx:pt>
          <cx:pt idx="23490">5</cx:pt>
          <cx:pt idx="23491">4</cx:pt>
          <cx:pt idx="23492">5</cx:pt>
          <cx:pt idx="23493">1</cx:pt>
          <cx:pt idx="23494">3</cx:pt>
          <cx:pt idx="23495">5</cx:pt>
          <cx:pt idx="23496">1</cx:pt>
          <cx:pt idx="23497">5</cx:pt>
          <cx:pt idx="23498">4</cx:pt>
          <cx:pt idx="23499">4</cx:pt>
          <cx:pt idx="23500">3</cx:pt>
          <cx:pt idx="23501">4</cx:pt>
          <cx:pt idx="23502">1</cx:pt>
          <cx:pt idx="23503">2</cx:pt>
          <cx:pt idx="23504">3</cx:pt>
          <cx:pt idx="23505">5</cx:pt>
          <cx:pt idx="23506">4</cx:pt>
          <cx:pt idx="23507">3</cx:pt>
          <cx:pt idx="23508">4</cx:pt>
          <cx:pt idx="23509">2</cx:pt>
          <cx:pt idx="23510">2</cx:pt>
          <cx:pt idx="23511">5</cx:pt>
          <cx:pt idx="23512">1</cx:pt>
          <cx:pt idx="23513">5</cx:pt>
          <cx:pt idx="23514">5</cx:pt>
          <cx:pt idx="23515">1</cx:pt>
          <cx:pt idx="23516">4</cx:pt>
          <cx:pt idx="23517">3</cx:pt>
          <cx:pt idx="23518">2</cx:pt>
          <cx:pt idx="23519">1</cx:pt>
          <cx:pt idx="23520">2</cx:pt>
          <cx:pt idx="23521">4</cx:pt>
          <cx:pt idx="23522">5</cx:pt>
          <cx:pt idx="23523">1</cx:pt>
          <cx:pt idx="23524">1</cx:pt>
          <cx:pt idx="23525">4</cx:pt>
          <cx:pt idx="23526">1</cx:pt>
          <cx:pt idx="23527">1</cx:pt>
          <cx:pt idx="23528">4</cx:pt>
          <cx:pt idx="23529">2</cx:pt>
          <cx:pt idx="23530">4</cx:pt>
          <cx:pt idx="23531">1</cx:pt>
          <cx:pt idx="23532">5</cx:pt>
          <cx:pt idx="23533">5</cx:pt>
          <cx:pt idx="23534">5</cx:pt>
          <cx:pt idx="23535">5</cx:pt>
          <cx:pt idx="23536">5</cx:pt>
          <cx:pt idx="23537">1</cx:pt>
          <cx:pt idx="23538">4</cx:pt>
          <cx:pt idx="23539">5</cx:pt>
          <cx:pt idx="23540">4</cx:pt>
          <cx:pt idx="23541">4</cx:pt>
          <cx:pt idx="23542">2</cx:pt>
          <cx:pt idx="23543">2</cx:pt>
          <cx:pt idx="23544">1</cx:pt>
          <cx:pt idx="23545">2</cx:pt>
          <cx:pt idx="23546">3</cx:pt>
          <cx:pt idx="23547">2</cx:pt>
          <cx:pt idx="23548">5</cx:pt>
          <cx:pt idx="23549">4</cx:pt>
          <cx:pt idx="23550">4</cx:pt>
          <cx:pt idx="23551">1</cx:pt>
          <cx:pt idx="23552">5</cx:pt>
          <cx:pt idx="23553">5</cx:pt>
          <cx:pt idx="23554">3</cx:pt>
          <cx:pt idx="23555">4</cx:pt>
          <cx:pt idx="23556">5</cx:pt>
          <cx:pt idx="23557">4</cx:pt>
          <cx:pt idx="23558">3</cx:pt>
          <cx:pt idx="23559">4</cx:pt>
          <cx:pt idx="23560">3</cx:pt>
          <cx:pt idx="23561">5</cx:pt>
          <cx:pt idx="23562">3</cx:pt>
          <cx:pt idx="23563">4</cx:pt>
          <cx:pt idx="23564">4</cx:pt>
          <cx:pt idx="23565">5</cx:pt>
          <cx:pt idx="23566">4</cx:pt>
          <cx:pt idx="23567">1</cx:pt>
          <cx:pt idx="23568">3</cx:pt>
          <cx:pt idx="23569">5</cx:pt>
          <cx:pt idx="23570">2</cx:pt>
          <cx:pt idx="23571">4</cx:pt>
          <cx:pt idx="23572">1</cx:pt>
          <cx:pt idx="23573">5</cx:pt>
          <cx:pt idx="23574">3</cx:pt>
          <cx:pt idx="23575">2</cx:pt>
          <cx:pt idx="23576">1</cx:pt>
          <cx:pt idx="23577">3</cx:pt>
          <cx:pt idx="23578">5</cx:pt>
          <cx:pt idx="23579">4</cx:pt>
          <cx:pt idx="23580">3</cx:pt>
          <cx:pt idx="23581">4</cx:pt>
          <cx:pt idx="23582">5</cx:pt>
          <cx:pt idx="23583">4</cx:pt>
          <cx:pt idx="23584">5</cx:pt>
          <cx:pt idx="23585">4</cx:pt>
          <cx:pt idx="23586">4</cx:pt>
          <cx:pt idx="23587">4</cx:pt>
          <cx:pt idx="23588">3</cx:pt>
          <cx:pt idx="23589">3</cx:pt>
          <cx:pt idx="23590">5</cx:pt>
          <cx:pt idx="23591">4</cx:pt>
          <cx:pt idx="23592">5</cx:pt>
          <cx:pt idx="23593">2</cx:pt>
          <cx:pt idx="23594">3</cx:pt>
          <cx:pt idx="23595">3</cx:pt>
          <cx:pt idx="23596">4</cx:pt>
          <cx:pt idx="23597">5</cx:pt>
          <cx:pt idx="23598">2</cx:pt>
          <cx:pt idx="23599">4</cx:pt>
          <cx:pt idx="23600">2</cx:pt>
          <cx:pt idx="23601">1</cx:pt>
          <cx:pt idx="23602">1</cx:pt>
          <cx:pt idx="23603">4</cx:pt>
          <cx:pt idx="23604">3</cx:pt>
          <cx:pt idx="23605">4</cx:pt>
          <cx:pt idx="23606">5</cx:pt>
          <cx:pt idx="23607">1</cx:pt>
          <cx:pt idx="23608">4</cx:pt>
          <cx:pt idx="23609">2</cx:pt>
          <cx:pt idx="23610">4</cx:pt>
          <cx:pt idx="23611">4</cx:pt>
          <cx:pt idx="23612">5</cx:pt>
          <cx:pt idx="23613">5</cx:pt>
          <cx:pt idx="23614">5</cx:pt>
          <cx:pt idx="23615">5</cx:pt>
          <cx:pt idx="23616">4</cx:pt>
          <cx:pt idx="23617">2</cx:pt>
          <cx:pt idx="23618">3</cx:pt>
          <cx:pt idx="23619">4</cx:pt>
          <cx:pt idx="23620">4</cx:pt>
          <cx:pt idx="23621">4</cx:pt>
          <cx:pt idx="23622">4</cx:pt>
          <cx:pt idx="23623">2</cx:pt>
          <cx:pt idx="23624">5</cx:pt>
          <cx:pt idx="23625">2</cx:pt>
          <cx:pt idx="23626">2</cx:pt>
          <cx:pt idx="23627">1</cx:pt>
          <cx:pt idx="23628">2</cx:pt>
          <cx:pt idx="23629">4</cx:pt>
          <cx:pt idx="23630">5</cx:pt>
          <cx:pt idx="23631">4</cx:pt>
          <cx:pt idx="23632">4</cx:pt>
          <cx:pt idx="23633">1</cx:pt>
          <cx:pt idx="23634">4</cx:pt>
          <cx:pt idx="23635">2</cx:pt>
          <cx:pt idx="23636">2</cx:pt>
          <cx:pt idx="23637">4</cx:pt>
          <cx:pt idx="23638">3</cx:pt>
          <cx:pt idx="23639">3</cx:pt>
          <cx:pt idx="23640">5</cx:pt>
          <cx:pt idx="23641">5</cx:pt>
          <cx:pt idx="23642">1</cx:pt>
          <cx:pt idx="23643">4</cx:pt>
          <cx:pt idx="23644">2</cx:pt>
          <cx:pt idx="23645">5</cx:pt>
          <cx:pt idx="23646">5</cx:pt>
          <cx:pt idx="23647">5</cx:pt>
          <cx:pt idx="23648">4</cx:pt>
          <cx:pt idx="23649">4</cx:pt>
          <cx:pt idx="23650">4</cx:pt>
          <cx:pt idx="23651">5</cx:pt>
          <cx:pt idx="23652">4</cx:pt>
          <cx:pt idx="23653">3</cx:pt>
          <cx:pt idx="23654">4</cx:pt>
          <cx:pt idx="23655">5</cx:pt>
          <cx:pt idx="23656">4</cx:pt>
          <cx:pt idx="23657">2</cx:pt>
          <cx:pt idx="23658">2</cx:pt>
          <cx:pt idx="23659">4</cx:pt>
          <cx:pt idx="23660">4</cx:pt>
          <cx:pt idx="23661">4</cx:pt>
          <cx:pt idx="23662">3</cx:pt>
          <cx:pt idx="23663">1</cx:pt>
          <cx:pt idx="23664">4</cx:pt>
          <cx:pt idx="23665">5</cx:pt>
          <cx:pt idx="23666">1</cx:pt>
          <cx:pt idx="23667">4</cx:pt>
          <cx:pt idx="23668">5</cx:pt>
          <cx:pt idx="23669">5</cx:pt>
          <cx:pt idx="23670">5</cx:pt>
          <cx:pt idx="23671">4</cx:pt>
          <cx:pt idx="23672">1</cx:pt>
          <cx:pt idx="23673">2</cx:pt>
          <cx:pt idx="23674">2</cx:pt>
          <cx:pt idx="23675">5</cx:pt>
          <cx:pt idx="23676">5</cx:pt>
          <cx:pt idx="23677">4</cx:pt>
          <cx:pt idx="23678">5</cx:pt>
          <cx:pt idx="23679">4</cx:pt>
          <cx:pt idx="23680">5</cx:pt>
          <cx:pt idx="23681">2</cx:pt>
          <cx:pt idx="23682">4</cx:pt>
          <cx:pt idx="23683">4</cx:pt>
          <cx:pt idx="23684">5</cx:pt>
          <cx:pt idx="23685">4</cx:pt>
          <cx:pt idx="23686">3</cx:pt>
          <cx:pt idx="23687">2</cx:pt>
          <cx:pt idx="23688">1</cx:pt>
          <cx:pt idx="23689">5</cx:pt>
          <cx:pt idx="23690">5</cx:pt>
          <cx:pt idx="23691">5</cx:pt>
          <cx:pt idx="23692">4</cx:pt>
          <cx:pt idx="23693">2</cx:pt>
          <cx:pt idx="23694">3</cx:pt>
          <cx:pt idx="23695">5</cx:pt>
          <cx:pt idx="23696">1</cx:pt>
          <cx:pt idx="23697">1</cx:pt>
          <cx:pt idx="23698">5</cx:pt>
          <cx:pt idx="23699">1</cx:pt>
          <cx:pt idx="23700">5</cx:pt>
          <cx:pt idx="23701">5</cx:pt>
          <cx:pt idx="23702">5</cx:pt>
          <cx:pt idx="23703">5</cx:pt>
          <cx:pt idx="23704">3</cx:pt>
          <cx:pt idx="23705">5</cx:pt>
          <cx:pt idx="23706">2</cx:pt>
          <cx:pt idx="23707">4</cx:pt>
          <cx:pt idx="23708">1</cx:pt>
          <cx:pt idx="23709">5</cx:pt>
          <cx:pt idx="23710">5</cx:pt>
          <cx:pt idx="23711">4</cx:pt>
          <cx:pt idx="23712">3</cx:pt>
          <cx:pt idx="23713">5</cx:pt>
          <cx:pt idx="23714">3</cx:pt>
          <cx:pt idx="23715">3</cx:pt>
          <cx:pt idx="23716">4</cx:pt>
          <cx:pt idx="23717">2</cx:pt>
          <cx:pt idx="23718">4</cx:pt>
          <cx:pt idx="23719">2</cx:pt>
          <cx:pt idx="23720">3</cx:pt>
          <cx:pt idx="23721">3</cx:pt>
          <cx:pt idx="23722">4</cx:pt>
          <cx:pt idx="23723">5</cx:pt>
          <cx:pt idx="23724">4</cx:pt>
          <cx:pt idx="23725">5</cx:pt>
          <cx:pt idx="23726">2</cx:pt>
          <cx:pt idx="23727">5</cx:pt>
          <cx:pt idx="23728">4</cx:pt>
          <cx:pt idx="23729">3</cx:pt>
          <cx:pt idx="23730">1</cx:pt>
          <cx:pt idx="23731">2</cx:pt>
          <cx:pt idx="23732">4</cx:pt>
          <cx:pt idx="23733">5</cx:pt>
          <cx:pt idx="23734">4</cx:pt>
          <cx:pt idx="23735">4</cx:pt>
          <cx:pt idx="23736">5</cx:pt>
          <cx:pt idx="23737">1</cx:pt>
          <cx:pt idx="23738">4</cx:pt>
          <cx:pt idx="23739">4</cx:pt>
          <cx:pt idx="23740">2</cx:pt>
          <cx:pt idx="23741">5</cx:pt>
          <cx:pt idx="23742">1</cx:pt>
          <cx:pt idx="23743">5</cx:pt>
          <cx:pt idx="23744">2</cx:pt>
          <cx:pt idx="23745">5</cx:pt>
          <cx:pt idx="23746">2</cx:pt>
          <cx:pt idx="23747">4</cx:pt>
          <cx:pt idx="23748">3</cx:pt>
          <cx:pt idx="23749">3</cx:pt>
          <cx:pt idx="23750">5</cx:pt>
          <cx:pt idx="23751">5</cx:pt>
          <cx:pt idx="23752">5</cx:pt>
          <cx:pt idx="23753">5</cx:pt>
          <cx:pt idx="23754">3</cx:pt>
          <cx:pt idx="23755">4</cx:pt>
          <cx:pt idx="23756">5</cx:pt>
          <cx:pt idx="23757">4</cx:pt>
          <cx:pt idx="23758">4</cx:pt>
          <cx:pt idx="23759">2</cx:pt>
          <cx:pt idx="23760">5</cx:pt>
          <cx:pt idx="23761">3</cx:pt>
          <cx:pt idx="23762">1</cx:pt>
          <cx:pt idx="23763">3</cx:pt>
          <cx:pt idx="23764">5</cx:pt>
          <cx:pt idx="23765">4</cx:pt>
          <cx:pt idx="23766">3</cx:pt>
          <cx:pt idx="23767">3</cx:pt>
          <cx:pt idx="23768">4</cx:pt>
          <cx:pt idx="23769">4</cx:pt>
          <cx:pt idx="23770">3</cx:pt>
          <cx:pt idx="23771">4</cx:pt>
          <cx:pt idx="23772">4</cx:pt>
          <cx:pt idx="23773">5</cx:pt>
          <cx:pt idx="23774">1</cx:pt>
          <cx:pt idx="23775">5</cx:pt>
          <cx:pt idx="23776">1</cx:pt>
          <cx:pt idx="23777">2</cx:pt>
          <cx:pt idx="23778">1</cx:pt>
          <cx:pt idx="23779">3</cx:pt>
          <cx:pt idx="23780">4</cx:pt>
          <cx:pt idx="23781">4</cx:pt>
          <cx:pt idx="23782">4</cx:pt>
          <cx:pt idx="23783">1</cx:pt>
          <cx:pt idx="23784">4</cx:pt>
          <cx:pt idx="23785">4</cx:pt>
          <cx:pt idx="23786">5</cx:pt>
          <cx:pt idx="23787">1</cx:pt>
          <cx:pt idx="23788">4</cx:pt>
          <cx:pt idx="23789">5</cx:pt>
          <cx:pt idx="23790">4</cx:pt>
          <cx:pt idx="23791">5</cx:pt>
          <cx:pt idx="23792">3</cx:pt>
          <cx:pt idx="23793">5</cx:pt>
          <cx:pt idx="23794">3</cx:pt>
          <cx:pt idx="23795">4</cx:pt>
          <cx:pt idx="23796">5</cx:pt>
          <cx:pt idx="23797">4</cx:pt>
          <cx:pt idx="23798">4</cx:pt>
          <cx:pt idx="23799">4</cx:pt>
          <cx:pt idx="23800">1</cx:pt>
          <cx:pt idx="23801">1</cx:pt>
          <cx:pt idx="23802">5</cx:pt>
          <cx:pt idx="23803">5</cx:pt>
          <cx:pt idx="23804">1</cx:pt>
          <cx:pt idx="23805">3</cx:pt>
          <cx:pt idx="23806">4</cx:pt>
          <cx:pt idx="23807">2</cx:pt>
          <cx:pt idx="23808">3</cx:pt>
          <cx:pt idx="23809">4</cx:pt>
          <cx:pt idx="23810">3</cx:pt>
          <cx:pt idx="23811">4</cx:pt>
          <cx:pt idx="23812">4</cx:pt>
          <cx:pt idx="23813">4</cx:pt>
          <cx:pt idx="23814">3</cx:pt>
          <cx:pt idx="23815">3</cx:pt>
          <cx:pt idx="23816">4</cx:pt>
          <cx:pt idx="23817">1</cx:pt>
          <cx:pt idx="23818">5</cx:pt>
          <cx:pt idx="23819">2</cx:pt>
          <cx:pt idx="23820">4</cx:pt>
          <cx:pt idx="23821">4</cx:pt>
          <cx:pt idx="23822">4</cx:pt>
          <cx:pt idx="23823">2</cx:pt>
          <cx:pt idx="23824">4</cx:pt>
          <cx:pt idx="23825">5</cx:pt>
          <cx:pt idx="23826">2</cx:pt>
          <cx:pt idx="23827">4</cx:pt>
          <cx:pt idx="23828">3</cx:pt>
          <cx:pt idx="23829">1</cx:pt>
          <cx:pt idx="23830">4</cx:pt>
          <cx:pt idx="23831">4</cx:pt>
          <cx:pt idx="23832">5</cx:pt>
          <cx:pt idx="23833">3</cx:pt>
          <cx:pt idx="23834">3</cx:pt>
          <cx:pt idx="23835">1</cx:pt>
          <cx:pt idx="23836">5</cx:pt>
          <cx:pt idx="23837">5</cx:pt>
          <cx:pt idx="23838">3</cx:pt>
          <cx:pt idx="23839">5</cx:pt>
          <cx:pt idx="23840">2</cx:pt>
          <cx:pt idx="23841">5</cx:pt>
          <cx:pt idx="23842">5</cx:pt>
          <cx:pt idx="23843">4</cx:pt>
          <cx:pt idx="23844">4</cx:pt>
          <cx:pt idx="23845">4</cx:pt>
          <cx:pt idx="23846">5</cx:pt>
          <cx:pt idx="23847">3</cx:pt>
          <cx:pt idx="23848">5</cx:pt>
          <cx:pt idx="23849">4</cx:pt>
          <cx:pt idx="23850">2</cx:pt>
          <cx:pt idx="23851">5</cx:pt>
          <cx:pt idx="23852">4</cx:pt>
          <cx:pt idx="23853">5</cx:pt>
          <cx:pt idx="23854">4</cx:pt>
          <cx:pt idx="23855">4</cx:pt>
          <cx:pt idx="23856">4</cx:pt>
          <cx:pt idx="23857">5</cx:pt>
          <cx:pt idx="23858">2</cx:pt>
          <cx:pt idx="23859">4</cx:pt>
          <cx:pt idx="23860">5</cx:pt>
          <cx:pt idx="23861">2</cx:pt>
          <cx:pt idx="23862">4</cx:pt>
          <cx:pt idx="23863">2</cx:pt>
          <cx:pt idx="23864">3</cx:pt>
          <cx:pt idx="23865">1</cx:pt>
          <cx:pt idx="23866">3</cx:pt>
          <cx:pt idx="23867">2</cx:pt>
          <cx:pt idx="23868">4</cx:pt>
          <cx:pt idx="23869">4</cx:pt>
          <cx:pt idx="23870">3</cx:pt>
          <cx:pt idx="23871">1</cx:pt>
          <cx:pt idx="23872">3</cx:pt>
          <cx:pt idx="23873">4</cx:pt>
          <cx:pt idx="23874">1</cx:pt>
          <cx:pt idx="23875">4</cx:pt>
          <cx:pt idx="23876">4</cx:pt>
          <cx:pt idx="23877">5</cx:pt>
          <cx:pt idx="23878">2</cx:pt>
          <cx:pt idx="23879">3</cx:pt>
          <cx:pt idx="23880">5</cx:pt>
          <cx:pt idx="23881">3</cx:pt>
          <cx:pt idx="23882">5</cx:pt>
          <cx:pt idx="23883">4</cx:pt>
          <cx:pt idx="23884">2</cx:pt>
          <cx:pt idx="23885">5</cx:pt>
          <cx:pt idx="23886">5</cx:pt>
          <cx:pt idx="23887">5</cx:pt>
          <cx:pt idx="23888">4</cx:pt>
          <cx:pt idx="23889">5</cx:pt>
          <cx:pt idx="23890">4</cx:pt>
          <cx:pt idx="23891">5</cx:pt>
          <cx:pt idx="23892">5</cx:pt>
          <cx:pt idx="23893">5</cx:pt>
          <cx:pt idx="23894">4</cx:pt>
          <cx:pt idx="23895">3</cx:pt>
          <cx:pt idx="23896">4</cx:pt>
          <cx:pt idx="23897">5</cx:pt>
          <cx:pt idx="23898">4</cx:pt>
          <cx:pt idx="23899">3</cx:pt>
          <cx:pt idx="23900">4</cx:pt>
          <cx:pt idx="23901">5</cx:pt>
          <cx:pt idx="23902">2</cx:pt>
          <cx:pt idx="23903">1</cx:pt>
          <cx:pt idx="23904">1</cx:pt>
          <cx:pt idx="23905">4</cx:pt>
          <cx:pt idx="23906">1</cx:pt>
          <cx:pt idx="23907">5</cx:pt>
          <cx:pt idx="23908">4</cx:pt>
          <cx:pt idx="23909">4</cx:pt>
          <cx:pt idx="23910">4</cx:pt>
          <cx:pt idx="23911">5</cx:pt>
          <cx:pt idx="23912">1</cx:pt>
          <cx:pt idx="23913">5</cx:pt>
          <cx:pt idx="23914">5</cx:pt>
          <cx:pt idx="23915">1</cx:pt>
          <cx:pt idx="23916">1</cx:pt>
          <cx:pt idx="23917">3</cx:pt>
          <cx:pt idx="23918">1</cx:pt>
          <cx:pt idx="23919">5</cx:pt>
          <cx:pt idx="23920">5</cx:pt>
          <cx:pt idx="23921">4</cx:pt>
          <cx:pt idx="23922">5</cx:pt>
          <cx:pt idx="23923">3</cx:pt>
          <cx:pt idx="23924">3</cx:pt>
          <cx:pt idx="23925">4</cx:pt>
          <cx:pt idx="23926">3</cx:pt>
          <cx:pt idx="23927">4</cx:pt>
          <cx:pt idx="23928">2</cx:pt>
          <cx:pt idx="23929">2</cx:pt>
          <cx:pt idx="23930">5</cx:pt>
          <cx:pt idx="23931">4</cx:pt>
          <cx:pt idx="23932">4</cx:pt>
          <cx:pt idx="23933">2</cx:pt>
          <cx:pt idx="23934">5</cx:pt>
          <cx:pt idx="23935">2</cx:pt>
          <cx:pt idx="23936">5</cx:pt>
          <cx:pt idx="23937">2</cx:pt>
          <cx:pt idx="23938">4</cx:pt>
          <cx:pt idx="23939">4</cx:pt>
          <cx:pt idx="23940">2</cx:pt>
          <cx:pt idx="23941">3</cx:pt>
          <cx:pt idx="23942">3</cx:pt>
          <cx:pt idx="23943">1</cx:pt>
          <cx:pt idx="23944">3</cx:pt>
          <cx:pt idx="23945">5</cx:pt>
          <cx:pt idx="23946">4</cx:pt>
          <cx:pt idx="23947">3</cx:pt>
          <cx:pt idx="23948">3</cx:pt>
          <cx:pt idx="23949">3</cx:pt>
          <cx:pt idx="23950">5</cx:pt>
          <cx:pt idx="23951">5</cx:pt>
          <cx:pt idx="23952">4</cx:pt>
          <cx:pt idx="23953">5</cx:pt>
          <cx:pt idx="23954">5</cx:pt>
          <cx:pt idx="23955">5</cx:pt>
          <cx:pt idx="23956">3</cx:pt>
          <cx:pt idx="23957">2</cx:pt>
          <cx:pt idx="23958">1</cx:pt>
          <cx:pt idx="23959">5</cx:pt>
          <cx:pt idx="23960">3</cx:pt>
          <cx:pt idx="23961">5</cx:pt>
          <cx:pt idx="23962">3</cx:pt>
          <cx:pt idx="23963">1</cx:pt>
          <cx:pt idx="23964">1</cx:pt>
          <cx:pt idx="23965">1</cx:pt>
          <cx:pt idx="23966">2</cx:pt>
          <cx:pt idx="23967">5</cx:pt>
          <cx:pt idx="23968">4</cx:pt>
          <cx:pt idx="23969">5</cx:pt>
          <cx:pt idx="23970">5</cx:pt>
          <cx:pt idx="23971">5</cx:pt>
          <cx:pt idx="23972">3</cx:pt>
          <cx:pt idx="23973">5</cx:pt>
          <cx:pt idx="23974">2</cx:pt>
          <cx:pt idx="23975">2</cx:pt>
          <cx:pt idx="23976">1</cx:pt>
          <cx:pt idx="23977">5</cx:pt>
          <cx:pt idx="23978">1</cx:pt>
          <cx:pt idx="23979">2</cx:pt>
          <cx:pt idx="23980">2</cx:pt>
          <cx:pt idx="23981">4</cx:pt>
          <cx:pt idx="23982">3</cx:pt>
          <cx:pt idx="23983">3</cx:pt>
          <cx:pt idx="23984">3</cx:pt>
          <cx:pt idx="23985">4</cx:pt>
          <cx:pt idx="23986">4</cx:pt>
          <cx:pt idx="23987">3</cx:pt>
          <cx:pt idx="23988">3</cx:pt>
          <cx:pt idx="23989">1</cx:pt>
          <cx:pt idx="23990">4</cx:pt>
          <cx:pt idx="23991">4</cx:pt>
          <cx:pt idx="23992">5</cx:pt>
          <cx:pt idx="23993">3</cx:pt>
          <cx:pt idx="23994">4</cx:pt>
          <cx:pt idx="23995">4</cx:pt>
          <cx:pt idx="23996">3</cx:pt>
          <cx:pt idx="23997">1</cx:pt>
          <cx:pt idx="23998">5</cx:pt>
          <cx:pt idx="23999">3</cx:pt>
          <cx:pt idx="24000">3</cx:pt>
          <cx:pt idx="24001">3</cx:pt>
          <cx:pt idx="24002">2</cx:pt>
          <cx:pt idx="24003">5</cx:pt>
          <cx:pt idx="24004">5</cx:pt>
          <cx:pt idx="24005">1</cx:pt>
          <cx:pt idx="24006">2</cx:pt>
          <cx:pt idx="24007">5</cx:pt>
          <cx:pt idx="24008">4</cx:pt>
          <cx:pt idx="24009">5</cx:pt>
          <cx:pt idx="24010">4</cx:pt>
          <cx:pt idx="24011">5</cx:pt>
          <cx:pt idx="24012">3</cx:pt>
          <cx:pt idx="24013">5</cx:pt>
          <cx:pt idx="24014">3</cx:pt>
          <cx:pt idx="24015">4</cx:pt>
          <cx:pt idx="24016">3</cx:pt>
          <cx:pt idx="24017">4</cx:pt>
          <cx:pt idx="24018">4</cx:pt>
          <cx:pt idx="24019">5</cx:pt>
          <cx:pt idx="24020">5</cx:pt>
          <cx:pt idx="24021">4</cx:pt>
          <cx:pt idx="24022">4</cx:pt>
          <cx:pt idx="24023">3</cx:pt>
          <cx:pt idx="24024">4</cx:pt>
          <cx:pt idx="24025">4</cx:pt>
          <cx:pt idx="24026">4</cx:pt>
          <cx:pt idx="24027">5</cx:pt>
          <cx:pt idx="24028">2</cx:pt>
          <cx:pt idx="24029">5</cx:pt>
          <cx:pt idx="24030">1</cx:pt>
          <cx:pt idx="24031">2</cx:pt>
          <cx:pt idx="24032">4</cx:pt>
          <cx:pt idx="24033">5</cx:pt>
          <cx:pt idx="24034">5</cx:pt>
          <cx:pt idx="24035">4</cx:pt>
          <cx:pt idx="24036">4</cx:pt>
          <cx:pt idx="24037">2</cx:pt>
          <cx:pt idx="24038">5</cx:pt>
          <cx:pt idx="24039">3</cx:pt>
          <cx:pt idx="24040">3</cx:pt>
          <cx:pt idx="24041">4</cx:pt>
          <cx:pt idx="24042">3</cx:pt>
          <cx:pt idx="24043">5</cx:pt>
          <cx:pt idx="24044">5</cx:pt>
          <cx:pt idx="24045">3</cx:pt>
          <cx:pt idx="24046">4</cx:pt>
          <cx:pt idx="24047">3</cx:pt>
          <cx:pt idx="24048">4</cx:pt>
          <cx:pt idx="24049">5</cx:pt>
          <cx:pt idx="24050">1</cx:pt>
          <cx:pt idx="24051">4</cx:pt>
          <cx:pt idx="24052">5</cx:pt>
          <cx:pt idx="24053">3</cx:pt>
          <cx:pt idx="24054">5</cx:pt>
          <cx:pt idx="24055">4</cx:pt>
          <cx:pt idx="24056">5</cx:pt>
          <cx:pt idx="24057">1</cx:pt>
          <cx:pt idx="24058">2</cx:pt>
          <cx:pt idx="24059">2</cx:pt>
          <cx:pt idx="24060">3</cx:pt>
          <cx:pt idx="24061">2</cx:pt>
          <cx:pt idx="24062">5</cx:pt>
          <cx:pt idx="24063">2</cx:pt>
          <cx:pt idx="24064">4</cx:pt>
          <cx:pt idx="24065">4</cx:pt>
          <cx:pt idx="24066">5</cx:pt>
          <cx:pt idx="24067">3</cx:pt>
          <cx:pt idx="24068">2</cx:pt>
          <cx:pt idx="24069">5</cx:pt>
          <cx:pt idx="24070">2</cx:pt>
          <cx:pt idx="24071">4</cx:pt>
          <cx:pt idx="24072">4</cx:pt>
          <cx:pt idx="24073">4</cx:pt>
          <cx:pt idx="24074">4</cx:pt>
          <cx:pt idx="24075">4</cx:pt>
          <cx:pt idx="24076">3</cx:pt>
          <cx:pt idx="24077">3</cx:pt>
          <cx:pt idx="24078">1</cx:pt>
          <cx:pt idx="24079">2</cx:pt>
          <cx:pt idx="24080">5</cx:pt>
          <cx:pt idx="24081">1</cx:pt>
          <cx:pt idx="24082">4</cx:pt>
          <cx:pt idx="24083">2</cx:pt>
          <cx:pt idx="24084">4</cx:pt>
          <cx:pt idx="24085">3</cx:pt>
          <cx:pt idx="24086">2</cx:pt>
          <cx:pt idx="24087">4</cx:pt>
          <cx:pt idx="24088">5</cx:pt>
          <cx:pt idx="24089">3</cx:pt>
          <cx:pt idx="24090">3</cx:pt>
          <cx:pt idx="24091">5</cx:pt>
          <cx:pt idx="24092">5</cx:pt>
          <cx:pt idx="24093">4</cx:pt>
          <cx:pt idx="24094">4</cx:pt>
          <cx:pt idx="24095">3</cx:pt>
          <cx:pt idx="24096">2</cx:pt>
          <cx:pt idx="24097">3</cx:pt>
          <cx:pt idx="24098">4</cx:pt>
          <cx:pt idx="24099">4</cx:pt>
          <cx:pt idx="24100">1</cx:pt>
          <cx:pt idx="24101">3</cx:pt>
          <cx:pt idx="24102">1</cx:pt>
          <cx:pt idx="24103">4</cx:pt>
          <cx:pt idx="24104">3</cx:pt>
          <cx:pt idx="24105">2</cx:pt>
          <cx:pt idx="24106">4</cx:pt>
          <cx:pt idx="24107">3</cx:pt>
          <cx:pt idx="24108">5</cx:pt>
          <cx:pt idx="24109">3</cx:pt>
          <cx:pt idx="24110">4</cx:pt>
          <cx:pt idx="24111">5</cx:pt>
          <cx:pt idx="24112">1</cx:pt>
          <cx:pt idx="24113">4</cx:pt>
          <cx:pt idx="24114">2</cx:pt>
          <cx:pt idx="24115">2</cx:pt>
          <cx:pt idx="24116">3</cx:pt>
          <cx:pt idx="24117">5</cx:pt>
          <cx:pt idx="24118">4</cx:pt>
          <cx:pt idx="24119">4</cx:pt>
          <cx:pt idx="24120">2</cx:pt>
          <cx:pt idx="24121">2</cx:pt>
          <cx:pt idx="24122">3</cx:pt>
          <cx:pt idx="24123">1</cx:pt>
          <cx:pt idx="24124">4</cx:pt>
          <cx:pt idx="24125">4</cx:pt>
          <cx:pt idx="24126">1</cx:pt>
          <cx:pt idx="24127">4</cx:pt>
          <cx:pt idx="24128">5</cx:pt>
          <cx:pt idx="24129">3</cx:pt>
          <cx:pt idx="24130">4</cx:pt>
          <cx:pt idx="24131">5</cx:pt>
          <cx:pt idx="24132">5</cx:pt>
          <cx:pt idx="24133">1</cx:pt>
          <cx:pt idx="24134">2</cx:pt>
          <cx:pt idx="24135">2</cx:pt>
          <cx:pt idx="24136">3</cx:pt>
          <cx:pt idx="24137">2</cx:pt>
          <cx:pt idx="24138">1</cx:pt>
          <cx:pt idx="24139">4</cx:pt>
          <cx:pt idx="24140">3</cx:pt>
          <cx:pt idx="24141">3</cx:pt>
          <cx:pt idx="24142">1</cx:pt>
          <cx:pt idx="24143">1</cx:pt>
          <cx:pt idx="24144">2</cx:pt>
          <cx:pt idx="24145">5</cx:pt>
          <cx:pt idx="24146">5</cx:pt>
          <cx:pt idx="24147">5</cx:pt>
          <cx:pt idx="24148">4</cx:pt>
          <cx:pt idx="24149">3</cx:pt>
          <cx:pt idx="24150">4</cx:pt>
          <cx:pt idx="24151">2</cx:pt>
          <cx:pt idx="24152">5</cx:pt>
          <cx:pt idx="24153">3</cx:pt>
          <cx:pt idx="24154">5</cx:pt>
          <cx:pt idx="24155">4</cx:pt>
          <cx:pt idx="24156">5</cx:pt>
          <cx:pt idx="24157">4</cx:pt>
          <cx:pt idx="24158">3</cx:pt>
          <cx:pt idx="24159">5</cx:pt>
          <cx:pt idx="24160">4</cx:pt>
          <cx:pt idx="24161">5</cx:pt>
          <cx:pt idx="24162">2</cx:pt>
          <cx:pt idx="24163">3</cx:pt>
          <cx:pt idx="24164">4</cx:pt>
          <cx:pt idx="24165">1</cx:pt>
          <cx:pt idx="24166">4</cx:pt>
          <cx:pt idx="24167">4</cx:pt>
          <cx:pt idx="24168">3</cx:pt>
          <cx:pt idx="24169">5</cx:pt>
          <cx:pt idx="24170">4</cx:pt>
          <cx:pt idx="24171">3</cx:pt>
          <cx:pt idx="24172">4</cx:pt>
          <cx:pt idx="24173">5</cx:pt>
          <cx:pt idx="24174">1</cx:pt>
          <cx:pt idx="24175">4</cx:pt>
          <cx:pt idx="24176">5</cx:pt>
          <cx:pt idx="24177">4</cx:pt>
          <cx:pt idx="24178">3</cx:pt>
          <cx:pt idx="24179">3</cx:pt>
          <cx:pt idx="24180">5</cx:pt>
          <cx:pt idx="24181">2</cx:pt>
          <cx:pt idx="24182">3</cx:pt>
          <cx:pt idx="24183">4</cx:pt>
          <cx:pt idx="24184">5</cx:pt>
          <cx:pt idx="24185">4</cx:pt>
          <cx:pt idx="24186">4</cx:pt>
          <cx:pt idx="24187">2</cx:pt>
          <cx:pt idx="24188">4</cx:pt>
          <cx:pt idx="24189">1</cx:pt>
          <cx:pt idx="24190">5</cx:pt>
          <cx:pt idx="24191">4</cx:pt>
          <cx:pt idx="24192">4</cx:pt>
          <cx:pt idx="24193">4</cx:pt>
          <cx:pt idx="24194">4</cx:pt>
          <cx:pt idx="24195">1</cx:pt>
          <cx:pt idx="24196">3</cx:pt>
          <cx:pt idx="24197">5</cx:pt>
          <cx:pt idx="24198">2</cx:pt>
          <cx:pt idx="24199">4</cx:pt>
          <cx:pt idx="24200">3</cx:pt>
          <cx:pt idx="24201">5</cx:pt>
          <cx:pt idx="24202">5</cx:pt>
          <cx:pt idx="24203">4</cx:pt>
          <cx:pt idx="24204">2</cx:pt>
          <cx:pt idx="24205">2</cx:pt>
          <cx:pt idx="24206">4</cx:pt>
          <cx:pt idx="24207">4</cx:pt>
          <cx:pt idx="24208">5</cx:pt>
          <cx:pt idx="24209">5</cx:pt>
          <cx:pt idx="24210">2</cx:pt>
          <cx:pt idx="24211">5</cx:pt>
          <cx:pt idx="24212">5</cx:pt>
          <cx:pt idx="24213">2</cx:pt>
          <cx:pt idx="24214">4</cx:pt>
          <cx:pt idx="24215">3</cx:pt>
          <cx:pt idx="24216">5</cx:pt>
          <cx:pt idx="24217">2</cx:pt>
          <cx:pt idx="24218">2</cx:pt>
          <cx:pt idx="24219">3</cx:pt>
          <cx:pt idx="24220">4</cx:pt>
          <cx:pt idx="24221">5</cx:pt>
          <cx:pt idx="24222">3</cx:pt>
          <cx:pt idx="24223">3</cx:pt>
          <cx:pt idx="24224">5</cx:pt>
          <cx:pt idx="24225">3</cx:pt>
          <cx:pt idx="24226">2</cx:pt>
          <cx:pt idx="24227">4</cx:pt>
          <cx:pt idx="24228">5</cx:pt>
          <cx:pt idx="24229">4</cx:pt>
          <cx:pt idx="24230">2</cx:pt>
          <cx:pt idx="24231">4</cx:pt>
          <cx:pt idx="24232">2</cx:pt>
          <cx:pt idx="24233">5</cx:pt>
          <cx:pt idx="24234">3</cx:pt>
          <cx:pt idx="24235">4</cx:pt>
          <cx:pt idx="24236">4</cx:pt>
          <cx:pt idx="24237">3</cx:pt>
          <cx:pt idx="24238">2</cx:pt>
          <cx:pt idx="24239">3</cx:pt>
          <cx:pt idx="24240">5</cx:pt>
          <cx:pt idx="24241">1</cx:pt>
          <cx:pt idx="24242">1</cx:pt>
          <cx:pt idx="24243">4</cx:pt>
          <cx:pt idx="24244">5</cx:pt>
          <cx:pt idx="24245">3</cx:pt>
          <cx:pt idx="24246">4</cx:pt>
          <cx:pt idx="24247">1</cx:pt>
          <cx:pt idx="24248">1</cx:pt>
          <cx:pt idx="24249">4</cx:pt>
          <cx:pt idx="24250">5</cx:pt>
          <cx:pt idx="24251">3</cx:pt>
          <cx:pt idx="24252">4</cx:pt>
          <cx:pt idx="24253">4</cx:pt>
          <cx:pt idx="24254">4</cx:pt>
          <cx:pt idx="24255">4</cx:pt>
          <cx:pt idx="24256">5</cx:pt>
          <cx:pt idx="24257">2</cx:pt>
          <cx:pt idx="24258">5</cx:pt>
          <cx:pt idx="24259">2</cx:pt>
          <cx:pt idx="24260">5</cx:pt>
          <cx:pt idx="24261">5</cx:pt>
          <cx:pt idx="24262">4</cx:pt>
          <cx:pt idx="24263">5</cx:pt>
          <cx:pt idx="24264">4</cx:pt>
          <cx:pt idx="24265">5</cx:pt>
          <cx:pt idx="24266">4</cx:pt>
          <cx:pt idx="24267">4</cx:pt>
          <cx:pt idx="24268">2</cx:pt>
          <cx:pt idx="24269">2</cx:pt>
          <cx:pt idx="24270">4</cx:pt>
          <cx:pt idx="24271">4</cx:pt>
          <cx:pt idx="24272">4</cx:pt>
          <cx:pt idx="24273">4</cx:pt>
          <cx:pt idx="24274">3</cx:pt>
          <cx:pt idx="24275">4</cx:pt>
          <cx:pt idx="24276">3</cx:pt>
          <cx:pt idx="24277">1</cx:pt>
          <cx:pt idx="24278">2</cx:pt>
          <cx:pt idx="24279">1</cx:pt>
          <cx:pt idx="24280">5</cx:pt>
          <cx:pt idx="24281">4</cx:pt>
          <cx:pt idx="24282">3</cx:pt>
          <cx:pt idx="24283">2</cx:pt>
          <cx:pt idx="24284">1</cx:pt>
          <cx:pt idx="24285">5</cx:pt>
          <cx:pt idx="24286">4</cx:pt>
          <cx:pt idx="24287">4</cx:pt>
          <cx:pt idx="24288">3</cx:pt>
          <cx:pt idx="24289">4</cx:pt>
          <cx:pt idx="24290">3</cx:pt>
          <cx:pt idx="24291">4</cx:pt>
          <cx:pt idx="24292">5</cx:pt>
          <cx:pt idx="24293">5</cx:pt>
          <cx:pt idx="24294">4</cx:pt>
          <cx:pt idx="24295">3</cx:pt>
          <cx:pt idx="24296">3</cx:pt>
          <cx:pt idx="24297">3</cx:pt>
          <cx:pt idx="24298">1</cx:pt>
          <cx:pt idx="24299">2</cx:pt>
          <cx:pt idx="24300">2</cx:pt>
          <cx:pt idx="24301">4</cx:pt>
          <cx:pt idx="24302">1</cx:pt>
          <cx:pt idx="24303">2</cx:pt>
          <cx:pt idx="24304">4</cx:pt>
          <cx:pt idx="24305">5</cx:pt>
          <cx:pt idx="24306">5</cx:pt>
          <cx:pt idx="24307">1</cx:pt>
          <cx:pt idx="24308">4</cx:pt>
          <cx:pt idx="24309">5</cx:pt>
          <cx:pt idx="24310">3</cx:pt>
          <cx:pt idx="24311">1</cx:pt>
          <cx:pt idx="24312">3</cx:pt>
          <cx:pt idx="24313">5</cx:pt>
          <cx:pt idx="24314">5</cx:pt>
          <cx:pt idx="24315">4</cx:pt>
          <cx:pt idx="24316">4</cx:pt>
          <cx:pt idx="24317">4</cx:pt>
          <cx:pt idx="24318">5</cx:pt>
          <cx:pt idx="24319">3</cx:pt>
          <cx:pt idx="24320">2</cx:pt>
          <cx:pt idx="24321">4</cx:pt>
          <cx:pt idx="24322">3</cx:pt>
          <cx:pt idx="24323">2</cx:pt>
          <cx:pt idx="24324">5</cx:pt>
          <cx:pt idx="24325">5</cx:pt>
          <cx:pt idx="24326">5</cx:pt>
          <cx:pt idx="24327">5</cx:pt>
          <cx:pt idx="24328">2</cx:pt>
          <cx:pt idx="24329">4</cx:pt>
          <cx:pt idx="24330">4</cx:pt>
          <cx:pt idx="24331">4</cx:pt>
          <cx:pt idx="24332">2</cx:pt>
          <cx:pt idx="24333">1</cx:pt>
          <cx:pt idx="24334">3</cx:pt>
          <cx:pt idx="24335">2</cx:pt>
          <cx:pt idx="24336">1</cx:pt>
          <cx:pt idx="24337">3</cx:pt>
          <cx:pt idx="24338">4</cx:pt>
          <cx:pt idx="24339">3</cx:pt>
          <cx:pt idx="24340">2</cx:pt>
          <cx:pt idx="24341">2</cx:pt>
          <cx:pt idx="24342">4</cx:pt>
          <cx:pt idx="24343">4</cx:pt>
          <cx:pt idx="24344">5</cx:pt>
          <cx:pt idx="24345">5</cx:pt>
          <cx:pt idx="24346">4</cx:pt>
          <cx:pt idx="24347">5</cx:pt>
          <cx:pt idx="24348">5</cx:pt>
          <cx:pt idx="24349">4</cx:pt>
          <cx:pt idx="24350">3</cx:pt>
          <cx:pt idx="24351">5</cx:pt>
          <cx:pt idx="24352">5</cx:pt>
          <cx:pt idx="24353">3</cx:pt>
          <cx:pt idx="24354">3</cx:pt>
          <cx:pt idx="24355">3</cx:pt>
          <cx:pt idx="24356">5</cx:pt>
          <cx:pt idx="24357">4</cx:pt>
          <cx:pt idx="24358">2</cx:pt>
          <cx:pt idx="24359">5</cx:pt>
          <cx:pt idx="24360">4</cx:pt>
          <cx:pt idx="24361">4</cx:pt>
          <cx:pt idx="24362">1</cx:pt>
          <cx:pt idx="24363">1</cx:pt>
          <cx:pt idx="24364">4</cx:pt>
          <cx:pt idx="24365">4</cx:pt>
          <cx:pt idx="24366">5</cx:pt>
          <cx:pt idx="24367">4</cx:pt>
          <cx:pt idx="24368">3</cx:pt>
          <cx:pt idx="24369">4</cx:pt>
          <cx:pt idx="24370">5</cx:pt>
          <cx:pt idx="24371">1</cx:pt>
          <cx:pt idx="24372">1</cx:pt>
          <cx:pt idx="24373">4</cx:pt>
          <cx:pt idx="24374">5</cx:pt>
          <cx:pt idx="24375">5</cx:pt>
          <cx:pt idx="24376">4</cx:pt>
          <cx:pt idx="24377">3</cx:pt>
          <cx:pt idx="24378">3</cx:pt>
          <cx:pt idx="24379">2</cx:pt>
          <cx:pt idx="24380">4</cx:pt>
          <cx:pt idx="24381">4</cx:pt>
          <cx:pt idx="24382">3</cx:pt>
          <cx:pt idx="24383">1</cx:pt>
          <cx:pt idx="24384">4</cx:pt>
          <cx:pt idx="24385">5</cx:pt>
          <cx:pt idx="24386">4</cx:pt>
          <cx:pt idx="24387">4</cx:pt>
          <cx:pt idx="24388">1</cx:pt>
          <cx:pt idx="24389">3</cx:pt>
          <cx:pt idx="24390">5</cx:pt>
          <cx:pt idx="24391">4</cx:pt>
          <cx:pt idx="24392">2</cx:pt>
          <cx:pt idx="24393">5</cx:pt>
          <cx:pt idx="24394">3</cx:pt>
          <cx:pt idx="24395">4</cx:pt>
          <cx:pt idx="24396">5</cx:pt>
          <cx:pt idx="24397">4</cx:pt>
          <cx:pt idx="24398">3</cx:pt>
          <cx:pt idx="24399">4</cx:pt>
          <cx:pt idx="24400">3</cx:pt>
          <cx:pt idx="24401">3</cx:pt>
          <cx:pt idx="24402">3</cx:pt>
          <cx:pt idx="24403">3</cx:pt>
          <cx:pt idx="24404">5</cx:pt>
          <cx:pt idx="24405">3</cx:pt>
          <cx:pt idx="24406">2</cx:pt>
          <cx:pt idx="24407">4</cx:pt>
          <cx:pt idx="24408">4</cx:pt>
          <cx:pt idx="24409">5</cx:pt>
          <cx:pt idx="24410">4</cx:pt>
          <cx:pt idx="24411">1</cx:pt>
          <cx:pt idx="24412">1</cx:pt>
          <cx:pt idx="24413">1</cx:pt>
          <cx:pt idx="24414">4</cx:pt>
          <cx:pt idx="24415">4</cx:pt>
          <cx:pt idx="24416">4</cx:pt>
          <cx:pt idx="24417">4</cx:pt>
          <cx:pt idx="24418">4</cx:pt>
          <cx:pt idx="24419">5</cx:pt>
          <cx:pt idx="24420">3</cx:pt>
          <cx:pt idx="24421">4</cx:pt>
          <cx:pt idx="24422">5</cx:pt>
          <cx:pt idx="24423">5</cx:pt>
          <cx:pt idx="24424">1</cx:pt>
          <cx:pt idx="24425">3</cx:pt>
          <cx:pt idx="24426">5</cx:pt>
          <cx:pt idx="24427">4</cx:pt>
          <cx:pt idx="24428">5</cx:pt>
          <cx:pt idx="24429">4</cx:pt>
          <cx:pt idx="24430">5</cx:pt>
          <cx:pt idx="24431">5</cx:pt>
          <cx:pt idx="24432">5</cx:pt>
          <cx:pt idx="24433">1</cx:pt>
          <cx:pt idx="24434">3</cx:pt>
          <cx:pt idx="24435">5</cx:pt>
          <cx:pt idx="24436">2</cx:pt>
          <cx:pt idx="24437">4</cx:pt>
          <cx:pt idx="24438">5</cx:pt>
          <cx:pt idx="24439">4</cx:pt>
          <cx:pt idx="24440">2</cx:pt>
          <cx:pt idx="24441">1</cx:pt>
          <cx:pt idx="24442">4</cx:pt>
          <cx:pt idx="24443">4</cx:pt>
          <cx:pt idx="24444">4</cx:pt>
          <cx:pt idx="24445">4</cx:pt>
          <cx:pt idx="24446">3</cx:pt>
          <cx:pt idx="24447">3</cx:pt>
          <cx:pt idx="24448">3</cx:pt>
          <cx:pt idx="24449">4</cx:pt>
          <cx:pt idx="24450">4</cx:pt>
          <cx:pt idx="24451">4</cx:pt>
          <cx:pt idx="24452">4</cx:pt>
          <cx:pt idx="24453">5</cx:pt>
          <cx:pt idx="24454">3</cx:pt>
          <cx:pt idx="24455">3</cx:pt>
          <cx:pt idx="24456">4</cx:pt>
          <cx:pt idx="24457">2</cx:pt>
          <cx:pt idx="24458">2</cx:pt>
          <cx:pt idx="24459">3</cx:pt>
          <cx:pt idx="24460">5</cx:pt>
          <cx:pt idx="24461">2</cx:pt>
          <cx:pt idx="24462">2</cx:pt>
          <cx:pt idx="24463">3</cx:pt>
          <cx:pt idx="24464">4</cx:pt>
          <cx:pt idx="24465">4</cx:pt>
          <cx:pt idx="24466">4</cx:pt>
          <cx:pt idx="24467">4</cx:pt>
          <cx:pt idx="24468">5</cx:pt>
          <cx:pt idx="24469">5</cx:pt>
          <cx:pt idx="24470">4</cx:pt>
          <cx:pt idx="24471">2</cx:pt>
          <cx:pt idx="24472">5</cx:pt>
          <cx:pt idx="24473">4</cx:pt>
          <cx:pt idx="24474">2</cx:pt>
          <cx:pt idx="24475">1</cx:pt>
          <cx:pt idx="24476">5</cx:pt>
          <cx:pt idx="24477">1</cx:pt>
          <cx:pt idx="24478">4</cx:pt>
          <cx:pt idx="24479">4</cx:pt>
          <cx:pt idx="24480">2</cx:pt>
          <cx:pt idx="24481">5</cx:pt>
          <cx:pt idx="24482">4</cx:pt>
          <cx:pt idx="24483">4</cx:pt>
          <cx:pt idx="24484">5</cx:pt>
          <cx:pt idx="24485">5</cx:pt>
          <cx:pt idx="24486">4</cx:pt>
          <cx:pt idx="24487">2</cx:pt>
          <cx:pt idx="24488">2</cx:pt>
          <cx:pt idx="24489">4</cx:pt>
          <cx:pt idx="24490">4</cx:pt>
          <cx:pt idx="24491">5</cx:pt>
          <cx:pt idx="24492">4</cx:pt>
          <cx:pt idx="24493">5</cx:pt>
          <cx:pt idx="24494">4</cx:pt>
          <cx:pt idx="24495">4</cx:pt>
          <cx:pt idx="24496">1</cx:pt>
          <cx:pt idx="24497">3</cx:pt>
          <cx:pt idx="24498">2</cx:pt>
          <cx:pt idx="24499">5</cx:pt>
          <cx:pt idx="24500">4</cx:pt>
          <cx:pt idx="24501">5</cx:pt>
          <cx:pt idx="24502">2</cx:pt>
          <cx:pt idx="24503">2</cx:pt>
          <cx:pt idx="24504">4</cx:pt>
          <cx:pt idx="24505">4</cx:pt>
          <cx:pt idx="24506">4</cx:pt>
          <cx:pt idx="24507">1</cx:pt>
          <cx:pt idx="24508">5</cx:pt>
          <cx:pt idx="24509">1</cx:pt>
          <cx:pt idx="24510">5</cx:pt>
          <cx:pt idx="24511">5</cx:pt>
          <cx:pt idx="24512">4</cx:pt>
          <cx:pt idx="24513">5</cx:pt>
          <cx:pt idx="24514">3</cx:pt>
          <cx:pt idx="24515">1</cx:pt>
          <cx:pt idx="24516">4</cx:pt>
          <cx:pt idx="24517">1</cx:pt>
          <cx:pt idx="24518">3</cx:pt>
          <cx:pt idx="24519">4</cx:pt>
          <cx:pt idx="24520">4</cx:pt>
          <cx:pt idx="24521">2</cx:pt>
          <cx:pt idx="24522">5</cx:pt>
          <cx:pt idx="24523">1</cx:pt>
          <cx:pt idx="24524">4</cx:pt>
          <cx:pt idx="24525">4</cx:pt>
          <cx:pt idx="24526">4</cx:pt>
          <cx:pt idx="24527">5</cx:pt>
          <cx:pt idx="24528">4</cx:pt>
          <cx:pt idx="24529">5</cx:pt>
          <cx:pt idx="24530">4</cx:pt>
          <cx:pt idx="24531">4</cx:pt>
          <cx:pt idx="24532">2</cx:pt>
          <cx:pt idx="24533">4</cx:pt>
          <cx:pt idx="24534">5</cx:pt>
          <cx:pt idx="24535">4</cx:pt>
          <cx:pt idx="24536">4</cx:pt>
          <cx:pt idx="24537">5</cx:pt>
          <cx:pt idx="24538">2</cx:pt>
          <cx:pt idx="24539">4</cx:pt>
          <cx:pt idx="24540">4</cx:pt>
          <cx:pt idx="24541">2</cx:pt>
          <cx:pt idx="24542">4</cx:pt>
          <cx:pt idx="24543">2</cx:pt>
          <cx:pt idx="24544">4</cx:pt>
          <cx:pt idx="24545">2</cx:pt>
          <cx:pt idx="24546">3</cx:pt>
          <cx:pt idx="24547">1</cx:pt>
          <cx:pt idx="24548">4</cx:pt>
          <cx:pt idx="24549">1</cx:pt>
          <cx:pt idx="24550">4</cx:pt>
          <cx:pt idx="24551">5</cx:pt>
          <cx:pt idx="24552">3</cx:pt>
          <cx:pt idx="24553">4</cx:pt>
          <cx:pt idx="24554">3</cx:pt>
          <cx:pt idx="24555">4</cx:pt>
          <cx:pt idx="24556">1</cx:pt>
          <cx:pt idx="24557">2</cx:pt>
          <cx:pt idx="24558">1</cx:pt>
          <cx:pt idx="24559">5</cx:pt>
          <cx:pt idx="24560">4</cx:pt>
          <cx:pt idx="24561">4</cx:pt>
          <cx:pt idx="24562">3</cx:pt>
          <cx:pt idx="24563">1</cx:pt>
          <cx:pt idx="24564">3</cx:pt>
          <cx:pt idx="24565">1</cx:pt>
          <cx:pt idx="24566">4</cx:pt>
          <cx:pt idx="24567">1</cx:pt>
          <cx:pt idx="24568">1</cx:pt>
          <cx:pt idx="24569">5</cx:pt>
          <cx:pt idx="24570">4</cx:pt>
          <cx:pt idx="24571">4</cx:pt>
          <cx:pt idx="24572">1</cx:pt>
          <cx:pt idx="24573">5</cx:pt>
          <cx:pt idx="24574">5</cx:pt>
          <cx:pt idx="24575">1</cx:pt>
          <cx:pt idx="24576">4</cx:pt>
          <cx:pt idx="24577">5</cx:pt>
          <cx:pt idx="24578">5</cx:pt>
          <cx:pt idx="24579">3</cx:pt>
          <cx:pt idx="24580">3</cx:pt>
          <cx:pt idx="24581">2</cx:pt>
          <cx:pt idx="24582">5</cx:pt>
          <cx:pt idx="24583">5</cx:pt>
          <cx:pt idx="24584">2</cx:pt>
          <cx:pt idx="24585">5</cx:pt>
          <cx:pt idx="24586">5</cx:pt>
          <cx:pt idx="24587">5</cx:pt>
          <cx:pt idx="24588">4</cx:pt>
          <cx:pt idx="24589">1</cx:pt>
          <cx:pt idx="24590">4</cx:pt>
          <cx:pt idx="24591">5</cx:pt>
          <cx:pt idx="24592">4</cx:pt>
          <cx:pt idx="24593">3</cx:pt>
          <cx:pt idx="24594">2</cx:pt>
          <cx:pt idx="24595">4</cx:pt>
          <cx:pt idx="24596">1</cx:pt>
          <cx:pt idx="24597">2</cx:pt>
          <cx:pt idx="24598">5</cx:pt>
          <cx:pt idx="24599">5</cx:pt>
          <cx:pt idx="24600">4</cx:pt>
          <cx:pt idx="24601">4</cx:pt>
          <cx:pt idx="24602">3</cx:pt>
          <cx:pt idx="24603">3</cx:pt>
          <cx:pt idx="24604">3</cx:pt>
          <cx:pt idx="24605">5</cx:pt>
          <cx:pt idx="24606">3</cx:pt>
          <cx:pt idx="24607">1</cx:pt>
          <cx:pt idx="24608">5</cx:pt>
          <cx:pt idx="24609">5</cx:pt>
          <cx:pt idx="24610">4</cx:pt>
          <cx:pt idx="24611">3</cx:pt>
          <cx:pt idx="24612">3</cx:pt>
          <cx:pt idx="24613">4</cx:pt>
          <cx:pt idx="24614">4</cx:pt>
          <cx:pt idx="24615">4</cx:pt>
          <cx:pt idx="24616">1</cx:pt>
          <cx:pt idx="24617">5</cx:pt>
          <cx:pt idx="24618">4</cx:pt>
          <cx:pt idx="24619">4</cx:pt>
          <cx:pt idx="24620">2</cx:pt>
          <cx:pt idx="24621">5</cx:pt>
          <cx:pt idx="24622">4</cx:pt>
          <cx:pt idx="24623">5</cx:pt>
          <cx:pt idx="24624">3</cx:pt>
          <cx:pt idx="24625">1</cx:pt>
          <cx:pt idx="24626">1</cx:pt>
          <cx:pt idx="24627">4</cx:pt>
          <cx:pt idx="24628">3</cx:pt>
          <cx:pt idx="24629">4</cx:pt>
          <cx:pt idx="24630">1</cx:pt>
          <cx:pt idx="24631">5</cx:pt>
          <cx:pt idx="24632">3</cx:pt>
          <cx:pt idx="24633">3</cx:pt>
          <cx:pt idx="24634">2</cx:pt>
          <cx:pt idx="24635">2</cx:pt>
          <cx:pt idx="24636">3</cx:pt>
          <cx:pt idx="24637">3</cx:pt>
          <cx:pt idx="24638">1</cx:pt>
          <cx:pt idx="24639">5</cx:pt>
          <cx:pt idx="24640">5</cx:pt>
          <cx:pt idx="24641">3</cx:pt>
          <cx:pt idx="24642">4</cx:pt>
          <cx:pt idx="24643">5</cx:pt>
          <cx:pt idx="24644">2</cx:pt>
          <cx:pt idx="24645">5</cx:pt>
          <cx:pt idx="24646">1</cx:pt>
          <cx:pt idx="24647">4</cx:pt>
          <cx:pt idx="24648">1</cx:pt>
          <cx:pt idx="24649">5</cx:pt>
          <cx:pt idx="24650">5</cx:pt>
          <cx:pt idx="24651">5</cx:pt>
          <cx:pt idx="24652">5</cx:pt>
          <cx:pt idx="24653">4</cx:pt>
          <cx:pt idx="24654">1</cx:pt>
          <cx:pt idx="24655">5</cx:pt>
          <cx:pt idx="24656">5</cx:pt>
          <cx:pt idx="24657">4</cx:pt>
          <cx:pt idx="24658">3</cx:pt>
          <cx:pt idx="24659">2</cx:pt>
          <cx:pt idx="24660">4</cx:pt>
          <cx:pt idx="24661">3</cx:pt>
          <cx:pt idx="24662">2</cx:pt>
          <cx:pt idx="24663">3</cx:pt>
          <cx:pt idx="24664">4</cx:pt>
          <cx:pt idx="24665">4</cx:pt>
          <cx:pt idx="24666">4</cx:pt>
          <cx:pt idx="24667">3</cx:pt>
          <cx:pt idx="24668">5</cx:pt>
          <cx:pt idx="24669">5</cx:pt>
          <cx:pt idx="24670">5</cx:pt>
          <cx:pt idx="24671">5</cx:pt>
          <cx:pt idx="24672">4</cx:pt>
          <cx:pt idx="24673">2</cx:pt>
          <cx:pt idx="24674">2</cx:pt>
          <cx:pt idx="24675">4</cx:pt>
          <cx:pt idx="24676">4</cx:pt>
          <cx:pt idx="24677">2</cx:pt>
          <cx:pt idx="24678">1</cx:pt>
          <cx:pt idx="24679">5</cx:pt>
          <cx:pt idx="24680">2</cx:pt>
          <cx:pt idx="24681">5</cx:pt>
          <cx:pt idx="24682">4</cx:pt>
          <cx:pt idx="24683">1</cx:pt>
          <cx:pt idx="24684">4</cx:pt>
          <cx:pt idx="24685">2</cx:pt>
          <cx:pt idx="24686">4</cx:pt>
          <cx:pt idx="24687">4</cx:pt>
          <cx:pt idx="24688">3</cx:pt>
          <cx:pt idx="24689">4</cx:pt>
          <cx:pt idx="24690">3</cx:pt>
          <cx:pt idx="24691">5</cx:pt>
          <cx:pt idx="24692">4</cx:pt>
          <cx:pt idx="24693">4</cx:pt>
          <cx:pt idx="24694">2</cx:pt>
          <cx:pt idx="24695">5</cx:pt>
          <cx:pt idx="24696">1</cx:pt>
          <cx:pt idx="24697">3</cx:pt>
          <cx:pt idx="24698">1</cx:pt>
          <cx:pt idx="24699">3</cx:pt>
          <cx:pt idx="24700">1</cx:pt>
          <cx:pt idx="24701">3</cx:pt>
          <cx:pt idx="24702">2</cx:pt>
          <cx:pt idx="24703">4</cx:pt>
          <cx:pt idx="24704">4</cx:pt>
          <cx:pt idx="24705">4</cx:pt>
          <cx:pt idx="24706">3</cx:pt>
          <cx:pt idx="24707">4</cx:pt>
          <cx:pt idx="24708">2</cx:pt>
          <cx:pt idx="24709">4</cx:pt>
          <cx:pt idx="24710">2</cx:pt>
          <cx:pt idx="24711">5</cx:pt>
          <cx:pt idx="24712">3</cx:pt>
          <cx:pt idx="24713">3</cx:pt>
          <cx:pt idx="24714">1</cx:pt>
          <cx:pt idx="24715">3</cx:pt>
          <cx:pt idx="24716">4</cx:pt>
          <cx:pt idx="24717">4</cx:pt>
          <cx:pt idx="24718">3</cx:pt>
          <cx:pt idx="24719">1</cx:pt>
          <cx:pt idx="24720">5</cx:pt>
          <cx:pt idx="24721">2</cx:pt>
          <cx:pt idx="24722">1</cx:pt>
          <cx:pt idx="24723">4</cx:pt>
          <cx:pt idx="24724">3</cx:pt>
          <cx:pt idx="24725">2</cx:pt>
          <cx:pt idx="24726">4</cx:pt>
          <cx:pt idx="24727">4</cx:pt>
          <cx:pt idx="24728">4</cx:pt>
          <cx:pt idx="24729">3</cx:pt>
          <cx:pt idx="24730">5</cx:pt>
          <cx:pt idx="24731">3</cx:pt>
          <cx:pt idx="24732">4</cx:pt>
          <cx:pt idx="24733">4</cx:pt>
          <cx:pt idx="24734">2</cx:pt>
          <cx:pt idx="24735">5</cx:pt>
          <cx:pt idx="24736">2</cx:pt>
          <cx:pt idx="24737">4</cx:pt>
          <cx:pt idx="24738">5</cx:pt>
          <cx:pt idx="24739">4</cx:pt>
          <cx:pt idx="24740">1</cx:pt>
          <cx:pt idx="24741">5</cx:pt>
          <cx:pt idx="24742">5</cx:pt>
          <cx:pt idx="24743">4</cx:pt>
          <cx:pt idx="24744">1</cx:pt>
          <cx:pt idx="24745">5</cx:pt>
          <cx:pt idx="24746">3</cx:pt>
          <cx:pt idx="24747">3</cx:pt>
          <cx:pt idx="24748">4</cx:pt>
          <cx:pt idx="24749">4</cx:pt>
          <cx:pt idx="24750">3</cx:pt>
          <cx:pt idx="24751">3</cx:pt>
          <cx:pt idx="24752">2</cx:pt>
          <cx:pt idx="24753">1</cx:pt>
          <cx:pt idx="24754">3</cx:pt>
          <cx:pt idx="24755">5</cx:pt>
          <cx:pt idx="24756">3</cx:pt>
          <cx:pt idx="24757">5</cx:pt>
          <cx:pt idx="24758">5</cx:pt>
          <cx:pt idx="24759">3</cx:pt>
          <cx:pt idx="24760">5</cx:pt>
          <cx:pt idx="24761">5</cx:pt>
          <cx:pt idx="24762">3</cx:pt>
          <cx:pt idx="24763">5</cx:pt>
          <cx:pt idx="24764">2</cx:pt>
          <cx:pt idx="24765">4</cx:pt>
          <cx:pt idx="24766">5</cx:pt>
          <cx:pt idx="24767">3</cx:pt>
          <cx:pt idx="24768">4</cx:pt>
          <cx:pt idx="24769">4</cx:pt>
          <cx:pt idx="24770">4</cx:pt>
          <cx:pt idx="24771">3</cx:pt>
          <cx:pt idx="24772">5</cx:pt>
          <cx:pt idx="24773">3</cx:pt>
          <cx:pt idx="24774">4</cx:pt>
          <cx:pt idx="24775">1</cx:pt>
          <cx:pt idx="24776">4</cx:pt>
          <cx:pt idx="24777">1</cx:pt>
          <cx:pt idx="24778">2</cx:pt>
          <cx:pt idx="24779">2</cx:pt>
          <cx:pt idx="24780">2</cx:pt>
          <cx:pt idx="24781">4</cx:pt>
          <cx:pt idx="24782">3</cx:pt>
          <cx:pt idx="24783">4</cx:pt>
          <cx:pt idx="24784">3</cx:pt>
          <cx:pt idx="24785">4</cx:pt>
          <cx:pt idx="24786">5</cx:pt>
          <cx:pt idx="24787">1</cx:pt>
          <cx:pt idx="24788">5</cx:pt>
          <cx:pt idx="24789">4</cx:pt>
          <cx:pt idx="24790">4</cx:pt>
          <cx:pt idx="24791">5</cx:pt>
          <cx:pt idx="24792">2</cx:pt>
          <cx:pt idx="24793">4</cx:pt>
          <cx:pt idx="24794">2</cx:pt>
          <cx:pt idx="24795">1</cx:pt>
          <cx:pt idx="24796">4</cx:pt>
          <cx:pt idx="24797">2</cx:pt>
          <cx:pt idx="24798">2</cx:pt>
          <cx:pt idx="24799">5</cx:pt>
          <cx:pt idx="24800">2</cx:pt>
          <cx:pt idx="24801">1</cx:pt>
          <cx:pt idx="24802">1</cx:pt>
          <cx:pt idx="24803">5</cx:pt>
          <cx:pt idx="24804">5</cx:pt>
          <cx:pt idx="24805">2</cx:pt>
          <cx:pt idx="24806">5</cx:pt>
          <cx:pt idx="24807">5</cx:pt>
          <cx:pt idx="24808">4</cx:pt>
          <cx:pt idx="24809">2</cx:pt>
          <cx:pt idx="24810">5</cx:pt>
          <cx:pt idx="24811">2</cx:pt>
          <cx:pt idx="24812">5</cx:pt>
          <cx:pt idx="24813">5</cx:pt>
          <cx:pt idx="24814">1</cx:pt>
          <cx:pt idx="24815">4</cx:pt>
          <cx:pt idx="24816">3</cx:pt>
          <cx:pt idx="24817">1</cx:pt>
          <cx:pt idx="24818">4</cx:pt>
          <cx:pt idx="24819">4</cx:pt>
          <cx:pt idx="24820">4</cx:pt>
          <cx:pt idx="24821">2</cx:pt>
          <cx:pt idx="24822">4</cx:pt>
          <cx:pt idx="24823">5</cx:pt>
          <cx:pt idx="24824">3</cx:pt>
          <cx:pt idx="24825">4</cx:pt>
          <cx:pt idx="24826">4</cx:pt>
          <cx:pt idx="24827">5</cx:pt>
          <cx:pt idx="24828">2</cx:pt>
          <cx:pt idx="24829">3</cx:pt>
          <cx:pt idx="24830">4</cx:pt>
          <cx:pt idx="24831">5</cx:pt>
          <cx:pt idx="24832">5</cx:pt>
          <cx:pt idx="24833">4</cx:pt>
          <cx:pt idx="24834">3</cx:pt>
          <cx:pt idx="24835">3</cx:pt>
          <cx:pt idx="24836">3</cx:pt>
          <cx:pt idx="24837">3</cx:pt>
          <cx:pt idx="24838">1</cx:pt>
          <cx:pt idx="24839">5</cx:pt>
          <cx:pt idx="24840">1</cx:pt>
          <cx:pt idx="24841">3</cx:pt>
          <cx:pt idx="24842">3</cx:pt>
          <cx:pt idx="24843">1</cx:pt>
          <cx:pt idx="24844">1</cx:pt>
          <cx:pt idx="24845">5</cx:pt>
          <cx:pt idx="24846">3</cx:pt>
          <cx:pt idx="24847">5</cx:pt>
          <cx:pt idx="24848">5</cx:pt>
          <cx:pt idx="24849">3</cx:pt>
          <cx:pt idx="24850">4</cx:pt>
          <cx:pt idx="24851">4</cx:pt>
          <cx:pt idx="24852">3</cx:pt>
          <cx:pt idx="24853">4</cx:pt>
          <cx:pt idx="24854">1</cx:pt>
          <cx:pt idx="24855">4</cx:pt>
          <cx:pt idx="24856">5</cx:pt>
          <cx:pt idx="24857">4</cx:pt>
          <cx:pt idx="24858">5</cx:pt>
          <cx:pt idx="24859">5</cx:pt>
          <cx:pt idx="24860">2</cx:pt>
          <cx:pt idx="24861">4</cx:pt>
          <cx:pt idx="24862">4</cx:pt>
          <cx:pt idx="24863">1</cx:pt>
          <cx:pt idx="24864">2</cx:pt>
          <cx:pt idx="24865">1</cx:pt>
          <cx:pt idx="24866">4</cx:pt>
          <cx:pt idx="24867">4</cx:pt>
          <cx:pt idx="24868">5</cx:pt>
          <cx:pt idx="24869">2</cx:pt>
          <cx:pt idx="24870">5</cx:pt>
          <cx:pt idx="24871">5</cx:pt>
          <cx:pt idx="24872">3</cx:pt>
          <cx:pt idx="24873">3</cx:pt>
          <cx:pt idx="24874">5</cx:pt>
          <cx:pt idx="24875">3</cx:pt>
          <cx:pt idx="24876">4</cx:pt>
          <cx:pt idx="24877">4</cx:pt>
          <cx:pt idx="24878">1</cx:pt>
          <cx:pt idx="24879">2</cx:pt>
          <cx:pt idx="24880">3</cx:pt>
          <cx:pt idx="24881">5</cx:pt>
          <cx:pt idx="24882">5</cx:pt>
          <cx:pt idx="24883">5</cx:pt>
          <cx:pt idx="24884">5</cx:pt>
          <cx:pt idx="24885">2</cx:pt>
          <cx:pt idx="24886">4</cx:pt>
          <cx:pt idx="24887">4</cx:pt>
          <cx:pt idx="24888">3</cx:pt>
          <cx:pt idx="24889">3</cx:pt>
          <cx:pt idx="24890">2</cx:pt>
          <cx:pt idx="24891">4</cx:pt>
          <cx:pt idx="24892">4</cx:pt>
          <cx:pt idx="24893">3</cx:pt>
          <cx:pt idx="24894">1</cx:pt>
          <cx:pt idx="24895">4</cx:pt>
          <cx:pt idx="24896">4</cx:pt>
          <cx:pt idx="24897">5</cx:pt>
          <cx:pt idx="24898">4</cx:pt>
          <cx:pt idx="24899">4</cx:pt>
          <cx:pt idx="24900">5</cx:pt>
          <cx:pt idx="24901">5</cx:pt>
          <cx:pt idx="24902">2</cx:pt>
          <cx:pt idx="24903">2</cx:pt>
          <cx:pt idx="24904">5</cx:pt>
          <cx:pt idx="24905">3</cx:pt>
          <cx:pt idx="24906">3</cx:pt>
          <cx:pt idx="24907">5</cx:pt>
          <cx:pt idx="24908">5</cx:pt>
          <cx:pt idx="24909">3</cx:pt>
          <cx:pt idx="24910">4</cx:pt>
          <cx:pt idx="24911">4</cx:pt>
          <cx:pt idx="24912">1</cx:pt>
          <cx:pt idx="24913">1</cx:pt>
          <cx:pt idx="24914">4</cx:pt>
          <cx:pt idx="24915">4</cx:pt>
          <cx:pt idx="24916">5</cx:pt>
          <cx:pt idx="24917">5</cx:pt>
          <cx:pt idx="24918">2</cx:pt>
          <cx:pt idx="24919">5</cx:pt>
          <cx:pt idx="24920">2</cx:pt>
          <cx:pt idx="24921">5</cx:pt>
          <cx:pt idx="24922">3</cx:pt>
          <cx:pt idx="24923">2</cx:pt>
          <cx:pt idx="24924">3</cx:pt>
          <cx:pt idx="24925">4</cx:pt>
          <cx:pt idx="24926">3</cx:pt>
          <cx:pt idx="24927">4</cx:pt>
          <cx:pt idx="24928">4</cx:pt>
          <cx:pt idx="24929">3</cx:pt>
          <cx:pt idx="24930">2</cx:pt>
          <cx:pt idx="24931">1</cx:pt>
          <cx:pt idx="24932">4</cx:pt>
          <cx:pt idx="24933">1</cx:pt>
          <cx:pt idx="24934">5</cx:pt>
          <cx:pt idx="24935">3</cx:pt>
          <cx:pt idx="24936">1</cx:pt>
          <cx:pt idx="24937">3</cx:pt>
          <cx:pt idx="24938">3</cx:pt>
          <cx:pt idx="24939">5</cx:pt>
          <cx:pt idx="24940">4</cx:pt>
          <cx:pt idx="24941">4</cx:pt>
          <cx:pt idx="24942">3</cx:pt>
          <cx:pt idx="24943">2</cx:pt>
          <cx:pt idx="24944">5</cx:pt>
          <cx:pt idx="24945">2</cx:pt>
          <cx:pt idx="24946">4</cx:pt>
          <cx:pt idx="24947">3</cx:pt>
          <cx:pt idx="24948">5</cx:pt>
          <cx:pt idx="24949">3</cx:pt>
          <cx:pt idx="24950">3</cx:pt>
          <cx:pt idx="24951">1</cx:pt>
          <cx:pt idx="24952">5</cx:pt>
          <cx:pt idx="24953">5</cx:pt>
          <cx:pt idx="24954">5</cx:pt>
          <cx:pt idx="24955">2</cx:pt>
          <cx:pt idx="24956">3</cx:pt>
          <cx:pt idx="24957">5</cx:pt>
          <cx:pt idx="24958">5</cx:pt>
          <cx:pt idx="24959">1</cx:pt>
          <cx:pt idx="24960">2</cx:pt>
          <cx:pt idx="24961">5</cx:pt>
          <cx:pt idx="24962">4</cx:pt>
          <cx:pt idx="24963">5</cx:pt>
          <cx:pt idx="24964">4</cx:pt>
          <cx:pt idx="24965">1</cx:pt>
          <cx:pt idx="24966">2</cx:pt>
          <cx:pt idx="24967">5</cx:pt>
          <cx:pt idx="24968">2</cx:pt>
          <cx:pt idx="24969">4</cx:pt>
          <cx:pt idx="24970">4</cx:pt>
          <cx:pt idx="24971">4</cx:pt>
          <cx:pt idx="24972">3</cx:pt>
          <cx:pt idx="24973">3</cx:pt>
          <cx:pt idx="24974">1</cx:pt>
          <cx:pt idx="24975">4</cx:pt>
          <cx:pt idx="24976">4</cx:pt>
          <cx:pt idx="24977">4</cx:pt>
          <cx:pt idx="24978">4</cx:pt>
          <cx:pt idx="24979">4</cx:pt>
          <cx:pt idx="24980">2</cx:pt>
          <cx:pt idx="24981">4</cx:pt>
          <cx:pt idx="24982">2</cx:pt>
          <cx:pt idx="24983">4</cx:pt>
          <cx:pt idx="24984">3</cx:pt>
          <cx:pt idx="24985">4</cx:pt>
          <cx:pt idx="24986">4</cx:pt>
          <cx:pt idx="24987">3</cx:pt>
          <cx:pt idx="24988">3</cx:pt>
          <cx:pt idx="24989">5</cx:pt>
          <cx:pt idx="24990">4</cx:pt>
          <cx:pt idx="24991">5</cx:pt>
          <cx:pt idx="24992">2</cx:pt>
          <cx:pt idx="24993">2</cx:pt>
          <cx:pt idx="24994">3</cx:pt>
          <cx:pt idx="24995">4</cx:pt>
          <cx:pt idx="24996">1</cx:pt>
          <cx:pt idx="24997">4</cx:pt>
          <cx:pt idx="24998">5</cx:pt>
          <cx:pt idx="24999">1</cx:pt>
          <cx:pt idx="25000">3</cx:pt>
          <cx:pt idx="25001">3</cx:pt>
          <cx:pt idx="25002">2</cx:pt>
          <cx:pt idx="25003">4</cx:pt>
          <cx:pt idx="25004">3</cx:pt>
          <cx:pt idx="25005">5</cx:pt>
          <cx:pt idx="25006">1</cx:pt>
          <cx:pt idx="25007">5</cx:pt>
          <cx:pt idx="25008">3</cx:pt>
          <cx:pt idx="25009">5</cx:pt>
          <cx:pt idx="25010">2</cx:pt>
          <cx:pt idx="25011">2</cx:pt>
          <cx:pt idx="25012">3</cx:pt>
          <cx:pt idx="25013">4</cx:pt>
          <cx:pt idx="25014">4</cx:pt>
          <cx:pt idx="25015">2</cx:pt>
          <cx:pt idx="25016">1</cx:pt>
          <cx:pt idx="25017">4</cx:pt>
          <cx:pt idx="25018">4</cx:pt>
          <cx:pt idx="25019">2</cx:pt>
          <cx:pt idx="25020">3</cx:pt>
          <cx:pt idx="25021">4</cx:pt>
          <cx:pt idx="25022">4</cx:pt>
          <cx:pt idx="25023">4</cx:pt>
          <cx:pt idx="25024">2</cx:pt>
          <cx:pt idx="25025">1</cx:pt>
          <cx:pt idx="25026">4</cx:pt>
          <cx:pt idx="25027">3</cx:pt>
          <cx:pt idx="25028">5</cx:pt>
          <cx:pt idx="25029">5</cx:pt>
          <cx:pt idx="25030">4</cx:pt>
          <cx:pt idx="25031">4</cx:pt>
          <cx:pt idx="25032">4</cx:pt>
          <cx:pt idx="25033">2</cx:pt>
          <cx:pt idx="25034">2</cx:pt>
          <cx:pt idx="25035">4</cx:pt>
          <cx:pt idx="25036">4</cx:pt>
          <cx:pt idx="25037">3</cx:pt>
          <cx:pt idx="25038">4</cx:pt>
          <cx:pt idx="25039">1</cx:pt>
          <cx:pt idx="25040">4</cx:pt>
          <cx:pt idx="25041">2</cx:pt>
          <cx:pt idx="25042">4</cx:pt>
          <cx:pt idx="25043">3</cx:pt>
          <cx:pt idx="25044">3</cx:pt>
          <cx:pt idx="25045">4</cx:pt>
          <cx:pt idx="25046">5</cx:pt>
          <cx:pt idx="25047">5</cx:pt>
          <cx:pt idx="25048">4</cx:pt>
          <cx:pt idx="25049">1</cx:pt>
          <cx:pt idx="25050">3</cx:pt>
          <cx:pt idx="25051">3</cx:pt>
          <cx:pt idx="25052">4</cx:pt>
          <cx:pt idx="25053">1</cx:pt>
          <cx:pt idx="25054">4</cx:pt>
          <cx:pt idx="25055">3</cx:pt>
          <cx:pt idx="25056">1</cx:pt>
          <cx:pt idx="25057">4</cx:pt>
          <cx:pt idx="25058">4</cx:pt>
          <cx:pt idx="25059">3</cx:pt>
          <cx:pt idx="25060">2</cx:pt>
          <cx:pt idx="25061">2</cx:pt>
          <cx:pt idx="25062">4</cx:pt>
          <cx:pt idx="25063">4</cx:pt>
          <cx:pt idx="25064">4</cx:pt>
          <cx:pt idx="25065">4</cx:pt>
          <cx:pt idx="25066">4</cx:pt>
          <cx:pt idx="25067">5</cx:pt>
          <cx:pt idx="25068">1</cx:pt>
          <cx:pt idx="25069">2</cx:pt>
          <cx:pt idx="25070">5</cx:pt>
          <cx:pt idx="25071">5</cx:pt>
          <cx:pt idx="25072">2</cx:pt>
          <cx:pt idx="25073">5</cx:pt>
          <cx:pt idx="25074">4</cx:pt>
          <cx:pt idx="25075">4</cx:pt>
          <cx:pt idx="25076">3</cx:pt>
          <cx:pt idx="25077">1</cx:pt>
          <cx:pt idx="25078">2</cx:pt>
          <cx:pt idx="25079">5</cx:pt>
          <cx:pt idx="25080">4</cx:pt>
          <cx:pt idx="25081">2</cx:pt>
          <cx:pt idx="25082">5</cx:pt>
          <cx:pt idx="25083">4</cx:pt>
          <cx:pt idx="25084">4</cx:pt>
          <cx:pt idx="25085">3</cx:pt>
          <cx:pt idx="25086">3</cx:pt>
          <cx:pt idx="25087">5</cx:pt>
          <cx:pt idx="25088">5</cx:pt>
          <cx:pt idx="25089">5</cx:pt>
          <cx:pt idx="25090">4</cx:pt>
          <cx:pt idx="25091">3</cx:pt>
          <cx:pt idx="25092">4</cx:pt>
          <cx:pt idx="25093">5</cx:pt>
          <cx:pt idx="25094">2</cx:pt>
          <cx:pt idx="25095">2</cx:pt>
          <cx:pt idx="25096">3</cx:pt>
          <cx:pt idx="25097">4</cx:pt>
          <cx:pt idx="25098">3</cx:pt>
          <cx:pt idx="25099">5</cx:pt>
          <cx:pt idx="25100">2</cx:pt>
          <cx:pt idx="25101">5</cx:pt>
          <cx:pt idx="25102">4</cx:pt>
          <cx:pt idx="25103">5</cx:pt>
          <cx:pt idx="25104">5</cx:pt>
          <cx:pt idx="25105">4</cx:pt>
          <cx:pt idx="25106">2</cx:pt>
          <cx:pt idx="25107">3</cx:pt>
          <cx:pt idx="25108">5</cx:pt>
          <cx:pt idx="25109">4</cx:pt>
          <cx:pt idx="25110">5</cx:pt>
          <cx:pt idx="25111">2</cx:pt>
          <cx:pt idx="25112">1</cx:pt>
          <cx:pt idx="25113">3</cx:pt>
          <cx:pt idx="25114">5</cx:pt>
          <cx:pt idx="25115">5</cx:pt>
          <cx:pt idx="25116">5</cx:pt>
          <cx:pt idx="25117">2</cx:pt>
          <cx:pt idx="25118">5</cx:pt>
          <cx:pt idx="25119">5</cx:pt>
          <cx:pt idx="25120">1</cx:pt>
          <cx:pt idx="25121">3</cx:pt>
          <cx:pt idx="25122">5</cx:pt>
          <cx:pt idx="25123">4</cx:pt>
          <cx:pt idx="25124">5</cx:pt>
          <cx:pt idx="25125">2</cx:pt>
          <cx:pt idx="25126">4</cx:pt>
          <cx:pt idx="25127">4</cx:pt>
          <cx:pt idx="25128">4</cx:pt>
          <cx:pt idx="25129">4</cx:pt>
          <cx:pt idx="25130">4</cx:pt>
          <cx:pt idx="25131">1</cx:pt>
          <cx:pt idx="25132">3</cx:pt>
          <cx:pt idx="25133">5</cx:pt>
          <cx:pt idx="25134">1</cx:pt>
          <cx:pt idx="25135">5</cx:pt>
          <cx:pt idx="25136">4</cx:pt>
          <cx:pt idx="25137">5</cx:pt>
          <cx:pt idx="25138">5</cx:pt>
          <cx:pt idx="25139">2</cx:pt>
          <cx:pt idx="25140">5</cx:pt>
          <cx:pt idx="25141">2</cx:pt>
          <cx:pt idx="25142">3</cx:pt>
          <cx:pt idx="25143">4</cx:pt>
          <cx:pt idx="25144">2</cx:pt>
          <cx:pt idx="25145">4</cx:pt>
          <cx:pt idx="25146">3</cx:pt>
          <cx:pt idx="25147">3</cx:pt>
          <cx:pt idx="25148">5</cx:pt>
          <cx:pt idx="25149">3</cx:pt>
          <cx:pt idx="25150">3</cx:pt>
          <cx:pt idx="25151">4</cx:pt>
          <cx:pt idx="25152">4</cx:pt>
          <cx:pt idx="25153">4</cx:pt>
          <cx:pt idx="25154">4</cx:pt>
          <cx:pt idx="25155">1</cx:pt>
          <cx:pt idx="25156">5</cx:pt>
          <cx:pt idx="25157">1</cx:pt>
          <cx:pt idx="25158">2</cx:pt>
          <cx:pt idx="25159">1</cx:pt>
          <cx:pt idx="25160">5</cx:pt>
          <cx:pt idx="25161">5</cx:pt>
          <cx:pt idx="25162">4</cx:pt>
          <cx:pt idx="25163">3</cx:pt>
          <cx:pt idx="25164">5</cx:pt>
          <cx:pt idx="25165">2</cx:pt>
          <cx:pt idx="25166">5</cx:pt>
          <cx:pt idx="25167">4</cx:pt>
          <cx:pt idx="25168">3</cx:pt>
          <cx:pt idx="25169">1</cx:pt>
          <cx:pt idx="25170">3</cx:pt>
          <cx:pt idx="25171">4</cx:pt>
          <cx:pt idx="25172">3</cx:pt>
          <cx:pt idx="25173">5</cx:pt>
          <cx:pt idx="25174">5</cx:pt>
          <cx:pt idx="25175">2</cx:pt>
          <cx:pt idx="25176">4</cx:pt>
          <cx:pt idx="25177">5</cx:pt>
          <cx:pt idx="25178">5</cx:pt>
          <cx:pt idx="25179">2</cx:pt>
          <cx:pt idx="25180">4</cx:pt>
          <cx:pt idx="25181">3</cx:pt>
          <cx:pt idx="25182">1</cx:pt>
          <cx:pt idx="25183">4</cx:pt>
          <cx:pt idx="25184">4</cx:pt>
          <cx:pt idx="25185">4</cx:pt>
          <cx:pt idx="25186">4</cx:pt>
          <cx:pt idx="25187">5</cx:pt>
          <cx:pt idx="25188">1</cx:pt>
          <cx:pt idx="25189">5</cx:pt>
          <cx:pt idx="25190">1</cx:pt>
          <cx:pt idx="25191">3</cx:pt>
          <cx:pt idx="25192">5</cx:pt>
          <cx:pt idx="25193">2</cx:pt>
          <cx:pt idx="25194">4</cx:pt>
          <cx:pt idx="25195">4</cx:pt>
          <cx:pt idx="25196">5</cx:pt>
          <cx:pt idx="25197">4</cx:pt>
          <cx:pt idx="25198">1</cx:pt>
          <cx:pt idx="25199">4</cx:pt>
          <cx:pt idx="25200">2</cx:pt>
          <cx:pt idx="25201">5</cx:pt>
          <cx:pt idx="25202">5</cx:pt>
          <cx:pt idx="25203">4</cx:pt>
          <cx:pt idx="25204">5</cx:pt>
          <cx:pt idx="25205">5</cx:pt>
          <cx:pt idx="25206">3</cx:pt>
          <cx:pt idx="25207">2</cx:pt>
          <cx:pt idx="25208">4</cx:pt>
          <cx:pt idx="25209">3</cx:pt>
          <cx:pt idx="25210">1</cx:pt>
          <cx:pt idx="25211">3</cx:pt>
          <cx:pt idx="25212">4</cx:pt>
          <cx:pt idx="25213">3</cx:pt>
          <cx:pt idx="25214">5</cx:pt>
          <cx:pt idx="25215">5</cx:pt>
          <cx:pt idx="25216">1</cx:pt>
          <cx:pt idx="25217">5</cx:pt>
          <cx:pt idx="25218">3</cx:pt>
          <cx:pt idx="25219">2</cx:pt>
          <cx:pt idx="25220">2</cx:pt>
          <cx:pt idx="25221">3</cx:pt>
          <cx:pt idx="25222">2</cx:pt>
          <cx:pt idx="25223">4</cx:pt>
          <cx:pt idx="25224">5</cx:pt>
          <cx:pt idx="25225">5</cx:pt>
          <cx:pt idx="25226">4</cx:pt>
          <cx:pt idx="25227">4</cx:pt>
          <cx:pt idx="25228">3</cx:pt>
          <cx:pt idx="25229">3</cx:pt>
          <cx:pt idx="25230">4</cx:pt>
          <cx:pt idx="25231">4</cx:pt>
          <cx:pt idx="25232">5</cx:pt>
          <cx:pt idx="25233">3</cx:pt>
          <cx:pt idx="25234">3</cx:pt>
          <cx:pt idx="25235">4</cx:pt>
          <cx:pt idx="25236">5</cx:pt>
          <cx:pt idx="25237">2</cx:pt>
          <cx:pt idx="25238">5</cx:pt>
          <cx:pt idx="25239">1</cx:pt>
          <cx:pt idx="25240">4</cx:pt>
          <cx:pt idx="25241">2</cx:pt>
          <cx:pt idx="25242">2</cx:pt>
          <cx:pt idx="25243">3</cx:pt>
          <cx:pt idx="25244">4</cx:pt>
          <cx:pt idx="25245">4</cx:pt>
          <cx:pt idx="25246">3</cx:pt>
          <cx:pt idx="25247">2</cx:pt>
          <cx:pt idx="25248">4</cx:pt>
          <cx:pt idx="25249">5</cx:pt>
          <cx:pt idx="25250">4</cx:pt>
          <cx:pt idx="25251">4</cx:pt>
          <cx:pt idx="25252">4</cx:pt>
          <cx:pt idx="25253">3</cx:pt>
          <cx:pt idx="25254">5</cx:pt>
          <cx:pt idx="25255">3</cx:pt>
          <cx:pt idx="25256">3</cx:pt>
          <cx:pt idx="25257">2</cx:pt>
          <cx:pt idx="25258">5</cx:pt>
          <cx:pt idx="25259">4</cx:pt>
          <cx:pt idx="25260">3</cx:pt>
          <cx:pt idx="25261">5</cx:pt>
          <cx:pt idx="25262">4</cx:pt>
          <cx:pt idx="25263">5</cx:pt>
          <cx:pt idx="25264">1</cx:pt>
          <cx:pt idx="25265">3</cx:pt>
          <cx:pt idx="25266">4</cx:pt>
          <cx:pt idx="25267">1</cx:pt>
          <cx:pt idx="25268">4</cx:pt>
          <cx:pt idx="25269">5</cx:pt>
          <cx:pt idx="25270">5</cx:pt>
          <cx:pt idx="25271">4</cx:pt>
          <cx:pt idx="25272">3</cx:pt>
          <cx:pt idx="25273">5</cx:pt>
          <cx:pt idx="25274">5</cx:pt>
          <cx:pt idx="25275">3</cx:pt>
          <cx:pt idx="25276">4</cx:pt>
          <cx:pt idx="25277">4</cx:pt>
          <cx:pt idx="25278">3</cx:pt>
          <cx:pt idx="25279">1</cx:pt>
          <cx:pt idx="25280">2</cx:pt>
          <cx:pt idx="25281">4</cx:pt>
          <cx:pt idx="25282">3</cx:pt>
          <cx:pt idx="25283">5</cx:pt>
          <cx:pt idx="25284">1</cx:pt>
          <cx:pt idx="25285">4</cx:pt>
          <cx:pt idx="25286">4</cx:pt>
          <cx:pt idx="25287">3</cx:pt>
          <cx:pt idx="25288">5</cx:pt>
          <cx:pt idx="25289">1</cx:pt>
          <cx:pt idx="25290">4</cx:pt>
          <cx:pt idx="25291">4</cx:pt>
          <cx:pt idx="25292">5</cx:pt>
          <cx:pt idx="25293">5</cx:pt>
          <cx:pt idx="25294">3</cx:pt>
          <cx:pt idx="25295">1</cx:pt>
          <cx:pt idx="25296">2</cx:pt>
          <cx:pt idx="25297">3</cx:pt>
          <cx:pt idx="25298">4</cx:pt>
          <cx:pt idx="25299">1</cx:pt>
          <cx:pt idx="25300">3</cx:pt>
          <cx:pt idx="25301">5</cx:pt>
          <cx:pt idx="25302">2</cx:pt>
          <cx:pt idx="25303">3</cx:pt>
          <cx:pt idx="25304">4</cx:pt>
          <cx:pt idx="25305">4</cx:pt>
          <cx:pt idx="25306">5</cx:pt>
          <cx:pt idx="25307">4</cx:pt>
          <cx:pt idx="25308">2</cx:pt>
          <cx:pt idx="25309">4</cx:pt>
          <cx:pt idx="25310">4</cx:pt>
          <cx:pt idx="25311">4</cx:pt>
          <cx:pt idx="25312">2</cx:pt>
          <cx:pt idx="25313">5</cx:pt>
          <cx:pt idx="25314">5</cx:pt>
          <cx:pt idx="25315">4</cx:pt>
          <cx:pt idx="25316">1</cx:pt>
          <cx:pt idx="25317">5</cx:pt>
          <cx:pt idx="25318">4</cx:pt>
          <cx:pt idx="25319">2</cx:pt>
          <cx:pt idx="25320">4</cx:pt>
          <cx:pt idx="25321">1</cx:pt>
          <cx:pt idx="25322">5</cx:pt>
          <cx:pt idx="25323">1</cx:pt>
          <cx:pt idx="25324">5</cx:pt>
          <cx:pt idx="25325">1</cx:pt>
          <cx:pt idx="25326">5</cx:pt>
          <cx:pt idx="25327">5</cx:pt>
          <cx:pt idx="25328">4</cx:pt>
          <cx:pt idx="25329">5</cx:pt>
          <cx:pt idx="25330">5</cx:pt>
          <cx:pt idx="25331">3</cx:pt>
          <cx:pt idx="25332">5</cx:pt>
          <cx:pt idx="25333">4</cx:pt>
          <cx:pt idx="25334">3</cx:pt>
          <cx:pt idx="25335">1</cx:pt>
          <cx:pt idx="25336">4</cx:pt>
          <cx:pt idx="25337">4</cx:pt>
          <cx:pt idx="25338">4</cx:pt>
          <cx:pt idx="25339">4</cx:pt>
          <cx:pt idx="25340">5</cx:pt>
          <cx:pt idx="25341">2</cx:pt>
          <cx:pt idx="25342">5</cx:pt>
          <cx:pt idx="25343">4</cx:pt>
          <cx:pt idx="25344">3</cx:pt>
          <cx:pt idx="25345">2</cx:pt>
          <cx:pt idx="25346">3</cx:pt>
          <cx:pt idx="25347">3</cx:pt>
          <cx:pt idx="25348">4</cx:pt>
          <cx:pt idx="25349">4</cx:pt>
          <cx:pt idx="25350">4</cx:pt>
          <cx:pt idx="25351">1</cx:pt>
          <cx:pt idx="25352">3</cx:pt>
          <cx:pt idx="25353">4</cx:pt>
          <cx:pt idx="25354">4</cx:pt>
          <cx:pt idx="25355">4</cx:pt>
          <cx:pt idx="25356">5</cx:pt>
          <cx:pt idx="25357">3</cx:pt>
          <cx:pt idx="25358">3</cx:pt>
          <cx:pt idx="25359">4</cx:pt>
          <cx:pt idx="25360">4</cx:pt>
          <cx:pt idx="25361">3</cx:pt>
          <cx:pt idx="25362">4</cx:pt>
          <cx:pt idx="25363">5</cx:pt>
          <cx:pt idx="25364">4</cx:pt>
          <cx:pt idx="25365">1</cx:pt>
          <cx:pt idx="25366">1</cx:pt>
          <cx:pt idx="25367">4</cx:pt>
          <cx:pt idx="25368">4</cx:pt>
          <cx:pt idx="25369">5</cx:pt>
          <cx:pt idx="25370">1</cx:pt>
          <cx:pt idx="25371">1</cx:pt>
          <cx:pt idx="25372">3</cx:pt>
          <cx:pt idx="25373">5</cx:pt>
          <cx:pt idx="25374">5</cx:pt>
          <cx:pt idx="25375">4</cx:pt>
          <cx:pt idx="25376">5</cx:pt>
          <cx:pt idx="25377">3</cx:pt>
          <cx:pt idx="25378">3</cx:pt>
          <cx:pt idx="25379">3</cx:pt>
          <cx:pt idx="25380">4</cx:pt>
          <cx:pt idx="25381">4</cx:pt>
          <cx:pt idx="25382">4</cx:pt>
          <cx:pt idx="25383">5</cx:pt>
          <cx:pt idx="25384">5</cx:pt>
          <cx:pt idx="25385">1</cx:pt>
          <cx:pt idx="25386">1</cx:pt>
          <cx:pt idx="25387">3</cx:pt>
          <cx:pt idx="25388">4</cx:pt>
          <cx:pt idx="25389">2</cx:pt>
          <cx:pt idx="25390">4</cx:pt>
          <cx:pt idx="25391">2</cx:pt>
          <cx:pt idx="25392">5</cx:pt>
          <cx:pt idx="25393">2</cx:pt>
          <cx:pt idx="25394">5</cx:pt>
          <cx:pt idx="25395">1</cx:pt>
          <cx:pt idx="25396">4</cx:pt>
          <cx:pt idx="25397">5</cx:pt>
          <cx:pt idx="25398">5</cx:pt>
          <cx:pt idx="25399">1</cx:pt>
          <cx:pt idx="25400">1</cx:pt>
          <cx:pt idx="25401">3</cx:pt>
          <cx:pt idx="25402">4</cx:pt>
          <cx:pt idx="25403">4</cx:pt>
          <cx:pt idx="25404">4</cx:pt>
          <cx:pt idx="25405">5</cx:pt>
          <cx:pt idx="25406">1</cx:pt>
          <cx:pt idx="25407">5</cx:pt>
          <cx:pt idx="25408">1</cx:pt>
          <cx:pt idx="25409">1</cx:pt>
          <cx:pt idx="25410">5</cx:pt>
          <cx:pt idx="25411">4</cx:pt>
          <cx:pt idx="25412">5</cx:pt>
          <cx:pt idx="25413">4</cx:pt>
          <cx:pt idx="25414">3</cx:pt>
          <cx:pt idx="25415">1</cx:pt>
          <cx:pt idx="25416">2</cx:pt>
          <cx:pt idx="25417">3</cx:pt>
          <cx:pt idx="25418">5</cx:pt>
          <cx:pt idx="25419">5</cx:pt>
          <cx:pt idx="25420">1</cx:pt>
          <cx:pt idx="25421">2</cx:pt>
          <cx:pt idx="25422">2</cx:pt>
          <cx:pt idx="25423">4</cx:pt>
          <cx:pt idx="25424">1</cx:pt>
          <cx:pt idx="25425">2</cx:pt>
          <cx:pt idx="25426">4</cx:pt>
          <cx:pt idx="25427">4</cx:pt>
          <cx:pt idx="25428">4</cx:pt>
          <cx:pt idx="25429">2</cx:pt>
          <cx:pt idx="25430">3</cx:pt>
          <cx:pt idx="25431">4</cx:pt>
          <cx:pt idx="25432">3</cx:pt>
          <cx:pt idx="25433">4</cx:pt>
          <cx:pt idx="25434">2</cx:pt>
          <cx:pt idx="25435">4</cx:pt>
          <cx:pt idx="25436">2</cx:pt>
          <cx:pt idx="25437">2</cx:pt>
          <cx:pt idx="25438">5</cx:pt>
          <cx:pt idx="25439">1</cx:pt>
          <cx:pt idx="25440">5</cx:pt>
          <cx:pt idx="25441">5</cx:pt>
          <cx:pt idx="25442">5</cx:pt>
          <cx:pt idx="25443">3</cx:pt>
          <cx:pt idx="25444">2</cx:pt>
          <cx:pt idx="25445">4</cx:pt>
          <cx:pt idx="25446">1</cx:pt>
          <cx:pt idx="25447">2</cx:pt>
          <cx:pt idx="25448">1</cx:pt>
          <cx:pt idx="25449">4</cx:pt>
          <cx:pt idx="25450">5</cx:pt>
          <cx:pt idx="25451">2</cx:pt>
          <cx:pt idx="25452">4</cx:pt>
          <cx:pt idx="25453">2</cx:pt>
          <cx:pt idx="25454">5</cx:pt>
          <cx:pt idx="25455">5</cx:pt>
          <cx:pt idx="25456">4</cx:pt>
          <cx:pt idx="25457">1</cx:pt>
          <cx:pt idx="25458">5</cx:pt>
          <cx:pt idx="25459">1</cx:pt>
          <cx:pt idx="25460">4</cx:pt>
          <cx:pt idx="25461">4</cx:pt>
          <cx:pt idx="25462">4</cx:pt>
          <cx:pt idx="25463">1</cx:pt>
          <cx:pt idx="25464">3</cx:pt>
          <cx:pt idx="25465">4</cx:pt>
          <cx:pt idx="25466">5</cx:pt>
          <cx:pt idx="25467">4</cx:pt>
          <cx:pt idx="25468">5</cx:pt>
          <cx:pt idx="25469">5</cx:pt>
          <cx:pt idx="25470">2</cx:pt>
          <cx:pt idx="25471">5</cx:pt>
          <cx:pt idx="25472">2</cx:pt>
          <cx:pt idx="25473">3</cx:pt>
          <cx:pt idx="25474">5</cx:pt>
          <cx:pt idx="25475">4</cx:pt>
          <cx:pt idx="25476">4</cx:pt>
          <cx:pt idx="25477">2</cx:pt>
          <cx:pt idx="25478">4</cx:pt>
          <cx:pt idx="25479">5</cx:pt>
          <cx:pt idx="25480">1</cx:pt>
          <cx:pt idx="25481">4</cx:pt>
          <cx:pt idx="25482">3</cx:pt>
          <cx:pt idx="25483">2</cx:pt>
          <cx:pt idx="25484">4</cx:pt>
          <cx:pt idx="25485">3</cx:pt>
          <cx:pt idx="25486">1</cx:pt>
          <cx:pt idx="25487">4</cx:pt>
          <cx:pt idx="25488">4</cx:pt>
          <cx:pt idx="25489">2</cx:pt>
          <cx:pt idx="25490">2</cx:pt>
          <cx:pt idx="25491">4</cx:pt>
          <cx:pt idx="25492">5</cx:pt>
          <cx:pt idx="25493">5</cx:pt>
          <cx:pt idx="25494">5</cx:pt>
          <cx:pt idx="25495">4</cx:pt>
          <cx:pt idx="25496">5</cx:pt>
          <cx:pt idx="25497">5</cx:pt>
          <cx:pt idx="25498">5</cx:pt>
          <cx:pt idx="25499">3</cx:pt>
          <cx:pt idx="25500">2</cx:pt>
          <cx:pt idx="25501">1</cx:pt>
          <cx:pt idx="25502">2</cx:pt>
          <cx:pt idx="25503">1</cx:pt>
          <cx:pt idx="25504">3</cx:pt>
          <cx:pt idx="25505">4</cx:pt>
          <cx:pt idx="25506">5</cx:pt>
          <cx:pt idx="25507">1</cx:pt>
          <cx:pt idx="25508">3</cx:pt>
          <cx:pt idx="25509">2</cx:pt>
          <cx:pt idx="25510">1</cx:pt>
          <cx:pt idx="25511">2</cx:pt>
          <cx:pt idx="25512">5</cx:pt>
          <cx:pt idx="25513">3</cx:pt>
          <cx:pt idx="25514">5</cx:pt>
          <cx:pt idx="25515">5</cx:pt>
          <cx:pt idx="25516">5</cx:pt>
          <cx:pt idx="25517">4</cx:pt>
          <cx:pt idx="25518">4</cx:pt>
          <cx:pt idx="25519">5</cx:pt>
          <cx:pt idx="25520">4</cx:pt>
          <cx:pt idx="25521">1</cx:pt>
          <cx:pt idx="25522">5</cx:pt>
          <cx:pt idx="25523">4</cx:pt>
          <cx:pt idx="25524">1</cx:pt>
          <cx:pt idx="25525">5</cx:pt>
          <cx:pt idx="25526">4</cx:pt>
          <cx:pt idx="25527">3</cx:pt>
          <cx:pt idx="25528">4</cx:pt>
          <cx:pt idx="25529">1</cx:pt>
          <cx:pt idx="25530">4</cx:pt>
          <cx:pt idx="25531">3</cx:pt>
          <cx:pt idx="25532">4</cx:pt>
          <cx:pt idx="25533">4</cx:pt>
          <cx:pt idx="25534">5</cx:pt>
          <cx:pt idx="25535">5</cx:pt>
          <cx:pt idx="25536">5</cx:pt>
          <cx:pt idx="25537">4</cx:pt>
          <cx:pt idx="25538">4</cx:pt>
          <cx:pt idx="25539">1</cx:pt>
          <cx:pt idx="25540">5</cx:pt>
          <cx:pt idx="25541">3</cx:pt>
          <cx:pt idx="25542">3</cx:pt>
          <cx:pt idx="25543">3</cx:pt>
          <cx:pt idx="25544">5</cx:pt>
          <cx:pt idx="25545">5</cx:pt>
          <cx:pt idx="25546">1</cx:pt>
          <cx:pt idx="25547">4</cx:pt>
          <cx:pt idx="25548">3</cx:pt>
          <cx:pt idx="25549">2</cx:pt>
          <cx:pt idx="25550">1</cx:pt>
          <cx:pt idx="25551">4</cx:pt>
          <cx:pt idx="25552">1</cx:pt>
          <cx:pt idx="25553">5</cx:pt>
          <cx:pt idx="25554">4</cx:pt>
          <cx:pt idx="25555">4</cx:pt>
          <cx:pt idx="25556">5</cx:pt>
          <cx:pt idx="25557">5</cx:pt>
          <cx:pt idx="25558">3</cx:pt>
          <cx:pt idx="25559">2</cx:pt>
          <cx:pt idx="25560">4</cx:pt>
          <cx:pt idx="25561">1</cx:pt>
          <cx:pt idx="25562">2</cx:pt>
          <cx:pt idx="25563">4</cx:pt>
          <cx:pt idx="25564">2</cx:pt>
          <cx:pt idx="25565">1</cx:pt>
          <cx:pt idx="25566">4</cx:pt>
          <cx:pt idx="25567">4</cx:pt>
          <cx:pt idx="25568">1</cx:pt>
          <cx:pt idx="25569">2</cx:pt>
          <cx:pt idx="25570">4</cx:pt>
          <cx:pt idx="25571">2</cx:pt>
          <cx:pt idx="25572">3</cx:pt>
          <cx:pt idx="25573">4</cx:pt>
          <cx:pt idx="25574">2</cx:pt>
          <cx:pt idx="25575">5</cx:pt>
          <cx:pt idx="25576">4</cx:pt>
          <cx:pt idx="25577">3</cx:pt>
          <cx:pt idx="25578">3</cx:pt>
          <cx:pt idx="25579">3</cx:pt>
          <cx:pt idx="25580">3</cx:pt>
          <cx:pt idx="25581">1</cx:pt>
          <cx:pt idx="25582">1</cx:pt>
          <cx:pt idx="25583">5</cx:pt>
          <cx:pt idx="25584">1</cx:pt>
          <cx:pt idx="25585">2</cx:pt>
          <cx:pt idx="25586">3</cx:pt>
          <cx:pt idx="25587">5</cx:pt>
          <cx:pt idx="25588">5</cx:pt>
          <cx:pt idx="25589">2</cx:pt>
          <cx:pt idx="25590">4</cx:pt>
          <cx:pt idx="25591">5</cx:pt>
          <cx:pt idx="25592">5</cx:pt>
          <cx:pt idx="25593">3</cx:pt>
          <cx:pt idx="25594">5</cx:pt>
          <cx:pt idx="25595">5</cx:pt>
          <cx:pt idx="25596">2</cx:pt>
          <cx:pt idx="25597">5</cx:pt>
          <cx:pt idx="25598">4</cx:pt>
          <cx:pt idx="25599">3</cx:pt>
          <cx:pt idx="25600">5</cx:pt>
          <cx:pt idx="25601">3</cx:pt>
          <cx:pt idx="25602">5</cx:pt>
          <cx:pt idx="25603">2</cx:pt>
          <cx:pt idx="25604">3</cx:pt>
          <cx:pt idx="25605">5</cx:pt>
          <cx:pt idx="25606">5</cx:pt>
          <cx:pt idx="25607">4</cx:pt>
          <cx:pt idx="25608">2</cx:pt>
          <cx:pt idx="25609">3</cx:pt>
          <cx:pt idx="25610">4</cx:pt>
          <cx:pt idx="25611">5</cx:pt>
          <cx:pt idx="25612">4</cx:pt>
          <cx:pt idx="25613">5</cx:pt>
          <cx:pt idx="25614">5</cx:pt>
          <cx:pt idx="25615">1</cx:pt>
          <cx:pt idx="25616">5</cx:pt>
          <cx:pt idx="25617">4</cx:pt>
          <cx:pt idx="25618">2</cx:pt>
          <cx:pt idx="25619">4</cx:pt>
          <cx:pt idx="25620">1</cx:pt>
          <cx:pt idx="25621">5</cx:pt>
          <cx:pt idx="25622">1</cx:pt>
          <cx:pt idx="25623">3</cx:pt>
          <cx:pt idx="25624">3</cx:pt>
          <cx:pt idx="25625">3</cx:pt>
          <cx:pt idx="25626">1</cx:pt>
          <cx:pt idx="25627">3</cx:pt>
          <cx:pt idx="25628">3</cx:pt>
          <cx:pt idx="25629">3</cx:pt>
          <cx:pt idx="25630">4</cx:pt>
          <cx:pt idx="25631">3</cx:pt>
          <cx:pt idx="25632">1</cx:pt>
          <cx:pt idx="25633">4</cx:pt>
          <cx:pt idx="25634">5</cx:pt>
          <cx:pt idx="25635">3</cx:pt>
          <cx:pt idx="25636">4</cx:pt>
          <cx:pt idx="25637">5</cx:pt>
          <cx:pt idx="25638">4</cx:pt>
          <cx:pt idx="25639">5</cx:pt>
          <cx:pt idx="25640">3</cx:pt>
          <cx:pt idx="25641">5</cx:pt>
          <cx:pt idx="25642">4</cx:pt>
          <cx:pt idx="25643">1</cx:pt>
          <cx:pt idx="25644">5</cx:pt>
          <cx:pt idx="25645">4</cx:pt>
          <cx:pt idx="25646">4</cx:pt>
          <cx:pt idx="25647">2</cx:pt>
          <cx:pt idx="25648">5</cx:pt>
          <cx:pt idx="25649">3</cx:pt>
          <cx:pt idx="25650">4</cx:pt>
          <cx:pt idx="25651">5</cx:pt>
          <cx:pt idx="25652">1</cx:pt>
          <cx:pt idx="25653">3</cx:pt>
          <cx:pt idx="25654">4</cx:pt>
          <cx:pt idx="25655">3</cx:pt>
          <cx:pt idx="25656">4</cx:pt>
          <cx:pt idx="25657">4</cx:pt>
          <cx:pt idx="25658">1</cx:pt>
          <cx:pt idx="25659">5</cx:pt>
          <cx:pt idx="25660">5</cx:pt>
          <cx:pt idx="25661">4</cx:pt>
          <cx:pt idx="25662">5</cx:pt>
          <cx:pt idx="25663">1</cx:pt>
          <cx:pt idx="25664">2</cx:pt>
          <cx:pt idx="25665">1</cx:pt>
          <cx:pt idx="25666">5</cx:pt>
          <cx:pt idx="25667">3</cx:pt>
          <cx:pt idx="25668">4</cx:pt>
          <cx:pt idx="25669">3</cx:pt>
          <cx:pt idx="25670">5</cx:pt>
          <cx:pt idx="25671">4</cx:pt>
          <cx:pt idx="25672">4</cx:pt>
          <cx:pt idx="25673">4</cx:pt>
          <cx:pt idx="25674">3</cx:pt>
          <cx:pt idx="25675">4</cx:pt>
          <cx:pt idx="25676">4</cx:pt>
          <cx:pt idx="25677">4</cx:pt>
          <cx:pt idx="25678">1</cx:pt>
          <cx:pt idx="25679">2</cx:pt>
          <cx:pt idx="25680">1</cx:pt>
          <cx:pt idx="25681">3</cx:pt>
          <cx:pt idx="25682">1</cx:pt>
          <cx:pt idx="25683">5</cx:pt>
          <cx:pt idx="25684">1</cx:pt>
          <cx:pt idx="25685">4</cx:pt>
          <cx:pt idx="25686">3</cx:pt>
          <cx:pt idx="25687">5</cx:pt>
          <cx:pt idx="25688">4</cx:pt>
          <cx:pt idx="25689">3</cx:pt>
          <cx:pt idx="25690">2</cx:pt>
          <cx:pt idx="25691">3</cx:pt>
          <cx:pt idx="25692">3</cx:pt>
          <cx:pt idx="25693">3</cx:pt>
          <cx:pt idx="25694">5</cx:pt>
          <cx:pt idx="25695">2</cx:pt>
          <cx:pt idx="25696">3</cx:pt>
          <cx:pt idx="25697">1</cx:pt>
          <cx:pt idx="25698">5</cx:pt>
          <cx:pt idx="25699">4</cx:pt>
          <cx:pt idx="25700">5</cx:pt>
          <cx:pt idx="25701">4</cx:pt>
          <cx:pt idx="25702">3</cx:pt>
          <cx:pt idx="25703">2</cx:pt>
          <cx:pt idx="25704">2</cx:pt>
          <cx:pt idx="25705">4</cx:pt>
          <cx:pt idx="25706">4</cx:pt>
          <cx:pt idx="25707">4</cx:pt>
          <cx:pt idx="25708">5</cx:pt>
          <cx:pt idx="25709">3</cx:pt>
          <cx:pt idx="25710">5</cx:pt>
          <cx:pt idx="25711">3</cx:pt>
          <cx:pt idx="25712">1</cx:pt>
          <cx:pt idx="25713">4</cx:pt>
          <cx:pt idx="25714">4</cx:pt>
          <cx:pt idx="25715">4</cx:pt>
          <cx:pt idx="25716">1</cx:pt>
          <cx:pt idx="25717">4</cx:pt>
          <cx:pt idx="25718">5</cx:pt>
          <cx:pt idx="25719">2</cx:pt>
          <cx:pt idx="25720">5</cx:pt>
          <cx:pt idx="25721">2</cx:pt>
          <cx:pt idx="25722">4</cx:pt>
          <cx:pt idx="25723">1</cx:pt>
          <cx:pt idx="25724">5</cx:pt>
          <cx:pt idx="25725">3</cx:pt>
          <cx:pt idx="25726">4</cx:pt>
          <cx:pt idx="25727">5</cx:pt>
          <cx:pt idx="25728">4</cx:pt>
          <cx:pt idx="25729">4</cx:pt>
          <cx:pt idx="25730">3</cx:pt>
          <cx:pt idx="25731">5</cx:pt>
          <cx:pt idx="25732">3</cx:pt>
          <cx:pt idx="25733">4</cx:pt>
          <cx:pt idx="25734">3</cx:pt>
          <cx:pt idx="25735">2</cx:pt>
          <cx:pt idx="25736">5</cx:pt>
          <cx:pt idx="25737">4</cx:pt>
          <cx:pt idx="25738">4</cx:pt>
          <cx:pt idx="25739">1</cx:pt>
          <cx:pt idx="25740">3</cx:pt>
          <cx:pt idx="25741">1</cx:pt>
          <cx:pt idx="25742">4</cx:pt>
          <cx:pt idx="25743">1</cx:pt>
          <cx:pt idx="25744">2</cx:pt>
          <cx:pt idx="25745">3</cx:pt>
          <cx:pt idx="25746">3</cx:pt>
          <cx:pt idx="25747">3</cx:pt>
          <cx:pt idx="25748">4</cx:pt>
          <cx:pt idx="25749">4</cx:pt>
          <cx:pt idx="25750">3</cx:pt>
          <cx:pt idx="25751">3</cx:pt>
          <cx:pt idx="25752">5</cx:pt>
          <cx:pt idx="25753">3</cx:pt>
          <cx:pt idx="25754">1</cx:pt>
          <cx:pt idx="25755">3</cx:pt>
          <cx:pt idx="25756">5</cx:pt>
          <cx:pt idx="25757">4</cx:pt>
          <cx:pt idx="25758">1</cx:pt>
          <cx:pt idx="25759">5</cx:pt>
          <cx:pt idx="25760">4</cx:pt>
          <cx:pt idx="25761">4</cx:pt>
          <cx:pt idx="25762">4</cx:pt>
          <cx:pt idx="25763">5</cx:pt>
          <cx:pt idx="25764">5</cx:pt>
          <cx:pt idx="25765">1</cx:pt>
          <cx:pt idx="25766">5</cx:pt>
          <cx:pt idx="25767">5</cx:pt>
          <cx:pt idx="25768">3</cx:pt>
          <cx:pt idx="25769">3</cx:pt>
          <cx:pt idx="25770">2</cx:pt>
          <cx:pt idx="25771">2</cx:pt>
          <cx:pt idx="25772">4</cx:pt>
          <cx:pt idx="25773">3</cx:pt>
          <cx:pt idx="25774">3</cx:pt>
          <cx:pt idx="25775">1</cx:pt>
          <cx:pt idx="25776">5</cx:pt>
          <cx:pt idx="25777">4</cx:pt>
          <cx:pt idx="25778">2</cx:pt>
          <cx:pt idx="25779">2</cx:pt>
          <cx:pt idx="25780">4</cx:pt>
          <cx:pt idx="25781">2</cx:pt>
          <cx:pt idx="25782">4</cx:pt>
          <cx:pt idx="25783">1</cx:pt>
          <cx:pt idx="25784">5</cx:pt>
          <cx:pt idx="25785">5</cx:pt>
          <cx:pt idx="25786">5</cx:pt>
          <cx:pt idx="25787">3</cx:pt>
          <cx:pt idx="25788">5</cx:pt>
          <cx:pt idx="25789">3</cx:pt>
          <cx:pt idx="25790">4</cx:pt>
          <cx:pt idx="25791">2</cx:pt>
          <cx:pt idx="25792">5</cx:pt>
          <cx:pt idx="25793">3</cx:pt>
          <cx:pt idx="25794">3</cx:pt>
          <cx:pt idx="25795">1</cx:pt>
          <cx:pt idx="25796">4</cx:pt>
          <cx:pt idx="25797">5</cx:pt>
          <cx:pt idx="25798">4</cx:pt>
          <cx:pt idx="25799">2</cx:pt>
          <cx:pt idx="25800">2</cx:pt>
          <cx:pt idx="25801">2</cx:pt>
          <cx:pt idx="25802">2</cx:pt>
          <cx:pt idx="25803">4</cx:pt>
          <cx:pt idx="25804">1</cx:pt>
          <cx:pt idx="25805">5</cx:pt>
          <cx:pt idx="25806">4</cx:pt>
          <cx:pt idx="25807">4</cx:pt>
          <cx:pt idx="25808">4</cx:pt>
          <cx:pt idx="25809">4</cx:pt>
          <cx:pt idx="25810">2</cx:pt>
          <cx:pt idx="25811">4</cx:pt>
          <cx:pt idx="25812">4</cx:pt>
          <cx:pt idx="25813">2</cx:pt>
          <cx:pt idx="25814">2</cx:pt>
          <cx:pt idx="25815">2</cx:pt>
          <cx:pt idx="25816">4</cx:pt>
          <cx:pt idx="25817">4</cx:pt>
          <cx:pt idx="25818">2</cx:pt>
          <cx:pt idx="25819">5</cx:pt>
          <cx:pt idx="25820">2</cx:pt>
          <cx:pt idx="25821">3</cx:pt>
          <cx:pt idx="25822">4</cx:pt>
          <cx:pt idx="25823">2</cx:pt>
          <cx:pt idx="25824">1</cx:pt>
          <cx:pt idx="25825">3</cx:pt>
          <cx:pt idx="25826">5</cx:pt>
          <cx:pt idx="25827">1</cx:pt>
          <cx:pt idx="25828">2</cx:pt>
          <cx:pt idx="25829">2</cx:pt>
          <cx:pt idx="25830">4</cx:pt>
          <cx:pt idx="25831">4</cx:pt>
          <cx:pt idx="25832">4</cx:pt>
          <cx:pt idx="25833">1</cx:pt>
          <cx:pt idx="25834">4</cx:pt>
          <cx:pt idx="25835">4</cx:pt>
          <cx:pt idx="25836">4</cx:pt>
          <cx:pt idx="25837">3</cx:pt>
          <cx:pt idx="25838">3</cx:pt>
          <cx:pt idx="25839">1</cx:pt>
          <cx:pt idx="25840">5</cx:pt>
          <cx:pt idx="25841">5</cx:pt>
          <cx:pt idx="25842">5</cx:pt>
          <cx:pt idx="25843">4</cx:pt>
          <cx:pt idx="25844">2</cx:pt>
          <cx:pt idx="25845">2</cx:pt>
          <cx:pt idx="25846">4</cx:pt>
          <cx:pt idx="25847">3</cx:pt>
          <cx:pt idx="25848">5</cx:pt>
          <cx:pt idx="25849">5</cx:pt>
          <cx:pt idx="25850">2</cx:pt>
          <cx:pt idx="25851">2</cx:pt>
          <cx:pt idx="25852">1</cx:pt>
          <cx:pt idx="25853">2</cx:pt>
          <cx:pt idx="25854">4</cx:pt>
          <cx:pt idx="25855">1</cx:pt>
          <cx:pt idx="25856">5</cx:pt>
          <cx:pt idx="25857">5</cx:pt>
          <cx:pt idx="25858">5</cx:pt>
          <cx:pt idx="25859">4</cx:pt>
          <cx:pt idx="25860">5</cx:pt>
          <cx:pt idx="25861">2</cx:pt>
          <cx:pt idx="25862">3</cx:pt>
          <cx:pt idx="25863">4</cx:pt>
          <cx:pt idx="25864">2</cx:pt>
          <cx:pt idx="25865">3</cx:pt>
          <cx:pt idx="25866">5</cx:pt>
          <cx:pt idx="25867">5</cx:pt>
          <cx:pt idx="25868">1</cx:pt>
          <cx:pt idx="25869">4</cx:pt>
          <cx:pt idx="25870">1</cx:pt>
          <cx:pt idx="25871">2</cx:pt>
          <cx:pt idx="25872">4</cx:pt>
          <cx:pt idx="25873">5</cx:pt>
          <cx:pt idx="25874">5</cx:pt>
          <cx:pt idx="25875">1</cx:pt>
          <cx:pt idx="25876">1</cx:pt>
          <cx:pt idx="25877">1</cx:pt>
          <cx:pt idx="25878">1</cx:pt>
          <cx:pt idx="25879">1</cx:pt>
          <cx:pt idx="25880">3</cx:pt>
          <cx:pt idx="25881">3</cx:pt>
          <cx:pt idx="25882">5</cx:pt>
          <cx:pt idx="25883">3</cx:pt>
          <cx:pt idx="25884">1</cx:pt>
          <cx:pt idx="25885">5</cx:pt>
          <cx:pt idx="25886">2</cx:pt>
          <cx:pt idx="25887">3</cx:pt>
          <cx:pt idx="25888">3</cx:pt>
          <cx:pt idx="25889">2</cx:pt>
          <cx:pt idx="25890">3</cx:pt>
          <cx:pt idx="25891">3</cx:pt>
          <cx:pt idx="25892">5</cx:pt>
          <cx:pt idx="25893">4</cx:pt>
          <cx:pt idx="25894">3</cx:pt>
          <cx:pt idx="25895">2</cx:pt>
          <cx:pt idx="25896">2</cx:pt>
          <cx:pt idx="25897">5</cx:pt>
          <cx:pt idx="25898">4</cx:pt>
          <cx:pt idx="25899">4</cx:pt>
          <cx:pt idx="25900">4</cx:pt>
          <cx:pt idx="25901">5</cx:pt>
          <cx:pt idx="25902">3</cx:pt>
          <cx:pt idx="25903">3</cx:pt>
          <cx:pt idx="25904">5</cx:pt>
          <cx:pt idx="25905">4</cx:pt>
          <cx:pt idx="25906">4</cx:pt>
          <cx:pt idx="25907">5</cx:pt>
          <cx:pt idx="25908">5</cx:pt>
          <cx:pt idx="25909">4</cx:pt>
          <cx:pt idx="25910">3</cx:pt>
          <cx:pt idx="25911">4</cx:pt>
          <cx:pt idx="25912">3</cx:pt>
          <cx:pt idx="25913">5</cx:pt>
          <cx:pt idx="25914">5</cx:pt>
          <cx:pt idx="25915">4</cx:pt>
          <cx:pt idx="25916">1</cx:pt>
          <cx:pt idx="25917">4</cx:pt>
          <cx:pt idx="25918">4</cx:pt>
          <cx:pt idx="25919">5</cx:pt>
          <cx:pt idx="25920">3</cx:pt>
          <cx:pt idx="25921">1</cx:pt>
          <cx:pt idx="25922">3</cx:pt>
          <cx:pt idx="25923">3</cx:pt>
          <cx:pt idx="25924">1</cx:pt>
          <cx:pt idx="25925">4</cx:pt>
          <cx:pt idx="25926">4</cx:pt>
          <cx:pt idx="25927">4</cx:pt>
          <cx:pt idx="25928">2</cx:pt>
          <cx:pt idx="25929">3</cx:pt>
          <cx:pt idx="25930">2</cx:pt>
          <cx:pt idx="25931">4</cx:pt>
          <cx:pt idx="25932">5</cx:pt>
          <cx:pt idx="25933">3</cx:pt>
          <cx:pt idx="25934">4</cx:pt>
          <cx:pt idx="25935">5</cx:pt>
          <cx:pt idx="25936">2</cx:pt>
          <cx:pt idx="25937">2</cx:pt>
          <cx:pt idx="25938">3</cx:pt>
          <cx:pt idx="25939">1</cx:pt>
          <cx:pt idx="25940">4</cx:pt>
          <cx:pt idx="25941">1</cx:pt>
          <cx:pt idx="25942">2</cx:pt>
          <cx:pt idx="25943">4</cx:pt>
          <cx:pt idx="25944">2</cx:pt>
          <cx:pt idx="25945">2</cx:pt>
          <cx:pt idx="25946">1</cx:pt>
          <cx:pt idx="25947">4</cx:pt>
          <cx:pt idx="25948">2</cx:pt>
          <cx:pt idx="25949">4</cx:pt>
          <cx:pt idx="25950">5</cx:pt>
          <cx:pt idx="25951">5</cx:pt>
          <cx:pt idx="25952">3</cx:pt>
          <cx:pt idx="25953">2</cx:pt>
          <cx:pt idx="25954">3</cx:pt>
          <cx:pt idx="25955">5</cx:pt>
          <cx:pt idx="25956">4</cx:pt>
          <cx:pt idx="25957">1</cx:pt>
          <cx:pt idx="25958">4</cx:pt>
          <cx:pt idx="25959">2</cx:pt>
          <cx:pt idx="25960">1</cx:pt>
          <cx:pt idx="25961">2</cx:pt>
          <cx:pt idx="25962">2</cx:pt>
          <cx:pt idx="25963">4</cx:pt>
          <cx:pt idx="25964">3</cx:pt>
          <cx:pt idx="25965">2</cx:pt>
          <cx:pt idx="25966">4</cx:pt>
          <cx:pt idx="25967">3</cx:pt>
          <cx:pt idx="25968">2</cx:pt>
          <cx:pt idx="25969">4</cx:pt>
          <cx:pt idx="25970">1</cx:pt>
          <cx:pt idx="25971">2</cx:pt>
          <cx:pt idx="25972">4</cx:pt>
          <cx:pt idx="25973">4</cx:pt>
          <cx:pt idx="25974">4</cx:pt>
          <cx:pt idx="25975">5</cx:pt>
          <cx:pt idx="25976">5</cx:pt>
          <cx:pt idx="25977">4</cx:pt>
          <cx:pt idx="25978">4</cx:pt>
          <cx:pt idx="25979">4</cx:pt>
          <cx:pt idx="25980">3</cx:pt>
          <cx:pt idx="25981">2</cx:pt>
          <cx:pt idx="25982">5</cx:pt>
          <cx:pt idx="25983">4</cx:pt>
          <cx:pt idx="25984">4</cx:pt>
          <cx:pt idx="25985">4</cx:pt>
          <cx:pt idx="25986">1</cx:pt>
          <cx:pt idx="25987">2</cx:pt>
          <cx:pt idx="25988">4</cx:pt>
          <cx:pt idx="25989">5</cx:pt>
          <cx:pt idx="25990">3</cx:pt>
          <cx:pt idx="25991">2</cx:pt>
          <cx:pt idx="25992">5</cx:pt>
          <cx:pt idx="25993">4</cx:pt>
          <cx:pt idx="25994">5</cx:pt>
          <cx:pt idx="25995">3</cx:pt>
          <cx:pt idx="25996">5</cx:pt>
          <cx:pt idx="25997">5</cx:pt>
          <cx:pt idx="25998">5</cx:pt>
          <cx:pt idx="25999">2</cx:pt>
          <cx:pt idx="26000">5</cx:pt>
          <cx:pt idx="26001">4</cx:pt>
          <cx:pt idx="26002">2</cx:pt>
          <cx:pt idx="26003">5</cx:pt>
          <cx:pt idx="26004">3</cx:pt>
          <cx:pt idx="26005">3</cx:pt>
          <cx:pt idx="26006">4</cx:pt>
          <cx:pt idx="26007">4</cx:pt>
          <cx:pt idx="26008">4</cx:pt>
          <cx:pt idx="26009">4</cx:pt>
          <cx:pt idx="26010">1</cx:pt>
          <cx:pt idx="26011">5</cx:pt>
          <cx:pt idx="26012">4</cx:pt>
          <cx:pt idx="26013">3</cx:pt>
          <cx:pt idx="26014">5</cx:pt>
          <cx:pt idx="26015">5</cx:pt>
          <cx:pt idx="26016">1</cx:pt>
          <cx:pt idx="26017">4</cx:pt>
          <cx:pt idx="26018">4</cx:pt>
          <cx:pt idx="26019">2</cx:pt>
          <cx:pt idx="26020">3</cx:pt>
          <cx:pt idx="26021">4</cx:pt>
          <cx:pt idx="26022">3</cx:pt>
          <cx:pt idx="26023">2</cx:pt>
          <cx:pt idx="26024">3</cx:pt>
          <cx:pt idx="26025">4</cx:pt>
          <cx:pt idx="26026">3</cx:pt>
          <cx:pt idx="26027">2</cx:pt>
          <cx:pt idx="26028">1</cx:pt>
          <cx:pt idx="26029">5</cx:pt>
          <cx:pt idx="26030">5</cx:pt>
          <cx:pt idx="26031">1</cx:pt>
          <cx:pt idx="26032">2</cx:pt>
          <cx:pt idx="26033">4</cx:pt>
          <cx:pt idx="26034">3</cx:pt>
          <cx:pt idx="26035">2</cx:pt>
          <cx:pt idx="26036">4</cx:pt>
          <cx:pt idx="26037">4</cx:pt>
          <cx:pt idx="26038">1</cx:pt>
          <cx:pt idx="26039">5</cx:pt>
          <cx:pt idx="26040">3</cx:pt>
          <cx:pt idx="26041">5</cx:pt>
          <cx:pt idx="26042">4</cx:pt>
          <cx:pt idx="26043">5</cx:pt>
          <cx:pt idx="26044">5</cx:pt>
          <cx:pt idx="26045">5</cx:pt>
          <cx:pt idx="26046">4</cx:pt>
          <cx:pt idx="26047">5</cx:pt>
          <cx:pt idx="26048">4</cx:pt>
          <cx:pt idx="26049">3</cx:pt>
          <cx:pt idx="26050">4</cx:pt>
          <cx:pt idx="26051">3</cx:pt>
          <cx:pt idx="26052">5</cx:pt>
          <cx:pt idx="26053">1</cx:pt>
          <cx:pt idx="26054">2</cx:pt>
          <cx:pt idx="26055">1</cx:pt>
          <cx:pt idx="26056">4</cx:pt>
          <cx:pt idx="26057">5</cx:pt>
          <cx:pt idx="26058">3</cx:pt>
          <cx:pt idx="26059">1</cx:pt>
          <cx:pt idx="26060">5</cx:pt>
          <cx:pt idx="26061">5</cx:pt>
          <cx:pt idx="26062">2</cx:pt>
          <cx:pt idx="26063">4</cx:pt>
          <cx:pt idx="26064">1</cx:pt>
          <cx:pt idx="26065">4</cx:pt>
          <cx:pt idx="26066">5</cx:pt>
          <cx:pt idx="26067">5</cx:pt>
          <cx:pt idx="26068">4</cx:pt>
          <cx:pt idx="26069">4</cx:pt>
          <cx:pt idx="26070">4</cx:pt>
          <cx:pt idx="26071">4</cx:pt>
          <cx:pt idx="26072">4</cx:pt>
          <cx:pt idx="26073">1</cx:pt>
          <cx:pt idx="26074">3</cx:pt>
          <cx:pt idx="26075">1</cx:pt>
          <cx:pt idx="26076">4</cx:pt>
          <cx:pt idx="26077">5</cx:pt>
          <cx:pt idx="26078">1</cx:pt>
          <cx:pt idx="26079">3</cx:pt>
          <cx:pt idx="26080">4</cx:pt>
          <cx:pt idx="26081">3</cx:pt>
          <cx:pt idx="26082">2</cx:pt>
          <cx:pt idx="26083">3</cx:pt>
          <cx:pt idx="26084">3</cx:pt>
          <cx:pt idx="26085">5</cx:pt>
          <cx:pt idx="26086">4</cx:pt>
          <cx:pt idx="26087">1</cx:pt>
          <cx:pt idx="26088">3</cx:pt>
          <cx:pt idx="26089">4</cx:pt>
          <cx:pt idx="26090">5</cx:pt>
          <cx:pt idx="26091">4</cx:pt>
          <cx:pt idx="26092">2</cx:pt>
          <cx:pt idx="26093">2</cx:pt>
          <cx:pt idx="26094">4</cx:pt>
          <cx:pt idx="26095">4</cx:pt>
          <cx:pt idx="26096">4</cx:pt>
          <cx:pt idx="26097">4</cx:pt>
          <cx:pt idx="26098">3</cx:pt>
          <cx:pt idx="26099">1</cx:pt>
          <cx:pt idx="26100">4</cx:pt>
          <cx:pt idx="26101">5</cx:pt>
          <cx:pt idx="26102">2</cx:pt>
          <cx:pt idx="26103">5</cx:pt>
          <cx:pt idx="26104">4</cx:pt>
          <cx:pt idx="26105">3</cx:pt>
          <cx:pt idx="26106">4</cx:pt>
          <cx:pt idx="26107">1</cx:pt>
          <cx:pt idx="26108">1</cx:pt>
          <cx:pt idx="26109">4</cx:pt>
          <cx:pt idx="26110">1</cx:pt>
          <cx:pt idx="26111">2</cx:pt>
          <cx:pt idx="26112">5</cx:pt>
          <cx:pt idx="26113">5</cx:pt>
          <cx:pt idx="26114">3</cx:pt>
          <cx:pt idx="26115">5</cx:pt>
          <cx:pt idx="26116">5</cx:pt>
          <cx:pt idx="26117">3</cx:pt>
          <cx:pt idx="26118">3</cx:pt>
          <cx:pt idx="26119">4</cx:pt>
          <cx:pt idx="26120">2</cx:pt>
          <cx:pt idx="26121">1</cx:pt>
          <cx:pt idx="26122">4</cx:pt>
          <cx:pt idx="26123">3</cx:pt>
          <cx:pt idx="26124">5</cx:pt>
          <cx:pt idx="26125">5</cx:pt>
          <cx:pt idx="26126">1</cx:pt>
          <cx:pt idx="26127">2</cx:pt>
          <cx:pt idx="26128">4</cx:pt>
          <cx:pt idx="26129">4</cx:pt>
          <cx:pt idx="26130">5</cx:pt>
          <cx:pt idx="26131">4</cx:pt>
          <cx:pt idx="26132">4</cx:pt>
          <cx:pt idx="26133">4</cx:pt>
          <cx:pt idx="26134">5</cx:pt>
          <cx:pt idx="26135">4</cx:pt>
          <cx:pt idx="26136">1</cx:pt>
          <cx:pt idx="26137">2</cx:pt>
          <cx:pt idx="26138">3</cx:pt>
          <cx:pt idx="26139">5</cx:pt>
          <cx:pt idx="26140">4</cx:pt>
          <cx:pt idx="26141">2</cx:pt>
          <cx:pt idx="26142">4</cx:pt>
          <cx:pt idx="26143">5</cx:pt>
          <cx:pt idx="26144">4</cx:pt>
          <cx:pt idx="26145">4</cx:pt>
          <cx:pt idx="26146">1</cx:pt>
          <cx:pt idx="26147">1</cx:pt>
          <cx:pt idx="26148">2</cx:pt>
          <cx:pt idx="26149">2</cx:pt>
          <cx:pt idx="26150">4</cx:pt>
          <cx:pt idx="26151">2</cx:pt>
          <cx:pt idx="26152">5</cx:pt>
          <cx:pt idx="26153">5</cx:pt>
          <cx:pt idx="26154">5</cx:pt>
          <cx:pt idx="26155">3</cx:pt>
          <cx:pt idx="26156">4</cx:pt>
          <cx:pt idx="26157">3</cx:pt>
          <cx:pt idx="26158">4</cx:pt>
          <cx:pt idx="26159">3</cx:pt>
          <cx:pt idx="26160">4</cx:pt>
          <cx:pt idx="26161">3</cx:pt>
          <cx:pt idx="26162">4</cx:pt>
          <cx:pt idx="26163">4</cx:pt>
          <cx:pt idx="26164">5</cx:pt>
          <cx:pt idx="26165">1</cx:pt>
          <cx:pt idx="26166">4</cx:pt>
          <cx:pt idx="26167">5</cx:pt>
          <cx:pt idx="26168">4</cx:pt>
          <cx:pt idx="26169">2</cx:pt>
          <cx:pt idx="26170">2</cx:pt>
          <cx:pt idx="26171">3</cx:pt>
          <cx:pt idx="26172">5</cx:pt>
          <cx:pt idx="26173">5</cx:pt>
          <cx:pt idx="26174">5</cx:pt>
          <cx:pt idx="26175">4</cx:pt>
          <cx:pt idx="26176">5</cx:pt>
          <cx:pt idx="26177">5</cx:pt>
          <cx:pt idx="26178">4</cx:pt>
          <cx:pt idx="26179">5</cx:pt>
          <cx:pt idx="26180">5</cx:pt>
          <cx:pt idx="26181">2</cx:pt>
          <cx:pt idx="26182">2</cx:pt>
          <cx:pt idx="26183">1</cx:pt>
          <cx:pt idx="26184">2</cx:pt>
          <cx:pt idx="26185">5</cx:pt>
          <cx:pt idx="26186">1</cx:pt>
          <cx:pt idx="26187">2</cx:pt>
          <cx:pt idx="26188">1</cx:pt>
          <cx:pt idx="26189">4</cx:pt>
          <cx:pt idx="26190">4</cx:pt>
          <cx:pt idx="26191">5</cx:pt>
          <cx:pt idx="26192">4</cx:pt>
          <cx:pt idx="26193">4</cx:pt>
          <cx:pt idx="26194">5</cx:pt>
          <cx:pt idx="26195">2</cx:pt>
          <cx:pt idx="26196">3</cx:pt>
          <cx:pt idx="26197">1</cx:pt>
          <cx:pt idx="26198">5</cx:pt>
          <cx:pt idx="26199">5</cx:pt>
          <cx:pt idx="26200">4</cx:pt>
          <cx:pt idx="26201">2</cx:pt>
          <cx:pt idx="26202">4</cx:pt>
          <cx:pt idx="26203">3</cx:pt>
          <cx:pt idx="26204">2</cx:pt>
          <cx:pt idx="26205">5</cx:pt>
          <cx:pt idx="26206">5</cx:pt>
          <cx:pt idx="26207">4</cx:pt>
          <cx:pt idx="26208">5</cx:pt>
          <cx:pt idx="26209">3</cx:pt>
          <cx:pt idx="26210">3</cx:pt>
          <cx:pt idx="26211">5</cx:pt>
          <cx:pt idx="26212">2</cx:pt>
          <cx:pt idx="26213">2</cx:pt>
          <cx:pt idx="26214">4</cx:pt>
          <cx:pt idx="26215">3</cx:pt>
          <cx:pt idx="26216">3</cx:pt>
          <cx:pt idx="26217">1</cx:pt>
          <cx:pt idx="26218">4</cx:pt>
          <cx:pt idx="26219">2</cx:pt>
          <cx:pt idx="26220">3</cx:pt>
          <cx:pt idx="26221">5</cx:pt>
          <cx:pt idx="26222">5</cx:pt>
          <cx:pt idx="26223">3</cx:pt>
          <cx:pt idx="26224">4</cx:pt>
          <cx:pt idx="26225">4</cx:pt>
          <cx:pt idx="26226">3</cx:pt>
          <cx:pt idx="26227">4</cx:pt>
          <cx:pt idx="26228">2</cx:pt>
          <cx:pt idx="26229">4</cx:pt>
          <cx:pt idx="26230">2</cx:pt>
          <cx:pt idx="26231">2</cx:pt>
          <cx:pt idx="26232">1</cx:pt>
          <cx:pt idx="26233">1</cx:pt>
          <cx:pt idx="26234">3</cx:pt>
          <cx:pt idx="26235">4</cx:pt>
          <cx:pt idx="26236">4</cx:pt>
          <cx:pt idx="26237">2</cx:pt>
          <cx:pt idx="26238">3</cx:pt>
          <cx:pt idx="26239">4</cx:pt>
          <cx:pt idx="26240">5</cx:pt>
          <cx:pt idx="26241">5</cx:pt>
          <cx:pt idx="26242">1</cx:pt>
          <cx:pt idx="26243">1</cx:pt>
          <cx:pt idx="26244">1</cx:pt>
          <cx:pt idx="26245">2</cx:pt>
          <cx:pt idx="26246">4</cx:pt>
          <cx:pt idx="26247">5</cx:pt>
          <cx:pt idx="26248">5</cx:pt>
          <cx:pt idx="26249">4</cx:pt>
          <cx:pt idx="26250">4</cx:pt>
          <cx:pt idx="26251">5</cx:pt>
          <cx:pt idx="26252">5</cx:pt>
          <cx:pt idx="26253">1</cx:pt>
          <cx:pt idx="26254">2</cx:pt>
          <cx:pt idx="26255">2</cx:pt>
          <cx:pt idx="26256">2</cx:pt>
          <cx:pt idx="26257">4</cx:pt>
          <cx:pt idx="26258">5</cx:pt>
          <cx:pt idx="26259">1</cx:pt>
          <cx:pt idx="26260">2</cx:pt>
          <cx:pt idx="26261">2</cx:pt>
          <cx:pt idx="26262">2</cx:pt>
          <cx:pt idx="26263">3</cx:pt>
          <cx:pt idx="26264">5</cx:pt>
          <cx:pt idx="26265">4</cx:pt>
          <cx:pt idx="26266">5</cx:pt>
          <cx:pt idx="26267">1</cx:pt>
          <cx:pt idx="26268">2</cx:pt>
          <cx:pt idx="26269">5</cx:pt>
          <cx:pt idx="26270">4</cx:pt>
          <cx:pt idx="26271">5</cx:pt>
          <cx:pt idx="26272">1</cx:pt>
          <cx:pt idx="26273">4</cx:pt>
          <cx:pt idx="26274">3</cx:pt>
          <cx:pt idx="26275">3</cx:pt>
          <cx:pt idx="26276">3</cx:pt>
          <cx:pt idx="26277">4</cx:pt>
          <cx:pt idx="26278">4</cx:pt>
          <cx:pt idx="26279">5</cx:pt>
          <cx:pt idx="26280">3</cx:pt>
          <cx:pt idx="26281">3</cx:pt>
          <cx:pt idx="26282">4</cx:pt>
          <cx:pt idx="26283">2</cx:pt>
          <cx:pt idx="26284">1</cx:pt>
          <cx:pt idx="26285">3</cx:pt>
          <cx:pt idx="26286">5</cx:pt>
          <cx:pt idx="26287">1</cx:pt>
          <cx:pt idx="26288">4</cx:pt>
          <cx:pt idx="26289">5</cx:pt>
          <cx:pt idx="26290">1</cx:pt>
          <cx:pt idx="26291">3</cx:pt>
          <cx:pt idx="26292">1</cx:pt>
          <cx:pt idx="26293">4</cx:pt>
          <cx:pt idx="26294">5</cx:pt>
          <cx:pt idx="26295">4</cx:pt>
          <cx:pt idx="26296">4</cx:pt>
          <cx:pt idx="26297">3</cx:pt>
          <cx:pt idx="26298">2</cx:pt>
          <cx:pt idx="26299">3</cx:pt>
          <cx:pt idx="26300">5</cx:pt>
          <cx:pt idx="26301">1</cx:pt>
          <cx:pt idx="26302">5</cx:pt>
          <cx:pt idx="26303">3</cx:pt>
          <cx:pt idx="26304">2</cx:pt>
          <cx:pt idx="26305">4</cx:pt>
          <cx:pt idx="26306">3</cx:pt>
          <cx:pt idx="26307">5</cx:pt>
          <cx:pt idx="26308">5</cx:pt>
          <cx:pt idx="26309">3</cx:pt>
          <cx:pt idx="26310">3</cx:pt>
          <cx:pt idx="26311">4</cx:pt>
          <cx:pt idx="26312">5</cx:pt>
          <cx:pt idx="26313">3</cx:pt>
          <cx:pt idx="26314">4</cx:pt>
          <cx:pt idx="26315">4</cx:pt>
          <cx:pt idx="26316">4</cx:pt>
          <cx:pt idx="26317">4</cx:pt>
          <cx:pt idx="26318">5</cx:pt>
          <cx:pt idx="26319">2</cx:pt>
          <cx:pt idx="26320">5</cx:pt>
          <cx:pt idx="26321">5</cx:pt>
          <cx:pt idx="26322">5</cx:pt>
          <cx:pt idx="26323">3</cx:pt>
          <cx:pt idx="26324">4</cx:pt>
          <cx:pt idx="26325">3</cx:pt>
          <cx:pt idx="26326">4</cx:pt>
          <cx:pt idx="26327">3</cx:pt>
          <cx:pt idx="26328">5</cx:pt>
          <cx:pt idx="26329">4</cx:pt>
          <cx:pt idx="26330">5</cx:pt>
          <cx:pt idx="26331">4</cx:pt>
          <cx:pt idx="26332">5</cx:pt>
          <cx:pt idx="26333">4</cx:pt>
          <cx:pt idx="26334">5</cx:pt>
          <cx:pt idx="26335">5</cx:pt>
          <cx:pt idx="26336">2</cx:pt>
          <cx:pt idx="26337">5</cx:pt>
          <cx:pt idx="26338">3</cx:pt>
          <cx:pt idx="26339">1</cx:pt>
          <cx:pt idx="26340">2</cx:pt>
          <cx:pt idx="26341">4</cx:pt>
          <cx:pt idx="26342">1</cx:pt>
          <cx:pt idx="26343">4</cx:pt>
          <cx:pt idx="26344">2</cx:pt>
          <cx:pt idx="26345">2</cx:pt>
          <cx:pt idx="26346">2</cx:pt>
          <cx:pt idx="26347">5</cx:pt>
          <cx:pt idx="26348">4</cx:pt>
          <cx:pt idx="26349">2</cx:pt>
          <cx:pt idx="26350">1</cx:pt>
          <cx:pt idx="26351">5</cx:pt>
          <cx:pt idx="26352">4</cx:pt>
          <cx:pt idx="26353">2</cx:pt>
          <cx:pt idx="26354">3</cx:pt>
          <cx:pt idx="26355">5</cx:pt>
          <cx:pt idx="26356">4</cx:pt>
          <cx:pt idx="26357">5</cx:pt>
          <cx:pt idx="26358">5</cx:pt>
          <cx:pt idx="26359">2</cx:pt>
          <cx:pt idx="26360">4</cx:pt>
          <cx:pt idx="26361">5</cx:pt>
          <cx:pt idx="26362">3</cx:pt>
          <cx:pt idx="26363">4</cx:pt>
          <cx:pt idx="26364">5</cx:pt>
          <cx:pt idx="26365">3</cx:pt>
          <cx:pt idx="26366">3</cx:pt>
          <cx:pt idx="26367">5</cx:pt>
          <cx:pt idx="26368">4</cx:pt>
          <cx:pt idx="26369">3</cx:pt>
          <cx:pt idx="26370">1</cx:pt>
          <cx:pt idx="26371">4</cx:pt>
          <cx:pt idx="26372">2</cx:pt>
          <cx:pt idx="26373">4</cx:pt>
          <cx:pt idx="26374">3</cx:pt>
          <cx:pt idx="26375">1</cx:pt>
          <cx:pt idx="26376">4</cx:pt>
          <cx:pt idx="26377">4</cx:pt>
          <cx:pt idx="26378">5</cx:pt>
          <cx:pt idx="26379">2</cx:pt>
          <cx:pt idx="26380">1</cx:pt>
          <cx:pt idx="26381">4</cx:pt>
          <cx:pt idx="26382">4</cx:pt>
          <cx:pt idx="26383">5</cx:pt>
          <cx:pt idx="26384">4</cx:pt>
          <cx:pt idx="26385">1</cx:pt>
          <cx:pt idx="26386">2</cx:pt>
          <cx:pt idx="26387">4</cx:pt>
          <cx:pt idx="26388">2</cx:pt>
          <cx:pt idx="26389">4</cx:pt>
          <cx:pt idx="26390">5</cx:pt>
          <cx:pt idx="26391">5</cx:pt>
          <cx:pt idx="26392">4</cx:pt>
          <cx:pt idx="26393">4</cx:pt>
          <cx:pt idx="26394">5</cx:pt>
          <cx:pt idx="26395">3</cx:pt>
          <cx:pt idx="26396">3</cx:pt>
          <cx:pt idx="26397">1</cx:pt>
          <cx:pt idx="26398">1</cx:pt>
          <cx:pt idx="26399">4</cx:pt>
          <cx:pt idx="26400">1</cx:pt>
          <cx:pt idx="26401">5</cx:pt>
          <cx:pt idx="26402">5</cx:pt>
          <cx:pt idx="26403">3</cx:pt>
          <cx:pt idx="26404">1</cx:pt>
          <cx:pt idx="26405">3</cx:pt>
          <cx:pt idx="26406">3</cx:pt>
          <cx:pt idx="26407">5</cx:pt>
          <cx:pt idx="26408">5</cx:pt>
          <cx:pt idx="26409">5</cx:pt>
          <cx:pt idx="26410">3</cx:pt>
          <cx:pt idx="26411">2</cx:pt>
          <cx:pt idx="26412">2</cx:pt>
          <cx:pt idx="26413">1</cx:pt>
          <cx:pt idx="26414">2</cx:pt>
          <cx:pt idx="26415">4</cx:pt>
          <cx:pt idx="26416">5</cx:pt>
          <cx:pt idx="26417">4</cx:pt>
          <cx:pt idx="26418">3</cx:pt>
          <cx:pt idx="26419">2</cx:pt>
          <cx:pt idx="26420">1</cx:pt>
          <cx:pt idx="26421">2</cx:pt>
          <cx:pt idx="26422">5</cx:pt>
          <cx:pt idx="26423">5</cx:pt>
          <cx:pt idx="26424">4</cx:pt>
          <cx:pt idx="26425">2</cx:pt>
          <cx:pt idx="26426">1</cx:pt>
          <cx:pt idx="26427">4</cx:pt>
          <cx:pt idx="26428">3</cx:pt>
          <cx:pt idx="26429">2</cx:pt>
          <cx:pt idx="26430">5</cx:pt>
          <cx:pt idx="26431">5</cx:pt>
          <cx:pt idx="26432">3</cx:pt>
          <cx:pt idx="26433">5</cx:pt>
          <cx:pt idx="26434">4</cx:pt>
          <cx:pt idx="26435">3</cx:pt>
          <cx:pt idx="26436">4</cx:pt>
          <cx:pt idx="26437">1</cx:pt>
          <cx:pt idx="26438">4</cx:pt>
          <cx:pt idx="26439">2</cx:pt>
          <cx:pt idx="26440">1</cx:pt>
          <cx:pt idx="26441">3</cx:pt>
          <cx:pt idx="26442">3</cx:pt>
          <cx:pt idx="26443">2</cx:pt>
          <cx:pt idx="26444">3</cx:pt>
          <cx:pt idx="26445">4</cx:pt>
          <cx:pt idx="26446">4</cx:pt>
          <cx:pt idx="26447">1</cx:pt>
          <cx:pt idx="26448">1</cx:pt>
          <cx:pt idx="26449">4</cx:pt>
          <cx:pt idx="26450">5</cx:pt>
          <cx:pt idx="26451">1</cx:pt>
          <cx:pt idx="26452">4</cx:pt>
          <cx:pt idx="26453">4</cx:pt>
          <cx:pt idx="26454">5</cx:pt>
          <cx:pt idx="26455">3</cx:pt>
          <cx:pt idx="26456">5</cx:pt>
          <cx:pt idx="26457">1</cx:pt>
          <cx:pt idx="26458">5</cx:pt>
          <cx:pt idx="26459">3</cx:pt>
          <cx:pt idx="26460">4</cx:pt>
          <cx:pt idx="26461">2</cx:pt>
          <cx:pt idx="26462">3</cx:pt>
          <cx:pt idx="26463">3</cx:pt>
          <cx:pt idx="26464">4</cx:pt>
          <cx:pt idx="26465">5</cx:pt>
          <cx:pt idx="26466">1</cx:pt>
          <cx:pt idx="26467">5</cx:pt>
          <cx:pt idx="26468">5</cx:pt>
          <cx:pt idx="26469">1</cx:pt>
          <cx:pt idx="26470">4</cx:pt>
          <cx:pt idx="26471">2</cx:pt>
          <cx:pt idx="26472">5</cx:pt>
          <cx:pt idx="26473">5</cx:pt>
          <cx:pt idx="26474">3</cx:pt>
          <cx:pt idx="26475">5</cx:pt>
          <cx:pt idx="26476">4</cx:pt>
          <cx:pt idx="26477">1</cx:pt>
          <cx:pt idx="26478">5</cx:pt>
          <cx:pt idx="26479">5</cx:pt>
          <cx:pt idx="26480">5</cx:pt>
          <cx:pt idx="26481">4</cx:pt>
          <cx:pt idx="26482">5</cx:pt>
          <cx:pt idx="26483">2</cx:pt>
          <cx:pt idx="26484">4</cx:pt>
          <cx:pt idx="26485">5</cx:pt>
          <cx:pt idx="26486">3</cx:pt>
          <cx:pt idx="26487">3</cx:pt>
          <cx:pt idx="26488">2</cx:pt>
          <cx:pt idx="26489">5</cx:pt>
          <cx:pt idx="26490">2</cx:pt>
          <cx:pt idx="26491">3</cx:pt>
          <cx:pt idx="26492">2</cx:pt>
          <cx:pt idx="26493">1</cx:pt>
          <cx:pt idx="26494">4</cx:pt>
          <cx:pt idx="26495">4</cx:pt>
          <cx:pt idx="26496">1</cx:pt>
          <cx:pt idx="26497">5</cx:pt>
          <cx:pt idx="26498">2</cx:pt>
          <cx:pt idx="26499">1</cx:pt>
          <cx:pt idx="26500">4</cx:pt>
          <cx:pt idx="26501">2</cx:pt>
          <cx:pt idx="26502">5</cx:pt>
          <cx:pt idx="26503">5</cx:pt>
          <cx:pt idx="26504">1</cx:pt>
          <cx:pt idx="26505">3</cx:pt>
          <cx:pt idx="26506">1</cx:pt>
          <cx:pt idx="26507">1</cx:pt>
          <cx:pt idx="26508">4</cx:pt>
          <cx:pt idx="26509">1</cx:pt>
          <cx:pt idx="26510">3</cx:pt>
          <cx:pt idx="26511">2</cx:pt>
          <cx:pt idx="26512">4</cx:pt>
          <cx:pt idx="26513">5</cx:pt>
          <cx:pt idx="26514">5</cx:pt>
          <cx:pt idx="26515">1</cx:pt>
          <cx:pt idx="26516">5</cx:pt>
          <cx:pt idx="26517">2</cx:pt>
          <cx:pt idx="26518">2</cx:pt>
          <cx:pt idx="26519">4</cx:pt>
          <cx:pt idx="26520">2</cx:pt>
          <cx:pt idx="26521">5</cx:pt>
          <cx:pt idx="26522">4</cx:pt>
          <cx:pt idx="26523">1</cx:pt>
          <cx:pt idx="26524">2</cx:pt>
          <cx:pt idx="26525">2</cx:pt>
          <cx:pt idx="26526">4</cx:pt>
          <cx:pt idx="26527">4</cx:pt>
          <cx:pt idx="26528">1</cx:pt>
          <cx:pt idx="26529">5</cx:pt>
          <cx:pt idx="26530">3</cx:pt>
          <cx:pt idx="26531">5</cx:pt>
          <cx:pt idx="26532">5</cx:pt>
          <cx:pt idx="26533">4</cx:pt>
          <cx:pt idx="26534">1</cx:pt>
          <cx:pt idx="26535">4</cx:pt>
          <cx:pt idx="26536">3</cx:pt>
          <cx:pt idx="26537">5</cx:pt>
          <cx:pt idx="26538">3</cx:pt>
          <cx:pt idx="26539">5</cx:pt>
          <cx:pt idx="26540">3</cx:pt>
          <cx:pt idx="26541">4</cx:pt>
          <cx:pt idx="26542">3</cx:pt>
          <cx:pt idx="26543">4</cx:pt>
          <cx:pt idx="26544">4</cx:pt>
          <cx:pt idx="26545">3</cx:pt>
          <cx:pt idx="26546">3</cx:pt>
          <cx:pt idx="26547">3</cx:pt>
          <cx:pt idx="26548">2</cx:pt>
          <cx:pt idx="26549">2</cx:pt>
          <cx:pt idx="26550">4</cx:pt>
          <cx:pt idx="26551">5</cx:pt>
          <cx:pt idx="26552">1</cx:pt>
          <cx:pt idx="26553">4</cx:pt>
          <cx:pt idx="26554">1</cx:pt>
          <cx:pt idx="26555">4</cx:pt>
          <cx:pt idx="26556">5</cx:pt>
          <cx:pt idx="26557">4</cx:pt>
          <cx:pt idx="26558">2</cx:pt>
          <cx:pt idx="26559">1</cx:pt>
          <cx:pt idx="26560">1</cx:pt>
          <cx:pt idx="26561">5</cx:pt>
          <cx:pt idx="26562">3</cx:pt>
          <cx:pt idx="26563">5</cx:pt>
          <cx:pt idx="26564">5</cx:pt>
          <cx:pt idx="26565">4</cx:pt>
          <cx:pt idx="26566">5</cx:pt>
          <cx:pt idx="26567">3</cx:pt>
          <cx:pt idx="26568">5</cx:pt>
          <cx:pt idx="26569">1</cx:pt>
          <cx:pt idx="26570">5</cx:pt>
          <cx:pt idx="26571">3</cx:pt>
          <cx:pt idx="26572">5</cx:pt>
          <cx:pt idx="26573">4</cx:pt>
          <cx:pt idx="26574">5</cx:pt>
          <cx:pt idx="26575">5</cx:pt>
          <cx:pt idx="26576">5</cx:pt>
          <cx:pt idx="26577">5</cx:pt>
          <cx:pt idx="26578">2</cx:pt>
          <cx:pt idx="26579">4</cx:pt>
          <cx:pt idx="26580">1</cx:pt>
          <cx:pt idx="26581">1</cx:pt>
          <cx:pt idx="26582">5</cx:pt>
          <cx:pt idx="26583">2</cx:pt>
          <cx:pt idx="26584">1</cx:pt>
          <cx:pt idx="26585">4</cx:pt>
          <cx:pt idx="26586">5</cx:pt>
          <cx:pt idx="26587">1</cx:pt>
          <cx:pt idx="26588">4</cx:pt>
          <cx:pt idx="26589">3</cx:pt>
          <cx:pt idx="26590">3</cx:pt>
          <cx:pt idx="26591">5</cx:pt>
          <cx:pt idx="26592">4</cx:pt>
          <cx:pt idx="26593">4</cx:pt>
          <cx:pt idx="26594">4</cx:pt>
          <cx:pt idx="26595">2</cx:pt>
          <cx:pt idx="26596">3</cx:pt>
          <cx:pt idx="26597">5</cx:pt>
          <cx:pt idx="26598">5</cx:pt>
          <cx:pt idx="26599">2</cx:pt>
          <cx:pt idx="26600">4</cx:pt>
          <cx:pt idx="26601">3</cx:pt>
          <cx:pt idx="26602">4</cx:pt>
          <cx:pt idx="26603">4</cx:pt>
          <cx:pt idx="26604">2</cx:pt>
          <cx:pt idx="26605">4</cx:pt>
          <cx:pt idx="26606">4</cx:pt>
          <cx:pt idx="26607">1</cx:pt>
          <cx:pt idx="26608">5</cx:pt>
          <cx:pt idx="26609">3</cx:pt>
          <cx:pt idx="26610">4</cx:pt>
          <cx:pt idx="26611">3</cx:pt>
          <cx:pt idx="26612">2</cx:pt>
          <cx:pt idx="26613">4</cx:pt>
          <cx:pt idx="26614">1</cx:pt>
          <cx:pt idx="26615">4</cx:pt>
          <cx:pt idx="26616">4</cx:pt>
          <cx:pt idx="26617">3</cx:pt>
          <cx:pt idx="26618">3</cx:pt>
          <cx:pt idx="26619">5</cx:pt>
          <cx:pt idx="26620">4</cx:pt>
          <cx:pt idx="26621">4</cx:pt>
          <cx:pt idx="26622">1</cx:pt>
          <cx:pt idx="26623">3</cx:pt>
          <cx:pt idx="26624">1</cx:pt>
          <cx:pt idx="26625">2</cx:pt>
          <cx:pt idx="26626">2</cx:pt>
          <cx:pt idx="26627">2</cx:pt>
          <cx:pt idx="26628">4</cx:pt>
          <cx:pt idx="26629">3</cx:pt>
          <cx:pt idx="26630">4</cx:pt>
          <cx:pt idx="26631">4</cx:pt>
          <cx:pt idx="26632">4</cx:pt>
          <cx:pt idx="26633">5</cx:pt>
          <cx:pt idx="26634">4</cx:pt>
          <cx:pt idx="26635">4</cx:pt>
          <cx:pt idx="26636">4</cx:pt>
          <cx:pt idx="26637">5</cx:pt>
          <cx:pt idx="26638">3</cx:pt>
          <cx:pt idx="26639">5</cx:pt>
          <cx:pt idx="26640">5</cx:pt>
          <cx:pt idx="26641">4</cx:pt>
          <cx:pt idx="26642">1</cx:pt>
          <cx:pt idx="26643">4</cx:pt>
          <cx:pt idx="26644">4</cx:pt>
          <cx:pt idx="26645">4</cx:pt>
          <cx:pt idx="26646">2</cx:pt>
          <cx:pt idx="26647">1</cx:pt>
          <cx:pt idx="26648">3</cx:pt>
          <cx:pt idx="26649">3</cx:pt>
          <cx:pt idx="26650">5</cx:pt>
          <cx:pt idx="26651">2</cx:pt>
          <cx:pt idx="26652">4</cx:pt>
          <cx:pt idx="26653">4</cx:pt>
          <cx:pt idx="26654">3</cx:pt>
          <cx:pt idx="26655">5</cx:pt>
          <cx:pt idx="26656">5</cx:pt>
          <cx:pt idx="26657">4</cx:pt>
          <cx:pt idx="26658">2</cx:pt>
          <cx:pt idx="26659">2</cx:pt>
          <cx:pt idx="26660">4</cx:pt>
          <cx:pt idx="26661">5</cx:pt>
          <cx:pt idx="26662">4</cx:pt>
          <cx:pt idx="26663">1</cx:pt>
          <cx:pt idx="26664">4</cx:pt>
          <cx:pt idx="26665">5</cx:pt>
          <cx:pt idx="26666">5</cx:pt>
          <cx:pt idx="26667">3</cx:pt>
          <cx:pt idx="26668">2</cx:pt>
          <cx:pt idx="26669">3</cx:pt>
          <cx:pt idx="26670">5</cx:pt>
          <cx:pt idx="26671">4</cx:pt>
          <cx:pt idx="26672">4</cx:pt>
          <cx:pt idx="26673">4</cx:pt>
          <cx:pt idx="26674">3</cx:pt>
          <cx:pt idx="26675">1</cx:pt>
          <cx:pt idx="26676">4</cx:pt>
          <cx:pt idx="26677">4</cx:pt>
          <cx:pt idx="26678">5</cx:pt>
          <cx:pt idx="26679">3</cx:pt>
          <cx:pt idx="26680">5</cx:pt>
          <cx:pt idx="26681">5</cx:pt>
          <cx:pt idx="26682">2</cx:pt>
          <cx:pt idx="26683">1</cx:pt>
          <cx:pt idx="26684">4</cx:pt>
          <cx:pt idx="26685">2</cx:pt>
          <cx:pt idx="26686">4</cx:pt>
          <cx:pt idx="26687">5</cx:pt>
          <cx:pt idx="26688">4</cx:pt>
          <cx:pt idx="26689">4</cx:pt>
          <cx:pt idx="26690">4</cx:pt>
          <cx:pt idx="26691">5</cx:pt>
          <cx:pt idx="26692">4</cx:pt>
          <cx:pt idx="26693">5</cx:pt>
          <cx:pt idx="26694">5</cx:pt>
          <cx:pt idx="26695">5</cx:pt>
          <cx:pt idx="26696">3</cx:pt>
          <cx:pt idx="26697">4</cx:pt>
          <cx:pt idx="26698">3</cx:pt>
          <cx:pt idx="26699">4</cx:pt>
          <cx:pt idx="26700">2</cx:pt>
          <cx:pt idx="26701">1</cx:pt>
          <cx:pt idx="26702">4</cx:pt>
          <cx:pt idx="26703">4</cx:pt>
          <cx:pt idx="26704">5</cx:pt>
          <cx:pt idx="26705">4</cx:pt>
          <cx:pt idx="26706">5</cx:pt>
          <cx:pt idx="26707">5</cx:pt>
          <cx:pt idx="26708">5</cx:pt>
          <cx:pt idx="26709">5</cx:pt>
          <cx:pt idx="26710">4</cx:pt>
          <cx:pt idx="26711">1</cx:pt>
          <cx:pt idx="26712">5</cx:pt>
          <cx:pt idx="26713">4</cx:pt>
          <cx:pt idx="26714">5</cx:pt>
          <cx:pt idx="26715">2</cx:pt>
          <cx:pt idx="26716">4</cx:pt>
          <cx:pt idx="26717">5</cx:pt>
          <cx:pt idx="26718">3</cx:pt>
          <cx:pt idx="26719">5</cx:pt>
          <cx:pt idx="26720">3</cx:pt>
          <cx:pt idx="26721">1</cx:pt>
          <cx:pt idx="26722">3</cx:pt>
          <cx:pt idx="26723">3</cx:pt>
          <cx:pt idx="26724">5</cx:pt>
          <cx:pt idx="26725">4</cx:pt>
          <cx:pt idx="26726">3</cx:pt>
          <cx:pt idx="26727">3</cx:pt>
          <cx:pt idx="26728">4</cx:pt>
          <cx:pt idx="26729">3</cx:pt>
          <cx:pt idx="26730">3</cx:pt>
          <cx:pt idx="26731">1</cx:pt>
          <cx:pt idx="26732">4</cx:pt>
          <cx:pt idx="26733">4</cx:pt>
          <cx:pt idx="26734">3</cx:pt>
          <cx:pt idx="26735">2</cx:pt>
          <cx:pt idx="26736">3</cx:pt>
          <cx:pt idx="26737">4</cx:pt>
          <cx:pt idx="26738">3</cx:pt>
          <cx:pt idx="26739">3</cx:pt>
          <cx:pt idx="26740">4</cx:pt>
          <cx:pt idx="26741">5</cx:pt>
          <cx:pt idx="26742">4</cx:pt>
          <cx:pt idx="26743">2</cx:pt>
          <cx:pt idx="26744">3</cx:pt>
          <cx:pt idx="26745">1</cx:pt>
          <cx:pt idx="26746">4</cx:pt>
          <cx:pt idx="26747">4</cx:pt>
          <cx:pt idx="26748">3</cx:pt>
          <cx:pt idx="26749">5</cx:pt>
          <cx:pt idx="26750">5</cx:pt>
          <cx:pt idx="26751">4</cx:pt>
          <cx:pt idx="26752">2</cx:pt>
          <cx:pt idx="26753">5</cx:pt>
          <cx:pt idx="26754">2</cx:pt>
          <cx:pt idx="26755">4</cx:pt>
          <cx:pt idx="26756">5</cx:pt>
          <cx:pt idx="26757">5</cx:pt>
          <cx:pt idx="26758">3</cx:pt>
          <cx:pt idx="26759">4</cx:pt>
          <cx:pt idx="26760">5</cx:pt>
          <cx:pt idx="26761">3</cx:pt>
          <cx:pt idx="26762">5</cx:pt>
          <cx:pt idx="26763">5</cx:pt>
          <cx:pt idx="26764">5</cx:pt>
          <cx:pt idx="26765">4</cx:pt>
          <cx:pt idx="26766">5</cx:pt>
          <cx:pt idx="26767">5</cx:pt>
          <cx:pt idx="26768">1</cx:pt>
          <cx:pt idx="26769">1</cx:pt>
          <cx:pt idx="26770">5</cx:pt>
          <cx:pt idx="26771">1</cx:pt>
          <cx:pt idx="26772">4</cx:pt>
          <cx:pt idx="26773">3</cx:pt>
          <cx:pt idx="26774">5</cx:pt>
          <cx:pt idx="26775">1</cx:pt>
          <cx:pt idx="26776">2</cx:pt>
          <cx:pt idx="26777">1</cx:pt>
          <cx:pt idx="26778">3</cx:pt>
          <cx:pt idx="26779">1</cx:pt>
          <cx:pt idx="26780">5</cx:pt>
          <cx:pt idx="26781">4</cx:pt>
          <cx:pt idx="26782">5</cx:pt>
          <cx:pt idx="26783">4</cx:pt>
          <cx:pt idx="26784">5</cx:pt>
          <cx:pt idx="26785">5</cx:pt>
          <cx:pt idx="26786">2</cx:pt>
          <cx:pt idx="26787">2</cx:pt>
          <cx:pt idx="26788">5</cx:pt>
          <cx:pt idx="26789">4</cx:pt>
          <cx:pt idx="26790">4</cx:pt>
          <cx:pt idx="26791">3</cx:pt>
          <cx:pt idx="26792">3</cx:pt>
          <cx:pt idx="26793">2</cx:pt>
          <cx:pt idx="26794">5</cx:pt>
          <cx:pt idx="26795">4</cx:pt>
          <cx:pt idx="26796">5</cx:pt>
          <cx:pt idx="26797">4</cx:pt>
          <cx:pt idx="26798">3</cx:pt>
          <cx:pt idx="26799">3</cx:pt>
          <cx:pt idx="26800">2</cx:pt>
          <cx:pt idx="26801">4</cx:pt>
          <cx:pt idx="26802">1</cx:pt>
          <cx:pt idx="26803">4</cx:pt>
          <cx:pt idx="26804">2</cx:pt>
          <cx:pt idx="26805">3</cx:pt>
          <cx:pt idx="26806">4</cx:pt>
          <cx:pt idx="26807">2</cx:pt>
          <cx:pt idx="26808">2</cx:pt>
          <cx:pt idx="26809">5</cx:pt>
          <cx:pt idx="26810">3</cx:pt>
          <cx:pt idx="26811">2</cx:pt>
          <cx:pt idx="26812">4</cx:pt>
          <cx:pt idx="26813">2</cx:pt>
          <cx:pt idx="26814">4</cx:pt>
          <cx:pt idx="26815">1</cx:pt>
          <cx:pt idx="26816">4</cx:pt>
          <cx:pt idx="26817">5</cx:pt>
          <cx:pt idx="26818">5</cx:pt>
          <cx:pt idx="26819">4</cx:pt>
          <cx:pt idx="26820">5</cx:pt>
          <cx:pt idx="26821">4</cx:pt>
          <cx:pt idx="26822">4</cx:pt>
          <cx:pt idx="26823">1</cx:pt>
          <cx:pt idx="26824">4</cx:pt>
          <cx:pt idx="26825">4</cx:pt>
          <cx:pt idx="26826">1</cx:pt>
          <cx:pt idx="26827">4</cx:pt>
          <cx:pt idx="26828">4</cx:pt>
          <cx:pt idx="26829">1</cx:pt>
          <cx:pt idx="26830">3</cx:pt>
          <cx:pt idx="26831">2</cx:pt>
          <cx:pt idx="26832">4</cx:pt>
          <cx:pt idx="26833">4</cx:pt>
          <cx:pt idx="26834">5</cx:pt>
          <cx:pt idx="26835">5</cx:pt>
          <cx:pt idx="26836">1</cx:pt>
          <cx:pt idx="26837">2</cx:pt>
          <cx:pt idx="26838">4</cx:pt>
          <cx:pt idx="26839">5</cx:pt>
          <cx:pt idx="26840">3</cx:pt>
          <cx:pt idx="26841">4</cx:pt>
          <cx:pt idx="26842">5</cx:pt>
          <cx:pt idx="26843">2</cx:pt>
          <cx:pt idx="26844">1</cx:pt>
          <cx:pt idx="26845">3</cx:pt>
          <cx:pt idx="26846">1</cx:pt>
          <cx:pt idx="26847">2</cx:pt>
          <cx:pt idx="26848">3</cx:pt>
          <cx:pt idx="26849">3</cx:pt>
          <cx:pt idx="26850">4</cx:pt>
          <cx:pt idx="26851">5</cx:pt>
          <cx:pt idx="26852">5</cx:pt>
          <cx:pt idx="26853">5</cx:pt>
          <cx:pt idx="26854">2</cx:pt>
          <cx:pt idx="26855">4</cx:pt>
          <cx:pt idx="26856">5</cx:pt>
          <cx:pt idx="26857">5</cx:pt>
          <cx:pt idx="26858">4</cx:pt>
          <cx:pt idx="26859">2</cx:pt>
          <cx:pt idx="26860">2</cx:pt>
          <cx:pt idx="26861">5</cx:pt>
          <cx:pt idx="26862">4</cx:pt>
          <cx:pt idx="26863">5</cx:pt>
          <cx:pt idx="26864">3</cx:pt>
          <cx:pt idx="26865">5</cx:pt>
          <cx:pt idx="26866">2</cx:pt>
          <cx:pt idx="26867">3</cx:pt>
          <cx:pt idx="26868">5</cx:pt>
          <cx:pt idx="26869">5</cx:pt>
          <cx:pt idx="26870">5</cx:pt>
          <cx:pt idx="26871">5</cx:pt>
          <cx:pt idx="26872">5</cx:pt>
          <cx:pt idx="26873">2</cx:pt>
          <cx:pt idx="26874">3</cx:pt>
          <cx:pt idx="26875">1</cx:pt>
          <cx:pt idx="26876">2</cx:pt>
          <cx:pt idx="26877">1</cx:pt>
          <cx:pt idx="26878">5</cx:pt>
          <cx:pt idx="26879">4</cx:pt>
          <cx:pt idx="26880">4</cx:pt>
          <cx:pt idx="26881">2</cx:pt>
          <cx:pt idx="26882">4</cx:pt>
          <cx:pt idx="26883">2</cx:pt>
          <cx:pt idx="26884">2</cx:pt>
          <cx:pt idx="26885">3</cx:pt>
          <cx:pt idx="26886">3</cx:pt>
          <cx:pt idx="26887">1</cx:pt>
          <cx:pt idx="26888">5</cx:pt>
          <cx:pt idx="26889">4</cx:pt>
          <cx:pt idx="26890">3</cx:pt>
          <cx:pt idx="26891">4</cx:pt>
          <cx:pt idx="26892">3</cx:pt>
          <cx:pt idx="26893">2</cx:pt>
          <cx:pt idx="26894">4</cx:pt>
          <cx:pt idx="26895">4</cx:pt>
          <cx:pt idx="26896">4</cx:pt>
          <cx:pt idx="26897">2</cx:pt>
          <cx:pt idx="26898">2</cx:pt>
          <cx:pt idx="26899">5</cx:pt>
          <cx:pt idx="26900">2</cx:pt>
          <cx:pt idx="26901">4</cx:pt>
          <cx:pt idx="26902">2</cx:pt>
          <cx:pt idx="26903">2</cx:pt>
          <cx:pt idx="26904">3</cx:pt>
          <cx:pt idx="26905">4</cx:pt>
          <cx:pt idx="26906">3</cx:pt>
          <cx:pt idx="26907">3</cx:pt>
          <cx:pt idx="26908">4</cx:pt>
          <cx:pt idx="26909">5</cx:pt>
          <cx:pt idx="26910">1</cx:pt>
          <cx:pt idx="26911">2</cx:pt>
          <cx:pt idx="26912">2</cx:pt>
          <cx:pt idx="26913">3</cx:pt>
          <cx:pt idx="26914">4</cx:pt>
          <cx:pt idx="26915">2</cx:pt>
          <cx:pt idx="26916">4</cx:pt>
          <cx:pt idx="26917">5</cx:pt>
          <cx:pt idx="26918">2</cx:pt>
          <cx:pt idx="26919">3</cx:pt>
          <cx:pt idx="26920">5</cx:pt>
          <cx:pt idx="26921">4</cx:pt>
          <cx:pt idx="26922">2</cx:pt>
          <cx:pt idx="26923">5</cx:pt>
          <cx:pt idx="26924">3</cx:pt>
          <cx:pt idx="26925">5</cx:pt>
          <cx:pt idx="26926">4</cx:pt>
          <cx:pt idx="26927">5</cx:pt>
          <cx:pt idx="26928">5</cx:pt>
          <cx:pt idx="26929">5</cx:pt>
          <cx:pt idx="26930">4</cx:pt>
          <cx:pt idx="26931">3</cx:pt>
          <cx:pt idx="26932">5</cx:pt>
          <cx:pt idx="26933">3</cx:pt>
          <cx:pt idx="26934">2</cx:pt>
          <cx:pt idx="26935">5</cx:pt>
          <cx:pt idx="26936">4</cx:pt>
          <cx:pt idx="26937">5</cx:pt>
          <cx:pt idx="26938">4</cx:pt>
          <cx:pt idx="26939">4</cx:pt>
          <cx:pt idx="26940">3</cx:pt>
          <cx:pt idx="26941">4</cx:pt>
          <cx:pt idx="26942">4</cx:pt>
          <cx:pt idx="26943">1</cx:pt>
          <cx:pt idx="26944">2</cx:pt>
          <cx:pt idx="26945">5</cx:pt>
          <cx:pt idx="26946">2</cx:pt>
          <cx:pt idx="26947">5</cx:pt>
          <cx:pt idx="26948">3</cx:pt>
          <cx:pt idx="26949">5</cx:pt>
          <cx:pt idx="26950">4</cx:pt>
          <cx:pt idx="26951">4</cx:pt>
          <cx:pt idx="26952">2</cx:pt>
          <cx:pt idx="26953">4</cx:pt>
          <cx:pt idx="26954">4</cx:pt>
          <cx:pt idx="26955">3</cx:pt>
          <cx:pt idx="26956">5</cx:pt>
          <cx:pt idx="26957">3</cx:pt>
          <cx:pt idx="26958">3</cx:pt>
          <cx:pt idx="26959">5</cx:pt>
          <cx:pt idx="26960">4</cx:pt>
          <cx:pt idx="26961">5</cx:pt>
          <cx:pt idx="26962">2</cx:pt>
          <cx:pt idx="26963">4</cx:pt>
          <cx:pt idx="26964">4</cx:pt>
          <cx:pt idx="26965">3</cx:pt>
          <cx:pt idx="26966">4</cx:pt>
          <cx:pt idx="26967">4</cx:pt>
          <cx:pt idx="26968">4</cx:pt>
          <cx:pt idx="26969">5</cx:pt>
          <cx:pt idx="26970">4</cx:pt>
          <cx:pt idx="26971">2</cx:pt>
          <cx:pt idx="26972">2</cx:pt>
          <cx:pt idx="26973">4</cx:pt>
          <cx:pt idx="26974">3</cx:pt>
          <cx:pt idx="26975">4</cx:pt>
          <cx:pt idx="26976">5</cx:pt>
          <cx:pt idx="26977">3</cx:pt>
          <cx:pt idx="26978">5</cx:pt>
          <cx:pt idx="26979">1</cx:pt>
          <cx:pt idx="26980">5</cx:pt>
          <cx:pt idx="26981">3</cx:pt>
          <cx:pt idx="26982">4</cx:pt>
          <cx:pt idx="26983">1</cx:pt>
          <cx:pt idx="26984">3</cx:pt>
          <cx:pt idx="26985">5</cx:pt>
          <cx:pt idx="26986">5</cx:pt>
          <cx:pt idx="26987">5</cx:pt>
          <cx:pt idx="26988">5</cx:pt>
          <cx:pt idx="26989">5</cx:pt>
          <cx:pt idx="26990">1</cx:pt>
          <cx:pt idx="26991">4</cx:pt>
          <cx:pt idx="26992">1</cx:pt>
          <cx:pt idx="26993">3</cx:pt>
          <cx:pt idx="26994">3</cx:pt>
          <cx:pt idx="26995">2</cx:pt>
          <cx:pt idx="26996">3</cx:pt>
          <cx:pt idx="26997">3</cx:pt>
          <cx:pt idx="26998">4</cx:pt>
          <cx:pt idx="26999">4</cx:pt>
          <cx:pt idx="27000">4</cx:pt>
          <cx:pt idx="27001">5</cx:pt>
          <cx:pt idx="27002">2</cx:pt>
          <cx:pt idx="27003">4</cx:pt>
          <cx:pt idx="27004">5</cx:pt>
          <cx:pt idx="27005">1</cx:pt>
          <cx:pt idx="27006">3</cx:pt>
          <cx:pt idx="27007">4</cx:pt>
          <cx:pt idx="27008">2</cx:pt>
          <cx:pt idx="27009">5</cx:pt>
          <cx:pt idx="27010">2</cx:pt>
          <cx:pt idx="27011">4</cx:pt>
          <cx:pt idx="27012">4</cx:pt>
          <cx:pt idx="27013">4</cx:pt>
          <cx:pt idx="27014">5</cx:pt>
          <cx:pt idx="27015">2</cx:pt>
          <cx:pt idx="27016">4</cx:pt>
          <cx:pt idx="27017">2</cx:pt>
          <cx:pt idx="27018">5</cx:pt>
          <cx:pt idx="27019">4</cx:pt>
          <cx:pt idx="27020">4</cx:pt>
          <cx:pt idx="27021">4</cx:pt>
          <cx:pt idx="27022">5</cx:pt>
          <cx:pt idx="27023">3</cx:pt>
          <cx:pt idx="27024">2</cx:pt>
          <cx:pt idx="27025">3</cx:pt>
          <cx:pt idx="27026">1</cx:pt>
          <cx:pt idx="27027">3</cx:pt>
          <cx:pt idx="27028">3</cx:pt>
          <cx:pt idx="27029">5</cx:pt>
          <cx:pt idx="27030">2</cx:pt>
          <cx:pt idx="27031">5</cx:pt>
          <cx:pt idx="27032">5</cx:pt>
          <cx:pt idx="27033">3</cx:pt>
          <cx:pt idx="27034">5</cx:pt>
          <cx:pt idx="27035">5</cx:pt>
          <cx:pt idx="27036">5</cx:pt>
          <cx:pt idx="27037">2</cx:pt>
          <cx:pt idx="27038">5</cx:pt>
          <cx:pt idx="27039">3</cx:pt>
          <cx:pt idx="27040">5</cx:pt>
          <cx:pt idx="27041">5</cx:pt>
          <cx:pt idx="27042">2</cx:pt>
          <cx:pt idx="27043">5</cx:pt>
          <cx:pt idx="27044">5</cx:pt>
          <cx:pt idx="27045">3</cx:pt>
          <cx:pt idx="27046">5</cx:pt>
          <cx:pt idx="27047">3</cx:pt>
          <cx:pt idx="27048">4</cx:pt>
          <cx:pt idx="27049">2</cx:pt>
          <cx:pt idx="27050">5</cx:pt>
          <cx:pt idx="27051">4</cx:pt>
          <cx:pt idx="27052">4</cx:pt>
          <cx:pt idx="27053">2</cx:pt>
          <cx:pt idx="27054">5</cx:pt>
          <cx:pt idx="27055">5</cx:pt>
          <cx:pt idx="27056">1</cx:pt>
          <cx:pt idx="27057">1</cx:pt>
          <cx:pt idx="27058">2</cx:pt>
          <cx:pt idx="27059">4</cx:pt>
          <cx:pt idx="27060">4</cx:pt>
          <cx:pt idx="27061">5</cx:pt>
          <cx:pt idx="27062">1</cx:pt>
          <cx:pt idx="27063">5</cx:pt>
          <cx:pt idx="27064">4</cx:pt>
          <cx:pt idx="27065">4</cx:pt>
          <cx:pt idx="27066">5</cx:pt>
          <cx:pt idx="27067">3</cx:pt>
          <cx:pt idx="27068">4</cx:pt>
          <cx:pt idx="27069">5</cx:pt>
          <cx:pt idx="27070">1</cx:pt>
          <cx:pt idx="27071">5</cx:pt>
          <cx:pt idx="27072">3</cx:pt>
          <cx:pt idx="27073">5</cx:pt>
          <cx:pt idx="27074">1</cx:pt>
          <cx:pt idx="27075">5</cx:pt>
          <cx:pt idx="27076">4</cx:pt>
          <cx:pt idx="27077">5</cx:pt>
          <cx:pt idx="27078">5</cx:pt>
          <cx:pt idx="27079">1</cx:pt>
          <cx:pt idx="27080">5</cx:pt>
          <cx:pt idx="27081">1</cx:pt>
          <cx:pt idx="27082">3</cx:pt>
          <cx:pt idx="27083">5</cx:pt>
          <cx:pt idx="27084">4</cx:pt>
          <cx:pt idx="27085">3</cx:pt>
          <cx:pt idx="27086">4</cx:pt>
          <cx:pt idx="27087">2</cx:pt>
          <cx:pt idx="27088">4</cx:pt>
          <cx:pt idx="27089">1</cx:pt>
          <cx:pt idx="27090">3</cx:pt>
          <cx:pt idx="27091">2</cx:pt>
          <cx:pt idx="27092">4</cx:pt>
          <cx:pt idx="27093">4</cx:pt>
          <cx:pt idx="27094">4</cx:pt>
          <cx:pt idx="27095">4</cx:pt>
          <cx:pt idx="27096">5</cx:pt>
          <cx:pt idx="27097">2</cx:pt>
          <cx:pt idx="27098">2</cx:pt>
          <cx:pt idx="27099">5</cx:pt>
          <cx:pt idx="27100">5</cx:pt>
          <cx:pt idx="27101">5</cx:pt>
          <cx:pt idx="27102">5</cx:pt>
          <cx:pt idx="27103">4</cx:pt>
          <cx:pt idx="27104">4</cx:pt>
          <cx:pt idx="27105">5</cx:pt>
          <cx:pt idx="27106">4</cx:pt>
          <cx:pt idx="27107">4</cx:pt>
          <cx:pt idx="27108">1</cx:pt>
          <cx:pt idx="27109">2</cx:pt>
          <cx:pt idx="27110">5</cx:pt>
          <cx:pt idx="27111">5</cx:pt>
          <cx:pt idx="27112">4</cx:pt>
          <cx:pt idx="27113">3</cx:pt>
          <cx:pt idx="27114">2</cx:pt>
          <cx:pt idx="27115">4</cx:pt>
          <cx:pt idx="27116">5</cx:pt>
          <cx:pt idx="27117">1</cx:pt>
          <cx:pt idx="27118">3</cx:pt>
          <cx:pt idx="27119">3</cx:pt>
          <cx:pt idx="27120">3</cx:pt>
          <cx:pt idx="27121">5</cx:pt>
          <cx:pt idx="27122">1</cx:pt>
          <cx:pt idx="27123">5</cx:pt>
          <cx:pt idx="27124">4</cx:pt>
          <cx:pt idx="27125">4</cx:pt>
          <cx:pt idx="27126">5</cx:pt>
          <cx:pt idx="27127">5</cx:pt>
          <cx:pt idx="27128">2</cx:pt>
          <cx:pt idx="27129">3</cx:pt>
          <cx:pt idx="27130">4</cx:pt>
          <cx:pt idx="27131">5</cx:pt>
          <cx:pt idx="27132">2</cx:pt>
          <cx:pt idx="27133">1</cx:pt>
          <cx:pt idx="27134">5</cx:pt>
          <cx:pt idx="27135">3</cx:pt>
          <cx:pt idx="27136">4</cx:pt>
          <cx:pt idx="27137">1</cx:pt>
          <cx:pt idx="27138">1</cx:pt>
          <cx:pt idx="27139">3</cx:pt>
          <cx:pt idx="27140">4</cx:pt>
          <cx:pt idx="27141">5</cx:pt>
          <cx:pt idx="27142">5</cx:pt>
          <cx:pt idx="27143">4</cx:pt>
          <cx:pt idx="27144">4</cx:pt>
          <cx:pt idx="27145">4</cx:pt>
          <cx:pt idx="27146">3</cx:pt>
          <cx:pt idx="27147">1</cx:pt>
          <cx:pt idx="27148">3</cx:pt>
          <cx:pt idx="27149">4</cx:pt>
          <cx:pt idx="27150">1</cx:pt>
          <cx:pt idx="27151">4</cx:pt>
          <cx:pt idx="27152">2</cx:pt>
          <cx:pt idx="27153">2</cx:pt>
          <cx:pt idx="27154">2</cx:pt>
          <cx:pt idx="27155">4</cx:pt>
          <cx:pt idx="27156">3</cx:pt>
          <cx:pt idx="27157">4</cx:pt>
          <cx:pt idx="27158">3</cx:pt>
          <cx:pt idx="27159">4</cx:pt>
          <cx:pt idx="27160">1</cx:pt>
          <cx:pt idx="27161">4</cx:pt>
          <cx:pt idx="27162">2</cx:pt>
          <cx:pt idx="27163">5</cx:pt>
          <cx:pt idx="27164">1</cx:pt>
          <cx:pt idx="27165">1</cx:pt>
          <cx:pt idx="27166">2</cx:pt>
          <cx:pt idx="27167">5</cx:pt>
          <cx:pt idx="27168">3</cx:pt>
          <cx:pt idx="27169">4</cx:pt>
          <cx:pt idx="27170">4</cx:pt>
          <cx:pt idx="27171">3</cx:pt>
          <cx:pt idx="27172">2</cx:pt>
          <cx:pt idx="27173">3</cx:pt>
          <cx:pt idx="27174">1</cx:pt>
          <cx:pt idx="27175">4</cx:pt>
          <cx:pt idx="27176">4</cx:pt>
          <cx:pt idx="27177">5</cx:pt>
          <cx:pt idx="27178">1</cx:pt>
          <cx:pt idx="27179">1</cx:pt>
          <cx:pt idx="27180">4</cx:pt>
          <cx:pt idx="27181">5</cx:pt>
          <cx:pt idx="27182">1</cx:pt>
          <cx:pt idx="27183">4</cx:pt>
          <cx:pt idx="27184">5</cx:pt>
          <cx:pt idx="27185">3</cx:pt>
          <cx:pt idx="27186">3</cx:pt>
          <cx:pt idx="27187">5</cx:pt>
          <cx:pt idx="27188">4</cx:pt>
          <cx:pt idx="27189">2</cx:pt>
          <cx:pt idx="27190">5</cx:pt>
          <cx:pt idx="27191">5</cx:pt>
          <cx:pt idx="27192">1</cx:pt>
          <cx:pt idx="27193">4</cx:pt>
          <cx:pt idx="27194">5</cx:pt>
          <cx:pt idx="27195">5</cx:pt>
          <cx:pt idx="27196">4</cx:pt>
          <cx:pt idx="27197">5</cx:pt>
          <cx:pt idx="27198">5</cx:pt>
          <cx:pt idx="27199">3</cx:pt>
          <cx:pt idx="27200">2</cx:pt>
          <cx:pt idx="27201">3</cx:pt>
          <cx:pt idx="27202">5</cx:pt>
          <cx:pt idx="27203">4</cx:pt>
          <cx:pt idx="27204">3</cx:pt>
          <cx:pt idx="27205">4</cx:pt>
          <cx:pt idx="27206">3</cx:pt>
          <cx:pt idx="27207">1</cx:pt>
          <cx:pt idx="27208">1</cx:pt>
          <cx:pt idx="27209">2</cx:pt>
          <cx:pt idx="27210">1</cx:pt>
          <cx:pt idx="27211">4</cx:pt>
          <cx:pt idx="27212">4</cx:pt>
          <cx:pt idx="27213">4</cx:pt>
          <cx:pt idx="27214">5</cx:pt>
          <cx:pt idx="27215">4</cx:pt>
          <cx:pt idx="27216">4</cx:pt>
          <cx:pt idx="27217">3</cx:pt>
          <cx:pt idx="27218">3</cx:pt>
          <cx:pt idx="27219">3</cx:pt>
          <cx:pt idx="27220">4</cx:pt>
          <cx:pt idx="27221">3</cx:pt>
          <cx:pt idx="27222">4</cx:pt>
          <cx:pt idx="27223">4</cx:pt>
          <cx:pt idx="27224">1</cx:pt>
          <cx:pt idx="27225">2</cx:pt>
          <cx:pt idx="27226">5</cx:pt>
          <cx:pt idx="27227">4</cx:pt>
          <cx:pt idx="27228">3</cx:pt>
          <cx:pt idx="27229">1</cx:pt>
          <cx:pt idx="27230">4</cx:pt>
          <cx:pt idx="27231">5</cx:pt>
          <cx:pt idx="27232">2</cx:pt>
          <cx:pt idx="27233">4</cx:pt>
          <cx:pt idx="27234">5</cx:pt>
          <cx:pt idx="27235">5</cx:pt>
          <cx:pt idx="27236">2</cx:pt>
          <cx:pt idx="27237">5</cx:pt>
          <cx:pt idx="27238">2</cx:pt>
          <cx:pt idx="27239">4</cx:pt>
          <cx:pt idx="27240">4</cx:pt>
          <cx:pt idx="27241">4</cx:pt>
          <cx:pt idx="27242">1</cx:pt>
          <cx:pt idx="27243">1</cx:pt>
          <cx:pt idx="27244">2</cx:pt>
          <cx:pt idx="27245">5</cx:pt>
          <cx:pt idx="27246">4</cx:pt>
          <cx:pt idx="27247">3</cx:pt>
          <cx:pt idx="27248">5</cx:pt>
          <cx:pt idx="27249">4</cx:pt>
          <cx:pt idx="27250">4</cx:pt>
          <cx:pt idx="27251">3</cx:pt>
          <cx:pt idx="27252">4</cx:pt>
          <cx:pt idx="27253">1</cx:pt>
          <cx:pt idx="27254">3</cx:pt>
          <cx:pt idx="27255">4</cx:pt>
          <cx:pt idx="27256">4</cx:pt>
          <cx:pt idx="27257">5</cx:pt>
          <cx:pt idx="27258">3</cx:pt>
          <cx:pt idx="27259">4</cx:pt>
          <cx:pt idx="27260">2</cx:pt>
          <cx:pt idx="27261">4</cx:pt>
          <cx:pt idx="27262">5</cx:pt>
          <cx:pt idx="27263">4</cx:pt>
          <cx:pt idx="27264">4</cx:pt>
          <cx:pt idx="27265">4</cx:pt>
          <cx:pt idx="27266">4</cx:pt>
          <cx:pt idx="27267">4</cx:pt>
          <cx:pt idx="27268">5</cx:pt>
          <cx:pt idx="27269">4</cx:pt>
          <cx:pt idx="27270">5</cx:pt>
          <cx:pt idx="27271">4</cx:pt>
          <cx:pt idx="27272">4</cx:pt>
          <cx:pt idx="27273">5</cx:pt>
          <cx:pt idx="27274">5</cx:pt>
          <cx:pt idx="27275">2</cx:pt>
          <cx:pt idx="27276">5</cx:pt>
          <cx:pt idx="27277">4</cx:pt>
          <cx:pt idx="27278">4</cx:pt>
          <cx:pt idx="27279">1</cx:pt>
          <cx:pt idx="27280">3</cx:pt>
          <cx:pt idx="27281">5</cx:pt>
          <cx:pt idx="27282">5</cx:pt>
          <cx:pt idx="27283">1</cx:pt>
          <cx:pt idx="27284">3</cx:pt>
          <cx:pt idx="27285">4</cx:pt>
          <cx:pt idx="27286">5</cx:pt>
          <cx:pt idx="27287">4</cx:pt>
          <cx:pt idx="27288">4</cx:pt>
          <cx:pt idx="27289">5</cx:pt>
          <cx:pt idx="27290">5</cx:pt>
          <cx:pt idx="27291">4</cx:pt>
          <cx:pt idx="27292">4</cx:pt>
          <cx:pt idx="27293">1</cx:pt>
          <cx:pt idx="27294">3</cx:pt>
          <cx:pt idx="27295">4</cx:pt>
          <cx:pt idx="27296">2</cx:pt>
          <cx:pt idx="27297">4</cx:pt>
          <cx:pt idx="27298">4</cx:pt>
          <cx:pt idx="27299">4</cx:pt>
          <cx:pt idx="27300">3</cx:pt>
          <cx:pt idx="27301">4</cx:pt>
          <cx:pt idx="27302">5</cx:pt>
          <cx:pt idx="27303">5</cx:pt>
          <cx:pt idx="27304">3</cx:pt>
          <cx:pt idx="27305">5</cx:pt>
          <cx:pt idx="27306">2</cx:pt>
          <cx:pt idx="27307">2</cx:pt>
          <cx:pt idx="27308">5</cx:pt>
          <cx:pt idx="27309">3</cx:pt>
          <cx:pt idx="27310">5</cx:pt>
          <cx:pt idx="27311">1</cx:pt>
          <cx:pt idx="27312">4</cx:pt>
          <cx:pt idx="27313">1</cx:pt>
          <cx:pt idx="27314">4</cx:pt>
          <cx:pt idx="27315">5</cx:pt>
          <cx:pt idx="27316">3</cx:pt>
          <cx:pt idx="27317">1</cx:pt>
          <cx:pt idx="27318">3</cx:pt>
          <cx:pt idx="27319">4</cx:pt>
          <cx:pt idx="27320">5</cx:pt>
          <cx:pt idx="27321">1</cx:pt>
          <cx:pt idx="27322">2</cx:pt>
          <cx:pt idx="27323">4</cx:pt>
          <cx:pt idx="27324">3</cx:pt>
          <cx:pt idx="27325">5</cx:pt>
          <cx:pt idx="27326">3</cx:pt>
          <cx:pt idx="27327">4</cx:pt>
          <cx:pt idx="27328">2</cx:pt>
          <cx:pt idx="27329">3</cx:pt>
          <cx:pt idx="27330">5</cx:pt>
          <cx:pt idx="27331">4</cx:pt>
          <cx:pt idx="27332">2</cx:pt>
          <cx:pt idx="27333">4</cx:pt>
          <cx:pt idx="27334">3</cx:pt>
          <cx:pt idx="27335">1</cx:pt>
          <cx:pt idx="27336">2</cx:pt>
          <cx:pt idx="27337">5</cx:pt>
          <cx:pt idx="27338">2</cx:pt>
          <cx:pt idx="27339">4</cx:pt>
          <cx:pt idx="27340">4</cx:pt>
          <cx:pt idx="27341">5</cx:pt>
          <cx:pt idx="27342">1</cx:pt>
          <cx:pt idx="27343">4</cx:pt>
          <cx:pt idx="27344">5</cx:pt>
          <cx:pt idx="27345">4</cx:pt>
          <cx:pt idx="27346">2</cx:pt>
          <cx:pt idx="27347">4</cx:pt>
          <cx:pt idx="27348">5</cx:pt>
          <cx:pt idx="27349">4</cx:pt>
          <cx:pt idx="27350">4</cx:pt>
          <cx:pt idx="27351">4</cx:pt>
          <cx:pt idx="27352">4</cx:pt>
          <cx:pt idx="27353">3</cx:pt>
          <cx:pt idx="27354">4</cx:pt>
          <cx:pt idx="27355">5</cx:pt>
          <cx:pt idx="27356">5</cx:pt>
          <cx:pt idx="27357">4</cx:pt>
          <cx:pt idx="27358">5</cx:pt>
          <cx:pt idx="27359">2</cx:pt>
          <cx:pt idx="27360">3</cx:pt>
          <cx:pt idx="27361">1</cx:pt>
          <cx:pt idx="27362">4</cx:pt>
          <cx:pt idx="27363">5</cx:pt>
          <cx:pt idx="27364">5</cx:pt>
          <cx:pt idx="27365">5</cx:pt>
          <cx:pt idx="27366">4</cx:pt>
          <cx:pt idx="27367">5</cx:pt>
          <cx:pt idx="27368">4</cx:pt>
          <cx:pt idx="27369">4</cx:pt>
          <cx:pt idx="27370">4</cx:pt>
          <cx:pt idx="27371">5</cx:pt>
          <cx:pt idx="27372">4</cx:pt>
          <cx:pt idx="27373">5</cx:pt>
          <cx:pt idx="27374">2</cx:pt>
          <cx:pt idx="27375">1</cx:pt>
          <cx:pt idx="27376">5</cx:pt>
          <cx:pt idx="27377">4</cx:pt>
          <cx:pt idx="27378">4</cx:pt>
          <cx:pt idx="27379">4</cx:pt>
          <cx:pt idx="27380">5</cx:pt>
          <cx:pt idx="27381">2</cx:pt>
          <cx:pt idx="27382">5</cx:pt>
          <cx:pt idx="27383">2</cx:pt>
          <cx:pt idx="27384">5</cx:pt>
          <cx:pt idx="27385">3</cx:pt>
          <cx:pt idx="27386">2</cx:pt>
          <cx:pt idx="27387">3</cx:pt>
          <cx:pt idx="27388">4</cx:pt>
          <cx:pt idx="27389">5</cx:pt>
          <cx:pt idx="27390">4</cx:pt>
          <cx:pt idx="27391">5</cx:pt>
          <cx:pt idx="27392">3</cx:pt>
          <cx:pt idx="27393">4</cx:pt>
          <cx:pt idx="27394">4</cx:pt>
          <cx:pt idx="27395">3</cx:pt>
          <cx:pt idx="27396">3</cx:pt>
          <cx:pt idx="27397">5</cx:pt>
          <cx:pt idx="27398">2</cx:pt>
          <cx:pt idx="27399">2</cx:pt>
          <cx:pt idx="27400">1</cx:pt>
          <cx:pt idx="27401">3</cx:pt>
          <cx:pt idx="27402">4</cx:pt>
          <cx:pt idx="27403">4</cx:pt>
          <cx:pt idx="27404">4</cx:pt>
          <cx:pt idx="27405">2</cx:pt>
          <cx:pt idx="27406">5</cx:pt>
          <cx:pt idx="27407">3</cx:pt>
          <cx:pt idx="27408">1</cx:pt>
          <cx:pt idx="27409">5</cx:pt>
          <cx:pt idx="27410">2</cx:pt>
          <cx:pt idx="27411">3</cx:pt>
          <cx:pt idx="27412">3</cx:pt>
          <cx:pt idx="27413">4</cx:pt>
          <cx:pt idx="27414">1</cx:pt>
          <cx:pt idx="27415">3</cx:pt>
          <cx:pt idx="27416">3</cx:pt>
          <cx:pt idx="27417">3</cx:pt>
          <cx:pt idx="27418">2</cx:pt>
          <cx:pt idx="27419">3</cx:pt>
          <cx:pt idx="27420">3</cx:pt>
          <cx:pt idx="27421">4</cx:pt>
          <cx:pt idx="27422">4</cx:pt>
          <cx:pt idx="27423">1</cx:pt>
          <cx:pt idx="27424">4</cx:pt>
          <cx:pt idx="27425">4</cx:pt>
          <cx:pt idx="27426">1</cx:pt>
          <cx:pt idx="27427">3</cx:pt>
          <cx:pt idx="27428">3</cx:pt>
          <cx:pt idx="27429">4</cx:pt>
          <cx:pt idx="27430">5</cx:pt>
          <cx:pt idx="27431">2</cx:pt>
          <cx:pt idx="27432">5</cx:pt>
          <cx:pt idx="27433">2</cx:pt>
          <cx:pt idx="27434">4</cx:pt>
          <cx:pt idx="27435">4</cx:pt>
          <cx:pt idx="27436">3</cx:pt>
          <cx:pt idx="27437">5</cx:pt>
          <cx:pt idx="27438">4</cx:pt>
          <cx:pt idx="27439">5</cx:pt>
          <cx:pt idx="27440">4</cx:pt>
          <cx:pt idx="27441">1</cx:pt>
          <cx:pt idx="27442">5</cx:pt>
          <cx:pt idx="27443">2</cx:pt>
          <cx:pt idx="27444">3</cx:pt>
          <cx:pt idx="27445">4</cx:pt>
          <cx:pt idx="27446">5</cx:pt>
          <cx:pt idx="27447">3</cx:pt>
          <cx:pt idx="27448">5</cx:pt>
          <cx:pt idx="27449">4</cx:pt>
          <cx:pt idx="27450">4</cx:pt>
          <cx:pt idx="27451">5</cx:pt>
          <cx:pt idx="27452">5</cx:pt>
          <cx:pt idx="27453">5</cx:pt>
          <cx:pt idx="27454">2</cx:pt>
          <cx:pt idx="27455">4</cx:pt>
          <cx:pt idx="27456">4</cx:pt>
          <cx:pt idx="27457">3</cx:pt>
          <cx:pt idx="27458">5</cx:pt>
          <cx:pt idx="27459">4</cx:pt>
          <cx:pt idx="27460">4</cx:pt>
          <cx:pt idx="27461">4</cx:pt>
          <cx:pt idx="27462">2</cx:pt>
          <cx:pt idx="27463">5</cx:pt>
          <cx:pt idx="27464">4</cx:pt>
          <cx:pt idx="27465">3</cx:pt>
          <cx:pt idx="27466">5</cx:pt>
          <cx:pt idx="27467">4</cx:pt>
          <cx:pt idx="27468">4</cx:pt>
          <cx:pt idx="27469">5</cx:pt>
          <cx:pt idx="27470">4</cx:pt>
          <cx:pt idx="27471">4</cx:pt>
          <cx:pt idx="27472">2</cx:pt>
          <cx:pt idx="27473">2</cx:pt>
          <cx:pt idx="27474">1</cx:pt>
          <cx:pt idx="27475">5</cx:pt>
          <cx:pt idx="27476">3</cx:pt>
          <cx:pt idx="27477">1</cx:pt>
          <cx:pt idx="27478">4</cx:pt>
          <cx:pt idx="27479">4</cx:pt>
          <cx:pt idx="27480">3</cx:pt>
          <cx:pt idx="27481">4</cx:pt>
          <cx:pt idx="27482">3</cx:pt>
          <cx:pt idx="27483">1</cx:pt>
          <cx:pt idx="27484">3</cx:pt>
          <cx:pt idx="27485">1</cx:pt>
          <cx:pt idx="27486">5</cx:pt>
          <cx:pt idx="27487">5</cx:pt>
          <cx:pt idx="27488">4</cx:pt>
          <cx:pt idx="27489">4</cx:pt>
          <cx:pt idx="27490">4</cx:pt>
          <cx:pt idx="27491">5</cx:pt>
          <cx:pt idx="27492">4</cx:pt>
          <cx:pt idx="27493">1</cx:pt>
          <cx:pt idx="27494">4</cx:pt>
          <cx:pt idx="27495">5</cx:pt>
          <cx:pt idx="27496">4</cx:pt>
          <cx:pt idx="27497">5</cx:pt>
          <cx:pt idx="27498">4</cx:pt>
          <cx:pt idx="27499">5</cx:pt>
          <cx:pt idx="27500">3</cx:pt>
          <cx:pt idx="27501">1</cx:pt>
          <cx:pt idx="27502">5</cx:pt>
          <cx:pt idx="27503">4</cx:pt>
          <cx:pt idx="27504">3</cx:pt>
          <cx:pt idx="27505">4</cx:pt>
          <cx:pt idx="27506">4</cx:pt>
          <cx:pt idx="27507">1</cx:pt>
          <cx:pt idx="27508">4</cx:pt>
          <cx:pt idx="27509">5</cx:pt>
          <cx:pt idx="27510">3</cx:pt>
          <cx:pt idx="27511">2</cx:pt>
          <cx:pt idx="27512">3</cx:pt>
          <cx:pt idx="27513">1</cx:pt>
          <cx:pt idx="27514">1</cx:pt>
          <cx:pt idx="27515">4</cx:pt>
          <cx:pt idx="27516">4</cx:pt>
          <cx:pt idx="27517">2</cx:pt>
          <cx:pt idx="27518">1</cx:pt>
          <cx:pt idx="27519">4</cx:pt>
          <cx:pt idx="27520">3</cx:pt>
          <cx:pt idx="27521">5</cx:pt>
          <cx:pt idx="27522">5</cx:pt>
          <cx:pt idx="27523">4</cx:pt>
          <cx:pt idx="27524">3</cx:pt>
          <cx:pt idx="27525">3</cx:pt>
          <cx:pt idx="27526">4</cx:pt>
          <cx:pt idx="27527">4</cx:pt>
          <cx:pt idx="27528">5</cx:pt>
          <cx:pt idx="27529">1</cx:pt>
          <cx:pt idx="27530">4</cx:pt>
          <cx:pt idx="27531">1</cx:pt>
          <cx:pt idx="27532">5</cx:pt>
          <cx:pt idx="27533">3</cx:pt>
          <cx:pt idx="27534">2</cx:pt>
          <cx:pt idx="27535">3</cx:pt>
          <cx:pt idx="27536">3</cx:pt>
          <cx:pt idx="27537">4</cx:pt>
          <cx:pt idx="27538">4</cx:pt>
          <cx:pt idx="27539">5</cx:pt>
          <cx:pt idx="27540">5</cx:pt>
          <cx:pt idx="27541">3</cx:pt>
          <cx:pt idx="27542">1</cx:pt>
          <cx:pt idx="27543">5</cx:pt>
          <cx:pt idx="27544">3</cx:pt>
          <cx:pt idx="27545">4</cx:pt>
          <cx:pt idx="27546">5</cx:pt>
          <cx:pt idx="27547">5</cx:pt>
          <cx:pt idx="27548">3</cx:pt>
          <cx:pt idx="27549">3</cx:pt>
          <cx:pt idx="27550">4</cx:pt>
          <cx:pt idx="27551">3</cx:pt>
          <cx:pt idx="27552">5</cx:pt>
          <cx:pt idx="27553">4</cx:pt>
          <cx:pt idx="27554">1</cx:pt>
          <cx:pt idx="27555">5</cx:pt>
          <cx:pt idx="27556">4</cx:pt>
          <cx:pt idx="27557">4</cx:pt>
          <cx:pt idx="27558">4</cx:pt>
          <cx:pt idx="27559">2</cx:pt>
          <cx:pt idx="27560">5</cx:pt>
          <cx:pt idx="27561">3</cx:pt>
          <cx:pt idx="27562">3</cx:pt>
          <cx:pt idx="27563">4</cx:pt>
          <cx:pt idx="27564">3</cx:pt>
          <cx:pt idx="27565">3</cx:pt>
          <cx:pt idx="27566">1</cx:pt>
          <cx:pt idx="27567">4</cx:pt>
          <cx:pt idx="27568">5</cx:pt>
          <cx:pt idx="27569">4</cx:pt>
          <cx:pt idx="27570">5</cx:pt>
          <cx:pt idx="27571">4</cx:pt>
          <cx:pt idx="27572">5</cx:pt>
          <cx:pt idx="27573">4</cx:pt>
          <cx:pt idx="27574">3</cx:pt>
          <cx:pt idx="27575">3</cx:pt>
          <cx:pt idx="27576">5</cx:pt>
          <cx:pt idx="27577">4</cx:pt>
          <cx:pt idx="27578">1</cx:pt>
          <cx:pt idx="27579">1</cx:pt>
          <cx:pt idx="27580">3</cx:pt>
          <cx:pt idx="27581">4</cx:pt>
          <cx:pt idx="27582">4</cx:pt>
          <cx:pt idx="27583">1</cx:pt>
          <cx:pt idx="27584">5</cx:pt>
          <cx:pt idx="27585">2</cx:pt>
          <cx:pt idx="27586">5</cx:pt>
          <cx:pt idx="27587">3</cx:pt>
          <cx:pt idx="27588">1</cx:pt>
          <cx:pt idx="27589">4</cx:pt>
          <cx:pt idx="27590">5</cx:pt>
          <cx:pt idx="27591">5</cx:pt>
          <cx:pt idx="27592">5</cx:pt>
          <cx:pt idx="27593">2</cx:pt>
          <cx:pt idx="27594">4</cx:pt>
          <cx:pt idx="27595">1</cx:pt>
          <cx:pt idx="27596">1</cx:pt>
          <cx:pt idx="27597">3</cx:pt>
          <cx:pt idx="27598">5</cx:pt>
          <cx:pt idx="27599">2</cx:pt>
          <cx:pt idx="27600">2</cx:pt>
          <cx:pt idx="27601">5</cx:pt>
          <cx:pt idx="27602">4</cx:pt>
          <cx:pt idx="27603">4</cx:pt>
          <cx:pt idx="27604">4</cx:pt>
          <cx:pt idx="27605">5</cx:pt>
          <cx:pt idx="27606">1</cx:pt>
          <cx:pt idx="27607">3</cx:pt>
          <cx:pt idx="27608">2</cx:pt>
          <cx:pt idx="27609">5</cx:pt>
          <cx:pt idx="27610">5</cx:pt>
          <cx:pt idx="27611">5</cx:pt>
          <cx:pt idx="27612">4</cx:pt>
          <cx:pt idx="27613">5</cx:pt>
          <cx:pt idx="27614">3</cx:pt>
          <cx:pt idx="27615">5</cx:pt>
          <cx:pt idx="27616">4</cx:pt>
          <cx:pt idx="27617">1</cx:pt>
          <cx:pt idx="27618">5</cx:pt>
          <cx:pt idx="27619">2</cx:pt>
          <cx:pt idx="27620">5</cx:pt>
          <cx:pt idx="27621">4</cx:pt>
          <cx:pt idx="27622">4</cx:pt>
          <cx:pt idx="27623">3</cx:pt>
          <cx:pt idx="27624">2</cx:pt>
          <cx:pt idx="27625">5</cx:pt>
          <cx:pt idx="27626">3</cx:pt>
          <cx:pt idx="27627">2</cx:pt>
          <cx:pt idx="27628">2</cx:pt>
          <cx:pt idx="27629">4</cx:pt>
          <cx:pt idx="27630">4</cx:pt>
          <cx:pt idx="27631">4</cx:pt>
          <cx:pt idx="27632">1</cx:pt>
          <cx:pt idx="27633">5</cx:pt>
          <cx:pt idx="27634">4</cx:pt>
          <cx:pt idx="27635">4</cx:pt>
          <cx:pt idx="27636">3</cx:pt>
          <cx:pt idx="27637">5</cx:pt>
          <cx:pt idx="27638">2</cx:pt>
          <cx:pt idx="27639">4</cx:pt>
          <cx:pt idx="27640">4</cx:pt>
          <cx:pt idx="27641">2</cx:pt>
          <cx:pt idx="27642">5</cx:pt>
          <cx:pt idx="27643">4</cx:pt>
          <cx:pt idx="27644">4</cx:pt>
          <cx:pt idx="27645">5</cx:pt>
          <cx:pt idx="27646">3</cx:pt>
          <cx:pt idx="27647">4</cx:pt>
          <cx:pt idx="27648">4</cx:pt>
          <cx:pt idx="27649">5</cx:pt>
          <cx:pt idx="27650">1</cx:pt>
          <cx:pt idx="27651">5</cx:pt>
          <cx:pt idx="27652">3</cx:pt>
          <cx:pt idx="27653">5</cx:pt>
          <cx:pt idx="27654">3</cx:pt>
          <cx:pt idx="27655">1</cx:pt>
          <cx:pt idx="27656">3</cx:pt>
          <cx:pt idx="27657">4</cx:pt>
          <cx:pt idx="27658">3</cx:pt>
          <cx:pt idx="27659">5</cx:pt>
          <cx:pt idx="27660">3</cx:pt>
          <cx:pt idx="27661">5</cx:pt>
          <cx:pt idx="27662">4</cx:pt>
          <cx:pt idx="27663">4</cx:pt>
          <cx:pt idx="27664">3</cx:pt>
          <cx:pt idx="27665">3</cx:pt>
          <cx:pt idx="27666">4</cx:pt>
          <cx:pt idx="27667">5</cx:pt>
          <cx:pt idx="27668">4</cx:pt>
          <cx:pt idx="27669">5</cx:pt>
          <cx:pt idx="27670">5</cx:pt>
          <cx:pt idx="27671">1</cx:pt>
          <cx:pt idx="27672">1</cx:pt>
          <cx:pt idx="27673">4</cx:pt>
          <cx:pt idx="27674">4</cx:pt>
          <cx:pt idx="27675">1</cx:pt>
          <cx:pt idx="27676">4</cx:pt>
          <cx:pt idx="27677">5</cx:pt>
          <cx:pt idx="27678">2</cx:pt>
          <cx:pt idx="27679">1</cx:pt>
          <cx:pt idx="27680">4</cx:pt>
          <cx:pt idx="27681">5</cx:pt>
          <cx:pt idx="27682">3</cx:pt>
          <cx:pt idx="27683">4</cx:pt>
          <cx:pt idx="27684">5</cx:pt>
          <cx:pt idx="27685">5</cx:pt>
          <cx:pt idx="27686">2</cx:pt>
          <cx:pt idx="27687">4</cx:pt>
          <cx:pt idx="27688">3</cx:pt>
          <cx:pt idx="27689">5</cx:pt>
          <cx:pt idx="27690">5</cx:pt>
          <cx:pt idx="27691">3</cx:pt>
          <cx:pt idx="27692">5</cx:pt>
          <cx:pt idx="27693">3</cx:pt>
          <cx:pt idx="27694">4</cx:pt>
          <cx:pt idx="27695">1</cx:pt>
          <cx:pt idx="27696">1</cx:pt>
          <cx:pt idx="27697">5</cx:pt>
          <cx:pt idx="27698">4</cx:pt>
          <cx:pt idx="27699">3</cx:pt>
          <cx:pt idx="27700">5</cx:pt>
          <cx:pt idx="27701">3</cx:pt>
          <cx:pt idx="27702">5</cx:pt>
          <cx:pt idx="27703">5</cx:pt>
          <cx:pt idx="27704">4</cx:pt>
          <cx:pt idx="27705">5</cx:pt>
          <cx:pt idx="27706">3</cx:pt>
          <cx:pt idx="27707">5</cx:pt>
          <cx:pt idx="27708">3</cx:pt>
          <cx:pt idx="27709">2</cx:pt>
          <cx:pt idx="27710">5</cx:pt>
          <cx:pt idx="27711">5</cx:pt>
          <cx:pt idx="27712">4</cx:pt>
          <cx:pt idx="27713">4</cx:pt>
          <cx:pt idx="27714">1</cx:pt>
          <cx:pt idx="27715">5</cx:pt>
          <cx:pt idx="27716">2</cx:pt>
          <cx:pt idx="27717">4</cx:pt>
          <cx:pt idx="27718">2</cx:pt>
          <cx:pt idx="27719">5</cx:pt>
          <cx:pt idx="27720">4</cx:pt>
          <cx:pt idx="27721">5</cx:pt>
          <cx:pt idx="27722">3</cx:pt>
          <cx:pt idx="27723">3</cx:pt>
          <cx:pt idx="27724">4</cx:pt>
          <cx:pt idx="27725">3</cx:pt>
          <cx:pt idx="27726">5</cx:pt>
          <cx:pt idx="27727">4</cx:pt>
          <cx:pt idx="27728">5</cx:pt>
          <cx:pt idx="27729">2</cx:pt>
          <cx:pt idx="27730">4</cx:pt>
          <cx:pt idx="27731">3</cx:pt>
          <cx:pt idx="27732">5</cx:pt>
          <cx:pt idx="27733">2</cx:pt>
          <cx:pt idx="27734">3</cx:pt>
          <cx:pt idx="27735">3</cx:pt>
          <cx:pt idx="27736">5</cx:pt>
          <cx:pt idx="27737">3</cx:pt>
          <cx:pt idx="27738">5</cx:pt>
          <cx:pt idx="27739">5</cx:pt>
          <cx:pt idx="27740">4</cx:pt>
          <cx:pt idx="27741">3</cx:pt>
          <cx:pt idx="27742">3</cx:pt>
          <cx:pt idx="27743">1</cx:pt>
          <cx:pt idx="27744">3</cx:pt>
          <cx:pt idx="27745">3</cx:pt>
          <cx:pt idx="27746">5</cx:pt>
          <cx:pt idx="27747">1</cx:pt>
          <cx:pt idx="27748">4</cx:pt>
          <cx:pt idx="27749">5</cx:pt>
          <cx:pt idx="27750">3</cx:pt>
          <cx:pt idx="27751">4</cx:pt>
          <cx:pt idx="27752">4</cx:pt>
          <cx:pt idx="27753">4</cx:pt>
          <cx:pt idx="27754">1</cx:pt>
          <cx:pt idx="27755">3</cx:pt>
          <cx:pt idx="27756">5</cx:pt>
          <cx:pt idx="27757">5</cx:pt>
          <cx:pt idx="27758">4</cx:pt>
          <cx:pt idx="27759">3</cx:pt>
          <cx:pt idx="27760">5</cx:pt>
          <cx:pt idx="27761">2</cx:pt>
          <cx:pt idx="27762">5</cx:pt>
          <cx:pt idx="27763">1</cx:pt>
          <cx:pt idx="27764">1</cx:pt>
          <cx:pt idx="27765">5</cx:pt>
          <cx:pt idx="27766">3</cx:pt>
          <cx:pt idx="27767">4</cx:pt>
          <cx:pt idx="27768">4</cx:pt>
          <cx:pt idx="27769">5</cx:pt>
          <cx:pt idx="27770">4</cx:pt>
          <cx:pt idx="27771">5</cx:pt>
          <cx:pt idx="27772">4</cx:pt>
          <cx:pt idx="27773">5</cx:pt>
          <cx:pt idx="27774">3</cx:pt>
          <cx:pt idx="27775">5</cx:pt>
          <cx:pt idx="27776">4</cx:pt>
          <cx:pt idx="27777">4</cx:pt>
          <cx:pt idx="27778">5</cx:pt>
          <cx:pt idx="27779">4</cx:pt>
          <cx:pt idx="27780">4</cx:pt>
          <cx:pt idx="27781">5</cx:pt>
          <cx:pt idx="27782">2</cx:pt>
          <cx:pt idx="27783">2</cx:pt>
          <cx:pt idx="27784">3</cx:pt>
          <cx:pt idx="27785">5</cx:pt>
          <cx:pt idx="27786">3</cx:pt>
          <cx:pt idx="27787">5</cx:pt>
          <cx:pt idx="27788">5</cx:pt>
          <cx:pt idx="27789">4</cx:pt>
          <cx:pt idx="27790">1</cx:pt>
          <cx:pt idx="27791">5</cx:pt>
          <cx:pt idx="27792">5</cx:pt>
          <cx:pt idx="27793">5</cx:pt>
          <cx:pt idx="27794">4</cx:pt>
          <cx:pt idx="27795">4</cx:pt>
          <cx:pt idx="27796">4</cx:pt>
          <cx:pt idx="27797">4</cx:pt>
          <cx:pt idx="27798">1</cx:pt>
          <cx:pt idx="27799">4</cx:pt>
          <cx:pt idx="27800">3</cx:pt>
          <cx:pt idx="27801">2</cx:pt>
          <cx:pt idx="27802">3</cx:pt>
          <cx:pt idx="27803">1</cx:pt>
          <cx:pt idx="27804">4</cx:pt>
          <cx:pt idx="27805">2</cx:pt>
          <cx:pt idx="27806">4</cx:pt>
          <cx:pt idx="27807">5</cx:pt>
          <cx:pt idx="27808">4</cx:pt>
          <cx:pt idx="27809">3</cx:pt>
          <cx:pt idx="27810">1</cx:pt>
          <cx:pt idx="27811">2</cx:pt>
          <cx:pt idx="27812">5</cx:pt>
          <cx:pt idx="27813">2</cx:pt>
          <cx:pt idx="27814">3</cx:pt>
          <cx:pt idx="27815">3</cx:pt>
          <cx:pt idx="27816">4</cx:pt>
          <cx:pt idx="27817">4</cx:pt>
          <cx:pt idx="27818">5</cx:pt>
          <cx:pt idx="27819">4</cx:pt>
          <cx:pt idx="27820">4</cx:pt>
          <cx:pt idx="27821">5</cx:pt>
          <cx:pt idx="27822">4</cx:pt>
          <cx:pt idx="27823">3</cx:pt>
          <cx:pt idx="27824">5</cx:pt>
          <cx:pt idx="27825">1</cx:pt>
          <cx:pt idx="27826">3</cx:pt>
          <cx:pt idx="27827">3</cx:pt>
          <cx:pt idx="27828">4</cx:pt>
          <cx:pt idx="27829">2</cx:pt>
          <cx:pt idx="27830">4</cx:pt>
          <cx:pt idx="27831">2</cx:pt>
          <cx:pt idx="27832">5</cx:pt>
          <cx:pt idx="27833">1</cx:pt>
          <cx:pt idx="27834">5</cx:pt>
          <cx:pt idx="27835">4</cx:pt>
          <cx:pt idx="27836">2</cx:pt>
          <cx:pt idx="27837">3</cx:pt>
          <cx:pt idx="27838">3</cx:pt>
          <cx:pt idx="27839">5</cx:pt>
          <cx:pt idx="27840">3</cx:pt>
          <cx:pt idx="27841">3</cx:pt>
          <cx:pt idx="27842">5</cx:pt>
          <cx:pt idx="27843">3</cx:pt>
          <cx:pt idx="27844">2</cx:pt>
          <cx:pt idx="27845">5</cx:pt>
          <cx:pt idx="27846">5</cx:pt>
          <cx:pt idx="27847">4</cx:pt>
          <cx:pt idx="27848">4</cx:pt>
          <cx:pt idx="27849">4</cx:pt>
          <cx:pt idx="27850">4</cx:pt>
          <cx:pt idx="27851">4</cx:pt>
          <cx:pt idx="27852">5</cx:pt>
          <cx:pt idx="27853">4</cx:pt>
          <cx:pt idx="27854">2</cx:pt>
          <cx:pt idx="27855">2</cx:pt>
          <cx:pt idx="27856">4</cx:pt>
          <cx:pt idx="27857">4</cx:pt>
          <cx:pt idx="27858">3</cx:pt>
          <cx:pt idx="27859">4</cx:pt>
          <cx:pt idx="27860">3</cx:pt>
          <cx:pt idx="27861">3</cx:pt>
          <cx:pt idx="27862">2</cx:pt>
          <cx:pt idx="27863">2</cx:pt>
          <cx:pt idx="27864">4</cx:pt>
          <cx:pt idx="27865">3</cx:pt>
          <cx:pt idx="27866">2</cx:pt>
          <cx:pt idx="27867">1</cx:pt>
          <cx:pt idx="27868">4</cx:pt>
          <cx:pt idx="27869">2</cx:pt>
          <cx:pt idx="27870">2</cx:pt>
          <cx:pt idx="27871">5</cx:pt>
          <cx:pt idx="27872">4</cx:pt>
          <cx:pt idx="27873">4</cx:pt>
          <cx:pt idx="27874">5</cx:pt>
          <cx:pt idx="27875">5</cx:pt>
          <cx:pt idx="27876">5</cx:pt>
          <cx:pt idx="27877">5</cx:pt>
          <cx:pt idx="27878">5</cx:pt>
          <cx:pt idx="27879">2</cx:pt>
          <cx:pt idx="27880">4</cx:pt>
          <cx:pt idx="27881">3</cx:pt>
          <cx:pt idx="27882">3</cx:pt>
          <cx:pt idx="27883">3</cx:pt>
          <cx:pt idx="27884">4</cx:pt>
          <cx:pt idx="27885">4</cx:pt>
          <cx:pt idx="27886">5</cx:pt>
          <cx:pt idx="27887">3</cx:pt>
          <cx:pt idx="27888">2</cx:pt>
          <cx:pt idx="27889">4</cx:pt>
          <cx:pt idx="27890">5</cx:pt>
          <cx:pt idx="27891">5</cx:pt>
          <cx:pt idx="27892">4</cx:pt>
          <cx:pt idx="27893">2</cx:pt>
          <cx:pt idx="27894">4</cx:pt>
          <cx:pt idx="27895">5</cx:pt>
          <cx:pt idx="27896">4</cx:pt>
          <cx:pt idx="27897">4</cx:pt>
          <cx:pt idx="27898">4</cx:pt>
          <cx:pt idx="27899">5</cx:pt>
          <cx:pt idx="27900">1</cx:pt>
          <cx:pt idx="27901">3</cx:pt>
          <cx:pt idx="27902">5</cx:pt>
          <cx:pt idx="27903">3</cx:pt>
          <cx:pt idx="27904">4</cx:pt>
          <cx:pt idx="27905">4</cx:pt>
          <cx:pt idx="27906">4</cx:pt>
          <cx:pt idx="27907">4</cx:pt>
          <cx:pt idx="27908">5</cx:pt>
          <cx:pt idx="27909">4</cx:pt>
          <cx:pt idx="27910">4</cx:pt>
          <cx:pt idx="27911">4</cx:pt>
          <cx:pt idx="27912">1</cx:pt>
          <cx:pt idx="27913">2</cx:pt>
          <cx:pt idx="27914">5</cx:pt>
          <cx:pt idx="27915">5</cx:pt>
          <cx:pt idx="27916">4</cx:pt>
          <cx:pt idx="27917">4</cx:pt>
          <cx:pt idx="27918">4</cx:pt>
          <cx:pt idx="27919">3</cx:pt>
          <cx:pt idx="27920">4</cx:pt>
          <cx:pt idx="27921">5</cx:pt>
          <cx:pt idx="27922">4</cx:pt>
          <cx:pt idx="27923">4</cx:pt>
          <cx:pt idx="27924">2</cx:pt>
          <cx:pt idx="27925">1</cx:pt>
          <cx:pt idx="27926">3</cx:pt>
          <cx:pt idx="27927">1</cx:pt>
          <cx:pt idx="27928">4</cx:pt>
          <cx:pt idx="27929">5</cx:pt>
          <cx:pt idx="27930">2</cx:pt>
          <cx:pt idx="27931">4</cx:pt>
          <cx:pt idx="27932">4</cx:pt>
          <cx:pt idx="27933">4</cx:pt>
          <cx:pt idx="27934">3</cx:pt>
          <cx:pt idx="27935">4</cx:pt>
          <cx:pt idx="27936">4</cx:pt>
          <cx:pt idx="27937">5</cx:pt>
          <cx:pt idx="27938">3</cx:pt>
          <cx:pt idx="27939">4</cx:pt>
          <cx:pt idx="27940">1</cx:pt>
          <cx:pt idx="27941">2</cx:pt>
          <cx:pt idx="27942">4</cx:pt>
          <cx:pt idx="27943">2</cx:pt>
          <cx:pt idx="27944">3</cx:pt>
          <cx:pt idx="27945">3</cx:pt>
          <cx:pt idx="27946">2</cx:pt>
          <cx:pt idx="27947">4</cx:pt>
          <cx:pt idx="27948">2</cx:pt>
          <cx:pt idx="27949">4</cx:pt>
          <cx:pt idx="27950">3</cx:pt>
          <cx:pt idx="27951">1</cx:pt>
          <cx:pt idx="27952">4</cx:pt>
          <cx:pt idx="27953">4</cx:pt>
          <cx:pt idx="27954">4</cx:pt>
          <cx:pt idx="27955">4</cx:pt>
          <cx:pt idx="27956">1</cx:pt>
          <cx:pt idx="27957">4</cx:pt>
          <cx:pt idx="27958">1</cx:pt>
          <cx:pt idx="27959">3</cx:pt>
          <cx:pt idx="27960">5</cx:pt>
          <cx:pt idx="27961">1</cx:pt>
          <cx:pt idx="27962">4</cx:pt>
          <cx:pt idx="27963">2</cx:pt>
          <cx:pt idx="27964">4</cx:pt>
          <cx:pt idx="27965">1</cx:pt>
          <cx:pt idx="27966">5</cx:pt>
          <cx:pt idx="27967">2</cx:pt>
          <cx:pt idx="27968">3</cx:pt>
          <cx:pt idx="27969">4</cx:pt>
          <cx:pt idx="27970">3</cx:pt>
          <cx:pt idx="27971">3</cx:pt>
          <cx:pt idx="27972">2</cx:pt>
          <cx:pt idx="27973">5</cx:pt>
          <cx:pt idx="27974">5</cx:pt>
          <cx:pt idx="27975">3</cx:pt>
          <cx:pt idx="27976">4</cx:pt>
          <cx:pt idx="27977">4</cx:pt>
          <cx:pt idx="27978">5</cx:pt>
          <cx:pt idx="27979">4</cx:pt>
          <cx:pt idx="27980">3</cx:pt>
          <cx:pt idx="27981">3</cx:pt>
          <cx:pt idx="27982">4</cx:pt>
          <cx:pt idx="27983">4</cx:pt>
          <cx:pt idx="27984">4</cx:pt>
          <cx:pt idx="27985">5</cx:pt>
          <cx:pt idx="27986">4</cx:pt>
          <cx:pt idx="27987">4</cx:pt>
          <cx:pt idx="27988">5</cx:pt>
          <cx:pt idx="27989">5</cx:pt>
          <cx:pt idx="27990">3</cx:pt>
          <cx:pt idx="27991">3</cx:pt>
          <cx:pt idx="27992">5</cx:pt>
          <cx:pt idx="27993">2</cx:pt>
          <cx:pt idx="27994">5</cx:pt>
          <cx:pt idx="27995">3</cx:pt>
          <cx:pt idx="27996">4</cx:pt>
          <cx:pt idx="27997">4</cx:pt>
          <cx:pt idx="27998">4</cx:pt>
          <cx:pt idx="27999">4</cx:pt>
          <cx:pt idx="28000">3</cx:pt>
          <cx:pt idx="28001">2</cx:pt>
          <cx:pt idx="28002">1</cx:pt>
          <cx:pt idx="28003">5</cx:pt>
          <cx:pt idx="28004">4</cx:pt>
          <cx:pt idx="28005">4</cx:pt>
          <cx:pt idx="28006">4</cx:pt>
          <cx:pt idx="28007">4</cx:pt>
          <cx:pt idx="28008">4</cx:pt>
          <cx:pt idx="28009">5</cx:pt>
          <cx:pt idx="28010">4</cx:pt>
          <cx:pt idx="28011">3</cx:pt>
          <cx:pt idx="28012">3</cx:pt>
          <cx:pt idx="28013">4</cx:pt>
          <cx:pt idx="28014">5</cx:pt>
          <cx:pt idx="28015">5</cx:pt>
          <cx:pt idx="28016">4</cx:pt>
          <cx:pt idx="28017">4</cx:pt>
          <cx:pt idx="28018">2</cx:pt>
          <cx:pt idx="28019">4</cx:pt>
          <cx:pt idx="28020">2</cx:pt>
          <cx:pt idx="28021">2</cx:pt>
          <cx:pt idx="28022">4</cx:pt>
          <cx:pt idx="28023">4</cx:pt>
          <cx:pt idx="28024">4</cx:pt>
          <cx:pt idx="28025">3</cx:pt>
          <cx:pt idx="28026">2</cx:pt>
          <cx:pt idx="28027">4</cx:pt>
          <cx:pt idx="28028">4</cx:pt>
          <cx:pt idx="28029">1</cx:pt>
          <cx:pt idx="28030">2</cx:pt>
          <cx:pt idx="28031">5</cx:pt>
          <cx:pt idx="28032">5</cx:pt>
          <cx:pt idx="28033">3</cx:pt>
          <cx:pt idx="28034">4</cx:pt>
          <cx:pt idx="28035">4</cx:pt>
          <cx:pt idx="28036">4</cx:pt>
          <cx:pt idx="28037">3</cx:pt>
          <cx:pt idx="28038">5</cx:pt>
          <cx:pt idx="28039">2</cx:pt>
          <cx:pt idx="28040">4</cx:pt>
          <cx:pt idx="28041">5</cx:pt>
          <cx:pt idx="28042">5</cx:pt>
          <cx:pt idx="28043">2</cx:pt>
          <cx:pt idx="28044">5</cx:pt>
          <cx:pt idx="28045">4</cx:pt>
          <cx:pt idx="28046">3</cx:pt>
          <cx:pt idx="28047">2</cx:pt>
          <cx:pt idx="28048">3</cx:pt>
          <cx:pt idx="28049">1</cx:pt>
          <cx:pt idx="28050">3</cx:pt>
          <cx:pt idx="28051">3</cx:pt>
          <cx:pt idx="28052">5</cx:pt>
          <cx:pt idx="28053">5</cx:pt>
          <cx:pt idx="28054">2</cx:pt>
          <cx:pt idx="28055">4</cx:pt>
          <cx:pt idx="28056">3</cx:pt>
          <cx:pt idx="28057">5</cx:pt>
          <cx:pt idx="28058">5</cx:pt>
          <cx:pt idx="28059">1</cx:pt>
          <cx:pt idx="28060">5</cx:pt>
          <cx:pt idx="28061">4</cx:pt>
          <cx:pt idx="28062">5</cx:pt>
          <cx:pt idx="28063">3</cx:pt>
          <cx:pt idx="28064">3</cx:pt>
          <cx:pt idx="28065">5</cx:pt>
          <cx:pt idx="28066">5</cx:pt>
          <cx:pt idx="28067">4</cx:pt>
          <cx:pt idx="28068">5</cx:pt>
          <cx:pt idx="28069">5</cx:pt>
          <cx:pt idx="28070">5</cx:pt>
          <cx:pt idx="28071">4</cx:pt>
          <cx:pt idx="28072">4</cx:pt>
          <cx:pt idx="28073">5</cx:pt>
          <cx:pt idx="28074">4</cx:pt>
          <cx:pt idx="28075">5</cx:pt>
          <cx:pt idx="28076">4</cx:pt>
          <cx:pt idx="28077">3</cx:pt>
          <cx:pt idx="28078">4</cx:pt>
          <cx:pt idx="28079">1</cx:pt>
          <cx:pt idx="28080">5</cx:pt>
          <cx:pt idx="28081">4</cx:pt>
          <cx:pt idx="28082">5</cx:pt>
          <cx:pt idx="28083">5</cx:pt>
          <cx:pt idx="28084">1</cx:pt>
          <cx:pt idx="28085">4</cx:pt>
          <cx:pt idx="28086">3</cx:pt>
          <cx:pt idx="28087">5</cx:pt>
          <cx:pt idx="28088">4</cx:pt>
          <cx:pt idx="28089">4</cx:pt>
          <cx:pt idx="28090">5</cx:pt>
          <cx:pt idx="28091">1</cx:pt>
          <cx:pt idx="28092">1</cx:pt>
          <cx:pt idx="28093">1</cx:pt>
          <cx:pt idx="28094">2</cx:pt>
          <cx:pt idx="28095">4</cx:pt>
          <cx:pt idx="28096">2</cx:pt>
          <cx:pt idx="28097">3</cx:pt>
          <cx:pt idx="28098">3</cx:pt>
          <cx:pt idx="28099">2</cx:pt>
          <cx:pt idx="28100">4</cx:pt>
          <cx:pt idx="28101">3</cx:pt>
          <cx:pt idx="28102">5</cx:pt>
          <cx:pt idx="28103">3</cx:pt>
          <cx:pt idx="28104">1</cx:pt>
          <cx:pt idx="28105">5</cx:pt>
          <cx:pt idx="28106">4</cx:pt>
          <cx:pt idx="28107">4</cx:pt>
          <cx:pt idx="28108">4</cx:pt>
          <cx:pt idx="28109">5</cx:pt>
          <cx:pt idx="28110">1</cx:pt>
          <cx:pt idx="28111">3</cx:pt>
          <cx:pt idx="28112">1</cx:pt>
          <cx:pt idx="28113">5</cx:pt>
          <cx:pt idx="28114">4</cx:pt>
          <cx:pt idx="28115">5</cx:pt>
          <cx:pt idx="28116">5</cx:pt>
          <cx:pt idx="28117">4</cx:pt>
          <cx:pt idx="28118">2</cx:pt>
          <cx:pt idx="28119">5</cx:pt>
          <cx:pt idx="28120">4</cx:pt>
          <cx:pt idx="28121">4</cx:pt>
          <cx:pt idx="28122">4</cx:pt>
          <cx:pt idx="28123">5</cx:pt>
          <cx:pt idx="28124">4</cx:pt>
          <cx:pt idx="28125">4</cx:pt>
          <cx:pt idx="28126">4</cx:pt>
          <cx:pt idx="28127">3</cx:pt>
          <cx:pt idx="28128">1</cx:pt>
          <cx:pt idx="28129">4</cx:pt>
          <cx:pt idx="28130">2</cx:pt>
          <cx:pt idx="28131">1</cx:pt>
          <cx:pt idx="28132">3</cx:pt>
          <cx:pt idx="28133">2</cx:pt>
          <cx:pt idx="28134">3</cx:pt>
          <cx:pt idx="28135">3</cx:pt>
          <cx:pt idx="28136">2</cx:pt>
          <cx:pt idx="28137">3</cx:pt>
          <cx:pt idx="28138">4</cx:pt>
          <cx:pt idx="28139">1</cx:pt>
          <cx:pt idx="28140">3</cx:pt>
          <cx:pt idx="28141">4</cx:pt>
          <cx:pt idx="28142">5</cx:pt>
          <cx:pt idx="28143">3</cx:pt>
          <cx:pt idx="28144">2</cx:pt>
          <cx:pt idx="28145">3</cx:pt>
          <cx:pt idx="28146">5</cx:pt>
          <cx:pt idx="28147">4</cx:pt>
          <cx:pt idx="28148">3</cx:pt>
          <cx:pt idx="28149">4</cx:pt>
          <cx:pt idx="28150">5</cx:pt>
          <cx:pt idx="28151">1</cx:pt>
          <cx:pt idx="28152">4</cx:pt>
          <cx:pt idx="28153">3</cx:pt>
          <cx:pt idx="28154">4</cx:pt>
          <cx:pt idx="28155">5</cx:pt>
          <cx:pt idx="28156">3</cx:pt>
          <cx:pt idx="28157">3</cx:pt>
          <cx:pt idx="28158">5</cx:pt>
          <cx:pt idx="28159">1</cx:pt>
          <cx:pt idx="28160">4</cx:pt>
          <cx:pt idx="28161">4</cx:pt>
          <cx:pt idx="28162">4</cx:pt>
          <cx:pt idx="28163">1</cx:pt>
          <cx:pt idx="28164">3</cx:pt>
          <cx:pt idx="28165">4</cx:pt>
          <cx:pt idx="28166">4</cx:pt>
          <cx:pt idx="28167">4</cx:pt>
          <cx:pt idx="28168">5</cx:pt>
          <cx:pt idx="28169">4</cx:pt>
          <cx:pt idx="28170">3</cx:pt>
          <cx:pt idx="28171">5</cx:pt>
          <cx:pt idx="28172">5</cx:pt>
          <cx:pt idx="28173">5</cx:pt>
          <cx:pt idx="28174">4</cx:pt>
          <cx:pt idx="28175">5</cx:pt>
          <cx:pt idx="28176">5</cx:pt>
          <cx:pt idx="28177">4</cx:pt>
          <cx:pt idx="28178">5</cx:pt>
          <cx:pt idx="28179">5</cx:pt>
          <cx:pt idx="28180">2</cx:pt>
          <cx:pt idx="28181">4</cx:pt>
          <cx:pt idx="28182">5</cx:pt>
          <cx:pt idx="28183">4</cx:pt>
          <cx:pt idx="28184">2</cx:pt>
          <cx:pt idx="28185">2</cx:pt>
          <cx:pt idx="28186">2</cx:pt>
          <cx:pt idx="28187">1</cx:pt>
          <cx:pt idx="28188">5</cx:pt>
          <cx:pt idx="28189">5</cx:pt>
          <cx:pt idx="28190">4</cx:pt>
          <cx:pt idx="28191">4</cx:pt>
          <cx:pt idx="28192">5</cx:pt>
          <cx:pt idx="28193">5</cx:pt>
          <cx:pt idx="28194">1</cx:pt>
          <cx:pt idx="28195">1</cx:pt>
          <cx:pt idx="28196">1</cx:pt>
          <cx:pt idx="28197">3</cx:pt>
          <cx:pt idx="28198">4</cx:pt>
          <cx:pt idx="28199">5</cx:pt>
          <cx:pt idx="28200">4</cx:pt>
          <cx:pt idx="28201">1</cx:pt>
          <cx:pt idx="28202">4</cx:pt>
          <cx:pt idx="28203">4</cx:pt>
          <cx:pt idx="28204">4</cx:pt>
          <cx:pt idx="28205">2</cx:pt>
          <cx:pt idx="28206">3</cx:pt>
          <cx:pt idx="28207">5</cx:pt>
          <cx:pt idx="28208">3</cx:pt>
          <cx:pt idx="28209">5</cx:pt>
          <cx:pt idx="28210">5</cx:pt>
          <cx:pt idx="28211">3</cx:pt>
          <cx:pt idx="28212">4</cx:pt>
          <cx:pt idx="28213">2</cx:pt>
          <cx:pt idx="28214">4</cx:pt>
          <cx:pt idx="28215">3</cx:pt>
          <cx:pt idx="28216">5</cx:pt>
          <cx:pt idx="28217">5</cx:pt>
          <cx:pt idx="28218">4</cx:pt>
          <cx:pt idx="28219">3</cx:pt>
          <cx:pt idx="28220">5</cx:pt>
          <cx:pt idx="28221">2</cx:pt>
          <cx:pt idx="28222">3</cx:pt>
          <cx:pt idx="28223">5</cx:pt>
          <cx:pt idx="28224">1</cx:pt>
          <cx:pt idx="28225">3</cx:pt>
          <cx:pt idx="28226">3</cx:pt>
          <cx:pt idx="28227">1</cx:pt>
          <cx:pt idx="28228">4</cx:pt>
          <cx:pt idx="28229">2</cx:pt>
          <cx:pt idx="28230">2</cx:pt>
          <cx:pt idx="28231">4</cx:pt>
          <cx:pt idx="28232">4</cx:pt>
          <cx:pt idx="28233">4</cx:pt>
          <cx:pt idx="28234">5</cx:pt>
          <cx:pt idx="28235">5</cx:pt>
          <cx:pt idx="28236">5</cx:pt>
          <cx:pt idx="28237">2</cx:pt>
          <cx:pt idx="28238">5</cx:pt>
          <cx:pt idx="28239">5</cx:pt>
          <cx:pt idx="28240">5</cx:pt>
          <cx:pt idx="28241">5</cx:pt>
          <cx:pt idx="28242">3</cx:pt>
          <cx:pt idx="28243">2</cx:pt>
          <cx:pt idx="28244">4</cx:pt>
          <cx:pt idx="28245">5</cx:pt>
          <cx:pt idx="28246">4</cx:pt>
          <cx:pt idx="28247">2</cx:pt>
          <cx:pt idx="28248">1</cx:pt>
          <cx:pt idx="28249">5</cx:pt>
          <cx:pt idx="28250">5</cx:pt>
          <cx:pt idx="28251">5</cx:pt>
          <cx:pt idx="28252">5</cx:pt>
          <cx:pt idx="28253">5</cx:pt>
          <cx:pt idx="28254">5</cx:pt>
          <cx:pt idx="28255">4</cx:pt>
          <cx:pt idx="28256">5</cx:pt>
          <cx:pt idx="28257">4</cx:pt>
          <cx:pt idx="28258">1</cx:pt>
          <cx:pt idx="28259">4</cx:pt>
          <cx:pt idx="28260">4</cx:pt>
          <cx:pt idx="28261">5</cx:pt>
          <cx:pt idx="28262">3</cx:pt>
          <cx:pt idx="28263">4</cx:pt>
          <cx:pt idx="28264">5</cx:pt>
          <cx:pt idx="28265">3</cx:pt>
          <cx:pt idx="28266">4</cx:pt>
          <cx:pt idx="28267">1</cx:pt>
          <cx:pt idx="28268">3</cx:pt>
          <cx:pt idx="28269">1</cx:pt>
          <cx:pt idx="28270">4</cx:pt>
          <cx:pt idx="28271">4</cx:pt>
          <cx:pt idx="28272">2</cx:pt>
          <cx:pt idx="28273">5</cx:pt>
          <cx:pt idx="28274">3</cx:pt>
          <cx:pt idx="28275">1</cx:pt>
          <cx:pt idx="28276">1</cx:pt>
          <cx:pt idx="28277">2</cx:pt>
          <cx:pt idx="28278">5</cx:pt>
          <cx:pt idx="28279">3</cx:pt>
          <cx:pt idx="28280">5</cx:pt>
          <cx:pt idx="28281">5</cx:pt>
          <cx:pt idx="28282">3</cx:pt>
          <cx:pt idx="28283">2</cx:pt>
          <cx:pt idx="28284">1</cx:pt>
          <cx:pt idx="28285">4</cx:pt>
          <cx:pt idx="28286">4</cx:pt>
          <cx:pt idx="28287">5</cx:pt>
          <cx:pt idx="28288">5</cx:pt>
          <cx:pt idx="28289">2</cx:pt>
          <cx:pt idx="28290">2</cx:pt>
          <cx:pt idx="28291">4</cx:pt>
          <cx:pt idx="28292">4</cx:pt>
          <cx:pt idx="28293">3</cx:pt>
          <cx:pt idx="28294">5</cx:pt>
          <cx:pt idx="28295">3</cx:pt>
          <cx:pt idx="28296">4</cx:pt>
          <cx:pt idx="28297">4</cx:pt>
          <cx:pt idx="28298">5</cx:pt>
          <cx:pt idx="28299">5</cx:pt>
          <cx:pt idx="28300">4</cx:pt>
          <cx:pt idx="28301">1</cx:pt>
          <cx:pt idx="28302">2</cx:pt>
          <cx:pt idx="28303">3</cx:pt>
          <cx:pt idx="28304">2</cx:pt>
          <cx:pt idx="28305">5</cx:pt>
          <cx:pt idx="28306">4</cx:pt>
          <cx:pt idx="28307">3</cx:pt>
          <cx:pt idx="28308">5</cx:pt>
          <cx:pt idx="28309">1</cx:pt>
          <cx:pt idx="28310">5</cx:pt>
          <cx:pt idx="28311">2</cx:pt>
          <cx:pt idx="28312">4</cx:pt>
          <cx:pt idx="28313">1</cx:pt>
          <cx:pt idx="28314">3</cx:pt>
          <cx:pt idx="28315">3</cx:pt>
          <cx:pt idx="28316">4</cx:pt>
          <cx:pt idx="28317">4</cx:pt>
          <cx:pt idx="28318">3</cx:pt>
          <cx:pt idx="28319">4</cx:pt>
          <cx:pt idx="28320">4</cx:pt>
          <cx:pt idx="28321">5</cx:pt>
          <cx:pt idx="28322">4</cx:pt>
          <cx:pt idx="28323">4</cx:pt>
          <cx:pt idx="28324">4</cx:pt>
          <cx:pt idx="28325">3</cx:pt>
          <cx:pt idx="28326">3</cx:pt>
          <cx:pt idx="28327">5</cx:pt>
          <cx:pt idx="28328">4</cx:pt>
          <cx:pt idx="28329">4</cx:pt>
          <cx:pt idx="28330">5</cx:pt>
          <cx:pt idx="28331">1</cx:pt>
          <cx:pt idx="28332">1</cx:pt>
          <cx:pt idx="28333">2</cx:pt>
          <cx:pt idx="28334">4</cx:pt>
          <cx:pt idx="28335">5</cx:pt>
          <cx:pt idx="28336">5</cx:pt>
          <cx:pt idx="28337">3</cx:pt>
          <cx:pt idx="28338">5</cx:pt>
          <cx:pt idx="28339">4</cx:pt>
          <cx:pt idx="28340">2</cx:pt>
          <cx:pt idx="28341">2</cx:pt>
          <cx:pt idx="28342">4</cx:pt>
          <cx:pt idx="28343">4</cx:pt>
          <cx:pt idx="28344">2</cx:pt>
          <cx:pt idx="28345">4</cx:pt>
          <cx:pt idx="28346">4</cx:pt>
          <cx:pt idx="28347">5</cx:pt>
          <cx:pt idx="28348">3</cx:pt>
          <cx:pt idx="28349">5</cx:pt>
          <cx:pt idx="28350">3</cx:pt>
          <cx:pt idx="28351">5</cx:pt>
          <cx:pt idx="28352">3</cx:pt>
          <cx:pt idx="28353">5</cx:pt>
          <cx:pt idx="28354">2</cx:pt>
          <cx:pt idx="28355">3</cx:pt>
          <cx:pt idx="28356">4</cx:pt>
          <cx:pt idx="28357">3</cx:pt>
          <cx:pt idx="28358">5</cx:pt>
          <cx:pt idx="28359">3</cx:pt>
          <cx:pt idx="28360">3</cx:pt>
          <cx:pt idx="28361">2</cx:pt>
          <cx:pt idx="28362">4</cx:pt>
          <cx:pt idx="28363">1</cx:pt>
          <cx:pt idx="28364">3</cx:pt>
          <cx:pt idx="28365">3</cx:pt>
          <cx:pt idx="28366">4</cx:pt>
          <cx:pt idx="28367">4</cx:pt>
          <cx:pt idx="28368">3</cx:pt>
          <cx:pt idx="28369">2</cx:pt>
          <cx:pt idx="28370">5</cx:pt>
          <cx:pt idx="28371">1</cx:pt>
          <cx:pt idx="28372">4</cx:pt>
          <cx:pt idx="28373">4</cx:pt>
          <cx:pt idx="28374">4</cx:pt>
          <cx:pt idx="28375">2</cx:pt>
          <cx:pt idx="28376">4</cx:pt>
          <cx:pt idx="28377">2</cx:pt>
          <cx:pt idx="28378">4</cx:pt>
          <cx:pt idx="28379">2</cx:pt>
          <cx:pt idx="28380">5</cx:pt>
          <cx:pt idx="28381">5</cx:pt>
          <cx:pt idx="28382">4</cx:pt>
          <cx:pt idx="28383">5</cx:pt>
          <cx:pt idx="28384">4</cx:pt>
          <cx:pt idx="28385">4</cx:pt>
          <cx:pt idx="28386">4</cx:pt>
          <cx:pt idx="28387">3</cx:pt>
          <cx:pt idx="28388">4</cx:pt>
          <cx:pt idx="28389">4</cx:pt>
          <cx:pt idx="28390">3</cx:pt>
          <cx:pt idx="28391">2</cx:pt>
          <cx:pt idx="28392">2</cx:pt>
          <cx:pt idx="28393">4</cx:pt>
          <cx:pt idx="28394">4</cx:pt>
          <cx:pt idx="28395">4</cx:pt>
          <cx:pt idx="28396">5</cx:pt>
          <cx:pt idx="28397">2</cx:pt>
          <cx:pt idx="28398">5</cx:pt>
          <cx:pt idx="28399">4</cx:pt>
          <cx:pt idx="28400">5</cx:pt>
          <cx:pt idx="28401">4</cx:pt>
          <cx:pt idx="28402">4</cx:pt>
          <cx:pt idx="28403">4</cx:pt>
          <cx:pt idx="28404">5</cx:pt>
          <cx:pt idx="28405">3</cx:pt>
          <cx:pt idx="28406">3</cx:pt>
          <cx:pt idx="28407">5</cx:pt>
          <cx:pt idx="28408">3</cx:pt>
          <cx:pt idx="28409">3</cx:pt>
          <cx:pt idx="28410">2</cx:pt>
          <cx:pt idx="28411">4</cx:pt>
          <cx:pt idx="28412">5</cx:pt>
          <cx:pt idx="28413">2</cx:pt>
          <cx:pt idx="28414">3</cx:pt>
          <cx:pt idx="28415">4</cx:pt>
          <cx:pt idx="28416">5</cx:pt>
          <cx:pt idx="28417">4</cx:pt>
          <cx:pt idx="28418">2</cx:pt>
          <cx:pt idx="28419">2</cx:pt>
          <cx:pt idx="28420">4</cx:pt>
          <cx:pt idx="28421">5</cx:pt>
          <cx:pt idx="28422">5</cx:pt>
          <cx:pt idx="28423">5</cx:pt>
          <cx:pt idx="28424">4</cx:pt>
          <cx:pt idx="28425">5</cx:pt>
          <cx:pt idx="28426">3</cx:pt>
          <cx:pt idx="28427">5</cx:pt>
          <cx:pt idx="28428">2</cx:pt>
          <cx:pt idx="28429">2</cx:pt>
          <cx:pt idx="28430">1</cx:pt>
          <cx:pt idx="28431">5</cx:pt>
          <cx:pt idx="28432">2</cx:pt>
          <cx:pt idx="28433">5</cx:pt>
          <cx:pt idx="28434">4</cx:pt>
          <cx:pt idx="28435">4</cx:pt>
          <cx:pt idx="28436">4</cx:pt>
          <cx:pt idx="28437">4</cx:pt>
          <cx:pt idx="28438">4</cx:pt>
          <cx:pt idx="28439">5</cx:pt>
          <cx:pt idx="28440">1</cx:pt>
          <cx:pt idx="28441">4</cx:pt>
          <cx:pt idx="28442">5</cx:pt>
          <cx:pt idx="28443">3</cx:pt>
          <cx:pt idx="28444">4</cx:pt>
          <cx:pt idx="28445">4</cx:pt>
          <cx:pt idx="28446">5</cx:pt>
          <cx:pt idx="28447">5</cx:pt>
          <cx:pt idx="28448">5</cx:pt>
          <cx:pt idx="28449">2</cx:pt>
          <cx:pt idx="28450">3</cx:pt>
          <cx:pt idx="28451">4</cx:pt>
          <cx:pt idx="28452">3</cx:pt>
          <cx:pt idx="28453">5</cx:pt>
          <cx:pt idx="28454">5</cx:pt>
          <cx:pt idx="28455">4</cx:pt>
          <cx:pt idx="28456">5</cx:pt>
          <cx:pt idx="28457">5</cx:pt>
          <cx:pt idx="28458">1</cx:pt>
          <cx:pt idx="28459">4</cx:pt>
          <cx:pt idx="28460">5</cx:pt>
          <cx:pt idx="28461">3</cx:pt>
          <cx:pt idx="28462">4</cx:pt>
          <cx:pt idx="28463">5</cx:pt>
          <cx:pt idx="28464">4</cx:pt>
          <cx:pt idx="28465">4</cx:pt>
          <cx:pt idx="28466">3</cx:pt>
          <cx:pt idx="28467">4</cx:pt>
          <cx:pt idx="28468">4</cx:pt>
          <cx:pt idx="28469">2</cx:pt>
          <cx:pt idx="28470">1</cx:pt>
          <cx:pt idx="28471">5</cx:pt>
          <cx:pt idx="28472">4</cx:pt>
          <cx:pt idx="28473">3</cx:pt>
          <cx:pt idx="28474">3</cx:pt>
          <cx:pt idx="28475">5</cx:pt>
          <cx:pt idx="28476">5</cx:pt>
          <cx:pt idx="28477">5</cx:pt>
          <cx:pt idx="28478">2</cx:pt>
          <cx:pt idx="28479">4</cx:pt>
          <cx:pt idx="28480">5</cx:pt>
          <cx:pt idx="28481">4</cx:pt>
          <cx:pt idx="28482">2</cx:pt>
          <cx:pt idx="28483">2</cx:pt>
          <cx:pt idx="28484">3</cx:pt>
          <cx:pt idx="28485">2</cx:pt>
          <cx:pt idx="28486">4</cx:pt>
          <cx:pt idx="28487">5</cx:pt>
          <cx:pt idx="28488">5</cx:pt>
          <cx:pt idx="28489">3</cx:pt>
          <cx:pt idx="28490">1</cx:pt>
          <cx:pt idx="28491">5</cx:pt>
          <cx:pt idx="28492">1</cx:pt>
          <cx:pt idx="28493">2</cx:pt>
          <cx:pt idx="28494">4</cx:pt>
          <cx:pt idx="28495">5</cx:pt>
          <cx:pt idx="28496">3</cx:pt>
          <cx:pt idx="28497">4</cx:pt>
          <cx:pt idx="28498">2</cx:pt>
          <cx:pt idx="28499">4</cx:pt>
          <cx:pt idx="28500">3</cx:pt>
          <cx:pt idx="28501">1</cx:pt>
          <cx:pt idx="28502">2</cx:pt>
          <cx:pt idx="28503">4</cx:pt>
          <cx:pt idx="28504">4</cx:pt>
          <cx:pt idx="28505">4</cx:pt>
          <cx:pt idx="28506">4</cx:pt>
          <cx:pt idx="28507">1</cx:pt>
          <cx:pt idx="28508">3</cx:pt>
          <cx:pt idx="28509">2</cx:pt>
          <cx:pt idx="28510">1</cx:pt>
          <cx:pt idx="28511">2</cx:pt>
          <cx:pt idx="28512">4</cx:pt>
          <cx:pt idx="28513">2</cx:pt>
          <cx:pt idx="28514">5</cx:pt>
          <cx:pt idx="28515">4</cx:pt>
          <cx:pt idx="28516">1</cx:pt>
          <cx:pt idx="28517">5</cx:pt>
          <cx:pt idx="28518">5</cx:pt>
          <cx:pt idx="28519">2</cx:pt>
          <cx:pt idx="28520">1</cx:pt>
          <cx:pt idx="28521">5</cx:pt>
          <cx:pt idx="28522">4</cx:pt>
          <cx:pt idx="28523">2</cx:pt>
          <cx:pt idx="28524">3</cx:pt>
          <cx:pt idx="28525">5</cx:pt>
          <cx:pt idx="28526">5</cx:pt>
          <cx:pt idx="28527">4</cx:pt>
          <cx:pt idx="28528">4</cx:pt>
          <cx:pt idx="28529">3</cx:pt>
          <cx:pt idx="28530">5</cx:pt>
          <cx:pt idx="28531">5</cx:pt>
          <cx:pt idx="28532">3</cx:pt>
          <cx:pt idx="28533">1</cx:pt>
          <cx:pt idx="28534">1</cx:pt>
          <cx:pt idx="28535">4</cx:pt>
          <cx:pt idx="28536">4</cx:pt>
          <cx:pt idx="28537">5</cx:pt>
          <cx:pt idx="28538">4</cx:pt>
          <cx:pt idx="28539">3</cx:pt>
          <cx:pt idx="28540">2</cx:pt>
          <cx:pt idx="28541">4</cx:pt>
          <cx:pt idx="28542">1</cx:pt>
          <cx:pt idx="28543">5</cx:pt>
          <cx:pt idx="28544">1</cx:pt>
          <cx:pt idx="28545">4</cx:pt>
          <cx:pt idx="28546">1</cx:pt>
          <cx:pt idx="28547">2</cx:pt>
          <cx:pt idx="28548">4</cx:pt>
          <cx:pt idx="28549">4</cx:pt>
          <cx:pt idx="28550">1</cx:pt>
          <cx:pt idx="28551">1</cx:pt>
          <cx:pt idx="28552">4</cx:pt>
          <cx:pt idx="28553">4</cx:pt>
          <cx:pt idx="28554">4</cx:pt>
          <cx:pt idx="28555">3</cx:pt>
          <cx:pt idx="28556">2</cx:pt>
          <cx:pt idx="28557">3</cx:pt>
          <cx:pt idx="28558">2</cx:pt>
          <cx:pt idx="28559">5</cx:pt>
          <cx:pt idx="28560">5</cx:pt>
          <cx:pt idx="28561">3</cx:pt>
          <cx:pt idx="28562">4</cx:pt>
          <cx:pt idx="28563">1</cx:pt>
          <cx:pt idx="28564">2</cx:pt>
          <cx:pt idx="28565">3</cx:pt>
          <cx:pt idx="28566">3</cx:pt>
          <cx:pt idx="28567">1</cx:pt>
          <cx:pt idx="28568">5</cx:pt>
          <cx:pt idx="28569">3</cx:pt>
          <cx:pt idx="28570">1</cx:pt>
          <cx:pt idx="28571">3</cx:pt>
          <cx:pt idx="28572">5</cx:pt>
          <cx:pt idx="28573">5</cx:pt>
          <cx:pt idx="28574">4</cx:pt>
          <cx:pt idx="28575">3</cx:pt>
          <cx:pt idx="28576">2</cx:pt>
          <cx:pt idx="28577">5</cx:pt>
          <cx:pt idx="28578">5</cx:pt>
          <cx:pt idx="28579">4</cx:pt>
          <cx:pt idx="28580">2</cx:pt>
          <cx:pt idx="28581">5</cx:pt>
          <cx:pt idx="28582">2</cx:pt>
          <cx:pt idx="28583">5</cx:pt>
          <cx:pt idx="28584">4</cx:pt>
          <cx:pt idx="28585">4</cx:pt>
          <cx:pt idx="28586">4</cx:pt>
          <cx:pt idx="28587">4</cx:pt>
          <cx:pt idx="28588">1</cx:pt>
          <cx:pt idx="28589">5</cx:pt>
          <cx:pt idx="28590">3</cx:pt>
          <cx:pt idx="28591">3</cx:pt>
          <cx:pt idx="28592">3</cx:pt>
          <cx:pt idx="28593">1</cx:pt>
          <cx:pt idx="28594">2</cx:pt>
          <cx:pt idx="28595">1</cx:pt>
          <cx:pt idx="28596">3</cx:pt>
          <cx:pt idx="28597">1</cx:pt>
          <cx:pt idx="28598">1</cx:pt>
          <cx:pt idx="28599">4</cx:pt>
          <cx:pt idx="28600">1</cx:pt>
          <cx:pt idx="28601">3</cx:pt>
          <cx:pt idx="28602">5</cx:pt>
          <cx:pt idx="28603">4</cx:pt>
          <cx:pt idx="28604">2</cx:pt>
          <cx:pt idx="28605">3</cx:pt>
          <cx:pt idx="28606">5</cx:pt>
          <cx:pt idx="28607">4</cx:pt>
          <cx:pt idx="28608">2</cx:pt>
          <cx:pt idx="28609">3</cx:pt>
          <cx:pt idx="28610">4</cx:pt>
          <cx:pt idx="28611">4</cx:pt>
          <cx:pt idx="28612">2</cx:pt>
          <cx:pt idx="28613">2</cx:pt>
          <cx:pt idx="28614">4</cx:pt>
          <cx:pt idx="28615">5</cx:pt>
          <cx:pt idx="28616">3</cx:pt>
          <cx:pt idx="28617">2</cx:pt>
          <cx:pt idx="28618">4</cx:pt>
          <cx:pt idx="28619">5</cx:pt>
          <cx:pt idx="28620">4</cx:pt>
          <cx:pt idx="28621">4</cx:pt>
          <cx:pt idx="28622">5</cx:pt>
          <cx:pt idx="28623">2</cx:pt>
          <cx:pt idx="28624">4</cx:pt>
          <cx:pt idx="28625">5</cx:pt>
          <cx:pt idx="28626">3</cx:pt>
          <cx:pt idx="28627">5</cx:pt>
          <cx:pt idx="28628">3</cx:pt>
          <cx:pt idx="28629">4</cx:pt>
          <cx:pt idx="28630">3</cx:pt>
          <cx:pt idx="28631">4</cx:pt>
          <cx:pt idx="28632">1</cx:pt>
          <cx:pt idx="28633">5</cx:pt>
          <cx:pt idx="28634">5</cx:pt>
          <cx:pt idx="28635">5</cx:pt>
          <cx:pt idx="28636">4</cx:pt>
          <cx:pt idx="28637">2</cx:pt>
          <cx:pt idx="28638">1</cx:pt>
          <cx:pt idx="28639">3</cx:pt>
          <cx:pt idx="28640">3</cx:pt>
          <cx:pt idx="28641">2</cx:pt>
          <cx:pt idx="28642">1</cx:pt>
          <cx:pt idx="28643">4</cx:pt>
          <cx:pt idx="28644">3</cx:pt>
          <cx:pt idx="28645">4</cx:pt>
          <cx:pt idx="28646">4</cx:pt>
          <cx:pt idx="28647">3</cx:pt>
          <cx:pt idx="28648">2</cx:pt>
          <cx:pt idx="28649">2</cx:pt>
          <cx:pt idx="28650">2</cx:pt>
          <cx:pt idx="28651">4</cx:pt>
          <cx:pt idx="28652">2</cx:pt>
          <cx:pt idx="28653">3</cx:pt>
          <cx:pt idx="28654">5</cx:pt>
          <cx:pt idx="28655">1</cx:pt>
          <cx:pt idx="28656">1</cx:pt>
          <cx:pt idx="28657">1</cx:pt>
          <cx:pt idx="28658">5</cx:pt>
          <cx:pt idx="28659">3</cx:pt>
          <cx:pt idx="28660">5</cx:pt>
          <cx:pt idx="28661">2</cx:pt>
          <cx:pt idx="28662">4</cx:pt>
          <cx:pt idx="28663">4</cx:pt>
          <cx:pt idx="28664">4</cx:pt>
          <cx:pt idx="28665">2</cx:pt>
          <cx:pt idx="28666">2</cx:pt>
          <cx:pt idx="28667">2</cx:pt>
          <cx:pt idx="28668">4</cx:pt>
          <cx:pt idx="28669">3</cx:pt>
          <cx:pt idx="28670">2</cx:pt>
          <cx:pt idx="28671">5</cx:pt>
          <cx:pt idx="28672">5</cx:pt>
          <cx:pt idx="28673">5</cx:pt>
          <cx:pt idx="28674">5</cx:pt>
          <cx:pt idx="28675">3</cx:pt>
          <cx:pt idx="28676">3</cx:pt>
          <cx:pt idx="28677">5</cx:pt>
          <cx:pt idx="28678">2</cx:pt>
          <cx:pt idx="28679">4</cx:pt>
          <cx:pt idx="28680">4</cx:pt>
          <cx:pt idx="28681">3</cx:pt>
          <cx:pt idx="28682">2</cx:pt>
          <cx:pt idx="28683">4</cx:pt>
          <cx:pt idx="28684">5</cx:pt>
          <cx:pt idx="28685">5</cx:pt>
          <cx:pt idx="28686">4</cx:pt>
          <cx:pt idx="28687">4</cx:pt>
          <cx:pt idx="28688">2</cx:pt>
          <cx:pt idx="28689">2</cx:pt>
          <cx:pt idx="28690">5</cx:pt>
          <cx:pt idx="28691">5</cx:pt>
          <cx:pt idx="28692">5</cx:pt>
          <cx:pt idx="28693">1</cx:pt>
          <cx:pt idx="28694">4</cx:pt>
          <cx:pt idx="28695">4</cx:pt>
          <cx:pt idx="28696">5</cx:pt>
          <cx:pt idx="28697">5</cx:pt>
          <cx:pt idx="28698">4</cx:pt>
          <cx:pt idx="28699">4</cx:pt>
          <cx:pt idx="28700">2</cx:pt>
          <cx:pt idx="28701">4</cx:pt>
          <cx:pt idx="28702">5</cx:pt>
          <cx:pt idx="28703">5</cx:pt>
          <cx:pt idx="28704">3</cx:pt>
          <cx:pt idx="28705">3</cx:pt>
          <cx:pt idx="28706">4</cx:pt>
          <cx:pt idx="28707">5</cx:pt>
          <cx:pt idx="28708">2</cx:pt>
          <cx:pt idx="28709">4</cx:pt>
          <cx:pt idx="28710">5</cx:pt>
          <cx:pt idx="28711">5</cx:pt>
          <cx:pt idx="28712">5</cx:pt>
          <cx:pt idx="28713">5</cx:pt>
          <cx:pt idx="28714">3</cx:pt>
          <cx:pt idx="28715">5</cx:pt>
          <cx:pt idx="28716">4</cx:pt>
          <cx:pt idx="28717">5</cx:pt>
          <cx:pt idx="28718">2</cx:pt>
          <cx:pt idx="28719">4</cx:pt>
          <cx:pt idx="28720">4</cx:pt>
          <cx:pt idx="28721">4</cx:pt>
          <cx:pt idx="28722">2</cx:pt>
          <cx:pt idx="28723">4</cx:pt>
          <cx:pt idx="28724">4</cx:pt>
          <cx:pt idx="28725">4</cx:pt>
          <cx:pt idx="28726">3</cx:pt>
          <cx:pt idx="28727">1</cx:pt>
          <cx:pt idx="28728">4</cx:pt>
          <cx:pt idx="28729">3</cx:pt>
          <cx:pt idx="28730">4</cx:pt>
          <cx:pt idx="28731">3</cx:pt>
          <cx:pt idx="28732">4</cx:pt>
          <cx:pt idx="28733">5</cx:pt>
          <cx:pt idx="28734">2</cx:pt>
          <cx:pt idx="28735">2</cx:pt>
          <cx:pt idx="28736">4</cx:pt>
          <cx:pt idx="28737">3</cx:pt>
          <cx:pt idx="28738">3</cx:pt>
          <cx:pt idx="28739">1</cx:pt>
          <cx:pt idx="28740">1</cx:pt>
          <cx:pt idx="28741">5</cx:pt>
          <cx:pt idx="28742">5</cx:pt>
          <cx:pt idx="28743">5</cx:pt>
          <cx:pt idx="28744">4</cx:pt>
          <cx:pt idx="28745">1</cx:pt>
          <cx:pt idx="28746">5</cx:pt>
          <cx:pt idx="28747">4</cx:pt>
          <cx:pt idx="28748">4</cx:pt>
          <cx:pt idx="28749">4</cx:pt>
          <cx:pt idx="28750">1</cx:pt>
          <cx:pt idx="28751">4</cx:pt>
          <cx:pt idx="28752">2</cx:pt>
          <cx:pt idx="28753">5</cx:pt>
          <cx:pt idx="28754">3</cx:pt>
          <cx:pt idx="28755">2</cx:pt>
          <cx:pt idx="28756">4</cx:pt>
          <cx:pt idx="28757">1</cx:pt>
          <cx:pt idx="28758">5</cx:pt>
          <cx:pt idx="28759">3</cx:pt>
          <cx:pt idx="28760">4</cx:pt>
          <cx:pt idx="28761">5</cx:pt>
          <cx:pt idx="28762">2</cx:pt>
          <cx:pt idx="28763">4</cx:pt>
          <cx:pt idx="28764">5</cx:pt>
          <cx:pt idx="28765">4</cx:pt>
          <cx:pt idx="28766">5</cx:pt>
          <cx:pt idx="28767">5</cx:pt>
          <cx:pt idx="28768">3</cx:pt>
          <cx:pt idx="28769">3</cx:pt>
          <cx:pt idx="28770">3</cx:pt>
          <cx:pt idx="28771">5</cx:pt>
          <cx:pt idx="28772">3</cx:pt>
          <cx:pt idx="28773">5</cx:pt>
          <cx:pt idx="28774">2</cx:pt>
          <cx:pt idx="28775">4</cx:pt>
          <cx:pt idx="28776">4</cx:pt>
          <cx:pt idx="28777">4</cx:pt>
          <cx:pt idx="28778">3</cx:pt>
          <cx:pt idx="28779">2</cx:pt>
          <cx:pt idx="28780">5</cx:pt>
          <cx:pt idx="28781">1</cx:pt>
          <cx:pt idx="28782">1</cx:pt>
          <cx:pt idx="28783">3</cx:pt>
          <cx:pt idx="28784">5</cx:pt>
          <cx:pt idx="28785">5</cx:pt>
          <cx:pt idx="28786">4</cx:pt>
          <cx:pt idx="28787">5</cx:pt>
          <cx:pt idx="28788">4</cx:pt>
          <cx:pt idx="28789">4</cx:pt>
          <cx:pt idx="28790">4</cx:pt>
          <cx:pt idx="28791">1</cx:pt>
          <cx:pt idx="28792">5</cx:pt>
          <cx:pt idx="28793">1</cx:pt>
          <cx:pt idx="28794">5</cx:pt>
          <cx:pt idx="28795">2</cx:pt>
          <cx:pt idx="28796">2</cx:pt>
          <cx:pt idx="28797">5</cx:pt>
          <cx:pt idx="28798">5</cx:pt>
          <cx:pt idx="28799">3</cx:pt>
          <cx:pt idx="28800">4</cx:pt>
          <cx:pt idx="28801">1</cx:pt>
          <cx:pt idx="28802">2</cx:pt>
          <cx:pt idx="28803">1</cx:pt>
          <cx:pt idx="28804">3</cx:pt>
          <cx:pt idx="28805">4</cx:pt>
          <cx:pt idx="28806">1</cx:pt>
          <cx:pt idx="28807">4</cx:pt>
          <cx:pt idx="28808">5</cx:pt>
          <cx:pt idx="28809">5</cx:pt>
          <cx:pt idx="28810">5</cx:pt>
          <cx:pt idx="28811">5</cx:pt>
          <cx:pt idx="28812">2</cx:pt>
          <cx:pt idx="28813">2</cx:pt>
          <cx:pt idx="28814">4</cx:pt>
          <cx:pt idx="28815">5</cx:pt>
          <cx:pt idx="28816">4</cx:pt>
          <cx:pt idx="28817">2</cx:pt>
          <cx:pt idx="28818">4</cx:pt>
          <cx:pt idx="28819">5</cx:pt>
          <cx:pt idx="28820">5</cx:pt>
          <cx:pt idx="28821">2</cx:pt>
          <cx:pt idx="28822">4</cx:pt>
          <cx:pt idx="28823">3</cx:pt>
          <cx:pt idx="28824">2</cx:pt>
          <cx:pt idx="28825">1</cx:pt>
          <cx:pt idx="28826">4</cx:pt>
          <cx:pt idx="28827">1</cx:pt>
          <cx:pt idx="28828">3</cx:pt>
          <cx:pt idx="28829">3</cx:pt>
          <cx:pt idx="28830">5</cx:pt>
          <cx:pt idx="28831">4</cx:pt>
          <cx:pt idx="28832">3</cx:pt>
          <cx:pt idx="28833">1</cx:pt>
          <cx:pt idx="28834">3</cx:pt>
          <cx:pt idx="28835">3</cx:pt>
          <cx:pt idx="28836">1</cx:pt>
          <cx:pt idx="28837">3</cx:pt>
          <cx:pt idx="28838">4</cx:pt>
          <cx:pt idx="28839">5</cx:pt>
          <cx:pt idx="28840">5</cx:pt>
          <cx:pt idx="28841">4</cx:pt>
          <cx:pt idx="28842">5</cx:pt>
          <cx:pt idx="28843">5</cx:pt>
          <cx:pt idx="28844">3</cx:pt>
          <cx:pt idx="28845">5</cx:pt>
          <cx:pt idx="28846">5</cx:pt>
          <cx:pt idx="28847">5</cx:pt>
          <cx:pt idx="28848">4</cx:pt>
          <cx:pt idx="28849">3</cx:pt>
          <cx:pt idx="28850">3</cx:pt>
          <cx:pt idx="28851">5</cx:pt>
          <cx:pt idx="28852">3</cx:pt>
          <cx:pt idx="28853">4</cx:pt>
          <cx:pt idx="28854">5</cx:pt>
          <cx:pt idx="28855">5</cx:pt>
          <cx:pt idx="28856">5</cx:pt>
          <cx:pt idx="28857">5</cx:pt>
          <cx:pt idx="28858">5</cx:pt>
          <cx:pt idx="28859">3</cx:pt>
          <cx:pt idx="28860">5</cx:pt>
          <cx:pt idx="28861">3</cx:pt>
          <cx:pt idx="28862">4</cx:pt>
          <cx:pt idx="28863">4</cx:pt>
          <cx:pt idx="28864">3</cx:pt>
          <cx:pt idx="28865">3</cx:pt>
          <cx:pt idx="28866">1</cx:pt>
          <cx:pt idx="28867">3</cx:pt>
          <cx:pt idx="28868">5</cx:pt>
          <cx:pt idx="28869">4</cx:pt>
          <cx:pt idx="28870">2</cx:pt>
          <cx:pt idx="28871">4</cx:pt>
          <cx:pt idx="28872">4</cx:pt>
          <cx:pt idx="28873">5</cx:pt>
          <cx:pt idx="28874">2</cx:pt>
          <cx:pt idx="28875">2</cx:pt>
          <cx:pt idx="28876">2</cx:pt>
          <cx:pt idx="28877">3</cx:pt>
          <cx:pt idx="28878">3</cx:pt>
          <cx:pt idx="28879">3</cx:pt>
          <cx:pt idx="28880">5</cx:pt>
          <cx:pt idx="28881">4</cx:pt>
          <cx:pt idx="28882">4</cx:pt>
          <cx:pt idx="28883">3</cx:pt>
          <cx:pt idx="28884">4</cx:pt>
          <cx:pt idx="28885">4</cx:pt>
          <cx:pt idx="28886">2</cx:pt>
          <cx:pt idx="28887">4</cx:pt>
          <cx:pt idx="28888">5</cx:pt>
          <cx:pt idx="28889">5</cx:pt>
          <cx:pt idx="28890">3</cx:pt>
          <cx:pt idx="28891">3</cx:pt>
          <cx:pt idx="28892">3</cx:pt>
          <cx:pt idx="28893">3</cx:pt>
          <cx:pt idx="28894">4</cx:pt>
          <cx:pt idx="28895">5</cx:pt>
          <cx:pt idx="28896">1</cx:pt>
          <cx:pt idx="28897">4</cx:pt>
          <cx:pt idx="28898">4</cx:pt>
          <cx:pt idx="28899">4</cx:pt>
          <cx:pt idx="28900">1</cx:pt>
          <cx:pt idx="28901">2</cx:pt>
          <cx:pt idx="28902">1</cx:pt>
          <cx:pt idx="28903">3</cx:pt>
          <cx:pt idx="28904">1</cx:pt>
          <cx:pt idx="28905">3</cx:pt>
          <cx:pt idx="28906">4</cx:pt>
          <cx:pt idx="28907">2</cx:pt>
          <cx:pt idx="28908">2</cx:pt>
          <cx:pt idx="28909">4</cx:pt>
          <cx:pt idx="28910">3</cx:pt>
          <cx:pt idx="28911">4</cx:pt>
          <cx:pt idx="28912">4</cx:pt>
          <cx:pt idx="28913">4</cx:pt>
          <cx:pt idx="28914">5</cx:pt>
          <cx:pt idx="28915">5</cx:pt>
          <cx:pt idx="28916">5</cx:pt>
          <cx:pt idx="28917">4</cx:pt>
          <cx:pt idx="28918">2</cx:pt>
          <cx:pt idx="28919">1</cx:pt>
          <cx:pt idx="28920">5</cx:pt>
          <cx:pt idx="28921">4</cx:pt>
          <cx:pt idx="28922">5</cx:pt>
          <cx:pt idx="28923">2</cx:pt>
          <cx:pt idx="28924">3</cx:pt>
          <cx:pt idx="28925">5</cx:pt>
          <cx:pt idx="28926">4</cx:pt>
          <cx:pt idx="28927">4</cx:pt>
          <cx:pt idx="28928">2</cx:pt>
          <cx:pt idx="28929">2</cx:pt>
          <cx:pt idx="28930">4</cx:pt>
          <cx:pt idx="28931">3</cx:pt>
          <cx:pt idx="28932">4</cx:pt>
          <cx:pt idx="28933">4</cx:pt>
          <cx:pt idx="28934">4</cx:pt>
          <cx:pt idx="28935">5</cx:pt>
          <cx:pt idx="28936">5</cx:pt>
          <cx:pt idx="28937">3</cx:pt>
          <cx:pt idx="28938">5</cx:pt>
          <cx:pt idx="28939">4</cx:pt>
          <cx:pt idx="28940">4</cx:pt>
          <cx:pt idx="28941">5</cx:pt>
          <cx:pt idx="28942">3</cx:pt>
          <cx:pt idx="28943">3</cx:pt>
          <cx:pt idx="28944">3</cx:pt>
          <cx:pt idx="28945">1</cx:pt>
          <cx:pt idx="28946">2</cx:pt>
          <cx:pt idx="28947">4</cx:pt>
          <cx:pt idx="28948">4</cx:pt>
          <cx:pt idx="28949">4</cx:pt>
          <cx:pt idx="28950">3</cx:pt>
          <cx:pt idx="28951">4</cx:pt>
          <cx:pt idx="28952">2</cx:pt>
          <cx:pt idx="28953">2</cx:pt>
          <cx:pt idx="28954">4</cx:pt>
          <cx:pt idx="28955">5</cx:pt>
          <cx:pt idx="28956">3</cx:pt>
          <cx:pt idx="28957">3</cx:pt>
          <cx:pt idx="28958">4</cx:pt>
          <cx:pt idx="28959">1</cx:pt>
          <cx:pt idx="28960">4</cx:pt>
          <cx:pt idx="28961">2</cx:pt>
          <cx:pt idx="28962">3</cx:pt>
          <cx:pt idx="28963">1</cx:pt>
          <cx:pt idx="28964">4</cx:pt>
          <cx:pt idx="28965">3</cx:pt>
          <cx:pt idx="28966">3</cx:pt>
          <cx:pt idx="28967">4</cx:pt>
          <cx:pt idx="28968">4</cx:pt>
          <cx:pt idx="28969">2</cx:pt>
          <cx:pt idx="28970">2</cx:pt>
          <cx:pt idx="28971">5</cx:pt>
          <cx:pt idx="28972">4</cx:pt>
          <cx:pt idx="28973">5</cx:pt>
          <cx:pt idx="28974">3</cx:pt>
          <cx:pt idx="28975">4</cx:pt>
          <cx:pt idx="28976">4</cx:pt>
          <cx:pt idx="28977">5</cx:pt>
          <cx:pt idx="28978">1</cx:pt>
          <cx:pt idx="28979">4</cx:pt>
          <cx:pt idx="28980">2</cx:pt>
          <cx:pt idx="28981">5</cx:pt>
          <cx:pt idx="28982">2</cx:pt>
          <cx:pt idx="28983">4</cx:pt>
          <cx:pt idx="28984">4</cx:pt>
          <cx:pt idx="28985">3</cx:pt>
          <cx:pt idx="28986">2</cx:pt>
          <cx:pt idx="28987">1</cx:pt>
          <cx:pt idx="28988">5</cx:pt>
          <cx:pt idx="28989">4</cx:pt>
          <cx:pt idx="28990">4</cx:pt>
          <cx:pt idx="28991">4</cx:pt>
          <cx:pt idx="28992">2</cx:pt>
          <cx:pt idx="28993">4</cx:pt>
          <cx:pt idx="28994">4</cx:pt>
          <cx:pt idx="28995">4</cx:pt>
          <cx:pt idx="28996">1</cx:pt>
          <cx:pt idx="28997">4</cx:pt>
          <cx:pt idx="28998">5</cx:pt>
          <cx:pt idx="28999">2</cx:pt>
          <cx:pt idx="29000">4</cx:pt>
          <cx:pt idx="29001">3</cx:pt>
          <cx:pt idx="29002">4</cx:pt>
          <cx:pt idx="29003">4</cx:pt>
          <cx:pt idx="29004">5</cx:pt>
          <cx:pt idx="29005">3</cx:pt>
          <cx:pt idx="29006">2</cx:pt>
          <cx:pt idx="29007">5</cx:pt>
          <cx:pt idx="29008">5</cx:pt>
          <cx:pt idx="29009">5</cx:pt>
          <cx:pt idx="29010">1</cx:pt>
          <cx:pt idx="29011">3</cx:pt>
          <cx:pt idx="29012">3</cx:pt>
          <cx:pt idx="29013">1</cx:pt>
          <cx:pt idx="29014">4</cx:pt>
          <cx:pt idx="29015">4</cx:pt>
          <cx:pt idx="29016">2</cx:pt>
          <cx:pt idx="29017">4</cx:pt>
          <cx:pt idx="29018">5</cx:pt>
          <cx:pt idx="29019">1</cx:pt>
          <cx:pt idx="29020">5</cx:pt>
          <cx:pt idx="29021">3</cx:pt>
          <cx:pt idx="29022">5</cx:pt>
          <cx:pt idx="29023">2</cx:pt>
          <cx:pt idx="29024">2</cx:pt>
          <cx:pt idx="29025">5</cx:pt>
          <cx:pt idx="29026">4</cx:pt>
          <cx:pt idx="29027">2</cx:pt>
          <cx:pt idx="29028">3</cx:pt>
          <cx:pt idx="29029">5</cx:pt>
          <cx:pt idx="29030">3</cx:pt>
          <cx:pt idx="29031">3</cx:pt>
          <cx:pt idx="29032">3</cx:pt>
          <cx:pt idx="29033">3</cx:pt>
          <cx:pt idx="29034">5</cx:pt>
          <cx:pt idx="29035">4</cx:pt>
          <cx:pt idx="29036">3</cx:pt>
          <cx:pt idx="29037">5</cx:pt>
          <cx:pt idx="29038">5</cx:pt>
          <cx:pt idx="29039">4</cx:pt>
          <cx:pt idx="29040">2</cx:pt>
          <cx:pt idx="29041">5</cx:pt>
          <cx:pt idx="29042">4</cx:pt>
          <cx:pt idx="29043">5</cx:pt>
          <cx:pt idx="29044">1</cx:pt>
          <cx:pt idx="29045">3</cx:pt>
          <cx:pt idx="29046">4</cx:pt>
          <cx:pt idx="29047">4</cx:pt>
          <cx:pt idx="29048">5</cx:pt>
          <cx:pt idx="29049">5</cx:pt>
          <cx:pt idx="29050">5</cx:pt>
          <cx:pt idx="29051">4</cx:pt>
          <cx:pt idx="29052">3</cx:pt>
          <cx:pt idx="29053">3</cx:pt>
          <cx:pt idx="29054">5</cx:pt>
          <cx:pt idx="29055">5</cx:pt>
          <cx:pt idx="29056">5</cx:pt>
          <cx:pt idx="29057">5</cx:pt>
          <cx:pt idx="29058">3</cx:pt>
          <cx:pt idx="29059">3</cx:pt>
          <cx:pt idx="29060">2</cx:pt>
          <cx:pt idx="29061">5</cx:pt>
          <cx:pt idx="29062">4</cx:pt>
          <cx:pt idx="29063">5</cx:pt>
          <cx:pt idx="29064">3</cx:pt>
          <cx:pt idx="29065">4</cx:pt>
          <cx:pt idx="29066">1</cx:pt>
          <cx:pt idx="29067">2</cx:pt>
          <cx:pt idx="29068">3</cx:pt>
          <cx:pt idx="29069">5</cx:pt>
          <cx:pt idx="29070">4</cx:pt>
          <cx:pt idx="29071">5</cx:pt>
          <cx:pt idx="29072">5</cx:pt>
          <cx:pt idx="29073">2</cx:pt>
          <cx:pt idx="29074">3</cx:pt>
          <cx:pt idx="29075">4</cx:pt>
          <cx:pt idx="29076">1</cx:pt>
          <cx:pt idx="29077">5</cx:pt>
          <cx:pt idx="29078">2</cx:pt>
          <cx:pt idx="29079">5</cx:pt>
          <cx:pt idx="29080">5</cx:pt>
          <cx:pt idx="29081">1</cx:pt>
          <cx:pt idx="29082">4</cx:pt>
          <cx:pt idx="29083">5</cx:pt>
          <cx:pt idx="29084">1</cx:pt>
          <cx:pt idx="29085">1</cx:pt>
          <cx:pt idx="29086">5</cx:pt>
          <cx:pt idx="29087">4</cx:pt>
          <cx:pt idx="29088">4</cx:pt>
          <cx:pt idx="29089">1</cx:pt>
          <cx:pt idx="29090">2</cx:pt>
          <cx:pt idx="29091">3</cx:pt>
          <cx:pt idx="29092">5</cx:pt>
          <cx:pt idx="29093">2</cx:pt>
          <cx:pt idx="29094">3</cx:pt>
          <cx:pt idx="29095">5</cx:pt>
          <cx:pt idx="29096">3</cx:pt>
          <cx:pt idx="29097">4</cx:pt>
          <cx:pt idx="29098">3</cx:pt>
          <cx:pt idx="29099">5</cx:pt>
          <cx:pt idx="29100">2</cx:pt>
          <cx:pt idx="29101">3</cx:pt>
          <cx:pt idx="29102">4</cx:pt>
          <cx:pt idx="29103">3</cx:pt>
          <cx:pt idx="29104">4</cx:pt>
          <cx:pt idx="29105">5</cx:pt>
          <cx:pt idx="29106">5</cx:pt>
          <cx:pt idx="29107">2</cx:pt>
          <cx:pt idx="29108">4</cx:pt>
          <cx:pt idx="29109">3</cx:pt>
          <cx:pt idx="29110">3</cx:pt>
          <cx:pt idx="29111">4</cx:pt>
          <cx:pt idx="29112">5</cx:pt>
          <cx:pt idx="29113">5</cx:pt>
          <cx:pt idx="29114">2</cx:pt>
          <cx:pt idx="29115">3</cx:pt>
          <cx:pt idx="29116">4</cx:pt>
          <cx:pt idx="29117">3</cx:pt>
          <cx:pt idx="29118">4</cx:pt>
          <cx:pt idx="29119">2</cx:pt>
          <cx:pt idx="29120">4</cx:pt>
          <cx:pt idx="29121">4</cx:pt>
          <cx:pt idx="29122">4</cx:pt>
          <cx:pt idx="29123">4</cx:pt>
          <cx:pt idx="29124">3</cx:pt>
          <cx:pt idx="29125">2</cx:pt>
          <cx:pt idx="29126">3</cx:pt>
          <cx:pt idx="29127">5</cx:pt>
          <cx:pt idx="29128">5</cx:pt>
          <cx:pt idx="29129">3</cx:pt>
          <cx:pt idx="29130">4</cx:pt>
          <cx:pt idx="29131">5</cx:pt>
          <cx:pt idx="29132">3</cx:pt>
          <cx:pt idx="29133">5</cx:pt>
          <cx:pt idx="29134">4</cx:pt>
          <cx:pt idx="29135">4</cx:pt>
          <cx:pt idx="29136">5</cx:pt>
          <cx:pt idx="29137">3</cx:pt>
          <cx:pt idx="29138">2</cx:pt>
          <cx:pt idx="29139">2</cx:pt>
          <cx:pt idx="29140">4</cx:pt>
          <cx:pt idx="29141">3</cx:pt>
          <cx:pt idx="29142">1</cx:pt>
          <cx:pt idx="29143">2</cx:pt>
          <cx:pt idx="29144">5</cx:pt>
          <cx:pt idx="29145">5</cx:pt>
          <cx:pt idx="29146">5</cx:pt>
          <cx:pt idx="29147">4</cx:pt>
          <cx:pt idx="29148">5</cx:pt>
          <cx:pt idx="29149">4</cx:pt>
          <cx:pt idx="29150">5</cx:pt>
          <cx:pt idx="29151">5</cx:pt>
          <cx:pt idx="29152">5</cx:pt>
          <cx:pt idx="29153">5</cx:pt>
          <cx:pt idx="29154">4</cx:pt>
          <cx:pt idx="29155">2</cx:pt>
          <cx:pt idx="29156">3</cx:pt>
          <cx:pt idx="29157">5</cx:pt>
          <cx:pt idx="29158">4</cx:pt>
          <cx:pt idx="29159">4</cx:pt>
          <cx:pt idx="29160">2</cx:pt>
          <cx:pt idx="29161">3</cx:pt>
          <cx:pt idx="29162">1</cx:pt>
          <cx:pt idx="29163">3</cx:pt>
          <cx:pt idx="29164">5</cx:pt>
          <cx:pt idx="29165">2</cx:pt>
          <cx:pt idx="29166">4</cx:pt>
          <cx:pt idx="29167">5</cx:pt>
          <cx:pt idx="29168">4</cx:pt>
          <cx:pt idx="29169">5</cx:pt>
          <cx:pt idx="29170">2</cx:pt>
          <cx:pt idx="29171">4</cx:pt>
          <cx:pt idx="29172">4</cx:pt>
          <cx:pt idx="29173">5</cx:pt>
          <cx:pt idx="29174">4</cx:pt>
          <cx:pt idx="29175">5</cx:pt>
          <cx:pt idx="29176">4</cx:pt>
          <cx:pt idx="29177">4</cx:pt>
          <cx:pt idx="29178">4</cx:pt>
          <cx:pt idx="29179">4</cx:pt>
          <cx:pt idx="29180">5</cx:pt>
          <cx:pt idx="29181">1</cx:pt>
          <cx:pt idx="29182">5</cx:pt>
          <cx:pt idx="29183">1</cx:pt>
          <cx:pt idx="29184">2</cx:pt>
          <cx:pt idx="29185">1</cx:pt>
          <cx:pt idx="29186">5</cx:pt>
          <cx:pt idx="29187">4</cx:pt>
          <cx:pt idx="29188">3</cx:pt>
          <cx:pt idx="29189">3</cx:pt>
          <cx:pt idx="29190">4</cx:pt>
          <cx:pt idx="29191">5</cx:pt>
          <cx:pt idx="29192">5</cx:pt>
          <cx:pt idx="29193">4</cx:pt>
          <cx:pt idx="29194">5</cx:pt>
          <cx:pt idx="29195">4</cx:pt>
          <cx:pt idx="29196">4</cx:pt>
          <cx:pt idx="29197">2</cx:pt>
          <cx:pt idx="29198">3</cx:pt>
          <cx:pt idx="29199">5</cx:pt>
          <cx:pt idx="29200">1</cx:pt>
          <cx:pt idx="29201">4</cx:pt>
          <cx:pt idx="29202">4</cx:pt>
          <cx:pt idx="29203">4</cx:pt>
          <cx:pt idx="29204">4</cx:pt>
          <cx:pt idx="29205">4</cx:pt>
          <cx:pt idx="29206">3</cx:pt>
          <cx:pt idx="29207">5</cx:pt>
          <cx:pt idx="29208">4</cx:pt>
          <cx:pt idx="29209">4</cx:pt>
          <cx:pt idx="29210">1</cx:pt>
          <cx:pt idx="29211">1</cx:pt>
          <cx:pt idx="29212">2</cx:pt>
          <cx:pt idx="29213">1</cx:pt>
          <cx:pt idx="29214">3</cx:pt>
          <cx:pt idx="29215">4</cx:pt>
          <cx:pt idx="29216">1</cx:pt>
          <cx:pt idx="29217">3</cx:pt>
          <cx:pt idx="29218">4</cx:pt>
          <cx:pt idx="29219">2</cx:pt>
          <cx:pt idx="29220">4</cx:pt>
          <cx:pt idx="29221">4</cx:pt>
          <cx:pt idx="29222">5</cx:pt>
          <cx:pt idx="29223">4</cx:pt>
          <cx:pt idx="29224">5</cx:pt>
          <cx:pt idx="29225">4</cx:pt>
          <cx:pt idx="29226">1</cx:pt>
          <cx:pt idx="29227">1</cx:pt>
          <cx:pt idx="29228">3</cx:pt>
          <cx:pt idx="29229">4</cx:pt>
          <cx:pt idx="29230">2</cx:pt>
          <cx:pt idx="29231">4</cx:pt>
          <cx:pt idx="29232">5</cx:pt>
          <cx:pt idx="29233">2</cx:pt>
          <cx:pt idx="29234">4</cx:pt>
          <cx:pt idx="29235">4</cx:pt>
          <cx:pt idx="29236">5</cx:pt>
          <cx:pt idx="29237">4</cx:pt>
          <cx:pt idx="29238">4</cx:pt>
          <cx:pt idx="29239">1</cx:pt>
          <cx:pt idx="29240">2</cx:pt>
          <cx:pt idx="29241">2</cx:pt>
          <cx:pt idx="29242">4</cx:pt>
          <cx:pt idx="29243">5</cx:pt>
          <cx:pt idx="29244">4</cx:pt>
          <cx:pt idx="29245">5</cx:pt>
          <cx:pt idx="29246">5</cx:pt>
          <cx:pt idx="29247">5</cx:pt>
          <cx:pt idx="29248">2</cx:pt>
          <cx:pt idx="29249">1</cx:pt>
          <cx:pt idx="29250">4</cx:pt>
          <cx:pt idx="29251">4</cx:pt>
          <cx:pt idx="29252">4</cx:pt>
          <cx:pt idx="29253">4</cx:pt>
          <cx:pt idx="29254">4</cx:pt>
          <cx:pt idx="29255">1</cx:pt>
          <cx:pt idx="29256">5</cx:pt>
          <cx:pt idx="29257">3</cx:pt>
          <cx:pt idx="29258">3</cx:pt>
          <cx:pt idx="29259">1</cx:pt>
          <cx:pt idx="29260">4</cx:pt>
          <cx:pt idx="29261">4</cx:pt>
          <cx:pt idx="29262">5</cx:pt>
          <cx:pt idx="29263">4</cx:pt>
          <cx:pt idx="29264">1</cx:pt>
          <cx:pt idx="29265">2</cx:pt>
          <cx:pt idx="29266">4</cx:pt>
          <cx:pt idx="29267">5</cx:pt>
          <cx:pt idx="29268">2</cx:pt>
          <cx:pt idx="29269">4</cx:pt>
          <cx:pt idx="29270">5</cx:pt>
          <cx:pt idx="29271">4</cx:pt>
          <cx:pt idx="29272">1</cx:pt>
          <cx:pt idx="29273">4</cx:pt>
          <cx:pt idx="29274">5</cx:pt>
          <cx:pt idx="29275">3</cx:pt>
          <cx:pt idx="29276">2</cx:pt>
          <cx:pt idx="29277">4</cx:pt>
          <cx:pt idx="29278">5</cx:pt>
          <cx:pt idx="29279">4</cx:pt>
          <cx:pt idx="29280">5</cx:pt>
          <cx:pt idx="29281">4</cx:pt>
          <cx:pt idx="29282">3</cx:pt>
          <cx:pt idx="29283">1</cx:pt>
          <cx:pt idx="29284">5</cx:pt>
          <cx:pt idx="29285">2</cx:pt>
          <cx:pt idx="29286">4</cx:pt>
          <cx:pt idx="29287">5</cx:pt>
          <cx:pt idx="29288">4</cx:pt>
          <cx:pt idx="29289">3</cx:pt>
          <cx:pt idx="29290">2</cx:pt>
          <cx:pt idx="29291">2</cx:pt>
          <cx:pt idx="29292">4</cx:pt>
          <cx:pt idx="29293">3</cx:pt>
          <cx:pt idx="29294">3</cx:pt>
          <cx:pt idx="29295">1</cx:pt>
          <cx:pt idx="29296">5</cx:pt>
          <cx:pt idx="29297">2</cx:pt>
          <cx:pt idx="29298">5</cx:pt>
          <cx:pt idx="29299">4</cx:pt>
          <cx:pt idx="29300">2</cx:pt>
          <cx:pt idx="29301">4</cx:pt>
          <cx:pt idx="29302">4</cx:pt>
          <cx:pt idx="29303">3</cx:pt>
          <cx:pt idx="29304">3</cx:pt>
          <cx:pt idx="29305">5</cx:pt>
          <cx:pt idx="29306">2</cx:pt>
          <cx:pt idx="29307">4</cx:pt>
          <cx:pt idx="29308">3</cx:pt>
          <cx:pt idx="29309">2</cx:pt>
          <cx:pt idx="29310">1</cx:pt>
          <cx:pt idx="29311">4</cx:pt>
          <cx:pt idx="29312">3</cx:pt>
          <cx:pt idx="29313">5</cx:pt>
          <cx:pt idx="29314">3</cx:pt>
          <cx:pt idx="29315">2</cx:pt>
          <cx:pt idx="29316">4</cx:pt>
          <cx:pt idx="29317">1</cx:pt>
          <cx:pt idx="29318">5</cx:pt>
          <cx:pt idx="29319">2</cx:pt>
          <cx:pt idx="29320">5</cx:pt>
          <cx:pt idx="29321">5</cx:pt>
          <cx:pt idx="29322">2</cx:pt>
          <cx:pt idx="29323">5</cx:pt>
          <cx:pt idx="29324">4</cx:pt>
          <cx:pt idx="29325">1</cx:pt>
          <cx:pt idx="29326">4</cx:pt>
          <cx:pt idx="29327">2</cx:pt>
          <cx:pt idx="29328">1</cx:pt>
          <cx:pt idx="29329">5</cx:pt>
          <cx:pt idx="29330">3</cx:pt>
          <cx:pt idx="29331">4</cx:pt>
          <cx:pt idx="29332">4</cx:pt>
          <cx:pt idx="29333">3</cx:pt>
          <cx:pt idx="29334">4</cx:pt>
          <cx:pt idx="29335">5</cx:pt>
          <cx:pt idx="29336">2</cx:pt>
          <cx:pt idx="29337">4</cx:pt>
          <cx:pt idx="29338">2</cx:pt>
          <cx:pt idx="29339">3</cx:pt>
          <cx:pt idx="29340">5</cx:pt>
          <cx:pt idx="29341">5</cx:pt>
          <cx:pt idx="29342">5</cx:pt>
          <cx:pt idx="29343">1</cx:pt>
          <cx:pt idx="29344">5</cx:pt>
          <cx:pt idx="29345">3</cx:pt>
          <cx:pt idx="29346">5</cx:pt>
          <cx:pt idx="29347">5</cx:pt>
          <cx:pt idx="29348">3</cx:pt>
          <cx:pt idx="29349">3</cx:pt>
          <cx:pt idx="29350">5</cx:pt>
          <cx:pt idx="29351">1</cx:pt>
          <cx:pt idx="29352">2</cx:pt>
          <cx:pt idx="29353">4</cx:pt>
          <cx:pt idx="29354">4</cx:pt>
          <cx:pt idx="29355">3</cx:pt>
          <cx:pt idx="29356">5</cx:pt>
          <cx:pt idx="29357">4</cx:pt>
          <cx:pt idx="29358">1</cx:pt>
          <cx:pt idx="29359">3</cx:pt>
          <cx:pt idx="29360">4</cx:pt>
          <cx:pt idx="29361">3</cx:pt>
          <cx:pt idx="29362">2</cx:pt>
          <cx:pt idx="29363">3</cx:pt>
          <cx:pt idx="29364">4</cx:pt>
          <cx:pt idx="29365">5</cx:pt>
          <cx:pt idx="29366">1</cx:pt>
          <cx:pt idx="29367">1</cx:pt>
          <cx:pt idx="29368">4</cx:pt>
          <cx:pt idx="29369">4</cx:pt>
          <cx:pt idx="29370">4</cx:pt>
          <cx:pt idx="29371">4</cx:pt>
          <cx:pt idx="29372">3</cx:pt>
          <cx:pt idx="29373">4</cx:pt>
          <cx:pt idx="29374">3</cx:pt>
          <cx:pt idx="29375">4</cx:pt>
          <cx:pt idx="29376">5</cx:pt>
          <cx:pt idx="29377">1</cx:pt>
          <cx:pt idx="29378">4</cx:pt>
          <cx:pt idx="29379">3</cx:pt>
          <cx:pt idx="29380">5</cx:pt>
          <cx:pt idx="29381">5</cx:pt>
          <cx:pt idx="29382">2</cx:pt>
          <cx:pt idx="29383">1</cx:pt>
          <cx:pt idx="29384">4</cx:pt>
          <cx:pt idx="29385">1</cx:pt>
          <cx:pt idx="29386">4</cx:pt>
          <cx:pt idx="29387">1</cx:pt>
          <cx:pt idx="29388">3</cx:pt>
          <cx:pt idx="29389">3</cx:pt>
          <cx:pt idx="29390">4</cx:pt>
          <cx:pt idx="29391">4</cx:pt>
          <cx:pt idx="29392">3</cx:pt>
          <cx:pt idx="29393">4</cx:pt>
          <cx:pt idx="29394">1</cx:pt>
          <cx:pt idx="29395">1</cx:pt>
          <cx:pt idx="29396">1</cx:pt>
          <cx:pt idx="29397">5</cx:pt>
          <cx:pt idx="29398">2</cx:pt>
          <cx:pt idx="29399">5</cx:pt>
          <cx:pt idx="29400">4</cx:pt>
          <cx:pt idx="29401">2</cx:pt>
          <cx:pt idx="29402">4</cx:pt>
          <cx:pt idx="29403">5</cx:pt>
          <cx:pt idx="29404">5</cx:pt>
          <cx:pt idx="29405">4</cx:pt>
          <cx:pt idx="29406">5</cx:pt>
          <cx:pt idx="29407">2</cx:pt>
          <cx:pt idx="29408">4</cx:pt>
          <cx:pt idx="29409">4</cx:pt>
          <cx:pt idx="29410">3</cx:pt>
          <cx:pt idx="29411">2</cx:pt>
          <cx:pt idx="29412">5</cx:pt>
          <cx:pt idx="29413">3</cx:pt>
          <cx:pt idx="29414">4</cx:pt>
          <cx:pt idx="29415">2</cx:pt>
          <cx:pt idx="29416">5</cx:pt>
          <cx:pt idx="29417">3</cx:pt>
          <cx:pt idx="29418">3</cx:pt>
          <cx:pt idx="29419">1</cx:pt>
          <cx:pt idx="29420">1</cx:pt>
          <cx:pt idx="29421">2</cx:pt>
          <cx:pt idx="29422">4</cx:pt>
          <cx:pt idx="29423">4</cx:pt>
          <cx:pt idx="29424">4</cx:pt>
          <cx:pt idx="29425">3</cx:pt>
          <cx:pt idx="29426">3</cx:pt>
          <cx:pt idx="29427">5</cx:pt>
          <cx:pt idx="29428">4</cx:pt>
          <cx:pt idx="29429">5</cx:pt>
          <cx:pt idx="29430">5</cx:pt>
          <cx:pt idx="29431">1</cx:pt>
          <cx:pt idx="29432">3</cx:pt>
          <cx:pt idx="29433">3</cx:pt>
          <cx:pt idx="29434">5</cx:pt>
          <cx:pt idx="29435">5</cx:pt>
          <cx:pt idx="29436">5</cx:pt>
          <cx:pt idx="29437">3</cx:pt>
          <cx:pt idx="29438">4</cx:pt>
          <cx:pt idx="29439">4</cx:pt>
          <cx:pt idx="29440">5</cx:pt>
          <cx:pt idx="29441">1</cx:pt>
          <cx:pt idx="29442">2</cx:pt>
          <cx:pt idx="29443">2</cx:pt>
          <cx:pt idx="29444">1</cx:pt>
          <cx:pt idx="29445">3</cx:pt>
          <cx:pt idx="29446">3</cx:pt>
          <cx:pt idx="29447">1</cx:pt>
          <cx:pt idx="29448">4</cx:pt>
          <cx:pt idx="29449">5</cx:pt>
          <cx:pt idx="29450">4</cx:pt>
          <cx:pt idx="29451">2</cx:pt>
          <cx:pt idx="29452">1</cx:pt>
          <cx:pt idx="29453">2</cx:pt>
          <cx:pt idx="29454">5</cx:pt>
          <cx:pt idx="29455">3</cx:pt>
          <cx:pt idx="29456">3</cx:pt>
          <cx:pt idx="29457">1</cx:pt>
          <cx:pt idx="29458">1</cx:pt>
          <cx:pt idx="29459">4</cx:pt>
          <cx:pt idx="29460">3</cx:pt>
          <cx:pt idx="29461">4</cx:pt>
          <cx:pt idx="29462">3</cx:pt>
          <cx:pt idx="29463">3</cx:pt>
          <cx:pt idx="29464">1</cx:pt>
          <cx:pt idx="29465">5</cx:pt>
          <cx:pt idx="29466">2</cx:pt>
          <cx:pt idx="29467">1</cx:pt>
          <cx:pt idx="29468">5</cx:pt>
          <cx:pt idx="29469">3</cx:pt>
          <cx:pt idx="29470">4</cx:pt>
          <cx:pt idx="29471">4</cx:pt>
          <cx:pt idx="29472">5</cx:pt>
          <cx:pt idx="29473">5</cx:pt>
          <cx:pt idx="29474">4</cx:pt>
          <cx:pt idx="29475">3</cx:pt>
          <cx:pt idx="29476">2</cx:pt>
          <cx:pt idx="29477">1</cx:pt>
          <cx:pt idx="29478">5</cx:pt>
          <cx:pt idx="29479">4</cx:pt>
          <cx:pt idx="29480">2</cx:pt>
          <cx:pt idx="29481">4</cx:pt>
          <cx:pt idx="29482">2</cx:pt>
          <cx:pt idx="29483">2</cx:pt>
          <cx:pt idx="29484">4</cx:pt>
          <cx:pt idx="29485">5</cx:pt>
          <cx:pt idx="29486">5</cx:pt>
          <cx:pt idx="29487">4</cx:pt>
          <cx:pt idx="29488">4</cx:pt>
          <cx:pt idx="29489">2</cx:pt>
          <cx:pt idx="29490">5</cx:pt>
          <cx:pt idx="29491">5</cx:pt>
          <cx:pt idx="29492">5</cx:pt>
          <cx:pt idx="29493">2</cx:pt>
          <cx:pt idx="29494">4</cx:pt>
          <cx:pt idx="29495">5</cx:pt>
          <cx:pt idx="29496">5</cx:pt>
          <cx:pt idx="29497">5</cx:pt>
          <cx:pt idx="29498">3</cx:pt>
          <cx:pt idx="29499">3</cx:pt>
          <cx:pt idx="29500">5</cx:pt>
          <cx:pt idx="29501">5</cx:pt>
          <cx:pt idx="29502">5</cx:pt>
          <cx:pt idx="29503">3</cx:pt>
          <cx:pt idx="29504">3</cx:pt>
          <cx:pt idx="29505">3</cx:pt>
          <cx:pt idx="29506">3</cx:pt>
          <cx:pt idx="29507">5</cx:pt>
          <cx:pt idx="29508">3</cx:pt>
          <cx:pt idx="29509">4</cx:pt>
          <cx:pt idx="29510">4</cx:pt>
          <cx:pt idx="29511">5</cx:pt>
          <cx:pt idx="29512">2</cx:pt>
          <cx:pt idx="29513">2</cx:pt>
          <cx:pt idx="29514">3</cx:pt>
          <cx:pt idx="29515">1</cx:pt>
          <cx:pt idx="29516">5</cx:pt>
          <cx:pt idx="29517">5</cx:pt>
          <cx:pt idx="29518">5</cx:pt>
          <cx:pt idx="29519">3</cx:pt>
          <cx:pt idx="29520">2</cx:pt>
          <cx:pt idx="29521">5</cx:pt>
          <cx:pt idx="29522">2</cx:pt>
          <cx:pt idx="29523">2</cx:pt>
          <cx:pt idx="29524">5</cx:pt>
          <cx:pt idx="29525">1</cx:pt>
          <cx:pt idx="29526">2</cx:pt>
          <cx:pt idx="29527">2</cx:pt>
          <cx:pt idx="29528">4</cx:pt>
          <cx:pt idx="29529">4</cx:pt>
          <cx:pt idx="29530">4</cx:pt>
          <cx:pt idx="29531">5</cx:pt>
          <cx:pt idx="29532">4</cx:pt>
          <cx:pt idx="29533">5</cx:pt>
          <cx:pt idx="29534">5</cx:pt>
          <cx:pt idx="29535">5</cx:pt>
          <cx:pt idx="29536">4</cx:pt>
          <cx:pt idx="29537">2</cx:pt>
          <cx:pt idx="29538">4</cx:pt>
          <cx:pt idx="29539">3</cx:pt>
          <cx:pt idx="29540">3</cx:pt>
          <cx:pt idx="29541">5</cx:pt>
          <cx:pt idx="29542">5</cx:pt>
          <cx:pt idx="29543">4</cx:pt>
          <cx:pt idx="29544">3</cx:pt>
          <cx:pt idx="29545">5</cx:pt>
          <cx:pt idx="29546">3</cx:pt>
          <cx:pt idx="29547">4</cx:pt>
          <cx:pt idx="29548">5</cx:pt>
          <cx:pt idx="29549">3</cx:pt>
          <cx:pt idx="29550">5</cx:pt>
          <cx:pt idx="29551">4</cx:pt>
          <cx:pt idx="29552">4</cx:pt>
          <cx:pt idx="29553">3</cx:pt>
          <cx:pt idx="29554">5</cx:pt>
          <cx:pt idx="29555">5</cx:pt>
          <cx:pt idx="29556">5</cx:pt>
          <cx:pt idx="29557">5</cx:pt>
          <cx:pt idx="29558">5</cx:pt>
          <cx:pt idx="29559">4</cx:pt>
          <cx:pt idx="29560">5</cx:pt>
          <cx:pt idx="29561">5</cx:pt>
          <cx:pt idx="29562">5</cx:pt>
          <cx:pt idx="29563">4</cx:pt>
          <cx:pt idx="29564">4</cx:pt>
          <cx:pt idx="29565">3</cx:pt>
          <cx:pt idx="29566">2</cx:pt>
          <cx:pt idx="29567">4</cx:pt>
          <cx:pt idx="29568">4</cx:pt>
          <cx:pt idx="29569">4</cx:pt>
          <cx:pt idx="29570">1</cx:pt>
          <cx:pt idx="29571">5</cx:pt>
          <cx:pt idx="29572">2</cx:pt>
          <cx:pt idx="29573">5</cx:pt>
          <cx:pt idx="29574">4</cx:pt>
          <cx:pt idx="29575">5</cx:pt>
          <cx:pt idx="29576">4</cx:pt>
          <cx:pt idx="29577">2</cx:pt>
          <cx:pt idx="29578">4</cx:pt>
          <cx:pt idx="29579">5</cx:pt>
          <cx:pt idx="29580">2</cx:pt>
          <cx:pt idx="29581">2</cx:pt>
          <cx:pt idx="29582">2</cx:pt>
          <cx:pt idx="29583">5</cx:pt>
          <cx:pt idx="29584">4</cx:pt>
          <cx:pt idx="29585">2</cx:pt>
          <cx:pt idx="29586">4</cx:pt>
          <cx:pt idx="29587">5</cx:pt>
          <cx:pt idx="29588">1</cx:pt>
          <cx:pt idx="29589">4</cx:pt>
          <cx:pt idx="29590">3</cx:pt>
          <cx:pt idx="29591">4</cx:pt>
          <cx:pt idx="29592">2</cx:pt>
          <cx:pt idx="29593">4</cx:pt>
          <cx:pt idx="29594">3</cx:pt>
          <cx:pt idx="29595">4</cx:pt>
          <cx:pt idx="29596">3</cx:pt>
          <cx:pt idx="29597">5</cx:pt>
          <cx:pt idx="29598">2</cx:pt>
          <cx:pt idx="29599">2</cx:pt>
          <cx:pt idx="29600">4</cx:pt>
          <cx:pt idx="29601">3</cx:pt>
          <cx:pt idx="29602">5</cx:pt>
          <cx:pt idx="29603">5</cx:pt>
          <cx:pt idx="29604">2</cx:pt>
          <cx:pt idx="29605">5</cx:pt>
          <cx:pt idx="29606">4</cx:pt>
          <cx:pt idx="29607">4</cx:pt>
          <cx:pt idx="29608">4</cx:pt>
          <cx:pt idx="29609">4</cx:pt>
          <cx:pt idx="29610">5</cx:pt>
          <cx:pt idx="29611">3</cx:pt>
          <cx:pt idx="29612">4</cx:pt>
          <cx:pt idx="29613">1</cx:pt>
          <cx:pt idx="29614">5</cx:pt>
          <cx:pt idx="29615">4</cx:pt>
          <cx:pt idx="29616">2</cx:pt>
          <cx:pt idx="29617">3</cx:pt>
          <cx:pt idx="29618">3</cx:pt>
          <cx:pt idx="29619">3</cx:pt>
          <cx:pt idx="29620">4</cx:pt>
          <cx:pt idx="29621">2</cx:pt>
          <cx:pt idx="29622">3</cx:pt>
          <cx:pt idx="29623">4</cx:pt>
          <cx:pt idx="29624">3</cx:pt>
          <cx:pt idx="29625">1</cx:pt>
          <cx:pt idx="29626">5</cx:pt>
          <cx:pt idx="29627">5</cx:pt>
          <cx:pt idx="29628">3</cx:pt>
          <cx:pt idx="29629">1</cx:pt>
          <cx:pt idx="29630">5</cx:pt>
          <cx:pt idx="29631">5</cx:pt>
          <cx:pt idx="29632">2</cx:pt>
          <cx:pt idx="29633">3</cx:pt>
          <cx:pt idx="29634">4</cx:pt>
          <cx:pt idx="29635">4</cx:pt>
          <cx:pt idx="29636">2</cx:pt>
          <cx:pt idx="29637">2</cx:pt>
          <cx:pt idx="29638">5</cx:pt>
          <cx:pt idx="29639">3</cx:pt>
          <cx:pt idx="29640">1</cx:pt>
          <cx:pt idx="29641">3</cx:pt>
          <cx:pt idx="29642">2</cx:pt>
          <cx:pt idx="29643">1</cx:pt>
          <cx:pt idx="29644">5</cx:pt>
          <cx:pt idx="29645">5</cx:pt>
          <cx:pt idx="29646">5</cx:pt>
          <cx:pt idx="29647">3</cx:pt>
          <cx:pt idx="29648">2</cx:pt>
          <cx:pt idx="29649">2</cx:pt>
          <cx:pt idx="29650">4</cx:pt>
          <cx:pt idx="29651">4</cx:pt>
          <cx:pt idx="29652">2</cx:pt>
          <cx:pt idx="29653">2</cx:pt>
          <cx:pt idx="29654">5</cx:pt>
          <cx:pt idx="29655">4</cx:pt>
          <cx:pt idx="29656">4</cx:pt>
          <cx:pt idx="29657">4</cx:pt>
          <cx:pt idx="29658">4</cx:pt>
          <cx:pt idx="29659">2</cx:pt>
          <cx:pt idx="29660">4</cx:pt>
          <cx:pt idx="29661">5</cx:pt>
          <cx:pt idx="29662">3</cx:pt>
          <cx:pt idx="29663">2</cx:pt>
          <cx:pt idx="29664">5</cx:pt>
          <cx:pt idx="29665">2</cx:pt>
          <cx:pt idx="29666">3</cx:pt>
          <cx:pt idx="29667">4</cx:pt>
          <cx:pt idx="29668">4</cx:pt>
          <cx:pt idx="29669">5</cx:pt>
          <cx:pt idx="29670">4</cx:pt>
          <cx:pt idx="29671">1</cx:pt>
          <cx:pt idx="29672">2</cx:pt>
          <cx:pt idx="29673">5</cx:pt>
          <cx:pt idx="29674">5</cx:pt>
          <cx:pt idx="29675">4</cx:pt>
          <cx:pt idx="29676">4</cx:pt>
          <cx:pt idx="29677">2</cx:pt>
          <cx:pt idx="29678">1</cx:pt>
          <cx:pt idx="29679">5</cx:pt>
          <cx:pt idx="29680">3</cx:pt>
          <cx:pt idx="29681">5</cx:pt>
          <cx:pt idx="29682">5</cx:pt>
          <cx:pt idx="29683">2</cx:pt>
          <cx:pt idx="29684">2</cx:pt>
          <cx:pt idx="29685">4</cx:pt>
          <cx:pt idx="29686">3</cx:pt>
          <cx:pt idx="29687">1</cx:pt>
          <cx:pt idx="29688">3</cx:pt>
          <cx:pt idx="29689">3</cx:pt>
          <cx:pt idx="29690">2</cx:pt>
          <cx:pt idx="29691">4</cx:pt>
          <cx:pt idx="29692">4</cx:pt>
          <cx:pt idx="29693">3</cx:pt>
          <cx:pt idx="29694">2</cx:pt>
          <cx:pt idx="29695">5</cx:pt>
          <cx:pt idx="29696">4</cx:pt>
          <cx:pt idx="29697">2</cx:pt>
          <cx:pt idx="29698">4</cx:pt>
          <cx:pt idx="29699">4</cx:pt>
          <cx:pt idx="29700">4</cx:pt>
          <cx:pt idx="29701">1</cx:pt>
          <cx:pt idx="29702">4</cx:pt>
          <cx:pt idx="29703">3</cx:pt>
          <cx:pt idx="29704">1</cx:pt>
          <cx:pt idx="29705">4</cx:pt>
          <cx:pt idx="29706">3</cx:pt>
          <cx:pt idx="29707">4</cx:pt>
          <cx:pt idx="29708">5</cx:pt>
          <cx:pt idx="29709">5</cx:pt>
          <cx:pt idx="29710">2</cx:pt>
          <cx:pt idx="29711">4</cx:pt>
          <cx:pt idx="29712">4</cx:pt>
          <cx:pt idx="29713">5</cx:pt>
          <cx:pt idx="29714">5</cx:pt>
          <cx:pt idx="29715">3</cx:pt>
          <cx:pt idx="29716">4</cx:pt>
          <cx:pt idx="29717">4</cx:pt>
          <cx:pt idx="29718">5</cx:pt>
          <cx:pt idx="29719">5</cx:pt>
          <cx:pt idx="29720">5</cx:pt>
          <cx:pt idx="29721">5</cx:pt>
          <cx:pt idx="29722">5</cx:pt>
          <cx:pt idx="29723">2</cx:pt>
          <cx:pt idx="29724">5</cx:pt>
          <cx:pt idx="29725">4</cx:pt>
          <cx:pt idx="29726">4</cx:pt>
          <cx:pt idx="29727">5</cx:pt>
          <cx:pt idx="29728">1</cx:pt>
          <cx:pt idx="29729">2</cx:pt>
          <cx:pt idx="29730">4</cx:pt>
          <cx:pt idx="29731">4</cx:pt>
          <cx:pt idx="29732">3</cx:pt>
          <cx:pt idx="29733">2</cx:pt>
          <cx:pt idx="29734">1</cx:pt>
          <cx:pt idx="29735">2</cx:pt>
          <cx:pt idx="29736">3</cx:pt>
          <cx:pt idx="29737">1</cx:pt>
          <cx:pt idx="29738">4</cx:pt>
          <cx:pt idx="29739">3</cx:pt>
          <cx:pt idx="29740">1</cx:pt>
          <cx:pt idx="29741">4</cx:pt>
          <cx:pt idx="29742">3</cx:pt>
          <cx:pt idx="29743">5</cx:pt>
          <cx:pt idx="29744">5</cx:pt>
          <cx:pt idx="29745">5</cx:pt>
          <cx:pt idx="29746">2</cx:pt>
          <cx:pt idx="29747">5</cx:pt>
          <cx:pt idx="29748">5</cx:pt>
          <cx:pt idx="29749">4</cx:pt>
          <cx:pt idx="29750">4</cx:pt>
          <cx:pt idx="29751">2</cx:pt>
          <cx:pt idx="29752">1</cx:pt>
          <cx:pt idx="29753">5</cx:pt>
          <cx:pt idx="29754">2</cx:pt>
          <cx:pt idx="29755">3</cx:pt>
          <cx:pt idx="29756">1</cx:pt>
          <cx:pt idx="29757">2</cx:pt>
          <cx:pt idx="29758">1</cx:pt>
          <cx:pt idx="29759">4</cx:pt>
          <cx:pt idx="29760">3</cx:pt>
          <cx:pt idx="29761">4</cx:pt>
          <cx:pt idx="29762">1</cx:pt>
          <cx:pt idx="29763">4</cx:pt>
          <cx:pt idx="29764">1</cx:pt>
          <cx:pt idx="29765">5</cx:pt>
          <cx:pt idx="29766">5</cx:pt>
          <cx:pt idx="29767">4</cx:pt>
          <cx:pt idx="29768">2</cx:pt>
          <cx:pt idx="29769">5</cx:pt>
          <cx:pt idx="29770">2</cx:pt>
          <cx:pt idx="29771">2</cx:pt>
          <cx:pt idx="29772">5</cx:pt>
          <cx:pt idx="29773">5</cx:pt>
          <cx:pt idx="29774">2</cx:pt>
          <cx:pt idx="29775">1</cx:pt>
          <cx:pt idx="29776">5</cx:pt>
          <cx:pt idx="29777">3</cx:pt>
          <cx:pt idx="29778">1</cx:pt>
          <cx:pt idx="29779">5</cx:pt>
          <cx:pt idx="29780">2</cx:pt>
          <cx:pt idx="29781">2</cx:pt>
          <cx:pt idx="29782">2</cx:pt>
          <cx:pt idx="29783">1</cx:pt>
          <cx:pt idx="29784">1</cx:pt>
          <cx:pt idx="29785">2</cx:pt>
          <cx:pt idx="29786">4</cx:pt>
          <cx:pt idx="29787">4</cx:pt>
          <cx:pt idx="29788">3</cx:pt>
          <cx:pt idx="29789">3</cx:pt>
          <cx:pt idx="29790">4</cx:pt>
          <cx:pt idx="29791">4</cx:pt>
          <cx:pt idx="29792">3</cx:pt>
          <cx:pt idx="29793">3</cx:pt>
          <cx:pt idx="29794">4</cx:pt>
          <cx:pt idx="29795">3</cx:pt>
          <cx:pt idx="29796">1</cx:pt>
          <cx:pt idx="29797">1</cx:pt>
          <cx:pt idx="29798">5</cx:pt>
          <cx:pt idx="29799">5</cx:pt>
          <cx:pt idx="29800">3</cx:pt>
          <cx:pt idx="29801">1</cx:pt>
          <cx:pt idx="29802">4</cx:pt>
          <cx:pt idx="29803">5</cx:pt>
          <cx:pt idx="29804">4</cx:pt>
          <cx:pt idx="29805">4</cx:pt>
          <cx:pt idx="29806">1</cx:pt>
          <cx:pt idx="29807">3</cx:pt>
          <cx:pt idx="29808">4</cx:pt>
          <cx:pt idx="29809">5</cx:pt>
          <cx:pt idx="29810">2</cx:pt>
          <cx:pt idx="29811">2</cx:pt>
          <cx:pt idx="29812">5</cx:pt>
          <cx:pt idx="29813">3</cx:pt>
          <cx:pt idx="29814">5</cx:pt>
          <cx:pt idx="29815">3</cx:pt>
          <cx:pt idx="29816">5</cx:pt>
          <cx:pt idx="29817">4</cx:pt>
          <cx:pt idx="29818">5</cx:pt>
          <cx:pt idx="29819">3</cx:pt>
          <cx:pt idx="29820">3</cx:pt>
          <cx:pt idx="29821">1</cx:pt>
          <cx:pt idx="29822">4</cx:pt>
          <cx:pt idx="29823">1</cx:pt>
          <cx:pt idx="29824">2</cx:pt>
          <cx:pt idx="29825">4</cx:pt>
          <cx:pt idx="29826">3</cx:pt>
          <cx:pt idx="29827">5</cx:pt>
          <cx:pt idx="29828">1</cx:pt>
          <cx:pt idx="29829">3</cx:pt>
          <cx:pt idx="29830">4</cx:pt>
          <cx:pt idx="29831">3</cx:pt>
          <cx:pt idx="29832">4</cx:pt>
          <cx:pt idx="29833">1</cx:pt>
          <cx:pt idx="29834">3</cx:pt>
          <cx:pt idx="29835">4</cx:pt>
          <cx:pt idx="29836">2</cx:pt>
          <cx:pt idx="29837">2</cx:pt>
          <cx:pt idx="29838">2</cx:pt>
          <cx:pt idx="29839">2</cx:pt>
          <cx:pt idx="29840">4</cx:pt>
          <cx:pt idx="29841">4</cx:pt>
          <cx:pt idx="29842">5</cx:pt>
          <cx:pt idx="29843">1</cx:pt>
          <cx:pt idx="29844">4</cx:pt>
          <cx:pt idx="29845">3</cx:pt>
          <cx:pt idx="29846">4</cx:pt>
          <cx:pt idx="29847">4</cx:pt>
          <cx:pt idx="29848">1</cx:pt>
          <cx:pt idx="29849">2</cx:pt>
          <cx:pt idx="29850">3</cx:pt>
          <cx:pt idx="29851">3</cx:pt>
          <cx:pt idx="29852">2</cx:pt>
          <cx:pt idx="29853">4</cx:pt>
          <cx:pt idx="29854">5</cx:pt>
          <cx:pt idx="29855">4</cx:pt>
          <cx:pt idx="29856">4</cx:pt>
          <cx:pt idx="29857">4</cx:pt>
          <cx:pt idx="29858">4</cx:pt>
          <cx:pt idx="29859">3</cx:pt>
          <cx:pt idx="29860">1</cx:pt>
          <cx:pt idx="29861">5</cx:pt>
          <cx:pt idx="29862">3</cx:pt>
          <cx:pt idx="29863">5</cx:pt>
          <cx:pt idx="29864">1</cx:pt>
          <cx:pt idx="29865">4</cx:pt>
          <cx:pt idx="29866">5</cx:pt>
          <cx:pt idx="29867">4</cx:pt>
          <cx:pt idx="29868">4</cx:pt>
          <cx:pt idx="29869">4</cx:pt>
          <cx:pt idx="29870">3</cx:pt>
          <cx:pt idx="29871">4</cx:pt>
          <cx:pt idx="29872">5</cx:pt>
          <cx:pt idx="29873">5</cx:pt>
          <cx:pt idx="29874">5</cx:pt>
          <cx:pt idx="29875">2</cx:pt>
          <cx:pt idx="29876">1</cx:pt>
          <cx:pt idx="29877">4</cx:pt>
          <cx:pt idx="29878">4</cx:pt>
          <cx:pt idx="29879">3</cx:pt>
          <cx:pt idx="29880">2</cx:pt>
          <cx:pt idx="29881">4</cx:pt>
          <cx:pt idx="29882">5</cx:pt>
          <cx:pt idx="29883">4</cx:pt>
          <cx:pt idx="29884">1</cx:pt>
          <cx:pt idx="29885">1</cx:pt>
          <cx:pt idx="29886">5</cx:pt>
          <cx:pt idx="29887">2</cx:pt>
          <cx:pt idx="29888">1</cx:pt>
          <cx:pt idx="29889">3</cx:pt>
          <cx:pt idx="29890">1</cx:pt>
          <cx:pt idx="29891">3</cx:pt>
          <cx:pt idx="29892">5</cx:pt>
          <cx:pt idx="29893">5</cx:pt>
          <cx:pt idx="29894">5</cx:pt>
          <cx:pt idx="29895">2</cx:pt>
          <cx:pt idx="29896">5</cx:pt>
          <cx:pt idx="29897">4</cx:pt>
          <cx:pt idx="29898">5</cx:pt>
          <cx:pt idx="29899">4</cx:pt>
          <cx:pt idx="29900">3</cx:pt>
          <cx:pt idx="29901">3</cx:pt>
          <cx:pt idx="29902">1</cx:pt>
          <cx:pt idx="29903">3</cx:pt>
          <cx:pt idx="29904">1</cx:pt>
          <cx:pt idx="29905">3</cx:pt>
          <cx:pt idx="29906">4</cx:pt>
          <cx:pt idx="29907">2</cx:pt>
          <cx:pt idx="29908">5</cx:pt>
          <cx:pt idx="29909">2</cx:pt>
          <cx:pt idx="29910">4</cx:pt>
          <cx:pt idx="29911">5</cx:pt>
          <cx:pt idx="29912">2</cx:pt>
          <cx:pt idx="29913">5</cx:pt>
          <cx:pt idx="29914">3</cx:pt>
          <cx:pt idx="29915">4</cx:pt>
          <cx:pt idx="29916">5</cx:pt>
          <cx:pt idx="29917">4</cx:pt>
          <cx:pt idx="29918">2</cx:pt>
          <cx:pt idx="29919">2</cx:pt>
          <cx:pt idx="29920">1</cx:pt>
          <cx:pt idx="29921">2</cx:pt>
          <cx:pt idx="29922">2</cx:pt>
          <cx:pt idx="29923">2</cx:pt>
          <cx:pt idx="29924">2</cx:pt>
          <cx:pt idx="29925">5</cx:pt>
          <cx:pt idx="29926">3</cx:pt>
          <cx:pt idx="29927">3</cx:pt>
          <cx:pt idx="29928">4</cx:pt>
          <cx:pt idx="29929">5</cx:pt>
          <cx:pt idx="29930">5</cx:pt>
          <cx:pt idx="29931">2</cx:pt>
          <cx:pt idx="29932">2</cx:pt>
          <cx:pt idx="29933">5</cx:pt>
          <cx:pt idx="29934">3</cx:pt>
          <cx:pt idx="29935">4</cx:pt>
          <cx:pt idx="29936">5</cx:pt>
          <cx:pt idx="29937">1</cx:pt>
          <cx:pt idx="29938">1</cx:pt>
          <cx:pt idx="29939">3</cx:pt>
          <cx:pt idx="29940">4</cx:pt>
          <cx:pt idx="29941">4</cx:pt>
          <cx:pt idx="29942">4</cx:pt>
          <cx:pt idx="29943">4</cx:pt>
          <cx:pt idx="29944">5</cx:pt>
          <cx:pt idx="29945">5</cx:pt>
          <cx:pt idx="29946">3</cx:pt>
          <cx:pt idx="29947">4</cx:pt>
          <cx:pt idx="29948">4</cx:pt>
          <cx:pt idx="29949">4</cx:pt>
          <cx:pt idx="29950">4</cx:pt>
          <cx:pt idx="29951">1</cx:pt>
          <cx:pt idx="29952">2</cx:pt>
          <cx:pt idx="29953">4</cx:pt>
          <cx:pt idx="29954">4</cx:pt>
          <cx:pt idx="29955">5</cx:pt>
          <cx:pt idx="29956">4</cx:pt>
          <cx:pt idx="29957">3</cx:pt>
          <cx:pt idx="29958">1</cx:pt>
          <cx:pt idx="29959">2</cx:pt>
          <cx:pt idx="29960">2</cx:pt>
          <cx:pt idx="29961">4</cx:pt>
          <cx:pt idx="29962">3</cx:pt>
          <cx:pt idx="29963">4</cx:pt>
          <cx:pt idx="29964">5</cx:pt>
          <cx:pt idx="29965">5</cx:pt>
          <cx:pt idx="29966">5</cx:pt>
          <cx:pt idx="29967">4</cx:pt>
          <cx:pt idx="29968">5</cx:pt>
          <cx:pt idx="29969">4</cx:pt>
          <cx:pt idx="29970">3</cx:pt>
          <cx:pt idx="29971">5</cx:pt>
          <cx:pt idx="29972">3</cx:pt>
          <cx:pt idx="29973">4</cx:pt>
          <cx:pt idx="29974">2</cx:pt>
          <cx:pt idx="29975">1</cx:pt>
          <cx:pt idx="29976">1</cx:pt>
          <cx:pt idx="29977">2</cx:pt>
          <cx:pt idx="29978">3</cx:pt>
          <cx:pt idx="29979">4</cx:pt>
          <cx:pt idx="29980">4</cx:pt>
          <cx:pt idx="29981">5</cx:pt>
          <cx:pt idx="29982">2</cx:pt>
          <cx:pt idx="29983">2</cx:pt>
          <cx:pt idx="29984">2</cx:pt>
          <cx:pt idx="29985">5</cx:pt>
          <cx:pt idx="29986">2</cx:pt>
          <cx:pt idx="29987">5</cx:pt>
          <cx:pt idx="29988">3</cx:pt>
          <cx:pt idx="29989">5</cx:pt>
          <cx:pt idx="29990">5</cx:pt>
          <cx:pt idx="29991">4</cx:pt>
          <cx:pt idx="29992">2</cx:pt>
          <cx:pt idx="29993">4</cx:pt>
          <cx:pt idx="29994">4</cx:pt>
          <cx:pt idx="29995">4</cx:pt>
          <cx:pt idx="29996">3</cx:pt>
          <cx:pt idx="29997">2</cx:pt>
          <cx:pt idx="29998">5</cx:pt>
          <cx:pt idx="29999">1</cx:pt>
          <cx:pt idx="30000">5</cx:pt>
          <cx:pt idx="30001">5</cx:pt>
          <cx:pt idx="30002">5</cx:pt>
          <cx:pt idx="30003">2</cx:pt>
          <cx:pt idx="30004">5</cx:pt>
          <cx:pt idx="30005">5</cx:pt>
          <cx:pt idx="30006">4</cx:pt>
          <cx:pt idx="30007">2</cx:pt>
          <cx:pt idx="30008">4</cx:pt>
          <cx:pt idx="30009">5</cx:pt>
          <cx:pt idx="30010">3</cx:pt>
          <cx:pt idx="30011">3</cx:pt>
          <cx:pt idx="30012">4</cx:pt>
          <cx:pt idx="30013">2</cx:pt>
          <cx:pt idx="30014">3</cx:pt>
          <cx:pt idx="30015">3</cx:pt>
          <cx:pt idx="30016">1</cx:pt>
          <cx:pt idx="30017">5</cx:pt>
          <cx:pt idx="30018">5</cx:pt>
          <cx:pt idx="30019">4</cx:pt>
          <cx:pt idx="30020">4</cx:pt>
          <cx:pt idx="30021">5</cx:pt>
          <cx:pt idx="30022">4</cx:pt>
          <cx:pt idx="30023">2</cx:pt>
          <cx:pt idx="30024">3</cx:pt>
          <cx:pt idx="30025">3</cx:pt>
          <cx:pt idx="30026">3</cx:pt>
          <cx:pt idx="30027">4</cx:pt>
          <cx:pt idx="30028">5</cx:pt>
          <cx:pt idx="30029">4</cx:pt>
          <cx:pt idx="30030">5</cx:pt>
          <cx:pt idx="30031">3</cx:pt>
          <cx:pt idx="30032">4</cx:pt>
          <cx:pt idx="30033">4</cx:pt>
          <cx:pt idx="30034">3</cx:pt>
          <cx:pt idx="30035">5</cx:pt>
          <cx:pt idx="30036">3</cx:pt>
          <cx:pt idx="30037">2</cx:pt>
          <cx:pt idx="30038">3</cx:pt>
          <cx:pt idx="30039">5</cx:pt>
          <cx:pt idx="30040">4</cx:pt>
          <cx:pt idx="30041">5</cx:pt>
          <cx:pt idx="30042">3</cx:pt>
          <cx:pt idx="30043">2</cx:pt>
          <cx:pt idx="30044">5</cx:pt>
          <cx:pt idx="30045">1</cx:pt>
          <cx:pt idx="30046">5</cx:pt>
          <cx:pt idx="30047">5</cx:pt>
          <cx:pt idx="30048">4</cx:pt>
          <cx:pt idx="30049">5</cx:pt>
          <cx:pt idx="30050">2</cx:pt>
          <cx:pt idx="30051">4</cx:pt>
          <cx:pt idx="30052">4</cx:pt>
          <cx:pt idx="30053">5</cx:pt>
          <cx:pt idx="30054">3</cx:pt>
          <cx:pt idx="30055">3</cx:pt>
          <cx:pt idx="30056">5</cx:pt>
          <cx:pt idx="30057">5</cx:pt>
          <cx:pt idx="30058">3</cx:pt>
          <cx:pt idx="30059">3</cx:pt>
          <cx:pt idx="30060">4</cx:pt>
          <cx:pt idx="30061">3</cx:pt>
          <cx:pt idx="30062">5</cx:pt>
          <cx:pt idx="30063">2</cx:pt>
          <cx:pt idx="30064">4</cx:pt>
          <cx:pt idx="30065">4</cx:pt>
          <cx:pt idx="30066">4</cx:pt>
          <cx:pt idx="30067">3</cx:pt>
          <cx:pt idx="30068">3</cx:pt>
          <cx:pt idx="30069">5</cx:pt>
          <cx:pt idx="30070">3</cx:pt>
          <cx:pt idx="30071">3</cx:pt>
          <cx:pt idx="30072">1</cx:pt>
          <cx:pt idx="30073">5</cx:pt>
          <cx:pt idx="30074">4</cx:pt>
          <cx:pt idx="30075">2</cx:pt>
          <cx:pt idx="30076">5</cx:pt>
          <cx:pt idx="30077">4</cx:pt>
          <cx:pt idx="30078">5</cx:pt>
          <cx:pt idx="30079">4</cx:pt>
          <cx:pt idx="30080">1</cx:pt>
          <cx:pt idx="30081">1</cx:pt>
          <cx:pt idx="30082">1</cx:pt>
          <cx:pt idx="30083">4</cx:pt>
          <cx:pt idx="30084">2</cx:pt>
          <cx:pt idx="30085">5</cx:pt>
          <cx:pt idx="30086">3</cx:pt>
          <cx:pt idx="30087">1</cx:pt>
          <cx:pt idx="30088">4</cx:pt>
          <cx:pt idx="30089">3</cx:pt>
          <cx:pt idx="30090">5</cx:pt>
          <cx:pt idx="30091">4</cx:pt>
          <cx:pt idx="30092">4</cx:pt>
          <cx:pt idx="30093">2</cx:pt>
          <cx:pt idx="30094">2</cx:pt>
          <cx:pt idx="30095">4</cx:pt>
          <cx:pt idx="30096">5</cx:pt>
          <cx:pt idx="30097">3</cx:pt>
          <cx:pt idx="30098">4</cx:pt>
          <cx:pt idx="30099">1</cx:pt>
          <cx:pt idx="30100">3</cx:pt>
          <cx:pt idx="30101">4</cx:pt>
          <cx:pt idx="30102">5</cx:pt>
          <cx:pt idx="30103">4</cx:pt>
          <cx:pt idx="30104">3</cx:pt>
          <cx:pt idx="30105">5</cx:pt>
          <cx:pt idx="30106">4</cx:pt>
          <cx:pt idx="30107">5</cx:pt>
          <cx:pt idx="30108">5</cx:pt>
          <cx:pt idx="30109">1</cx:pt>
          <cx:pt idx="30110">5</cx:pt>
          <cx:pt idx="30111">4</cx:pt>
          <cx:pt idx="30112">4</cx:pt>
          <cx:pt idx="30113">4</cx:pt>
          <cx:pt idx="30114">5</cx:pt>
          <cx:pt idx="30115">5</cx:pt>
          <cx:pt idx="30116">5</cx:pt>
          <cx:pt idx="30117">4</cx:pt>
          <cx:pt idx="30118">2</cx:pt>
          <cx:pt idx="30119">1</cx:pt>
          <cx:pt idx="30120">1</cx:pt>
          <cx:pt idx="30121">5</cx:pt>
          <cx:pt idx="30122">2</cx:pt>
          <cx:pt idx="30123">1</cx:pt>
          <cx:pt idx="30124">3</cx:pt>
          <cx:pt idx="30125">2</cx:pt>
          <cx:pt idx="30126">5</cx:pt>
          <cx:pt idx="30127">5</cx:pt>
          <cx:pt idx="30128">4</cx:pt>
          <cx:pt idx="30129">5</cx:pt>
          <cx:pt idx="30130">4</cx:pt>
          <cx:pt idx="30131">4</cx:pt>
          <cx:pt idx="30132">5</cx:pt>
          <cx:pt idx="30133">4</cx:pt>
          <cx:pt idx="30134">4</cx:pt>
          <cx:pt idx="30135">4</cx:pt>
          <cx:pt idx="30136">4</cx:pt>
          <cx:pt idx="30137">2</cx:pt>
          <cx:pt idx="30138">5</cx:pt>
          <cx:pt idx="30139">4</cx:pt>
          <cx:pt idx="30140">5</cx:pt>
          <cx:pt idx="30141">5</cx:pt>
          <cx:pt idx="30142">5</cx:pt>
          <cx:pt idx="30143">1</cx:pt>
          <cx:pt idx="30144">4</cx:pt>
          <cx:pt idx="30145">4</cx:pt>
          <cx:pt idx="30146">1</cx:pt>
          <cx:pt idx="30147">3</cx:pt>
          <cx:pt idx="30148">2</cx:pt>
          <cx:pt idx="30149">4</cx:pt>
          <cx:pt idx="30150">5</cx:pt>
          <cx:pt idx="30151">4</cx:pt>
          <cx:pt idx="30152">2</cx:pt>
          <cx:pt idx="30153">4</cx:pt>
          <cx:pt idx="30154">2</cx:pt>
          <cx:pt idx="30155">2</cx:pt>
          <cx:pt idx="30156">4</cx:pt>
          <cx:pt idx="30157">2</cx:pt>
          <cx:pt idx="30158">1</cx:pt>
          <cx:pt idx="30159">5</cx:pt>
          <cx:pt idx="30160">3</cx:pt>
          <cx:pt idx="30161">1</cx:pt>
          <cx:pt idx="30162">3</cx:pt>
          <cx:pt idx="30163">1</cx:pt>
          <cx:pt idx="30164">4</cx:pt>
          <cx:pt idx="30165">4</cx:pt>
          <cx:pt idx="30166">4</cx:pt>
          <cx:pt idx="30167">2</cx:pt>
          <cx:pt idx="30168">2</cx:pt>
          <cx:pt idx="30169">2</cx:pt>
          <cx:pt idx="30170">5</cx:pt>
          <cx:pt idx="30171">3</cx:pt>
          <cx:pt idx="30172">4</cx:pt>
          <cx:pt idx="30173">1</cx:pt>
          <cx:pt idx="30174">4</cx:pt>
          <cx:pt idx="30175">4</cx:pt>
          <cx:pt idx="30176">4</cx:pt>
          <cx:pt idx="30177">1</cx:pt>
          <cx:pt idx="30178">4</cx:pt>
          <cx:pt idx="30179">5</cx:pt>
          <cx:pt idx="30180">2</cx:pt>
          <cx:pt idx="30181">4</cx:pt>
          <cx:pt idx="30182">4</cx:pt>
          <cx:pt idx="30183">1</cx:pt>
          <cx:pt idx="30184">1</cx:pt>
          <cx:pt idx="30185">3</cx:pt>
          <cx:pt idx="30186">4</cx:pt>
          <cx:pt idx="30187">3</cx:pt>
          <cx:pt idx="30188">5</cx:pt>
          <cx:pt idx="30189">1</cx:pt>
          <cx:pt idx="30190">4</cx:pt>
          <cx:pt idx="30191">2</cx:pt>
          <cx:pt idx="30192">4</cx:pt>
          <cx:pt idx="30193">5</cx:pt>
          <cx:pt idx="30194">1</cx:pt>
          <cx:pt idx="30195">5</cx:pt>
          <cx:pt idx="30196">5</cx:pt>
          <cx:pt idx="30197">5</cx:pt>
          <cx:pt idx="30198">4</cx:pt>
          <cx:pt idx="30199">3</cx:pt>
          <cx:pt idx="30200">4</cx:pt>
          <cx:pt idx="30201">2</cx:pt>
          <cx:pt idx="30202">4</cx:pt>
          <cx:pt idx="30203">1</cx:pt>
          <cx:pt idx="30204">5</cx:pt>
          <cx:pt idx="30205">1</cx:pt>
          <cx:pt idx="30206">3</cx:pt>
          <cx:pt idx="30207">4</cx:pt>
          <cx:pt idx="30208">3</cx:pt>
          <cx:pt idx="30209">3</cx:pt>
          <cx:pt idx="30210">2</cx:pt>
          <cx:pt idx="30211">1</cx:pt>
          <cx:pt idx="30212">5</cx:pt>
          <cx:pt idx="30213">5</cx:pt>
          <cx:pt idx="30214">1</cx:pt>
          <cx:pt idx="30215">5</cx:pt>
          <cx:pt idx="30216">5</cx:pt>
          <cx:pt idx="30217">2</cx:pt>
          <cx:pt idx="30218">5</cx:pt>
          <cx:pt idx="30219">4</cx:pt>
          <cx:pt idx="30220">4</cx:pt>
          <cx:pt idx="30221">5</cx:pt>
          <cx:pt idx="30222">4</cx:pt>
          <cx:pt idx="30223">5</cx:pt>
          <cx:pt idx="30224">5</cx:pt>
          <cx:pt idx="30225">4</cx:pt>
          <cx:pt idx="30226">5</cx:pt>
          <cx:pt idx="30227">4</cx:pt>
          <cx:pt idx="30228">5</cx:pt>
          <cx:pt idx="30229">3</cx:pt>
          <cx:pt idx="30230">4</cx:pt>
          <cx:pt idx="30231">1</cx:pt>
          <cx:pt idx="30232">5</cx:pt>
          <cx:pt idx="30233">4</cx:pt>
          <cx:pt idx="30234">5</cx:pt>
          <cx:pt idx="30235">4</cx:pt>
          <cx:pt idx="30236">3</cx:pt>
          <cx:pt idx="30237">4</cx:pt>
          <cx:pt idx="30238">3</cx:pt>
          <cx:pt idx="30239">3</cx:pt>
          <cx:pt idx="30240">4</cx:pt>
          <cx:pt idx="30241">4</cx:pt>
          <cx:pt idx="30242">5</cx:pt>
          <cx:pt idx="30243">4</cx:pt>
          <cx:pt idx="30244">5</cx:pt>
          <cx:pt idx="30245">1</cx:pt>
          <cx:pt idx="30246">4</cx:pt>
          <cx:pt idx="30247">2</cx:pt>
          <cx:pt idx="30248">5</cx:pt>
          <cx:pt idx="30249">4</cx:pt>
          <cx:pt idx="30250">3</cx:pt>
          <cx:pt idx="30251">1</cx:pt>
          <cx:pt idx="30252">3</cx:pt>
          <cx:pt idx="30253">1</cx:pt>
          <cx:pt idx="30254">2</cx:pt>
          <cx:pt idx="30255">4</cx:pt>
          <cx:pt idx="30256">2</cx:pt>
          <cx:pt idx="30257">3</cx:pt>
          <cx:pt idx="30258">3</cx:pt>
          <cx:pt idx="30259">5</cx:pt>
          <cx:pt idx="30260">5</cx:pt>
          <cx:pt idx="30261">1</cx:pt>
          <cx:pt idx="30262">2</cx:pt>
          <cx:pt idx="30263">3</cx:pt>
          <cx:pt idx="30264">2</cx:pt>
          <cx:pt idx="30265">5</cx:pt>
          <cx:pt idx="30266">3</cx:pt>
          <cx:pt idx="30267">1</cx:pt>
          <cx:pt idx="30268">3</cx:pt>
          <cx:pt idx="30269">4</cx:pt>
          <cx:pt idx="30270">1</cx:pt>
          <cx:pt idx="30271">1</cx:pt>
          <cx:pt idx="30272">5</cx:pt>
          <cx:pt idx="30273">5</cx:pt>
          <cx:pt idx="30274">5</cx:pt>
          <cx:pt idx="30275">3</cx:pt>
          <cx:pt idx="30276">3</cx:pt>
          <cx:pt idx="30277">4</cx:pt>
          <cx:pt idx="30278">4</cx:pt>
          <cx:pt idx="30279">5</cx:pt>
          <cx:pt idx="30280">4</cx:pt>
          <cx:pt idx="30281">1</cx:pt>
          <cx:pt idx="30282">3</cx:pt>
          <cx:pt idx="30283">4</cx:pt>
          <cx:pt idx="30284">4</cx:pt>
          <cx:pt idx="30285">4</cx:pt>
          <cx:pt idx="30286">4</cx:pt>
          <cx:pt idx="30287">4</cx:pt>
          <cx:pt idx="30288">5</cx:pt>
          <cx:pt idx="30289">3</cx:pt>
          <cx:pt idx="30290">4</cx:pt>
          <cx:pt idx="30291">4</cx:pt>
          <cx:pt idx="30292">4</cx:pt>
          <cx:pt idx="30293">3</cx:pt>
          <cx:pt idx="30294">4</cx:pt>
          <cx:pt idx="30295">5</cx:pt>
          <cx:pt idx="30296">3</cx:pt>
          <cx:pt idx="30297">2</cx:pt>
          <cx:pt idx="30298">4</cx:pt>
          <cx:pt idx="30299">4</cx:pt>
          <cx:pt idx="30300">3</cx:pt>
          <cx:pt idx="30301">5</cx:pt>
          <cx:pt idx="30302">5</cx:pt>
          <cx:pt idx="30303">5</cx:pt>
          <cx:pt idx="30304">2</cx:pt>
          <cx:pt idx="30305">2</cx:pt>
          <cx:pt idx="30306">4</cx:pt>
          <cx:pt idx="30307">5</cx:pt>
          <cx:pt idx="30308">3</cx:pt>
          <cx:pt idx="30309">5</cx:pt>
          <cx:pt idx="30310">5</cx:pt>
          <cx:pt idx="30311">5</cx:pt>
          <cx:pt idx="30312">3</cx:pt>
          <cx:pt idx="30313">4</cx:pt>
          <cx:pt idx="30314">4</cx:pt>
          <cx:pt idx="30315">2</cx:pt>
          <cx:pt idx="30316">3</cx:pt>
          <cx:pt idx="30317">3</cx:pt>
          <cx:pt idx="30318">2</cx:pt>
          <cx:pt idx="30319">1</cx:pt>
          <cx:pt idx="30320">5</cx:pt>
          <cx:pt idx="30321">2</cx:pt>
          <cx:pt idx="30322">4</cx:pt>
          <cx:pt idx="30323">3</cx:pt>
          <cx:pt idx="30324">5</cx:pt>
          <cx:pt idx="30325">4</cx:pt>
          <cx:pt idx="30326">3</cx:pt>
          <cx:pt idx="30327">5</cx:pt>
          <cx:pt idx="30328">4</cx:pt>
          <cx:pt idx="30329">2</cx:pt>
          <cx:pt idx="30330">1</cx:pt>
          <cx:pt idx="30331">2</cx:pt>
          <cx:pt idx="30332">5</cx:pt>
          <cx:pt idx="30333">4</cx:pt>
          <cx:pt idx="30334">4</cx:pt>
          <cx:pt idx="30335">5</cx:pt>
          <cx:pt idx="30336">5</cx:pt>
          <cx:pt idx="30337">2</cx:pt>
          <cx:pt idx="30338">5</cx:pt>
          <cx:pt idx="30339">3</cx:pt>
          <cx:pt idx="30340">4</cx:pt>
          <cx:pt idx="30341">2</cx:pt>
          <cx:pt idx="30342">4</cx:pt>
          <cx:pt idx="30343">1</cx:pt>
          <cx:pt idx="30344">5</cx:pt>
          <cx:pt idx="30345">4</cx:pt>
          <cx:pt idx="30346">4</cx:pt>
          <cx:pt idx="30347">1</cx:pt>
          <cx:pt idx="30348">1</cx:pt>
          <cx:pt idx="30349">4</cx:pt>
          <cx:pt idx="30350">3</cx:pt>
          <cx:pt idx="30351">1</cx:pt>
          <cx:pt idx="30352">4</cx:pt>
          <cx:pt idx="30353">2</cx:pt>
          <cx:pt idx="30354">3</cx:pt>
          <cx:pt idx="30355">4</cx:pt>
          <cx:pt idx="30356">5</cx:pt>
          <cx:pt idx="30357">1</cx:pt>
          <cx:pt idx="30358">2</cx:pt>
          <cx:pt idx="30359">1</cx:pt>
          <cx:pt idx="30360">4</cx:pt>
          <cx:pt idx="30361">2</cx:pt>
          <cx:pt idx="30362">3</cx:pt>
          <cx:pt idx="30363">3</cx:pt>
          <cx:pt idx="30364">1</cx:pt>
          <cx:pt idx="30365">3</cx:pt>
          <cx:pt idx="30366">2</cx:pt>
          <cx:pt idx="30367">5</cx:pt>
          <cx:pt idx="30368">3</cx:pt>
          <cx:pt idx="30369">1</cx:pt>
          <cx:pt idx="30370">4</cx:pt>
          <cx:pt idx="30371">4</cx:pt>
          <cx:pt idx="30372">1</cx:pt>
          <cx:pt idx="30373">3</cx:pt>
          <cx:pt idx="30374">5</cx:pt>
          <cx:pt idx="30375">3</cx:pt>
          <cx:pt idx="30376">2</cx:pt>
          <cx:pt idx="30377">4</cx:pt>
          <cx:pt idx="30378">2</cx:pt>
          <cx:pt idx="30379">2</cx:pt>
          <cx:pt idx="30380">3</cx:pt>
          <cx:pt idx="30381">4</cx:pt>
          <cx:pt idx="30382">3</cx:pt>
          <cx:pt idx="30383">3</cx:pt>
          <cx:pt idx="30384">3</cx:pt>
          <cx:pt idx="30385">5</cx:pt>
          <cx:pt idx="30386">4</cx:pt>
          <cx:pt idx="30387">1</cx:pt>
          <cx:pt idx="30388">3</cx:pt>
          <cx:pt idx="30389">3</cx:pt>
          <cx:pt idx="30390">3</cx:pt>
          <cx:pt idx="30391">5</cx:pt>
          <cx:pt idx="30392">5</cx:pt>
          <cx:pt idx="30393">5</cx:pt>
          <cx:pt idx="30394">5</cx:pt>
          <cx:pt idx="30395">3</cx:pt>
          <cx:pt idx="30396">5</cx:pt>
          <cx:pt idx="30397">4</cx:pt>
          <cx:pt idx="30398">4</cx:pt>
          <cx:pt idx="30399">4</cx:pt>
          <cx:pt idx="30400">4</cx:pt>
          <cx:pt idx="30401">2</cx:pt>
          <cx:pt idx="30402">4</cx:pt>
          <cx:pt idx="30403">4</cx:pt>
          <cx:pt idx="30404">4</cx:pt>
          <cx:pt idx="30405">4</cx:pt>
          <cx:pt idx="30406">5</cx:pt>
          <cx:pt idx="30407">1</cx:pt>
          <cx:pt idx="30408">5</cx:pt>
          <cx:pt idx="30409">3</cx:pt>
          <cx:pt idx="30410">3</cx:pt>
          <cx:pt idx="30411">5</cx:pt>
          <cx:pt idx="30412">5</cx:pt>
          <cx:pt idx="30413">4</cx:pt>
          <cx:pt idx="30414">3</cx:pt>
          <cx:pt idx="30415">2</cx:pt>
          <cx:pt idx="30416">3</cx:pt>
          <cx:pt idx="30417">1</cx:pt>
          <cx:pt idx="30418">2</cx:pt>
          <cx:pt idx="30419">5</cx:pt>
          <cx:pt idx="30420">3</cx:pt>
          <cx:pt idx="30421">1</cx:pt>
          <cx:pt idx="30422">1</cx:pt>
          <cx:pt idx="30423">2</cx:pt>
          <cx:pt idx="30424">3</cx:pt>
          <cx:pt idx="30425">1</cx:pt>
          <cx:pt idx="30426">2</cx:pt>
          <cx:pt idx="30427">5</cx:pt>
          <cx:pt idx="30428">4</cx:pt>
          <cx:pt idx="30429">4</cx:pt>
          <cx:pt idx="30430">2</cx:pt>
          <cx:pt idx="30431">3</cx:pt>
          <cx:pt idx="30432">4</cx:pt>
          <cx:pt idx="30433">2</cx:pt>
          <cx:pt idx="30434">2</cx:pt>
          <cx:pt idx="30435">5</cx:pt>
          <cx:pt idx="30436">3</cx:pt>
          <cx:pt idx="30437">4</cx:pt>
          <cx:pt idx="30438">4</cx:pt>
          <cx:pt idx="30439">4</cx:pt>
          <cx:pt idx="30440">2</cx:pt>
          <cx:pt idx="30441">5</cx:pt>
          <cx:pt idx="30442">3</cx:pt>
          <cx:pt idx="30443">3</cx:pt>
          <cx:pt idx="30444">5</cx:pt>
          <cx:pt idx="30445">4</cx:pt>
          <cx:pt idx="30446">4</cx:pt>
          <cx:pt idx="30447">4</cx:pt>
          <cx:pt idx="30448">4</cx:pt>
          <cx:pt idx="30449">5</cx:pt>
          <cx:pt idx="30450">5</cx:pt>
          <cx:pt idx="30451">3</cx:pt>
          <cx:pt idx="30452">5</cx:pt>
          <cx:pt idx="30453">4</cx:pt>
          <cx:pt idx="30454">4</cx:pt>
          <cx:pt idx="30455">4</cx:pt>
          <cx:pt idx="30456">1</cx:pt>
          <cx:pt idx="30457">1</cx:pt>
          <cx:pt idx="30458">5</cx:pt>
          <cx:pt idx="30459">5</cx:pt>
          <cx:pt idx="30460">4</cx:pt>
          <cx:pt idx="30461">4</cx:pt>
          <cx:pt idx="30462">2</cx:pt>
          <cx:pt idx="30463">1</cx:pt>
          <cx:pt idx="30464">4</cx:pt>
          <cx:pt idx="30465">4</cx:pt>
          <cx:pt idx="30466">3</cx:pt>
          <cx:pt idx="30467">5</cx:pt>
          <cx:pt idx="30468">3</cx:pt>
          <cx:pt idx="30469">3</cx:pt>
          <cx:pt idx="30470">5</cx:pt>
          <cx:pt idx="30471">5</cx:pt>
          <cx:pt idx="30472">4</cx:pt>
          <cx:pt idx="30473">1</cx:pt>
          <cx:pt idx="30474">5</cx:pt>
          <cx:pt idx="30475">3</cx:pt>
          <cx:pt idx="30476">5</cx:pt>
          <cx:pt idx="30477">3</cx:pt>
          <cx:pt idx="30478">4</cx:pt>
          <cx:pt idx="30479">4</cx:pt>
          <cx:pt idx="30480">3</cx:pt>
          <cx:pt idx="30481">3</cx:pt>
          <cx:pt idx="30482">3</cx:pt>
          <cx:pt idx="30483">5</cx:pt>
          <cx:pt idx="30484">1</cx:pt>
          <cx:pt idx="30485">3</cx:pt>
          <cx:pt idx="30486">4</cx:pt>
          <cx:pt idx="30487">2</cx:pt>
          <cx:pt idx="30488">5</cx:pt>
          <cx:pt idx="30489">4</cx:pt>
          <cx:pt idx="30490">4</cx:pt>
          <cx:pt idx="30491">4</cx:pt>
          <cx:pt idx="30492">2</cx:pt>
          <cx:pt idx="30493">4</cx:pt>
          <cx:pt idx="30494">4</cx:pt>
          <cx:pt idx="30495">2</cx:pt>
          <cx:pt idx="30496">4</cx:pt>
          <cx:pt idx="30497">4</cx:pt>
          <cx:pt idx="30498">5</cx:pt>
          <cx:pt idx="30499">2</cx:pt>
          <cx:pt idx="30500">4</cx:pt>
          <cx:pt idx="30501">1</cx:pt>
          <cx:pt idx="30502">3</cx:pt>
          <cx:pt idx="30503">4</cx:pt>
          <cx:pt idx="30504">5</cx:pt>
          <cx:pt idx="30505">3</cx:pt>
          <cx:pt idx="30506">5</cx:pt>
          <cx:pt idx="30507">3</cx:pt>
          <cx:pt idx="30508">5</cx:pt>
          <cx:pt idx="30509">1</cx:pt>
          <cx:pt idx="30510">1</cx:pt>
          <cx:pt idx="30511">5</cx:pt>
          <cx:pt idx="30512">4</cx:pt>
          <cx:pt idx="30513">3</cx:pt>
          <cx:pt idx="30514">4</cx:pt>
          <cx:pt idx="30515">4</cx:pt>
          <cx:pt idx="30516">5</cx:pt>
          <cx:pt idx="30517">2</cx:pt>
          <cx:pt idx="30518">5</cx:pt>
          <cx:pt idx="30519">1</cx:pt>
          <cx:pt idx="30520">4</cx:pt>
          <cx:pt idx="30521">5</cx:pt>
          <cx:pt idx="30522">4</cx:pt>
          <cx:pt idx="30523">4</cx:pt>
          <cx:pt idx="30524">4</cx:pt>
          <cx:pt idx="30525">2</cx:pt>
          <cx:pt idx="30526">2</cx:pt>
          <cx:pt idx="30527">5</cx:pt>
          <cx:pt idx="30528">2</cx:pt>
          <cx:pt idx="30529">1</cx:pt>
          <cx:pt idx="30530">4</cx:pt>
          <cx:pt idx="30531">4</cx:pt>
          <cx:pt idx="30532">5</cx:pt>
          <cx:pt idx="30533">1</cx:pt>
          <cx:pt idx="30534">4</cx:pt>
          <cx:pt idx="30535">3</cx:pt>
          <cx:pt idx="30536">4</cx:pt>
          <cx:pt idx="30537">5</cx:pt>
          <cx:pt idx="30538">5</cx:pt>
          <cx:pt idx="30539">1</cx:pt>
          <cx:pt idx="30540">5</cx:pt>
          <cx:pt idx="30541">2</cx:pt>
          <cx:pt idx="30542">4</cx:pt>
          <cx:pt idx="30543">3</cx:pt>
          <cx:pt idx="30544">5</cx:pt>
          <cx:pt idx="30545">5</cx:pt>
          <cx:pt idx="30546">5</cx:pt>
          <cx:pt idx="30547">4</cx:pt>
          <cx:pt idx="30548">4</cx:pt>
          <cx:pt idx="30549">4</cx:pt>
          <cx:pt idx="30550">3</cx:pt>
          <cx:pt idx="30551">4</cx:pt>
          <cx:pt idx="30552">3</cx:pt>
          <cx:pt idx="30553">5</cx:pt>
          <cx:pt idx="30554">3</cx:pt>
          <cx:pt idx="30555">5</cx:pt>
          <cx:pt idx="30556">5</cx:pt>
          <cx:pt idx="30557">2</cx:pt>
          <cx:pt idx="30558">2</cx:pt>
          <cx:pt idx="30559">3</cx:pt>
          <cx:pt idx="30560">1</cx:pt>
          <cx:pt idx="30561">3</cx:pt>
          <cx:pt idx="30562">3</cx:pt>
          <cx:pt idx="30563">2</cx:pt>
          <cx:pt idx="30564">5</cx:pt>
          <cx:pt idx="30565">3</cx:pt>
          <cx:pt idx="30566">3</cx:pt>
          <cx:pt idx="30567">4</cx:pt>
          <cx:pt idx="30568">5</cx:pt>
          <cx:pt idx="30569">4</cx:pt>
          <cx:pt idx="30570">4</cx:pt>
          <cx:pt idx="30571">5</cx:pt>
          <cx:pt idx="30572">4</cx:pt>
          <cx:pt idx="30573">5</cx:pt>
          <cx:pt idx="30574">5</cx:pt>
          <cx:pt idx="30575">5</cx:pt>
          <cx:pt idx="30576">4</cx:pt>
          <cx:pt idx="30577">3</cx:pt>
          <cx:pt idx="30578">4</cx:pt>
          <cx:pt idx="30579">5</cx:pt>
          <cx:pt idx="30580">4</cx:pt>
          <cx:pt idx="30581">3</cx:pt>
          <cx:pt idx="30582">3</cx:pt>
          <cx:pt idx="30583">1</cx:pt>
          <cx:pt idx="30584">2</cx:pt>
          <cx:pt idx="30585">5</cx:pt>
          <cx:pt idx="30586">4</cx:pt>
          <cx:pt idx="30587">3</cx:pt>
          <cx:pt idx="30588">2</cx:pt>
          <cx:pt idx="30589">3</cx:pt>
          <cx:pt idx="30590">4</cx:pt>
          <cx:pt idx="30591">4</cx:pt>
          <cx:pt idx="30592">5</cx:pt>
          <cx:pt idx="30593">3</cx:pt>
          <cx:pt idx="30594">4</cx:pt>
          <cx:pt idx="30595">5</cx:pt>
          <cx:pt idx="30596">3</cx:pt>
          <cx:pt idx="30597">2</cx:pt>
          <cx:pt idx="30598">4</cx:pt>
          <cx:pt idx="30599">2</cx:pt>
          <cx:pt idx="30600">2</cx:pt>
          <cx:pt idx="30601">5</cx:pt>
          <cx:pt idx="30602">5</cx:pt>
          <cx:pt idx="30603">4</cx:pt>
          <cx:pt idx="30604">4</cx:pt>
          <cx:pt idx="30605">4</cx:pt>
          <cx:pt idx="30606">5</cx:pt>
          <cx:pt idx="30607">4</cx:pt>
          <cx:pt idx="30608">2</cx:pt>
          <cx:pt idx="30609">2</cx:pt>
          <cx:pt idx="30610">4</cx:pt>
          <cx:pt idx="30611">4</cx:pt>
          <cx:pt idx="30612">1</cx:pt>
          <cx:pt idx="30613">4</cx:pt>
          <cx:pt idx="30614">1</cx:pt>
          <cx:pt idx="30615">3</cx:pt>
          <cx:pt idx="30616">5</cx:pt>
          <cx:pt idx="30617">4</cx:pt>
          <cx:pt idx="30618">2</cx:pt>
          <cx:pt idx="30619">3</cx:pt>
          <cx:pt idx="30620">2</cx:pt>
          <cx:pt idx="30621">5</cx:pt>
          <cx:pt idx="30622">2</cx:pt>
          <cx:pt idx="30623">4</cx:pt>
          <cx:pt idx="30624">2</cx:pt>
          <cx:pt idx="30625">2</cx:pt>
          <cx:pt idx="30626">3</cx:pt>
          <cx:pt idx="30627">2</cx:pt>
          <cx:pt idx="30628">5</cx:pt>
          <cx:pt idx="30629">2</cx:pt>
          <cx:pt idx="30630">4</cx:pt>
          <cx:pt idx="30631">4</cx:pt>
          <cx:pt idx="30632">3</cx:pt>
          <cx:pt idx="30633">5</cx:pt>
          <cx:pt idx="30634">1</cx:pt>
          <cx:pt idx="30635">5</cx:pt>
          <cx:pt idx="30636">4</cx:pt>
          <cx:pt idx="30637">5</cx:pt>
          <cx:pt idx="30638">3</cx:pt>
          <cx:pt idx="30639">5</cx:pt>
          <cx:pt idx="30640">3</cx:pt>
          <cx:pt idx="30641">3</cx:pt>
          <cx:pt idx="30642">3</cx:pt>
          <cx:pt idx="30643">2</cx:pt>
          <cx:pt idx="30644">5</cx:pt>
          <cx:pt idx="30645">3</cx:pt>
          <cx:pt idx="30646">3</cx:pt>
          <cx:pt idx="30647">1</cx:pt>
          <cx:pt idx="30648">2</cx:pt>
          <cx:pt idx="30649">5</cx:pt>
          <cx:pt idx="30650">5</cx:pt>
          <cx:pt idx="30651">2</cx:pt>
          <cx:pt idx="30652">3</cx:pt>
          <cx:pt idx="30653">4</cx:pt>
          <cx:pt idx="30654">5</cx:pt>
          <cx:pt idx="30655">3</cx:pt>
          <cx:pt idx="30656">4</cx:pt>
          <cx:pt idx="30657">3</cx:pt>
          <cx:pt idx="30658">3</cx:pt>
          <cx:pt idx="30659">5</cx:pt>
          <cx:pt idx="30660">4</cx:pt>
          <cx:pt idx="30661">3</cx:pt>
          <cx:pt idx="30662">1</cx:pt>
          <cx:pt idx="30663">5</cx:pt>
          <cx:pt idx="30664">4</cx:pt>
          <cx:pt idx="30665">5</cx:pt>
          <cx:pt idx="30666">2</cx:pt>
          <cx:pt idx="30667">3</cx:pt>
          <cx:pt idx="30668">5</cx:pt>
          <cx:pt idx="30669">2</cx:pt>
          <cx:pt idx="30670">3</cx:pt>
          <cx:pt idx="30671">4</cx:pt>
          <cx:pt idx="30672">5</cx:pt>
          <cx:pt idx="30673">4</cx:pt>
          <cx:pt idx="30674">1</cx:pt>
          <cx:pt idx="30675">4</cx:pt>
          <cx:pt idx="30676">2</cx:pt>
          <cx:pt idx="30677">1</cx:pt>
          <cx:pt idx="30678">2</cx:pt>
          <cx:pt idx="30679">3</cx:pt>
          <cx:pt idx="30680">1</cx:pt>
          <cx:pt idx="30681">3</cx:pt>
          <cx:pt idx="30682">5</cx:pt>
          <cx:pt idx="30683">2</cx:pt>
          <cx:pt idx="30684">4</cx:pt>
          <cx:pt idx="30685">3</cx:pt>
          <cx:pt idx="30686">5</cx:pt>
          <cx:pt idx="30687">4</cx:pt>
          <cx:pt idx="30688">4</cx:pt>
          <cx:pt idx="30689">5</cx:pt>
          <cx:pt idx="30690">3</cx:pt>
          <cx:pt idx="30691">5</cx:pt>
          <cx:pt idx="30692">5</cx:pt>
          <cx:pt idx="30693">5</cx:pt>
          <cx:pt idx="30694">3</cx:pt>
          <cx:pt idx="30695">2</cx:pt>
          <cx:pt idx="30696">2</cx:pt>
          <cx:pt idx="30697">3</cx:pt>
          <cx:pt idx="30698">2</cx:pt>
          <cx:pt idx="30699">5</cx:pt>
          <cx:pt idx="30700">5</cx:pt>
          <cx:pt idx="30701">5</cx:pt>
          <cx:pt idx="30702">4</cx:pt>
          <cx:pt idx="30703">2</cx:pt>
          <cx:pt idx="30704">2</cx:pt>
          <cx:pt idx="30705">3</cx:pt>
          <cx:pt idx="30706">4</cx:pt>
          <cx:pt idx="30707">4</cx:pt>
          <cx:pt idx="30708">4</cx:pt>
          <cx:pt idx="30709">4</cx:pt>
          <cx:pt idx="30710">2</cx:pt>
          <cx:pt idx="30711">4</cx:pt>
          <cx:pt idx="30712">4</cx:pt>
          <cx:pt idx="30713">1</cx:pt>
          <cx:pt idx="30714">1</cx:pt>
          <cx:pt idx="30715">5</cx:pt>
          <cx:pt idx="30716">2</cx:pt>
          <cx:pt idx="30717">4</cx:pt>
          <cx:pt idx="30718">4</cx:pt>
          <cx:pt idx="30719">5</cx:pt>
          <cx:pt idx="30720">4</cx:pt>
          <cx:pt idx="30721">5</cx:pt>
          <cx:pt idx="30722">4</cx:pt>
          <cx:pt idx="30723">1</cx:pt>
          <cx:pt idx="30724">2</cx:pt>
          <cx:pt idx="30725">4</cx:pt>
          <cx:pt idx="30726">3</cx:pt>
          <cx:pt idx="30727">2</cx:pt>
          <cx:pt idx="30728">5</cx:pt>
          <cx:pt idx="30729">5</cx:pt>
          <cx:pt idx="30730">1</cx:pt>
          <cx:pt idx="30731">4</cx:pt>
          <cx:pt idx="30732">4</cx:pt>
          <cx:pt idx="30733">5</cx:pt>
          <cx:pt idx="30734">1</cx:pt>
          <cx:pt idx="30735">3</cx:pt>
          <cx:pt idx="30736">2</cx:pt>
          <cx:pt idx="30737">5</cx:pt>
          <cx:pt idx="30738">4</cx:pt>
          <cx:pt idx="30739">3</cx:pt>
          <cx:pt idx="30740">3</cx:pt>
          <cx:pt idx="30741">4</cx:pt>
          <cx:pt idx="30742">1</cx:pt>
          <cx:pt idx="30743">5</cx:pt>
          <cx:pt idx="30744">5</cx:pt>
          <cx:pt idx="30745">5</cx:pt>
          <cx:pt idx="30746">5</cx:pt>
          <cx:pt idx="30747">4</cx:pt>
          <cx:pt idx="30748">4</cx:pt>
          <cx:pt idx="30749">4</cx:pt>
          <cx:pt idx="30750">1</cx:pt>
          <cx:pt idx="30751">2</cx:pt>
          <cx:pt idx="30752">5</cx:pt>
          <cx:pt idx="30753">5</cx:pt>
          <cx:pt idx="30754">3</cx:pt>
          <cx:pt idx="30755">5</cx:pt>
          <cx:pt idx="30756">2</cx:pt>
          <cx:pt idx="30757">3</cx:pt>
          <cx:pt idx="30758">5</cx:pt>
          <cx:pt idx="30759">4</cx:pt>
          <cx:pt idx="30760">4</cx:pt>
          <cx:pt idx="30761">2</cx:pt>
          <cx:pt idx="30762">4</cx:pt>
          <cx:pt idx="30763">1</cx:pt>
          <cx:pt idx="30764">5</cx:pt>
          <cx:pt idx="30765">2</cx:pt>
          <cx:pt idx="30766">4</cx:pt>
          <cx:pt idx="30767">3</cx:pt>
          <cx:pt idx="30768">2</cx:pt>
          <cx:pt idx="30769">2</cx:pt>
          <cx:pt idx="30770">5</cx:pt>
          <cx:pt idx="30771">2</cx:pt>
          <cx:pt idx="30772">5</cx:pt>
          <cx:pt idx="30773">1</cx:pt>
          <cx:pt idx="30774">5</cx:pt>
          <cx:pt idx="30775">4</cx:pt>
          <cx:pt idx="30776">3</cx:pt>
          <cx:pt idx="30777">4</cx:pt>
          <cx:pt idx="30778">4</cx:pt>
          <cx:pt idx="30779">5</cx:pt>
          <cx:pt idx="30780">4</cx:pt>
          <cx:pt idx="30781">1</cx:pt>
          <cx:pt idx="30782">5</cx:pt>
          <cx:pt idx="30783">2</cx:pt>
          <cx:pt idx="30784">4</cx:pt>
          <cx:pt idx="30785">4</cx:pt>
          <cx:pt idx="30786">5</cx:pt>
          <cx:pt idx="30787">3</cx:pt>
          <cx:pt idx="30788">5</cx:pt>
          <cx:pt idx="30789">5</cx:pt>
          <cx:pt idx="30790">1</cx:pt>
          <cx:pt idx="30791">4</cx:pt>
          <cx:pt idx="30792">5</cx:pt>
          <cx:pt idx="30793">1</cx:pt>
          <cx:pt idx="30794">4</cx:pt>
          <cx:pt idx="30795">3</cx:pt>
          <cx:pt idx="30796">4</cx:pt>
          <cx:pt idx="30797">5</cx:pt>
          <cx:pt idx="30798">1</cx:pt>
          <cx:pt idx="30799">5</cx:pt>
          <cx:pt idx="30800">5</cx:pt>
          <cx:pt idx="30801">4</cx:pt>
          <cx:pt idx="30802">1</cx:pt>
          <cx:pt idx="30803">2</cx:pt>
          <cx:pt idx="30804">1</cx:pt>
          <cx:pt idx="30805">5</cx:pt>
          <cx:pt idx="30806">3</cx:pt>
          <cx:pt idx="30807">4</cx:pt>
          <cx:pt idx="30808">5</cx:pt>
          <cx:pt idx="30809">2</cx:pt>
          <cx:pt idx="30810">5</cx:pt>
          <cx:pt idx="30811">3</cx:pt>
          <cx:pt idx="30812">2</cx:pt>
          <cx:pt idx="30813">5</cx:pt>
          <cx:pt idx="30814">3</cx:pt>
          <cx:pt idx="30815">5</cx:pt>
          <cx:pt idx="30816">3</cx:pt>
          <cx:pt idx="30817">1</cx:pt>
          <cx:pt idx="30818">5</cx:pt>
          <cx:pt idx="30819">5</cx:pt>
          <cx:pt idx="30820">3</cx:pt>
          <cx:pt idx="30821">5</cx:pt>
          <cx:pt idx="30822">2</cx:pt>
          <cx:pt idx="30823">2</cx:pt>
          <cx:pt idx="30824">4</cx:pt>
          <cx:pt idx="30825">5</cx:pt>
          <cx:pt idx="30826">4</cx:pt>
          <cx:pt idx="30827">5</cx:pt>
          <cx:pt idx="30828">2</cx:pt>
          <cx:pt idx="30829">4</cx:pt>
          <cx:pt idx="30830">4</cx:pt>
          <cx:pt idx="30831">2</cx:pt>
          <cx:pt idx="30832">1</cx:pt>
          <cx:pt idx="30833">1</cx:pt>
          <cx:pt idx="30834">2</cx:pt>
          <cx:pt idx="30835">3</cx:pt>
          <cx:pt idx="30836">5</cx:pt>
          <cx:pt idx="30837">4</cx:pt>
          <cx:pt idx="30838">5</cx:pt>
          <cx:pt idx="30839">1</cx:pt>
          <cx:pt idx="30840">4</cx:pt>
          <cx:pt idx="30841">3</cx:pt>
          <cx:pt idx="30842">5</cx:pt>
          <cx:pt idx="30843">5</cx:pt>
          <cx:pt idx="30844">5</cx:pt>
          <cx:pt idx="30845">4</cx:pt>
          <cx:pt idx="30846">4</cx:pt>
          <cx:pt idx="30847">3</cx:pt>
          <cx:pt idx="30848">1</cx:pt>
          <cx:pt idx="30849">1</cx:pt>
          <cx:pt idx="30850">2</cx:pt>
          <cx:pt idx="30851">4</cx:pt>
          <cx:pt idx="30852">3</cx:pt>
          <cx:pt idx="30853">4</cx:pt>
          <cx:pt idx="30854">5</cx:pt>
          <cx:pt idx="30855">2</cx:pt>
          <cx:pt idx="30856">4</cx:pt>
          <cx:pt idx="30857">5</cx:pt>
          <cx:pt idx="30858">3</cx:pt>
          <cx:pt idx="30859">2</cx:pt>
          <cx:pt idx="30860">4</cx:pt>
          <cx:pt idx="30861">3</cx:pt>
          <cx:pt idx="30862">5</cx:pt>
          <cx:pt idx="30863">4</cx:pt>
          <cx:pt idx="30864">4</cx:pt>
          <cx:pt idx="30865">5</cx:pt>
          <cx:pt idx="30866">5</cx:pt>
          <cx:pt idx="30867">2</cx:pt>
          <cx:pt idx="30868">3</cx:pt>
          <cx:pt idx="30869">1</cx:pt>
          <cx:pt idx="30870">2</cx:pt>
          <cx:pt idx="30871">4</cx:pt>
          <cx:pt idx="30872">4</cx:pt>
          <cx:pt idx="30873">4</cx:pt>
          <cx:pt idx="30874">3</cx:pt>
          <cx:pt idx="30875">2</cx:pt>
          <cx:pt idx="30876">1</cx:pt>
          <cx:pt idx="30877">4</cx:pt>
          <cx:pt idx="30878">4</cx:pt>
          <cx:pt idx="30879">4</cx:pt>
          <cx:pt idx="30880">4</cx:pt>
          <cx:pt idx="30881">4</cx:pt>
          <cx:pt idx="30882">5</cx:pt>
          <cx:pt idx="30883">3</cx:pt>
          <cx:pt idx="30884">2</cx:pt>
          <cx:pt idx="30885">2</cx:pt>
          <cx:pt idx="30886">2</cx:pt>
          <cx:pt idx="30887">5</cx:pt>
          <cx:pt idx="30888">5</cx:pt>
          <cx:pt idx="30889">5</cx:pt>
          <cx:pt idx="30890">4</cx:pt>
          <cx:pt idx="30891">3</cx:pt>
          <cx:pt idx="30892">5</cx:pt>
          <cx:pt idx="30893">4</cx:pt>
          <cx:pt idx="30894">1</cx:pt>
          <cx:pt idx="30895">5</cx:pt>
          <cx:pt idx="30896">5</cx:pt>
          <cx:pt idx="30897">4</cx:pt>
          <cx:pt idx="30898">5</cx:pt>
          <cx:pt idx="30899">4</cx:pt>
          <cx:pt idx="30900">1</cx:pt>
          <cx:pt idx="30901">4</cx:pt>
          <cx:pt idx="30902">2</cx:pt>
          <cx:pt idx="30903">4</cx:pt>
          <cx:pt idx="30904">2</cx:pt>
          <cx:pt idx="30905">3</cx:pt>
          <cx:pt idx="30906">5</cx:pt>
          <cx:pt idx="30907">5</cx:pt>
          <cx:pt idx="30908">5</cx:pt>
          <cx:pt idx="30909">3</cx:pt>
          <cx:pt idx="30910">1</cx:pt>
          <cx:pt idx="30911">2</cx:pt>
          <cx:pt idx="30912">3</cx:pt>
          <cx:pt idx="30913">2</cx:pt>
          <cx:pt idx="30914">1</cx:pt>
          <cx:pt idx="30915">3</cx:pt>
          <cx:pt idx="30916">2</cx:pt>
          <cx:pt idx="30917">5</cx:pt>
          <cx:pt idx="30918">4</cx:pt>
          <cx:pt idx="30919">1</cx:pt>
          <cx:pt idx="30920">5</cx:pt>
          <cx:pt idx="30921">3</cx:pt>
          <cx:pt idx="30922">2</cx:pt>
          <cx:pt idx="30923">2</cx:pt>
          <cx:pt idx="30924">5</cx:pt>
          <cx:pt idx="30925">2</cx:pt>
          <cx:pt idx="30926">4</cx:pt>
          <cx:pt idx="30927">5</cx:pt>
          <cx:pt idx="30928">2</cx:pt>
          <cx:pt idx="30929">3</cx:pt>
          <cx:pt idx="30930">3</cx:pt>
          <cx:pt idx="30931">3</cx:pt>
          <cx:pt idx="30932">5</cx:pt>
          <cx:pt idx="30933">4</cx:pt>
          <cx:pt idx="30934">4</cx:pt>
          <cx:pt idx="30935">5</cx:pt>
          <cx:pt idx="30936">5</cx:pt>
          <cx:pt idx="30937">1</cx:pt>
          <cx:pt idx="30938">3</cx:pt>
          <cx:pt idx="30939">1</cx:pt>
          <cx:pt idx="30940">1</cx:pt>
          <cx:pt idx="30941">2</cx:pt>
          <cx:pt idx="30942">1</cx:pt>
          <cx:pt idx="30943">5</cx:pt>
          <cx:pt idx="30944">3</cx:pt>
          <cx:pt idx="30945">5</cx:pt>
          <cx:pt idx="30946">2</cx:pt>
          <cx:pt idx="30947">3</cx:pt>
          <cx:pt idx="30948">4</cx:pt>
          <cx:pt idx="30949">3</cx:pt>
          <cx:pt idx="30950">3</cx:pt>
          <cx:pt idx="30951">4</cx:pt>
          <cx:pt idx="30952">2</cx:pt>
          <cx:pt idx="30953">4</cx:pt>
          <cx:pt idx="30954">5</cx:pt>
          <cx:pt idx="30955">4</cx:pt>
          <cx:pt idx="30956">4</cx:pt>
          <cx:pt idx="30957">5</cx:pt>
          <cx:pt idx="30958">1</cx:pt>
          <cx:pt idx="30959">5</cx:pt>
          <cx:pt idx="30960">4</cx:pt>
          <cx:pt idx="30961">4</cx:pt>
          <cx:pt idx="30962">4</cx:pt>
          <cx:pt idx="30963">5</cx:pt>
          <cx:pt idx="30964">5</cx:pt>
          <cx:pt idx="30965">4</cx:pt>
          <cx:pt idx="30966">4</cx:pt>
          <cx:pt idx="30967">3</cx:pt>
          <cx:pt idx="30968">4</cx:pt>
          <cx:pt idx="30969">3</cx:pt>
          <cx:pt idx="30970">2</cx:pt>
          <cx:pt idx="30971">3</cx:pt>
          <cx:pt idx="30972">3</cx:pt>
          <cx:pt idx="30973">3</cx:pt>
          <cx:pt idx="30974">4</cx:pt>
          <cx:pt idx="30975">1</cx:pt>
          <cx:pt idx="30976">4</cx:pt>
          <cx:pt idx="30977">2</cx:pt>
          <cx:pt idx="30978">1</cx:pt>
          <cx:pt idx="30979">2</cx:pt>
          <cx:pt idx="30980">5</cx:pt>
          <cx:pt idx="30981">3</cx:pt>
          <cx:pt idx="30982">3</cx:pt>
          <cx:pt idx="30983">4</cx:pt>
          <cx:pt idx="30984">4</cx:pt>
          <cx:pt idx="30985">1</cx:pt>
          <cx:pt idx="30986">2</cx:pt>
          <cx:pt idx="30987">3</cx:pt>
          <cx:pt idx="30988">4</cx:pt>
          <cx:pt idx="30989">4</cx:pt>
          <cx:pt idx="30990">4</cx:pt>
          <cx:pt idx="30991">3</cx:pt>
          <cx:pt idx="30992">3</cx:pt>
          <cx:pt idx="30993">5</cx:pt>
          <cx:pt idx="30994">4</cx:pt>
          <cx:pt idx="30995">5</cx:pt>
          <cx:pt idx="30996">3</cx:pt>
          <cx:pt idx="30997">5</cx:pt>
          <cx:pt idx="30998">4</cx:pt>
          <cx:pt idx="30999">2</cx:pt>
          <cx:pt idx="31000">5</cx:pt>
          <cx:pt idx="31001">5</cx:pt>
          <cx:pt idx="31002">4</cx:pt>
          <cx:pt idx="31003">5</cx:pt>
          <cx:pt idx="31004">3</cx:pt>
          <cx:pt idx="31005">1</cx:pt>
          <cx:pt idx="31006">1</cx:pt>
          <cx:pt idx="31007">4</cx:pt>
          <cx:pt idx="31008">5</cx:pt>
          <cx:pt idx="31009">2</cx:pt>
          <cx:pt idx="31010">3</cx:pt>
          <cx:pt idx="31011">4</cx:pt>
          <cx:pt idx="31012">3</cx:pt>
          <cx:pt idx="31013">3</cx:pt>
          <cx:pt idx="31014">4</cx:pt>
          <cx:pt idx="31015">3</cx:pt>
          <cx:pt idx="31016">1</cx:pt>
          <cx:pt idx="31017">4</cx:pt>
          <cx:pt idx="31018">4</cx:pt>
          <cx:pt idx="31019">3</cx:pt>
          <cx:pt idx="31020">4</cx:pt>
          <cx:pt idx="31021">4</cx:pt>
          <cx:pt idx="31022">4</cx:pt>
          <cx:pt idx="31023">3</cx:pt>
          <cx:pt idx="31024">5</cx:pt>
          <cx:pt idx="31025">4</cx:pt>
          <cx:pt idx="31026">4</cx:pt>
          <cx:pt idx="31027">5</cx:pt>
          <cx:pt idx="31028">4</cx:pt>
          <cx:pt idx="31029">5</cx:pt>
          <cx:pt idx="31030">5</cx:pt>
          <cx:pt idx="31031">4</cx:pt>
          <cx:pt idx="31032">4</cx:pt>
          <cx:pt idx="31033">2</cx:pt>
          <cx:pt idx="31034">5</cx:pt>
          <cx:pt idx="31035">4</cx:pt>
          <cx:pt idx="31036">2</cx:pt>
          <cx:pt idx="31037">4</cx:pt>
          <cx:pt idx="31038">5</cx:pt>
          <cx:pt idx="31039">4</cx:pt>
          <cx:pt idx="31040">4</cx:pt>
          <cx:pt idx="31041">5</cx:pt>
          <cx:pt idx="31042">4</cx:pt>
          <cx:pt idx="31043">4</cx:pt>
          <cx:pt idx="31044">2</cx:pt>
          <cx:pt idx="31045">4</cx:pt>
          <cx:pt idx="31046">5</cx:pt>
          <cx:pt idx="31047">4</cx:pt>
          <cx:pt idx="31048">3</cx:pt>
          <cx:pt idx="31049">5</cx:pt>
          <cx:pt idx="31050">2</cx:pt>
          <cx:pt idx="31051">5</cx:pt>
          <cx:pt idx="31052">4</cx:pt>
          <cx:pt idx="31053">3</cx:pt>
          <cx:pt idx="31054">1</cx:pt>
          <cx:pt idx="31055">4</cx:pt>
          <cx:pt idx="31056">5</cx:pt>
          <cx:pt idx="31057">5</cx:pt>
          <cx:pt idx="31058">4</cx:pt>
          <cx:pt idx="31059">4</cx:pt>
          <cx:pt idx="31060">5</cx:pt>
          <cx:pt idx="31061">3</cx:pt>
          <cx:pt idx="31062">4</cx:pt>
          <cx:pt idx="31063">4</cx:pt>
          <cx:pt idx="31064">3</cx:pt>
          <cx:pt idx="31065">4</cx:pt>
          <cx:pt idx="31066">5</cx:pt>
          <cx:pt idx="31067">5</cx:pt>
          <cx:pt idx="31068">4</cx:pt>
          <cx:pt idx="31069">4</cx:pt>
          <cx:pt idx="31070">2</cx:pt>
          <cx:pt idx="31071">1</cx:pt>
          <cx:pt idx="31072">4</cx:pt>
          <cx:pt idx="31073">5</cx:pt>
          <cx:pt idx="31074">5</cx:pt>
          <cx:pt idx="31075">4</cx:pt>
          <cx:pt idx="31076">3</cx:pt>
          <cx:pt idx="31077">5</cx:pt>
          <cx:pt idx="31078">5</cx:pt>
          <cx:pt idx="31079">2</cx:pt>
          <cx:pt idx="31080">3</cx:pt>
          <cx:pt idx="31081">5</cx:pt>
          <cx:pt idx="31082">1</cx:pt>
          <cx:pt idx="31083">3</cx:pt>
          <cx:pt idx="31084">1</cx:pt>
          <cx:pt idx="31085">5</cx:pt>
          <cx:pt idx="31086">2</cx:pt>
          <cx:pt idx="31087">5</cx:pt>
          <cx:pt idx="31088">2</cx:pt>
          <cx:pt idx="31089">3</cx:pt>
          <cx:pt idx="31090">4</cx:pt>
          <cx:pt idx="31091">3</cx:pt>
          <cx:pt idx="31092">2</cx:pt>
          <cx:pt idx="31093">2</cx:pt>
          <cx:pt idx="31094">5</cx:pt>
          <cx:pt idx="31095">4</cx:pt>
          <cx:pt idx="31096">1</cx:pt>
          <cx:pt idx="31097">4</cx:pt>
          <cx:pt idx="31098">4</cx:pt>
          <cx:pt idx="31099">5</cx:pt>
          <cx:pt idx="31100">2</cx:pt>
          <cx:pt idx="31101">3</cx:pt>
          <cx:pt idx="31102">5</cx:pt>
          <cx:pt idx="31103">1</cx:pt>
          <cx:pt idx="31104">4</cx:pt>
          <cx:pt idx="31105">2</cx:pt>
          <cx:pt idx="31106">2</cx:pt>
          <cx:pt idx="31107">2</cx:pt>
          <cx:pt idx="31108">4</cx:pt>
          <cx:pt idx="31109">5</cx:pt>
          <cx:pt idx="31110">5</cx:pt>
          <cx:pt idx="31111">5</cx:pt>
          <cx:pt idx="31112">5</cx:pt>
          <cx:pt idx="31113">5</cx:pt>
          <cx:pt idx="31114">4</cx:pt>
          <cx:pt idx="31115">1</cx:pt>
          <cx:pt idx="31116">5</cx:pt>
          <cx:pt idx="31117">3</cx:pt>
          <cx:pt idx="31118">4</cx:pt>
          <cx:pt idx="31119">4</cx:pt>
          <cx:pt idx="31120">5</cx:pt>
          <cx:pt idx="31121">5</cx:pt>
          <cx:pt idx="31122">4</cx:pt>
          <cx:pt idx="31123">3</cx:pt>
          <cx:pt idx="31124">5</cx:pt>
          <cx:pt idx="31125">4</cx:pt>
          <cx:pt idx="31126">4</cx:pt>
          <cx:pt idx="31127">4</cx:pt>
          <cx:pt idx="31128">4</cx:pt>
          <cx:pt idx="31129">5</cx:pt>
          <cx:pt idx="31130">5</cx:pt>
          <cx:pt idx="31131">5</cx:pt>
          <cx:pt idx="31132">4</cx:pt>
          <cx:pt idx="31133">4</cx:pt>
          <cx:pt idx="31134">2</cx:pt>
          <cx:pt idx="31135">3</cx:pt>
          <cx:pt idx="31136">4</cx:pt>
          <cx:pt idx="31137">1</cx:pt>
          <cx:pt idx="31138">3</cx:pt>
          <cx:pt idx="31139">5</cx:pt>
          <cx:pt idx="31140">5</cx:pt>
          <cx:pt idx="31141">4</cx:pt>
          <cx:pt idx="31142">2</cx:pt>
          <cx:pt idx="31143">5</cx:pt>
          <cx:pt idx="31144">3</cx:pt>
          <cx:pt idx="31145">5</cx:pt>
          <cx:pt idx="31146">4</cx:pt>
          <cx:pt idx="31147">4</cx:pt>
          <cx:pt idx="31148">1</cx:pt>
          <cx:pt idx="31149">4</cx:pt>
          <cx:pt idx="31150">4</cx:pt>
          <cx:pt idx="31151">1</cx:pt>
          <cx:pt idx="31152">2</cx:pt>
          <cx:pt idx="31153">5</cx:pt>
          <cx:pt idx="31154">1</cx:pt>
          <cx:pt idx="31155">3</cx:pt>
          <cx:pt idx="31156">5</cx:pt>
          <cx:pt idx="31157">1</cx:pt>
          <cx:pt idx="31158">2</cx:pt>
          <cx:pt idx="31159">5</cx:pt>
          <cx:pt idx="31160">4</cx:pt>
          <cx:pt idx="31161">3</cx:pt>
          <cx:pt idx="31162">4</cx:pt>
          <cx:pt idx="31163">4</cx:pt>
          <cx:pt idx="31164">5</cx:pt>
          <cx:pt idx="31165">2</cx:pt>
          <cx:pt idx="31166">5</cx:pt>
          <cx:pt idx="31167">4</cx:pt>
          <cx:pt idx="31168">2</cx:pt>
          <cx:pt idx="31169">5</cx:pt>
          <cx:pt idx="31170">5</cx:pt>
          <cx:pt idx="31171">4</cx:pt>
          <cx:pt idx="31172">3</cx:pt>
          <cx:pt idx="31173">4</cx:pt>
          <cx:pt idx="31174">3</cx:pt>
          <cx:pt idx="31175">4</cx:pt>
          <cx:pt idx="31176">1</cx:pt>
          <cx:pt idx="31177">2</cx:pt>
          <cx:pt idx="31178">5</cx:pt>
          <cx:pt idx="31179">4</cx:pt>
          <cx:pt idx="31180">4</cx:pt>
          <cx:pt idx="31181">5</cx:pt>
          <cx:pt idx="31182">5</cx:pt>
          <cx:pt idx="31183">5</cx:pt>
          <cx:pt idx="31184">5</cx:pt>
          <cx:pt idx="31185">1</cx:pt>
          <cx:pt idx="31186">2</cx:pt>
          <cx:pt idx="31187">5</cx:pt>
          <cx:pt idx="31188">5</cx:pt>
          <cx:pt idx="31189">5</cx:pt>
          <cx:pt idx="31190">4</cx:pt>
          <cx:pt idx="31191">5</cx:pt>
          <cx:pt idx="31192">1</cx:pt>
          <cx:pt idx="31193">4</cx:pt>
          <cx:pt idx="31194">4</cx:pt>
          <cx:pt idx="31195">1</cx:pt>
          <cx:pt idx="31196">1</cx:pt>
          <cx:pt idx="31197">1</cx:pt>
          <cx:pt idx="31198">4</cx:pt>
          <cx:pt idx="31199">2</cx:pt>
          <cx:pt idx="31200">5</cx:pt>
          <cx:pt idx="31201">4</cx:pt>
          <cx:pt idx="31202">5</cx:pt>
          <cx:pt idx="31203">1</cx:pt>
          <cx:pt idx="31204">2</cx:pt>
          <cx:pt idx="31205">1</cx:pt>
          <cx:pt idx="31206">4</cx:pt>
          <cx:pt idx="31207">3</cx:pt>
          <cx:pt idx="31208">1</cx:pt>
          <cx:pt idx="31209">2</cx:pt>
          <cx:pt idx="31210">4</cx:pt>
          <cx:pt idx="31211">4</cx:pt>
          <cx:pt idx="31212">2</cx:pt>
          <cx:pt idx="31213">2</cx:pt>
          <cx:pt idx="31214">1</cx:pt>
          <cx:pt idx="31215">4</cx:pt>
          <cx:pt idx="31216">5</cx:pt>
          <cx:pt idx="31217">4</cx:pt>
          <cx:pt idx="31218">3</cx:pt>
          <cx:pt idx="31219">5</cx:pt>
          <cx:pt idx="31220">4</cx:pt>
          <cx:pt idx="31221">2</cx:pt>
          <cx:pt idx="31222">5</cx:pt>
          <cx:pt idx="31223">2</cx:pt>
          <cx:pt idx="31224">2</cx:pt>
          <cx:pt idx="31225">2</cx:pt>
          <cx:pt idx="31226">1</cx:pt>
          <cx:pt idx="31227">1</cx:pt>
          <cx:pt idx="31228">2</cx:pt>
          <cx:pt idx="31229">5</cx:pt>
          <cx:pt idx="31230">4</cx:pt>
          <cx:pt idx="31231">3</cx:pt>
          <cx:pt idx="31232">1</cx:pt>
          <cx:pt idx="31233">5</cx:pt>
          <cx:pt idx="31234">3</cx:pt>
          <cx:pt idx="31235">5</cx:pt>
          <cx:pt idx="31236">3</cx:pt>
          <cx:pt idx="31237">5</cx:pt>
          <cx:pt idx="31238">2</cx:pt>
          <cx:pt idx="31239">3</cx:pt>
          <cx:pt idx="31240">2</cx:pt>
          <cx:pt idx="31241">5</cx:pt>
          <cx:pt idx="31242">3</cx:pt>
          <cx:pt idx="31243">5</cx:pt>
          <cx:pt idx="31244">4</cx:pt>
          <cx:pt idx="31245">5</cx:pt>
          <cx:pt idx="31246">4</cx:pt>
          <cx:pt idx="31247">5</cx:pt>
          <cx:pt idx="31248">1</cx:pt>
          <cx:pt idx="31249">4</cx:pt>
          <cx:pt idx="31250">4</cx:pt>
          <cx:pt idx="31251">2</cx:pt>
          <cx:pt idx="31252">1</cx:pt>
          <cx:pt idx="31253">4</cx:pt>
          <cx:pt idx="31254">3</cx:pt>
          <cx:pt idx="31255">5</cx:pt>
          <cx:pt idx="31256">5</cx:pt>
          <cx:pt idx="31257">5</cx:pt>
          <cx:pt idx="31258">1</cx:pt>
          <cx:pt idx="31259">5</cx:pt>
          <cx:pt idx="31260">5</cx:pt>
          <cx:pt idx="31261">5</cx:pt>
          <cx:pt idx="31262">3</cx:pt>
          <cx:pt idx="31263">5</cx:pt>
          <cx:pt idx="31264">5</cx:pt>
          <cx:pt idx="31265">4</cx:pt>
          <cx:pt idx="31266">4</cx:pt>
          <cx:pt idx="31267">4</cx:pt>
          <cx:pt idx="31268">1</cx:pt>
          <cx:pt idx="31269">3</cx:pt>
          <cx:pt idx="31270">5</cx:pt>
          <cx:pt idx="31271">5</cx:pt>
          <cx:pt idx="31272">2</cx:pt>
          <cx:pt idx="31273">4</cx:pt>
          <cx:pt idx="31274">2</cx:pt>
          <cx:pt idx="31275">5</cx:pt>
          <cx:pt idx="31276">2</cx:pt>
          <cx:pt idx="31277">4</cx:pt>
          <cx:pt idx="31278">4</cx:pt>
          <cx:pt idx="31279">3</cx:pt>
          <cx:pt idx="31280">1</cx:pt>
          <cx:pt idx="31281">5</cx:pt>
          <cx:pt idx="31282">2</cx:pt>
          <cx:pt idx="31283">5</cx:pt>
          <cx:pt idx="31284">5</cx:pt>
          <cx:pt idx="31285">2</cx:pt>
          <cx:pt idx="31286">4</cx:pt>
          <cx:pt idx="31287">3</cx:pt>
          <cx:pt idx="31288">5</cx:pt>
          <cx:pt idx="31289">1</cx:pt>
          <cx:pt idx="31290">4</cx:pt>
          <cx:pt idx="31291">5</cx:pt>
          <cx:pt idx="31292">4</cx:pt>
          <cx:pt idx="31293">4</cx:pt>
          <cx:pt idx="31294">5</cx:pt>
          <cx:pt idx="31295">2</cx:pt>
          <cx:pt idx="31296">4</cx:pt>
          <cx:pt idx="31297">4</cx:pt>
          <cx:pt idx="31298">1</cx:pt>
          <cx:pt idx="31299">2</cx:pt>
          <cx:pt idx="31300">3</cx:pt>
          <cx:pt idx="31301">4</cx:pt>
          <cx:pt idx="31302">2</cx:pt>
          <cx:pt idx="31303">4</cx:pt>
          <cx:pt idx="31304">3</cx:pt>
          <cx:pt idx="31305">5</cx:pt>
          <cx:pt idx="31306">4</cx:pt>
          <cx:pt idx="31307">5</cx:pt>
          <cx:pt idx="31308">2</cx:pt>
          <cx:pt idx="31309">5</cx:pt>
          <cx:pt idx="31310">4</cx:pt>
          <cx:pt idx="31311">2</cx:pt>
          <cx:pt idx="31312">4</cx:pt>
          <cx:pt idx="31313">5</cx:pt>
          <cx:pt idx="31314">4</cx:pt>
          <cx:pt idx="31315">3</cx:pt>
          <cx:pt idx="31316">4</cx:pt>
          <cx:pt idx="31317">4</cx:pt>
          <cx:pt idx="31318">4</cx:pt>
          <cx:pt idx="31319">5</cx:pt>
          <cx:pt idx="31320">5</cx:pt>
          <cx:pt idx="31321">4</cx:pt>
          <cx:pt idx="31322">1</cx:pt>
          <cx:pt idx="31323">3</cx:pt>
          <cx:pt idx="31324">5</cx:pt>
          <cx:pt idx="31325">4</cx:pt>
          <cx:pt idx="31326">2</cx:pt>
          <cx:pt idx="31327">1</cx:pt>
          <cx:pt idx="31328">5</cx:pt>
          <cx:pt idx="31329">2</cx:pt>
          <cx:pt idx="31330">2</cx:pt>
          <cx:pt idx="31331">4</cx:pt>
          <cx:pt idx="31332">4</cx:pt>
          <cx:pt idx="31333">2</cx:pt>
          <cx:pt idx="31334">3</cx:pt>
          <cx:pt idx="31335">1</cx:pt>
          <cx:pt idx="31336">1</cx:pt>
          <cx:pt idx="31337">3</cx:pt>
          <cx:pt idx="31338">4</cx:pt>
          <cx:pt idx="31339">3</cx:pt>
          <cx:pt idx="31340">1</cx:pt>
          <cx:pt idx="31341">4</cx:pt>
          <cx:pt idx="31342">4</cx:pt>
          <cx:pt idx="31343">1</cx:pt>
          <cx:pt idx="31344">4</cx:pt>
          <cx:pt idx="31345">5</cx:pt>
          <cx:pt idx="31346">4</cx:pt>
          <cx:pt idx="31347">5</cx:pt>
          <cx:pt idx="31348">1</cx:pt>
          <cx:pt idx="31349">4</cx:pt>
          <cx:pt idx="31350">5</cx:pt>
          <cx:pt idx="31351">5</cx:pt>
          <cx:pt idx="31352">4</cx:pt>
          <cx:pt idx="31353">3</cx:pt>
          <cx:pt idx="31354">4</cx:pt>
          <cx:pt idx="31355">5</cx:pt>
          <cx:pt idx="31356">5</cx:pt>
          <cx:pt idx="31357">4</cx:pt>
          <cx:pt idx="31358">4</cx:pt>
          <cx:pt idx="31359">4</cx:pt>
          <cx:pt idx="31360">4</cx:pt>
          <cx:pt idx="31361">3</cx:pt>
          <cx:pt idx="31362">5</cx:pt>
          <cx:pt idx="31363">5</cx:pt>
          <cx:pt idx="31364">3</cx:pt>
          <cx:pt idx="31365">4</cx:pt>
          <cx:pt idx="31366">3</cx:pt>
          <cx:pt idx="31367">1</cx:pt>
          <cx:pt idx="31368">1</cx:pt>
          <cx:pt idx="31369">5</cx:pt>
          <cx:pt idx="31370">2</cx:pt>
          <cx:pt idx="31371">2</cx:pt>
          <cx:pt idx="31372">4</cx:pt>
          <cx:pt idx="31373">2</cx:pt>
          <cx:pt idx="31374">5</cx:pt>
          <cx:pt idx="31375">2</cx:pt>
          <cx:pt idx="31376">4</cx:pt>
          <cx:pt idx="31377">4</cx:pt>
          <cx:pt idx="31378">4</cx:pt>
          <cx:pt idx="31379">5</cx:pt>
          <cx:pt idx="31380">2</cx:pt>
          <cx:pt idx="31381">5</cx:pt>
          <cx:pt idx="31382">4</cx:pt>
          <cx:pt idx="31383">4</cx:pt>
          <cx:pt idx="31384">4</cx:pt>
          <cx:pt idx="31385">5</cx:pt>
          <cx:pt idx="31386">1</cx:pt>
          <cx:pt idx="31387">3</cx:pt>
          <cx:pt idx="31388">5</cx:pt>
          <cx:pt idx="31389">4</cx:pt>
          <cx:pt idx="31390">5</cx:pt>
          <cx:pt idx="31391">2</cx:pt>
          <cx:pt idx="31392">4</cx:pt>
          <cx:pt idx="31393">5</cx:pt>
          <cx:pt idx="31394">4</cx:pt>
          <cx:pt idx="31395">4</cx:pt>
          <cx:pt idx="31396">1</cx:pt>
          <cx:pt idx="31397">2</cx:pt>
          <cx:pt idx="31398">4</cx:pt>
          <cx:pt idx="31399">4</cx:pt>
          <cx:pt idx="31400">2</cx:pt>
          <cx:pt idx="31401">5</cx:pt>
          <cx:pt idx="31402">2</cx:pt>
          <cx:pt idx="31403">5</cx:pt>
          <cx:pt idx="31404">2</cx:pt>
          <cx:pt idx="31405">1</cx:pt>
          <cx:pt idx="31406">1</cx:pt>
          <cx:pt idx="31407">4</cx:pt>
          <cx:pt idx="31408">2</cx:pt>
          <cx:pt idx="31409">4</cx:pt>
          <cx:pt idx="31410">5</cx:pt>
          <cx:pt idx="31411">3</cx:pt>
          <cx:pt idx="31412">2</cx:pt>
          <cx:pt idx="31413">3</cx:pt>
          <cx:pt idx="31414">5</cx:pt>
          <cx:pt idx="31415">4</cx:pt>
          <cx:pt idx="31416">3</cx:pt>
          <cx:pt idx="31417">4</cx:pt>
          <cx:pt idx="31418">2</cx:pt>
          <cx:pt idx="31419">2</cx:pt>
          <cx:pt idx="31420">2</cx:pt>
          <cx:pt idx="31421">2</cx:pt>
          <cx:pt idx="31422">5</cx:pt>
          <cx:pt idx="31423">4</cx:pt>
          <cx:pt idx="31424">5</cx:pt>
          <cx:pt idx="31425">4</cx:pt>
          <cx:pt idx="31426">3</cx:pt>
          <cx:pt idx="31427">5</cx:pt>
          <cx:pt idx="31428">2</cx:pt>
          <cx:pt idx="31429">5</cx:pt>
          <cx:pt idx="31430">5</cx:pt>
          <cx:pt idx="31431">5</cx:pt>
          <cx:pt idx="31432">5</cx:pt>
          <cx:pt idx="31433">3</cx:pt>
          <cx:pt idx="31434">4</cx:pt>
          <cx:pt idx="31435">5</cx:pt>
          <cx:pt idx="31436">3</cx:pt>
          <cx:pt idx="31437">4</cx:pt>
          <cx:pt idx="31438">4</cx:pt>
          <cx:pt idx="31439">5</cx:pt>
          <cx:pt idx="31440">2</cx:pt>
          <cx:pt idx="31441">3</cx:pt>
          <cx:pt idx="31442">4</cx:pt>
          <cx:pt idx="31443">5</cx:pt>
          <cx:pt idx="31444">5</cx:pt>
          <cx:pt idx="31445">4</cx:pt>
          <cx:pt idx="31446">4</cx:pt>
          <cx:pt idx="31447">4</cx:pt>
          <cx:pt idx="31448">4</cx:pt>
          <cx:pt idx="31449">1</cx:pt>
          <cx:pt idx="31450">2</cx:pt>
          <cx:pt idx="31451">4</cx:pt>
          <cx:pt idx="31452">1</cx:pt>
          <cx:pt idx="31453">2</cx:pt>
          <cx:pt idx="31454">1</cx:pt>
          <cx:pt idx="31455">5</cx:pt>
          <cx:pt idx="31456">2</cx:pt>
          <cx:pt idx="31457">4</cx:pt>
          <cx:pt idx="31458">2</cx:pt>
          <cx:pt idx="31459">4</cx:pt>
          <cx:pt idx="31460">2</cx:pt>
          <cx:pt idx="31461">3</cx:pt>
          <cx:pt idx="31462">4</cx:pt>
          <cx:pt idx="31463">2</cx:pt>
          <cx:pt idx="31464">3</cx:pt>
          <cx:pt idx="31465">4</cx:pt>
          <cx:pt idx="31466">4</cx:pt>
          <cx:pt idx="31467">2</cx:pt>
          <cx:pt idx="31468">1</cx:pt>
          <cx:pt idx="31469">5</cx:pt>
          <cx:pt idx="31470">5</cx:pt>
          <cx:pt idx="31471">2</cx:pt>
          <cx:pt idx="31472">4</cx:pt>
          <cx:pt idx="31473">4</cx:pt>
          <cx:pt idx="31474">5</cx:pt>
          <cx:pt idx="31475">5</cx:pt>
          <cx:pt idx="31476">4</cx:pt>
          <cx:pt idx="31477">3</cx:pt>
          <cx:pt idx="31478">4</cx:pt>
          <cx:pt idx="31479">1</cx:pt>
          <cx:pt idx="31480">3</cx:pt>
          <cx:pt idx="31481">5</cx:pt>
          <cx:pt idx="31482">5</cx:pt>
          <cx:pt idx="31483">5</cx:pt>
          <cx:pt idx="31484">5</cx:pt>
          <cx:pt idx="31485">3</cx:pt>
          <cx:pt idx="31486">4</cx:pt>
          <cx:pt idx="31487">3</cx:pt>
          <cx:pt idx="31488">2</cx:pt>
          <cx:pt idx="31489">5</cx:pt>
          <cx:pt idx="31490">4</cx:pt>
          <cx:pt idx="31491">4</cx:pt>
          <cx:pt idx="31492">4</cx:pt>
          <cx:pt idx="31493">5</cx:pt>
          <cx:pt idx="31494">5</cx:pt>
          <cx:pt idx="31495">3</cx:pt>
          <cx:pt idx="31496">4</cx:pt>
          <cx:pt idx="31497">4</cx:pt>
          <cx:pt idx="31498">3</cx:pt>
          <cx:pt idx="31499">1</cx:pt>
          <cx:pt idx="31500">1</cx:pt>
          <cx:pt idx="31501">2</cx:pt>
          <cx:pt idx="31502">4</cx:pt>
          <cx:pt idx="31503">3</cx:pt>
          <cx:pt idx="31504">2</cx:pt>
          <cx:pt idx="31505">2</cx:pt>
          <cx:pt idx="31506">5</cx:pt>
          <cx:pt idx="31507">4</cx:pt>
          <cx:pt idx="31508">5</cx:pt>
          <cx:pt idx="31509">4</cx:pt>
          <cx:pt idx="31510">3</cx:pt>
          <cx:pt idx="31511">4</cx:pt>
          <cx:pt idx="31512">3</cx:pt>
          <cx:pt idx="31513">4</cx:pt>
          <cx:pt idx="31514">3</cx:pt>
          <cx:pt idx="31515">4</cx:pt>
          <cx:pt idx="31516">4</cx:pt>
          <cx:pt idx="31517">5</cx:pt>
          <cx:pt idx="31518">4</cx:pt>
          <cx:pt idx="31519">5</cx:pt>
          <cx:pt idx="31520">3</cx:pt>
          <cx:pt idx="31521">5</cx:pt>
          <cx:pt idx="31522">1</cx:pt>
          <cx:pt idx="31523">4</cx:pt>
          <cx:pt idx="31524">4</cx:pt>
          <cx:pt idx="31525">5</cx:pt>
          <cx:pt idx="31526">1</cx:pt>
          <cx:pt idx="31527">4</cx:pt>
          <cx:pt idx="31528">5</cx:pt>
          <cx:pt idx="31529">4</cx:pt>
          <cx:pt idx="31530">2</cx:pt>
          <cx:pt idx="31531">3</cx:pt>
          <cx:pt idx="31532">1</cx:pt>
          <cx:pt idx="31533">4</cx:pt>
          <cx:pt idx="31534">2</cx:pt>
          <cx:pt idx="31535">3</cx:pt>
          <cx:pt idx="31536">3</cx:pt>
          <cx:pt idx="31537">5</cx:pt>
          <cx:pt idx="31538">2</cx:pt>
          <cx:pt idx="31539">4</cx:pt>
          <cx:pt idx="31540">5</cx:pt>
          <cx:pt idx="31541">4</cx:pt>
          <cx:pt idx="31542">1</cx:pt>
          <cx:pt idx="31543">4</cx:pt>
          <cx:pt idx="31544">3</cx:pt>
          <cx:pt idx="31545">4</cx:pt>
          <cx:pt idx="31546">1</cx:pt>
          <cx:pt idx="31547">4</cx:pt>
          <cx:pt idx="31548">1</cx:pt>
          <cx:pt idx="31549">3</cx:pt>
          <cx:pt idx="31550">4</cx:pt>
          <cx:pt idx="31551">1</cx:pt>
          <cx:pt idx="31552">5</cx:pt>
          <cx:pt idx="31553">1</cx:pt>
          <cx:pt idx="31554">2</cx:pt>
          <cx:pt idx="31555">4</cx:pt>
          <cx:pt idx="31556">5</cx:pt>
          <cx:pt idx="31557">3</cx:pt>
          <cx:pt idx="31558">3</cx:pt>
          <cx:pt idx="31559">4</cx:pt>
          <cx:pt idx="31560">3</cx:pt>
          <cx:pt idx="31561">4</cx:pt>
          <cx:pt idx="31562">4</cx:pt>
          <cx:pt idx="31563">4</cx:pt>
          <cx:pt idx="31564">4</cx:pt>
          <cx:pt idx="31565">3</cx:pt>
          <cx:pt idx="31566">2</cx:pt>
          <cx:pt idx="31567">4</cx:pt>
          <cx:pt idx="31568">2</cx:pt>
          <cx:pt idx="31569">2</cx:pt>
          <cx:pt idx="31570">4</cx:pt>
          <cx:pt idx="31571">4</cx:pt>
          <cx:pt idx="31572">4</cx:pt>
          <cx:pt idx="31573">3</cx:pt>
          <cx:pt idx="31574">4</cx:pt>
          <cx:pt idx="31575">5</cx:pt>
          <cx:pt idx="31576">3</cx:pt>
          <cx:pt idx="31577">5</cx:pt>
          <cx:pt idx="31578">3</cx:pt>
          <cx:pt idx="31579">5</cx:pt>
          <cx:pt idx="31580">3</cx:pt>
          <cx:pt idx="31581">5</cx:pt>
          <cx:pt idx="31582">4</cx:pt>
          <cx:pt idx="31583">5</cx:pt>
          <cx:pt idx="31584">5</cx:pt>
          <cx:pt idx="31585">1</cx:pt>
          <cx:pt idx="31586">2</cx:pt>
          <cx:pt idx="31587">5</cx:pt>
          <cx:pt idx="31588">1</cx:pt>
          <cx:pt idx="31589">1</cx:pt>
          <cx:pt idx="31590">2</cx:pt>
          <cx:pt idx="31591">4</cx:pt>
          <cx:pt idx="31592">5</cx:pt>
          <cx:pt idx="31593">4</cx:pt>
          <cx:pt idx="31594">1</cx:pt>
          <cx:pt idx="31595">4</cx:pt>
          <cx:pt idx="31596">5</cx:pt>
          <cx:pt idx="31597">4</cx:pt>
          <cx:pt idx="31598">4</cx:pt>
          <cx:pt idx="31599">3</cx:pt>
          <cx:pt idx="31600">5</cx:pt>
          <cx:pt idx="31601">5</cx:pt>
          <cx:pt idx="31602">4</cx:pt>
          <cx:pt idx="31603">1</cx:pt>
          <cx:pt idx="31604">4</cx:pt>
          <cx:pt idx="31605">1</cx:pt>
          <cx:pt idx="31606">5</cx:pt>
          <cx:pt idx="31607">4</cx:pt>
          <cx:pt idx="31608">3</cx:pt>
          <cx:pt idx="31609">2</cx:pt>
          <cx:pt idx="31610">3</cx:pt>
          <cx:pt idx="31611">5</cx:pt>
          <cx:pt idx="31612">4</cx:pt>
          <cx:pt idx="31613">2</cx:pt>
          <cx:pt idx="31614">4</cx:pt>
          <cx:pt idx="31615">2</cx:pt>
          <cx:pt idx="31616">1</cx:pt>
          <cx:pt idx="31617">3</cx:pt>
          <cx:pt idx="31618">1</cx:pt>
          <cx:pt idx="31619">2</cx:pt>
          <cx:pt idx="31620">5</cx:pt>
          <cx:pt idx="31621">5</cx:pt>
          <cx:pt idx="31622">5</cx:pt>
          <cx:pt idx="31623">5</cx:pt>
          <cx:pt idx="31624">4</cx:pt>
          <cx:pt idx="31625">5</cx:pt>
          <cx:pt idx="31626">1</cx:pt>
          <cx:pt idx="31627">4</cx:pt>
          <cx:pt idx="31628">3</cx:pt>
          <cx:pt idx="31629">3</cx:pt>
          <cx:pt idx="31630">5</cx:pt>
          <cx:pt idx="31631">5</cx:pt>
          <cx:pt idx="31632">1</cx:pt>
          <cx:pt idx="31633">1</cx:pt>
          <cx:pt idx="31634">2</cx:pt>
          <cx:pt idx="31635">1</cx:pt>
          <cx:pt idx="31636">2</cx:pt>
          <cx:pt idx="31637">5</cx:pt>
          <cx:pt idx="31638">4</cx:pt>
          <cx:pt idx="31639">4</cx:pt>
          <cx:pt idx="31640">5</cx:pt>
          <cx:pt idx="31641">2</cx:pt>
          <cx:pt idx="31642">4</cx:pt>
          <cx:pt idx="31643">1</cx:pt>
          <cx:pt idx="31644">4</cx:pt>
          <cx:pt idx="31645">2</cx:pt>
          <cx:pt idx="31646">5</cx:pt>
          <cx:pt idx="31647">1</cx:pt>
          <cx:pt idx="31648">5</cx:pt>
          <cx:pt idx="31649">4</cx:pt>
          <cx:pt idx="31650">4</cx:pt>
          <cx:pt idx="31651">4</cx:pt>
          <cx:pt idx="31652">3</cx:pt>
          <cx:pt idx="31653">2</cx:pt>
          <cx:pt idx="31654">4</cx:pt>
          <cx:pt idx="31655">4</cx:pt>
          <cx:pt idx="31656">3</cx:pt>
          <cx:pt idx="31657">2</cx:pt>
          <cx:pt idx="31658">5</cx:pt>
          <cx:pt idx="31659">5</cx:pt>
          <cx:pt idx="31660">5</cx:pt>
          <cx:pt idx="31661">2</cx:pt>
          <cx:pt idx="31662">2</cx:pt>
          <cx:pt idx="31663">4</cx:pt>
          <cx:pt idx="31664">3</cx:pt>
          <cx:pt idx="31665">5</cx:pt>
          <cx:pt idx="31666">1</cx:pt>
          <cx:pt idx="31667">4</cx:pt>
          <cx:pt idx="31668">5</cx:pt>
          <cx:pt idx="31669">5</cx:pt>
          <cx:pt idx="31670">5</cx:pt>
          <cx:pt idx="31671">3</cx:pt>
          <cx:pt idx="31672">5</cx:pt>
          <cx:pt idx="31673">4</cx:pt>
          <cx:pt idx="31674">3</cx:pt>
          <cx:pt idx="31675">3</cx:pt>
          <cx:pt idx="31676">4</cx:pt>
          <cx:pt idx="31677">4</cx:pt>
          <cx:pt idx="31678">1</cx:pt>
          <cx:pt idx="31679">4</cx:pt>
          <cx:pt idx="31680">4</cx:pt>
          <cx:pt idx="31681">5</cx:pt>
          <cx:pt idx="31682">1</cx:pt>
          <cx:pt idx="31683">4</cx:pt>
          <cx:pt idx="31684">2</cx:pt>
          <cx:pt idx="31685">5</cx:pt>
          <cx:pt idx="31686">5</cx:pt>
          <cx:pt idx="31687">4</cx:pt>
          <cx:pt idx="31688">1</cx:pt>
          <cx:pt idx="31689">3</cx:pt>
          <cx:pt idx="31690">4</cx:pt>
          <cx:pt idx="31691">2</cx:pt>
          <cx:pt idx="31692">5</cx:pt>
          <cx:pt idx="31693">1</cx:pt>
          <cx:pt idx="31694">1</cx:pt>
          <cx:pt idx="31695">2</cx:pt>
          <cx:pt idx="31696">5</cx:pt>
          <cx:pt idx="31697">4</cx:pt>
          <cx:pt idx="31698">4</cx:pt>
          <cx:pt idx="31699">4</cx:pt>
          <cx:pt idx="31700">5</cx:pt>
          <cx:pt idx="31701">3</cx:pt>
          <cx:pt idx="31702">1</cx:pt>
          <cx:pt idx="31703">4</cx:pt>
          <cx:pt idx="31704">4</cx:pt>
          <cx:pt idx="31705">4</cx:pt>
          <cx:pt idx="31706">5</cx:pt>
          <cx:pt idx="31707">2</cx:pt>
          <cx:pt idx="31708">4</cx:pt>
          <cx:pt idx="31709">1</cx:pt>
          <cx:pt idx="31710">2</cx:pt>
          <cx:pt idx="31711">5</cx:pt>
          <cx:pt idx="31712">1</cx:pt>
          <cx:pt idx="31713">5</cx:pt>
          <cx:pt idx="31714">3</cx:pt>
          <cx:pt idx="31715">5</cx:pt>
          <cx:pt idx="31716">1</cx:pt>
          <cx:pt idx="31717">2</cx:pt>
          <cx:pt idx="31718">4</cx:pt>
          <cx:pt idx="31719">4</cx:pt>
          <cx:pt idx="31720">5</cx:pt>
          <cx:pt idx="31721">2</cx:pt>
          <cx:pt idx="31722">4</cx:pt>
          <cx:pt idx="31723">1</cx:pt>
          <cx:pt idx="31724">4</cx:pt>
          <cx:pt idx="31725">1</cx:pt>
          <cx:pt idx="31726">4</cx:pt>
          <cx:pt idx="31727">1</cx:pt>
          <cx:pt idx="31728">1</cx:pt>
          <cx:pt idx="31729">3</cx:pt>
          <cx:pt idx="31730">5</cx:pt>
          <cx:pt idx="31731">1</cx:pt>
          <cx:pt idx="31732">3</cx:pt>
          <cx:pt idx="31733">1</cx:pt>
          <cx:pt idx="31734">5</cx:pt>
          <cx:pt idx="31735">1</cx:pt>
          <cx:pt idx="31736">1</cx:pt>
          <cx:pt idx="31737">4</cx:pt>
          <cx:pt idx="31738">4</cx:pt>
          <cx:pt idx="31739">4</cx:pt>
          <cx:pt idx="31740">3</cx:pt>
          <cx:pt idx="31741">4</cx:pt>
          <cx:pt idx="31742">4</cx:pt>
          <cx:pt idx="31743">3</cx:pt>
          <cx:pt idx="31744">3</cx:pt>
          <cx:pt idx="31745">3</cx:pt>
          <cx:pt idx="31746">5</cx:pt>
          <cx:pt idx="31747">3</cx:pt>
          <cx:pt idx="31748">2</cx:pt>
          <cx:pt idx="31749">1</cx:pt>
          <cx:pt idx="31750">3</cx:pt>
          <cx:pt idx="31751">5</cx:pt>
          <cx:pt idx="31752">5</cx:pt>
          <cx:pt idx="31753">3</cx:pt>
          <cx:pt idx="31754">1</cx:pt>
          <cx:pt idx="31755">3</cx:pt>
          <cx:pt idx="31756">4</cx:pt>
          <cx:pt idx="31757">5</cx:pt>
          <cx:pt idx="31758">5</cx:pt>
          <cx:pt idx="31759">1</cx:pt>
          <cx:pt idx="31760">4</cx:pt>
          <cx:pt idx="31761">5</cx:pt>
          <cx:pt idx="31762">2</cx:pt>
          <cx:pt idx="31763">4</cx:pt>
          <cx:pt idx="31764">5</cx:pt>
          <cx:pt idx="31765">4</cx:pt>
          <cx:pt idx="31766">1</cx:pt>
          <cx:pt idx="31767">5</cx:pt>
          <cx:pt idx="31768">5</cx:pt>
          <cx:pt idx="31769">1</cx:pt>
          <cx:pt idx="31770">4</cx:pt>
          <cx:pt idx="31771">5</cx:pt>
          <cx:pt idx="31772">4</cx:pt>
          <cx:pt idx="31773">4</cx:pt>
          <cx:pt idx="31774">4</cx:pt>
          <cx:pt idx="31775">4</cx:pt>
          <cx:pt idx="31776">4</cx:pt>
          <cx:pt idx="31777">4</cx:pt>
          <cx:pt idx="31778">4</cx:pt>
          <cx:pt idx="31779">3</cx:pt>
          <cx:pt idx="31780">5</cx:pt>
          <cx:pt idx="31781">5</cx:pt>
          <cx:pt idx="31782">1</cx:pt>
          <cx:pt idx="31783">2</cx:pt>
          <cx:pt idx="31784">5</cx:pt>
          <cx:pt idx="31785">4</cx:pt>
          <cx:pt idx="31786">3</cx:pt>
          <cx:pt idx="31787">1</cx:pt>
          <cx:pt idx="31788">5</cx:pt>
          <cx:pt idx="31789">1</cx:pt>
          <cx:pt idx="31790">4</cx:pt>
          <cx:pt idx="31791">4</cx:pt>
          <cx:pt idx="31792">4</cx:pt>
          <cx:pt idx="31793">4</cx:pt>
          <cx:pt idx="31794">4</cx:pt>
          <cx:pt idx="31795">1</cx:pt>
          <cx:pt idx="31796">3</cx:pt>
          <cx:pt idx="31797">5</cx:pt>
          <cx:pt idx="31798">3</cx:pt>
          <cx:pt idx="31799">3</cx:pt>
          <cx:pt idx="31800">2</cx:pt>
          <cx:pt idx="31801">3</cx:pt>
          <cx:pt idx="31802">5</cx:pt>
          <cx:pt idx="31803">2</cx:pt>
          <cx:pt idx="31804">5</cx:pt>
          <cx:pt idx="31805">5</cx:pt>
          <cx:pt idx="31806">3</cx:pt>
          <cx:pt idx="31807">4</cx:pt>
          <cx:pt idx="31808">5</cx:pt>
          <cx:pt idx="31809">4</cx:pt>
          <cx:pt idx="31810">3</cx:pt>
          <cx:pt idx="31811">5</cx:pt>
          <cx:pt idx="31812">1</cx:pt>
          <cx:pt idx="31813">2</cx:pt>
          <cx:pt idx="31814">2</cx:pt>
          <cx:pt idx="31815">5</cx:pt>
          <cx:pt idx="31816">4</cx:pt>
          <cx:pt idx="31817">4</cx:pt>
          <cx:pt idx="31818">5</cx:pt>
          <cx:pt idx="31819">2</cx:pt>
          <cx:pt idx="31820">4</cx:pt>
          <cx:pt idx="31821">4</cx:pt>
          <cx:pt idx="31822">4</cx:pt>
          <cx:pt idx="31823">4</cx:pt>
          <cx:pt idx="31824">4</cx:pt>
          <cx:pt idx="31825">2</cx:pt>
          <cx:pt idx="31826">3</cx:pt>
          <cx:pt idx="31827">4</cx:pt>
          <cx:pt idx="31828">1</cx:pt>
          <cx:pt idx="31829">5</cx:pt>
          <cx:pt idx="31830">5</cx:pt>
          <cx:pt idx="31831">1</cx:pt>
          <cx:pt idx="31832">3</cx:pt>
          <cx:pt idx="31833">5</cx:pt>
          <cx:pt idx="31834">5</cx:pt>
          <cx:pt idx="31835">4</cx:pt>
          <cx:pt idx="31836">3</cx:pt>
          <cx:pt idx="31837">2</cx:pt>
          <cx:pt idx="31838">1</cx:pt>
          <cx:pt idx="31839">4</cx:pt>
          <cx:pt idx="31840">5</cx:pt>
          <cx:pt idx="31841">3</cx:pt>
          <cx:pt idx="31842">4</cx:pt>
          <cx:pt idx="31843">4</cx:pt>
          <cx:pt idx="31844">4</cx:pt>
          <cx:pt idx="31845">5</cx:pt>
          <cx:pt idx="31846">5</cx:pt>
          <cx:pt idx="31847">4</cx:pt>
          <cx:pt idx="31848">1</cx:pt>
          <cx:pt idx="31849">2</cx:pt>
          <cx:pt idx="31850">4</cx:pt>
          <cx:pt idx="31851">4</cx:pt>
          <cx:pt idx="31852">2</cx:pt>
          <cx:pt idx="31853">4</cx:pt>
          <cx:pt idx="31854">5</cx:pt>
          <cx:pt idx="31855">1</cx:pt>
          <cx:pt idx="31856">2</cx:pt>
          <cx:pt idx="31857">5</cx:pt>
          <cx:pt idx="31858">2</cx:pt>
          <cx:pt idx="31859">4</cx:pt>
          <cx:pt idx="31860">4</cx:pt>
          <cx:pt idx="31861">4</cx:pt>
          <cx:pt idx="31862">3</cx:pt>
          <cx:pt idx="31863">5</cx:pt>
          <cx:pt idx="31864">5</cx:pt>
          <cx:pt idx="31865">4</cx:pt>
          <cx:pt idx="31866">3</cx:pt>
          <cx:pt idx="31867">5</cx:pt>
          <cx:pt idx="31868">4</cx:pt>
          <cx:pt idx="31869">2</cx:pt>
          <cx:pt idx="31870">2</cx:pt>
          <cx:pt idx="31871">3</cx:pt>
          <cx:pt idx="31872">1</cx:pt>
          <cx:pt idx="31873">3</cx:pt>
          <cx:pt idx="31874">5</cx:pt>
          <cx:pt idx="31875">5</cx:pt>
          <cx:pt idx="31876">3</cx:pt>
          <cx:pt idx="31877">3</cx:pt>
          <cx:pt idx="31878">5</cx:pt>
          <cx:pt idx="31879">4</cx:pt>
          <cx:pt idx="31880">1</cx:pt>
          <cx:pt idx="31881">5</cx:pt>
          <cx:pt idx="31882">5</cx:pt>
          <cx:pt idx="31883">4</cx:pt>
          <cx:pt idx="31884">4</cx:pt>
          <cx:pt idx="31885">4</cx:pt>
          <cx:pt idx="31886">3</cx:pt>
          <cx:pt idx="31887">3</cx:pt>
          <cx:pt idx="31888">1</cx:pt>
          <cx:pt idx="31889">3</cx:pt>
          <cx:pt idx="31890">2</cx:pt>
          <cx:pt idx="31891">4</cx:pt>
          <cx:pt idx="31892">4</cx:pt>
          <cx:pt idx="31893">3</cx:pt>
          <cx:pt idx="31894">5</cx:pt>
          <cx:pt idx="31895">1</cx:pt>
          <cx:pt idx="31896">4</cx:pt>
          <cx:pt idx="31897">4</cx:pt>
          <cx:pt idx="31898">5</cx:pt>
          <cx:pt idx="31899">2</cx:pt>
          <cx:pt idx="31900">4</cx:pt>
          <cx:pt idx="31901">3</cx:pt>
          <cx:pt idx="31902">5</cx:pt>
          <cx:pt idx="31903">1</cx:pt>
          <cx:pt idx="31904">5</cx:pt>
          <cx:pt idx="31905">4</cx:pt>
          <cx:pt idx="31906">2</cx:pt>
          <cx:pt idx="31907">3</cx:pt>
          <cx:pt idx="31908">4</cx:pt>
          <cx:pt idx="31909">1</cx:pt>
          <cx:pt idx="31910">5</cx:pt>
          <cx:pt idx="31911">3</cx:pt>
          <cx:pt idx="31912">1</cx:pt>
          <cx:pt idx="31913">4</cx:pt>
          <cx:pt idx="31914">3</cx:pt>
          <cx:pt idx="31915">2</cx:pt>
          <cx:pt idx="31916">2</cx:pt>
          <cx:pt idx="31917">2</cx:pt>
          <cx:pt idx="31918">2</cx:pt>
          <cx:pt idx="31919">5</cx:pt>
          <cx:pt idx="31920">3</cx:pt>
          <cx:pt idx="31921">4</cx:pt>
          <cx:pt idx="31922">5</cx:pt>
          <cx:pt idx="31923">1</cx:pt>
          <cx:pt idx="31924">3</cx:pt>
          <cx:pt idx="31925">3</cx:pt>
          <cx:pt idx="31926">5</cx:pt>
          <cx:pt idx="31927">3</cx:pt>
          <cx:pt idx="31928">4</cx:pt>
          <cx:pt idx="31929">4</cx:pt>
          <cx:pt idx="31930">5</cx:pt>
          <cx:pt idx="31931">5</cx:pt>
          <cx:pt idx="31932">4</cx:pt>
          <cx:pt idx="31933">3</cx:pt>
          <cx:pt idx="31934">4</cx:pt>
          <cx:pt idx="31935">3</cx:pt>
          <cx:pt idx="31936">3</cx:pt>
          <cx:pt idx="31937">5</cx:pt>
          <cx:pt idx="31938">1</cx:pt>
          <cx:pt idx="31939">3</cx:pt>
          <cx:pt idx="31940">4</cx:pt>
          <cx:pt idx="31941">5</cx:pt>
          <cx:pt idx="31942">3</cx:pt>
          <cx:pt idx="31943">5</cx:pt>
          <cx:pt idx="31944">1</cx:pt>
          <cx:pt idx="31945">1</cx:pt>
          <cx:pt idx="31946">5</cx:pt>
          <cx:pt idx="31947">5</cx:pt>
          <cx:pt idx="31948">4</cx:pt>
          <cx:pt idx="31949">4</cx:pt>
          <cx:pt idx="31950">4</cx:pt>
          <cx:pt idx="31951">3</cx:pt>
          <cx:pt idx="31952">2</cx:pt>
          <cx:pt idx="31953">4</cx:pt>
          <cx:pt idx="31954">4</cx:pt>
          <cx:pt idx="31955">5</cx:pt>
          <cx:pt idx="31956">4</cx:pt>
          <cx:pt idx="31957">4</cx:pt>
          <cx:pt idx="31958">2</cx:pt>
          <cx:pt idx="31959">4</cx:pt>
          <cx:pt idx="31960">1</cx:pt>
          <cx:pt idx="31961">4</cx:pt>
          <cx:pt idx="31962">1</cx:pt>
          <cx:pt idx="31963">1</cx:pt>
          <cx:pt idx="31964">1</cx:pt>
          <cx:pt idx="31965">2</cx:pt>
          <cx:pt idx="31966">4</cx:pt>
          <cx:pt idx="31967">3</cx:pt>
          <cx:pt idx="31968">2</cx:pt>
          <cx:pt idx="31969">5</cx:pt>
          <cx:pt idx="31970">4</cx:pt>
          <cx:pt idx="31971">1</cx:pt>
          <cx:pt idx="31972">5</cx:pt>
          <cx:pt idx="31973">4</cx:pt>
          <cx:pt idx="31974">3</cx:pt>
          <cx:pt idx="31975">3</cx:pt>
          <cx:pt idx="31976">4</cx:pt>
          <cx:pt idx="31977">3</cx:pt>
          <cx:pt idx="31978">4</cx:pt>
          <cx:pt idx="31979">1</cx:pt>
          <cx:pt idx="31980">2</cx:pt>
          <cx:pt idx="31981">2</cx:pt>
          <cx:pt idx="31982">4</cx:pt>
          <cx:pt idx="31983">5</cx:pt>
          <cx:pt idx="31984">2</cx:pt>
          <cx:pt idx="31985">4</cx:pt>
          <cx:pt idx="31986">5</cx:pt>
          <cx:pt idx="31987">4</cx:pt>
          <cx:pt idx="31988">5</cx:pt>
          <cx:pt idx="31989">4</cx:pt>
          <cx:pt idx="31990">4</cx:pt>
          <cx:pt idx="31991">3</cx:pt>
          <cx:pt idx="31992">1</cx:pt>
          <cx:pt idx="31993">4</cx:pt>
          <cx:pt idx="31994">2</cx:pt>
          <cx:pt idx="31995">5</cx:pt>
          <cx:pt idx="31996">2</cx:pt>
          <cx:pt idx="31997">1</cx:pt>
          <cx:pt idx="31998">4</cx:pt>
          <cx:pt idx="31999">4</cx:pt>
          <cx:pt idx="32000">5</cx:pt>
          <cx:pt idx="32001">2</cx:pt>
          <cx:pt idx="32002">5</cx:pt>
          <cx:pt idx="32003">3</cx:pt>
          <cx:pt idx="32004">4</cx:pt>
          <cx:pt idx="32005">3</cx:pt>
          <cx:pt idx="32006">4</cx:pt>
          <cx:pt idx="32007">4</cx:pt>
          <cx:pt idx="32008">2</cx:pt>
          <cx:pt idx="32009">4</cx:pt>
          <cx:pt idx="32010">2</cx:pt>
          <cx:pt idx="32011">4</cx:pt>
          <cx:pt idx="32012">3</cx:pt>
          <cx:pt idx="32013">5</cx:pt>
          <cx:pt idx="32014">2</cx:pt>
          <cx:pt idx="32015">4</cx:pt>
          <cx:pt idx="32016">2</cx:pt>
          <cx:pt idx="32017">4</cx:pt>
          <cx:pt idx="32018">1</cx:pt>
          <cx:pt idx="32019">4</cx:pt>
          <cx:pt idx="32020">5</cx:pt>
          <cx:pt idx="32021">2</cx:pt>
          <cx:pt idx="32022">2</cx:pt>
          <cx:pt idx="32023">5</cx:pt>
          <cx:pt idx="32024">5</cx:pt>
          <cx:pt idx="32025">1</cx:pt>
          <cx:pt idx="32026">5</cx:pt>
          <cx:pt idx="32027">1</cx:pt>
          <cx:pt idx="32028">4</cx:pt>
          <cx:pt idx="32029">1</cx:pt>
          <cx:pt idx="32030">4</cx:pt>
          <cx:pt idx="32031">5</cx:pt>
          <cx:pt idx="32032">3</cx:pt>
          <cx:pt idx="32033">3</cx:pt>
          <cx:pt idx="32034">5</cx:pt>
          <cx:pt idx="32035">3</cx:pt>
          <cx:pt idx="32036">5</cx:pt>
          <cx:pt idx="32037">5</cx:pt>
          <cx:pt idx="32038">4</cx:pt>
          <cx:pt idx="32039">5</cx:pt>
          <cx:pt idx="32040">5</cx:pt>
          <cx:pt idx="32041">3</cx:pt>
          <cx:pt idx="32042">5</cx:pt>
          <cx:pt idx="32043">2</cx:pt>
          <cx:pt idx="32044">5</cx:pt>
          <cx:pt idx="32045">5</cx:pt>
          <cx:pt idx="32046">4</cx:pt>
          <cx:pt idx="32047">4</cx:pt>
          <cx:pt idx="32048">5</cx:pt>
          <cx:pt idx="32049">1</cx:pt>
          <cx:pt idx="32050">5</cx:pt>
          <cx:pt idx="32051">3</cx:pt>
          <cx:pt idx="32052">2</cx:pt>
          <cx:pt idx="32053">1</cx:pt>
          <cx:pt idx="32054">5</cx:pt>
          <cx:pt idx="32055">4</cx:pt>
          <cx:pt idx="32056">4</cx:pt>
          <cx:pt idx="32057">1</cx:pt>
          <cx:pt idx="32058">5</cx:pt>
          <cx:pt idx="32059">2</cx:pt>
          <cx:pt idx="32060">5</cx:pt>
          <cx:pt idx="32061">3</cx:pt>
          <cx:pt idx="32062">3</cx:pt>
          <cx:pt idx="32063">3</cx:pt>
          <cx:pt idx="32064">3</cx:pt>
          <cx:pt idx="32065">2</cx:pt>
          <cx:pt idx="32066">2</cx:pt>
          <cx:pt idx="32067">4</cx:pt>
          <cx:pt idx="32068">5</cx:pt>
          <cx:pt idx="32069">5</cx:pt>
          <cx:pt idx="32070">4</cx:pt>
          <cx:pt idx="32071">4</cx:pt>
          <cx:pt idx="32072">3</cx:pt>
          <cx:pt idx="32073">4</cx:pt>
          <cx:pt idx="32074">4</cx:pt>
          <cx:pt idx="32075">1</cx:pt>
          <cx:pt idx="32076">4</cx:pt>
          <cx:pt idx="32077">4</cx:pt>
          <cx:pt idx="32078">5</cx:pt>
          <cx:pt idx="32079">2</cx:pt>
          <cx:pt idx="32080">4</cx:pt>
          <cx:pt idx="32081">4</cx:pt>
          <cx:pt idx="32082">2</cx:pt>
          <cx:pt idx="32083">3</cx:pt>
          <cx:pt idx="32084">2</cx:pt>
          <cx:pt idx="32085">1</cx:pt>
          <cx:pt idx="32086">5</cx:pt>
          <cx:pt idx="32087">1</cx:pt>
          <cx:pt idx="32088">5</cx:pt>
          <cx:pt idx="32089">5</cx:pt>
          <cx:pt idx="32090">4</cx:pt>
          <cx:pt idx="32091">3</cx:pt>
          <cx:pt idx="32092">4</cx:pt>
          <cx:pt idx="32093">3</cx:pt>
          <cx:pt idx="32094">2</cx:pt>
          <cx:pt idx="32095">5</cx:pt>
          <cx:pt idx="32096">3</cx:pt>
          <cx:pt idx="32097">5</cx:pt>
          <cx:pt idx="32098">4</cx:pt>
          <cx:pt idx="32099">3</cx:pt>
          <cx:pt idx="32100">4</cx:pt>
          <cx:pt idx="32101">5</cx:pt>
          <cx:pt idx="32102">5</cx:pt>
          <cx:pt idx="32103">2</cx:pt>
          <cx:pt idx="32104">3</cx:pt>
          <cx:pt idx="32105">5</cx:pt>
          <cx:pt idx="32106">4</cx:pt>
          <cx:pt idx="32107">3</cx:pt>
          <cx:pt idx="32108">3</cx:pt>
          <cx:pt idx="32109">4</cx:pt>
          <cx:pt idx="32110">2</cx:pt>
          <cx:pt idx="32111">5</cx:pt>
          <cx:pt idx="32112">4</cx:pt>
          <cx:pt idx="32113">4</cx:pt>
          <cx:pt idx="32114">5</cx:pt>
          <cx:pt idx="32115">1</cx:pt>
          <cx:pt idx="32116">1</cx:pt>
          <cx:pt idx="32117">3</cx:pt>
          <cx:pt idx="32118">2</cx:pt>
          <cx:pt idx="32119">4</cx:pt>
          <cx:pt idx="32120">2</cx:pt>
          <cx:pt idx="32121">4</cx:pt>
          <cx:pt idx="32122">5</cx:pt>
          <cx:pt idx="32123">3</cx:pt>
          <cx:pt idx="32124">4</cx:pt>
          <cx:pt idx="32125">2</cx:pt>
          <cx:pt idx="32126">4</cx:pt>
          <cx:pt idx="32127">5</cx:pt>
          <cx:pt idx="32128">2</cx:pt>
          <cx:pt idx="32129">5</cx:pt>
          <cx:pt idx="32130">1</cx:pt>
          <cx:pt idx="32131">4</cx:pt>
          <cx:pt idx="32132">4</cx:pt>
          <cx:pt idx="32133">3</cx:pt>
          <cx:pt idx="32134">4</cx:pt>
          <cx:pt idx="32135">1</cx:pt>
          <cx:pt idx="32136">1</cx:pt>
          <cx:pt idx="32137">5</cx:pt>
          <cx:pt idx="32138">4</cx:pt>
          <cx:pt idx="32139">4</cx:pt>
          <cx:pt idx="32140">1</cx:pt>
          <cx:pt idx="32141">4</cx:pt>
          <cx:pt idx="32142">4</cx:pt>
          <cx:pt idx="32143">3</cx:pt>
          <cx:pt idx="32144">4</cx:pt>
          <cx:pt idx="32145">3</cx:pt>
          <cx:pt idx="32146">5</cx:pt>
          <cx:pt idx="32147">5</cx:pt>
          <cx:pt idx="32148">2</cx:pt>
          <cx:pt idx="32149">5</cx:pt>
          <cx:pt idx="32150">5</cx:pt>
          <cx:pt idx="32151">4</cx:pt>
          <cx:pt idx="32152">5</cx:pt>
          <cx:pt idx="32153">2</cx:pt>
          <cx:pt idx="32154">2</cx:pt>
          <cx:pt idx="32155">2</cx:pt>
          <cx:pt idx="32156">2</cx:pt>
          <cx:pt idx="32157">5</cx:pt>
          <cx:pt idx="32158">3</cx:pt>
          <cx:pt idx="32159">2</cx:pt>
          <cx:pt idx="32160">2</cx:pt>
          <cx:pt idx="32161">3</cx:pt>
          <cx:pt idx="32162">5</cx:pt>
          <cx:pt idx="32163">2</cx:pt>
          <cx:pt idx="32164">5</cx:pt>
          <cx:pt idx="32165">1</cx:pt>
          <cx:pt idx="32166">3</cx:pt>
          <cx:pt idx="32167">3</cx:pt>
          <cx:pt idx="32168">3</cx:pt>
          <cx:pt idx="32169">2</cx:pt>
          <cx:pt idx="32170">3</cx:pt>
          <cx:pt idx="32171">4</cx:pt>
          <cx:pt idx="32172">5</cx:pt>
          <cx:pt idx="32173">3</cx:pt>
          <cx:pt idx="32174">5</cx:pt>
          <cx:pt idx="32175">3</cx:pt>
          <cx:pt idx="32176">2</cx:pt>
          <cx:pt idx="32177">3</cx:pt>
          <cx:pt idx="32178">3</cx:pt>
          <cx:pt idx="32179">3</cx:pt>
          <cx:pt idx="32180">4</cx:pt>
          <cx:pt idx="32181">4</cx:pt>
          <cx:pt idx="32182">5</cx:pt>
          <cx:pt idx="32183">2</cx:pt>
          <cx:pt idx="32184">4</cx:pt>
          <cx:pt idx="32185">4</cx:pt>
          <cx:pt idx="32186">3</cx:pt>
          <cx:pt idx="32187">2</cx:pt>
          <cx:pt idx="32188">2</cx:pt>
          <cx:pt idx="32189">2</cx:pt>
          <cx:pt idx="32190">2</cx:pt>
          <cx:pt idx="32191">4</cx:pt>
          <cx:pt idx="32192">5</cx:pt>
          <cx:pt idx="32193">2</cx:pt>
          <cx:pt idx="32194">3</cx:pt>
          <cx:pt idx="32195">1</cx:pt>
          <cx:pt idx="32196">4</cx:pt>
          <cx:pt idx="32197">5</cx:pt>
          <cx:pt idx="32198">4</cx:pt>
          <cx:pt idx="32199">5</cx:pt>
          <cx:pt idx="32200">2</cx:pt>
          <cx:pt idx="32201">2</cx:pt>
          <cx:pt idx="32202">1</cx:pt>
          <cx:pt idx="32203">4</cx:pt>
          <cx:pt idx="32204">5</cx:pt>
          <cx:pt idx="32205">2</cx:pt>
          <cx:pt idx="32206">3</cx:pt>
          <cx:pt idx="32207">3</cx:pt>
          <cx:pt idx="32208">5</cx:pt>
          <cx:pt idx="32209">1</cx:pt>
          <cx:pt idx="32210">4</cx:pt>
          <cx:pt idx="32211">3</cx:pt>
          <cx:pt idx="32212">5</cx:pt>
          <cx:pt idx="32213">5</cx:pt>
          <cx:pt idx="32214">5</cx:pt>
          <cx:pt idx="32215">1</cx:pt>
          <cx:pt idx="32216">2</cx:pt>
          <cx:pt idx="32217">4</cx:pt>
          <cx:pt idx="32218">1</cx:pt>
          <cx:pt idx="32219">4</cx:pt>
          <cx:pt idx="32220">5</cx:pt>
          <cx:pt idx="32221">1</cx:pt>
          <cx:pt idx="32222">2</cx:pt>
          <cx:pt idx="32223">4</cx:pt>
          <cx:pt idx="32224">3</cx:pt>
          <cx:pt idx="32225">5</cx:pt>
          <cx:pt idx="32226">3</cx:pt>
          <cx:pt idx="32227">5</cx:pt>
          <cx:pt idx="32228">3</cx:pt>
          <cx:pt idx="32229">4</cx:pt>
          <cx:pt idx="32230">2</cx:pt>
          <cx:pt idx="32231">4</cx:pt>
          <cx:pt idx="32232">4</cx:pt>
          <cx:pt idx="32233">4</cx:pt>
          <cx:pt idx="32234">4</cx:pt>
          <cx:pt idx="32235">2</cx:pt>
          <cx:pt idx="32236">4</cx:pt>
          <cx:pt idx="32237">2</cx:pt>
          <cx:pt idx="32238">5</cx:pt>
          <cx:pt idx="32239">2</cx:pt>
          <cx:pt idx="32240">3</cx:pt>
          <cx:pt idx="32241">5</cx:pt>
          <cx:pt idx="32242">3</cx:pt>
          <cx:pt idx="32243">4</cx:pt>
          <cx:pt idx="32244">2</cx:pt>
          <cx:pt idx="32245">5</cx:pt>
          <cx:pt idx="32246">1</cx:pt>
          <cx:pt idx="32247">3</cx:pt>
          <cx:pt idx="32248">1</cx:pt>
          <cx:pt idx="32249">4</cx:pt>
          <cx:pt idx="32250">5</cx:pt>
          <cx:pt idx="32251">4</cx:pt>
          <cx:pt idx="32252">3</cx:pt>
          <cx:pt idx="32253">2</cx:pt>
          <cx:pt idx="32254">2</cx:pt>
          <cx:pt idx="32255">4</cx:pt>
          <cx:pt idx="32256">3</cx:pt>
          <cx:pt idx="32257">2</cx:pt>
          <cx:pt idx="32258">5</cx:pt>
          <cx:pt idx="32259">4</cx:pt>
          <cx:pt idx="32260">5</cx:pt>
          <cx:pt idx="32261">4</cx:pt>
          <cx:pt idx="32262">5</cx:pt>
          <cx:pt idx="32263">4</cx:pt>
          <cx:pt idx="32264">4</cx:pt>
          <cx:pt idx="32265">4</cx:pt>
          <cx:pt idx="32266">5</cx:pt>
          <cx:pt idx="32267">2</cx:pt>
          <cx:pt idx="32268">5</cx:pt>
          <cx:pt idx="32269">1</cx:pt>
          <cx:pt idx="32270">5</cx:pt>
          <cx:pt idx="32271">4</cx:pt>
          <cx:pt idx="32272">4</cx:pt>
          <cx:pt idx="32273">1</cx:pt>
          <cx:pt idx="32274">4</cx:pt>
          <cx:pt idx="32275">4</cx:pt>
          <cx:pt idx="32276">4</cx:pt>
          <cx:pt idx="32277">3</cx:pt>
          <cx:pt idx="32278">4</cx:pt>
          <cx:pt idx="32279">1</cx:pt>
          <cx:pt idx="32280">5</cx:pt>
          <cx:pt idx="32281">4</cx:pt>
          <cx:pt idx="32282">1</cx:pt>
          <cx:pt idx="32283">4</cx:pt>
          <cx:pt idx="32284">3</cx:pt>
          <cx:pt idx="32285">3</cx:pt>
          <cx:pt idx="32286">2</cx:pt>
          <cx:pt idx="32287">3</cx:pt>
          <cx:pt idx="32288">2</cx:pt>
          <cx:pt idx="32289">4</cx:pt>
          <cx:pt idx="32290">5</cx:pt>
          <cx:pt idx="32291">2</cx:pt>
          <cx:pt idx="32292">5</cx:pt>
          <cx:pt idx="32293">5</cx:pt>
          <cx:pt idx="32294">2</cx:pt>
          <cx:pt idx="32295">1</cx:pt>
          <cx:pt idx="32296">4</cx:pt>
          <cx:pt idx="32297">3</cx:pt>
          <cx:pt idx="32298">5</cx:pt>
          <cx:pt idx="32299">5</cx:pt>
          <cx:pt idx="32300">1</cx:pt>
          <cx:pt idx="32301">4</cx:pt>
          <cx:pt idx="32302">4</cx:pt>
          <cx:pt idx="32303">2</cx:pt>
          <cx:pt idx="32304">4</cx:pt>
          <cx:pt idx="32305">5</cx:pt>
          <cx:pt idx="32306">5</cx:pt>
          <cx:pt idx="32307">1</cx:pt>
          <cx:pt idx="32308">2</cx:pt>
          <cx:pt idx="32309">5</cx:pt>
          <cx:pt idx="32310">5</cx:pt>
          <cx:pt idx="32311">3</cx:pt>
          <cx:pt idx="32312">4</cx:pt>
          <cx:pt idx="32313">4</cx:pt>
          <cx:pt idx="32314">1</cx:pt>
          <cx:pt idx="32315">2</cx:pt>
          <cx:pt idx="32316">4</cx:pt>
          <cx:pt idx="32317">5</cx:pt>
          <cx:pt idx="32318">1</cx:pt>
          <cx:pt idx="32319">4</cx:pt>
          <cx:pt idx="32320">2</cx:pt>
          <cx:pt idx="32321">4</cx:pt>
          <cx:pt idx="32322">4</cx:pt>
          <cx:pt idx="32323">4</cx:pt>
          <cx:pt idx="32324">1</cx:pt>
          <cx:pt idx="32325">3</cx:pt>
          <cx:pt idx="32326">1</cx:pt>
          <cx:pt idx="32327">5</cx:pt>
          <cx:pt idx="32328">5</cx:pt>
          <cx:pt idx="32329">5</cx:pt>
          <cx:pt idx="32330">5</cx:pt>
          <cx:pt idx="32331">3</cx:pt>
          <cx:pt idx="32332">5</cx:pt>
          <cx:pt idx="32333">4</cx:pt>
          <cx:pt idx="32334">3</cx:pt>
          <cx:pt idx="32335">3</cx:pt>
          <cx:pt idx="32336">5</cx:pt>
          <cx:pt idx="32337">2</cx:pt>
          <cx:pt idx="32338">4</cx:pt>
          <cx:pt idx="32339">5</cx:pt>
          <cx:pt idx="32340">4</cx:pt>
          <cx:pt idx="32341">3</cx:pt>
          <cx:pt idx="32342">2</cx:pt>
          <cx:pt idx="32343">1</cx:pt>
          <cx:pt idx="32344">5</cx:pt>
          <cx:pt idx="32345">1</cx:pt>
          <cx:pt idx="32346">3</cx:pt>
          <cx:pt idx="32347">3</cx:pt>
          <cx:pt idx="32348">5</cx:pt>
          <cx:pt idx="32349">5</cx:pt>
          <cx:pt idx="32350">4</cx:pt>
          <cx:pt idx="32351">5</cx:pt>
          <cx:pt idx="32352">5</cx:pt>
          <cx:pt idx="32353">2</cx:pt>
          <cx:pt idx="32354">5</cx:pt>
          <cx:pt idx="32355">1</cx:pt>
          <cx:pt idx="32356">3</cx:pt>
          <cx:pt idx="32357">5</cx:pt>
          <cx:pt idx="32358">5</cx:pt>
          <cx:pt idx="32359">4</cx:pt>
          <cx:pt idx="32360">5</cx:pt>
          <cx:pt idx="32361">5</cx:pt>
          <cx:pt idx="32362">2</cx:pt>
          <cx:pt idx="32363">5</cx:pt>
          <cx:pt idx="32364">4</cx:pt>
          <cx:pt idx="32365">1</cx:pt>
          <cx:pt idx="32366">3</cx:pt>
          <cx:pt idx="32367">4</cx:pt>
          <cx:pt idx="32368">1</cx:pt>
          <cx:pt idx="32369">1</cx:pt>
          <cx:pt idx="32370">4</cx:pt>
          <cx:pt idx="32371">4</cx:pt>
          <cx:pt idx="32372">3</cx:pt>
          <cx:pt idx="32373">4</cx:pt>
          <cx:pt idx="32374">5</cx:pt>
          <cx:pt idx="32375">5</cx:pt>
          <cx:pt idx="32376">3</cx:pt>
          <cx:pt idx="32377">1</cx:pt>
          <cx:pt idx="32378">5</cx:pt>
          <cx:pt idx="32379">1</cx:pt>
          <cx:pt idx="32380">3</cx:pt>
          <cx:pt idx="32381">3</cx:pt>
          <cx:pt idx="32382">4</cx:pt>
          <cx:pt idx="32383">2</cx:pt>
          <cx:pt idx="32384">2</cx:pt>
          <cx:pt idx="32385">2</cx:pt>
          <cx:pt idx="32386">4</cx:pt>
          <cx:pt idx="32387">4</cx:pt>
          <cx:pt idx="32388">1</cx:pt>
          <cx:pt idx="32389">5</cx:pt>
          <cx:pt idx="32390">3</cx:pt>
          <cx:pt idx="32391">4</cx:pt>
          <cx:pt idx="32392">3</cx:pt>
          <cx:pt idx="32393">3</cx:pt>
          <cx:pt idx="32394">1</cx:pt>
          <cx:pt idx="32395">4</cx:pt>
          <cx:pt idx="32396">4</cx:pt>
          <cx:pt idx="32397">5</cx:pt>
          <cx:pt idx="32398">4</cx:pt>
          <cx:pt idx="32399">4</cx:pt>
          <cx:pt idx="32400">2</cx:pt>
          <cx:pt idx="32401">1</cx:pt>
          <cx:pt idx="32402">2</cx:pt>
          <cx:pt idx="32403">5</cx:pt>
          <cx:pt idx="32404">5</cx:pt>
          <cx:pt idx="32405">5</cx:pt>
          <cx:pt idx="32406">2</cx:pt>
          <cx:pt idx="32407">3</cx:pt>
          <cx:pt idx="32408">5</cx:pt>
          <cx:pt idx="32409">4</cx:pt>
          <cx:pt idx="32410">2</cx:pt>
          <cx:pt idx="32411">2</cx:pt>
          <cx:pt idx="32412">3</cx:pt>
          <cx:pt idx="32413">5</cx:pt>
          <cx:pt idx="32414">2</cx:pt>
          <cx:pt idx="32415">1</cx:pt>
          <cx:pt idx="32416">5</cx:pt>
          <cx:pt idx="32417">3</cx:pt>
          <cx:pt idx="32418">4</cx:pt>
          <cx:pt idx="32419">1</cx:pt>
          <cx:pt idx="32420">5</cx:pt>
          <cx:pt idx="32421">4</cx:pt>
          <cx:pt idx="32422">5</cx:pt>
          <cx:pt idx="32423">5</cx:pt>
          <cx:pt idx="32424">3</cx:pt>
          <cx:pt idx="32425">4</cx:pt>
          <cx:pt idx="32426">2</cx:pt>
          <cx:pt idx="32427">5</cx:pt>
          <cx:pt idx="32428">2</cx:pt>
          <cx:pt idx="32429">3</cx:pt>
          <cx:pt idx="32430">2</cx:pt>
          <cx:pt idx="32431">2</cx:pt>
          <cx:pt idx="32432">4</cx:pt>
          <cx:pt idx="32433">4</cx:pt>
          <cx:pt idx="32434">4</cx:pt>
          <cx:pt idx="32435">4</cx:pt>
          <cx:pt idx="32436">4</cx:pt>
          <cx:pt idx="32437">4</cx:pt>
          <cx:pt idx="32438">2</cx:pt>
          <cx:pt idx="32439">1</cx:pt>
          <cx:pt idx="32440">1</cx:pt>
          <cx:pt idx="32441">1</cx:pt>
          <cx:pt idx="32442">3</cx:pt>
          <cx:pt idx="32443">3</cx:pt>
          <cx:pt idx="32444">3</cx:pt>
          <cx:pt idx="32445">4</cx:pt>
          <cx:pt idx="32446">4</cx:pt>
          <cx:pt idx="32447">3</cx:pt>
          <cx:pt idx="32448">5</cx:pt>
          <cx:pt idx="32449">4</cx:pt>
          <cx:pt idx="32450">5</cx:pt>
          <cx:pt idx="32451">4</cx:pt>
          <cx:pt idx="32452">3</cx:pt>
          <cx:pt idx="32453">5</cx:pt>
          <cx:pt idx="32454">4</cx:pt>
          <cx:pt idx="32455">1</cx:pt>
          <cx:pt idx="32456">4</cx:pt>
          <cx:pt idx="32457">4</cx:pt>
          <cx:pt idx="32458">1</cx:pt>
          <cx:pt idx="32459">4</cx:pt>
          <cx:pt idx="32460">5</cx:pt>
          <cx:pt idx="32461">5</cx:pt>
          <cx:pt idx="32462">5</cx:pt>
          <cx:pt idx="32463">1</cx:pt>
          <cx:pt idx="32464">4</cx:pt>
          <cx:pt idx="32465">4</cx:pt>
          <cx:pt idx="32466">4</cx:pt>
          <cx:pt idx="32467">5</cx:pt>
          <cx:pt idx="32468">1</cx:pt>
          <cx:pt idx="32469">1</cx:pt>
          <cx:pt idx="32470">1</cx:pt>
          <cx:pt idx="32471">4</cx:pt>
          <cx:pt idx="32472">1</cx:pt>
          <cx:pt idx="32473">4</cx:pt>
          <cx:pt idx="32474">1</cx:pt>
          <cx:pt idx="32475">2</cx:pt>
          <cx:pt idx="32476">2</cx:pt>
          <cx:pt idx="32477">2</cx:pt>
          <cx:pt idx="32478">4</cx:pt>
          <cx:pt idx="32479">2</cx:pt>
          <cx:pt idx="32480">4</cx:pt>
          <cx:pt idx="32481">1</cx:pt>
          <cx:pt idx="32482">2</cx:pt>
          <cx:pt idx="32483">2</cx:pt>
          <cx:pt idx="32484">4</cx:pt>
          <cx:pt idx="32485">3</cx:pt>
          <cx:pt idx="32486">5</cx:pt>
          <cx:pt idx="32487">3</cx:pt>
          <cx:pt idx="32488">1</cx:pt>
          <cx:pt idx="32489">4</cx:pt>
          <cx:pt idx="32490">2</cx:pt>
          <cx:pt idx="32491">4</cx:pt>
          <cx:pt idx="32492">2</cx:pt>
          <cx:pt idx="32493">4</cx:pt>
          <cx:pt idx="32494">5</cx:pt>
          <cx:pt idx="32495">5</cx:pt>
          <cx:pt idx="32496">3</cx:pt>
          <cx:pt idx="32497">5</cx:pt>
          <cx:pt idx="32498">2</cx:pt>
          <cx:pt idx="32499">3</cx:pt>
          <cx:pt idx="32500">2</cx:pt>
          <cx:pt idx="32501">2</cx:pt>
          <cx:pt idx="32502">1</cx:pt>
          <cx:pt idx="32503">3</cx:pt>
          <cx:pt idx="32504">2</cx:pt>
          <cx:pt idx="32505">2</cx:pt>
          <cx:pt idx="32506">4</cx:pt>
          <cx:pt idx="32507">5</cx:pt>
          <cx:pt idx="32508">1</cx:pt>
          <cx:pt idx="32509">1</cx:pt>
          <cx:pt idx="32510">1</cx:pt>
          <cx:pt idx="32511">4</cx:pt>
          <cx:pt idx="32512">4</cx:pt>
          <cx:pt idx="32513">5</cx:pt>
          <cx:pt idx="32514">5</cx:pt>
          <cx:pt idx="32515">3</cx:pt>
          <cx:pt idx="32516">2</cx:pt>
          <cx:pt idx="32517">4</cx:pt>
          <cx:pt idx="32518">3</cx:pt>
          <cx:pt idx="32519">4</cx:pt>
          <cx:pt idx="32520">4</cx:pt>
          <cx:pt idx="32521">2</cx:pt>
          <cx:pt idx="32522">1</cx:pt>
          <cx:pt idx="32523">3</cx:pt>
          <cx:pt idx="32524">4</cx:pt>
          <cx:pt idx="32525">1</cx:pt>
          <cx:pt idx="32526">3</cx:pt>
          <cx:pt idx="32527">4</cx:pt>
          <cx:pt idx="32528">4</cx:pt>
          <cx:pt idx="32529">4</cx:pt>
          <cx:pt idx="32530">5</cx:pt>
          <cx:pt idx="32531">5</cx:pt>
          <cx:pt idx="32532">4</cx:pt>
          <cx:pt idx="32533">3</cx:pt>
          <cx:pt idx="32534">3</cx:pt>
          <cx:pt idx="32535">3</cx:pt>
          <cx:pt idx="32536">5</cx:pt>
          <cx:pt idx="32537">4</cx:pt>
          <cx:pt idx="32538">4</cx:pt>
          <cx:pt idx="32539">2</cx:pt>
          <cx:pt idx="32540">5</cx:pt>
          <cx:pt idx="32541">3</cx:pt>
          <cx:pt idx="32542">3</cx:pt>
          <cx:pt idx="32543">5</cx:pt>
          <cx:pt idx="32544">3</cx:pt>
          <cx:pt idx="32545">5</cx:pt>
          <cx:pt idx="32546">5</cx:pt>
          <cx:pt idx="32547">5</cx:pt>
          <cx:pt idx="32548">2</cx:pt>
          <cx:pt idx="32549">1</cx:pt>
          <cx:pt idx="32550">1</cx:pt>
          <cx:pt idx="32551">4</cx:pt>
          <cx:pt idx="32552">3</cx:pt>
          <cx:pt idx="32553">1</cx:pt>
          <cx:pt idx="32554">4</cx:pt>
          <cx:pt idx="32555">3</cx:pt>
          <cx:pt idx="32556">4</cx:pt>
          <cx:pt idx="32557">3</cx:pt>
          <cx:pt idx="32558">5</cx:pt>
          <cx:pt idx="32559">1</cx:pt>
          <cx:pt idx="32560">4</cx:pt>
          <cx:pt idx="32561">5</cx:pt>
          <cx:pt idx="32562">5</cx:pt>
          <cx:pt idx="32563">5</cx:pt>
          <cx:pt idx="32564">5</cx:pt>
          <cx:pt idx="32565">3</cx:pt>
          <cx:pt idx="32566">5</cx:pt>
          <cx:pt idx="32567">1</cx:pt>
          <cx:pt idx="32568">1</cx:pt>
          <cx:pt idx="32569">4</cx:pt>
          <cx:pt idx="32570">4</cx:pt>
          <cx:pt idx="32571">4</cx:pt>
          <cx:pt idx="32572">5</cx:pt>
          <cx:pt idx="32573">5</cx:pt>
          <cx:pt idx="32574">2</cx:pt>
          <cx:pt idx="32575">5</cx:pt>
          <cx:pt idx="32576">4</cx:pt>
          <cx:pt idx="32577">3</cx:pt>
          <cx:pt idx="32578">5</cx:pt>
          <cx:pt idx="32579">3</cx:pt>
          <cx:pt idx="32580">3</cx:pt>
          <cx:pt idx="32581">4</cx:pt>
          <cx:pt idx="32582">3</cx:pt>
          <cx:pt idx="32583">4</cx:pt>
          <cx:pt idx="32584">4</cx:pt>
          <cx:pt idx="32585">2</cx:pt>
          <cx:pt idx="32586">4</cx:pt>
          <cx:pt idx="32587">4</cx:pt>
          <cx:pt idx="32588">1</cx:pt>
          <cx:pt idx="32589">2</cx:pt>
          <cx:pt idx="32590">3</cx:pt>
          <cx:pt idx="32591">5</cx:pt>
          <cx:pt idx="32592">1</cx:pt>
          <cx:pt idx="32593">4</cx:pt>
          <cx:pt idx="32594">4</cx:pt>
          <cx:pt idx="32595">4</cx:pt>
          <cx:pt idx="32596">5</cx:pt>
          <cx:pt idx="32597">3</cx:pt>
          <cx:pt idx="32598">2</cx:pt>
          <cx:pt idx="32599">4</cx:pt>
          <cx:pt idx="32600">4</cx:pt>
          <cx:pt idx="32601">5</cx:pt>
          <cx:pt idx="32602">1</cx:pt>
          <cx:pt idx="32603">1</cx:pt>
          <cx:pt idx="32604">5</cx:pt>
          <cx:pt idx="32605">4</cx:pt>
          <cx:pt idx="32606">1</cx:pt>
          <cx:pt idx="32607">3</cx:pt>
          <cx:pt idx="32608">4</cx:pt>
          <cx:pt idx="32609">5</cx:pt>
          <cx:pt idx="32610">4</cx:pt>
          <cx:pt idx="32611">2</cx:pt>
          <cx:pt idx="32612">5</cx:pt>
          <cx:pt idx="32613">5</cx:pt>
          <cx:pt idx="32614">4</cx:pt>
          <cx:pt idx="32615">5</cx:pt>
          <cx:pt idx="32616">3</cx:pt>
          <cx:pt idx="32617">1</cx:pt>
          <cx:pt idx="32618">3</cx:pt>
          <cx:pt idx="32619">4</cx:pt>
          <cx:pt idx="32620">5</cx:pt>
          <cx:pt idx="32621">4</cx:pt>
          <cx:pt idx="32622">5</cx:pt>
          <cx:pt idx="32623">2</cx:pt>
          <cx:pt idx="32624">3</cx:pt>
          <cx:pt idx="32625">4</cx:pt>
          <cx:pt idx="32626">4</cx:pt>
          <cx:pt idx="32627">1</cx:pt>
          <cx:pt idx="32628">4</cx:pt>
          <cx:pt idx="32629">5</cx:pt>
          <cx:pt idx="32630">1</cx:pt>
          <cx:pt idx="32631">2</cx:pt>
          <cx:pt idx="32632">2</cx:pt>
          <cx:pt idx="32633">5</cx:pt>
          <cx:pt idx="32634">4</cx:pt>
          <cx:pt idx="32635">4</cx:pt>
          <cx:pt idx="32636">1</cx:pt>
          <cx:pt idx="32637">3</cx:pt>
          <cx:pt idx="32638">4</cx:pt>
          <cx:pt idx="32639">4</cx:pt>
          <cx:pt idx="32640">4</cx:pt>
          <cx:pt idx="32641">4</cx:pt>
          <cx:pt idx="32642">4</cx:pt>
          <cx:pt idx="32643">5</cx:pt>
          <cx:pt idx="32644">5</cx:pt>
          <cx:pt idx="32645">4</cx:pt>
          <cx:pt idx="32646">2</cx:pt>
          <cx:pt idx="32647">2</cx:pt>
          <cx:pt idx="32648">4</cx:pt>
          <cx:pt idx="32649">4</cx:pt>
          <cx:pt idx="32650">4</cx:pt>
          <cx:pt idx="32651">4</cx:pt>
          <cx:pt idx="32652">4</cx:pt>
          <cx:pt idx="32653">4</cx:pt>
          <cx:pt idx="32654">3</cx:pt>
          <cx:pt idx="32655">2</cx:pt>
          <cx:pt idx="32656">4</cx:pt>
          <cx:pt idx="32657">2</cx:pt>
          <cx:pt idx="32658">3</cx:pt>
          <cx:pt idx="32659">4</cx:pt>
          <cx:pt idx="32660">4</cx:pt>
          <cx:pt idx="32661">1</cx:pt>
          <cx:pt idx="32662">5</cx:pt>
          <cx:pt idx="32663">4</cx:pt>
          <cx:pt idx="32664">1</cx:pt>
          <cx:pt idx="32665">4</cx:pt>
          <cx:pt idx="32666">4</cx:pt>
          <cx:pt idx="32667">3</cx:pt>
          <cx:pt idx="32668">2</cx:pt>
          <cx:pt idx="32669">4</cx:pt>
          <cx:pt idx="32670">2</cx:pt>
          <cx:pt idx="32671">2</cx:pt>
          <cx:pt idx="32672">4</cx:pt>
          <cx:pt idx="32673">3</cx:pt>
          <cx:pt idx="32674">2</cx:pt>
          <cx:pt idx="32675">3</cx:pt>
          <cx:pt idx="32676">3</cx:pt>
          <cx:pt idx="32677">4</cx:pt>
          <cx:pt idx="32678">3</cx:pt>
          <cx:pt idx="32679">1</cx:pt>
          <cx:pt idx="32680">4</cx:pt>
          <cx:pt idx="32681">1</cx:pt>
          <cx:pt idx="32682">4</cx:pt>
          <cx:pt idx="32683">3</cx:pt>
          <cx:pt idx="32684">4</cx:pt>
          <cx:pt idx="32685">4</cx:pt>
          <cx:pt idx="32686">5</cx:pt>
          <cx:pt idx="32687">4</cx:pt>
          <cx:pt idx="32688">4</cx:pt>
          <cx:pt idx="32689">2</cx:pt>
          <cx:pt idx="32690">3</cx:pt>
          <cx:pt idx="32691">5</cx:pt>
          <cx:pt idx="32692">5</cx:pt>
          <cx:pt idx="32693">3</cx:pt>
          <cx:pt idx="32694">3</cx:pt>
          <cx:pt idx="32695">5</cx:pt>
          <cx:pt idx="32696">5</cx:pt>
          <cx:pt idx="32697">4</cx:pt>
          <cx:pt idx="32698">2</cx:pt>
          <cx:pt idx="32699">3</cx:pt>
          <cx:pt idx="32700">5</cx:pt>
          <cx:pt idx="32701">5</cx:pt>
          <cx:pt idx="32702">5</cx:pt>
          <cx:pt idx="32703">4</cx:pt>
          <cx:pt idx="32704">1</cx:pt>
          <cx:pt idx="32705">5</cx:pt>
          <cx:pt idx="32706">1</cx:pt>
          <cx:pt idx="32707">3</cx:pt>
          <cx:pt idx="32708">3</cx:pt>
          <cx:pt idx="32709">4</cx:pt>
          <cx:pt idx="32710">2</cx:pt>
          <cx:pt idx="32711">2</cx:pt>
          <cx:pt idx="32712">1</cx:pt>
          <cx:pt idx="32713">5</cx:pt>
          <cx:pt idx="32714">1</cx:pt>
          <cx:pt idx="32715">4</cx:pt>
          <cx:pt idx="32716">3</cx:pt>
          <cx:pt idx="32717">5</cx:pt>
          <cx:pt idx="32718">1</cx:pt>
          <cx:pt idx="32719">5</cx:pt>
          <cx:pt idx="32720">4</cx:pt>
          <cx:pt idx="32721">4</cx:pt>
          <cx:pt idx="32722">5</cx:pt>
          <cx:pt idx="32723">2</cx:pt>
          <cx:pt idx="32724">4</cx:pt>
          <cx:pt idx="32725">4</cx:pt>
          <cx:pt idx="32726">4</cx:pt>
          <cx:pt idx="32727">4</cx:pt>
          <cx:pt idx="32728">2</cx:pt>
          <cx:pt idx="32729">5</cx:pt>
          <cx:pt idx="32730">1</cx:pt>
          <cx:pt idx="32731">3</cx:pt>
          <cx:pt idx="32732">3</cx:pt>
          <cx:pt idx="32733">3</cx:pt>
          <cx:pt idx="32734">4</cx:pt>
          <cx:pt idx="32735">3</cx:pt>
          <cx:pt idx="32736">4</cx:pt>
          <cx:pt idx="32737">3</cx:pt>
          <cx:pt idx="32738">2</cx:pt>
          <cx:pt idx="32739">4</cx:pt>
          <cx:pt idx="32740">1</cx:pt>
          <cx:pt idx="32741">5</cx:pt>
          <cx:pt idx="32742">2</cx:pt>
          <cx:pt idx="32743">3</cx:pt>
          <cx:pt idx="32744">2</cx:pt>
          <cx:pt idx="32745">5</cx:pt>
          <cx:pt idx="32746">5</cx:pt>
          <cx:pt idx="32747">5</cx:pt>
          <cx:pt idx="32748">3</cx:pt>
          <cx:pt idx="32749">1</cx:pt>
          <cx:pt idx="32750">4</cx:pt>
          <cx:pt idx="32751">3</cx:pt>
          <cx:pt idx="32752">5</cx:pt>
          <cx:pt idx="32753">3</cx:pt>
          <cx:pt idx="32754">1</cx:pt>
          <cx:pt idx="32755">1</cx:pt>
          <cx:pt idx="32756">4</cx:pt>
          <cx:pt idx="32757">5</cx:pt>
          <cx:pt idx="32758">5</cx:pt>
          <cx:pt idx="32759">3</cx:pt>
          <cx:pt idx="32760">4</cx:pt>
          <cx:pt idx="32761">4</cx:pt>
          <cx:pt idx="32762">3</cx:pt>
          <cx:pt idx="32763">5</cx:pt>
          <cx:pt idx="32764">1</cx:pt>
          <cx:pt idx="32765">3</cx:pt>
          <cx:pt idx="32766">5</cx:pt>
          <cx:pt idx="32767">1</cx:pt>
          <cx:pt idx="32768">3</cx:pt>
          <cx:pt idx="32769">4</cx:pt>
          <cx:pt idx="32770">4</cx:pt>
          <cx:pt idx="32771">5</cx:pt>
          <cx:pt idx="32772">4</cx:pt>
          <cx:pt idx="32773">3</cx:pt>
          <cx:pt idx="32774">4</cx:pt>
          <cx:pt idx="32775">5</cx:pt>
          <cx:pt idx="32776">2</cx:pt>
          <cx:pt idx="32777">1</cx:pt>
          <cx:pt idx="32778">4</cx:pt>
          <cx:pt idx="32779">1</cx:pt>
          <cx:pt idx="32780">4</cx:pt>
          <cx:pt idx="32781">4</cx:pt>
          <cx:pt idx="32782">5</cx:pt>
          <cx:pt idx="32783">3</cx:pt>
          <cx:pt idx="32784">5</cx:pt>
          <cx:pt idx="32785">2</cx:pt>
          <cx:pt idx="32786">2</cx:pt>
          <cx:pt idx="32787">5</cx:pt>
          <cx:pt idx="32788">2</cx:pt>
          <cx:pt idx="32789">5</cx:pt>
          <cx:pt idx="32790">1</cx:pt>
          <cx:pt idx="32791">1</cx:pt>
          <cx:pt idx="32792">2</cx:pt>
          <cx:pt idx="32793">4</cx:pt>
          <cx:pt idx="32794">4</cx:pt>
          <cx:pt idx="32795">3</cx:pt>
          <cx:pt idx="32796">1</cx:pt>
          <cx:pt idx="32797">3</cx:pt>
          <cx:pt idx="32798">4</cx:pt>
          <cx:pt idx="32799">4</cx:pt>
          <cx:pt idx="32800">4</cx:pt>
          <cx:pt idx="32801">4</cx:pt>
          <cx:pt idx="32802">4</cx:pt>
          <cx:pt idx="32803">4</cx:pt>
          <cx:pt idx="32804">4</cx:pt>
          <cx:pt idx="32805">2</cx:pt>
          <cx:pt idx="32806">4</cx:pt>
          <cx:pt idx="32807">5</cx:pt>
          <cx:pt idx="32808">5</cx:pt>
          <cx:pt idx="32809">4</cx:pt>
          <cx:pt idx="32810">4</cx:pt>
          <cx:pt idx="32811">4</cx:pt>
          <cx:pt idx="32812">4</cx:pt>
          <cx:pt idx="32813">2</cx:pt>
          <cx:pt idx="32814">3</cx:pt>
          <cx:pt idx="32815">5</cx:pt>
          <cx:pt idx="32816">1</cx:pt>
          <cx:pt idx="32817">5</cx:pt>
          <cx:pt idx="32818">4</cx:pt>
          <cx:pt idx="32819">4</cx:pt>
          <cx:pt idx="32820">2</cx:pt>
          <cx:pt idx="32821">3</cx:pt>
          <cx:pt idx="32822">1</cx:pt>
          <cx:pt idx="32823">4</cx:pt>
          <cx:pt idx="32824">5</cx:pt>
          <cx:pt idx="32825">4</cx:pt>
          <cx:pt idx="32826">5</cx:pt>
          <cx:pt idx="32827">1</cx:pt>
          <cx:pt idx="32828">5</cx:pt>
          <cx:pt idx="32829">4</cx:pt>
          <cx:pt idx="32830">3</cx:pt>
          <cx:pt idx="32831">4</cx:pt>
          <cx:pt idx="32832">1</cx:pt>
          <cx:pt idx="32833">3</cx:pt>
          <cx:pt idx="32834">3</cx:pt>
          <cx:pt idx="32835">5</cx:pt>
          <cx:pt idx="32836">5</cx:pt>
          <cx:pt idx="32837">1</cx:pt>
          <cx:pt idx="32838">5</cx:pt>
          <cx:pt idx="32839">3</cx:pt>
          <cx:pt idx="32840">3</cx:pt>
          <cx:pt idx="32841">2</cx:pt>
          <cx:pt idx="32842">2</cx:pt>
          <cx:pt idx="32843">4</cx:pt>
          <cx:pt idx="32844">3</cx:pt>
          <cx:pt idx="32845">4</cx:pt>
          <cx:pt idx="32846">5</cx:pt>
          <cx:pt idx="32847">2</cx:pt>
          <cx:pt idx="32848">2</cx:pt>
          <cx:pt idx="32849">1</cx:pt>
          <cx:pt idx="32850">4</cx:pt>
          <cx:pt idx="32851">5</cx:pt>
          <cx:pt idx="32852">3</cx:pt>
          <cx:pt idx="32853">2</cx:pt>
          <cx:pt idx="32854">2</cx:pt>
          <cx:pt idx="32855">5</cx:pt>
          <cx:pt idx="32856">4</cx:pt>
          <cx:pt idx="32857">1</cx:pt>
          <cx:pt idx="32858">5</cx:pt>
          <cx:pt idx="32859">1</cx:pt>
          <cx:pt idx="32860">1</cx:pt>
          <cx:pt idx="32861">5</cx:pt>
          <cx:pt idx="32862">4</cx:pt>
          <cx:pt idx="32863">2</cx:pt>
          <cx:pt idx="32864">2</cx:pt>
          <cx:pt idx="32865">3</cx:pt>
          <cx:pt idx="32866">5</cx:pt>
          <cx:pt idx="32867">4</cx:pt>
          <cx:pt idx="32868">5</cx:pt>
          <cx:pt idx="32869">4</cx:pt>
          <cx:pt idx="32870">4</cx:pt>
          <cx:pt idx="32871">5</cx:pt>
          <cx:pt idx="32872">5</cx:pt>
          <cx:pt idx="32873">2</cx:pt>
          <cx:pt idx="32874">4</cx:pt>
          <cx:pt idx="32875">2</cx:pt>
          <cx:pt idx="32876">3</cx:pt>
          <cx:pt idx="32877">1</cx:pt>
          <cx:pt idx="32878">1</cx:pt>
          <cx:pt idx="32879">5</cx:pt>
          <cx:pt idx="32880">5</cx:pt>
          <cx:pt idx="32881">4</cx:pt>
          <cx:pt idx="32882">3</cx:pt>
          <cx:pt idx="32883">5</cx:pt>
          <cx:pt idx="32884">2</cx:pt>
          <cx:pt idx="32885">4</cx:pt>
          <cx:pt idx="32886">5</cx:pt>
          <cx:pt idx="32887">4</cx:pt>
          <cx:pt idx="32888">1</cx:pt>
          <cx:pt idx="32889">4</cx:pt>
          <cx:pt idx="32890">3</cx:pt>
          <cx:pt idx="32891">4</cx:pt>
          <cx:pt idx="32892">1</cx:pt>
          <cx:pt idx="32893">3</cx:pt>
          <cx:pt idx="32894">4</cx:pt>
          <cx:pt idx="32895">4</cx:pt>
          <cx:pt idx="32896">4</cx:pt>
          <cx:pt idx="32897">5</cx:pt>
          <cx:pt idx="32898">1</cx:pt>
          <cx:pt idx="32899">5</cx:pt>
          <cx:pt idx="32900">5</cx:pt>
          <cx:pt idx="32901">4</cx:pt>
          <cx:pt idx="32902">4</cx:pt>
          <cx:pt idx="32903">2</cx:pt>
          <cx:pt idx="32904">1</cx:pt>
          <cx:pt idx="32905">3</cx:pt>
          <cx:pt idx="32906">2</cx:pt>
          <cx:pt idx="32907">4</cx:pt>
          <cx:pt idx="32908">3</cx:pt>
          <cx:pt idx="32909">4</cx:pt>
          <cx:pt idx="32910">3</cx:pt>
          <cx:pt idx="32911">5</cx:pt>
          <cx:pt idx="32912">4</cx:pt>
          <cx:pt idx="32913">4</cx:pt>
          <cx:pt idx="32914">4</cx:pt>
          <cx:pt idx="32915">1</cx:pt>
          <cx:pt idx="32916">5</cx:pt>
          <cx:pt idx="32917">3</cx:pt>
          <cx:pt idx="32918">5</cx:pt>
          <cx:pt idx="32919">4</cx:pt>
          <cx:pt idx="32920">3</cx:pt>
          <cx:pt idx="32921">5</cx:pt>
          <cx:pt idx="32922">3</cx:pt>
          <cx:pt idx="32923">2</cx:pt>
          <cx:pt idx="32924">3</cx:pt>
          <cx:pt idx="32925">3</cx:pt>
          <cx:pt idx="32926">3</cx:pt>
          <cx:pt idx="32927">2</cx:pt>
          <cx:pt idx="32928">3</cx:pt>
          <cx:pt idx="32929">4</cx:pt>
          <cx:pt idx="32930">4</cx:pt>
          <cx:pt idx="32931">2</cx:pt>
          <cx:pt idx="32932">4</cx:pt>
          <cx:pt idx="32933">4</cx:pt>
          <cx:pt idx="32934">4</cx:pt>
          <cx:pt idx="32935">3</cx:pt>
          <cx:pt idx="32936">5</cx:pt>
          <cx:pt idx="32937">5</cx:pt>
          <cx:pt idx="32938">3</cx:pt>
          <cx:pt idx="32939">2</cx:pt>
          <cx:pt idx="32940">4</cx:pt>
          <cx:pt idx="32941">4</cx:pt>
          <cx:pt idx="32942">4</cx:pt>
          <cx:pt idx="32943">2</cx:pt>
          <cx:pt idx="32944">5</cx:pt>
          <cx:pt idx="32945">3</cx:pt>
          <cx:pt idx="32946">5</cx:pt>
          <cx:pt idx="32947">2</cx:pt>
          <cx:pt idx="32948">4</cx:pt>
          <cx:pt idx="32949">5</cx:pt>
          <cx:pt idx="32950">4</cx:pt>
          <cx:pt idx="32951">1</cx:pt>
          <cx:pt idx="32952">4</cx:pt>
          <cx:pt idx="32953">4</cx:pt>
          <cx:pt idx="32954">4</cx:pt>
          <cx:pt idx="32955">4</cx:pt>
          <cx:pt idx="32956">1</cx:pt>
          <cx:pt idx="32957">1</cx:pt>
          <cx:pt idx="32958">3</cx:pt>
          <cx:pt idx="32959">4</cx:pt>
          <cx:pt idx="32960">2</cx:pt>
          <cx:pt idx="32961">5</cx:pt>
          <cx:pt idx="32962">2</cx:pt>
          <cx:pt idx="32963">1</cx:pt>
          <cx:pt idx="32964">4</cx:pt>
          <cx:pt idx="32965">3</cx:pt>
          <cx:pt idx="32966">2</cx:pt>
          <cx:pt idx="32967">1</cx:pt>
          <cx:pt idx="32968">2</cx:pt>
          <cx:pt idx="32969">4</cx:pt>
          <cx:pt idx="32970">5</cx:pt>
          <cx:pt idx="32971">1</cx:pt>
          <cx:pt idx="32972">3</cx:pt>
          <cx:pt idx="32973">3</cx:pt>
          <cx:pt idx="32974">3</cx:pt>
          <cx:pt idx="32975">5</cx:pt>
          <cx:pt idx="32976">5</cx:pt>
          <cx:pt idx="32977">5</cx:pt>
          <cx:pt idx="32978">4</cx:pt>
          <cx:pt idx="32979">1</cx:pt>
          <cx:pt idx="32980">2</cx:pt>
          <cx:pt idx="32981">2</cx:pt>
          <cx:pt idx="32982">2</cx:pt>
          <cx:pt idx="32983">5</cx:pt>
          <cx:pt idx="32984">1</cx:pt>
          <cx:pt idx="32985">5</cx:pt>
          <cx:pt idx="32986">5</cx:pt>
          <cx:pt idx="32987">1</cx:pt>
          <cx:pt idx="32988">3</cx:pt>
          <cx:pt idx="32989">3</cx:pt>
          <cx:pt idx="32990">1</cx:pt>
          <cx:pt idx="32991">1</cx:pt>
          <cx:pt idx="32992">5</cx:pt>
          <cx:pt idx="32993">4</cx:pt>
          <cx:pt idx="32994">2</cx:pt>
          <cx:pt idx="32995">4</cx:pt>
          <cx:pt idx="32996">3</cx:pt>
          <cx:pt idx="32997">5</cx:pt>
          <cx:pt idx="32998">2</cx:pt>
          <cx:pt idx="32999">5</cx:pt>
          <cx:pt idx="33000">3</cx:pt>
          <cx:pt idx="33001">2</cx:pt>
          <cx:pt idx="33002">5</cx:pt>
          <cx:pt idx="33003">5</cx:pt>
          <cx:pt idx="33004">3</cx:pt>
          <cx:pt idx="33005">3</cx:pt>
          <cx:pt idx="33006">1</cx:pt>
          <cx:pt idx="33007">1</cx:pt>
          <cx:pt idx="33008">3</cx:pt>
          <cx:pt idx="33009">4</cx:pt>
          <cx:pt idx="33010">4</cx:pt>
          <cx:pt idx="33011">2</cx:pt>
          <cx:pt idx="33012">3</cx:pt>
          <cx:pt idx="33013">4</cx:pt>
          <cx:pt idx="33014">4</cx:pt>
          <cx:pt idx="33015">5</cx:pt>
          <cx:pt idx="33016">4</cx:pt>
          <cx:pt idx="33017">4</cx:pt>
          <cx:pt idx="33018">3</cx:pt>
          <cx:pt idx="33019">3</cx:pt>
          <cx:pt idx="33020">4</cx:pt>
          <cx:pt idx="33021">3</cx:pt>
          <cx:pt idx="33022">4</cx:pt>
          <cx:pt idx="33023">2</cx:pt>
          <cx:pt idx="33024">3</cx:pt>
          <cx:pt idx="33025">5</cx:pt>
          <cx:pt idx="33026">4</cx:pt>
          <cx:pt idx="33027">3</cx:pt>
          <cx:pt idx="33028">5</cx:pt>
          <cx:pt idx="33029">5</cx:pt>
          <cx:pt idx="33030">2</cx:pt>
          <cx:pt idx="33031">5</cx:pt>
          <cx:pt idx="33032">1</cx:pt>
          <cx:pt idx="33033">4</cx:pt>
          <cx:pt idx="33034">4</cx:pt>
          <cx:pt idx="33035">4</cx:pt>
          <cx:pt idx="33036">5</cx:pt>
          <cx:pt idx="33037">3</cx:pt>
          <cx:pt idx="33038">1</cx:pt>
          <cx:pt idx="33039">5</cx:pt>
          <cx:pt idx="33040">5</cx:pt>
          <cx:pt idx="33041">4</cx:pt>
          <cx:pt idx="33042">5</cx:pt>
          <cx:pt idx="33043">5</cx:pt>
          <cx:pt idx="33044">3</cx:pt>
          <cx:pt idx="33045">4</cx:pt>
          <cx:pt idx="33046">4</cx:pt>
          <cx:pt idx="33047">4</cx:pt>
          <cx:pt idx="33048">5</cx:pt>
          <cx:pt idx="33049">5</cx:pt>
          <cx:pt idx="33050">2</cx:pt>
          <cx:pt idx="33051">3</cx:pt>
          <cx:pt idx="33052">4</cx:pt>
          <cx:pt idx="33053">2</cx:pt>
          <cx:pt idx="33054">5</cx:pt>
          <cx:pt idx="33055">5</cx:pt>
          <cx:pt idx="33056">3</cx:pt>
          <cx:pt idx="33057">4</cx:pt>
          <cx:pt idx="33058">4</cx:pt>
          <cx:pt idx="33059">2</cx:pt>
          <cx:pt idx="33060">4</cx:pt>
          <cx:pt idx="33061">1</cx:pt>
          <cx:pt idx="33062">4</cx:pt>
          <cx:pt idx="33063">2</cx:pt>
          <cx:pt idx="33064">4</cx:pt>
          <cx:pt idx="33065">1</cx:pt>
          <cx:pt idx="33066">3</cx:pt>
          <cx:pt idx="33067">5</cx:pt>
          <cx:pt idx="33068">3</cx:pt>
          <cx:pt idx="33069">4</cx:pt>
          <cx:pt idx="33070">5</cx:pt>
          <cx:pt idx="33071">5</cx:pt>
          <cx:pt idx="33072">3</cx:pt>
          <cx:pt idx="33073">4</cx:pt>
          <cx:pt idx="33074">2</cx:pt>
          <cx:pt idx="33075">2</cx:pt>
          <cx:pt idx="33076">2</cx:pt>
          <cx:pt idx="33077">4</cx:pt>
          <cx:pt idx="33078">3</cx:pt>
          <cx:pt idx="33079">4</cx:pt>
          <cx:pt idx="33080">5</cx:pt>
          <cx:pt idx="33081">4</cx:pt>
          <cx:pt idx="33082">1</cx:pt>
          <cx:pt idx="33083">2</cx:pt>
          <cx:pt idx="33084">4</cx:pt>
          <cx:pt idx="33085">4</cx:pt>
          <cx:pt idx="33086">4</cx:pt>
          <cx:pt idx="33087">5</cx:pt>
          <cx:pt idx="33088">4</cx:pt>
          <cx:pt idx="33089">4</cx:pt>
          <cx:pt idx="33090">4</cx:pt>
          <cx:pt idx="33091">5</cx:pt>
          <cx:pt idx="33092">4</cx:pt>
          <cx:pt idx="33093">5</cx:pt>
          <cx:pt idx="33094">4</cx:pt>
          <cx:pt idx="33095">4</cx:pt>
          <cx:pt idx="33096">1</cx:pt>
          <cx:pt idx="33097">3</cx:pt>
          <cx:pt idx="33098">5</cx:pt>
          <cx:pt idx="33099">3</cx:pt>
          <cx:pt idx="33100">4</cx:pt>
          <cx:pt idx="33101">1</cx:pt>
          <cx:pt idx="33102">3</cx:pt>
          <cx:pt idx="33103">2</cx:pt>
          <cx:pt idx="33104">2</cx:pt>
          <cx:pt idx="33105">2</cx:pt>
          <cx:pt idx="33106">5</cx:pt>
          <cx:pt idx="33107">5</cx:pt>
          <cx:pt idx="33108">1</cx:pt>
          <cx:pt idx="33109">1</cx:pt>
          <cx:pt idx="33110">5</cx:pt>
          <cx:pt idx="33111">2</cx:pt>
          <cx:pt idx="33112">1</cx:pt>
          <cx:pt idx="33113">4</cx:pt>
          <cx:pt idx="33114">3</cx:pt>
          <cx:pt idx="33115">5</cx:pt>
          <cx:pt idx="33116">1</cx:pt>
          <cx:pt idx="33117">3</cx:pt>
          <cx:pt idx="33118">2</cx:pt>
          <cx:pt idx="33119">3</cx:pt>
          <cx:pt idx="33120">4</cx:pt>
          <cx:pt idx="33121">5</cx:pt>
          <cx:pt idx="33122">5</cx:pt>
          <cx:pt idx="33123">3</cx:pt>
          <cx:pt idx="33124">5</cx:pt>
          <cx:pt idx="33125">4</cx:pt>
          <cx:pt idx="33126">3</cx:pt>
          <cx:pt idx="33127">5</cx:pt>
          <cx:pt idx="33128">4</cx:pt>
          <cx:pt idx="33129">5</cx:pt>
          <cx:pt idx="33130">1</cx:pt>
          <cx:pt idx="33131">5</cx:pt>
          <cx:pt idx="33132">4</cx:pt>
          <cx:pt idx="33133">5</cx:pt>
          <cx:pt idx="33134">1</cx:pt>
          <cx:pt idx="33135">2</cx:pt>
          <cx:pt idx="33136">2</cx:pt>
          <cx:pt idx="33137">2</cx:pt>
          <cx:pt idx="33138">2</cx:pt>
          <cx:pt idx="33139">2</cx:pt>
          <cx:pt idx="33140">3</cx:pt>
          <cx:pt idx="33141">2</cx:pt>
          <cx:pt idx="33142">4</cx:pt>
          <cx:pt idx="33143">5</cx:pt>
          <cx:pt idx="33144">5</cx:pt>
          <cx:pt idx="33145">2</cx:pt>
          <cx:pt idx="33146">4</cx:pt>
          <cx:pt idx="33147">3</cx:pt>
          <cx:pt idx="33148">4</cx:pt>
          <cx:pt idx="33149">3</cx:pt>
          <cx:pt idx="33150">5</cx:pt>
          <cx:pt idx="33151">4</cx:pt>
          <cx:pt idx="33152">1</cx:pt>
          <cx:pt idx="33153">4</cx:pt>
          <cx:pt idx="33154">5</cx:pt>
          <cx:pt idx="33155">4</cx:pt>
          <cx:pt idx="33156">4</cx:pt>
          <cx:pt idx="33157">4</cx:pt>
          <cx:pt idx="33158">3</cx:pt>
          <cx:pt idx="33159">2</cx:pt>
          <cx:pt idx="33160">4</cx:pt>
          <cx:pt idx="33161">3</cx:pt>
          <cx:pt idx="33162">1</cx:pt>
          <cx:pt idx="33163">3</cx:pt>
          <cx:pt idx="33164">4</cx:pt>
          <cx:pt idx="33165">4</cx:pt>
          <cx:pt idx="33166">4</cx:pt>
          <cx:pt idx="33167">5</cx:pt>
          <cx:pt idx="33168">3</cx:pt>
          <cx:pt idx="33169">3</cx:pt>
          <cx:pt idx="33170">4</cx:pt>
          <cx:pt idx="33171">1</cx:pt>
          <cx:pt idx="33172">3</cx:pt>
          <cx:pt idx="33173">4</cx:pt>
          <cx:pt idx="33174">3</cx:pt>
          <cx:pt idx="33175">4</cx:pt>
          <cx:pt idx="33176">3</cx:pt>
          <cx:pt idx="33177">4</cx:pt>
          <cx:pt idx="33178">1</cx:pt>
          <cx:pt idx="33179">5</cx:pt>
          <cx:pt idx="33180">4</cx:pt>
          <cx:pt idx="33181">3</cx:pt>
          <cx:pt idx="33182">4</cx:pt>
          <cx:pt idx="33183">4</cx:pt>
          <cx:pt idx="33184">4</cx:pt>
          <cx:pt idx="33185">4</cx:pt>
          <cx:pt idx="33186">4</cx:pt>
          <cx:pt idx="33187">3</cx:pt>
          <cx:pt idx="33188">5</cx:pt>
          <cx:pt idx="33189">3</cx:pt>
          <cx:pt idx="33190">5</cx:pt>
          <cx:pt idx="33191">2</cx:pt>
          <cx:pt idx="33192">4</cx:pt>
          <cx:pt idx="33193">4</cx:pt>
          <cx:pt idx="33194">4</cx:pt>
          <cx:pt idx="33195">4</cx:pt>
          <cx:pt idx="33196">2</cx:pt>
          <cx:pt idx="33197">4</cx:pt>
          <cx:pt idx="33198">5</cx:pt>
          <cx:pt idx="33199">4</cx:pt>
          <cx:pt idx="33200">5</cx:pt>
          <cx:pt idx="33201">3</cx:pt>
          <cx:pt idx="33202">4</cx:pt>
          <cx:pt idx="33203">3</cx:pt>
          <cx:pt idx="33204">5</cx:pt>
          <cx:pt idx="33205">1</cx:pt>
          <cx:pt idx="33206">5</cx:pt>
          <cx:pt idx="33207">4</cx:pt>
          <cx:pt idx="33208">5</cx:pt>
          <cx:pt idx="33209">5</cx:pt>
          <cx:pt idx="33210">4</cx:pt>
          <cx:pt idx="33211">1</cx:pt>
          <cx:pt idx="33212">4</cx:pt>
          <cx:pt idx="33213">3</cx:pt>
          <cx:pt idx="33214">4</cx:pt>
          <cx:pt idx="33215">3</cx:pt>
          <cx:pt idx="33216">4</cx:pt>
          <cx:pt idx="33217">2</cx:pt>
          <cx:pt idx="33218">2</cx:pt>
          <cx:pt idx="33219">4</cx:pt>
          <cx:pt idx="33220">5</cx:pt>
          <cx:pt idx="33221">4</cx:pt>
          <cx:pt idx="33222">4</cx:pt>
          <cx:pt idx="33223">3</cx:pt>
          <cx:pt idx="33224">2</cx:pt>
          <cx:pt idx="33225">1</cx:pt>
          <cx:pt idx="33226">5</cx:pt>
          <cx:pt idx="33227">2</cx:pt>
          <cx:pt idx="33228">5</cx:pt>
          <cx:pt idx="33229">2</cx:pt>
          <cx:pt idx="33230">5</cx:pt>
          <cx:pt idx="33231">5</cx:pt>
          <cx:pt idx="33232">4</cx:pt>
          <cx:pt idx="33233">5</cx:pt>
          <cx:pt idx="33234">4</cx:pt>
          <cx:pt idx="33235">2</cx:pt>
          <cx:pt idx="33236">5</cx:pt>
          <cx:pt idx="33237">2</cx:pt>
          <cx:pt idx="33238">2</cx:pt>
          <cx:pt idx="33239">3</cx:pt>
          <cx:pt idx="33240">5</cx:pt>
          <cx:pt idx="33241">2</cx:pt>
          <cx:pt idx="33242">4</cx:pt>
          <cx:pt idx="33243">2</cx:pt>
          <cx:pt idx="33244">4</cx:pt>
          <cx:pt idx="33245">5</cx:pt>
          <cx:pt idx="33246">4</cx:pt>
          <cx:pt idx="33247">3</cx:pt>
          <cx:pt idx="33248">3</cx:pt>
          <cx:pt idx="33249">5</cx:pt>
          <cx:pt idx="33250">4</cx:pt>
          <cx:pt idx="33251">4</cx:pt>
          <cx:pt idx="33252">3</cx:pt>
          <cx:pt idx="33253">5</cx:pt>
          <cx:pt idx="33254">2</cx:pt>
          <cx:pt idx="33255">4</cx:pt>
          <cx:pt idx="33256">1</cx:pt>
          <cx:pt idx="33257">2</cx:pt>
          <cx:pt idx="33258">5</cx:pt>
          <cx:pt idx="33259">5</cx:pt>
          <cx:pt idx="33260">1</cx:pt>
          <cx:pt idx="33261">5</cx:pt>
          <cx:pt idx="33262">1</cx:pt>
          <cx:pt idx="33263">5</cx:pt>
          <cx:pt idx="33264">1</cx:pt>
          <cx:pt idx="33265">5</cx:pt>
          <cx:pt idx="33266">5</cx:pt>
          <cx:pt idx="33267">1</cx:pt>
          <cx:pt idx="33268">4</cx:pt>
          <cx:pt idx="33269">4</cx:pt>
          <cx:pt idx="33270">4</cx:pt>
          <cx:pt idx="33271">3</cx:pt>
          <cx:pt idx="33272">3</cx:pt>
          <cx:pt idx="33273">5</cx:pt>
          <cx:pt idx="33274">3</cx:pt>
          <cx:pt idx="33275">5</cx:pt>
          <cx:pt idx="33276">4</cx:pt>
          <cx:pt idx="33277">5</cx:pt>
          <cx:pt idx="33278">2</cx:pt>
          <cx:pt idx="33279">4</cx:pt>
          <cx:pt idx="33280">1</cx:pt>
          <cx:pt idx="33281">4</cx:pt>
          <cx:pt idx="33282">3</cx:pt>
          <cx:pt idx="33283">1</cx:pt>
          <cx:pt idx="33284">5</cx:pt>
          <cx:pt idx="33285">4</cx:pt>
          <cx:pt idx="33286">2</cx:pt>
          <cx:pt idx="33287">4</cx:pt>
          <cx:pt idx="33288">4</cx:pt>
          <cx:pt idx="33289">4</cx:pt>
          <cx:pt idx="33290">2</cx:pt>
          <cx:pt idx="33291">5</cx:pt>
          <cx:pt idx="33292">4</cx:pt>
          <cx:pt idx="33293">3</cx:pt>
          <cx:pt idx="33294">5</cx:pt>
          <cx:pt idx="33295">2</cx:pt>
          <cx:pt idx="33296">5</cx:pt>
          <cx:pt idx="33297">4</cx:pt>
          <cx:pt idx="33298">1</cx:pt>
          <cx:pt idx="33299">4</cx:pt>
          <cx:pt idx="33300">5</cx:pt>
          <cx:pt idx="33301">3</cx:pt>
          <cx:pt idx="33302">4</cx:pt>
          <cx:pt idx="33303">3</cx:pt>
          <cx:pt idx="33304">3</cx:pt>
          <cx:pt idx="33305">4</cx:pt>
          <cx:pt idx="33306">2</cx:pt>
          <cx:pt idx="33307">5</cx:pt>
          <cx:pt idx="33308">3</cx:pt>
          <cx:pt idx="33309">1</cx:pt>
          <cx:pt idx="33310">3</cx:pt>
          <cx:pt idx="33311">2</cx:pt>
          <cx:pt idx="33312">4</cx:pt>
          <cx:pt idx="33313">5</cx:pt>
          <cx:pt idx="33314">4</cx:pt>
          <cx:pt idx="33315">4</cx:pt>
          <cx:pt idx="33316">4</cx:pt>
          <cx:pt idx="33317">4</cx:pt>
          <cx:pt idx="33318">1</cx:pt>
          <cx:pt idx="33319">5</cx:pt>
          <cx:pt idx="33320">5</cx:pt>
          <cx:pt idx="33321">4</cx:pt>
          <cx:pt idx="33322">3</cx:pt>
          <cx:pt idx="33323">2</cx:pt>
          <cx:pt idx="33324">4</cx:pt>
          <cx:pt idx="33325">2</cx:pt>
          <cx:pt idx="33326">5</cx:pt>
          <cx:pt idx="33327">1</cx:pt>
          <cx:pt idx="33328">2</cx:pt>
          <cx:pt idx="33329">1</cx:pt>
          <cx:pt idx="33330">4</cx:pt>
          <cx:pt idx="33331">4</cx:pt>
          <cx:pt idx="33332">1</cx:pt>
          <cx:pt idx="33333">2</cx:pt>
          <cx:pt idx="33334">5</cx:pt>
          <cx:pt idx="33335">5</cx:pt>
          <cx:pt idx="33336">4</cx:pt>
          <cx:pt idx="33337">5</cx:pt>
          <cx:pt idx="33338">1</cx:pt>
          <cx:pt idx="33339">4</cx:pt>
          <cx:pt idx="33340">4</cx:pt>
          <cx:pt idx="33341">5</cx:pt>
          <cx:pt idx="33342">3</cx:pt>
          <cx:pt idx="33343">2</cx:pt>
          <cx:pt idx="33344">5</cx:pt>
          <cx:pt idx="33345">3</cx:pt>
          <cx:pt idx="33346">3</cx:pt>
          <cx:pt idx="33347">5</cx:pt>
          <cx:pt idx="33348">4</cx:pt>
          <cx:pt idx="33349">5</cx:pt>
          <cx:pt idx="33350">4</cx:pt>
          <cx:pt idx="33351">1</cx:pt>
          <cx:pt idx="33352">4</cx:pt>
          <cx:pt idx="33353">5</cx:pt>
          <cx:pt idx="33354">1</cx:pt>
          <cx:pt idx="33355">4</cx:pt>
          <cx:pt idx="33356">3</cx:pt>
          <cx:pt idx="33357">5</cx:pt>
          <cx:pt idx="33358">3</cx:pt>
          <cx:pt idx="33359">1</cx:pt>
          <cx:pt idx="33360">3</cx:pt>
          <cx:pt idx="33361">4</cx:pt>
          <cx:pt idx="33362">2</cx:pt>
          <cx:pt idx="33363">5</cx:pt>
          <cx:pt idx="33364">5</cx:pt>
          <cx:pt idx="33365">1</cx:pt>
          <cx:pt idx="33366">5</cx:pt>
          <cx:pt idx="33367">3</cx:pt>
          <cx:pt idx="33368">1</cx:pt>
          <cx:pt idx="33369">1</cx:pt>
          <cx:pt idx="33370">4</cx:pt>
          <cx:pt idx="33371">4</cx:pt>
          <cx:pt idx="33372">3</cx:pt>
          <cx:pt idx="33373">4</cx:pt>
          <cx:pt idx="33374">3</cx:pt>
          <cx:pt idx="33375">4</cx:pt>
          <cx:pt idx="33376">2</cx:pt>
          <cx:pt idx="33377">1</cx:pt>
          <cx:pt idx="33378">4</cx:pt>
          <cx:pt idx="33379">2</cx:pt>
          <cx:pt idx="33380">5</cx:pt>
          <cx:pt idx="33381">5</cx:pt>
          <cx:pt idx="33382">2</cx:pt>
          <cx:pt idx="33383">5</cx:pt>
          <cx:pt idx="33384">4</cx:pt>
          <cx:pt idx="33385">5</cx:pt>
          <cx:pt idx="33386">1</cx:pt>
          <cx:pt idx="33387">4</cx:pt>
          <cx:pt idx="33388">1</cx:pt>
          <cx:pt idx="33389">2</cx:pt>
          <cx:pt idx="33390">4</cx:pt>
          <cx:pt idx="33391">5</cx:pt>
          <cx:pt idx="33392">4</cx:pt>
          <cx:pt idx="33393">4</cx:pt>
          <cx:pt idx="33394">4</cx:pt>
          <cx:pt idx="33395">4</cx:pt>
          <cx:pt idx="33396">2</cx:pt>
          <cx:pt idx="33397">2</cx:pt>
          <cx:pt idx="33398">5</cx:pt>
          <cx:pt idx="33399">5</cx:pt>
          <cx:pt idx="33400">5</cx:pt>
          <cx:pt idx="33401">5</cx:pt>
          <cx:pt idx="33402">5</cx:pt>
          <cx:pt idx="33403">5</cx:pt>
          <cx:pt idx="33404">5</cx:pt>
          <cx:pt idx="33405">3</cx:pt>
          <cx:pt idx="33406">2</cx:pt>
          <cx:pt idx="33407">5</cx:pt>
          <cx:pt idx="33408">5</cx:pt>
          <cx:pt idx="33409">5</cx:pt>
          <cx:pt idx="33410">5</cx:pt>
          <cx:pt idx="33411">3</cx:pt>
          <cx:pt idx="33412">1</cx:pt>
          <cx:pt idx="33413">4</cx:pt>
          <cx:pt idx="33414">2</cx:pt>
          <cx:pt idx="33415">5</cx:pt>
          <cx:pt idx="33416">5</cx:pt>
          <cx:pt idx="33417">4</cx:pt>
          <cx:pt idx="33418">5</cx:pt>
          <cx:pt idx="33419">4</cx:pt>
          <cx:pt idx="33420">5</cx:pt>
          <cx:pt idx="33421">4</cx:pt>
          <cx:pt idx="33422">3</cx:pt>
          <cx:pt idx="33423">5</cx:pt>
          <cx:pt idx="33424">2</cx:pt>
          <cx:pt idx="33425">5</cx:pt>
          <cx:pt idx="33426">1</cx:pt>
          <cx:pt idx="33427">5</cx:pt>
          <cx:pt idx="33428">3</cx:pt>
          <cx:pt idx="33429">3</cx:pt>
          <cx:pt idx="33430">3</cx:pt>
          <cx:pt idx="33431">4</cx:pt>
          <cx:pt idx="33432">3</cx:pt>
          <cx:pt idx="33433">5</cx:pt>
          <cx:pt idx="33434">5</cx:pt>
          <cx:pt idx="33435">5</cx:pt>
          <cx:pt idx="33436">5</cx:pt>
          <cx:pt idx="33437">2</cx:pt>
          <cx:pt idx="33438">1</cx:pt>
          <cx:pt idx="33439">3</cx:pt>
          <cx:pt idx="33440">5</cx:pt>
          <cx:pt idx="33441">5</cx:pt>
          <cx:pt idx="33442">1</cx:pt>
          <cx:pt idx="33443">5</cx:pt>
          <cx:pt idx="33444">3</cx:pt>
          <cx:pt idx="33445">5</cx:pt>
          <cx:pt idx="33446">4</cx:pt>
          <cx:pt idx="33447">5</cx:pt>
          <cx:pt idx="33448">5</cx:pt>
          <cx:pt idx="33449">5</cx:pt>
          <cx:pt idx="33450">3</cx:pt>
          <cx:pt idx="33451">3</cx:pt>
          <cx:pt idx="33452">4</cx:pt>
          <cx:pt idx="33453">1</cx:pt>
          <cx:pt idx="33454">1</cx:pt>
          <cx:pt idx="33455">1</cx:pt>
          <cx:pt idx="33456">2</cx:pt>
          <cx:pt idx="33457">5</cx:pt>
          <cx:pt idx="33458">2</cx:pt>
          <cx:pt idx="33459">4</cx:pt>
          <cx:pt idx="33460">1</cx:pt>
          <cx:pt idx="33461">5</cx:pt>
          <cx:pt idx="33462">2</cx:pt>
          <cx:pt idx="33463">5</cx:pt>
          <cx:pt idx="33464">4</cx:pt>
          <cx:pt idx="33465">3</cx:pt>
          <cx:pt idx="33466">3</cx:pt>
          <cx:pt idx="33467">2</cx:pt>
          <cx:pt idx="33468">2</cx:pt>
          <cx:pt idx="33469">4</cx:pt>
          <cx:pt idx="33470">3</cx:pt>
          <cx:pt idx="33471">5</cx:pt>
          <cx:pt idx="33472">4</cx:pt>
          <cx:pt idx="33473">4</cx:pt>
          <cx:pt idx="33474">5</cx:pt>
          <cx:pt idx="33475">4</cx:pt>
          <cx:pt idx="33476">3</cx:pt>
          <cx:pt idx="33477">5</cx:pt>
          <cx:pt idx="33478">3</cx:pt>
          <cx:pt idx="33479">3</cx:pt>
          <cx:pt idx="33480">5</cx:pt>
          <cx:pt idx="33481">5</cx:pt>
          <cx:pt idx="33482">3</cx:pt>
          <cx:pt idx="33483">1</cx:pt>
          <cx:pt idx="33484">4</cx:pt>
          <cx:pt idx="33485">5</cx:pt>
          <cx:pt idx="33486">2</cx:pt>
          <cx:pt idx="33487">5</cx:pt>
          <cx:pt idx="33488">5</cx:pt>
          <cx:pt idx="33489">3</cx:pt>
          <cx:pt idx="33490">4</cx:pt>
          <cx:pt idx="33491">5</cx:pt>
          <cx:pt idx="33492">1</cx:pt>
          <cx:pt idx="33493">3</cx:pt>
          <cx:pt idx="33494">4</cx:pt>
          <cx:pt idx="33495">1</cx:pt>
          <cx:pt idx="33496">4</cx:pt>
          <cx:pt idx="33497">2</cx:pt>
          <cx:pt idx="33498">4</cx:pt>
          <cx:pt idx="33499">4</cx:pt>
          <cx:pt idx="33500">1</cx:pt>
          <cx:pt idx="33501">4</cx:pt>
          <cx:pt idx="33502">5</cx:pt>
          <cx:pt idx="33503">4</cx:pt>
          <cx:pt idx="33504">5</cx:pt>
          <cx:pt idx="33505">4</cx:pt>
          <cx:pt idx="33506">4</cx:pt>
          <cx:pt idx="33507">1</cx:pt>
          <cx:pt idx="33508">1</cx:pt>
          <cx:pt idx="33509">5</cx:pt>
          <cx:pt idx="33510">3</cx:pt>
          <cx:pt idx="33511">5</cx:pt>
          <cx:pt idx="33512">4</cx:pt>
          <cx:pt idx="33513">2</cx:pt>
          <cx:pt idx="33514">2</cx:pt>
          <cx:pt idx="33515">3</cx:pt>
          <cx:pt idx="33516">5</cx:pt>
          <cx:pt idx="33517">3</cx:pt>
          <cx:pt idx="33518">1</cx:pt>
          <cx:pt idx="33519">3</cx:pt>
          <cx:pt idx="33520">5</cx:pt>
          <cx:pt idx="33521">1</cx:pt>
          <cx:pt idx="33522">4</cx:pt>
          <cx:pt idx="33523">5</cx:pt>
          <cx:pt idx="33524">5</cx:pt>
          <cx:pt idx="33525">1</cx:pt>
          <cx:pt idx="33526">1</cx:pt>
          <cx:pt idx="33527">5</cx:pt>
          <cx:pt idx="33528">2</cx:pt>
          <cx:pt idx="33529">2</cx:pt>
          <cx:pt idx="33530">5</cx:pt>
          <cx:pt idx="33531">5</cx:pt>
          <cx:pt idx="33532">4</cx:pt>
          <cx:pt idx="33533">5</cx:pt>
          <cx:pt idx="33534">1</cx:pt>
          <cx:pt idx="33535">1</cx:pt>
          <cx:pt idx="33536">3</cx:pt>
          <cx:pt idx="33537">4</cx:pt>
          <cx:pt idx="33538">3</cx:pt>
          <cx:pt idx="33539">3</cx:pt>
          <cx:pt idx="33540">5</cx:pt>
          <cx:pt idx="33541">4</cx:pt>
          <cx:pt idx="33542">4</cx:pt>
          <cx:pt idx="33543">5</cx:pt>
          <cx:pt idx="33544">2</cx:pt>
          <cx:pt idx="33545">4</cx:pt>
          <cx:pt idx="33546">2</cx:pt>
          <cx:pt idx="33547">4</cx:pt>
          <cx:pt idx="33548">1</cx:pt>
          <cx:pt idx="33549">4</cx:pt>
          <cx:pt idx="33550">5</cx:pt>
          <cx:pt idx="33551">5</cx:pt>
          <cx:pt idx="33552">3</cx:pt>
          <cx:pt idx="33553">3</cx:pt>
          <cx:pt idx="33554">4</cx:pt>
          <cx:pt idx="33555">4</cx:pt>
          <cx:pt idx="33556">4</cx:pt>
          <cx:pt idx="33557">2</cx:pt>
          <cx:pt idx="33558">5</cx:pt>
          <cx:pt idx="33559">4</cx:pt>
          <cx:pt idx="33560">1</cx:pt>
          <cx:pt idx="33561">4</cx:pt>
          <cx:pt idx="33562">5</cx:pt>
          <cx:pt idx="33563">3</cx:pt>
          <cx:pt idx="33564">5</cx:pt>
          <cx:pt idx="33565">5</cx:pt>
          <cx:pt idx="33566">1</cx:pt>
          <cx:pt idx="33567">4</cx:pt>
          <cx:pt idx="33568">3</cx:pt>
          <cx:pt idx="33569">2</cx:pt>
          <cx:pt idx="33570">5</cx:pt>
          <cx:pt idx="33571">4</cx:pt>
          <cx:pt idx="33572">2</cx:pt>
          <cx:pt idx="33573">4</cx:pt>
          <cx:pt idx="33574">4</cx:pt>
          <cx:pt idx="33575">3</cx:pt>
          <cx:pt idx="33576">5</cx:pt>
          <cx:pt idx="33577">5</cx:pt>
          <cx:pt idx="33578">3</cx:pt>
          <cx:pt idx="33579">2</cx:pt>
          <cx:pt idx="33580">5</cx:pt>
          <cx:pt idx="33581">1</cx:pt>
          <cx:pt idx="33582">5</cx:pt>
          <cx:pt idx="33583">3</cx:pt>
          <cx:pt idx="33584">5</cx:pt>
          <cx:pt idx="33585">5</cx:pt>
          <cx:pt idx="33586">5</cx:pt>
          <cx:pt idx="33587">3</cx:pt>
          <cx:pt idx="33588">5</cx:pt>
          <cx:pt idx="33589">4</cx:pt>
          <cx:pt idx="33590">4</cx:pt>
          <cx:pt idx="33591">4</cx:pt>
          <cx:pt idx="33592">2</cx:pt>
          <cx:pt idx="33593">4</cx:pt>
          <cx:pt idx="33594">4</cx:pt>
          <cx:pt idx="33595">3</cx:pt>
          <cx:pt idx="33596">3</cx:pt>
          <cx:pt idx="33597">1</cx:pt>
          <cx:pt idx="33598">4</cx:pt>
          <cx:pt idx="33599">5</cx:pt>
          <cx:pt idx="33600">4</cx:pt>
          <cx:pt idx="33601">2</cx:pt>
          <cx:pt idx="33602">5</cx:pt>
          <cx:pt idx="33603">1</cx:pt>
          <cx:pt idx="33604">2</cx:pt>
          <cx:pt idx="33605">4</cx:pt>
          <cx:pt idx="33606">5</cx:pt>
          <cx:pt idx="33607">2</cx:pt>
          <cx:pt idx="33608">2</cx:pt>
          <cx:pt idx="33609">3</cx:pt>
          <cx:pt idx="33610">4</cx:pt>
          <cx:pt idx="33611">3</cx:pt>
          <cx:pt idx="33612">4</cx:pt>
          <cx:pt idx="33613">5</cx:pt>
          <cx:pt idx="33614">5</cx:pt>
          <cx:pt idx="33615">5</cx:pt>
          <cx:pt idx="33616">2</cx:pt>
          <cx:pt idx="33617">3</cx:pt>
          <cx:pt idx="33618">4</cx:pt>
          <cx:pt idx="33619">5</cx:pt>
          <cx:pt idx="33620">2</cx:pt>
          <cx:pt idx="33621">4</cx:pt>
          <cx:pt idx="33622">3</cx:pt>
          <cx:pt idx="33623">5</cx:pt>
          <cx:pt idx="33624">1</cx:pt>
          <cx:pt idx="33625">1</cx:pt>
          <cx:pt idx="33626">3</cx:pt>
          <cx:pt idx="33627">3</cx:pt>
          <cx:pt idx="33628">4</cx:pt>
          <cx:pt idx="33629">5</cx:pt>
          <cx:pt idx="33630">5</cx:pt>
          <cx:pt idx="33631">4</cx:pt>
          <cx:pt idx="33632">5</cx:pt>
          <cx:pt idx="33633">2</cx:pt>
          <cx:pt idx="33634">4</cx:pt>
          <cx:pt idx="33635">4</cx:pt>
          <cx:pt idx="33636">2</cx:pt>
          <cx:pt idx="33637">4</cx:pt>
          <cx:pt idx="33638">4</cx:pt>
          <cx:pt idx="33639">3</cx:pt>
          <cx:pt idx="33640">5</cx:pt>
          <cx:pt idx="33641">5</cx:pt>
          <cx:pt idx="33642">4</cx:pt>
          <cx:pt idx="33643">4</cx:pt>
          <cx:pt idx="33644">3</cx:pt>
          <cx:pt idx="33645">4</cx:pt>
          <cx:pt idx="33646">1</cx:pt>
          <cx:pt idx="33647">3</cx:pt>
          <cx:pt idx="33648">2</cx:pt>
          <cx:pt idx="33649">5</cx:pt>
          <cx:pt idx="33650">3</cx:pt>
          <cx:pt idx="33651">3</cx:pt>
          <cx:pt idx="33652">5</cx:pt>
          <cx:pt idx="33653">4</cx:pt>
          <cx:pt idx="33654">3</cx:pt>
          <cx:pt idx="33655">3</cx:pt>
          <cx:pt idx="33656">1</cx:pt>
          <cx:pt idx="33657">4</cx:pt>
          <cx:pt idx="33658">4</cx:pt>
          <cx:pt idx="33659">2</cx:pt>
          <cx:pt idx="33660">3</cx:pt>
          <cx:pt idx="33661">3</cx:pt>
          <cx:pt idx="33662">5</cx:pt>
          <cx:pt idx="33663">4</cx:pt>
          <cx:pt idx="33664">1</cx:pt>
          <cx:pt idx="33665">4</cx:pt>
          <cx:pt idx="33666">5</cx:pt>
          <cx:pt idx="33667">4</cx:pt>
          <cx:pt idx="33668">3</cx:pt>
          <cx:pt idx="33669">5</cx:pt>
          <cx:pt idx="33670">4</cx:pt>
          <cx:pt idx="33671">5</cx:pt>
          <cx:pt idx="33672">2</cx:pt>
          <cx:pt idx="33673">1</cx:pt>
          <cx:pt idx="33674">2</cx:pt>
          <cx:pt idx="33675">1</cx:pt>
          <cx:pt idx="33676">2</cx:pt>
          <cx:pt idx="33677">3</cx:pt>
          <cx:pt idx="33678">4</cx:pt>
          <cx:pt idx="33679">3</cx:pt>
          <cx:pt idx="33680">1</cx:pt>
          <cx:pt idx="33681">4</cx:pt>
          <cx:pt idx="33682">1</cx:pt>
          <cx:pt idx="33683">4</cx:pt>
          <cx:pt idx="33684">2</cx:pt>
          <cx:pt idx="33685">4</cx:pt>
          <cx:pt idx="33686">4</cx:pt>
          <cx:pt idx="33687">4</cx:pt>
          <cx:pt idx="33688">3</cx:pt>
          <cx:pt idx="33689">4</cx:pt>
          <cx:pt idx="33690">5</cx:pt>
          <cx:pt idx="33691">1</cx:pt>
          <cx:pt idx="33692">1</cx:pt>
          <cx:pt idx="33693">4</cx:pt>
          <cx:pt idx="33694">3</cx:pt>
          <cx:pt idx="33695">5</cx:pt>
          <cx:pt idx="33696">4</cx:pt>
          <cx:pt idx="33697">5</cx:pt>
          <cx:pt idx="33698">5</cx:pt>
          <cx:pt idx="33699">3</cx:pt>
          <cx:pt idx="33700">3</cx:pt>
          <cx:pt idx="33701">3</cx:pt>
          <cx:pt idx="33702">4</cx:pt>
          <cx:pt idx="33703">2</cx:pt>
          <cx:pt idx="33704">5</cx:pt>
          <cx:pt idx="33705">1</cx:pt>
          <cx:pt idx="33706">1</cx:pt>
          <cx:pt idx="33707">3</cx:pt>
          <cx:pt idx="33708">3</cx:pt>
          <cx:pt idx="33709">1</cx:pt>
          <cx:pt idx="33710">5</cx:pt>
          <cx:pt idx="33711">4</cx:pt>
          <cx:pt idx="33712">5</cx:pt>
          <cx:pt idx="33713">1</cx:pt>
          <cx:pt idx="33714">4</cx:pt>
          <cx:pt idx="33715">3</cx:pt>
          <cx:pt idx="33716">1</cx:pt>
          <cx:pt idx="33717">5</cx:pt>
          <cx:pt idx="33718">1</cx:pt>
          <cx:pt idx="33719">2</cx:pt>
          <cx:pt idx="33720">3</cx:pt>
          <cx:pt idx="33721">3</cx:pt>
          <cx:pt idx="33722">2</cx:pt>
          <cx:pt idx="33723">1</cx:pt>
          <cx:pt idx="33724">2</cx:pt>
          <cx:pt idx="33725">2</cx:pt>
          <cx:pt idx="33726">3</cx:pt>
          <cx:pt idx="33727">4</cx:pt>
          <cx:pt idx="33728">3</cx:pt>
          <cx:pt idx="33729">2</cx:pt>
          <cx:pt idx="33730">4</cx:pt>
          <cx:pt idx="33731">5</cx:pt>
          <cx:pt idx="33732">2</cx:pt>
          <cx:pt idx="33733">2</cx:pt>
          <cx:pt idx="33734">5</cx:pt>
          <cx:pt idx="33735">2</cx:pt>
          <cx:pt idx="33736">4</cx:pt>
          <cx:pt idx="33737">4</cx:pt>
          <cx:pt idx="33738">4</cx:pt>
          <cx:pt idx="33739">5</cx:pt>
          <cx:pt idx="33740">3</cx:pt>
          <cx:pt idx="33741">2</cx:pt>
          <cx:pt idx="33742">2</cx:pt>
          <cx:pt idx="33743">5</cx:pt>
          <cx:pt idx="33744">4</cx:pt>
          <cx:pt idx="33745">4</cx:pt>
          <cx:pt idx="33746">1</cx:pt>
          <cx:pt idx="33747">5</cx:pt>
          <cx:pt idx="33748">3</cx:pt>
          <cx:pt idx="33749">2</cx:pt>
          <cx:pt idx="33750">3</cx:pt>
          <cx:pt idx="33751">3</cx:pt>
          <cx:pt idx="33752">5</cx:pt>
          <cx:pt idx="33753">4</cx:pt>
          <cx:pt idx="33754">3</cx:pt>
          <cx:pt idx="33755">4</cx:pt>
          <cx:pt idx="33756">5</cx:pt>
          <cx:pt idx="33757">4</cx:pt>
          <cx:pt idx="33758">4</cx:pt>
          <cx:pt idx="33759">3</cx:pt>
          <cx:pt idx="33760">3</cx:pt>
          <cx:pt idx="33761">2</cx:pt>
          <cx:pt idx="33762">4</cx:pt>
          <cx:pt idx="33763">1</cx:pt>
          <cx:pt idx="33764">4</cx:pt>
          <cx:pt idx="33765">4</cx:pt>
          <cx:pt idx="33766">5</cx:pt>
          <cx:pt idx="33767">4</cx:pt>
          <cx:pt idx="33768">4</cx:pt>
          <cx:pt idx="33769">2</cx:pt>
          <cx:pt idx="33770">4</cx:pt>
          <cx:pt idx="33771">3</cx:pt>
          <cx:pt idx="33772">3</cx:pt>
          <cx:pt idx="33773">4</cx:pt>
          <cx:pt idx="33774">3</cx:pt>
          <cx:pt idx="33775">4</cx:pt>
          <cx:pt idx="33776">4</cx:pt>
          <cx:pt idx="33777">5</cx:pt>
          <cx:pt idx="33778">1</cx:pt>
          <cx:pt idx="33779">3</cx:pt>
          <cx:pt idx="33780">4</cx:pt>
          <cx:pt idx="33781">4</cx:pt>
          <cx:pt idx="33782">5</cx:pt>
          <cx:pt idx="33783">4</cx:pt>
          <cx:pt idx="33784">1</cx:pt>
          <cx:pt idx="33785">1</cx:pt>
          <cx:pt idx="33786">4</cx:pt>
          <cx:pt idx="33787">3</cx:pt>
          <cx:pt idx="33788">1</cx:pt>
          <cx:pt idx="33789">4</cx:pt>
          <cx:pt idx="33790">2</cx:pt>
          <cx:pt idx="33791">4</cx:pt>
          <cx:pt idx="33792">2</cx:pt>
          <cx:pt idx="33793">5</cx:pt>
          <cx:pt idx="33794">4</cx:pt>
          <cx:pt idx="33795">5</cx:pt>
          <cx:pt idx="33796">4</cx:pt>
          <cx:pt idx="33797">4</cx:pt>
          <cx:pt idx="33798">3</cx:pt>
          <cx:pt idx="33799">3</cx:pt>
          <cx:pt idx="33800">5</cx:pt>
          <cx:pt idx="33801">2</cx:pt>
          <cx:pt idx="33802">5</cx:pt>
          <cx:pt idx="33803">4</cx:pt>
          <cx:pt idx="33804">5</cx:pt>
          <cx:pt idx="33805">4</cx:pt>
          <cx:pt idx="33806">5</cx:pt>
          <cx:pt idx="33807">1</cx:pt>
          <cx:pt idx="33808">2</cx:pt>
          <cx:pt idx="33809">5</cx:pt>
          <cx:pt idx="33810">4</cx:pt>
          <cx:pt idx="33811">5</cx:pt>
          <cx:pt idx="33812">5</cx:pt>
          <cx:pt idx="33813">4</cx:pt>
          <cx:pt idx="33814">3</cx:pt>
          <cx:pt idx="33815">4</cx:pt>
          <cx:pt idx="33816">2</cx:pt>
          <cx:pt idx="33817">4</cx:pt>
          <cx:pt idx="33818">4</cx:pt>
          <cx:pt idx="33819">3</cx:pt>
          <cx:pt idx="33820">3</cx:pt>
          <cx:pt idx="33821">5</cx:pt>
          <cx:pt idx="33822">2</cx:pt>
          <cx:pt idx="33823">4</cx:pt>
          <cx:pt idx="33824">1</cx:pt>
          <cx:pt idx="33825">4</cx:pt>
          <cx:pt idx="33826">5</cx:pt>
          <cx:pt idx="33827">5</cx:pt>
          <cx:pt idx="33828">5</cx:pt>
          <cx:pt idx="33829">5</cx:pt>
          <cx:pt idx="33830">3</cx:pt>
          <cx:pt idx="33831">4</cx:pt>
          <cx:pt idx="33832">4</cx:pt>
          <cx:pt idx="33833">4</cx:pt>
          <cx:pt idx="33834">4</cx:pt>
          <cx:pt idx="33835">4</cx:pt>
          <cx:pt idx="33836">1</cx:pt>
          <cx:pt idx="33837">4</cx:pt>
          <cx:pt idx="33838">1</cx:pt>
          <cx:pt idx="33839">1</cx:pt>
          <cx:pt idx="33840">4</cx:pt>
          <cx:pt idx="33841">2</cx:pt>
          <cx:pt idx="33842">5</cx:pt>
          <cx:pt idx="33843">4</cx:pt>
          <cx:pt idx="33844">4</cx:pt>
          <cx:pt idx="33845">4</cx:pt>
          <cx:pt idx="33846">2</cx:pt>
          <cx:pt idx="33847">4</cx:pt>
          <cx:pt idx="33848">3</cx:pt>
          <cx:pt idx="33849">3</cx:pt>
          <cx:pt idx="33850">3</cx:pt>
          <cx:pt idx="33851">3</cx:pt>
          <cx:pt idx="33852">2</cx:pt>
          <cx:pt idx="33853">4</cx:pt>
          <cx:pt idx="33854">5</cx:pt>
          <cx:pt idx="33855">4</cx:pt>
          <cx:pt idx="33856">4</cx:pt>
          <cx:pt idx="33857">5</cx:pt>
          <cx:pt idx="33858">3</cx:pt>
          <cx:pt idx="33859">5</cx:pt>
          <cx:pt idx="33860">5</cx:pt>
          <cx:pt idx="33861">3</cx:pt>
          <cx:pt idx="33862">5</cx:pt>
          <cx:pt idx="33863">2</cx:pt>
          <cx:pt idx="33864">4</cx:pt>
          <cx:pt idx="33865">1</cx:pt>
          <cx:pt idx="33866">4</cx:pt>
          <cx:pt idx="33867">2</cx:pt>
          <cx:pt idx="33868">3</cx:pt>
          <cx:pt idx="33869">5</cx:pt>
          <cx:pt idx="33870">2</cx:pt>
          <cx:pt idx="33871">1</cx:pt>
          <cx:pt idx="33872">5</cx:pt>
          <cx:pt idx="33873">3</cx:pt>
          <cx:pt idx="33874">1</cx:pt>
          <cx:pt idx="33875">2</cx:pt>
          <cx:pt idx="33876">4</cx:pt>
          <cx:pt idx="33877">1</cx:pt>
          <cx:pt idx="33878">3</cx:pt>
          <cx:pt idx="33879">2</cx:pt>
          <cx:pt idx="33880">1</cx:pt>
          <cx:pt idx="33881">5</cx:pt>
          <cx:pt idx="33882">5</cx:pt>
          <cx:pt idx="33883">3</cx:pt>
          <cx:pt idx="33884">1</cx:pt>
          <cx:pt idx="33885">5</cx:pt>
          <cx:pt idx="33886">5</cx:pt>
          <cx:pt idx="33887">4</cx:pt>
          <cx:pt idx="33888">1</cx:pt>
          <cx:pt idx="33889">2</cx:pt>
          <cx:pt idx="33890">5</cx:pt>
          <cx:pt idx="33891">4</cx:pt>
          <cx:pt idx="33892">5</cx:pt>
          <cx:pt idx="33893">4</cx:pt>
          <cx:pt idx="33894">4</cx:pt>
          <cx:pt idx="33895">1</cx:pt>
          <cx:pt idx="33896">4</cx:pt>
          <cx:pt idx="33897">4</cx:pt>
          <cx:pt idx="33898">5</cx:pt>
          <cx:pt idx="33899">5</cx:pt>
          <cx:pt idx="33900">4</cx:pt>
          <cx:pt idx="33901">4</cx:pt>
          <cx:pt idx="33902">3</cx:pt>
          <cx:pt idx="33903">3</cx:pt>
          <cx:pt idx="33904">1</cx:pt>
          <cx:pt idx="33905">5</cx:pt>
          <cx:pt idx="33906">5</cx:pt>
          <cx:pt idx="33907">4</cx:pt>
          <cx:pt idx="33908">4</cx:pt>
          <cx:pt idx="33909">1</cx:pt>
          <cx:pt idx="33910">2</cx:pt>
          <cx:pt idx="33911">4</cx:pt>
          <cx:pt idx="33912">2</cx:pt>
          <cx:pt idx="33913">2</cx:pt>
          <cx:pt idx="33914">5</cx:pt>
          <cx:pt idx="33915">5</cx:pt>
          <cx:pt idx="33916">4</cx:pt>
          <cx:pt idx="33917">4</cx:pt>
          <cx:pt idx="33918">2</cx:pt>
          <cx:pt idx="33919">3</cx:pt>
          <cx:pt idx="33920">4</cx:pt>
          <cx:pt idx="33921">4</cx:pt>
          <cx:pt idx="33922">4</cx:pt>
          <cx:pt idx="33923">1</cx:pt>
          <cx:pt idx="33924">5</cx:pt>
          <cx:pt idx="33925">4</cx:pt>
          <cx:pt idx="33926">2</cx:pt>
          <cx:pt idx="33927">5</cx:pt>
          <cx:pt idx="33928">3</cx:pt>
          <cx:pt idx="33929">2</cx:pt>
          <cx:pt idx="33930">1</cx:pt>
          <cx:pt idx="33931">3</cx:pt>
          <cx:pt idx="33932">3</cx:pt>
          <cx:pt idx="33933">4</cx:pt>
          <cx:pt idx="33934">4</cx:pt>
          <cx:pt idx="33935">1</cx:pt>
          <cx:pt idx="33936">1</cx:pt>
          <cx:pt idx="33937">3</cx:pt>
          <cx:pt idx="33938">4</cx:pt>
          <cx:pt idx="33939">5</cx:pt>
          <cx:pt idx="33940">4</cx:pt>
          <cx:pt idx="33941">4</cx:pt>
          <cx:pt idx="33942">4</cx:pt>
          <cx:pt idx="33943">4</cx:pt>
          <cx:pt idx="33944">5</cx:pt>
          <cx:pt idx="33945">2</cx:pt>
          <cx:pt idx="33946">5</cx:pt>
          <cx:pt idx="33947">2</cx:pt>
          <cx:pt idx="33948">4</cx:pt>
          <cx:pt idx="33949">2</cx:pt>
          <cx:pt idx="33950">4</cx:pt>
          <cx:pt idx="33951">4</cx:pt>
          <cx:pt idx="33952">1</cx:pt>
          <cx:pt idx="33953">2</cx:pt>
          <cx:pt idx="33954">5</cx:pt>
          <cx:pt idx="33955">5</cx:pt>
          <cx:pt idx="33956">4</cx:pt>
          <cx:pt idx="33957">1</cx:pt>
          <cx:pt idx="33958">2</cx:pt>
          <cx:pt idx="33959">1</cx:pt>
          <cx:pt idx="33960">1</cx:pt>
          <cx:pt idx="33961">5</cx:pt>
          <cx:pt idx="33962">1</cx:pt>
          <cx:pt idx="33963">5</cx:pt>
          <cx:pt idx="33964">3</cx:pt>
          <cx:pt idx="33965">4</cx:pt>
          <cx:pt idx="33966">3</cx:pt>
          <cx:pt idx="33967">4</cx:pt>
          <cx:pt idx="33968">1</cx:pt>
          <cx:pt idx="33969">3</cx:pt>
          <cx:pt idx="33970">3</cx:pt>
          <cx:pt idx="33971">4</cx:pt>
          <cx:pt idx="33972">2</cx:pt>
          <cx:pt idx="33973">4</cx:pt>
          <cx:pt idx="33974">4</cx:pt>
          <cx:pt idx="33975">2</cx:pt>
          <cx:pt idx="33976">4</cx:pt>
          <cx:pt idx="33977">3</cx:pt>
          <cx:pt idx="33978">5</cx:pt>
          <cx:pt idx="33979">2</cx:pt>
          <cx:pt idx="33980">4</cx:pt>
          <cx:pt idx="33981">5</cx:pt>
          <cx:pt idx="33982">3</cx:pt>
          <cx:pt idx="33983">5</cx:pt>
          <cx:pt idx="33984">4</cx:pt>
          <cx:pt idx="33985">4</cx:pt>
          <cx:pt idx="33986">4</cx:pt>
          <cx:pt idx="33987">4</cx:pt>
          <cx:pt idx="33988">1</cx:pt>
          <cx:pt idx="33989">3</cx:pt>
          <cx:pt idx="33990">3</cx:pt>
          <cx:pt idx="33991">1</cx:pt>
          <cx:pt idx="33992">5</cx:pt>
          <cx:pt idx="33993">5</cx:pt>
          <cx:pt idx="33994">3</cx:pt>
          <cx:pt idx="33995">1</cx:pt>
          <cx:pt idx="33996">1</cx:pt>
          <cx:pt idx="33997">4</cx:pt>
          <cx:pt idx="33998">5</cx:pt>
          <cx:pt idx="33999">5</cx:pt>
          <cx:pt idx="34000">5</cx:pt>
          <cx:pt idx="34001">2</cx:pt>
          <cx:pt idx="34002">4</cx:pt>
          <cx:pt idx="34003">4</cx:pt>
          <cx:pt idx="34004">5</cx:pt>
          <cx:pt idx="34005">3</cx:pt>
          <cx:pt idx="34006">4</cx:pt>
          <cx:pt idx="34007">3</cx:pt>
          <cx:pt idx="34008">4</cx:pt>
          <cx:pt idx="34009">4</cx:pt>
          <cx:pt idx="34010">5</cx:pt>
          <cx:pt idx="34011">2</cx:pt>
          <cx:pt idx="34012">5</cx:pt>
          <cx:pt idx="34013">3</cx:pt>
          <cx:pt idx="34014">4</cx:pt>
          <cx:pt idx="34015">5</cx:pt>
          <cx:pt idx="34016">4</cx:pt>
          <cx:pt idx="34017">1</cx:pt>
          <cx:pt idx="34018">1</cx:pt>
          <cx:pt idx="34019">3</cx:pt>
          <cx:pt idx="34020">2</cx:pt>
          <cx:pt idx="34021">4</cx:pt>
          <cx:pt idx="34022">2</cx:pt>
          <cx:pt idx="34023">4</cx:pt>
          <cx:pt idx="34024">5</cx:pt>
          <cx:pt idx="34025">1</cx:pt>
          <cx:pt idx="34026">1</cx:pt>
          <cx:pt idx="34027">4</cx:pt>
          <cx:pt idx="34028">3</cx:pt>
          <cx:pt idx="34029">3</cx:pt>
          <cx:pt idx="34030">1</cx:pt>
          <cx:pt idx="34031">3</cx:pt>
          <cx:pt idx="34032">5</cx:pt>
          <cx:pt idx="34033">2</cx:pt>
          <cx:pt idx="34034">1</cx:pt>
          <cx:pt idx="34035">4</cx:pt>
          <cx:pt idx="34036">3</cx:pt>
          <cx:pt idx="34037">2</cx:pt>
          <cx:pt idx="34038">5</cx:pt>
          <cx:pt idx="34039">4</cx:pt>
          <cx:pt idx="34040">5</cx:pt>
          <cx:pt idx="34041">5</cx:pt>
          <cx:pt idx="34042">1</cx:pt>
          <cx:pt idx="34043">4</cx:pt>
          <cx:pt idx="34044">5</cx:pt>
          <cx:pt idx="34045">3</cx:pt>
          <cx:pt idx="34046">4</cx:pt>
          <cx:pt idx="34047">5</cx:pt>
          <cx:pt idx="34048">5</cx:pt>
          <cx:pt idx="34049">4</cx:pt>
          <cx:pt idx="34050">2</cx:pt>
          <cx:pt idx="34051">2</cx:pt>
          <cx:pt idx="34052">1</cx:pt>
          <cx:pt idx="34053">3</cx:pt>
          <cx:pt idx="34054">5</cx:pt>
          <cx:pt idx="34055">5</cx:pt>
          <cx:pt idx="34056">2</cx:pt>
          <cx:pt idx="34057">3</cx:pt>
          <cx:pt idx="34058">1</cx:pt>
          <cx:pt idx="34059">5</cx:pt>
          <cx:pt idx="34060">5</cx:pt>
          <cx:pt idx="34061">1</cx:pt>
          <cx:pt idx="34062">2</cx:pt>
          <cx:pt idx="34063">2</cx:pt>
          <cx:pt idx="34064">3</cx:pt>
          <cx:pt idx="34065">5</cx:pt>
          <cx:pt idx="34066">3</cx:pt>
          <cx:pt idx="34067">1</cx:pt>
          <cx:pt idx="34068">2</cx:pt>
          <cx:pt idx="34069">2</cx:pt>
          <cx:pt idx="34070">3</cx:pt>
          <cx:pt idx="34071">4</cx:pt>
          <cx:pt idx="34072">4</cx:pt>
          <cx:pt idx="34073">2</cx:pt>
          <cx:pt idx="34074">1</cx:pt>
          <cx:pt idx="34075">3</cx:pt>
          <cx:pt idx="34076">4</cx:pt>
          <cx:pt idx="34077">4</cx:pt>
          <cx:pt idx="34078">3</cx:pt>
          <cx:pt idx="34079">2</cx:pt>
          <cx:pt idx="34080">5</cx:pt>
          <cx:pt idx="34081">2</cx:pt>
          <cx:pt idx="34082">4</cx:pt>
          <cx:pt idx="34083">1</cx:pt>
          <cx:pt idx="34084">1</cx:pt>
          <cx:pt idx="34085">5</cx:pt>
          <cx:pt idx="34086">4</cx:pt>
          <cx:pt idx="34087">1</cx:pt>
          <cx:pt idx="34088">3</cx:pt>
          <cx:pt idx="34089">1</cx:pt>
          <cx:pt idx="34090">4</cx:pt>
          <cx:pt idx="34091">2</cx:pt>
          <cx:pt idx="34092">1</cx:pt>
          <cx:pt idx="34093">3</cx:pt>
          <cx:pt idx="34094">5</cx:pt>
          <cx:pt idx="34095">3</cx:pt>
          <cx:pt idx="34096">1</cx:pt>
          <cx:pt idx="34097">1</cx:pt>
          <cx:pt idx="34098">4</cx:pt>
          <cx:pt idx="34099">5</cx:pt>
          <cx:pt idx="34100">5</cx:pt>
          <cx:pt idx="34101">2</cx:pt>
          <cx:pt idx="34102">3</cx:pt>
          <cx:pt idx="34103">5</cx:pt>
          <cx:pt idx="34104">3</cx:pt>
          <cx:pt idx="34105">5</cx:pt>
          <cx:pt idx="34106">4</cx:pt>
          <cx:pt idx="34107">5</cx:pt>
          <cx:pt idx="34108">5</cx:pt>
          <cx:pt idx="34109">4</cx:pt>
          <cx:pt idx="34110">5</cx:pt>
          <cx:pt idx="34111">2</cx:pt>
          <cx:pt idx="34112">4</cx:pt>
          <cx:pt idx="34113">4</cx:pt>
          <cx:pt idx="34114">5</cx:pt>
          <cx:pt idx="34115">4</cx:pt>
          <cx:pt idx="34116">5</cx:pt>
          <cx:pt idx="34117">4</cx:pt>
          <cx:pt idx="34118">3</cx:pt>
          <cx:pt idx="34119">1</cx:pt>
          <cx:pt idx="34120">4</cx:pt>
          <cx:pt idx="34121">5</cx:pt>
          <cx:pt idx="34122">5</cx:pt>
          <cx:pt idx="34123">2</cx:pt>
          <cx:pt idx="34124">2</cx:pt>
          <cx:pt idx="34125">5</cx:pt>
          <cx:pt idx="34126">1</cx:pt>
          <cx:pt idx="34127">5</cx:pt>
          <cx:pt idx="34128">4</cx:pt>
          <cx:pt idx="34129">3</cx:pt>
          <cx:pt idx="34130">4</cx:pt>
          <cx:pt idx="34131">4</cx:pt>
          <cx:pt idx="34132">1</cx:pt>
          <cx:pt idx="34133">3</cx:pt>
          <cx:pt idx="34134">4</cx:pt>
          <cx:pt idx="34135">5</cx:pt>
          <cx:pt idx="34136">3</cx:pt>
          <cx:pt idx="34137">2</cx:pt>
          <cx:pt idx="34138">5</cx:pt>
          <cx:pt idx="34139">5</cx:pt>
          <cx:pt idx="34140">4</cx:pt>
          <cx:pt idx="34141">3</cx:pt>
          <cx:pt idx="34142">3</cx:pt>
          <cx:pt idx="34143">5</cx:pt>
          <cx:pt idx="34144">4</cx:pt>
          <cx:pt idx="34145">5</cx:pt>
          <cx:pt idx="34146">5</cx:pt>
          <cx:pt idx="34147">1</cx:pt>
          <cx:pt idx="34148">2</cx:pt>
          <cx:pt idx="34149">1</cx:pt>
          <cx:pt idx="34150">5</cx:pt>
          <cx:pt idx="34151">3</cx:pt>
          <cx:pt idx="34152">5</cx:pt>
          <cx:pt idx="34153">5</cx:pt>
          <cx:pt idx="34154">5</cx:pt>
          <cx:pt idx="34155">2</cx:pt>
          <cx:pt idx="34156">4</cx:pt>
          <cx:pt idx="34157">5</cx:pt>
          <cx:pt idx="34158">5</cx:pt>
          <cx:pt idx="34159">3</cx:pt>
          <cx:pt idx="34160">4</cx:pt>
          <cx:pt idx="34161">1</cx:pt>
          <cx:pt idx="34162">4</cx:pt>
          <cx:pt idx="34163">2</cx:pt>
          <cx:pt idx="34164">4</cx:pt>
          <cx:pt idx="34165">3</cx:pt>
          <cx:pt idx="34166">5</cx:pt>
          <cx:pt idx="34167">5</cx:pt>
          <cx:pt idx="34168">3</cx:pt>
          <cx:pt idx="34169">5</cx:pt>
          <cx:pt idx="34170">2</cx:pt>
          <cx:pt idx="34171">2</cx:pt>
          <cx:pt idx="34172">4</cx:pt>
          <cx:pt idx="34173">4</cx:pt>
          <cx:pt idx="34174">4</cx:pt>
          <cx:pt idx="34175">5</cx:pt>
          <cx:pt idx="34176">4</cx:pt>
          <cx:pt idx="34177">2</cx:pt>
          <cx:pt idx="34178">5</cx:pt>
          <cx:pt idx="34179">4</cx:pt>
          <cx:pt idx="34180">1</cx:pt>
          <cx:pt idx="34181">5</cx:pt>
          <cx:pt idx="34182">5</cx:pt>
          <cx:pt idx="34183">3</cx:pt>
          <cx:pt idx="34184">1</cx:pt>
          <cx:pt idx="34185">4</cx:pt>
          <cx:pt idx="34186">3</cx:pt>
          <cx:pt idx="34187">4</cx:pt>
          <cx:pt idx="34188">5</cx:pt>
          <cx:pt idx="34189">2</cx:pt>
          <cx:pt idx="34190">5</cx:pt>
          <cx:pt idx="34191">4</cx:pt>
          <cx:pt idx="34192">2</cx:pt>
          <cx:pt idx="34193">5</cx:pt>
          <cx:pt idx="34194">5</cx:pt>
          <cx:pt idx="34195">1</cx:pt>
          <cx:pt idx="34196">5</cx:pt>
          <cx:pt idx="34197">5</cx:pt>
          <cx:pt idx="34198">3</cx:pt>
          <cx:pt idx="34199">4</cx:pt>
          <cx:pt idx="34200">5</cx:pt>
          <cx:pt idx="34201">5</cx:pt>
          <cx:pt idx="34202">4</cx:pt>
          <cx:pt idx="34203">2</cx:pt>
          <cx:pt idx="34204">4</cx:pt>
          <cx:pt idx="34205">2</cx:pt>
          <cx:pt idx="34206">5</cx:pt>
          <cx:pt idx="34207">2</cx:pt>
          <cx:pt idx="34208">4</cx:pt>
          <cx:pt idx="34209">4</cx:pt>
          <cx:pt idx="34210">3</cx:pt>
          <cx:pt idx="34211">4</cx:pt>
          <cx:pt idx="34212">3</cx:pt>
          <cx:pt idx="34213">3</cx:pt>
          <cx:pt idx="34214">4</cx:pt>
          <cx:pt idx="34215">5</cx:pt>
          <cx:pt idx="34216">3</cx:pt>
          <cx:pt idx="34217">5</cx:pt>
          <cx:pt idx="34218">4</cx:pt>
          <cx:pt idx="34219">4</cx:pt>
          <cx:pt idx="34220">3</cx:pt>
          <cx:pt idx="34221">2</cx:pt>
          <cx:pt idx="34222">4</cx:pt>
          <cx:pt idx="34223">4</cx:pt>
          <cx:pt idx="34224">4</cx:pt>
          <cx:pt idx="34225">4</cx:pt>
          <cx:pt idx="34226">3</cx:pt>
          <cx:pt idx="34227">3</cx:pt>
          <cx:pt idx="34228">5</cx:pt>
          <cx:pt idx="34229">3</cx:pt>
          <cx:pt idx="34230">1</cx:pt>
          <cx:pt idx="34231">3</cx:pt>
          <cx:pt idx="34232">4</cx:pt>
          <cx:pt idx="34233">2</cx:pt>
          <cx:pt idx="34234">3</cx:pt>
          <cx:pt idx="34235">2</cx:pt>
          <cx:pt idx="34236">4</cx:pt>
          <cx:pt idx="34237">4</cx:pt>
          <cx:pt idx="34238">1</cx:pt>
          <cx:pt idx="34239">1</cx:pt>
          <cx:pt idx="34240">3</cx:pt>
          <cx:pt idx="34241">5</cx:pt>
          <cx:pt idx="34242">2</cx:pt>
          <cx:pt idx="34243">2</cx:pt>
          <cx:pt idx="34244">2</cx:pt>
          <cx:pt idx="34245">5</cx:pt>
          <cx:pt idx="34246">4</cx:pt>
          <cx:pt idx="34247">5</cx:pt>
          <cx:pt idx="34248">4</cx:pt>
          <cx:pt idx="34249">1</cx:pt>
          <cx:pt idx="34250">2</cx:pt>
          <cx:pt idx="34251">5</cx:pt>
          <cx:pt idx="34252">4</cx:pt>
          <cx:pt idx="34253">3</cx:pt>
          <cx:pt idx="34254">5</cx:pt>
          <cx:pt idx="34255">4</cx:pt>
          <cx:pt idx="34256">1</cx:pt>
          <cx:pt idx="34257">4</cx:pt>
          <cx:pt idx="34258">4</cx:pt>
          <cx:pt idx="34259">4</cx:pt>
          <cx:pt idx="34260">5</cx:pt>
          <cx:pt idx="34261">4</cx:pt>
          <cx:pt idx="34262">5</cx:pt>
          <cx:pt idx="34263">3</cx:pt>
          <cx:pt idx="34264">4</cx:pt>
          <cx:pt idx="34265">4</cx:pt>
          <cx:pt idx="34266">3</cx:pt>
          <cx:pt idx="34267">4</cx:pt>
          <cx:pt idx="34268">4</cx:pt>
          <cx:pt idx="34269">5</cx:pt>
          <cx:pt idx="34270">5</cx:pt>
          <cx:pt idx="34271">5</cx:pt>
          <cx:pt idx="34272">4</cx:pt>
          <cx:pt idx="34273">4</cx:pt>
          <cx:pt idx="34274">3</cx:pt>
          <cx:pt idx="34275">3</cx:pt>
          <cx:pt idx="34276">4</cx:pt>
          <cx:pt idx="34277">3</cx:pt>
          <cx:pt idx="34278">5</cx:pt>
          <cx:pt idx="34279">4</cx:pt>
          <cx:pt idx="34280">1</cx:pt>
          <cx:pt idx="34281">5</cx:pt>
          <cx:pt idx="34282">4</cx:pt>
          <cx:pt idx="34283">4</cx:pt>
          <cx:pt idx="34284">5</cx:pt>
          <cx:pt idx="34285">1</cx:pt>
          <cx:pt idx="34286">1</cx:pt>
          <cx:pt idx="34287">4</cx:pt>
          <cx:pt idx="34288">5</cx:pt>
          <cx:pt idx="34289">3</cx:pt>
          <cx:pt idx="34290">2</cx:pt>
          <cx:pt idx="34291">5</cx:pt>
          <cx:pt idx="34292">5</cx:pt>
          <cx:pt idx="34293">3</cx:pt>
          <cx:pt idx="34294">2</cx:pt>
          <cx:pt idx="34295">1</cx:pt>
          <cx:pt idx="34296">3</cx:pt>
          <cx:pt idx="34297">2</cx:pt>
          <cx:pt idx="34298">4</cx:pt>
          <cx:pt idx="34299">4</cx:pt>
          <cx:pt idx="34300">5</cx:pt>
          <cx:pt idx="34301">3</cx:pt>
          <cx:pt idx="34302">5</cx:pt>
          <cx:pt idx="34303">2</cx:pt>
          <cx:pt idx="34304">1</cx:pt>
          <cx:pt idx="34305">4</cx:pt>
          <cx:pt idx="34306">4</cx:pt>
          <cx:pt idx="34307">2</cx:pt>
          <cx:pt idx="34308">1</cx:pt>
          <cx:pt idx="34309">3</cx:pt>
          <cx:pt idx="34310">2</cx:pt>
          <cx:pt idx="34311">5</cx:pt>
          <cx:pt idx="34312">1</cx:pt>
          <cx:pt idx="34313">4</cx:pt>
          <cx:pt idx="34314">5</cx:pt>
          <cx:pt idx="34315">4</cx:pt>
          <cx:pt idx="34316">4</cx:pt>
          <cx:pt idx="34317">2</cx:pt>
          <cx:pt idx="34318">5</cx:pt>
          <cx:pt idx="34319">1</cx:pt>
          <cx:pt idx="34320">4</cx:pt>
          <cx:pt idx="34321">3</cx:pt>
          <cx:pt idx="34322">5</cx:pt>
          <cx:pt idx="34323">4</cx:pt>
          <cx:pt idx="34324">5</cx:pt>
          <cx:pt idx="34325">4</cx:pt>
          <cx:pt idx="34326">5</cx:pt>
          <cx:pt idx="34327">3</cx:pt>
          <cx:pt idx="34328">1</cx:pt>
          <cx:pt idx="34329">2</cx:pt>
          <cx:pt idx="34330">3</cx:pt>
          <cx:pt idx="34331">2</cx:pt>
          <cx:pt idx="34332">4</cx:pt>
          <cx:pt idx="34333">5</cx:pt>
          <cx:pt idx="34334">5</cx:pt>
          <cx:pt idx="34335">5</cx:pt>
          <cx:pt idx="34336">2</cx:pt>
          <cx:pt idx="34337">4</cx:pt>
          <cx:pt idx="34338">4</cx:pt>
          <cx:pt idx="34339">5</cx:pt>
          <cx:pt idx="34340">5</cx:pt>
          <cx:pt idx="34341">4</cx:pt>
          <cx:pt idx="34342">4</cx:pt>
          <cx:pt idx="34343">5</cx:pt>
          <cx:pt idx="34344">3</cx:pt>
          <cx:pt idx="34345">5</cx:pt>
          <cx:pt idx="34346">1</cx:pt>
          <cx:pt idx="34347">2</cx:pt>
          <cx:pt idx="34348">3</cx:pt>
          <cx:pt idx="34349">1</cx:pt>
          <cx:pt idx="34350">4</cx:pt>
          <cx:pt idx="34351">5</cx:pt>
          <cx:pt idx="34352">4</cx:pt>
          <cx:pt idx="34353">3</cx:pt>
          <cx:pt idx="34354">3</cx:pt>
          <cx:pt idx="34355">4</cx:pt>
          <cx:pt idx="34356">1</cx:pt>
          <cx:pt idx="34357">3</cx:pt>
          <cx:pt idx="34358">2</cx:pt>
          <cx:pt idx="34359">4</cx:pt>
          <cx:pt idx="34360">1</cx:pt>
          <cx:pt idx="34361">4</cx:pt>
          <cx:pt idx="34362">4</cx:pt>
          <cx:pt idx="34363">4</cx:pt>
          <cx:pt idx="34364">5</cx:pt>
          <cx:pt idx="34365">5</cx:pt>
          <cx:pt idx="34366">4</cx:pt>
          <cx:pt idx="34367">1</cx:pt>
          <cx:pt idx="34368">2</cx:pt>
          <cx:pt idx="34369">1</cx:pt>
          <cx:pt idx="34370">3</cx:pt>
          <cx:pt idx="34371">3</cx:pt>
          <cx:pt idx="34372">3</cx:pt>
          <cx:pt idx="34373">1</cx:pt>
          <cx:pt idx="34374">5</cx:pt>
          <cx:pt idx="34375">3</cx:pt>
          <cx:pt idx="34376">1</cx:pt>
          <cx:pt idx="34377">4</cx:pt>
          <cx:pt idx="34378">1</cx:pt>
          <cx:pt idx="34379">5</cx:pt>
          <cx:pt idx="34380">2</cx:pt>
          <cx:pt idx="34381">2</cx:pt>
          <cx:pt idx="34382">1</cx:pt>
          <cx:pt idx="34383">4</cx:pt>
          <cx:pt idx="34384">3</cx:pt>
          <cx:pt idx="34385">4</cx:pt>
          <cx:pt idx="34386">4</cx:pt>
          <cx:pt idx="34387">4</cx:pt>
          <cx:pt idx="34388">4</cx:pt>
          <cx:pt idx="34389">5</cx:pt>
          <cx:pt idx="34390">1</cx:pt>
          <cx:pt idx="34391">4</cx:pt>
          <cx:pt idx="34392">1</cx:pt>
          <cx:pt idx="34393">2</cx:pt>
          <cx:pt idx="34394">5</cx:pt>
          <cx:pt idx="34395">3</cx:pt>
          <cx:pt idx="34396">5</cx:pt>
          <cx:pt idx="34397">4</cx:pt>
          <cx:pt idx="34398">5</cx:pt>
          <cx:pt idx="34399">5</cx:pt>
          <cx:pt idx="34400">5</cx:pt>
          <cx:pt idx="34401">3</cx:pt>
          <cx:pt idx="34402">5</cx:pt>
          <cx:pt idx="34403">4</cx:pt>
          <cx:pt idx="34404">3</cx:pt>
          <cx:pt idx="34405">5</cx:pt>
          <cx:pt idx="34406">2</cx:pt>
          <cx:pt idx="34407">1</cx:pt>
          <cx:pt idx="34408">2</cx:pt>
          <cx:pt idx="34409">5</cx:pt>
          <cx:pt idx="34410">5</cx:pt>
          <cx:pt idx="34411">4</cx:pt>
          <cx:pt idx="34412">5</cx:pt>
          <cx:pt idx="34413">4</cx:pt>
          <cx:pt idx="34414">4</cx:pt>
          <cx:pt idx="34415">2</cx:pt>
          <cx:pt idx="34416">1</cx:pt>
          <cx:pt idx="34417">3</cx:pt>
          <cx:pt idx="34418">3</cx:pt>
          <cx:pt idx="34419">5</cx:pt>
          <cx:pt idx="34420">4</cx:pt>
          <cx:pt idx="34421">5</cx:pt>
          <cx:pt idx="34422">2</cx:pt>
          <cx:pt idx="34423">4</cx:pt>
          <cx:pt idx="34424">4</cx:pt>
          <cx:pt idx="34425">4</cx:pt>
          <cx:pt idx="34426">4</cx:pt>
          <cx:pt idx="34427">2</cx:pt>
          <cx:pt idx="34428">3</cx:pt>
          <cx:pt idx="34429">3</cx:pt>
          <cx:pt idx="34430">3</cx:pt>
          <cx:pt idx="34431">2</cx:pt>
          <cx:pt idx="34432">5</cx:pt>
          <cx:pt idx="34433">1</cx:pt>
          <cx:pt idx="34434">1</cx:pt>
          <cx:pt idx="34435">3</cx:pt>
          <cx:pt idx="34436">1</cx:pt>
          <cx:pt idx="34437">5</cx:pt>
          <cx:pt idx="34438">4</cx:pt>
          <cx:pt idx="34439">4</cx:pt>
          <cx:pt idx="34440">1</cx:pt>
          <cx:pt idx="34441">4</cx:pt>
          <cx:pt idx="34442">5</cx:pt>
          <cx:pt idx="34443">4</cx:pt>
          <cx:pt idx="34444">5</cx:pt>
          <cx:pt idx="34445">2</cx:pt>
          <cx:pt idx="34446">2</cx:pt>
          <cx:pt idx="34447">5</cx:pt>
          <cx:pt idx="34448">4</cx:pt>
          <cx:pt idx="34449">5</cx:pt>
          <cx:pt idx="34450">4</cx:pt>
          <cx:pt idx="34451">5</cx:pt>
          <cx:pt idx="34452">2</cx:pt>
          <cx:pt idx="34453">3</cx:pt>
          <cx:pt idx="34454">4</cx:pt>
          <cx:pt idx="34455">1</cx:pt>
          <cx:pt idx="34456">5</cx:pt>
          <cx:pt idx="34457">2</cx:pt>
          <cx:pt idx="34458">3</cx:pt>
          <cx:pt idx="34459">2</cx:pt>
          <cx:pt idx="34460">2</cx:pt>
          <cx:pt idx="34461">4</cx:pt>
          <cx:pt idx="34462">2</cx:pt>
          <cx:pt idx="34463">5</cx:pt>
          <cx:pt idx="34464">3</cx:pt>
          <cx:pt idx="34465">2</cx:pt>
          <cx:pt idx="34466">4</cx:pt>
          <cx:pt idx="34467">3</cx:pt>
          <cx:pt idx="34468">5</cx:pt>
          <cx:pt idx="34469">2</cx:pt>
          <cx:pt idx="34470">3</cx:pt>
          <cx:pt idx="34471">4</cx:pt>
          <cx:pt idx="34472">2</cx:pt>
          <cx:pt idx="34473">2</cx:pt>
          <cx:pt idx="34474">5</cx:pt>
          <cx:pt idx="34475">5</cx:pt>
          <cx:pt idx="34476">4</cx:pt>
          <cx:pt idx="34477">4</cx:pt>
          <cx:pt idx="34478">3</cx:pt>
          <cx:pt idx="34479">3</cx:pt>
          <cx:pt idx="34480">4</cx:pt>
          <cx:pt idx="34481">5</cx:pt>
          <cx:pt idx="34482">4</cx:pt>
          <cx:pt idx="34483">5</cx:pt>
          <cx:pt idx="34484">4</cx:pt>
          <cx:pt idx="34485">1</cx:pt>
          <cx:pt idx="34486">4</cx:pt>
          <cx:pt idx="34487">3</cx:pt>
          <cx:pt idx="34488">2</cx:pt>
          <cx:pt idx="34489">3</cx:pt>
          <cx:pt idx="34490">4</cx:pt>
          <cx:pt idx="34491">2</cx:pt>
          <cx:pt idx="34492">3</cx:pt>
          <cx:pt idx="34493">5</cx:pt>
          <cx:pt idx="34494">1</cx:pt>
          <cx:pt idx="34495">4</cx:pt>
          <cx:pt idx="34496">4</cx:pt>
          <cx:pt idx="34497">2</cx:pt>
          <cx:pt idx="34498">3</cx:pt>
          <cx:pt idx="34499">4</cx:pt>
          <cx:pt idx="34500">2</cx:pt>
          <cx:pt idx="34501">3</cx:pt>
          <cx:pt idx="34502">2</cx:pt>
          <cx:pt idx="34503">4</cx:pt>
          <cx:pt idx="34504">1</cx:pt>
          <cx:pt idx="34505">1</cx:pt>
          <cx:pt idx="34506">1</cx:pt>
          <cx:pt idx="34507">1</cx:pt>
          <cx:pt idx="34508">4</cx:pt>
          <cx:pt idx="34509">2</cx:pt>
          <cx:pt idx="34510">4</cx:pt>
          <cx:pt idx="34511">5</cx:pt>
          <cx:pt idx="34512">5</cx:pt>
          <cx:pt idx="34513">2</cx:pt>
          <cx:pt idx="34514">3</cx:pt>
          <cx:pt idx="34515">3</cx:pt>
          <cx:pt idx="34516">4</cx:pt>
          <cx:pt idx="34517">2</cx:pt>
          <cx:pt idx="34518">2</cx:pt>
          <cx:pt idx="34519">4</cx:pt>
          <cx:pt idx="34520">4</cx:pt>
          <cx:pt idx="34521">5</cx:pt>
          <cx:pt idx="34522">5</cx:pt>
          <cx:pt idx="34523">4</cx:pt>
          <cx:pt idx="34524">2</cx:pt>
          <cx:pt idx="34525">3</cx:pt>
          <cx:pt idx="34526">5</cx:pt>
          <cx:pt idx="34527">1</cx:pt>
          <cx:pt idx="34528">4</cx:pt>
          <cx:pt idx="34529">5</cx:pt>
          <cx:pt idx="34530">1</cx:pt>
          <cx:pt idx="34531">5</cx:pt>
          <cx:pt idx="34532">3</cx:pt>
          <cx:pt idx="34533">5</cx:pt>
          <cx:pt idx="34534">5</cx:pt>
          <cx:pt idx="34535">5</cx:pt>
          <cx:pt idx="34536">4</cx:pt>
          <cx:pt idx="34537">5</cx:pt>
          <cx:pt idx="34538">1</cx:pt>
          <cx:pt idx="34539">5</cx:pt>
          <cx:pt idx="34540">1</cx:pt>
          <cx:pt idx="34541">4</cx:pt>
          <cx:pt idx="34542">5</cx:pt>
          <cx:pt idx="34543">5</cx:pt>
          <cx:pt idx="34544">2</cx:pt>
          <cx:pt idx="34545">4</cx:pt>
          <cx:pt idx="34546">2</cx:pt>
          <cx:pt idx="34547">5</cx:pt>
          <cx:pt idx="34548">4</cx:pt>
          <cx:pt idx="34549">2</cx:pt>
          <cx:pt idx="34550">3</cx:pt>
          <cx:pt idx="34551">2</cx:pt>
          <cx:pt idx="34552">4</cx:pt>
          <cx:pt idx="34553">4</cx:pt>
          <cx:pt idx="34554">3</cx:pt>
          <cx:pt idx="34555">4</cx:pt>
          <cx:pt idx="34556">2</cx:pt>
          <cx:pt idx="34557">3</cx:pt>
          <cx:pt idx="34558">2</cx:pt>
          <cx:pt idx="34559">4</cx:pt>
          <cx:pt idx="34560">4</cx:pt>
          <cx:pt idx="34561">4</cx:pt>
          <cx:pt idx="34562">1</cx:pt>
          <cx:pt idx="34563">4</cx:pt>
          <cx:pt idx="34564">4</cx:pt>
          <cx:pt idx="34565">5</cx:pt>
          <cx:pt idx="34566">4</cx:pt>
          <cx:pt idx="34567">4</cx:pt>
          <cx:pt idx="34568">5</cx:pt>
          <cx:pt idx="34569">1</cx:pt>
          <cx:pt idx="34570">4</cx:pt>
          <cx:pt idx="34571">2</cx:pt>
          <cx:pt idx="34572">5</cx:pt>
          <cx:pt idx="34573">5</cx:pt>
          <cx:pt idx="34574">2</cx:pt>
          <cx:pt idx="34575">5</cx:pt>
          <cx:pt idx="34576">3</cx:pt>
          <cx:pt idx="34577">3</cx:pt>
          <cx:pt idx="34578">5</cx:pt>
          <cx:pt idx="34579">4</cx:pt>
          <cx:pt idx="34580">5</cx:pt>
          <cx:pt idx="34581">1</cx:pt>
          <cx:pt idx="34582">4</cx:pt>
          <cx:pt idx="34583">3</cx:pt>
          <cx:pt idx="34584">1</cx:pt>
          <cx:pt idx="34585">4</cx:pt>
          <cx:pt idx="34586">3</cx:pt>
          <cx:pt idx="34587">1</cx:pt>
          <cx:pt idx="34588">2</cx:pt>
          <cx:pt idx="34589">2</cx:pt>
          <cx:pt idx="34590">4</cx:pt>
          <cx:pt idx="34591">4</cx:pt>
          <cx:pt idx="34592">5</cx:pt>
          <cx:pt idx="34593">4</cx:pt>
          <cx:pt idx="34594">2</cx:pt>
          <cx:pt idx="34595">4</cx:pt>
          <cx:pt idx="34596">4</cx:pt>
          <cx:pt idx="34597">3</cx:pt>
          <cx:pt idx="34598">5</cx:pt>
          <cx:pt idx="34599">3</cx:pt>
          <cx:pt idx="34600">2</cx:pt>
          <cx:pt idx="34601">5</cx:pt>
          <cx:pt idx="34602">4</cx:pt>
          <cx:pt idx="34603">2</cx:pt>
          <cx:pt idx="34604">5</cx:pt>
          <cx:pt idx="34605">3</cx:pt>
          <cx:pt idx="34606">5</cx:pt>
          <cx:pt idx="34607">4</cx:pt>
          <cx:pt idx="34608">5</cx:pt>
          <cx:pt idx="34609">5</cx:pt>
          <cx:pt idx="34610">2</cx:pt>
          <cx:pt idx="34611">1</cx:pt>
          <cx:pt idx="34612">3</cx:pt>
          <cx:pt idx="34613">4</cx:pt>
          <cx:pt idx="34614">4</cx:pt>
          <cx:pt idx="34615">5</cx:pt>
          <cx:pt idx="34616">4</cx:pt>
          <cx:pt idx="34617">2</cx:pt>
          <cx:pt idx="34618">5</cx:pt>
          <cx:pt idx="34619">4</cx:pt>
          <cx:pt idx="34620">4</cx:pt>
          <cx:pt idx="34621">3</cx:pt>
          <cx:pt idx="34622">4</cx:pt>
          <cx:pt idx="34623">1</cx:pt>
          <cx:pt idx="34624">2</cx:pt>
          <cx:pt idx="34625">5</cx:pt>
          <cx:pt idx="34626">5</cx:pt>
          <cx:pt idx="34627">5</cx:pt>
          <cx:pt idx="34628">2</cx:pt>
          <cx:pt idx="34629">4</cx:pt>
          <cx:pt idx="34630">4</cx:pt>
          <cx:pt idx="34631">5</cx:pt>
          <cx:pt idx="34632">4</cx:pt>
          <cx:pt idx="34633">5</cx:pt>
          <cx:pt idx="34634">4</cx:pt>
          <cx:pt idx="34635">2</cx:pt>
          <cx:pt idx="34636">4</cx:pt>
          <cx:pt idx="34637">5</cx:pt>
          <cx:pt idx="34638">3</cx:pt>
          <cx:pt idx="34639">4</cx:pt>
          <cx:pt idx="34640">2</cx:pt>
          <cx:pt idx="34641">4</cx:pt>
          <cx:pt idx="34642">4</cx:pt>
          <cx:pt idx="34643">5</cx:pt>
          <cx:pt idx="34644">3</cx:pt>
          <cx:pt idx="34645">5</cx:pt>
          <cx:pt idx="34646">4</cx:pt>
          <cx:pt idx="34647">3</cx:pt>
          <cx:pt idx="34648">5</cx:pt>
          <cx:pt idx="34649">5</cx:pt>
          <cx:pt idx="34650">2</cx:pt>
          <cx:pt idx="34651">5</cx:pt>
          <cx:pt idx="34652">2</cx:pt>
          <cx:pt idx="34653">1</cx:pt>
          <cx:pt idx="34654">2</cx:pt>
          <cx:pt idx="34655">4</cx:pt>
          <cx:pt idx="34656">4</cx:pt>
          <cx:pt idx="34657">2</cx:pt>
          <cx:pt idx="34658">5</cx:pt>
          <cx:pt idx="34659">1</cx:pt>
          <cx:pt idx="34660">5</cx:pt>
          <cx:pt idx="34661">5</cx:pt>
          <cx:pt idx="34662">3</cx:pt>
          <cx:pt idx="34663">4</cx:pt>
          <cx:pt idx="34664">3</cx:pt>
          <cx:pt idx="34665">4</cx:pt>
          <cx:pt idx="34666">1</cx:pt>
          <cx:pt idx="34667">5</cx:pt>
          <cx:pt idx="34668">2</cx:pt>
          <cx:pt idx="34669">5</cx:pt>
          <cx:pt idx="34670">5</cx:pt>
          <cx:pt idx="34671">5</cx:pt>
          <cx:pt idx="34672">3</cx:pt>
          <cx:pt idx="34673">2</cx:pt>
          <cx:pt idx="34674">2</cx:pt>
          <cx:pt idx="34675">2</cx:pt>
          <cx:pt idx="34676">1</cx:pt>
          <cx:pt idx="34677">1</cx:pt>
          <cx:pt idx="34678">5</cx:pt>
          <cx:pt idx="34679">2</cx:pt>
          <cx:pt idx="34680">5</cx:pt>
          <cx:pt idx="34681">1</cx:pt>
          <cx:pt idx="34682">4</cx:pt>
          <cx:pt idx="34683">2</cx:pt>
          <cx:pt idx="34684">5</cx:pt>
          <cx:pt idx="34685">3</cx:pt>
          <cx:pt idx="34686">4</cx:pt>
          <cx:pt idx="34687">2</cx:pt>
          <cx:pt idx="34688">4</cx:pt>
          <cx:pt idx="34689">2</cx:pt>
          <cx:pt idx="34690">4</cx:pt>
          <cx:pt idx="34691">4</cx:pt>
          <cx:pt idx="34692">4</cx:pt>
          <cx:pt idx="34693">5</cx:pt>
          <cx:pt idx="34694">5</cx:pt>
          <cx:pt idx="34695">4</cx:pt>
          <cx:pt idx="34696">1</cx:pt>
          <cx:pt idx="34697">3</cx:pt>
          <cx:pt idx="34698">3</cx:pt>
          <cx:pt idx="34699">5</cx:pt>
          <cx:pt idx="34700">2</cx:pt>
          <cx:pt idx="34701">4</cx:pt>
          <cx:pt idx="34702">3</cx:pt>
          <cx:pt idx="34703">2</cx:pt>
          <cx:pt idx="34704">2</cx:pt>
          <cx:pt idx="34705">4</cx:pt>
          <cx:pt idx="34706">1</cx:pt>
          <cx:pt idx="34707">2</cx:pt>
          <cx:pt idx="34708">4</cx:pt>
          <cx:pt idx="34709">4</cx:pt>
          <cx:pt idx="34710">5</cx:pt>
          <cx:pt idx="34711">5</cx:pt>
          <cx:pt idx="34712">2</cx:pt>
          <cx:pt idx="34713">4</cx:pt>
          <cx:pt idx="34714">4</cx:pt>
          <cx:pt idx="34715">3</cx:pt>
          <cx:pt idx="34716">4</cx:pt>
          <cx:pt idx="34717">4</cx:pt>
          <cx:pt idx="34718">3</cx:pt>
          <cx:pt idx="34719">5</cx:pt>
          <cx:pt idx="34720">4</cx:pt>
          <cx:pt idx="34721">3</cx:pt>
          <cx:pt idx="34722">5</cx:pt>
          <cx:pt idx="34723">5</cx:pt>
          <cx:pt idx="34724">4</cx:pt>
          <cx:pt idx="34725">5</cx:pt>
          <cx:pt idx="34726">4</cx:pt>
          <cx:pt idx="34727">5</cx:pt>
          <cx:pt idx="34728">5</cx:pt>
          <cx:pt idx="34729">2</cx:pt>
          <cx:pt idx="34730">4</cx:pt>
          <cx:pt idx="34731">3</cx:pt>
          <cx:pt idx="34732">5</cx:pt>
          <cx:pt idx="34733">2</cx:pt>
          <cx:pt idx="34734">4</cx:pt>
          <cx:pt idx="34735">5</cx:pt>
          <cx:pt idx="34736">5</cx:pt>
          <cx:pt idx="34737">4</cx:pt>
          <cx:pt idx="34738">5</cx:pt>
          <cx:pt idx="34739">2</cx:pt>
          <cx:pt idx="34740">4</cx:pt>
          <cx:pt idx="34741">5</cx:pt>
          <cx:pt idx="34742">2</cx:pt>
          <cx:pt idx="34743">4</cx:pt>
          <cx:pt idx="34744">5</cx:pt>
          <cx:pt idx="34745">3</cx:pt>
          <cx:pt idx="34746">1</cx:pt>
          <cx:pt idx="34747">3</cx:pt>
          <cx:pt idx="34748">1</cx:pt>
          <cx:pt idx="34749">3</cx:pt>
          <cx:pt idx="34750">3</cx:pt>
          <cx:pt idx="34751">3</cx:pt>
          <cx:pt idx="34752">4</cx:pt>
          <cx:pt idx="34753">4</cx:pt>
          <cx:pt idx="34754">3</cx:pt>
          <cx:pt idx="34755">5</cx:pt>
          <cx:pt idx="34756">4</cx:pt>
          <cx:pt idx="34757">4</cx:pt>
          <cx:pt idx="34758">5</cx:pt>
          <cx:pt idx="34759">5</cx:pt>
          <cx:pt idx="34760">4</cx:pt>
          <cx:pt idx="34761">4</cx:pt>
          <cx:pt idx="34762">4</cx:pt>
          <cx:pt idx="34763">1</cx:pt>
          <cx:pt idx="34764">4</cx:pt>
          <cx:pt idx="34765">2</cx:pt>
          <cx:pt idx="34766">3</cx:pt>
          <cx:pt idx="34767">2</cx:pt>
          <cx:pt idx="34768">3</cx:pt>
          <cx:pt idx="34769">1</cx:pt>
          <cx:pt idx="34770">4</cx:pt>
          <cx:pt idx="34771">3</cx:pt>
          <cx:pt idx="34772">2</cx:pt>
          <cx:pt idx="34773">3</cx:pt>
          <cx:pt idx="34774">4</cx:pt>
          <cx:pt idx="34775">4</cx:pt>
          <cx:pt idx="34776">2</cx:pt>
          <cx:pt idx="34777">4</cx:pt>
          <cx:pt idx="34778">5</cx:pt>
          <cx:pt idx="34779">3</cx:pt>
          <cx:pt idx="34780">4</cx:pt>
          <cx:pt idx="34781">3</cx:pt>
          <cx:pt idx="34782">2</cx:pt>
          <cx:pt idx="34783">1</cx:pt>
          <cx:pt idx="34784">4</cx:pt>
          <cx:pt idx="34785">1</cx:pt>
          <cx:pt idx="34786">1</cx:pt>
          <cx:pt idx="34787">4</cx:pt>
          <cx:pt idx="34788">4</cx:pt>
          <cx:pt idx="34789">4</cx:pt>
          <cx:pt idx="34790">1</cx:pt>
          <cx:pt idx="34791">2</cx:pt>
          <cx:pt idx="34792">2</cx:pt>
          <cx:pt idx="34793">3</cx:pt>
          <cx:pt idx="34794">3</cx:pt>
          <cx:pt idx="34795">3</cx:pt>
          <cx:pt idx="34796">5</cx:pt>
          <cx:pt idx="34797">5</cx:pt>
          <cx:pt idx="34798">4</cx:pt>
          <cx:pt idx="34799">5</cx:pt>
          <cx:pt idx="34800">5</cx:pt>
          <cx:pt idx="34801">4</cx:pt>
          <cx:pt idx="34802">5</cx:pt>
          <cx:pt idx="34803">3</cx:pt>
          <cx:pt idx="34804">5</cx:pt>
          <cx:pt idx="34805">5</cx:pt>
          <cx:pt idx="34806">3</cx:pt>
          <cx:pt idx="34807">4</cx:pt>
          <cx:pt idx="34808">2</cx:pt>
          <cx:pt idx="34809">2</cx:pt>
          <cx:pt idx="34810">5</cx:pt>
          <cx:pt idx="34811">3</cx:pt>
          <cx:pt idx="34812">4</cx:pt>
          <cx:pt idx="34813">4</cx:pt>
          <cx:pt idx="34814">4</cx:pt>
          <cx:pt idx="34815">3</cx:pt>
          <cx:pt idx="34816">3</cx:pt>
          <cx:pt idx="34817">5</cx:pt>
          <cx:pt idx="34818">5</cx:pt>
          <cx:pt idx="34819">4</cx:pt>
          <cx:pt idx="34820">4</cx:pt>
          <cx:pt idx="34821">5</cx:pt>
          <cx:pt idx="34822">5</cx:pt>
          <cx:pt idx="34823">1</cx:pt>
          <cx:pt idx="34824">4</cx:pt>
          <cx:pt idx="34825">3</cx:pt>
          <cx:pt idx="34826">4</cx:pt>
          <cx:pt idx="34827">5</cx:pt>
          <cx:pt idx="34828">2</cx:pt>
          <cx:pt idx="34829">4</cx:pt>
          <cx:pt idx="34830">4</cx:pt>
          <cx:pt idx="34831">4</cx:pt>
          <cx:pt idx="34832">5</cx:pt>
          <cx:pt idx="34833">1</cx:pt>
          <cx:pt idx="34834">4</cx:pt>
          <cx:pt idx="34835">4</cx:pt>
          <cx:pt idx="34836">4</cx:pt>
          <cx:pt idx="34837">5</cx:pt>
          <cx:pt idx="34838">5</cx:pt>
          <cx:pt idx="34839">5</cx:pt>
          <cx:pt idx="34840">4</cx:pt>
          <cx:pt idx="34841">5</cx:pt>
          <cx:pt idx="34842">5</cx:pt>
          <cx:pt idx="34843">2</cx:pt>
          <cx:pt idx="34844">3</cx:pt>
          <cx:pt idx="34845">4</cx:pt>
          <cx:pt idx="34846">3</cx:pt>
          <cx:pt idx="34847">2</cx:pt>
          <cx:pt idx="34848">4</cx:pt>
          <cx:pt idx="34849">4</cx:pt>
          <cx:pt idx="34850">1</cx:pt>
          <cx:pt idx="34851">4</cx:pt>
          <cx:pt idx="34852">4</cx:pt>
          <cx:pt idx="34853">2</cx:pt>
          <cx:pt idx="34854">5</cx:pt>
          <cx:pt idx="34855">2</cx:pt>
          <cx:pt idx="34856">4</cx:pt>
          <cx:pt idx="34857">5</cx:pt>
          <cx:pt idx="34858">4</cx:pt>
          <cx:pt idx="34859">4</cx:pt>
          <cx:pt idx="34860">5</cx:pt>
          <cx:pt idx="34861">5</cx:pt>
          <cx:pt idx="34862">2</cx:pt>
          <cx:pt idx="34863">4</cx:pt>
          <cx:pt idx="34864">2</cx:pt>
          <cx:pt idx="34865">4</cx:pt>
          <cx:pt idx="34866">4</cx:pt>
          <cx:pt idx="34867">5</cx:pt>
          <cx:pt idx="34868">4</cx:pt>
          <cx:pt idx="34869">4</cx:pt>
          <cx:pt idx="34870">4</cx:pt>
          <cx:pt idx="34871">2</cx:pt>
          <cx:pt idx="34872">2</cx:pt>
          <cx:pt idx="34873">3</cx:pt>
          <cx:pt idx="34874">5</cx:pt>
          <cx:pt idx="34875">4</cx:pt>
          <cx:pt idx="34876">2</cx:pt>
          <cx:pt idx="34877">5</cx:pt>
          <cx:pt idx="34878">3</cx:pt>
          <cx:pt idx="34879">5</cx:pt>
          <cx:pt idx="34880">5</cx:pt>
          <cx:pt idx="34881">5</cx:pt>
          <cx:pt idx="34882">5</cx:pt>
          <cx:pt idx="34883">4</cx:pt>
          <cx:pt idx="34884">2</cx:pt>
          <cx:pt idx="34885">3</cx:pt>
          <cx:pt idx="34886">5</cx:pt>
          <cx:pt idx="34887">3</cx:pt>
          <cx:pt idx="34888">4</cx:pt>
          <cx:pt idx="34889">5</cx:pt>
          <cx:pt idx="34890">1</cx:pt>
          <cx:pt idx="34891">3</cx:pt>
          <cx:pt idx="34892">1</cx:pt>
          <cx:pt idx="34893">5</cx:pt>
          <cx:pt idx="34894">4</cx:pt>
          <cx:pt idx="34895">3</cx:pt>
          <cx:pt idx="34896">4</cx:pt>
          <cx:pt idx="34897">3</cx:pt>
          <cx:pt idx="34898">4</cx:pt>
          <cx:pt idx="34899">4</cx:pt>
          <cx:pt idx="34900">5</cx:pt>
          <cx:pt idx="34901">4</cx:pt>
          <cx:pt idx="34902">4</cx:pt>
          <cx:pt idx="34903">5</cx:pt>
          <cx:pt idx="34904">3</cx:pt>
          <cx:pt idx="34905">1</cx:pt>
          <cx:pt idx="34906">2</cx:pt>
          <cx:pt idx="34907">5</cx:pt>
          <cx:pt idx="34908">4</cx:pt>
          <cx:pt idx="34909">5</cx:pt>
          <cx:pt idx="34910">3</cx:pt>
          <cx:pt idx="34911">2</cx:pt>
          <cx:pt idx="34912">1</cx:pt>
          <cx:pt idx="34913">5</cx:pt>
          <cx:pt idx="34914">2</cx:pt>
          <cx:pt idx="34915">5</cx:pt>
          <cx:pt idx="34916">2</cx:pt>
          <cx:pt idx="34917">4</cx:pt>
          <cx:pt idx="34918">3</cx:pt>
          <cx:pt idx="34919">2</cx:pt>
          <cx:pt idx="34920">4</cx:pt>
          <cx:pt idx="34921">3</cx:pt>
          <cx:pt idx="34922">4</cx:pt>
          <cx:pt idx="34923">4</cx:pt>
          <cx:pt idx="34924">5</cx:pt>
          <cx:pt idx="34925">5</cx:pt>
          <cx:pt idx="34926">5</cx:pt>
          <cx:pt idx="34927">4</cx:pt>
          <cx:pt idx="34928">5</cx:pt>
          <cx:pt idx="34929">4</cx:pt>
          <cx:pt idx="34930">5</cx:pt>
          <cx:pt idx="34931">1</cx:pt>
          <cx:pt idx="34932">4</cx:pt>
          <cx:pt idx="34933">5</cx:pt>
          <cx:pt idx="34934">4</cx:pt>
          <cx:pt idx="34935">3</cx:pt>
          <cx:pt idx="34936">5</cx:pt>
          <cx:pt idx="34937">1</cx:pt>
          <cx:pt idx="34938">4</cx:pt>
          <cx:pt idx="34939">5</cx:pt>
          <cx:pt idx="34940">4</cx:pt>
          <cx:pt idx="34941">2</cx:pt>
          <cx:pt idx="34942">5</cx:pt>
          <cx:pt idx="34943">3</cx:pt>
          <cx:pt idx="34944">5</cx:pt>
          <cx:pt idx="34945">5</cx:pt>
          <cx:pt idx="34946">2</cx:pt>
          <cx:pt idx="34947">3</cx:pt>
          <cx:pt idx="34948">5</cx:pt>
          <cx:pt idx="34949">5</cx:pt>
          <cx:pt idx="34950">5</cx:pt>
          <cx:pt idx="34951">3</cx:pt>
          <cx:pt idx="34952">4</cx:pt>
          <cx:pt idx="34953">5</cx:pt>
          <cx:pt idx="34954">4</cx:pt>
          <cx:pt idx="34955">4</cx:pt>
          <cx:pt idx="34956">5</cx:pt>
          <cx:pt idx="34957">5</cx:pt>
          <cx:pt idx="34958">4</cx:pt>
          <cx:pt idx="34959">2</cx:pt>
          <cx:pt idx="34960">1</cx:pt>
          <cx:pt idx="34961">3</cx:pt>
          <cx:pt idx="34962">4</cx:pt>
          <cx:pt idx="34963">4</cx:pt>
          <cx:pt idx="34964">5</cx:pt>
          <cx:pt idx="34965">1</cx:pt>
          <cx:pt idx="34966">1</cx:pt>
          <cx:pt idx="34967">2</cx:pt>
          <cx:pt idx="34968">4</cx:pt>
          <cx:pt idx="34969">4</cx:pt>
          <cx:pt idx="34970">2</cx:pt>
          <cx:pt idx="34971">5</cx:pt>
          <cx:pt idx="34972">2</cx:pt>
          <cx:pt idx="34973">2</cx:pt>
          <cx:pt idx="34974">5</cx:pt>
          <cx:pt idx="34975">1</cx:pt>
          <cx:pt idx="34976">2</cx:pt>
          <cx:pt idx="34977">2</cx:pt>
          <cx:pt idx="34978">4</cx:pt>
          <cx:pt idx="34979">5</cx:pt>
          <cx:pt idx="34980">1</cx:pt>
          <cx:pt idx="34981">1</cx:pt>
          <cx:pt idx="34982">5</cx:pt>
          <cx:pt idx="34983">5</cx:pt>
          <cx:pt idx="34984">5</cx:pt>
          <cx:pt idx="34985">4</cx:pt>
          <cx:pt idx="34986">5</cx:pt>
          <cx:pt idx="34987">5</cx:pt>
          <cx:pt idx="34988">4</cx:pt>
          <cx:pt idx="34989">4</cx:pt>
          <cx:pt idx="34990">4</cx:pt>
          <cx:pt idx="34991">3</cx:pt>
          <cx:pt idx="34992">4</cx:pt>
          <cx:pt idx="34993">4</cx:pt>
          <cx:pt idx="34994">2</cx:pt>
          <cx:pt idx="34995">5</cx:pt>
          <cx:pt idx="34996">1</cx:pt>
          <cx:pt idx="34997">3</cx:pt>
          <cx:pt idx="34998">5</cx:pt>
          <cx:pt idx="34999">1</cx:pt>
          <cx:pt idx="35000">4</cx:pt>
          <cx:pt idx="35001">3</cx:pt>
          <cx:pt idx="35002">4</cx:pt>
          <cx:pt idx="35003">4</cx:pt>
          <cx:pt idx="35004">1</cx:pt>
          <cx:pt idx="35005">3</cx:pt>
          <cx:pt idx="35006">5</cx:pt>
          <cx:pt idx="35007">2</cx:pt>
          <cx:pt idx="35008">1</cx:pt>
          <cx:pt idx="35009">3</cx:pt>
          <cx:pt idx="35010">4</cx:pt>
          <cx:pt idx="35011">2</cx:pt>
          <cx:pt idx="35012">1</cx:pt>
          <cx:pt idx="35013">5</cx:pt>
          <cx:pt idx="35014">1</cx:pt>
          <cx:pt idx="35015">3</cx:pt>
          <cx:pt idx="35016">4</cx:pt>
          <cx:pt idx="35017">4</cx:pt>
          <cx:pt idx="35018">4</cx:pt>
          <cx:pt idx="35019">4</cx:pt>
          <cx:pt idx="35020">3</cx:pt>
          <cx:pt idx="35021">4</cx:pt>
          <cx:pt idx="35022">5</cx:pt>
          <cx:pt idx="35023">3</cx:pt>
          <cx:pt idx="35024">1</cx:pt>
          <cx:pt idx="35025">1</cx:pt>
          <cx:pt idx="35026">2</cx:pt>
          <cx:pt idx="35027">5</cx:pt>
          <cx:pt idx="35028">1</cx:pt>
          <cx:pt idx="35029">4</cx:pt>
          <cx:pt idx="35030">1</cx:pt>
          <cx:pt idx="35031">3</cx:pt>
          <cx:pt idx="35032">4</cx:pt>
          <cx:pt idx="35033">5</cx:pt>
          <cx:pt idx="35034">3</cx:pt>
          <cx:pt idx="35035">4</cx:pt>
          <cx:pt idx="35036">3</cx:pt>
          <cx:pt idx="35037">1</cx:pt>
          <cx:pt idx="35038">5</cx:pt>
          <cx:pt idx="35039">2</cx:pt>
          <cx:pt idx="35040">3</cx:pt>
          <cx:pt idx="35041">3</cx:pt>
          <cx:pt idx="35042">2</cx:pt>
          <cx:pt idx="35043">5</cx:pt>
          <cx:pt idx="35044">4</cx:pt>
          <cx:pt idx="35045">5</cx:pt>
          <cx:pt idx="35046">5</cx:pt>
          <cx:pt idx="35047">4</cx:pt>
          <cx:pt idx="35048">2</cx:pt>
          <cx:pt idx="35049">4</cx:pt>
          <cx:pt idx="35050">5</cx:pt>
          <cx:pt idx="35051">4</cx:pt>
          <cx:pt idx="35052">4</cx:pt>
          <cx:pt idx="35053">3</cx:pt>
          <cx:pt idx="35054">2</cx:pt>
          <cx:pt idx="35055">5</cx:pt>
          <cx:pt idx="35056">3</cx:pt>
          <cx:pt idx="35057">3</cx:pt>
          <cx:pt idx="35058">3</cx:pt>
          <cx:pt idx="35059">3</cx:pt>
          <cx:pt idx="35060">5</cx:pt>
          <cx:pt idx="35061">1</cx:pt>
          <cx:pt idx="35062">5</cx:pt>
          <cx:pt idx="35063">3</cx:pt>
          <cx:pt idx="35064">4</cx:pt>
          <cx:pt idx="35065">1</cx:pt>
          <cx:pt idx="35066">1</cx:pt>
          <cx:pt idx="35067">4</cx:pt>
          <cx:pt idx="35068">4</cx:pt>
          <cx:pt idx="35069">5</cx:pt>
          <cx:pt idx="35070">3</cx:pt>
          <cx:pt idx="35071">5</cx:pt>
          <cx:pt idx="35072">1</cx:pt>
          <cx:pt idx="35073">4</cx:pt>
          <cx:pt idx="35074">2</cx:pt>
          <cx:pt idx="35075">3</cx:pt>
          <cx:pt idx="35076">4</cx:pt>
          <cx:pt idx="35077">4</cx:pt>
          <cx:pt idx="35078">5</cx:pt>
          <cx:pt idx="35079">4</cx:pt>
          <cx:pt idx="35080">2</cx:pt>
          <cx:pt idx="35081">1</cx:pt>
          <cx:pt idx="35082">3</cx:pt>
          <cx:pt idx="35083">5</cx:pt>
          <cx:pt idx="35084">2</cx:pt>
          <cx:pt idx="35085">3</cx:pt>
          <cx:pt idx="35086">2</cx:pt>
          <cx:pt idx="35087">3</cx:pt>
          <cx:pt idx="35088">5</cx:pt>
          <cx:pt idx="35089">1</cx:pt>
          <cx:pt idx="35090">5</cx:pt>
          <cx:pt idx="35091">5</cx:pt>
          <cx:pt idx="35092">1</cx:pt>
          <cx:pt idx="35093">4</cx:pt>
          <cx:pt idx="35094">4</cx:pt>
          <cx:pt idx="35095">4</cx:pt>
          <cx:pt idx="35096">3</cx:pt>
          <cx:pt idx="35097">2</cx:pt>
          <cx:pt idx="35098">4</cx:pt>
          <cx:pt idx="35099">3</cx:pt>
          <cx:pt idx="35100">5</cx:pt>
          <cx:pt idx="35101">3</cx:pt>
          <cx:pt idx="35102">3</cx:pt>
          <cx:pt idx="35103">5</cx:pt>
          <cx:pt idx="35104">2</cx:pt>
          <cx:pt idx="35105">5</cx:pt>
          <cx:pt idx="35106">3</cx:pt>
          <cx:pt idx="35107">4</cx:pt>
          <cx:pt idx="35108">4</cx:pt>
          <cx:pt idx="35109">5</cx:pt>
          <cx:pt idx="35110">3</cx:pt>
          <cx:pt idx="35111">4</cx:pt>
          <cx:pt idx="35112">4</cx:pt>
          <cx:pt idx="35113">4</cx:pt>
          <cx:pt idx="35114">4</cx:pt>
          <cx:pt idx="35115">4</cx:pt>
          <cx:pt idx="35116">1</cx:pt>
          <cx:pt idx="35117">2</cx:pt>
          <cx:pt idx="35118">4</cx:pt>
          <cx:pt idx="35119">2</cx:pt>
          <cx:pt idx="35120">4</cx:pt>
          <cx:pt idx="35121">5</cx:pt>
          <cx:pt idx="35122">1</cx:pt>
          <cx:pt idx="35123">2</cx:pt>
          <cx:pt idx="35124">2</cx:pt>
          <cx:pt idx="35125">5</cx:pt>
          <cx:pt idx="35126">3</cx:pt>
          <cx:pt idx="35127">3</cx:pt>
          <cx:pt idx="35128">1</cx:pt>
          <cx:pt idx="35129">1</cx:pt>
          <cx:pt idx="35130">1</cx:pt>
          <cx:pt idx="35131">4</cx:pt>
          <cx:pt idx="35132">1</cx:pt>
          <cx:pt idx="35133">4</cx:pt>
          <cx:pt idx="35134">1</cx:pt>
          <cx:pt idx="35135">2</cx:pt>
          <cx:pt idx="35136">3</cx:pt>
          <cx:pt idx="35137">4</cx:pt>
          <cx:pt idx="35138">2</cx:pt>
          <cx:pt idx="35139">3</cx:pt>
          <cx:pt idx="35140">3</cx:pt>
          <cx:pt idx="35141">2</cx:pt>
          <cx:pt idx="35142">3</cx:pt>
          <cx:pt idx="35143">4</cx:pt>
          <cx:pt idx="35144">4</cx:pt>
          <cx:pt idx="35145">4</cx:pt>
          <cx:pt idx="35146">5</cx:pt>
          <cx:pt idx="35147">4</cx:pt>
          <cx:pt idx="35148">4</cx:pt>
          <cx:pt idx="35149">3</cx:pt>
          <cx:pt idx="35150">3</cx:pt>
          <cx:pt idx="35151">5</cx:pt>
          <cx:pt idx="35152">3</cx:pt>
          <cx:pt idx="35153">5</cx:pt>
          <cx:pt idx="35154">2</cx:pt>
          <cx:pt idx="35155">4</cx:pt>
          <cx:pt idx="35156">2</cx:pt>
          <cx:pt idx="35157">4</cx:pt>
          <cx:pt idx="35158">2</cx:pt>
          <cx:pt idx="35159">5</cx:pt>
          <cx:pt idx="35160">3</cx:pt>
          <cx:pt idx="35161">1</cx:pt>
          <cx:pt idx="35162">5</cx:pt>
          <cx:pt idx="35163">4</cx:pt>
          <cx:pt idx="35164">4</cx:pt>
          <cx:pt idx="35165">5</cx:pt>
          <cx:pt idx="35166">4</cx:pt>
          <cx:pt idx="35167">4</cx:pt>
          <cx:pt idx="35168">4</cx:pt>
          <cx:pt idx="35169">4</cx:pt>
          <cx:pt idx="35170">5</cx:pt>
          <cx:pt idx="35171">5</cx:pt>
          <cx:pt idx="35172">4</cx:pt>
          <cx:pt idx="35173">1</cx:pt>
          <cx:pt idx="35174">2</cx:pt>
          <cx:pt idx="35175">4</cx:pt>
          <cx:pt idx="35176">2</cx:pt>
          <cx:pt idx="35177">3</cx:pt>
          <cx:pt idx="35178">4</cx:pt>
          <cx:pt idx="35179">2</cx:pt>
          <cx:pt idx="35180">3</cx:pt>
          <cx:pt idx="35181">1</cx:pt>
          <cx:pt idx="35182">4</cx:pt>
          <cx:pt idx="35183">4</cx:pt>
          <cx:pt idx="35184">2</cx:pt>
          <cx:pt idx="35185">4</cx:pt>
          <cx:pt idx="35186">5</cx:pt>
          <cx:pt idx="35187">1</cx:pt>
          <cx:pt idx="35188">4</cx:pt>
          <cx:pt idx="35189">2</cx:pt>
          <cx:pt idx="35190">2</cx:pt>
          <cx:pt idx="35191">2</cx:pt>
          <cx:pt idx="35192">1</cx:pt>
          <cx:pt idx="35193">3</cx:pt>
          <cx:pt idx="35194">1</cx:pt>
          <cx:pt idx="35195">3</cx:pt>
          <cx:pt idx="35196">4</cx:pt>
          <cx:pt idx="35197">4</cx:pt>
          <cx:pt idx="35198">4</cx:pt>
          <cx:pt idx="35199">5</cx:pt>
          <cx:pt idx="35200">3</cx:pt>
          <cx:pt idx="35201">3</cx:pt>
          <cx:pt idx="35202">1</cx:pt>
          <cx:pt idx="35203">5</cx:pt>
          <cx:pt idx="35204">5</cx:pt>
          <cx:pt idx="35205">5</cx:pt>
          <cx:pt idx="35206">4</cx:pt>
          <cx:pt idx="35207">3</cx:pt>
          <cx:pt idx="35208">5</cx:pt>
          <cx:pt idx="35209">1</cx:pt>
          <cx:pt idx="35210">4</cx:pt>
          <cx:pt idx="35211">3</cx:pt>
          <cx:pt idx="35212">3</cx:pt>
          <cx:pt idx="35213">5</cx:pt>
          <cx:pt idx="35214">2</cx:pt>
          <cx:pt idx="35215">4</cx:pt>
          <cx:pt idx="35216">4</cx:pt>
          <cx:pt idx="35217">4</cx:pt>
          <cx:pt idx="35218">5</cx:pt>
          <cx:pt idx="35219">2</cx:pt>
          <cx:pt idx="35220">3</cx:pt>
          <cx:pt idx="35221">2</cx:pt>
          <cx:pt idx="35222">5</cx:pt>
          <cx:pt idx="35223">5</cx:pt>
          <cx:pt idx="35224">2</cx:pt>
          <cx:pt idx="35225">5</cx:pt>
          <cx:pt idx="35226">4</cx:pt>
          <cx:pt idx="35227">3</cx:pt>
          <cx:pt idx="35228">5</cx:pt>
          <cx:pt idx="35229">4</cx:pt>
          <cx:pt idx="35230">5</cx:pt>
          <cx:pt idx="35231">4</cx:pt>
          <cx:pt idx="35232">4</cx:pt>
          <cx:pt idx="35233">4</cx:pt>
          <cx:pt idx="35234">4</cx:pt>
          <cx:pt idx="35235">4</cx:pt>
          <cx:pt idx="35236">2</cx:pt>
          <cx:pt idx="35237">1</cx:pt>
          <cx:pt idx="35238">4</cx:pt>
          <cx:pt idx="35239">1</cx:pt>
          <cx:pt idx="35240">2</cx:pt>
          <cx:pt idx="35241">5</cx:pt>
          <cx:pt idx="35242">3</cx:pt>
          <cx:pt idx="35243">5</cx:pt>
          <cx:pt idx="35244">5</cx:pt>
          <cx:pt idx="35245">3</cx:pt>
          <cx:pt idx="35246">5</cx:pt>
          <cx:pt idx="35247">4</cx:pt>
          <cx:pt idx="35248">3</cx:pt>
          <cx:pt idx="35249">1</cx:pt>
          <cx:pt idx="35250">5</cx:pt>
          <cx:pt idx="35251">5</cx:pt>
          <cx:pt idx="35252">4</cx:pt>
          <cx:pt idx="35253">3</cx:pt>
          <cx:pt idx="35254">5</cx:pt>
          <cx:pt idx="35255">1</cx:pt>
          <cx:pt idx="35256">4</cx:pt>
          <cx:pt idx="35257">4</cx:pt>
          <cx:pt idx="35258">5</cx:pt>
          <cx:pt idx="35259">4</cx:pt>
          <cx:pt idx="35260">5</cx:pt>
          <cx:pt idx="35261">2</cx:pt>
          <cx:pt idx="35262">5</cx:pt>
          <cx:pt idx="35263">4</cx:pt>
          <cx:pt idx="35264">5</cx:pt>
          <cx:pt idx="35265">5</cx:pt>
          <cx:pt idx="35266">4</cx:pt>
          <cx:pt idx="35267">4</cx:pt>
          <cx:pt idx="35268">4</cx:pt>
          <cx:pt idx="35269">1</cx:pt>
          <cx:pt idx="35270">4</cx:pt>
          <cx:pt idx="35271">4</cx:pt>
          <cx:pt idx="35272">5</cx:pt>
          <cx:pt idx="35273">2</cx:pt>
          <cx:pt idx="35274">4</cx:pt>
          <cx:pt idx="35275">4</cx:pt>
          <cx:pt idx="35276">4</cx:pt>
          <cx:pt idx="35277">5</cx:pt>
          <cx:pt idx="35278">4</cx:pt>
          <cx:pt idx="35279">1</cx:pt>
          <cx:pt idx="35280">5</cx:pt>
          <cx:pt idx="35281">4</cx:pt>
          <cx:pt idx="35282">5</cx:pt>
          <cx:pt idx="35283">3</cx:pt>
          <cx:pt idx="35284">5</cx:pt>
          <cx:pt idx="35285">4</cx:pt>
          <cx:pt idx="35286">4</cx:pt>
          <cx:pt idx="35287">3</cx:pt>
          <cx:pt idx="35288">4</cx:pt>
          <cx:pt idx="35289">2</cx:pt>
          <cx:pt idx="35290">3</cx:pt>
          <cx:pt idx="35291">2</cx:pt>
          <cx:pt idx="35292">4</cx:pt>
          <cx:pt idx="35293">4</cx:pt>
          <cx:pt idx="35294">1</cx:pt>
          <cx:pt idx="35295">3</cx:pt>
          <cx:pt idx="35296">5</cx:pt>
          <cx:pt idx="35297">2</cx:pt>
          <cx:pt idx="35298">5</cx:pt>
          <cx:pt idx="35299">4</cx:pt>
          <cx:pt idx="35300">2</cx:pt>
          <cx:pt idx="35301">4</cx:pt>
          <cx:pt idx="35302">4</cx:pt>
          <cx:pt idx="35303">1</cx:pt>
          <cx:pt idx="35304">1</cx:pt>
          <cx:pt idx="35305">5</cx:pt>
          <cx:pt idx="35306">4</cx:pt>
          <cx:pt idx="35307">5</cx:pt>
          <cx:pt idx="35308">1</cx:pt>
          <cx:pt idx="35309">4</cx:pt>
          <cx:pt idx="35310">2</cx:pt>
          <cx:pt idx="35311">1</cx:pt>
          <cx:pt idx="35312">2</cx:pt>
          <cx:pt idx="35313">4</cx:pt>
          <cx:pt idx="35314">2</cx:pt>
          <cx:pt idx="35315">3</cx:pt>
          <cx:pt idx="35316">4</cx:pt>
          <cx:pt idx="35317">1</cx:pt>
          <cx:pt idx="35318">5</cx:pt>
          <cx:pt idx="35319">2</cx:pt>
          <cx:pt idx="35320">5</cx:pt>
          <cx:pt idx="35321">3</cx:pt>
          <cx:pt idx="35322">5</cx:pt>
          <cx:pt idx="35323">3</cx:pt>
          <cx:pt idx="35324">3</cx:pt>
          <cx:pt idx="35325">4</cx:pt>
          <cx:pt idx="35326">5</cx:pt>
          <cx:pt idx="35327">5</cx:pt>
          <cx:pt idx="35328">4</cx:pt>
          <cx:pt idx="35329">4</cx:pt>
          <cx:pt idx="35330">4</cx:pt>
          <cx:pt idx="35331">3</cx:pt>
          <cx:pt idx="35332">5</cx:pt>
          <cx:pt idx="35333">5</cx:pt>
          <cx:pt idx="35334">4</cx:pt>
          <cx:pt idx="35335">5</cx:pt>
          <cx:pt idx="35336">4</cx:pt>
          <cx:pt idx="35337">5</cx:pt>
          <cx:pt idx="35338">4</cx:pt>
          <cx:pt idx="35339">4</cx:pt>
          <cx:pt idx="35340">4</cx:pt>
          <cx:pt idx="35341">5</cx:pt>
          <cx:pt idx="35342">3</cx:pt>
          <cx:pt idx="35343">4</cx:pt>
          <cx:pt idx="35344">3</cx:pt>
          <cx:pt idx="35345">5</cx:pt>
          <cx:pt idx="35346">5</cx:pt>
          <cx:pt idx="35347">1</cx:pt>
          <cx:pt idx="35348">3</cx:pt>
          <cx:pt idx="35349">1</cx:pt>
          <cx:pt idx="35350">5</cx:pt>
          <cx:pt idx="35351">1</cx:pt>
          <cx:pt idx="35352">4</cx:pt>
          <cx:pt idx="35353">4</cx:pt>
          <cx:pt idx="35354">4</cx:pt>
          <cx:pt idx="35355">5</cx:pt>
          <cx:pt idx="35356">4</cx:pt>
          <cx:pt idx="35357">3</cx:pt>
          <cx:pt idx="35358">5</cx:pt>
          <cx:pt idx="35359">4</cx:pt>
          <cx:pt idx="35360">5</cx:pt>
          <cx:pt idx="35361">3</cx:pt>
          <cx:pt idx="35362">4</cx:pt>
          <cx:pt idx="35363">3</cx:pt>
          <cx:pt idx="35364">3</cx:pt>
          <cx:pt idx="35365">3</cx:pt>
          <cx:pt idx="35366">2</cx:pt>
          <cx:pt idx="35367">4</cx:pt>
          <cx:pt idx="35368">2</cx:pt>
          <cx:pt idx="35369">5</cx:pt>
          <cx:pt idx="35370">1</cx:pt>
          <cx:pt idx="35371">5</cx:pt>
          <cx:pt idx="35372">4</cx:pt>
          <cx:pt idx="35373">5</cx:pt>
          <cx:pt idx="35374">5</cx:pt>
          <cx:pt idx="35375">4</cx:pt>
          <cx:pt idx="35376">3</cx:pt>
          <cx:pt idx="35377">5</cx:pt>
          <cx:pt idx="35378">4</cx:pt>
          <cx:pt idx="35379">5</cx:pt>
          <cx:pt idx="35380">4</cx:pt>
          <cx:pt idx="35381">4</cx:pt>
          <cx:pt idx="35382">4</cx:pt>
          <cx:pt idx="35383">2</cx:pt>
          <cx:pt idx="35384">1</cx:pt>
          <cx:pt idx="35385">4</cx:pt>
          <cx:pt idx="35386">4</cx:pt>
          <cx:pt idx="35387">3</cx:pt>
          <cx:pt idx="35388">1</cx:pt>
          <cx:pt idx="35389">5</cx:pt>
          <cx:pt idx="35390">4</cx:pt>
          <cx:pt idx="35391">5</cx:pt>
          <cx:pt idx="35392">3</cx:pt>
          <cx:pt idx="35393">4</cx:pt>
          <cx:pt idx="35394">5</cx:pt>
          <cx:pt idx="35395">2</cx:pt>
          <cx:pt idx="35396">4</cx:pt>
          <cx:pt idx="35397">4</cx:pt>
          <cx:pt idx="35398">1</cx:pt>
          <cx:pt idx="35399">5</cx:pt>
          <cx:pt idx="35400">4</cx:pt>
          <cx:pt idx="35401">4</cx:pt>
          <cx:pt idx="35402">4</cx:pt>
          <cx:pt idx="35403">3</cx:pt>
          <cx:pt idx="35404">5</cx:pt>
          <cx:pt idx="35405">3</cx:pt>
          <cx:pt idx="35406">2</cx:pt>
          <cx:pt idx="35407">4</cx:pt>
          <cx:pt idx="35408">1</cx:pt>
          <cx:pt idx="35409">2</cx:pt>
          <cx:pt idx="35410">3</cx:pt>
          <cx:pt idx="35411">4</cx:pt>
          <cx:pt idx="35412">5</cx:pt>
          <cx:pt idx="35413">2</cx:pt>
          <cx:pt idx="35414">5</cx:pt>
          <cx:pt idx="35415">4</cx:pt>
          <cx:pt idx="35416">3</cx:pt>
          <cx:pt idx="35417">2</cx:pt>
          <cx:pt idx="35418">3</cx:pt>
          <cx:pt idx="35419">2</cx:pt>
          <cx:pt idx="35420">3</cx:pt>
          <cx:pt idx="35421">2</cx:pt>
          <cx:pt idx="35422">2</cx:pt>
          <cx:pt idx="35423">1</cx:pt>
          <cx:pt idx="35424">4</cx:pt>
          <cx:pt idx="35425">4</cx:pt>
          <cx:pt idx="35426">3</cx:pt>
          <cx:pt idx="35427">2</cx:pt>
          <cx:pt idx="35428">2</cx:pt>
          <cx:pt idx="35429">2</cx:pt>
          <cx:pt idx="35430">4</cx:pt>
          <cx:pt idx="35431">4</cx:pt>
          <cx:pt idx="35432">5</cx:pt>
          <cx:pt idx="35433">4</cx:pt>
          <cx:pt idx="35434">4</cx:pt>
          <cx:pt idx="35435">4</cx:pt>
          <cx:pt idx="35436">3</cx:pt>
          <cx:pt idx="35437">3</cx:pt>
          <cx:pt idx="35438">3</cx:pt>
          <cx:pt idx="35439">1</cx:pt>
          <cx:pt idx="35440">5</cx:pt>
          <cx:pt idx="35441">1</cx:pt>
          <cx:pt idx="35442">3</cx:pt>
          <cx:pt idx="35443">1</cx:pt>
          <cx:pt idx="35444">3</cx:pt>
          <cx:pt idx="35445">2</cx:pt>
          <cx:pt idx="35446">5</cx:pt>
          <cx:pt idx="35447">5</cx:pt>
          <cx:pt idx="35448">3</cx:pt>
          <cx:pt idx="35449">4</cx:pt>
          <cx:pt idx="35450">4</cx:pt>
          <cx:pt idx="35451">5</cx:pt>
          <cx:pt idx="35452">1</cx:pt>
          <cx:pt idx="35453">1</cx:pt>
          <cx:pt idx="35454">5</cx:pt>
          <cx:pt idx="35455">4</cx:pt>
          <cx:pt idx="35456">5</cx:pt>
          <cx:pt idx="35457">3</cx:pt>
          <cx:pt idx="35458">3</cx:pt>
          <cx:pt idx="35459">2</cx:pt>
          <cx:pt idx="35460">1</cx:pt>
          <cx:pt idx="35461">1</cx:pt>
          <cx:pt idx="35462">1</cx:pt>
          <cx:pt idx="35463">5</cx:pt>
          <cx:pt idx="35464">4</cx:pt>
          <cx:pt idx="35465">3</cx:pt>
          <cx:pt idx="35466">5</cx:pt>
          <cx:pt idx="35467">3</cx:pt>
          <cx:pt idx="35468">3</cx:pt>
          <cx:pt idx="35469">4</cx:pt>
          <cx:pt idx="35470">4</cx:pt>
          <cx:pt idx="35471">4</cx:pt>
          <cx:pt idx="35472">2</cx:pt>
          <cx:pt idx="35473">3</cx:pt>
          <cx:pt idx="35474">4</cx:pt>
          <cx:pt idx="35475">5</cx:pt>
          <cx:pt idx="35476">1</cx:pt>
          <cx:pt idx="35477">4</cx:pt>
          <cx:pt idx="35478">1</cx:pt>
          <cx:pt idx="35479">3</cx:pt>
          <cx:pt idx="35480">3</cx:pt>
          <cx:pt idx="35481">4</cx:pt>
          <cx:pt idx="35482">1</cx:pt>
          <cx:pt idx="35483">4</cx:pt>
          <cx:pt idx="35484">4</cx:pt>
          <cx:pt idx="35485">1</cx:pt>
          <cx:pt idx="35486">5</cx:pt>
          <cx:pt idx="35487">4</cx:pt>
          <cx:pt idx="35488">1</cx:pt>
          <cx:pt idx="35489">1</cx:pt>
          <cx:pt idx="35490">3</cx:pt>
          <cx:pt idx="35491">5</cx:pt>
          <cx:pt idx="35492">3</cx:pt>
          <cx:pt idx="35493">4</cx:pt>
          <cx:pt idx="35494">3</cx:pt>
          <cx:pt idx="35495">5</cx:pt>
          <cx:pt idx="35496">3</cx:pt>
          <cx:pt idx="35497">5</cx:pt>
          <cx:pt idx="35498">5</cx:pt>
          <cx:pt idx="35499">3</cx:pt>
          <cx:pt idx="35500">1</cx:pt>
          <cx:pt idx="35501">4</cx:pt>
          <cx:pt idx="35502">4</cx:pt>
          <cx:pt idx="35503">4</cx:pt>
          <cx:pt idx="35504">4</cx:pt>
          <cx:pt idx="35505">2</cx:pt>
          <cx:pt idx="35506">5</cx:pt>
          <cx:pt idx="35507">3</cx:pt>
          <cx:pt idx="35508">4</cx:pt>
          <cx:pt idx="35509">1</cx:pt>
          <cx:pt idx="35510">5</cx:pt>
          <cx:pt idx="35511">5</cx:pt>
          <cx:pt idx="35512">2</cx:pt>
          <cx:pt idx="35513">2</cx:pt>
          <cx:pt idx="35514">5</cx:pt>
          <cx:pt idx="35515">5</cx:pt>
          <cx:pt idx="35516">4</cx:pt>
          <cx:pt idx="35517">5</cx:pt>
          <cx:pt idx="35518">1</cx:pt>
          <cx:pt idx="35519">1</cx:pt>
          <cx:pt idx="35520">2</cx:pt>
          <cx:pt idx="35521">2</cx:pt>
          <cx:pt idx="35522">4</cx:pt>
          <cx:pt idx="35523">5</cx:pt>
          <cx:pt idx="35524">4</cx:pt>
          <cx:pt idx="35525">2</cx:pt>
          <cx:pt idx="35526">3</cx:pt>
          <cx:pt idx="35527">5</cx:pt>
          <cx:pt idx="35528">5</cx:pt>
          <cx:pt idx="35529">5</cx:pt>
          <cx:pt idx="35530">3</cx:pt>
          <cx:pt idx="35531">4</cx:pt>
          <cx:pt idx="35532">3</cx:pt>
          <cx:pt idx="35533">5</cx:pt>
          <cx:pt idx="35534">3</cx:pt>
          <cx:pt idx="35535">1</cx:pt>
          <cx:pt idx="35536">2</cx:pt>
          <cx:pt idx="35537">2</cx:pt>
          <cx:pt idx="35538">5</cx:pt>
          <cx:pt idx="35539">5</cx:pt>
          <cx:pt idx="35540">4</cx:pt>
          <cx:pt idx="35541">4</cx:pt>
          <cx:pt idx="35542">4</cx:pt>
          <cx:pt idx="35543">3</cx:pt>
          <cx:pt idx="35544">4</cx:pt>
          <cx:pt idx="35545">4</cx:pt>
          <cx:pt idx="35546">5</cx:pt>
          <cx:pt idx="35547">3</cx:pt>
          <cx:pt idx="35548">4</cx:pt>
          <cx:pt idx="35549">4</cx:pt>
          <cx:pt idx="35550">5</cx:pt>
          <cx:pt idx="35551">5</cx:pt>
          <cx:pt idx="35552">4</cx:pt>
          <cx:pt idx="35553">4</cx:pt>
          <cx:pt idx="35554">1</cx:pt>
          <cx:pt idx="35555">5</cx:pt>
          <cx:pt idx="35556">5</cx:pt>
          <cx:pt idx="35557">2</cx:pt>
          <cx:pt idx="35558">5</cx:pt>
          <cx:pt idx="35559">2</cx:pt>
          <cx:pt idx="35560">5</cx:pt>
          <cx:pt idx="35561">5</cx:pt>
          <cx:pt idx="35562">5</cx:pt>
          <cx:pt idx="35563">5</cx:pt>
          <cx:pt idx="35564">5</cx:pt>
          <cx:pt idx="35565">4</cx:pt>
          <cx:pt idx="35566">4</cx:pt>
          <cx:pt idx="35567">5</cx:pt>
          <cx:pt idx="35568">1</cx:pt>
          <cx:pt idx="35569">1</cx:pt>
          <cx:pt idx="35570">2</cx:pt>
          <cx:pt idx="35571">4</cx:pt>
          <cx:pt idx="35572">3</cx:pt>
          <cx:pt idx="35573">4</cx:pt>
          <cx:pt idx="35574">3</cx:pt>
          <cx:pt idx="35575">4</cx:pt>
          <cx:pt idx="35576">2</cx:pt>
          <cx:pt idx="35577">5</cx:pt>
          <cx:pt idx="35578">3</cx:pt>
          <cx:pt idx="35579">5</cx:pt>
          <cx:pt idx="35580">4</cx:pt>
          <cx:pt idx="35581">3</cx:pt>
          <cx:pt idx="35582">3</cx:pt>
          <cx:pt idx="35583">4</cx:pt>
          <cx:pt idx="35584">5</cx:pt>
          <cx:pt idx="35585">4</cx:pt>
          <cx:pt idx="35586">3</cx:pt>
          <cx:pt idx="35587">4</cx:pt>
          <cx:pt idx="35588">3</cx:pt>
          <cx:pt idx="35589">5</cx:pt>
          <cx:pt idx="35590">3</cx:pt>
          <cx:pt idx="35591">5</cx:pt>
          <cx:pt idx="35592">2</cx:pt>
          <cx:pt idx="35593">1</cx:pt>
          <cx:pt idx="35594">4</cx:pt>
          <cx:pt idx="35595">2</cx:pt>
          <cx:pt idx="35596">2</cx:pt>
          <cx:pt idx="35597">1</cx:pt>
          <cx:pt idx="35598">3</cx:pt>
          <cx:pt idx="35599">5</cx:pt>
          <cx:pt idx="35600">2</cx:pt>
          <cx:pt idx="35601">1</cx:pt>
          <cx:pt idx="35602">3</cx:pt>
          <cx:pt idx="35603">5</cx:pt>
          <cx:pt idx="35604">4</cx:pt>
          <cx:pt idx="35605">5</cx:pt>
          <cx:pt idx="35606">1</cx:pt>
          <cx:pt idx="35607">5</cx:pt>
          <cx:pt idx="35608">1</cx:pt>
          <cx:pt idx="35609">4</cx:pt>
          <cx:pt idx="35610">3</cx:pt>
          <cx:pt idx="35611">5</cx:pt>
          <cx:pt idx="35612">2</cx:pt>
          <cx:pt idx="35613">4</cx:pt>
          <cx:pt idx="35614">5</cx:pt>
          <cx:pt idx="35615">3</cx:pt>
          <cx:pt idx="35616">4</cx:pt>
          <cx:pt idx="35617">3</cx:pt>
          <cx:pt idx="35618">3</cx:pt>
          <cx:pt idx="35619">4</cx:pt>
          <cx:pt idx="35620">5</cx:pt>
          <cx:pt idx="35621">4</cx:pt>
          <cx:pt idx="35622">4</cx:pt>
          <cx:pt idx="35623">4</cx:pt>
          <cx:pt idx="35624">3</cx:pt>
          <cx:pt idx="35625">3</cx:pt>
          <cx:pt idx="35626">5</cx:pt>
          <cx:pt idx="35627">1</cx:pt>
          <cx:pt idx="35628">5</cx:pt>
          <cx:pt idx="35629">5</cx:pt>
          <cx:pt idx="35630">4</cx:pt>
          <cx:pt idx="35631">5</cx:pt>
          <cx:pt idx="35632">3</cx:pt>
          <cx:pt idx="35633">4</cx:pt>
          <cx:pt idx="35634">5</cx:pt>
          <cx:pt idx="35635">5</cx:pt>
          <cx:pt idx="35636">3</cx:pt>
          <cx:pt idx="35637">3</cx:pt>
          <cx:pt idx="35638">3</cx:pt>
          <cx:pt idx="35639">5</cx:pt>
          <cx:pt idx="35640">1</cx:pt>
          <cx:pt idx="35641">3</cx:pt>
          <cx:pt idx="35642">3</cx:pt>
          <cx:pt idx="35643">4</cx:pt>
          <cx:pt idx="35644">1</cx:pt>
          <cx:pt idx="35645">3</cx:pt>
          <cx:pt idx="35646">4</cx:pt>
          <cx:pt idx="35647">2</cx:pt>
          <cx:pt idx="35648">2</cx:pt>
          <cx:pt idx="35649">1</cx:pt>
          <cx:pt idx="35650">4</cx:pt>
          <cx:pt idx="35651">3</cx:pt>
          <cx:pt idx="35652">5</cx:pt>
          <cx:pt idx="35653">3</cx:pt>
          <cx:pt idx="35654">5</cx:pt>
          <cx:pt idx="35655">5</cx:pt>
          <cx:pt idx="35656">3</cx:pt>
          <cx:pt idx="35657">4</cx:pt>
          <cx:pt idx="35658">5</cx:pt>
          <cx:pt idx="35659">2</cx:pt>
          <cx:pt idx="35660">3</cx:pt>
          <cx:pt idx="35661">5</cx:pt>
          <cx:pt idx="35662">5</cx:pt>
          <cx:pt idx="35663">4</cx:pt>
          <cx:pt idx="35664">5</cx:pt>
          <cx:pt idx="35665">5</cx:pt>
          <cx:pt idx="35666">5</cx:pt>
          <cx:pt idx="35667">2</cx:pt>
          <cx:pt idx="35668">5</cx:pt>
          <cx:pt idx="35669">3</cx:pt>
          <cx:pt idx="35670">2</cx:pt>
          <cx:pt idx="35671">4</cx:pt>
          <cx:pt idx="35672">1</cx:pt>
          <cx:pt idx="35673">4</cx:pt>
          <cx:pt idx="35674">4</cx:pt>
          <cx:pt idx="35675">2</cx:pt>
          <cx:pt idx="35676">1</cx:pt>
          <cx:pt idx="35677">4</cx:pt>
          <cx:pt idx="35678">1</cx:pt>
          <cx:pt idx="35679">1</cx:pt>
          <cx:pt idx="35680">4</cx:pt>
          <cx:pt idx="35681">5</cx:pt>
          <cx:pt idx="35682">5</cx:pt>
          <cx:pt idx="35683">2</cx:pt>
          <cx:pt idx="35684">2</cx:pt>
          <cx:pt idx="35685">5</cx:pt>
          <cx:pt idx="35686">4</cx:pt>
          <cx:pt idx="35687">5</cx:pt>
          <cx:pt idx="35688">4</cx:pt>
          <cx:pt idx="35689">3</cx:pt>
          <cx:pt idx="35690">3</cx:pt>
          <cx:pt idx="35691">4</cx:pt>
          <cx:pt idx="35692">4</cx:pt>
          <cx:pt idx="35693">4</cx:pt>
          <cx:pt idx="35694">3</cx:pt>
          <cx:pt idx="35695">1</cx:pt>
          <cx:pt idx="35696">4</cx:pt>
          <cx:pt idx="35697">3</cx:pt>
          <cx:pt idx="35698">4</cx:pt>
          <cx:pt idx="35699">4</cx:pt>
          <cx:pt idx="35700">4</cx:pt>
          <cx:pt idx="35701">4</cx:pt>
          <cx:pt idx="35702">4</cx:pt>
          <cx:pt idx="35703">4</cx:pt>
          <cx:pt idx="35704">3</cx:pt>
          <cx:pt idx="35705">3</cx:pt>
          <cx:pt idx="35706">1</cx:pt>
          <cx:pt idx="35707">3</cx:pt>
          <cx:pt idx="35708">1</cx:pt>
          <cx:pt idx="35709">1</cx:pt>
          <cx:pt idx="35710">5</cx:pt>
          <cx:pt idx="35711">5</cx:pt>
          <cx:pt idx="35712">5</cx:pt>
          <cx:pt idx="35713">1</cx:pt>
          <cx:pt idx="35714">3</cx:pt>
          <cx:pt idx="35715">1</cx:pt>
          <cx:pt idx="35716">4</cx:pt>
          <cx:pt idx="35717">5</cx:pt>
          <cx:pt idx="35718">2</cx:pt>
          <cx:pt idx="35719">3</cx:pt>
          <cx:pt idx="35720">5</cx:pt>
          <cx:pt idx="35721">2</cx:pt>
          <cx:pt idx="35722">4</cx:pt>
          <cx:pt idx="35723">5</cx:pt>
          <cx:pt idx="35724">3</cx:pt>
          <cx:pt idx="35725">5</cx:pt>
          <cx:pt idx="35726">5</cx:pt>
          <cx:pt idx="35727">3</cx:pt>
          <cx:pt idx="35728">5</cx:pt>
          <cx:pt idx="35729">4</cx:pt>
          <cx:pt idx="35730">4</cx:pt>
          <cx:pt idx="35731">5</cx:pt>
          <cx:pt idx="35732">4</cx:pt>
          <cx:pt idx="35733">4</cx:pt>
          <cx:pt idx="35734">4</cx:pt>
          <cx:pt idx="35735">4</cx:pt>
          <cx:pt idx="35736">4</cx:pt>
          <cx:pt idx="35737">3</cx:pt>
          <cx:pt idx="35738">4</cx:pt>
          <cx:pt idx="35739">4</cx:pt>
          <cx:pt idx="35740">5</cx:pt>
          <cx:pt idx="35741">2</cx:pt>
          <cx:pt idx="35742">4</cx:pt>
          <cx:pt idx="35743">5</cx:pt>
          <cx:pt idx="35744">5</cx:pt>
          <cx:pt idx="35745">5</cx:pt>
          <cx:pt idx="35746">5</cx:pt>
          <cx:pt idx="35747">1</cx:pt>
          <cx:pt idx="35748">1</cx:pt>
          <cx:pt idx="35749">1</cx:pt>
          <cx:pt idx="35750">4</cx:pt>
          <cx:pt idx="35751">3</cx:pt>
          <cx:pt idx="35752">2</cx:pt>
          <cx:pt idx="35753">4</cx:pt>
          <cx:pt idx="35754">4</cx:pt>
          <cx:pt idx="35755">2</cx:pt>
          <cx:pt idx="35756">2</cx:pt>
          <cx:pt idx="35757">2</cx:pt>
          <cx:pt idx="35758">4</cx:pt>
          <cx:pt idx="35759">2</cx:pt>
          <cx:pt idx="35760">3</cx:pt>
          <cx:pt idx="35761">2</cx:pt>
          <cx:pt idx="35762">4</cx:pt>
          <cx:pt idx="35763">2</cx:pt>
          <cx:pt idx="35764">4</cx:pt>
          <cx:pt idx="35765">4</cx:pt>
          <cx:pt idx="35766">5</cx:pt>
          <cx:pt idx="35767">4</cx:pt>
          <cx:pt idx="35768">5</cx:pt>
          <cx:pt idx="35769">4</cx:pt>
          <cx:pt idx="35770">3</cx:pt>
          <cx:pt idx="35771">4</cx:pt>
          <cx:pt idx="35772">1</cx:pt>
          <cx:pt idx="35773">5</cx:pt>
          <cx:pt idx="35774">3</cx:pt>
          <cx:pt idx="35775">4</cx:pt>
          <cx:pt idx="35776">5</cx:pt>
          <cx:pt idx="35777">5</cx:pt>
          <cx:pt idx="35778">2</cx:pt>
          <cx:pt idx="35779">2</cx:pt>
          <cx:pt idx="35780">4</cx:pt>
          <cx:pt idx="35781">4</cx:pt>
          <cx:pt idx="35782">5</cx:pt>
          <cx:pt idx="35783">4</cx:pt>
          <cx:pt idx="35784">4</cx:pt>
          <cx:pt idx="35785">5</cx:pt>
          <cx:pt idx="35786">5</cx:pt>
          <cx:pt idx="35787">1</cx:pt>
          <cx:pt idx="35788">1</cx:pt>
          <cx:pt idx="35789">2</cx:pt>
          <cx:pt idx="35790">2</cx:pt>
          <cx:pt idx="35791">5</cx:pt>
          <cx:pt idx="35792">2</cx:pt>
          <cx:pt idx="35793">3</cx:pt>
          <cx:pt idx="35794">5</cx:pt>
          <cx:pt idx="35795">5</cx:pt>
          <cx:pt idx="35796">2</cx:pt>
          <cx:pt idx="35797">5</cx:pt>
          <cx:pt idx="35798">4</cx:pt>
          <cx:pt idx="35799">3</cx:pt>
          <cx:pt idx="35800">3</cx:pt>
          <cx:pt idx="35801">3</cx:pt>
          <cx:pt idx="35802">3</cx:pt>
          <cx:pt idx="35803">4</cx:pt>
          <cx:pt idx="35804">4</cx:pt>
          <cx:pt idx="35805">4</cx:pt>
          <cx:pt idx="35806">1</cx:pt>
          <cx:pt idx="35807">3</cx:pt>
          <cx:pt idx="35808">1</cx:pt>
          <cx:pt idx="35809">1</cx:pt>
          <cx:pt idx="35810">5</cx:pt>
          <cx:pt idx="35811">5</cx:pt>
          <cx:pt idx="35812">2</cx:pt>
          <cx:pt idx="35813">1</cx:pt>
          <cx:pt idx="35814">5</cx:pt>
          <cx:pt idx="35815">5</cx:pt>
          <cx:pt idx="35816">1</cx:pt>
          <cx:pt idx="35817">4</cx:pt>
          <cx:pt idx="35818">4</cx:pt>
          <cx:pt idx="35819">5</cx:pt>
          <cx:pt idx="35820">5</cx:pt>
          <cx:pt idx="35821">3</cx:pt>
          <cx:pt idx="35822">4</cx:pt>
          <cx:pt idx="35823">5</cx:pt>
          <cx:pt idx="35824">1</cx:pt>
          <cx:pt idx="35825">3</cx:pt>
          <cx:pt idx="35826">4</cx:pt>
          <cx:pt idx="35827">4</cx:pt>
          <cx:pt idx="35828">4</cx:pt>
          <cx:pt idx="35829">1</cx:pt>
          <cx:pt idx="35830">4</cx:pt>
          <cx:pt idx="35831">1</cx:pt>
          <cx:pt idx="35832">5</cx:pt>
          <cx:pt idx="35833">5</cx:pt>
          <cx:pt idx="35834">5</cx:pt>
          <cx:pt idx="35835">5</cx:pt>
          <cx:pt idx="35836">3</cx:pt>
          <cx:pt idx="35837">2</cx:pt>
          <cx:pt idx="35838">1</cx:pt>
          <cx:pt idx="35839">2</cx:pt>
          <cx:pt idx="35840">5</cx:pt>
          <cx:pt idx="35841">4</cx:pt>
          <cx:pt idx="35842">1</cx:pt>
          <cx:pt idx="35843">5</cx:pt>
          <cx:pt idx="35844">5</cx:pt>
          <cx:pt idx="35845">4</cx:pt>
          <cx:pt idx="35846">4</cx:pt>
          <cx:pt idx="35847">4</cx:pt>
          <cx:pt idx="35848">3</cx:pt>
          <cx:pt idx="35849">2</cx:pt>
          <cx:pt idx="35850">2</cx:pt>
          <cx:pt idx="35851">4</cx:pt>
          <cx:pt idx="35852">1</cx:pt>
          <cx:pt idx="35853">4</cx:pt>
          <cx:pt idx="35854">2</cx:pt>
          <cx:pt idx="35855">2</cx:pt>
          <cx:pt idx="35856">3</cx:pt>
          <cx:pt idx="35857">5</cx:pt>
          <cx:pt idx="35858">1</cx:pt>
          <cx:pt idx="35859">5</cx:pt>
          <cx:pt idx="35860">2</cx:pt>
          <cx:pt idx="35861">5</cx:pt>
          <cx:pt idx="35862">2</cx:pt>
          <cx:pt idx="35863">4</cx:pt>
          <cx:pt idx="35864">4</cx:pt>
          <cx:pt idx="35865">2</cx:pt>
          <cx:pt idx="35866">5</cx:pt>
          <cx:pt idx="35867">5</cx:pt>
          <cx:pt idx="35868">4</cx:pt>
          <cx:pt idx="35869">5</cx:pt>
          <cx:pt idx="35870">4</cx:pt>
          <cx:pt idx="35871">3</cx:pt>
          <cx:pt idx="35872">3</cx:pt>
          <cx:pt idx="35873">4</cx:pt>
          <cx:pt idx="35874">5</cx:pt>
          <cx:pt idx="35875">5</cx:pt>
          <cx:pt idx="35876">2</cx:pt>
          <cx:pt idx="35877">4</cx:pt>
          <cx:pt idx="35878">4</cx:pt>
          <cx:pt idx="35879">4</cx:pt>
          <cx:pt idx="35880">3</cx:pt>
          <cx:pt idx="35881">4</cx:pt>
          <cx:pt idx="35882">4</cx:pt>
          <cx:pt idx="35883">5</cx:pt>
          <cx:pt idx="35884">2</cx:pt>
          <cx:pt idx="35885">4</cx:pt>
          <cx:pt idx="35886">3</cx:pt>
          <cx:pt idx="35887">5</cx:pt>
          <cx:pt idx="35888">2</cx:pt>
          <cx:pt idx="35889">3</cx:pt>
          <cx:pt idx="35890">4</cx:pt>
          <cx:pt idx="35891">5</cx:pt>
          <cx:pt idx="35892">4</cx:pt>
          <cx:pt idx="35893">4</cx:pt>
          <cx:pt idx="35894">4</cx:pt>
          <cx:pt idx="35895">4</cx:pt>
          <cx:pt idx="35896">3</cx:pt>
          <cx:pt idx="35897">5</cx:pt>
          <cx:pt idx="35898">3</cx:pt>
          <cx:pt idx="35899">5</cx:pt>
          <cx:pt idx="35900">5</cx:pt>
          <cx:pt idx="35901">4</cx:pt>
          <cx:pt idx="35902">4</cx:pt>
          <cx:pt idx="35903">1</cx:pt>
          <cx:pt idx="35904">4</cx:pt>
          <cx:pt idx="35905">5</cx:pt>
          <cx:pt idx="35906">1</cx:pt>
          <cx:pt idx="35907">3</cx:pt>
          <cx:pt idx="35908">3</cx:pt>
          <cx:pt idx="35909">5</cx:pt>
          <cx:pt idx="35910">4</cx:pt>
          <cx:pt idx="35911">5</cx:pt>
          <cx:pt idx="35912">2</cx:pt>
          <cx:pt idx="35913">3</cx:pt>
          <cx:pt idx="35914">4</cx:pt>
          <cx:pt idx="35915">5</cx:pt>
          <cx:pt idx="35916">3</cx:pt>
          <cx:pt idx="35917">5</cx:pt>
          <cx:pt idx="35918">4</cx:pt>
          <cx:pt idx="35919">3</cx:pt>
          <cx:pt idx="35920">5</cx:pt>
          <cx:pt idx="35921">4</cx:pt>
          <cx:pt idx="35922">5</cx:pt>
          <cx:pt idx="35923">3</cx:pt>
          <cx:pt idx="35924">2</cx:pt>
          <cx:pt idx="35925">3</cx:pt>
          <cx:pt idx="35926">1</cx:pt>
          <cx:pt idx="35927">4</cx:pt>
          <cx:pt idx="35928">4</cx:pt>
          <cx:pt idx="35929">4</cx:pt>
          <cx:pt idx="35930">5</cx:pt>
          <cx:pt idx="35931">5</cx:pt>
          <cx:pt idx="35932">5</cx:pt>
          <cx:pt idx="35933">3</cx:pt>
          <cx:pt idx="35934">2</cx:pt>
          <cx:pt idx="35935">1</cx:pt>
          <cx:pt idx="35936">5</cx:pt>
          <cx:pt idx="35937">5</cx:pt>
          <cx:pt idx="35938">5</cx:pt>
          <cx:pt idx="35939">4</cx:pt>
          <cx:pt idx="35940">3</cx:pt>
          <cx:pt idx="35941">2</cx:pt>
          <cx:pt idx="35942">2</cx:pt>
          <cx:pt idx="35943">1</cx:pt>
          <cx:pt idx="35944">4</cx:pt>
          <cx:pt idx="35945">5</cx:pt>
          <cx:pt idx="35946">3</cx:pt>
          <cx:pt idx="35947">4</cx:pt>
          <cx:pt idx="35948">4</cx:pt>
          <cx:pt idx="35949">3</cx:pt>
          <cx:pt idx="35950">4</cx:pt>
          <cx:pt idx="35951">4</cx:pt>
          <cx:pt idx="35952">5</cx:pt>
          <cx:pt idx="35953">1</cx:pt>
          <cx:pt idx="35954">4</cx:pt>
          <cx:pt idx="35955">4</cx:pt>
          <cx:pt idx="35956">2</cx:pt>
          <cx:pt idx="35957">4</cx:pt>
          <cx:pt idx="35958">2</cx:pt>
          <cx:pt idx="35959">4</cx:pt>
          <cx:pt idx="35960">5</cx:pt>
          <cx:pt idx="35961">5</cx:pt>
          <cx:pt idx="35962">1</cx:pt>
          <cx:pt idx="35963">3</cx:pt>
          <cx:pt idx="35964">4</cx:pt>
          <cx:pt idx="35965">2</cx:pt>
          <cx:pt idx="35966">2</cx:pt>
          <cx:pt idx="35967">4</cx:pt>
          <cx:pt idx="35968">1</cx:pt>
          <cx:pt idx="35969">5</cx:pt>
          <cx:pt idx="35970">4</cx:pt>
          <cx:pt idx="35971">2</cx:pt>
          <cx:pt idx="35972">5</cx:pt>
          <cx:pt idx="35973">4</cx:pt>
          <cx:pt idx="35974">5</cx:pt>
          <cx:pt idx="35975">3</cx:pt>
          <cx:pt idx="35976">4</cx:pt>
          <cx:pt idx="35977">4</cx:pt>
          <cx:pt idx="35978">4</cx:pt>
          <cx:pt idx="35979">1</cx:pt>
          <cx:pt idx="35980">1</cx:pt>
          <cx:pt idx="35981">4</cx:pt>
          <cx:pt idx="35982">2</cx:pt>
          <cx:pt idx="35983">5</cx:pt>
          <cx:pt idx="35984">2</cx:pt>
          <cx:pt idx="35985">4</cx:pt>
          <cx:pt idx="35986">4</cx:pt>
          <cx:pt idx="35987">1</cx:pt>
          <cx:pt idx="35988">1</cx:pt>
          <cx:pt idx="35989">2</cx:pt>
          <cx:pt idx="35990">5</cx:pt>
          <cx:pt idx="35991">3</cx:pt>
          <cx:pt idx="35992">3</cx:pt>
          <cx:pt idx="35993">1</cx:pt>
          <cx:pt idx="35994">4</cx:pt>
          <cx:pt idx="35995">2</cx:pt>
          <cx:pt idx="35996">5</cx:pt>
          <cx:pt idx="35997">5</cx:pt>
          <cx:pt idx="35998">5</cx:pt>
          <cx:pt idx="35999">2</cx:pt>
          <cx:pt idx="36000">5</cx:pt>
          <cx:pt idx="36001">4</cx:pt>
          <cx:pt idx="36002">2</cx:pt>
          <cx:pt idx="36003">1</cx:pt>
          <cx:pt idx="36004">2</cx:pt>
          <cx:pt idx="36005">5</cx:pt>
          <cx:pt idx="36006">3</cx:pt>
          <cx:pt idx="36007">1</cx:pt>
          <cx:pt idx="36008">4</cx:pt>
          <cx:pt idx="36009">4</cx:pt>
          <cx:pt idx="36010">4</cx:pt>
          <cx:pt idx="36011">3</cx:pt>
          <cx:pt idx="36012">4</cx:pt>
          <cx:pt idx="36013">4</cx:pt>
          <cx:pt idx="36014">3</cx:pt>
          <cx:pt idx="36015">2</cx:pt>
          <cx:pt idx="36016">1</cx:pt>
          <cx:pt idx="36017">2</cx:pt>
          <cx:pt idx="36018">5</cx:pt>
          <cx:pt idx="36019">2</cx:pt>
          <cx:pt idx="36020">4</cx:pt>
          <cx:pt idx="36021">3</cx:pt>
          <cx:pt idx="36022">4</cx:pt>
          <cx:pt idx="36023">2</cx:pt>
          <cx:pt idx="36024">5</cx:pt>
          <cx:pt idx="36025">3</cx:pt>
          <cx:pt idx="36026">4</cx:pt>
          <cx:pt idx="36027">4</cx:pt>
          <cx:pt idx="36028">5</cx:pt>
          <cx:pt idx="36029">4</cx:pt>
          <cx:pt idx="36030">5</cx:pt>
          <cx:pt idx="36031">5</cx:pt>
          <cx:pt idx="36032">1</cx:pt>
          <cx:pt idx="36033">5</cx:pt>
          <cx:pt idx="36034">3</cx:pt>
          <cx:pt idx="36035">5</cx:pt>
          <cx:pt idx="36036">4</cx:pt>
          <cx:pt idx="36037">4</cx:pt>
          <cx:pt idx="36038">2</cx:pt>
          <cx:pt idx="36039">3</cx:pt>
          <cx:pt idx="36040">4</cx:pt>
          <cx:pt idx="36041">4</cx:pt>
          <cx:pt idx="36042">2</cx:pt>
          <cx:pt idx="36043">2</cx:pt>
          <cx:pt idx="36044">3</cx:pt>
          <cx:pt idx="36045">3</cx:pt>
          <cx:pt idx="36046">5</cx:pt>
          <cx:pt idx="36047">5</cx:pt>
          <cx:pt idx="36048">3</cx:pt>
          <cx:pt idx="36049">4</cx:pt>
          <cx:pt idx="36050">2</cx:pt>
          <cx:pt idx="36051">5</cx:pt>
          <cx:pt idx="36052">2</cx:pt>
          <cx:pt idx="36053">3</cx:pt>
          <cx:pt idx="36054">5</cx:pt>
          <cx:pt idx="36055">5</cx:pt>
          <cx:pt idx="36056">3</cx:pt>
          <cx:pt idx="36057">1</cx:pt>
          <cx:pt idx="36058">2</cx:pt>
          <cx:pt idx="36059">4</cx:pt>
          <cx:pt idx="36060">4</cx:pt>
          <cx:pt idx="36061">5</cx:pt>
          <cx:pt idx="36062">3</cx:pt>
          <cx:pt idx="36063">5</cx:pt>
          <cx:pt idx="36064">4</cx:pt>
          <cx:pt idx="36065">4</cx:pt>
          <cx:pt idx="36066">1</cx:pt>
          <cx:pt idx="36067">3</cx:pt>
          <cx:pt idx="36068">4</cx:pt>
          <cx:pt idx="36069">4</cx:pt>
          <cx:pt idx="36070">4</cx:pt>
          <cx:pt idx="36071">2</cx:pt>
          <cx:pt idx="36072">3</cx:pt>
          <cx:pt idx="36073">5</cx:pt>
          <cx:pt idx="36074">4</cx:pt>
          <cx:pt idx="36075">4</cx:pt>
          <cx:pt idx="36076">4</cx:pt>
          <cx:pt idx="36077">5</cx:pt>
          <cx:pt idx="36078">2</cx:pt>
          <cx:pt idx="36079">5</cx:pt>
          <cx:pt idx="36080">4</cx:pt>
          <cx:pt idx="36081">4</cx:pt>
          <cx:pt idx="36082">3</cx:pt>
          <cx:pt idx="36083">4</cx:pt>
          <cx:pt idx="36084">3</cx:pt>
          <cx:pt idx="36085">5</cx:pt>
          <cx:pt idx="36086">1</cx:pt>
          <cx:pt idx="36087">4</cx:pt>
          <cx:pt idx="36088">5</cx:pt>
          <cx:pt idx="36089">5</cx:pt>
          <cx:pt idx="36090">1</cx:pt>
          <cx:pt idx="36091">4</cx:pt>
          <cx:pt idx="36092">5</cx:pt>
          <cx:pt idx="36093">4</cx:pt>
          <cx:pt idx="36094">5</cx:pt>
          <cx:pt idx="36095">1</cx:pt>
          <cx:pt idx="36096">3</cx:pt>
          <cx:pt idx="36097">1</cx:pt>
          <cx:pt idx="36098">3</cx:pt>
          <cx:pt idx="36099">4</cx:pt>
          <cx:pt idx="36100">2</cx:pt>
          <cx:pt idx="36101">3</cx:pt>
          <cx:pt idx="36102">2</cx:pt>
          <cx:pt idx="36103">5</cx:pt>
          <cx:pt idx="36104">3</cx:pt>
          <cx:pt idx="36105">3</cx:pt>
          <cx:pt idx="36106">2</cx:pt>
          <cx:pt idx="36107">5</cx:pt>
          <cx:pt idx="36108">4</cx:pt>
          <cx:pt idx="36109">5</cx:pt>
          <cx:pt idx="36110">1</cx:pt>
          <cx:pt idx="36111">4</cx:pt>
          <cx:pt idx="36112">5</cx:pt>
          <cx:pt idx="36113">5</cx:pt>
          <cx:pt idx="36114">5</cx:pt>
          <cx:pt idx="36115">4</cx:pt>
          <cx:pt idx="36116">4</cx:pt>
          <cx:pt idx="36117">5</cx:pt>
          <cx:pt idx="36118">5</cx:pt>
          <cx:pt idx="36119">5</cx:pt>
          <cx:pt idx="36120">5</cx:pt>
          <cx:pt idx="36121">1</cx:pt>
          <cx:pt idx="36122">4</cx:pt>
          <cx:pt idx="36123">3</cx:pt>
          <cx:pt idx="36124">2</cx:pt>
          <cx:pt idx="36125">2</cx:pt>
          <cx:pt idx="36126">4</cx:pt>
          <cx:pt idx="36127">2</cx:pt>
          <cx:pt idx="36128">3</cx:pt>
          <cx:pt idx="36129">5</cx:pt>
          <cx:pt idx="36130">4</cx:pt>
          <cx:pt idx="36131">3</cx:pt>
          <cx:pt idx="36132">4</cx:pt>
          <cx:pt idx="36133">3</cx:pt>
          <cx:pt idx="36134">2</cx:pt>
          <cx:pt idx="36135">5</cx:pt>
          <cx:pt idx="36136">4</cx:pt>
          <cx:pt idx="36137">1</cx:pt>
          <cx:pt idx="36138">4</cx:pt>
          <cx:pt idx="36139">4</cx:pt>
          <cx:pt idx="36140">3</cx:pt>
          <cx:pt idx="36141">3</cx:pt>
          <cx:pt idx="36142">1</cx:pt>
          <cx:pt idx="36143">5</cx:pt>
          <cx:pt idx="36144">1</cx:pt>
          <cx:pt idx="36145">1</cx:pt>
          <cx:pt idx="36146">4</cx:pt>
          <cx:pt idx="36147">4</cx:pt>
          <cx:pt idx="36148">5</cx:pt>
          <cx:pt idx="36149">5</cx:pt>
          <cx:pt idx="36150">5</cx:pt>
          <cx:pt idx="36151">5</cx:pt>
          <cx:pt idx="36152">5</cx:pt>
          <cx:pt idx="36153">3</cx:pt>
          <cx:pt idx="36154">3</cx:pt>
          <cx:pt idx="36155">2</cx:pt>
          <cx:pt idx="36156">3</cx:pt>
          <cx:pt idx="36157">5</cx:pt>
          <cx:pt idx="36158">4</cx:pt>
          <cx:pt idx="36159">4</cx:pt>
          <cx:pt idx="36160">2</cx:pt>
          <cx:pt idx="36161">5</cx:pt>
          <cx:pt idx="36162">3</cx:pt>
          <cx:pt idx="36163">3</cx:pt>
          <cx:pt idx="36164">1</cx:pt>
          <cx:pt idx="36165">3</cx:pt>
          <cx:pt idx="36166">2</cx:pt>
          <cx:pt idx="36167">4</cx:pt>
          <cx:pt idx="36168">3</cx:pt>
          <cx:pt idx="36169">5</cx:pt>
          <cx:pt idx="36170">4</cx:pt>
          <cx:pt idx="36171">5</cx:pt>
          <cx:pt idx="36172">4</cx:pt>
          <cx:pt idx="36173">3</cx:pt>
          <cx:pt idx="36174">4</cx:pt>
          <cx:pt idx="36175">4</cx:pt>
          <cx:pt idx="36176">3</cx:pt>
          <cx:pt idx="36177">4</cx:pt>
          <cx:pt idx="36178">2</cx:pt>
          <cx:pt idx="36179">2</cx:pt>
          <cx:pt idx="36180">5</cx:pt>
          <cx:pt idx="36181">3</cx:pt>
          <cx:pt idx="36182">4</cx:pt>
          <cx:pt idx="36183">4</cx:pt>
          <cx:pt idx="36184">2</cx:pt>
          <cx:pt idx="36185">5</cx:pt>
          <cx:pt idx="36186">2</cx:pt>
          <cx:pt idx="36187">5</cx:pt>
          <cx:pt idx="36188">3</cx:pt>
          <cx:pt idx="36189">2</cx:pt>
          <cx:pt idx="36190">2</cx:pt>
          <cx:pt idx="36191">2</cx:pt>
          <cx:pt idx="36192">5</cx:pt>
          <cx:pt idx="36193">4</cx:pt>
          <cx:pt idx="36194">2</cx:pt>
          <cx:pt idx="36195">2</cx:pt>
          <cx:pt idx="36196">1</cx:pt>
          <cx:pt idx="36197">2</cx:pt>
          <cx:pt idx="36198">4</cx:pt>
          <cx:pt idx="36199">1</cx:pt>
          <cx:pt idx="36200">5</cx:pt>
          <cx:pt idx="36201">4</cx:pt>
          <cx:pt idx="36202">4</cx:pt>
          <cx:pt idx="36203">5</cx:pt>
          <cx:pt idx="36204">3</cx:pt>
          <cx:pt idx="36205">4</cx:pt>
          <cx:pt idx="36206">3</cx:pt>
          <cx:pt idx="36207">3</cx:pt>
          <cx:pt idx="36208">2</cx:pt>
          <cx:pt idx="36209">3</cx:pt>
          <cx:pt idx="36210">4</cx:pt>
          <cx:pt idx="36211">4</cx:pt>
          <cx:pt idx="36212">2</cx:pt>
          <cx:pt idx="36213">3</cx:pt>
          <cx:pt idx="36214">4</cx:pt>
          <cx:pt idx="36215">1</cx:pt>
          <cx:pt idx="36216">2</cx:pt>
          <cx:pt idx="36217">2</cx:pt>
          <cx:pt idx="36218">5</cx:pt>
          <cx:pt idx="36219">2</cx:pt>
          <cx:pt idx="36220">1</cx:pt>
          <cx:pt idx="36221">5</cx:pt>
          <cx:pt idx="36222">4</cx:pt>
          <cx:pt idx="36223">4</cx:pt>
          <cx:pt idx="36224">1</cx:pt>
          <cx:pt idx="36225">5</cx:pt>
          <cx:pt idx="36226">5</cx:pt>
          <cx:pt idx="36227">3</cx:pt>
          <cx:pt idx="36228">3</cx:pt>
          <cx:pt idx="36229">4</cx:pt>
          <cx:pt idx="36230">5</cx:pt>
          <cx:pt idx="36231">5</cx:pt>
          <cx:pt idx="36232">3</cx:pt>
          <cx:pt idx="36233">2</cx:pt>
          <cx:pt idx="36234">3</cx:pt>
          <cx:pt idx="36235">3</cx:pt>
          <cx:pt idx="36236">4</cx:pt>
          <cx:pt idx="36237">2</cx:pt>
          <cx:pt idx="36238">1</cx:pt>
          <cx:pt idx="36239">5</cx:pt>
          <cx:pt idx="36240">4</cx:pt>
          <cx:pt idx="36241">1</cx:pt>
          <cx:pt idx="36242">4</cx:pt>
          <cx:pt idx="36243">4</cx:pt>
          <cx:pt idx="36244">4</cx:pt>
          <cx:pt idx="36245">1</cx:pt>
          <cx:pt idx="36246">5</cx:pt>
          <cx:pt idx="36247">4</cx:pt>
          <cx:pt idx="36248">1</cx:pt>
          <cx:pt idx="36249">4</cx:pt>
          <cx:pt idx="36250">5</cx:pt>
          <cx:pt idx="36251">4</cx:pt>
          <cx:pt idx="36252">2</cx:pt>
          <cx:pt idx="36253">3</cx:pt>
          <cx:pt idx="36254">4</cx:pt>
          <cx:pt idx="36255">3</cx:pt>
          <cx:pt idx="36256">1</cx:pt>
          <cx:pt idx="36257">4</cx:pt>
          <cx:pt idx="36258">1</cx:pt>
          <cx:pt idx="36259">5</cx:pt>
          <cx:pt idx="36260">2</cx:pt>
          <cx:pt idx="36261">1</cx:pt>
          <cx:pt idx="36262">4</cx:pt>
          <cx:pt idx="36263">1</cx:pt>
          <cx:pt idx="36264">4</cx:pt>
          <cx:pt idx="36265">5</cx:pt>
          <cx:pt idx="36266">4</cx:pt>
          <cx:pt idx="36267">5</cx:pt>
          <cx:pt idx="36268">2</cx:pt>
          <cx:pt idx="36269">2</cx:pt>
          <cx:pt idx="36270">2</cx:pt>
          <cx:pt idx="36271">1</cx:pt>
          <cx:pt idx="36272">3</cx:pt>
          <cx:pt idx="36273">3</cx:pt>
          <cx:pt idx="36274">4</cx:pt>
          <cx:pt idx="36275">2</cx:pt>
          <cx:pt idx="36276">5</cx:pt>
          <cx:pt idx="36277">1</cx:pt>
          <cx:pt idx="36278">5</cx:pt>
          <cx:pt idx="36279">5</cx:pt>
          <cx:pt idx="36280">2</cx:pt>
          <cx:pt idx="36281">3</cx:pt>
          <cx:pt idx="36282">2</cx:pt>
          <cx:pt idx="36283">4</cx:pt>
          <cx:pt idx="36284">4</cx:pt>
          <cx:pt idx="36285">4</cx:pt>
          <cx:pt idx="36286">3</cx:pt>
          <cx:pt idx="36287">4</cx:pt>
          <cx:pt idx="36288">4</cx:pt>
          <cx:pt idx="36289">4</cx:pt>
          <cx:pt idx="36290">4</cx:pt>
          <cx:pt idx="36291">5</cx:pt>
          <cx:pt idx="36292">1</cx:pt>
          <cx:pt idx="36293">5</cx:pt>
          <cx:pt idx="36294">3</cx:pt>
          <cx:pt idx="36295">5</cx:pt>
          <cx:pt idx="36296">1</cx:pt>
          <cx:pt idx="36297">4</cx:pt>
          <cx:pt idx="36298">4</cx:pt>
          <cx:pt idx="36299">5</cx:pt>
          <cx:pt idx="36300">4</cx:pt>
          <cx:pt idx="36301">1</cx:pt>
          <cx:pt idx="36302">4</cx:pt>
          <cx:pt idx="36303">5</cx:pt>
          <cx:pt idx="36304">3</cx:pt>
          <cx:pt idx="36305">5</cx:pt>
          <cx:pt idx="36306">4</cx:pt>
          <cx:pt idx="36307">3</cx:pt>
          <cx:pt idx="36308">4</cx:pt>
          <cx:pt idx="36309">2</cx:pt>
          <cx:pt idx="36310">3</cx:pt>
          <cx:pt idx="36311">1</cx:pt>
          <cx:pt idx="36312">3</cx:pt>
          <cx:pt idx="36313">4</cx:pt>
          <cx:pt idx="36314">2</cx:pt>
          <cx:pt idx="36315">4</cx:pt>
          <cx:pt idx="36316">2</cx:pt>
          <cx:pt idx="36317">5</cx:pt>
          <cx:pt idx="36318">5</cx:pt>
          <cx:pt idx="36319">2</cx:pt>
          <cx:pt idx="36320">4</cx:pt>
          <cx:pt idx="36321">1</cx:pt>
          <cx:pt idx="36322">4</cx:pt>
          <cx:pt idx="36323">4</cx:pt>
          <cx:pt idx="36324">4</cx:pt>
          <cx:pt idx="36325">2</cx:pt>
          <cx:pt idx="36326">5</cx:pt>
          <cx:pt idx="36327">5</cx:pt>
          <cx:pt idx="36328">5</cx:pt>
          <cx:pt idx="36329">4</cx:pt>
          <cx:pt idx="36330">5</cx:pt>
          <cx:pt idx="36331">1</cx:pt>
          <cx:pt idx="36332">2</cx:pt>
          <cx:pt idx="36333">5</cx:pt>
          <cx:pt idx="36334">3</cx:pt>
          <cx:pt idx="36335">5</cx:pt>
          <cx:pt idx="36336">5</cx:pt>
          <cx:pt idx="36337">3</cx:pt>
          <cx:pt idx="36338">2</cx:pt>
          <cx:pt idx="36339">5</cx:pt>
          <cx:pt idx="36340">5</cx:pt>
          <cx:pt idx="36341">2</cx:pt>
          <cx:pt idx="36342">3</cx:pt>
          <cx:pt idx="36343">2</cx:pt>
          <cx:pt idx="36344">3</cx:pt>
          <cx:pt idx="36345">5</cx:pt>
          <cx:pt idx="36346">4</cx:pt>
          <cx:pt idx="36347">4</cx:pt>
          <cx:pt idx="36348">1</cx:pt>
          <cx:pt idx="36349">2</cx:pt>
          <cx:pt idx="36350">4</cx:pt>
          <cx:pt idx="36351">1</cx:pt>
          <cx:pt idx="36352">5</cx:pt>
          <cx:pt idx="36353">3</cx:pt>
          <cx:pt idx="36354">5</cx:pt>
          <cx:pt idx="36355">3</cx:pt>
          <cx:pt idx="36356">5</cx:pt>
          <cx:pt idx="36357">2</cx:pt>
          <cx:pt idx="36358">1</cx:pt>
          <cx:pt idx="36359">5</cx:pt>
          <cx:pt idx="36360">2</cx:pt>
          <cx:pt idx="36361">2</cx:pt>
          <cx:pt idx="36362">2</cx:pt>
          <cx:pt idx="36363">4</cx:pt>
          <cx:pt idx="36364">2</cx:pt>
          <cx:pt idx="36365">4</cx:pt>
          <cx:pt idx="36366">5</cx:pt>
          <cx:pt idx="36367">4</cx:pt>
          <cx:pt idx="36368">1</cx:pt>
          <cx:pt idx="36369">3</cx:pt>
          <cx:pt idx="36370">2</cx:pt>
          <cx:pt idx="36371">5</cx:pt>
          <cx:pt idx="36372">4</cx:pt>
          <cx:pt idx="36373">4</cx:pt>
          <cx:pt idx="36374">1</cx:pt>
          <cx:pt idx="36375">4</cx:pt>
          <cx:pt idx="36376">1</cx:pt>
          <cx:pt idx="36377">1</cx:pt>
          <cx:pt idx="36378">2</cx:pt>
          <cx:pt idx="36379">1</cx:pt>
          <cx:pt idx="36380">2</cx:pt>
          <cx:pt idx="36381">4</cx:pt>
          <cx:pt idx="36382">5</cx:pt>
          <cx:pt idx="36383">3</cx:pt>
          <cx:pt idx="36384">1</cx:pt>
          <cx:pt idx="36385">1</cx:pt>
          <cx:pt idx="36386">3</cx:pt>
          <cx:pt idx="36387">5</cx:pt>
          <cx:pt idx="36388">4</cx:pt>
          <cx:pt idx="36389">4</cx:pt>
          <cx:pt idx="36390">3</cx:pt>
          <cx:pt idx="36391">3</cx:pt>
          <cx:pt idx="36392">2</cx:pt>
          <cx:pt idx="36393">2</cx:pt>
          <cx:pt idx="36394">4</cx:pt>
          <cx:pt idx="36395">4</cx:pt>
          <cx:pt idx="36396">4</cx:pt>
          <cx:pt idx="36397">4</cx:pt>
          <cx:pt idx="36398">2</cx:pt>
          <cx:pt idx="36399">2</cx:pt>
          <cx:pt idx="36400">5</cx:pt>
          <cx:pt idx="36401">5</cx:pt>
          <cx:pt idx="36402">5</cx:pt>
          <cx:pt idx="36403">5</cx:pt>
          <cx:pt idx="36404">4</cx:pt>
          <cx:pt idx="36405">3</cx:pt>
          <cx:pt idx="36406">3</cx:pt>
          <cx:pt idx="36407">5</cx:pt>
          <cx:pt idx="36408">4</cx:pt>
          <cx:pt idx="36409">4</cx:pt>
          <cx:pt idx="36410">5</cx:pt>
          <cx:pt idx="36411">4</cx:pt>
          <cx:pt idx="36412">2</cx:pt>
          <cx:pt idx="36413">4</cx:pt>
          <cx:pt idx="36414">3</cx:pt>
          <cx:pt idx="36415">5</cx:pt>
          <cx:pt idx="36416">1</cx:pt>
          <cx:pt idx="36417">1</cx:pt>
          <cx:pt idx="36418">5</cx:pt>
          <cx:pt idx="36419">2</cx:pt>
          <cx:pt idx="36420">4</cx:pt>
          <cx:pt idx="36421">1</cx:pt>
          <cx:pt idx="36422">4</cx:pt>
          <cx:pt idx="36423">4</cx:pt>
          <cx:pt idx="36424">5</cx:pt>
          <cx:pt idx="36425">4</cx:pt>
          <cx:pt idx="36426">3</cx:pt>
          <cx:pt idx="36427">5</cx:pt>
          <cx:pt idx="36428">2</cx:pt>
          <cx:pt idx="36429">4</cx:pt>
          <cx:pt idx="36430">1</cx:pt>
          <cx:pt idx="36431">3</cx:pt>
          <cx:pt idx="36432">5</cx:pt>
          <cx:pt idx="36433">5</cx:pt>
          <cx:pt idx="36434">2</cx:pt>
          <cx:pt idx="36435">3</cx:pt>
          <cx:pt idx="36436">3</cx:pt>
          <cx:pt idx="36437">3</cx:pt>
          <cx:pt idx="36438">4</cx:pt>
          <cx:pt idx="36439">2</cx:pt>
          <cx:pt idx="36440">5</cx:pt>
          <cx:pt idx="36441">4</cx:pt>
          <cx:pt idx="36442">2</cx:pt>
          <cx:pt idx="36443">4</cx:pt>
          <cx:pt idx="36444">4</cx:pt>
          <cx:pt idx="36445">4</cx:pt>
          <cx:pt idx="36446">5</cx:pt>
          <cx:pt idx="36447">3</cx:pt>
          <cx:pt idx="36448">4</cx:pt>
          <cx:pt idx="36449">1</cx:pt>
          <cx:pt idx="36450">4</cx:pt>
          <cx:pt idx="36451">5</cx:pt>
          <cx:pt idx="36452">4</cx:pt>
          <cx:pt idx="36453">2</cx:pt>
          <cx:pt idx="36454">5</cx:pt>
          <cx:pt idx="36455">1</cx:pt>
          <cx:pt idx="36456">3</cx:pt>
          <cx:pt idx="36457">4</cx:pt>
          <cx:pt idx="36458">3</cx:pt>
          <cx:pt idx="36459">5</cx:pt>
          <cx:pt idx="36460">5</cx:pt>
          <cx:pt idx="36461">5</cx:pt>
          <cx:pt idx="36462">3</cx:pt>
          <cx:pt idx="36463">5</cx:pt>
          <cx:pt idx="36464">5</cx:pt>
          <cx:pt idx="36465">4</cx:pt>
          <cx:pt idx="36466">4</cx:pt>
          <cx:pt idx="36467">2</cx:pt>
          <cx:pt idx="36468">4</cx:pt>
          <cx:pt idx="36469">3</cx:pt>
          <cx:pt idx="36470">5</cx:pt>
          <cx:pt idx="36471">3</cx:pt>
          <cx:pt idx="36472">3</cx:pt>
          <cx:pt idx="36473">2</cx:pt>
          <cx:pt idx="36474">5</cx:pt>
          <cx:pt idx="36475">1</cx:pt>
          <cx:pt idx="36476">4</cx:pt>
          <cx:pt idx="36477">3</cx:pt>
          <cx:pt idx="36478">5</cx:pt>
          <cx:pt idx="36479">4</cx:pt>
          <cx:pt idx="36480">2</cx:pt>
          <cx:pt idx="36481">4</cx:pt>
          <cx:pt idx="36482">1</cx:pt>
          <cx:pt idx="36483">4</cx:pt>
          <cx:pt idx="36484">2</cx:pt>
          <cx:pt idx="36485">5</cx:pt>
          <cx:pt idx="36486">1</cx:pt>
          <cx:pt idx="36487">4</cx:pt>
          <cx:pt idx="36488">3</cx:pt>
          <cx:pt idx="36489">5</cx:pt>
          <cx:pt idx="36490">5</cx:pt>
          <cx:pt idx="36491">4</cx:pt>
          <cx:pt idx="36492">5</cx:pt>
          <cx:pt idx="36493">5</cx:pt>
          <cx:pt idx="36494">3</cx:pt>
          <cx:pt idx="36495">4</cx:pt>
          <cx:pt idx="36496">5</cx:pt>
          <cx:pt idx="36497">3</cx:pt>
          <cx:pt idx="36498">4</cx:pt>
          <cx:pt idx="36499">4</cx:pt>
          <cx:pt idx="36500">3</cx:pt>
          <cx:pt idx="36501">5</cx:pt>
          <cx:pt idx="36502">5</cx:pt>
          <cx:pt idx="36503">2</cx:pt>
          <cx:pt idx="36504">4</cx:pt>
          <cx:pt idx="36505">3</cx:pt>
          <cx:pt idx="36506">4</cx:pt>
          <cx:pt idx="36507">1</cx:pt>
          <cx:pt idx="36508">3</cx:pt>
          <cx:pt idx="36509">4</cx:pt>
          <cx:pt idx="36510">3</cx:pt>
          <cx:pt idx="36511">2</cx:pt>
          <cx:pt idx="36512">3</cx:pt>
          <cx:pt idx="36513">4</cx:pt>
          <cx:pt idx="36514">5</cx:pt>
          <cx:pt idx="36515">5</cx:pt>
          <cx:pt idx="36516">3</cx:pt>
          <cx:pt idx="36517">5</cx:pt>
          <cx:pt idx="36518">2</cx:pt>
          <cx:pt idx="36519">5</cx:pt>
          <cx:pt idx="36520">5</cx:pt>
          <cx:pt idx="36521">3</cx:pt>
          <cx:pt idx="36522">4</cx:pt>
          <cx:pt idx="36523">5</cx:pt>
          <cx:pt idx="36524">5</cx:pt>
          <cx:pt idx="36525">4</cx:pt>
          <cx:pt idx="36526">2</cx:pt>
          <cx:pt idx="36527">5</cx:pt>
          <cx:pt idx="36528">2</cx:pt>
          <cx:pt idx="36529">5</cx:pt>
          <cx:pt idx="36530">3</cx:pt>
          <cx:pt idx="36531">2</cx:pt>
          <cx:pt idx="36532">3</cx:pt>
          <cx:pt idx="36533">1</cx:pt>
          <cx:pt idx="36534">5</cx:pt>
          <cx:pt idx="36535">1</cx:pt>
          <cx:pt idx="36536">4</cx:pt>
          <cx:pt idx="36537">3</cx:pt>
          <cx:pt idx="36538">1</cx:pt>
          <cx:pt idx="36539">2</cx:pt>
          <cx:pt idx="36540">1</cx:pt>
          <cx:pt idx="36541">4</cx:pt>
          <cx:pt idx="36542">3</cx:pt>
          <cx:pt idx="36543">3</cx:pt>
          <cx:pt idx="36544">3</cx:pt>
          <cx:pt idx="36545">4</cx:pt>
          <cx:pt idx="36546">3</cx:pt>
          <cx:pt idx="36547">4</cx:pt>
          <cx:pt idx="36548">4</cx:pt>
          <cx:pt idx="36549">5</cx:pt>
          <cx:pt idx="36550">1</cx:pt>
          <cx:pt idx="36551">4</cx:pt>
          <cx:pt idx="36552">5</cx:pt>
          <cx:pt idx="36553">4</cx:pt>
          <cx:pt idx="36554">5</cx:pt>
          <cx:pt idx="36555">4</cx:pt>
          <cx:pt idx="36556">2</cx:pt>
          <cx:pt idx="36557">2</cx:pt>
          <cx:pt idx="36558">4</cx:pt>
          <cx:pt idx="36559">4</cx:pt>
          <cx:pt idx="36560">2</cx:pt>
          <cx:pt idx="36561">3</cx:pt>
          <cx:pt idx="36562">3</cx:pt>
          <cx:pt idx="36563">5</cx:pt>
          <cx:pt idx="36564">5</cx:pt>
          <cx:pt idx="36565">5</cx:pt>
          <cx:pt idx="36566">5</cx:pt>
          <cx:pt idx="36567">2</cx:pt>
          <cx:pt idx="36568">1</cx:pt>
          <cx:pt idx="36569">4</cx:pt>
          <cx:pt idx="36570">5</cx:pt>
          <cx:pt idx="36571">4</cx:pt>
          <cx:pt idx="36572">4</cx:pt>
          <cx:pt idx="36573">2</cx:pt>
          <cx:pt idx="36574">5</cx:pt>
          <cx:pt idx="36575">5</cx:pt>
          <cx:pt idx="36576">4</cx:pt>
          <cx:pt idx="36577">4</cx:pt>
          <cx:pt idx="36578">1</cx:pt>
          <cx:pt idx="36579">4</cx:pt>
          <cx:pt idx="36580">5</cx:pt>
          <cx:pt idx="36581">1</cx:pt>
          <cx:pt idx="36582">5</cx:pt>
          <cx:pt idx="36583">1</cx:pt>
          <cx:pt idx="36584">5</cx:pt>
          <cx:pt idx="36585">4</cx:pt>
          <cx:pt idx="36586">4</cx:pt>
          <cx:pt idx="36587">2</cx:pt>
          <cx:pt idx="36588">1</cx:pt>
          <cx:pt idx="36589">4</cx:pt>
          <cx:pt idx="36590">4</cx:pt>
          <cx:pt idx="36591">5</cx:pt>
          <cx:pt idx="36592">3</cx:pt>
          <cx:pt idx="36593">1</cx:pt>
          <cx:pt idx="36594">5</cx:pt>
          <cx:pt idx="36595">5</cx:pt>
          <cx:pt idx="36596">5</cx:pt>
          <cx:pt idx="36597">1</cx:pt>
          <cx:pt idx="36598">4</cx:pt>
          <cx:pt idx="36599">3</cx:pt>
          <cx:pt idx="36600">5</cx:pt>
          <cx:pt idx="36601">4</cx:pt>
          <cx:pt idx="36602">3</cx:pt>
          <cx:pt idx="36603">4</cx:pt>
          <cx:pt idx="36604">4</cx:pt>
          <cx:pt idx="36605">1</cx:pt>
          <cx:pt idx="36606">5</cx:pt>
          <cx:pt idx="36607">4</cx:pt>
          <cx:pt idx="36608">3</cx:pt>
          <cx:pt idx="36609">1</cx:pt>
          <cx:pt idx="36610">4</cx:pt>
          <cx:pt idx="36611">5</cx:pt>
          <cx:pt idx="36612">5</cx:pt>
          <cx:pt idx="36613">4</cx:pt>
          <cx:pt idx="36614">5</cx:pt>
          <cx:pt idx="36615">3</cx:pt>
          <cx:pt idx="36616">2</cx:pt>
          <cx:pt idx="36617">5</cx:pt>
          <cx:pt idx="36618">5</cx:pt>
          <cx:pt idx="36619">3</cx:pt>
          <cx:pt idx="36620">4</cx:pt>
          <cx:pt idx="36621">1</cx:pt>
          <cx:pt idx="36622">4</cx:pt>
          <cx:pt idx="36623">1</cx:pt>
          <cx:pt idx="36624">1</cx:pt>
          <cx:pt idx="36625">3</cx:pt>
          <cx:pt idx="36626">2</cx:pt>
          <cx:pt idx="36627">3</cx:pt>
          <cx:pt idx="36628">4</cx:pt>
          <cx:pt idx="36629">5</cx:pt>
          <cx:pt idx="36630">3</cx:pt>
          <cx:pt idx="36631">4</cx:pt>
          <cx:pt idx="36632">4</cx:pt>
          <cx:pt idx="36633">4</cx:pt>
          <cx:pt idx="36634">4</cx:pt>
          <cx:pt idx="36635">4</cx:pt>
          <cx:pt idx="36636">3</cx:pt>
          <cx:pt idx="36637">4</cx:pt>
          <cx:pt idx="36638">1</cx:pt>
          <cx:pt idx="36639">3</cx:pt>
          <cx:pt idx="36640">3</cx:pt>
          <cx:pt idx="36641">1</cx:pt>
          <cx:pt idx="36642">4</cx:pt>
          <cx:pt idx="36643">5</cx:pt>
          <cx:pt idx="36644">2</cx:pt>
          <cx:pt idx="36645">5</cx:pt>
          <cx:pt idx="36646">5</cx:pt>
          <cx:pt idx="36647">4</cx:pt>
          <cx:pt idx="36648">4</cx:pt>
          <cx:pt idx="36649">5</cx:pt>
          <cx:pt idx="36650">3</cx:pt>
          <cx:pt idx="36651">4</cx:pt>
          <cx:pt idx="36652">5</cx:pt>
          <cx:pt idx="36653">5</cx:pt>
          <cx:pt idx="36654">2</cx:pt>
          <cx:pt idx="36655">4</cx:pt>
          <cx:pt idx="36656">1</cx:pt>
          <cx:pt idx="36657">4</cx:pt>
          <cx:pt idx="36658">3</cx:pt>
          <cx:pt idx="36659">2</cx:pt>
          <cx:pt idx="36660">5</cx:pt>
          <cx:pt idx="36661">5</cx:pt>
          <cx:pt idx="36662">4</cx:pt>
          <cx:pt idx="36663">3</cx:pt>
          <cx:pt idx="36664">5</cx:pt>
          <cx:pt idx="36665">4</cx:pt>
          <cx:pt idx="36666">5</cx:pt>
          <cx:pt idx="36667">5</cx:pt>
          <cx:pt idx="36668">5</cx:pt>
          <cx:pt idx="36669">5</cx:pt>
          <cx:pt idx="36670">4</cx:pt>
          <cx:pt idx="36671">2</cx:pt>
          <cx:pt idx="36672">5</cx:pt>
          <cx:pt idx="36673">2</cx:pt>
          <cx:pt idx="36674">5</cx:pt>
          <cx:pt idx="36675">4</cx:pt>
          <cx:pt idx="36676">4</cx:pt>
          <cx:pt idx="36677">4</cx:pt>
          <cx:pt idx="36678">5</cx:pt>
          <cx:pt idx="36679">2</cx:pt>
          <cx:pt idx="36680">4</cx:pt>
          <cx:pt idx="36681">5</cx:pt>
          <cx:pt idx="36682">2</cx:pt>
          <cx:pt idx="36683">5</cx:pt>
          <cx:pt idx="36684">5</cx:pt>
          <cx:pt idx="36685">1</cx:pt>
          <cx:pt idx="36686">3</cx:pt>
          <cx:pt idx="36687">1</cx:pt>
          <cx:pt idx="36688">3</cx:pt>
          <cx:pt idx="36689">2</cx:pt>
          <cx:pt idx="36690">3</cx:pt>
          <cx:pt idx="36691">5</cx:pt>
          <cx:pt idx="36692">4</cx:pt>
          <cx:pt idx="36693">4</cx:pt>
          <cx:pt idx="36694">4</cx:pt>
          <cx:pt idx="36695">5</cx:pt>
          <cx:pt idx="36696">5</cx:pt>
          <cx:pt idx="36697">3</cx:pt>
          <cx:pt idx="36698">5</cx:pt>
          <cx:pt idx="36699">3</cx:pt>
          <cx:pt idx="36700">1</cx:pt>
          <cx:pt idx="36701">2</cx:pt>
          <cx:pt idx="36702">2</cx:pt>
          <cx:pt idx="36703">3</cx:pt>
          <cx:pt idx="36704">2</cx:pt>
          <cx:pt idx="36705">2</cx:pt>
          <cx:pt idx="36706">3</cx:pt>
          <cx:pt idx="36707">4</cx:pt>
          <cx:pt idx="36708">1</cx:pt>
          <cx:pt idx="36709">5</cx:pt>
          <cx:pt idx="36710">3</cx:pt>
          <cx:pt idx="36711">4</cx:pt>
          <cx:pt idx="36712">3</cx:pt>
          <cx:pt idx="36713">5</cx:pt>
          <cx:pt idx="36714">4</cx:pt>
          <cx:pt idx="36715">4</cx:pt>
          <cx:pt idx="36716">4</cx:pt>
          <cx:pt idx="36717">5</cx:pt>
          <cx:pt idx="36718">5</cx:pt>
          <cx:pt idx="36719">4</cx:pt>
          <cx:pt idx="36720">5</cx:pt>
          <cx:pt idx="36721">3</cx:pt>
          <cx:pt idx="36722">4</cx:pt>
          <cx:pt idx="36723">4</cx:pt>
          <cx:pt idx="36724">3</cx:pt>
          <cx:pt idx="36725">5</cx:pt>
          <cx:pt idx="36726">5</cx:pt>
          <cx:pt idx="36727">1</cx:pt>
          <cx:pt idx="36728">4</cx:pt>
          <cx:pt idx="36729">4</cx:pt>
          <cx:pt idx="36730">1</cx:pt>
          <cx:pt idx="36731">4</cx:pt>
          <cx:pt idx="36732">5</cx:pt>
          <cx:pt idx="36733">5</cx:pt>
          <cx:pt idx="36734">2</cx:pt>
          <cx:pt idx="36735">4</cx:pt>
          <cx:pt idx="36736">5</cx:pt>
          <cx:pt idx="36737">2</cx:pt>
          <cx:pt idx="36738">5</cx:pt>
          <cx:pt idx="36739">4</cx:pt>
          <cx:pt idx="36740">5</cx:pt>
          <cx:pt idx="36741">4</cx:pt>
          <cx:pt idx="36742">2</cx:pt>
          <cx:pt idx="36743">3</cx:pt>
          <cx:pt idx="36744">1</cx:pt>
          <cx:pt idx="36745">5</cx:pt>
          <cx:pt idx="36746">3</cx:pt>
          <cx:pt idx="36747">4</cx:pt>
          <cx:pt idx="36748">4</cx:pt>
          <cx:pt idx="36749">2</cx:pt>
          <cx:pt idx="36750">5</cx:pt>
          <cx:pt idx="36751">2</cx:pt>
          <cx:pt idx="36752">5</cx:pt>
          <cx:pt idx="36753">5</cx:pt>
          <cx:pt idx="36754">4</cx:pt>
          <cx:pt idx="36755">2</cx:pt>
          <cx:pt idx="36756">5</cx:pt>
          <cx:pt idx="36757">2</cx:pt>
          <cx:pt idx="36758">4</cx:pt>
          <cx:pt idx="36759">5</cx:pt>
          <cx:pt idx="36760">5</cx:pt>
          <cx:pt idx="36761">5</cx:pt>
          <cx:pt idx="36762">3</cx:pt>
          <cx:pt idx="36763">5</cx:pt>
          <cx:pt idx="36764">5</cx:pt>
          <cx:pt idx="36765">4</cx:pt>
          <cx:pt idx="36766">5</cx:pt>
          <cx:pt idx="36767">4</cx:pt>
          <cx:pt idx="36768">5</cx:pt>
          <cx:pt idx="36769">4</cx:pt>
          <cx:pt idx="36770">4</cx:pt>
          <cx:pt idx="36771">3</cx:pt>
          <cx:pt idx="36772">2</cx:pt>
          <cx:pt idx="36773">4</cx:pt>
          <cx:pt idx="36774">4</cx:pt>
          <cx:pt idx="36775">5</cx:pt>
          <cx:pt idx="36776">5</cx:pt>
          <cx:pt idx="36777">3</cx:pt>
          <cx:pt idx="36778">4</cx:pt>
          <cx:pt idx="36779">1</cx:pt>
          <cx:pt idx="36780">5</cx:pt>
          <cx:pt idx="36781">3</cx:pt>
          <cx:pt idx="36782">5</cx:pt>
          <cx:pt idx="36783">5</cx:pt>
          <cx:pt idx="36784">4</cx:pt>
          <cx:pt idx="36785">5</cx:pt>
          <cx:pt idx="36786">4</cx:pt>
          <cx:pt idx="36787">5</cx:pt>
          <cx:pt idx="36788">3</cx:pt>
          <cx:pt idx="36789">3</cx:pt>
          <cx:pt idx="36790">5</cx:pt>
          <cx:pt idx="36791">4</cx:pt>
          <cx:pt idx="36792">4</cx:pt>
          <cx:pt idx="36793">4</cx:pt>
          <cx:pt idx="36794">5</cx:pt>
          <cx:pt idx="36795">5</cx:pt>
          <cx:pt idx="36796">2</cx:pt>
          <cx:pt idx="36797">2</cx:pt>
          <cx:pt idx="36798">3</cx:pt>
          <cx:pt idx="36799">3</cx:pt>
          <cx:pt idx="36800">3</cx:pt>
          <cx:pt idx="36801">5</cx:pt>
          <cx:pt idx="36802">4</cx:pt>
          <cx:pt idx="36803">4</cx:pt>
          <cx:pt idx="36804">3</cx:pt>
          <cx:pt idx="36805">4</cx:pt>
          <cx:pt idx="36806">5</cx:pt>
          <cx:pt idx="36807">4</cx:pt>
          <cx:pt idx="36808">2</cx:pt>
          <cx:pt idx="36809">2</cx:pt>
          <cx:pt idx="36810">4</cx:pt>
          <cx:pt idx="36811">3</cx:pt>
          <cx:pt idx="36812">4</cx:pt>
          <cx:pt idx="36813">4</cx:pt>
          <cx:pt idx="36814">4</cx:pt>
          <cx:pt idx="36815">4</cx:pt>
          <cx:pt idx="36816">3</cx:pt>
          <cx:pt idx="36817">5</cx:pt>
          <cx:pt idx="36818">4</cx:pt>
          <cx:pt idx="36819">5</cx:pt>
          <cx:pt idx="36820">1</cx:pt>
          <cx:pt idx="36821">3</cx:pt>
          <cx:pt idx="36822">5</cx:pt>
          <cx:pt idx="36823">5</cx:pt>
          <cx:pt idx="36824">4</cx:pt>
          <cx:pt idx="36825">1</cx:pt>
          <cx:pt idx="36826">5</cx:pt>
          <cx:pt idx="36827">5</cx:pt>
          <cx:pt idx="36828">1</cx:pt>
          <cx:pt idx="36829">4</cx:pt>
          <cx:pt idx="36830">4</cx:pt>
          <cx:pt idx="36831">4</cx:pt>
          <cx:pt idx="36832">5</cx:pt>
          <cx:pt idx="36833">4</cx:pt>
          <cx:pt idx="36834">5</cx:pt>
          <cx:pt idx="36835">2</cx:pt>
          <cx:pt idx="36836">5</cx:pt>
          <cx:pt idx="36837">4</cx:pt>
          <cx:pt idx="36838">3</cx:pt>
          <cx:pt idx="36839">5</cx:pt>
          <cx:pt idx="36840">3</cx:pt>
          <cx:pt idx="36841">2</cx:pt>
          <cx:pt idx="36842">4</cx:pt>
          <cx:pt idx="36843">3</cx:pt>
          <cx:pt idx="36844">4</cx:pt>
          <cx:pt idx="36845">2</cx:pt>
          <cx:pt idx="36846">1</cx:pt>
          <cx:pt idx="36847">4</cx:pt>
          <cx:pt idx="36848">2</cx:pt>
          <cx:pt idx="36849">5</cx:pt>
          <cx:pt idx="36850">5</cx:pt>
          <cx:pt idx="36851">2</cx:pt>
          <cx:pt idx="36852">5</cx:pt>
          <cx:pt idx="36853">5</cx:pt>
          <cx:pt idx="36854">1</cx:pt>
          <cx:pt idx="36855">4</cx:pt>
          <cx:pt idx="36856">2</cx:pt>
          <cx:pt idx="36857">3</cx:pt>
          <cx:pt idx="36858">3</cx:pt>
          <cx:pt idx="36859">4</cx:pt>
          <cx:pt idx="36860">4</cx:pt>
          <cx:pt idx="36861">3</cx:pt>
          <cx:pt idx="36862">5</cx:pt>
          <cx:pt idx="36863">3</cx:pt>
          <cx:pt idx="36864">5</cx:pt>
          <cx:pt idx="36865">1</cx:pt>
          <cx:pt idx="36866">4</cx:pt>
          <cx:pt idx="36867">3</cx:pt>
          <cx:pt idx="36868">5</cx:pt>
          <cx:pt idx="36869">4</cx:pt>
          <cx:pt idx="36870">3</cx:pt>
          <cx:pt idx="36871">1</cx:pt>
          <cx:pt idx="36872">3</cx:pt>
          <cx:pt idx="36873">5</cx:pt>
          <cx:pt idx="36874">3</cx:pt>
          <cx:pt idx="36875">3</cx:pt>
          <cx:pt idx="36876">5</cx:pt>
          <cx:pt idx="36877">5</cx:pt>
          <cx:pt idx="36878">1</cx:pt>
          <cx:pt idx="36879">1</cx:pt>
          <cx:pt idx="36880">3</cx:pt>
          <cx:pt idx="36881">3</cx:pt>
          <cx:pt idx="36882">3</cx:pt>
          <cx:pt idx="36883">5</cx:pt>
          <cx:pt idx="36884">5</cx:pt>
          <cx:pt idx="36885">3</cx:pt>
          <cx:pt idx="36886">5</cx:pt>
          <cx:pt idx="36887">4</cx:pt>
          <cx:pt idx="36888">1</cx:pt>
          <cx:pt idx="36889">4</cx:pt>
          <cx:pt idx="36890">2</cx:pt>
          <cx:pt idx="36891">4</cx:pt>
          <cx:pt idx="36892">4</cx:pt>
          <cx:pt idx="36893">1</cx:pt>
          <cx:pt idx="36894">4</cx:pt>
          <cx:pt idx="36895">4</cx:pt>
          <cx:pt idx="36896">5</cx:pt>
          <cx:pt idx="36897">5</cx:pt>
          <cx:pt idx="36898">5</cx:pt>
          <cx:pt idx="36899">3</cx:pt>
          <cx:pt idx="36900">4</cx:pt>
          <cx:pt idx="36901">2</cx:pt>
          <cx:pt idx="36902">3</cx:pt>
          <cx:pt idx="36903">1</cx:pt>
          <cx:pt idx="36904">5</cx:pt>
          <cx:pt idx="36905">1</cx:pt>
          <cx:pt idx="36906">4</cx:pt>
          <cx:pt idx="36907">5</cx:pt>
          <cx:pt idx="36908">3</cx:pt>
          <cx:pt idx="36909">3</cx:pt>
          <cx:pt idx="36910">5</cx:pt>
          <cx:pt idx="36911">4</cx:pt>
          <cx:pt idx="36912">4</cx:pt>
          <cx:pt idx="36913">4</cx:pt>
          <cx:pt idx="36914">4</cx:pt>
          <cx:pt idx="36915">1</cx:pt>
          <cx:pt idx="36916">2</cx:pt>
          <cx:pt idx="36917">4</cx:pt>
          <cx:pt idx="36918">2</cx:pt>
          <cx:pt idx="36919">4</cx:pt>
          <cx:pt idx="36920">4</cx:pt>
          <cx:pt idx="36921">4</cx:pt>
          <cx:pt idx="36922">4</cx:pt>
          <cx:pt idx="36923">4</cx:pt>
          <cx:pt idx="36924">3</cx:pt>
          <cx:pt idx="36925">1</cx:pt>
          <cx:pt idx="36926">5</cx:pt>
          <cx:pt idx="36927">4</cx:pt>
          <cx:pt idx="36928">1</cx:pt>
          <cx:pt idx="36929">5</cx:pt>
          <cx:pt idx="36930">4</cx:pt>
          <cx:pt idx="36931">5</cx:pt>
          <cx:pt idx="36932">4</cx:pt>
          <cx:pt idx="36933">4</cx:pt>
          <cx:pt idx="36934">5</cx:pt>
          <cx:pt idx="36935">4</cx:pt>
          <cx:pt idx="36936">4</cx:pt>
          <cx:pt idx="36937">3</cx:pt>
          <cx:pt idx="36938">2</cx:pt>
          <cx:pt idx="36939">3</cx:pt>
          <cx:pt idx="36940">5</cx:pt>
          <cx:pt idx="36941">4</cx:pt>
          <cx:pt idx="36942">4</cx:pt>
          <cx:pt idx="36943">3</cx:pt>
          <cx:pt idx="36944">3</cx:pt>
          <cx:pt idx="36945">1</cx:pt>
          <cx:pt idx="36946">5</cx:pt>
          <cx:pt idx="36947">4</cx:pt>
          <cx:pt idx="36948">5</cx:pt>
          <cx:pt idx="36949">4</cx:pt>
          <cx:pt idx="36950">3</cx:pt>
          <cx:pt idx="36951">3</cx:pt>
          <cx:pt idx="36952">4</cx:pt>
          <cx:pt idx="36953">3</cx:pt>
          <cx:pt idx="36954">2</cx:pt>
          <cx:pt idx="36955">4</cx:pt>
          <cx:pt idx="36956">1</cx:pt>
          <cx:pt idx="36957">4</cx:pt>
          <cx:pt idx="36958">4</cx:pt>
          <cx:pt idx="36959">4</cx:pt>
          <cx:pt idx="36960">5</cx:pt>
          <cx:pt idx="36961">4</cx:pt>
          <cx:pt idx="36962">4</cx:pt>
          <cx:pt idx="36963">3</cx:pt>
          <cx:pt idx="36964">4</cx:pt>
          <cx:pt idx="36965">5</cx:pt>
          <cx:pt idx="36966">2</cx:pt>
          <cx:pt idx="36967">3</cx:pt>
          <cx:pt idx="36968">1</cx:pt>
          <cx:pt idx="36969">4</cx:pt>
          <cx:pt idx="36970">3</cx:pt>
          <cx:pt idx="36971">5</cx:pt>
          <cx:pt idx="36972">4</cx:pt>
          <cx:pt idx="36973">3</cx:pt>
          <cx:pt idx="36974">5</cx:pt>
          <cx:pt idx="36975">1</cx:pt>
          <cx:pt idx="36976">4</cx:pt>
          <cx:pt idx="36977">5</cx:pt>
          <cx:pt idx="36978">2</cx:pt>
          <cx:pt idx="36979">3</cx:pt>
          <cx:pt idx="36980">4</cx:pt>
          <cx:pt idx="36981">5</cx:pt>
          <cx:pt idx="36982">4</cx:pt>
          <cx:pt idx="36983">4</cx:pt>
          <cx:pt idx="36984">4</cx:pt>
          <cx:pt idx="36985">5</cx:pt>
          <cx:pt idx="36986">3</cx:pt>
          <cx:pt idx="36987">5</cx:pt>
          <cx:pt idx="36988">2</cx:pt>
          <cx:pt idx="36989">3</cx:pt>
          <cx:pt idx="36990">2</cx:pt>
          <cx:pt idx="36991">1</cx:pt>
          <cx:pt idx="36992">4</cx:pt>
          <cx:pt idx="36993">4</cx:pt>
          <cx:pt idx="36994">5</cx:pt>
          <cx:pt idx="36995">4</cx:pt>
          <cx:pt idx="36996">4</cx:pt>
          <cx:pt idx="36997">1</cx:pt>
          <cx:pt idx="36998">3</cx:pt>
          <cx:pt idx="36999">5</cx:pt>
          <cx:pt idx="37000">3</cx:pt>
          <cx:pt idx="37001">4</cx:pt>
          <cx:pt idx="37002">3</cx:pt>
          <cx:pt idx="37003">2</cx:pt>
          <cx:pt idx="37004">3</cx:pt>
          <cx:pt idx="37005">4</cx:pt>
          <cx:pt idx="37006">3</cx:pt>
          <cx:pt idx="37007">4</cx:pt>
          <cx:pt idx="37008">4</cx:pt>
          <cx:pt idx="37009">3</cx:pt>
          <cx:pt idx="37010">2</cx:pt>
          <cx:pt idx="37011">1</cx:pt>
          <cx:pt idx="37012">1</cx:pt>
          <cx:pt idx="37013">1</cx:pt>
          <cx:pt idx="37014">2</cx:pt>
          <cx:pt idx="37015">5</cx:pt>
          <cx:pt idx="37016">5</cx:pt>
          <cx:pt idx="37017">4</cx:pt>
          <cx:pt idx="37018">3</cx:pt>
          <cx:pt idx="37019">2</cx:pt>
          <cx:pt idx="37020">5</cx:pt>
          <cx:pt idx="37021">5</cx:pt>
          <cx:pt idx="37022">4</cx:pt>
          <cx:pt idx="37023">5</cx:pt>
          <cx:pt idx="37024">2</cx:pt>
          <cx:pt idx="37025">5</cx:pt>
          <cx:pt idx="37026">2</cx:pt>
          <cx:pt idx="37027">2</cx:pt>
          <cx:pt idx="37028">4</cx:pt>
          <cx:pt idx="37029">4</cx:pt>
          <cx:pt idx="37030">4</cx:pt>
          <cx:pt idx="37031">5</cx:pt>
          <cx:pt idx="37032">4</cx:pt>
          <cx:pt idx="37033">2</cx:pt>
          <cx:pt idx="37034">4</cx:pt>
          <cx:pt idx="37035">2</cx:pt>
          <cx:pt idx="37036">2</cx:pt>
          <cx:pt idx="37037">5</cx:pt>
          <cx:pt idx="37038">1</cx:pt>
          <cx:pt idx="37039">2</cx:pt>
          <cx:pt idx="37040">5</cx:pt>
          <cx:pt idx="37041">4</cx:pt>
          <cx:pt idx="37042">3</cx:pt>
          <cx:pt idx="37043">2</cx:pt>
          <cx:pt idx="37044">5</cx:pt>
          <cx:pt idx="37045">1</cx:pt>
          <cx:pt idx="37046">3</cx:pt>
          <cx:pt idx="37047">3</cx:pt>
          <cx:pt idx="37048">1</cx:pt>
          <cx:pt idx="37049">5</cx:pt>
          <cx:pt idx="37050">2</cx:pt>
          <cx:pt idx="37051">5</cx:pt>
          <cx:pt idx="37052">4</cx:pt>
          <cx:pt idx="37053">4</cx:pt>
          <cx:pt idx="37054">4</cx:pt>
          <cx:pt idx="37055">4</cx:pt>
          <cx:pt idx="37056">3</cx:pt>
          <cx:pt idx="37057">3</cx:pt>
          <cx:pt idx="37058">5</cx:pt>
          <cx:pt idx="37059">4</cx:pt>
          <cx:pt idx="37060">4</cx:pt>
          <cx:pt idx="37061">3</cx:pt>
          <cx:pt idx="37062">5</cx:pt>
          <cx:pt idx="37063">4</cx:pt>
          <cx:pt idx="37064">1</cx:pt>
          <cx:pt idx="37065">4</cx:pt>
          <cx:pt idx="37066">3</cx:pt>
          <cx:pt idx="37067">5</cx:pt>
          <cx:pt idx="37068">5</cx:pt>
          <cx:pt idx="37069">2</cx:pt>
          <cx:pt idx="37070">4</cx:pt>
          <cx:pt idx="37071">5</cx:pt>
          <cx:pt idx="37072">2</cx:pt>
          <cx:pt idx="37073">5</cx:pt>
          <cx:pt idx="37074">5</cx:pt>
          <cx:pt idx="37075">4</cx:pt>
          <cx:pt idx="37076">4</cx:pt>
          <cx:pt idx="37077">4</cx:pt>
          <cx:pt idx="37078">5</cx:pt>
          <cx:pt idx="37079">5</cx:pt>
          <cx:pt idx="37080">3</cx:pt>
          <cx:pt idx="37081">4</cx:pt>
          <cx:pt idx="37082">4</cx:pt>
          <cx:pt idx="37083">4</cx:pt>
          <cx:pt idx="37084">3</cx:pt>
          <cx:pt idx="37085">2</cx:pt>
          <cx:pt idx="37086">2</cx:pt>
          <cx:pt idx="37087">4</cx:pt>
          <cx:pt idx="37088">4</cx:pt>
          <cx:pt idx="37089">4</cx:pt>
          <cx:pt idx="37090">3</cx:pt>
          <cx:pt idx="37091">4</cx:pt>
          <cx:pt idx="37092">5</cx:pt>
          <cx:pt idx="37093">4</cx:pt>
          <cx:pt idx="37094">1</cx:pt>
          <cx:pt idx="37095">2</cx:pt>
          <cx:pt idx="37096">5</cx:pt>
          <cx:pt idx="37097">2</cx:pt>
          <cx:pt idx="37098">1</cx:pt>
          <cx:pt idx="37099">4</cx:pt>
          <cx:pt idx="37100">5</cx:pt>
          <cx:pt idx="37101">3</cx:pt>
          <cx:pt idx="37102">1</cx:pt>
          <cx:pt idx="37103">1</cx:pt>
          <cx:pt idx="37104">2</cx:pt>
          <cx:pt idx="37105">2</cx:pt>
          <cx:pt idx="37106">3</cx:pt>
          <cx:pt idx="37107">3</cx:pt>
          <cx:pt idx="37108">5</cx:pt>
          <cx:pt idx="37109">3</cx:pt>
          <cx:pt idx="37110">5</cx:pt>
          <cx:pt idx="37111">3</cx:pt>
          <cx:pt idx="37112">4</cx:pt>
          <cx:pt idx="37113">5</cx:pt>
          <cx:pt idx="37114">4</cx:pt>
          <cx:pt idx="37115">2</cx:pt>
          <cx:pt idx="37116">2</cx:pt>
          <cx:pt idx="37117">5</cx:pt>
          <cx:pt idx="37118">5</cx:pt>
          <cx:pt idx="37119">1</cx:pt>
          <cx:pt idx="37120">1</cx:pt>
          <cx:pt idx="37121">2</cx:pt>
          <cx:pt idx="37122">5</cx:pt>
          <cx:pt idx="37123">5</cx:pt>
          <cx:pt idx="37124">3</cx:pt>
          <cx:pt idx="37125">5</cx:pt>
          <cx:pt idx="37126">2</cx:pt>
          <cx:pt idx="37127">1</cx:pt>
          <cx:pt idx="37128">5</cx:pt>
          <cx:pt idx="37129">4</cx:pt>
          <cx:pt idx="37130">2</cx:pt>
          <cx:pt idx="37131">3</cx:pt>
          <cx:pt idx="37132">2</cx:pt>
          <cx:pt idx="37133">1</cx:pt>
          <cx:pt idx="37134">5</cx:pt>
          <cx:pt idx="37135">1</cx:pt>
          <cx:pt idx="37136">4</cx:pt>
          <cx:pt idx="37137">1</cx:pt>
          <cx:pt idx="37138">4</cx:pt>
          <cx:pt idx="37139">5</cx:pt>
          <cx:pt idx="37140">5</cx:pt>
          <cx:pt idx="37141">5</cx:pt>
          <cx:pt idx="37142">5</cx:pt>
          <cx:pt idx="37143">2</cx:pt>
          <cx:pt idx="37144">5</cx:pt>
          <cx:pt idx="37145">2</cx:pt>
          <cx:pt idx="37146">1</cx:pt>
          <cx:pt idx="37147">5</cx:pt>
          <cx:pt idx="37148">4</cx:pt>
          <cx:pt idx="37149">2</cx:pt>
          <cx:pt idx="37150">4</cx:pt>
          <cx:pt idx="37151">5</cx:pt>
          <cx:pt idx="37152">1</cx:pt>
          <cx:pt idx="37153">5</cx:pt>
          <cx:pt idx="37154">5</cx:pt>
          <cx:pt idx="37155">2</cx:pt>
          <cx:pt idx="37156">4</cx:pt>
          <cx:pt idx="37157">4</cx:pt>
          <cx:pt idx="37158">3</cx:pt>
          <cx:pt idx="37159">4</cx:pt>
          <cx:pt idx="37160">4</cx:pt>
          <cx:pt idx="37161">3</cx:pt>
          <cx:pt idx="37162">2</cx:pt>
          <cx:pt idx="37163">4</cx:pt>
          <cx:pt idx="37164">5</cx:pt>
          <cx:pt idx="37165">1</cx:pt>
          <cx:pt idx="37166">5</cx:pt>
          <cx:pt idx="37167">4</cx:pt>
          <cx:pt idx="37168">4</cx:pt>
          <cx:pt idx="37169">3</cx:pt>
          <cx:pt idx="37170">3</cx:pt>
          <cx:pt idx="37171">2</cx:pt>
          <cx:pt idx="37172">3</cx:pt>
          <cx:pt idx="37173">1</cx:pt>
          <cx:pt idx="37174">4</cx:pt>
          <cx:pt idx="37175">4</cx:pt>
          <cx:pt idx="37176">3</cx:pt>
          <cx:pt idx="37177">3</cx:pt>
          <cx:pt idx="37178">2</cx:pt>
          <cx:pt idx="37179">5</cx:pt>
          <cx:pt idx="37180">4</cx:pt>
          <cx:pt idx="37181">5</cx:pt>
          <cx:pt idx="37182">4</cx:pt>
          <cx:pt idx="37183">3</cx:pt>
          <cx:pt idx="37184">4</cx:pt>
          <cx:pt idx="37185">3</cx:pt>
          <cx:pt idx="37186">5</cx:pt>
          <cx:pt idx="37187">5</cx:pt>
          <cx:pt idx="37188">3</cx:pt>
          <cx:pt idx="37189">4</cx:pt>
          <cx:pt idx="37190">2</cx:pt>
          <cx:pt idx="37191">2</cx:pt>
          <cx:pt idx="37192">4</cx:pt>
          <cx:pt idx="37193">4</cx:pt>
          <cx:pt idx="37194">5</cx:pt>
          <cx:pt idx="37195">2</cx:pt>
          <cx:pt idx="37196">3</cx:pt>
          <cx:pt idx="37197">4</cx:pt>
          <cx:pt idx="37198">3</cx:pt>
          <cx:pt idx="37199">4</cx:pt>
          <cx:pt idx="37200">4</cx:pt>
          <cx:pt idx="37201">2</cx:pt>
          <cx:pt idx="37202">1</cx:pt>
          <cx:pt idx="37203">4</cx:pt>
          <cx:pt idx="37204">5</cx:pt>
          <cx:pt idx="37205">5</cx:pt>
          <cx:pt idx="37206">5</cx:pt>
          <cx:pt idx="37207">3</cx:pt>
          <cx:pt idx="37208">5</cx:pt>
          <cx:pt idx="37209">3</cx:pt>
          <cx:pt idx="37210">5</cx:pt>
          <cx:pt idx="37211">3</cx:pt>
          <cx:pt idx="37212">2</cx:pt>
          <cx:pt idx="37213">5</cx:pt>
          <cx:pt idx="37214">4</cx:pt>
          <cx:pt idx="37215">5</cx:pt>
          <cx:pt idx="37216">5</cx:pt>
          <cx:pt idx="37217">2</cx:pt>
          <cx:pt idx="37218">4</cx:pt>
          <cx:pt idx="37219">4</cx:pt>
          <cx:pt idx="37220">4</cx:pt>
          <cx:pt idx="37221">5</cx:pt>
          <cx:pt idx="37222">3</cx:pt>
          <cx:pt idx="37223">5</cx:pt>
          <cx:pt idx="37224">2</cx:pt>
          <cx:pt idx="37225">5</cx:pt>
          <cx:pt idx="37226">5</cx:pt>
          <cx:pt idx="37227">4</cx:pt>
          <cx:pt idx="37228">4</cx:pt>
          <cx:pt idx="37229">4</cx:pt>
          <cx:pt idx="37230">4</cx:pt>
          <cx:pt idx="37231">2</cx:pt>
          <cx:pt idx="37232">4</cx:pt>
          <cx:pt idx="37233">5</cx:pt>
          <cx:pt idx="37234">4</cx:pt>
          <cx:pt idx="37235">2</cx:pt>
          <cx:pt idx="37236">1</cx:pt>
          <cx:pt idx="37237">5</cx:pt>
          <cx:pt idx="37238">5</cx:pt>
          <cx:pt idx="37239">2</cx:pt>
          <cx:pt idx="37240">2</cx:pt>
          <cx:pt idx="37241">4</cx:pt>
          <cx:pt idx="37242">5</cx:pt>
          <cx:pt idx="37243">5</cx:pt>
          <cx:pt idx="37244">3</cx:pt>
          <cx:pt idx="37245">5</cx:pt>
          <cx:pt idx="37246">1</cx:pt>
          <cx:pt idx="37247">1</cx:pt>
          <cx:pt idx="37248">4</cx:pt>
          <cx:pt idx="37249">5</cx:pt>
          <cx:pt idx="37250">2</cx:pt>
          <cx:pt idx="37251">5</cx:pt>
          <cx:pt idx="37252">1</cx:pt>
          <cx:pt idx="37253">4</cx:pt>
          <cx:pt idx="37254">3</cx:pt>
          <cx:pt idx="37255">5</cx:pt>
          <cx:pt idx="37256">4</cx:pt>
          <cx:pt idx="37257">4</cx:pt>
          <cx:pt idx="37258">3</cx:pt>
          <cx:pt idx="37259">4</cx:pt>
          <cx:pt idx="37260">3</cx:pt>
          <cx:pt idx="37261">1</cx:pt>
          <cx:pt idx="37262">4</cx:pt>
          <cx:pt idx="37263">4</cx:pt>
          <cx:pt idx="37264">4</cx:pt>
          <cx:pt idx="37265">3</cx:pt>
          <cx:pt idx="37266">4</cx:pt>
          <cx:pt idx="37267">1</cx:pt>
          <cx:pt idx="37268">4</cx:pt>
          <cx:pt idx="37269">4</cx:pt>
          <cx:pt idx="37270">4</cx:pt>
          <cx:pt idx="37271">4</cx:pt>
          <cx:pt idx="37272">5</cx:pt>
          <cx:pt idx="37273">4</cx:pt>
          <cx:pt idx="37274">4</cx:pt>
          <cx:pt idx="37275">5</cx:pt>
          <cx:pt idx="37276">4</cx:pt>
          <cx:pt idx="37277">5</cx:pt>
          <cx:pt idx="37278">5</cx:pt>
          <cx:pt idx="37279">4</cx:pt>
          <cx:pt idx="37280">4</cx:pt>
          <cx:pt idx="37281">5</cx:pt>
          <cx:pt idx="37282">2</cx:pt>
          <cx:pt idx="37283">3</cx:pt>
          <cx:pt idx="37284">2</cx:pt>
          <cx:pt idx="37285">2</cx:pt>
          <cx:pt idx="37286">2</cx:pt>
          <cx:pt idx="37287">4</cx:pt>
          <cx:pt idx="37288">1</cx:pt>
          <cx:pt idx="37289">4</cx:pt>
          <cx:pt idx="37290">1</cx:pt>
          <cx:pt idx="37291">2</cx:pt>
          <cx:pt idx="37292">3</cx:pt>
          <cx:pt idx="37293">3</cx:pt>
          <cx:pt idx="37294">5</cx:pt>
          <cx:pt idx="37295">3</cx:pt>
          <cx:pt idx="37296">5</cx:pt>
          <cx:pt idx="37297">5</cx:pt>
          <cx:pt idx="37298">4</cx:pt>
          <cx:pt idx="37299">1</cx:pt>
          <cx:pt idx="37300">5</cx:pt>
          <cx:pt idx="37301">5</cx:pt>
          <cx:pt idx="37302">2</cx:pt>
          <cx:pt idx="37303">2</cx:pt>
          <cx:pt idx="37304">1</cx:pt>
          <cx:pt idx="37305">3</cx:pt>
          <cx:pt idx="37306">2</cx:pt>
          <cx:pt idx="37307">2</cx:pt>
          <cx:pt idx="37308">4</cx:pt>
          <cx:pt idx="37309">4</cx:pt>
          <cx:pt idx="37310">4</cx:pt>
          <cx:pt idx="37311">5</cx:pt>
          <cx:pt idx="37312">5</cx:pt>
          <cx:pt idx="37313">3</cx:pt>
          <cx:pt idx="37314">5</cx:pt>
          <cx:pt idx="37315">4</cx:pt>
          <cx:pt idx="37316">5</cx:pt>
          <cx:pt idx="37317">2</cx:pt>
          <cx:pt idx="37318">3</cx:pt>
          <cx:pt idx="37319">3</cx:pt>
          <cx:pt idx="37320">4</cx:pt>
          <cx:pt idx="37321">1</cx:pt>
          <cx:pt idx="37322">1</cx:pt>
          <cx:pt idx="37323">4</cx:pt>
          <cx:pt idx="37324">4</cx:pt>
          <cx:pt idx="37325">4</cx:pt>
          <cx:pt idx="37326">1</cx:pt>
          <cx:pt idx="37327">4</cx:pt>
          <cx:pt idx="37328">4</cx:pt>
          <cx:pt idx="37329">1</cx:pt>
          <cx:pt idx="37330">3</cx:pt>
          <cx:pt idx="37331">2</cx:pt>
          <cx:pt idx="37332">5</cx:pt>
          <cx:pt idx="37333">4</cx:pt>
          <cx:pt idx="37334">5</cx:pt>
          <cx:pt idx="37335">2</cx:pt>
          <cx:pt idx="37336">4</cx:pt>
          <cx:pt idx="37337">2</cx:pt>
          <cx:pt idx="37338">4</cx:pt>
          <cx:pt idx="37339">5</cx:pt>
          <cx:pt idx="37340">5</cx:pt>
          <cx:pt idx="37341">4</cx:pt>
          <cx:pt idx="37342">4</cx:pt>
          <cx:pt idx="37343">2</cx:pt>
          <cx:pt idx="37344">4</cx:pt>
          <cx:pt idx="37345">5</cx:pt>
          <cx:pt idx="37346">5</cx:pt>
          <cx:pt idx="37347">5</cx:pt>
          <cx:pt idx="37348">4</cx:pt>
          <cx:pt idx="37349">3</cx:pt>
          <cx:pt idx="37350">2</cx:pt>
          <cx:pt idx="37351">4</cx:pt>
          <cx:pt idx="37352">5</cx:pt>
          <cx:pt idx="37353">5</cx:pt>
          <cx:pt idx="37354">2</cx:pt>
          <cx:pt idx="37355">1</cx:pt>
          <cx:pt idx="37356">4</cx:pt>
          <cx:pt idx="37357">5</cx:pt>
          <cx:pt idx="37358">5</cx:pt>
          <cx:pt idx="37359">1</cx:pt>
          <cx:pt idx="37360">5</cx:pt>
          <cx:pt idx="37361">1</cx:pt>
          <cx:pt idx="37362">5</cx:pt>
          <cx:pt idx="37363">4</cx:pt>
          <cx:pt idx="37364">4</cx:pt>
          <cx:pt idx="37365">4</cx:pt>
          <cx:pt idx="37366">2</cx:pt>
          <cx:pt idx="37367">4</cx:pt>
          <cx:pt idx="37368">4</cx:pt>
          <cx:pt idx="37369">2</cx:pt>
          <cx:pt idx="37370">4</cx:pt>
          <cx:pt idx="37371">4</cx:pt>
          <cx:pt idx="37372">4</cx:pt>
          <cx:pt idx="37373">4</cx:pt>
          <cx:pt idx="37374">4</cx:pt>
          <cx:pt idx="37375">5</cx:pt>
          <cx:pt idx="37376">5</cx:pt>
          <cx:pt idx="37377">3</cx:pt>
          <cx:pt idx="37378">5</cx:pt>
          <cx:pt idx="37379">5</cx:pt>
          <cx:pt idx="37380">5</cx:pt>
          <cx:pt idx="37381">3</cx:pt>
          <cx:pt idx="37382">4</cx:pt>
          <cx:pt idx="37383">3</cx:pt>
          <cx:pt idx="37384">3</cx:pt>
          <cx:pt idx="37385">4</cx:pt>
          <cx:pt idx="37386">5</cx:pt>
          <cx:pt idx="37387">4</cx:pt>
          <cx:pt idx="37388">5</cx:pt>
          <cx:pt idx="37389">5</cx:pt>
          <cx:pt idx="37390">4</cx:pt>
          <cx:pt idx="37391">4</cx:pt>
          <cx:pt idx="37392">3</cx:pt>
          <cx:pt idx="37393">3</cx:pt>
          <cx:pt idx="37394">5</cx:pt>
          <cx:pt idx="37395">4</cx:pt>
          <cx:pt idx="37396">2</cx:pt>
          <cx:pt idx="37397">5</cx:pt>
          <cx:pt idx="37398">4</cx:pt>
          <cx:pt idx="37399">4</cx:pt>
          <cx:pt idx="37400">3</cx:pt>
          <cx:pt idx="37401">3</cx:pt>
          <cx:pt idx="37402">2</cx:pt>
          <cx:pt idx="37403">2</cx:pt>
          <cx:pt idx="37404">3</cx:pt>
          <cx:pt idx="37405">2</cx:pt>
          <cx:pt idx="37406">4</cx:pt>
          <cx:pt idx="37407">4</cx:pt>
          <cx:pt idx="37408">1</cx:pt>
          <cx:pt idx="37409">5</cx:pt>
          <cx:pt idx="37410">3</cx:pt>
          <cx:pt idx="37411">4</cx:pt>
          <cx:pt idx="37412">3</cx:pt>
          <cx:pt idx="37413">5</cx:pt>
          <cx:pt idx="37414">5</cx:pt>
          <cx:pt idx="37415">4</cx:pt>
          <cx:pt idx="37416">4</cx:pt>
          <cx:pt idx="37417">2</cx:pt>
          <cx:pt idx="37418">2</cx:pt>
          <cx:pt idx="37419">2</cx:pt>
          <cx:pt idx="37420">1</cx:pt>
          <cx:pt idx="37421">5</cx:pt>
          <cx:pt idx="37422">4</cx:pt>
          <cx:pt idx="37423">4</cx:pt>
          <cx:pt idx="37424">5</cx:pt>
          <cx:pt idx="37425">5</cx:pt>
          <cx:pt idx="37426">2</cx:pt>
          <cx:pt idx="37427">4</cx:pt>
          <cx:pt idx="37428">4</cx:pt>
          <cx:pt idx="37429">3</cx:pt>
          <cx:pt idx="37430">1</cx:pt>
          <cx:pt idx="37431">1</cx:pt>
          <cx:pt idx="37432">5</cx:pt>
          <cx:pt idx="37433">4</cx:pt>
          <cx:pt idx="37434">4</cx:pt>
          <cx:pt idx="37435">4</cx:pt>
          <cx:pt idx="37436">3</cx:pt>
          <cx:pt idx="37437">5</cx:pt>
          <cx:pt idx="37438">5</cx:pt>
          <cx:pt idx="37439">5</cx:pt>
          <cx:pt idx="37440">5</cx:pt>
          <cx:pt idx="37441">4</cx:pt>
          <cx:pt idx="37442">4</cx:pt>
          <cx:pt idx="37443">3</cx:pt>
          <cx:pt idx="37444">2</cx:pt>
          <cx:pt idx="37445">3</cx:pt>
          <cx:pt idx="37446">2</cx:pt>
          <cx:pt idx="37447">5</cx:pt>
          <cx:pt idx="37448">3</cx:pt>
          <cx:pt idx="37449">3</cx:pt>
          <cx:pt idx="37450">3</cx:pt>
          <cx:pt idx="37451">5</cx:pt>
          <cx:pt idx="37452">1</cx:pt>
          <cx:pt idx="37453">4</cx:pt>
          <cx:pt idx="37454">2</cx:pt>
          <cx:pt idx="37455">5</cx:pt>
          <cx:pt idx="37456">4</cx:pt>
          <cx:pt idx="37457">1</cx:pt>
          <cx:pt idx="37458">1</cx:pt>
          <cx:pt idx="37459">5</cx:pt>
          <cx:pt idx="37460">5</cx:pt>
          <cx:pt idx="37461">5</cx:pt>
          <cx:pt idx="37462">2</cx:pt>
          <cx:pt idx="37463">5</cx:pt>
          <cx:pt idx="37464">4</cx:pt>
          <cx:pt idx="37465">3</cx:pt>
          <cx:pt idx="37466">2</cx:pt>
          <cx:pt idx="37467">2</cx:pt>
          <cx:pt idx="37468">4</cx:pt>
          <cx:pt idx="37469">4</cx:pt>
          <cx:pt idx="37470">5</cx:pt>
          <cx:pt idx="37471">1</cx:pt>
          <cx:pt idx="37472">5</cx:pt>
          <cx:pt idx="37473">5</cx:pt>
          <cx:pt idx="37474">5</cx:pt>
          <cx:pt idx="37475">5</cx:pt>
          <cx:pt idx="37476">2</cx:pt>
          <cx:pt idx="37477">1</cx:pt>
          <cx:pt idx="37478">5</cx:pt>
          <cx:pt idx="37479">5</cx:pt>
          <cx:pt idx="37480">3</cx:pt>
          <cx:pt idx="37481">3</cx:pt>
          <cx:pt idx="37482">5</cx:pt>
          <cx:pt idx="37483">1</cx:pt>
          <cx:pt idx="37484">3</cx:pt>
          <cx:pt idx="37485">3</cx:pt>
          <cx:pt idx="37486">3</cx:pt>
          <cx:pt idx="37487">2</cx:pt>
          <cx:pt idx="37488">5</cx:pt>
          <cx:pt idx="37489">4</cx:pt>
          <cx:pt idx="37490">5</cx:pt>
          <cx:pt idx="37491">3</cx:pt>
          <cx:pt idx="37492">4</cx:pt>
          <cx:pt idx="37493">5</cx:pt>
          <cx:pt idx="37494">4</cx:pt>
          <cx:pt idx="37495">4</cx:pt>
          <cx:pt idx="37496">3</cx:pt>
          <cx:pt idx="37497">5</cx:pt>
          <cx:pt idx="37498">4</cx:pt>
          <cx:pt idx="37499">4</cx:pt>
          <cx:pt idx="37500">1</cx:pt>
          <cx:pt idx="37501">5</cx:pt>
          <cx:pt idx="37502">4</cx:pt>
          <cx:pt idx="37503">5</cx:pt>
          <cx:pt idx="37504">4</cx:pt>
          <cx:pt idx="37505">4</cx:pt>
          <cx:pt idx="37506">4</cx:pt>
          <cx:pt idx="37507">5</cx:pt>
          <cx:pt idx="37508">2</cx:pt>
          <cx:pt idx="37509">5</cx:pt>
          <cx:pt idx="37510">4</cx:pt>
          <cx:pt idx="37511">5</cx:pt>
          <cx:pt idx="37512">4</cx:pt>
          <cx:pt idx="37513">4</cx:pt>
          <cx:pt idx="37514">4</cx:pt>
          <cx:pt idx="37515">5</cx:pt>
          <cx:pt idx="37516">5</cx:pt>
          <cx:pt idx="37517">4</cx:pt>
          <cx:pt idx="37518">5</cx:pt>
          <cx:pt idx="37519">3</cx:pt>
          <cx:pt idx="37520">4</cx:pt>
          <cx:pt idx="37521">1</cx:pt>
          <cx:pt idx="37522">4</cx:pt>
          <cx:pt idx="37523">3</cx:pt>
          <cx:pt idx="37524">2</cx:pt>
          <cx:pt idx="37525">1</cx:pt>
          <cx:pt idx="37526">4</cx:pt>
          <cx:pt idx="37527">3</cx:pt>
          <cx:pt idx="37528">5</cx:pt>
          <cx:pt idx="37529">3</cx:pt>
          <cx:pt idx="37530">3</cx:pt>
          <cx:pt idx="37531">4</cx:pt>
          <cx:pt idx="37532">4</cx:pt>
          <cx:pt idx="37533">5</cx:pt>
          <cx:pt idx="37534">2</cx:pt>
          <cx:pt idx="37535">2</cx:pt>
          <cx:pt idx="37536">4</cx:pt>
          <cx:pt idx="37537">5</cx:pt>
          <cx:pt idx="37538">4</cx:pt>
          <cx:pt idx="37539">3</cx:pt>
          <cx:pt idx="37540">3</cx:pt>
          <cx:pt idx="37541">4</cx:pt>
          <cx:pt idx="37542">4</cx:pt>
          <cx:pt idx="37543">4</cx:pt>
          <cx:pt idx="37544">4</cx:pt>
          <cx:pt idx="37545">4</cx:pt>
          <cx:pt idx="37546">5</cx:pt>
          <cx:pt idx="37547">2</cx:pt>
          <cx:pt idx="37548">2</cx:pt>
          <cx:pt idx="37549">5</cx:pt>
          <cx:pt idx="37550">5</cx:pt>
          <cx:pt idx="37551">3</cx:pt>
          <cx:pt idx="37552">3</cx:pt>
          <cx:pt idx="37553">5</cx:pt>
          <cx:pt idx="37554">5</cx:pt>
          <cx:pt idx="37555">1</cx:pt>
          <cx:pt idx="37556">3</cx:pt>
          <cx:pt idx="37557">2</cx:pt>
          <cx:pt idx="37558">2</cx:pt>
          <cx:pt idx="37559">3</cx:pt>
          <cx:pt idx="37560">5</cx:pt>
          <cx:pt idx="37561">3</cx:pt>
          <cx:pt idx="37562">4</cx:pt>
          <cx:pt idx="37563">4</cx:pt>
          <cx:pt idx="37564">4</cx:pt>
          <cx:pt idx="37565">1</cx:pt>
          <cx:pt idx="37566">4</cx:pt>
          <cx:pt idx="37567">5</cx:pt>
          <cx:pt idx="37568">1</cx:pt>
          <cx:pt idx="37569">2</cx:pt>
          <cx:pt idx="37570">2</cx:pt>
          <cx:pt idx="37571">4</cx:pt>
          <cx:pt idx="37572">5</cx:pt>
          <cx:pt idx="37573">4</cx:pt>
          <cx:pt idx="37574">4</cx:pt>
          <cx:pt idx="37575">5</cx:pt>
          <cx:pt idx="37576">5</cx:pt>
          <cx:pt idx="37577">1</cx:pt>
          <cx:pt idx="37578">3</cx:pt>
          <cx:pt idx="37579">1</cx:pt>
          <cx:pt idx="37580">1</cx:pt>
          <cx:pt idx="37581">4</cx:pt>
          <cx:pt idx="37582">3</cx:pt>
          <cx:pt idx="37583">5</cx:pt>
          <cx:pt idx="37584">1</cx:pt>
          <cx:pt idx="37585">5</cx:pt>
          <cx:pt idx="37586">2</cx:pt>
          <cx:pt idx="37587">1</cx:pt>
          <cx:pt idx="37588">4</cx:pt>
          <cx:pt idx="37589">2</cx:pt>
          <cx:pt idx="37590">4</cx:pt>
          <cx:pt idx="37591">3</cx:pt>
          <cx:pt idx="37592">5</cx:pt>
          <cx:pt idx="37593">4</cx:pt>
          <cx:pt idx="37594">5</cx:pt>
          <cx:pt idx="37595">1</cx:pt>
          <cx:pt idx="37596">2</cx:pt>
          <cx:pt idx="37597">2</cx:pt>
          <cx:pt idx="37598">4</cx:pt>
          <cx:pt idx="37599">4</cx:pt>
          <cx:pt idx="37600">4</cx:pt>
          <cx:pt idx="37601">2</cx:pt>
          <cx:pt idx="37602">4</cx:pt>
          <cx:pt idx="37603">2</cx:pt>
          <cx:pt idx="37604">3</cx:pt>
          <cx:pt idx="37605">4</cx:pt>
          <cx:pt idx="37606">4</cx:pt>
          <cx:pt idx="37607">3</cx:pt>
          <cx:pt idx="37608">3</cx:pt>
          <cx:pt idx="37609">5</cx:pt>
          <cx:pt idx="37610">4</cx:pt>
          <cx:pt idx="37611">3</cx:pt>
          <cx:pt idx="37612">4</cx:pt>
          <cx:pt idx="37613">1</cx:pt>
          <cx:pt idx="37614">5</cx:pt>
          <cx:pt idx="37615">4</cx:pt>
          <cx:pt idx="37616">5</cx:pt>
          <cx:pt idx="37617">3</cx:pt>
          <cx:pt idx="37618">2</cx:pt>
          <cx:pt idx="37619">4</cx:pt>
          <cx:pt idx="37620">2</cx:pt>
          <cx:pt idx="37621">5</cx:pt>
          <cx:pt idx="37622">5</cx:pt>
          <cx:pt idx="37623">3</cx:pt>
          <cx:pt idx="37624">3</cx:pt>
          <cx:pt idx="37625">2</cx:pt>
          <cx:pt idx="37626">3</cx:pt>
          <cx:pt idx="37627">1</cx:pt>
          <cx:pt idx="37628">3</cx:pt>
          <cx:pt idx="37629">1</cx:pt>
          <cx:pt idx="37630">5</cx:pt>
          <cx:pt idx="37631">5</cx:pt>
          <cx:pt idx="37632">1</cx:pt>
          <cx:pt idx="37633">3</cx:pt>
          <cx:pt idx="37634">3</cx:pt>
          <cx:pt idx="37635">4</cx:pt>
          <cx:pt idx="37636">5</cx:pt>
          <cx:pt idx="37637">5</cx:pt>
          <cx:pt idx="37638">4</cx:pt>
          <cx:pt idx="37639">1</cx:pt>
          <cx:pt idx="37640">4</cx:pt>
          <cx:pt idx="37641">5</cx:pt>
          <cx:pt idx="37642">5</cx:pt>
          <cx:pt idx="37643">1</cx:pt>
          <cx:pt idx="37644">5</cx:pt>
          <cx:pt idx="37645">5</cx:pt>
          <cx:pt idx="37646">4</cx:pt>
          <cx:pt idx="37647">5</cx:pt>
          <cx:pt idx="37648">2</cx:pt>
          <cx:pt idx="37649">2</cx:pt>
          <cx:pt idx="37650">2</cx:pt>
          <cx:pt idx="37651">2</cx:pt>
          <cx:pt idx="37652">4</cx:pt>
          <cx:pt idx="37653">5</cx:pt>
          <cx:pt idx="37654">4</cx:pt>
          <cx:pt idx="37655">4</cx:pt>
          <cx:pt idx="37656">3</cx:pt>
          <cx:pt idx="37657">4</cx:pt>
          <cx:pt idx="37658">4</cx:pt>
          <cx:pt idx="37659">4</cx:pt>
          <cx:pt idx="37660">4</cx:pt>
          <cx:pt idx="37661">4</cx:pt>
          <cx:pt idx="37662">2</cx:pt>
          <cx:pt idx="37663">3</cx:pt>
          <cx:pt idx="37664">4</cx:pt>
          <cx:pt idx="37665">1</cx:pt>
          <cx:pt idx="37666">4</cx:pt>
          <cx:pt idx="37667">3</cx:pt>
          <cx:pt idx="37668">3</cx:pt>
          <cx:pt idx="37669">4</cx:pt>
          <cx:pt idx="37670">1</cx:pt>
          <cx:pt idx="37671">4</cx:pt>
          <cx:pt idx="37672">3</cx:pt>
          <cx:pt idx="37673">2</cx:pt>
          <cx:pt idx="37674">4</cx:pt>
          <cx:pt idx="37675">3</cx:pt>
          <cx:pt idx="37676">4</cx:pt>
          <cx:pt idx="37677">2</cx:pt>
          <cx:pt idx="37678">4</cx:pt>
          <cx:pt idx="37679">5</cx:pt>
          <cx:pt idx="37680">3</cx:pt>
          <cx:pt idx="37681">1</cx:pt>
          <cx:pt idx="37682">3</cx:pt>
          <cx:pt idx="37683">4</cx:pt>
          <cx:pt idx="37684">5</cx:pt>
          <cx:pt idx="37685">1</cx:pt>
          <cx:pt idx="37686">3</cx:pt>
          <cx:pt idx="37687">4</cx:pt>
          <cx:pt idx="37688">4</cx:pt>
          <cx:pt idx="37689">5</cx:pt>
          <cx:pt idx="37690">2</cx:pt>
          <cx:pt idx="37691">4</cx:pt>
          <cx:pt idx="37692">4</cx:pt>
          <cx:pt idx="37693">3</cx:pt>
          <cx:pt idx="37694">2</cx:pt>
          <cx:pt idx="37695">5</cx:pt>
          <cx:pt idx="37696">3</cx:pt>
          <cx:pt idx="37697">5</cx:pt>
          <cx:pt idx="37698">3</cx:pt>
          <cx:pt idx="37699">2</cx:pt>
          <cx:pt idx="37700">3</cx:pt>
          <cx:pt idx="37701">5</cx:pt>
          <cx:pt idx="37702">1</cx:pt>
          <cx:pt idx="37703">3</cx:pt>
          <cx:pt idx="37704">2</cx:pt>
          <cx:pt idx="37705">4</cx:pt>
          <cx:pt idx="37706">3</cx:pt>
          <cx:pt idx="37707">4</cx:pt>
          <cx:pt idx="37708">3</cx:pt>
          <cx:pt idx="37709">4</cx:pt>
          <cx:pt idx="37710">5</cx:pt>
          <cx:pt idx="37711">5</cx:pt>
          <cx:pt idx="37712">1</cx:pt>
          <cx:pt idx="37713">1</cx:pt>
          <cx:pt idx="37714">5</cx:pt>
          <cx:pt idx="37715">5</cx:pt>
          <cx:pt idx="37716">5</cx:pt>
          <cx:pt idx="37717">4</cx:pt>
          <cx:pt idx="37718">3</cx:pt>
          <cx:pt idx="37719">2</cx:pt>
          <cx:pt idx="37720">5</cx:pt>
          <cx:pt idx="37721">4</cx:pt>
          <cx:pt idx="37722">4</cx:pt>
          <cx:pt idx="37723">4</cx:pt>
          <cx:pt idx="37724">3</cx:pt>
          <cx:pt idx="37725">5</cx:pt>
          <cx:pt idx="37726">2</cx:pt>
          <cx:pt idx="37727">4</cx:pt>
          <cx:pt idx="37728">5</cx:pt>
          <cx:pt idx="37729">1</cx:pt>
          <cx:pt idx="37730">2</cx:pt>
          <cx:pt idx="37731">1</cx:pt>
          <cx:pt idx="37732">5</cx:pt>
          <cx:pt idx="37733">2</cx:pt>
          <cx:pt idx="37734">3</cx:pt>
          <cx:pt idx="37735">5</cx:pt>
          <cx:pt idx="37736">3</cx:pt>
          <cx:pt idx="37737">4</cx:pt>
          <cx:pt idx="37738">4</cx:pt>
          <cx:pt idx="37739">5</cx:pt>
          <cx:pt idx="37740">5</cx:pt>
          <cx:pt idx="37741">4</cx:pt>
          <cx:pt idx="37742">2</cx:pt>
          <cx:pt idx="37743">5</cx:pt>
          <cx:pt idx="37744">5</cx:pt>
          <cx:pt idx="37745">3</cx:pt>
          <cx:pt idx="37746">1</cx:pt>
          <cx:pt idx="37747">1</cx:pt>
          <cx:pt idx="37748">1</cx:pt>
          <cx:pt idx="37749">5</cx:pt>
          <cx:pt idx="37750">5</cx:pt>
          <cx:pt idx="37751">1</cx:pt>
          <cx:pt idx="37752">4</cx:pt>
          <cx:pt idx="37753">2</cx:pt>
          <cx:pt idx="37754">3</cx:pt>
          <cx:pt idx="37755">4</cx:pt>
          <cx:pt idx="37756">2</cx:pt>
          <cx:pt idx="37757">2</cx:pt>
          <cx:pt idx="37758">4</cx:pt>
          <cx:pt idx="37759">5</cx:pt>
          <cx:pt idx="37760">4</cx:pt>
          <cx:pt idx="37761">4</cx:pt>
          <cx:pt idx="37762">5</cx:pt>
          <cx:pt idx="37763">3</cx:pt>
          <cx:pt idx="37764">1</cx:pt>
          <cx:pt idx="37765">5</cx:pt>
          <cx:pt idx="37766">4</cx:pt>
          <cx:pt idx="37767">4</cx:pt>
          <cx:pt idx="37768">4</cx:pt>
          <cx:pt idx="37769">4</cx:pt>
          <cx:pt idx="37770">2</cx:pt>
          <cx:pt idx="37771">1</cx:pt>
          <cx:pt idx="37772">2</cx:pt>
          <cx:pt idx="37773">3</cx:pt>
          <cx:pt idx="37774">4</cx:pt>
          <cx:pt idx="37775">5</cx:pt>
          <cx:pt idx="37776">2</cx:pt>
          <cx:pt idx="37777">4</cx:pt>
          <cx:pt idx="37778">4</cx:pt>
          <cx:pt idx="37779">3</cx:pt>
          <cx:pt idx="37780">5</cx:pt>
          <cx:pt idx="37781">4</cx:pt>
          <cx:pt idx="37782">3</cx:pt>
          <cx:pt idx="37783">2</cx:pt>
          <cx:pt idx="37784">5</cx:pt>
          <cx:pt idx="37785">3</cx:pt>
          <cx:pt idx="37786">5</cx:pt>
          <cx:pt idx="37787">5</cx:pt>
          <cx:pt idx="37788">2</cx:pt>
          <cx:pt idx="37789">2</cx:pt>
          <cx:pt idx="37790">3</cx:pt>
          <cx:pt idx="37791">4</cx:pt>
          <cx:pt idx="37792">5</cx:pt>
          <cx:pt idx="37793">3</cx:pt>
          <cx:pt idx="37794">5</cx:pt>
          <cx:pt idx="37795">1</cx:pt>
          <cx:pt idx="37796">2</cx:pt>
          <cx:pt idx="37797">2</cx:pt>
          <cx:pt idx="37798">3</cx:pt>
          <cx:pt idx="37799">2</cx:pt>
          <cx:pt idx="37800">2</cx:pt>
          <cx:pt idx="37801">4</cx:pt>
          <cx:pt idx="37802">4</cx:pt>
          <cx:pt idx="37803">4</cx:pt>
          <cx:pt idx="37804">4</cx:pt>
          <cx:pt idx="37805">2</cx:pt>
          <cx:pt idx="37806">1</cx:pt>
          <cx:pt idx="37807">4</cx:pt>
          <cx:pt idx="37808">5</cx:pt>
          <cx:pt idx="37809">3</cx:pt>
          <cx:pt idx="37810">5</cx:pt>
          <cx:pt idx="37811">5</cx:pt>
          <cx:pt idx="37812">2</cx:pt>
          <cx:pt idx="37813">3</cx:pt>
          <cx:pt idx="37814">3</cx:pt>
          <cx:pt idx="37815">3</cx:pt>
          <cx:pt idx="37816">3</cx:pt>
          <cx:pt idx="37817">4</cx:pt>
          <cx:pt idx="37818">4</cx:pt>
          <cx:pt idx="37819">4</cx:pt>
          <cx:pt idx="37820">4</cx:pt>
          <cx:pt idx="37821">1</cx:pt>
          <cx:pt idx="37822">5</cx:pt>
          <cx:pt idx="37823">2</cx:pt>
          <cx:pt idx="37824">5</cx:pt>
          <cx:pt idx="37825">5</cx:pt>
          <cx:pt idx="37826">2</cx:pt>
          <cx:pt idx="37827">1</cx:pt>
          <cx:pt idx="37828">4</cx:pt>
          <cx:pt idx="37829">5</cx:pt>
          <cx:pt idx="37830">1</cx:pt>
          <cx:pt idx="37831">5</cx:pt>
          <cx:pt idx="37832">1</cx:pt>
          <cx:pt idx="37833">3</cx:pt>
          <cx:pt idx="37834">4</cx:pt>
          <cx:pt idx="37835">2</cx:pt>
          <cx:pt idx="37836">4</cx:pt>
          <cx:pt idx="37837">4</cx:pt>
          <cx:pt idx="37838">3</cx:pt>
          <cx:pt idx="37839">2</cx:pt>
          <cx:pt idx="37840">1</cx:pt>
          <cx:pt idx="37841">3</cx:pt>
          <cx:pt idx="37842">3</cx:pt>
          <cx:pt idx="37843">2</cx:pt>
          <cx:pt idx="37844">3</cx:pt>
          <cx:pt idx="37845">1</cx:pt>
          <cx:pt idx="37846">2</cx:pt>
          <cx:pt idx="37847">5</cx:pt>
          <cx:pt idx="37848">2</cx:pt>
          <cx:pt idx="37849">5</cx:pt>
          <cx:pt idx="37850">4</cx:pt>
          <cx:pt idx="37851">5</cx:pt>
          <cx:pt idx="37852">3</cx:pt>
          <cx:pt idx="37853">4</cx:pt>
          <cx:pt idx="37854">5</cx:pt>
          <cx:pt idx="37855">1</cx:pt>
          <cx:pt idx="37856">4</cx:pt>
          <cx:pt idx="37857">2</cx:pt>
          <cx:pt idx="37858">4</cx:pt>
          <cx:pt idx="37859">2</cx:pt>
          <cx:pt idx="37860">1</cx:pt>
          <cx:pt idx="37861">4</cx:pt>
          <cx:pt idx="37862">4</cx:pt>
          <cx:pt idx="37863">5</cx:pt>
          <cx:pt idx="37864">2</cx:pt>
          <cx:pt idx="37865">5</cx:pt>
          <cx:pt idx="37866">3</cx:pt>
          <cx:pt idx="37867">4</cx:pt>
          <cx:pt idx="37868">5</cx:pt>
          <cx:pt idx="37869">2</cx:pt>
          <cx:pt idx="37870">2</cx:pt>
          <cx:pt idx="37871">3</cx:pt>
          <cx:pt idx="37872">2</cx:pt>
          <cx:pt idx="37873">4</cx:pt>
          <cx:pt idx="37874">3</cx:pt>
          <cx:pt idx="37875">5</cx:pt>
          <cx:pt idx="37876">4</cx:pt>
          <cx:pt idx="37877">2</cx:pt>
          <cx:pt idx="37878">5</cx:pt>
          <cx:pt idx="37879">4</cx:pt>
          <cx:pt idx="37880">5</cx:pt>
          <cx:pt idx="37881">5</cx:pt>
          <cx:pt idx="37882">2</cx:pt>
          <cx:pt idx="37883">4</cx:pt>
          <cx:pt idx="37884">4</cx:pt>
          <cx:pt idx="37885">4</cx:pt>
          <cx:pt idx="37886">5</cx:pt>
          <cx:pt idx="37887">4</cx:pt>
          <cx:pt idx="37888">5</cx:pt>
          <cx:pt idx="37889">2</cx:pt>
          <cx:pt idx="37890">4</cx:pt>
          <cx:pt idx="37891">1</cx:pt>
          <cx:pt idx="37892">4</cx:pt>
          <cx:pt idx="37893">2</cx:pt>
          <cx:pt idx="37894">4</cx:pt>
          <cx:pt idx="37895">1</cx:pt>
          <cx:pt idx="37896">2</cx:pt>
          <cx:pt idx="37897">4</cx:pt>
          <cx:pt idx="37898">1</cx:pt>
          <cx:pt idx="37899">5</cx:pt>
          <cx:pt idx="37900">2</cx:pt>
          <cx:pt idx="37901">5</cx:pt>
          <cx:pt idx="37902">4</cx:pt>
          <cx:pt idx="37903">3</cx:pt>
          <cx:pt idx="37904">5</cx:pt>
          <cx:pt idx="37905">5</cx:pt>
          <cx:pt idx="37906">5</cx:pt>
          <cx:pt idx="37907">3</cx:pt>
          <cx:pt idx="37908">5</cx:pt>
          <cx:pt idx="37909">2</cx:pt>
          <cx:pt idx="37910">3</cx:pt>
          <cx:pt idx="37911">1</cx:pt>
          <cx:pt idx="37912">4</cx:pt>
          <cx:pt idx="37913">4</cx:pt>
          <cx:pt idx="37914">4</cx:pt>
          <cx:pt idx="37915">3</cx:pt>
          <cx:pt idx="37916">5</cx:pt>
          <cx:pt idx="37917">5</cx:pt>
          <cx:pt idx="37918">4</cx:pt>
          <cx:pt idx="37919">3</cx:pt>
          <cx:pt idx="37920">2</cx:pt>
          <cx:pt idx="37921">4</cx:pt>
          <cx:pt idx="37922">1</cx:pt>
          <cx:pt idx="37923">5</cx:pt>
          <cx:pt idx="37924">5</cx:pt>
          <cx:pt idx="37925">5</cx:pt>
          <cx:pt idx="37926">4</cx:pt>
          <cx:pt idx="37927">5</cx:pt>
          <cx:pt idx="37928">5</cx:pt>
          <cx:pt idx="37929">4</cx:pt>
          <cx:pt idx="37930">4</cx:pt>
          <cx:pt idx="37931">2</cx:pt>
          <cx:pt idx="37932">5</cx:pt>
          <cx:pt idx="37933">2</cx:pt>
          <cx:pt idx="37934">5</cx:pt>
          <cx:pt idx="37935">5</cx:pt>
          <cx:pt idx="37936">5</cx:pt>
          <cx:pt idx="37937">5</cx:pt>
          <cx:pt idx="37938">3</cx:pt>
          <cx:pt idx="37939">2</cx:pt>
          <cx:pt idx="37940">1</cx:pt>
          <cx:pt idx="37941">3</cx:pt>
          <cx:pt idx="37942">5</cx:pt>
          <cx:pt idx="37943">4</cx:pt>
          <cx:pt idx="37944">5</cx:pt>
          <cx:pt idx="37945">4</cx:pt>
          <cx:pt idx="37946">5</cx:pt>
          <cx:pt idx="37947">5</cx:pt>
          <cx:pt idx="37948">3</cx:pt>
          <cx:pt idx="37949">4</cx:pt>
          <cx:pt idx="37950">5</cx:pt>
          <cx:pt idx="37951">3</cx:pt>
          <cx:pt idx="37952">1</cx:pt>
          <cx:pt idx="37953">4</cx:pt>
          <cx:pt idx="37954">1</cx:pt>
          <cx:pt idx="37955">1</cx:pt>
          <cx:pt idx="37956">2</cx:pt>
          <cx:pt idx="37957">3</cx:pt>
          <cx:pt idx="37958">5</cx:pt>
          <cx:pt idx="37959">3</cx:pt>
          <cx:pt idx="37960">5</cx:pt>
          <cx:pt idx="37961">5</cx:pt>
          <cx:pt idx="37962">3</cx:pt>
          <cx:pt idx="37963">3</cx:pt>
          <cx:pt idx="37964">3</cx:pt>
          <cx:pt idx="37965">5</cx:pt>
          <cx:pt idx="37966">4</cx:pt>
          <cx:pt idx="37967">4</cx:pt>
          <cx:pt idx="37968">2</cx:pt>
          <cx:pt idx="37969">2</cx:pt>
          <cx:pt idx="37970">5</cx:pt>
          <cx:pt idx="37971">5</cx:pt>
          <cx:pt idx="37972">4</cx:pt>
          <cx:pt idx="37973">2</cx:pt>
          <cx:pt idx="37974">3</cx:pt>
          <cx:pt idx="37975">4</cx:pt>
          <cx:pt idx="37976">5</cx:pt>
          <cx:pt idx="37977">3</cx:pt>
          <cx:pt idx="37978">1</cx:pt>
          <cx:pt idx="37979">4</cx:pt>
          <cx:pt idx="37980">4</cx:pt>
          <cx:pt idx="37981">5</cx:pt>
          <cx:pt idx="37982">4</cx:pt>
          <cx:pt idx="37983">4</cx:pt>
          <cx:pt idx="37984">4</cx:pt>
          <cx:pt idx="37985">2</cx:pt>
          <cx:pt idx="37986">1</cx:pt>
          <cx:pt idx="37987">4</cx:pt>
          <cx:pt idx="37988">5</cx:pt>
          <cx:pt idx="37989">4</cx:pt>
          <cx:pt idx="37990">5</cx:pt>
          <cx:pt idx="37991">5</cx:pt>
          <cx:pt idx="37992">4</cx:pt>
          <cx:pt idx="37993">3</cx:pt>
          <cx:pt idx="37994">3</cx:pt>
          <cx:pt idx="37995">4</cx:pt>
          <cx:pt idx="37996">4</cx:pt>
          <cx:pt idx="37997">1</cx:pt>
          <cx:pt idx="37998">4</cx:pt>
          <cx:pt idx="37999">1</cx:pt>
          <cx:pt idx="38000">4</cx:pt>
          <cx:pt idx="38001">5</cx:pt>
          <cx:pt idx="38002">5</cx:pt>
          <cx:pt idx="38003">4</cx:pt>
          <cx:pt idx="38004">5</cx:pt>
          <cx:pt idx="38005">4</cx:pt>
          <cx:pt idx="38006">5</cx:pt>
          <cx:pt idx="38007">2</cx:pt>
          <cx:pt idx="38008">4</cx:pt>
          <cx:pt idx="38009">4</cx:pt>
          <cx:pt idx="38010">4</cx:pt>
          <cx:pt idx="38011">5</cx:pt>
          <cx:pt idx="38012">3</cx:pt>
          <cx:pt idx="38013">2</cx:pt>
          <cx:pt idx="38014">4</cx:pt>
          <cx:pt idx="38015">4</cx:pt>
          <cx:pt idx="38016">5</cx:pt>
          <cx:pt idx="38017">1</cx:pt>
          <cx:pt idx="38018">5</cx:pt>
          <cx:pt idx="38019">2</cx:pt>
          <cx:pt idx="38020">4</cx:pt>
          <cx:pt idx="38021">4</cx:pt>
          <cx:pt idx="38022">3</cx:pt>
          <cx:pt idx="38023">5</cx:pt>
          <cx:pt idx="38024">4</cx:pt>
          <cx:pt idx="38025">5</cx:pt>
          <cx:pt idx="38026">4</cx:pt>
          <cx:pt idx="38027">4</cx:pt>
          <cx:pt idx="38028">4</cx:pt>
          <cx:pt idx="38029">4</cx:pt>
          <cx:pt idx="38030">3</cx:pt>
          <cx:pt idx="38031">5</cx:pt>
          <cx:pt idx="38032">5</cx:pt>
          <cx:pt idx="38033">4</cx:pt>
          <cx:pt idx="38034">3</cx:pt>
          <cx:pt idx="38035">4</cx:pt>
          <cx:pt idx="38036">4</cx:pt>
          <cx:pt idx="38037">5</cx:pt>
          <cx:pt idx="38038">1</cx:pt>
          <cx:pt idx="38039">4</cx:pt>
          <cx:pt idx="38040">1</cx:pt>
          <cx:pt idx="38041">4</cx:pt>
          <cx:pt idx="38042">2</cx:pt>
          <cx:pt idx="38043">5</cx:pt>
          <cx:pt idx="38044">5</cx:pt>
          <cx:pt idx="38045">3</cx:pt>
          <cx:pt idx="38046">4</cx:pt>
          <cx:pt idx="38047">5</cx:pt>
          <cx:pt idx="38048">3</cx:pt>
          <cx:pt idx="38049">4</cx:pt>
          <cx:pt idx="38050">4</cx:pt>
          <cx:pt idx="38051">5</cx:pt>
          <cx:pt idx="38052">5</cx:pt>
          <cx:pt idx="38053">3</cx:pt>
          <cx:pt idx="38054">5</cx:pt>
          <cx:pt idx="38055">5</cx:pt>
          <cx:pt idx="38056">5</cx:pt>
          <cx:pt idx="38057">3</cx:pt>
          <cx:pt idx="38058">1</cx:pt>
          <cx:pt idx="38059">5</cx:pt>
          <cx:pt idx="38060">5</cx:pt>
          <cx:pt idx="38061">4</cx:pt>
          <cx:pt idx="38062">4</cx:pt>
          <cx:pt idx="38063">4</cx:pt>
          <cx:pt idx="38064">5</cx:pt>
          <cx:pt idx="38065">4</cx:pt>
          <cx:pt idx="38066">1</cx:pt>
          <cx:pt idx="38067">1</cx:pt>
          <cx:pt idx="38068">1</cx:pt>
          <cx:pt idx="38069">4</cx:pt>
          <cx:pt idx="38070">4</cx:pt>
          <cx:pt idx="38071">2</cx:pt>
          <cx:pt idx="38072">5</cx:pt>
          <cx:pt idx="38073">3</cx:pt>
          <cx:pt idx="38074">3</cx:pt>
          <cx:pt idx="38075">5</cx:pt>
          <cx:pt idx="38076">3</cx:pt>
          <cx:pt idx="38077">2</cx:pt>
          <cx:pt idx="38078">4</cx:pt>
          <cx:pt idx="38079">2</cx:pt>
          <cx:pt idx="38080">2</cx:pt>
          <cx:pt idx="38081">5</cx:pt>
          <cx:pt idx="38082">3</cx:pt>
          <cx:pt idx="38083">2</cx:pt>
          <cx:pt idx="38084">3</cx:pt>
          <cx:pt idx="38085">1</cx:pt>
          <cx:pt idx="38086">2</cx:pt>
          <cx:pt idx="38087">4</cx:pt>
          <cx:pt idx="38088">3</cx:pt>
          <cx:pt idx="38089">1</cx:pt>
          <cx:pt idx="38090">1</cx:pt>
          <cx:pt idx="38091">4</cx:pt>
          <cx:pt idx="38092">1</cx:pt>
          <cx:pt idx="38093">2</cx:pt>
          <cx:pt idx="38094">5</cx:pt>
          <cx:pt idx="38095">2</cx:pt>
          <cx:pt idx="38096">3</cx:pt>
          <cx:pt idx="38097">5</cx:pt>
          <cx:pt idx="38098">4</cx:pt>
          <cx:pt idx="38099">5</cx:pt>
          <cx:pt idx="38100">4</cx:pt>
          <cx:pt idx="38101">1</cx:pt>
          <cx:pt idx="38102">5</cx:pt>
          <cx:pt idx="38103">4</cx:pt>
          <cx:pt idx="38104">4</cx:pt>
          <cx:pt idx="38105">1</cx:pt>
          <cx:pt idx="38106">2</cx:pt>
          <cx:pt idx="38107">4</cx:pt>
          <cx:pt idx="38108">3</cx:pt>
          <cx:pt idx="38109">3</cx:pt>
          <cx:pt idx="38110">1</cx:pt>
          <cx:pt idx="38111">3</cx:pt>
          <cx:pt idx="38112">5</cx:pt>
          <cx:pt idx="38113">5</cx:pt>
          <cx:pt idx="38114">4</cx:pt>
          <cx:pt idx="38115">5</cx:pt>
          <cx:pt idx="38116">4</cx:pt>
          <cx:pt idx="38117">2</cx:pt>
          <cx:pt idx="38118">3</cx:pt>
          <cx:pt idx="38119">4</cx:pt>
          <cx:pt idx="38120">5</cx:pt>
          <cx:pt idx="38121">3</cx:pt>
          <cx:pt idx="38122">3</cx:pt>
          <cx:pt idx="38123">5</cx:pt>
          <cx:pt idx="38124">5</cx:pt>
          <cx:pt idx="38125">3</cx:pt>
          <cx:pt idx="38126">3</cx:pt>
          <cx:pt idx="38127">5</cx:pt>
          <cx:pt idx="38128">5</cx:pt>
          <cx:pt idx="38129">4</cx:pt>
          <cx:pt idx="38130">4</cx:pt>
          <cx:pt idx="38131">2</cx:pt>
          <cx:pt idx="38132">5</cx:pt>
          <cx:pt idx="38133">5</cx:pt>
          <cx:pt idx="38134">4</cx:pt>
          <cx:pt idx="38135">5</cx:pt>
          <cx:pt idx="38136">4</cx:pt>
          <cx:pt idx="38137">5</cx:pt>
          <cx:pt idx="38138">4</cx:pt>
          <cx:pt idx="38139">5</cx:pt>
          <cx:pt idx="38140">3</cx:pt>
          <cx:pt idx="38141">5</cx:pt>
          <cx:pt idx="38142">4</cx:pt>
          <cx:pt idx="38143">2</cx:pt>
          <cx:pt idx="38144">5</cx:pt>
          <cx:pt idx="38145">5</cx:pt>
          <cx:pt idx="38146">4</cx:pt>
          <cx:pt idx="38147">1</cx:pt>
          <cx:pt idx="38148">5</cx:pt>
          <cx:pt idx="38149">5</cx:pt>
          <cx:pt idx="38150">5</cx:pt>
          <cx:pt idx="38151">1</cx:pt>
          <cx:pt idx="38152">4</cx:pt>
          <cx:pt idx="38153">1</cx:pt>
          <cx:pt idx="38154">4</cx:pt>
          <cx:pt idx="38155">3</cx:pt>
          <cx:pt idx="38156">4</cx:pt>
          <cx:pt idx="38157">1</cx:pt>
          <cx:pt idx="38158">4</cx:pt>
          <cx:pt idx="38159">5</cx:pt>
          <cx:pt idx="38160">2</cx:pt>
          <cx:pt idx="38161">5</cx:pt>
          <cx:pt idx="38162">3</cx:pt>
          <cx:pt idx="38163">1</cx:pt>
          <cx:pt idx="38164">4</cx:pt>
          <cx:pt idx="38165">2</cx:pt>
          <cx:pt idx="38166">2</cx:pt>
          <cx:pt idx="38167">4</cx:pt>
          <cx:pt idx="38168">1</cx:pt>
          <cx:pt idx="38169">4</cx:pt>
          <cx:pt idx="38170">4</cx:pt>
          <cx:pt idx="38171">5</cx:pt>
          <cx:pt idx="38172">3</cx:pt>
          <cx:pt idx="38173">3</cx:pt>
          <cx:pt idx="38174">1</cx:pt>
          <cx:pt idx="38175">1</cx:pt>
          <cx:pt idx="38176">2</cx:pt>
          <cx:pt idx="38177">5</cx:pt>
          <cx:pt idx="38178">2</cx:pt>
          <cx:pt idx="38179">4</cx:pt>
          <cx:pt idx="38180">3</cx:pt>
          <cx:pt idx="38181">4</cx:pt>
          <cx:pt idx="38182">1</cx:pt>
          <cx:pt idx="38183">1</cx:pt>
          <cx:pt idx="38184">2</cx:pt>
          <cx:pt idx="38185">5</cx:pt>
          <cx:pt idx="38186">4</cx:pt>
          <cx:pt idx="38187">3</cx:pt>
          <cx:pt idx="38188">2</cx:pt>
          <cx:pt idx="38189">3</cx:pt>
          <cx:pt idx="38190">5</cx:pt>
          <cx:pt idx="38191">4</cx:pt>
          <cx:pt idx="38192">3</cx:pt>
          <cx:pt idx="38193">4</cx:pt>
          <cx:pt idx="38194">5</cx:pt>
          <cx:pt idx="38195">3</cx:pt>
          <cx:pt idx="38196">5</cx:pt>
          <cx:pt idx="38197">3</cx:pt>
          <cx:pt idx="38198">4</cx:pt>
          <cx:pt idx="38199">2</cx:pt>
          <cx:pt idx="38200">5</cx:pt>
          <cx:pt idx="38201">4</cx:pt>
          <cx:pt idx="38202">4</cx:pt>
          <cx:pt idx="38203">5</cx:pt>
          <cx:pt idx="38204">2</cx:pt>
          <cx:pt idx="38205">4</cx:pt>
          <cx:pt idx="38206">4</cx:pt>
          <cx:pt idx="38207">5</cx:pt>
          <cx:pt idx="38208">4</cx:pt>
          <cx:pt idx="38209">5</cx:pt>
          <cx:pt idx="38210">5</cx:pt>
          <cx:pt idx="38211">1</cx:pt>
          <cx:pt idx="38212">2</cx:pt>
          <cx:pt idx="38213">5</cx:pt>
          <cx:pt idx="38214">4</cx:pt>
          <cx:pt idx="38215">5</cx:pt>
          <cx:pt idx="38216">1</cx:pt>
          <cx:pt idx="38217">1</cx:pt>
          <cx:pt idx="38218">5</cx:pt>
          <cx:pt idx="38219">3</cx:pt>
          <cx:pt idx="38220">3</cx:pt>
          <cx:pt idx="38221">4</cx:pt>
          <cx:pt idx="38222">3</cx:pt>
          <cx:pt idx="38223">2</cx:pt>
          <cx:pt idx="38224">3</cx:pt>
          <cx:pt idx="38225">3</cx:pt>
          <cx:pt idx="38226">3</cx:pt>
          <cx:pt idx="38227">1</cx:pt>
          <cx:pt idx="38228">3</cx:pt>
          <cx:pt idx="38229">1</cx:pt>
          <cx:pt idx="38230">5</cx:pt>
          <cx:pt idx="38231">1</cx:pt>
          <cx:pt idx="38232">3</cx:pt>
          <cx:pt idx="38233">1</cx:pt>
          <cx:pt idx="38234">1</cx:pt>
          <cx:pt idx="38235">2</cx:pt>
          <cx:pt idx="38236">5</cx:pt>
          <cx:pt idx="38237">1</cx:pt>
          <cx:pt idx="38238">4</cx:pt>
          <cx:pt idx="38239">4</cx:pt>
          <cx:pt idx="38240">4</cx:pt>
          <cx:pt idx="38241">4</cx:pt>
          <cx:pt idx="38242">5</cx:pt>
          <cx:pt idx="38243">1</cx:pt>
          <cx:pt idx="38244">4</cx:pt>
          <cx:pt idx="38245">4</cx:pt>
          <cx:pt idx="38246">3</cx:pt>
          <cx:pt idx="38247">1</cx:pt>
          <cx:pt idx="38248">2</cx:pt>
          <cx:pt idx="38249">2</cx:pt>
          <cx:pt idx="38250">3</cx:pt>
          <cx:pt idx="38251">4</cx:pt>
          <cx:pt idx="38252">1</cx:pt>
          <cx:pt idx="38253">3</cx:pt>
          <cx:pt idx="38254">4</cx:pt>
          <cx:pt idx="38255">5</cx:pt>
          <cx:pt idx="38256">5</cx:pt>
          <cx:pt idx="38257">1</cx:pt>
          <cx:pt idx="38258">4</cx:pt>
          <cx:pt idx="38259">2</cx:pt>
          <cx:pt idx="38260">5</cx:pt>
          <cx:pt idx="38261">3</cx:pt>
          <cx:pt idx="38262">2</cx:pt>
          <cx:pt idx="38263">3</cx:pt>
          <cx:pt idx="38264">5</cx:pt>
          <cx:pt idx="38265">4</cx:pt>
          <cx:pt idx="38266">4</cx:pt>
          <cx:pt idx="38267">4</cx:pt>
          <cx:pt idx="38268">3</cx:pt>
          <cx:pt idx="38269">5</cx:pt>
          <cx:pt idx="38270">4</cx:pt>
          <cx:pt idx="38271">3</cx:pt>
          <cx:pt idx="38272">5</cx:pt>
          <cx:pt idx="38273">4</cx:pt>
          <cx:pt idx="38274">1</cx:pt>
          <cx:pt idx="38275">4</cx:pt>
          <cx:pt idx="38276">4</cx:pt>
          <cx:pt idx="38277">4</cx:pt>
          <cx:pt idx="38278">4</cx:pt>
          <cx:pt idx="38279">2</cx:pt>
          <cx:pt idx="38280">4</cx:pt>
          <cx:pt idx="38281">5</cx:pt>
          <cx:pt idx="38282">3</cx:pt>
          <cx:pt idx="38283">4</cx:pt>
          <cx:pt idx="38284">5</cx:pt>
          <cx:pt idx="38285">5</cx:pt>
          <cx:pt idx="38286">3</cx:pt>
          <cx:pt idx="38287">3</cx:pt>
          <cx:pt idx="38288">4</cx:pt>
          <cx:pt idx="38289">1</cx:pt>
          <cx:pt idx="38290">2</cx:pt>
          <cx:pt idx="38291">2</cx:pt>
          <cx:pt idx="38292">2</cx:pt>
          <cx:pt idx="38293">4</cx:pt>
          <cx:pt idx="38294">2</cx:pt>
          <cx:pt idx="38295">5</cx:pt>
          <cx:pt idx="38296">5</cx:pt>
          <cx:pt idx="38297">5</cx:pt>
          <cx:pt idx="38298">4</cx:pt>
          <cx:pt idx="38299">5</cx:pt>
          <cx:pt idx="38300">2</cx:pt>
          <cx:pt idx="38301">5</cx:pt>
          <cx:pt idx="38302">1</cx:pt>
          <cx:pt idx="38303">1</cx:pt>
          <cx:pt idx="38304">4</cx:pt>
          <cx:pt idx="38305">5</cx:pt>
          <cx:pt idx="38306">3</cx:pt>
          <cx:pt idx="38307">3</cx:pt>
          <cx:pt idx="38308">4</cx:pt>
          <cx:pt idx="38309">4</cx:pt>
          <cx:pt idx="38310">3</cx:pt>
          <cx:pt idx="38311">2</cx:pt>
          <cx:pt idx="38312">2</cx:pt>
          <cx:pt idx="38313">5</cx:pt>
          <cx:pt idx="38314">4</cx:pt>
          <cx:pt idx="38315">1</cx:pt>
          <cx:pt idx="38316">1</cx:pt>
          <cx:pt idx="38317">2</cx:pt>
          <cx:pt idx="38318">3</cx:pt>
          <cx:pt idx="38319">3</cx:pt>
          <cx:pt idx="38320">2</cx:pt>
          <cx:pt idx="38321">2</cx:pt>
          <cx:pt idx="38322">3</cx:pt>
          <cx:pt idx="38323">4</cx:pt>
          <cx:pt idx="38324">2</cx:pt>
          <cx:pt idx="38325">3</cx:pt>
          <cx:pt idx="38326">4</cx:pt>
          <cx:pt idx="38327">4</cx:pt>
          <cx:pt idx="38328">5</cx:pt>
          <cx:pt idx="38329">4</cx:pt>
          <cx:pt idx="38330">4</cx:pt>
          <cx:pt idx="38331">1</cx:pt>
          <cx:pt idx="38332">5</cx:pt>
          <cx:pt idx="38333">5</cx:pt>
          <cx:pt idx="38334">3</cx:pt>
          <cx:pt idx="38335">4</cx:pt>
          <cx:pt idx="38336">2</cx:pt>
          <cx:pt idx="38337">1</cx:pt>
          <cx:pt idx="38338">2</cx:pt>
          <cx:pt idx="38339">2</cx:pt>
          <cx:pt idx="38340">4</cx:pt>
          <cx:pt idx="38341">5</cx:pt>
          <cx:pt idx="38342">2</cx:pt>
          <cx:pt idx="38343">5</cx:pt>
          <cx:pt idx="38344">2</cx:pt>
          <cx:pt idx="38345">3</cx:pt>
          <cx:pt idx="38346">5</cx:pt>
          <cx:pt idx="38347">3</cx:pt>
          <cx:pt idx="38348">5</cx:pt>
          <cx:pt idx="38349">5</cx:pt>
          <cx:pt idx="38350">3</cx:pt>
          <cx:pt idx="38351">3</cx:pt>
          <cx:pt idx="38352">4</cx:pt>
          <cx:pt idx="38353">5</cx:pt>
          <cx:pt idx="38354">5</cx:pt>
          <cx:pt idx="38355">4</cx:pt>
          <cx:pt idx="38356">4</cx:pt>
          <cx:pt idx="38357">3</cx:pt>
          <cx:pt idx="38358">3</cx:pt>
          <cx:pt idx="38359">3</cx:pt>
          <cx:pt idx="38360">2</cx:pt>
          <cx:pt idx="38361">2</cx:pt>
          <cx:pt idx="38362">5</cx:pt>
          <cx:pt idx="38363">4</cx:pt>
          <cx:pt idx="38364">3</cx:pt>
          <cx:pt idx="38365">1</cx:pt>
          <cx:pt idx="38366">4</cx:pt>
          <cx:pt idx="38367">4</cx:pt>
          <cx:pt idx="38368">4</cx:pt>
          <cx:pt idx="38369">5</cx:pt>
          <cx:pt idx="38370">4</cx:pt>
          <cx:pt idx="38371">1</cx:pt>
          <cx:pt idx="38372">3</cx:pt>
          <cx:pt idx="38373">2</cx:pt>
          <cx:pt idx="38374">5</cx:pt>
          <cx:pt idx="38375">4</cx:pt>
          <cx:pt idx="38376">4</cx:pt>
          <cx:pt idx="38377">3</cx:pt>
          <cx:pt idx="38378">4</cx:pt>
          <cx:pt idx="38379">5</cx:pt>
          <cx:pt idx="38380">2</cx:pt>
          <cx:pt idx="38381">5</cx:pt>
          <cx:pt idx="38382">3</cx:pt>
          <cx:pt idx="38383">4</cx:pt>
          <cx:pt idx="38384">5</cx:pt>
          <cx:pt idx="38385">3</cx:pt>
          <cx:pt idx="38386">3</cx:pt>
          <cx:pt idx="38387">5</cx:pt>
          <cx:pt idx="38388">5</cx:pt>
          <cx:pt idx="38389">5</cx:pt>
          <cx:pt idx="38390">5</cx:pt>
          <cx:pt idx="38391">5</cx:pt>
          <cx:pt idx="38392">2</cx:pt>
          <cx:pt idx="38393">4</cx:pt>
          <cx:pt idx="38394">4</cx:pt>
          <cx:pt idx="38395">3</cx:pt>
          <cx:pt idx="38396">4</cx:pt>
          <cx:pt idx="38397">4</cx:pt>
          <cx:pt idx="38398">3</cx:pt>
          <cx:pt idx="38399">4</cx:pt>
          <cx:pt idx="38400">4</cx:pt>
          <cx:pt idx="38401">2</cx:pt>
          <cx:pt idx="38402">4</cx:pt>
          <cx:pt idx="38403">4</cx:pt>
          <cx:pt idx="38404">4</cx:pt>
          <cx:pt idx="38405">5</cx:pt>
          <cx:pt idx="38406">1</cx:pt>
          <cx:pt idx="38407">2</cx:pt>
          <cx:pt idx="38408">4</cx:pt>
          <cx:pt idx="38409">5</cx:pt>
          <cx:pt idx="38410">2</cx:pt>
          <cx:pt idx="38411">4</cx:pt>
          <cx:pt idx="38412">3</cx:pt>
          <cx:pt idx="38413">2</cx:pt>
          <cx:pt idx="38414">3</cx:pt>
          <cx:pt idx="38415">5</cx:pt>
          <cx:pt idx="38416">4</cx:pt>
          <cx:pt idx="38417">2</cx:pt>
          <cx:pt idx="38418">3</cx:pt>
          <cx:pt idx="38419">4</cx:pt>
          <cx:pt idx="38420">5</cx:pt>
          <cx:pt idx="38421">4</cx:pt>
          <cx:pt idx="38422">4</cx:pt>
          <cx:pt idx="38423">2</cx:pt>
          <cx:pt idx="38424">5</cx:pt>
          <cx:pt idx="38425">2</cx:pt>
          <cx:pt idx="38426">4</cx:pt>
          <cx:pt idx="38427">3</cx:pt>
          <cx:pt idx="38428">5</cx:pt>
          <cx:pt idx="38429">5</cx:pt>
          <cx:pt idx="38430">3</cx:pt>
          <cx:pt idx="38431">2</cx:pt>
          <cx:pt idx="38432">5</cx:pt>
          <cx:pt idx="38433">1</cx:pt>
          <cx:pt idx="38434">4</cx:pt>
          <cx:pt idx="38435">5</cx:pt>
          <cx:pt idx="38436">4</cx:pt>
          <cx:pt idx="38437">5</cx:pt>
          <cx:pt idx="38438">4</cx:pt>
          <cx:pt idx="38439">5</cx:pt>
          <cx:pt idx="38440">5</cx:pt>
          <cx:pt idx="38441">3</cx:pt>
          <cx:pt idx="38442">4</cx:pt>
          <cx:pt idx="38443">3</cx:pt>
          <cx:pt idx="38444">3</cx:pt>
          <cx:pt idx="38445">4</cx:pt>
          <cx:pt idx="38446">5</cx:pt>
          <cx:pt idx="38447">5</cx:pt>
          <cx:pt idx="38448">2</cx:pt>
          <cx:pt idx="38449">1</cx:pt>
          <cx:pt idx="38450">3</cx:pt>
          <cx:pt idx="38451">1</cx:pt>
          <cx:pt idx="38452">5</cx:pt>
          <cx:pt idx="38453">5</cx:pt>
          <cx:pt idx="38454">5</cx:pt>
          <cx:pt idx="38455">3</cx:pt>
          <cx:pt idx="38456">4</cx:pt>
          <cx:pt idx="38457">4</cx:pt>
          <cx:pt idx="38458">3</cx:pt>
          <cx:pt idx="38459">3</cx:pt>
          <cx:pt idx="38460">2</cx:pt>
          <cx:pt idx="38461">4</cx:pt>
          <cx:pt idx="38462">3</cx:pt>
          <cx:pt idx="38463">5</cx:pt>
          <cx:pt idx="38464">1</cx:pt>
          <cx:pt idx="38465">4</cx:pt>
          <cx:pt idx="38466">5</cx:pt>
          <cx:pt idx="38467">5</cx:pt>
          <cx:pt idx="38468">5</cx:pt>
          <cx:pt idx="38469">5</cx:pt>
          <cx:pt idx="38470">5</cx:pt>
          <cx:pt idx="38471">4</cx:pt>
          <cx:pt idx="38472">4</cx:pt>
          <cx:pt idx="38473">5</cx:pt>
          <cx:pt idx="38474">5</cx:pt>
          <cx:pt idx="38475">5</cx:pt>
          <cx:pt idx="38476">2</cx:pt>
          <cx:pt idx="38477">4</cx:pt>
          <cx:pt idx="38478">1</cx:pt>
          <cx:pt idx="38479">3</cx:pt>
          <cx:pt idx="38480">1</cx:pt>
          <cx:pt idx="38481">2</cx:pt>
          <cx:pt idx="38482">5</cx:pt>
          <cx:pt idx="38483">5</cx:pt>
          <cx:pt idx="38484">4</cx:pt>
          <cx:pt idx="38485">4</cx:pt>
          <cx:pt idx="38486">4</cx:pt>
          <cx:pt idx="38487">2</cx:pt>
          <cx:pt idx="38488">2</cx:pt>
          <cx:pt idx="38489">5</cx:pt>
          <cx:pt idx="38490">5</cx:pt>
          <cx:pt idx="38491">4</cx:pt>
          <cx:pt idx="38492">3</cx:pt>
          <cx:pt idx="38493">4</cx:pt>
          <cx:pt idx="38494">3</cx:pt>
          <cx:pt idx="38495">2</cx:pt>
          <cx:pt idx="38496">4</cx:pt>
          <cx:pt idx="38497">4</cx:pt>
          <cx:pt idx="38498">1</cx:pt>
          <cx:pt idx="38499">5</cx:pt>
          <cx:pt idx="38500">3</cx:pt>
          <cx:pt idx="38501">4</cx:pt>
          <cx:pt idx="38502">3</cx:pt>
          <cx:pt idx="38503">2</cx:pt>
          <cx:pt idx="38504">4</cx:pt>
          <cx:pt idx="38505">1</cx:pt>
          <cx:pt idx="38506">5</cx:pt>
          <cx:pt idx="38507">2</cx:pt>
          <cx:pt idx="38508">4</cx:pt>
          <cx:pt idx="38509">5</cx:pt>
          <cx:pt idx="38510">4</cx:pt>
          <cx:pt idx="38511">5</cx:pt>
          <cx:pt idx="38512">1</cx:pt>
          <cx:pt idx="38513">5</cx:pt>
          <cx:pt idx="38514">2</cx:pt>
          <cx:pt idx="38515">2</cx:pt>
          <cx:pt idx="38516">2</cx:pt>
          <cx:pt idx="38517">4</cx:pt>
          <cx:pt idx="38518">1</cx:pt>
          <cx:pt idx="38519">4</cx:pt>
          <cx:pt idx="38520">3</cx:pt>
          <cx:pt idx="38521">5</cx:pt>
          <cx:pt idx="38522">4</cx:pt>
          <cx:pt idx="38523">2</cx:pt>
          <cx:pt idx="38524">1</cx:pt>
          <cx:pt idx="38525">4</cx:pt>
          <cx:pt idx="38526">4</cx:pt>
          <cx:pt idx="38527">5</cx:pt>
          <cx:pt idx="38528">4</cx:pt>
          <cx:pt idx="38529">1</cx:pt>
          <cx:pt idx="38530">1</cx:pt>
          <cx:pt idx="38531">4</cx:pt>
          <cx:pt idx="38532">5</cx:pt>
          <cx:pt idx="38533">4</cx:pt>
          <cx:pt idx="38534">4</cx:pt>
          <cx:pt idx="38535">4</cx:pt>
          <cx:pt idx="38536">2</cx:pt>
          <cx:pt idx="38537">4</cx:pt>
          <cx:pt idx="38538">3</cx:pt>
          <cx:pt idx="38539">4</cx:pt>
          <cx:pt idx="38540">5</cx:pt>
          <cx:pt idx="38541">1</cx:pt>
          <cx:pt idx="38542">5</cx:pt>
          <cx:pt idx="38543">4</cx:pt>
          <cx:pt idx="38544">2</cx:pt>
          <cx:pt idx="38545">2</cx:pt>
          <cx:pt idx="38546">5</cx:pt>
          <cx:pt idx="38547">4</cx:pt>
          <cx:pt idx="38548">2</cx:pt>
          <cx:pt idx="38549">2</cx:pt>
          <cx:pt idx="38550">5</cx:pt>
          <cx:pt idx="38551">4</cx:pt>
          <cx:pt idx="38552">4</cx:pt>
          <cx:pt idx="38553">1</cx:pt>
          <cx:pt idx="38554">4</cx:pt>
          <cx:pt idx="38555">5</cx:pt>
          <cx:pt idx="38556">4</cx:pt>
          <cx:pt idx="38557">2</cx:pt>
          <cx:pt idx="38558">5</cx:pt>
          <cx:pt idx="38559">5</cx:pt>
          <cx:pt idx="38560">4</cx:pt>
          <cx:pt idx="38561">2</cx:pt>
          <cx:pt idx="38562">5</cx:pt>
          <cx:pt idx="38563">3</cx:pt>
          <cx:pt idx="38564">4</cx:pt>
          <cx:pt idx="38565">4</cx:pt>
          <cx:pt idx="38566">5</cx:pt>
          <cx:pt idx="38567">3</cx:pt>
          <cx:pt idx="38568">5</cx:pt>
          <cx:pt idx="38569">5</cx:pt>
          <cx:pt idx="38570">4</cx:pt>
          <cx:pt idx="38571">5</cx:pt>
          <cx:pt idx="38572">4</cx:pt>
          <cx:pt idx="38573">4</cx:pt>
          <cx:pt idx="38574">4</cx:pt>
          <cx:pt idx="38575">4</cx:pt>
          <cx:pt idx="38576">4</cx:pt>
          <cx:pt idx="38577">3</cx:pt>
          <cx:pt idx="38578">3</cx:pt>
          <cx:pt idx="38579">2</cx:pt>
          <cx:pt idx="38580">3</cx:pt>
          <cx:pt idx="38581">1</cx:pt>
          <cx:pt idx="38582">4</cx:pt>
          <cx:pt idx="38583">4</cx:pt>
          <cx:pt idx="38584">3</cx:pt>
          <cx:pt idx="38585">4</cx:pt>
          <cx:pt idx="38586">5</cx:pt>
          <cx:pt idx="38587">5</cx:pt>
          <cx:pt idx="38588">3</cx:pt>
          <cx:pt idx="38589">2</cx:pt>
          <cx:pt idx="38590">4</cx:pt>
          <cx:pt idx="38591">4</cx:pt>
          <cx:pt idx="38592">2</cx:pt>
          <cx:pt idx="38593">3</cx:pt>
          <cx:pt idx="38594">2</cx:pt>
          <cx:pt idx="38595">4</cx:pt>
          <cx:pt idx="38596">4</cx:pt>
          <cx:pt idx="38597">4</cx:pt>
          <cx:pt idx="38598">3</cx:pt>
          <cx:pt idx="38599">1</cx:pt>
          <cx:pt idx="38600">3</cx:pt>
          <cx:pt idx="38601">2</cx:pt>
          <cx:pt idx="38602">4</cx:pt>
          <cx:pt idx="38603">5</cx:pt>
          <cx:pt idx="38604">3</cx:pt>
          <cx:pt idx="38605">4</cx:pt>
          <cx:pt idx="38606">5</cx:pt>
          <cx:pt idx="38607">5</cx:pt>
          <cx:pt idx="38608">3</cx:pt>
          <cx:pt idx="38609">4</cx:pt>
          <cx:pt idx="38610">5</cx:pt>
          <cx:pt idx="38611">4</cx:pt>
          <cx:pt idx="38612">4</cx:pt>
          <cx:pt idx="38613">4</cx:pt>
          <cx:pt idx="38614">5</cx:pt>
          <cx:pt idx="38615">1</cx:pt>
          <cx:pt idx="38616">3</cx:pt>
          <cx:pt idx="38617">4</cx:pt>
          <cx:pt idx="38618">2</cx:pt>
          <cx:pt idx="38619">2</cx:pt>
          <cx:pt idx="38620">2</cx:pt>
          <cx:pt idx="38621">4</cx:pt>
          <cx:pt idx="38622">3</cx:pt>
          <cx:pt idx="38623">5</cx:pt>
          <cx:pt idx="38624">1</cx:pt>
          <cx:pt idx="38625">5</cx:pt>
          <cx:pt idx="38626">5</cx:pt>
          <cx:pt idx="38627">3</cx:pt>
          <cx:pt idx="38628">3</cx:pt>
          <cx:pt idx="38629">4</cx:pt>
          <cx:pt idx="38630">4</cx:pt>
          <cx:pt idx="38631">3</cx:pt>
          <cx:pt idx="38632">3</cx:pt>
          <cx:pt idx="38633">3</cx:pt>
          <cx:pt idx="38634">1</cx:pt>
          <cx:pt idx="38635">4</cx:pt>
          <cx:pt idx="38636">4</cx:pt>
          <cx:pt idx="38637">4</cx:pt>
          <cx:pt idx="38638">4</cx:pt>
          <cx:pt idx="38639">2</cx:pt>
          <cx:pt idx="38640">4</cx:pt>
          <cx:pt idx="38641">2</cx:pt>
          <cx:pt idx="38642">3</cx:pt>
          <cx:pt idx="38643">4</cx:pt>
          <cx:pt idx="38644">4</cx:pt>
          <cx:pt idx="38645">2</cx:pt>
          <cx:pt idx="38646">3</cx:pt>
          <cx:pt idx="38647">5</cx:pt>
          <cx:pt idx="38648">2</cx:pt>
          <cx:pt idx="38649">2</cx:pt>
          <cx:pt idx="38650">3</cx:pt>
          <cx:pt idx="38651">4</cx:pt>
          <cx:pt idx="38652">1</cx:pt>
          <cx:pt idx="38653">4</cx:pt>
          <cx:pt idx="38654">3</cx:pt>
          <cx:pt idx="38655">5</cx:pt>
          <cx:pt idx="38656">1</cx:pt>
          <cx:pt idx="38657">3</cx:pt>
          <cx:pt idx="38658">3</cx:pt>
          <cx:pt idx="38659">1</cx:pt>
          <cx:pt idx="38660">2</cx:pt>
          <cx:pt idx="38661">3</cx:pt>
          <cx:pt idx="38662">3</cx:pt>
          <cx:pt idx="38663">2</cx:pt>
          <cx:pt idx="38664">1</cx:pt>
          <cx:pt idx="38665">2</cx:pt>
          <cx:pt idx="38666">3</cx:pt>
          <cx:pt idx="38667">5</cx:pt>
          <cx:pt idx="38668">3</cx:pt>
          <cx:pt idx="38669">4</cx:pt>
          <cx:pt idx="38670">3</cx:pt>
          <cx:pt idx="38671">5</cx:pt>
          <cx:pt idx="38672">4</cx:pt>
          <cx:pt idx="38673">4</cx:pt>
          <cx:pt idx="38674">3</cx:pt>
          <cx:pt idx="38675">4</cx:pt>
          <cx:pt idx="38676">3</cx:pt>
          <cx:pt idx="38677">5</cx:pt>
          <cx:pt idx="38678">1</cx:pt>
          <cx:pt idx="38679">2</cx:pt>
          <cx:pt idx="38680">3</cx:pt>
          <cx:pt idx="38681">5</cx:pt>
          <cx:pt idx="38682">1</cx:pt>
          <cx:pt idx="38683">5</cx:pt>
          <cx:pt idx="38684">3</cx:pt>
          <cx:pt idx="38685">1</cx:pt>
          <cx:pt idx="38686">3</cx:pt>
          <cx:pt idx="38687">4</cx:pt>
          <cx:pt idx="38688">5</cx:pt>
          <cx:pt idx="38689">3</cx:pt>
          <cx:pt idx="38690">2</cx:pt>
          <cx:pt idx="38691">4</cx:pt>
          <cx:pt idx="38692">3</cx:pt>
          <cx:pt idx="38693">4</cx:pt>
          <cx:pt idx="38694">2</cx:pt>
          <cx:pt idx="38695">2</cx:pt>
          <cx:pt idx="38696">4</cx:pt>
          <cx:pt idx="38697">3</cx:pt>
          <cx:pt idx="38698">5</cx:pt>
          <cx:pt idx="38699">2</cx:pt>
          <cx:pt idx="38700">3</cx:pt>
          <cx:pt idx="38701">5</cx:pt>
          <cx:pt idx="38702">5</cx:pt>
          <cx:pt idx="38703">3</cx:pt>
          <cx:pt idx="38704">1</cx:pt>
          <cx:pt idx="38705">4</cx:pt>
          <cx:pt idx="38706">3</cx:pt>
          <cx:pt idx="38707">5</cx:pt>
          <cx:pt idx="38708">4</cx:pt>
          <cx:pt idx="38709">4</cx:pt>
          <cx:pt idx="38710">4</cx:pt>
          <cx:pt idx="38711">3</cx:pt>
          <cx:pt idx="38712">2</cx:pt>
          <cx:pt idx="38713">5</cx:pt>
          <cx:pt idx="38714">4</cx:pt>
          <cx:pt idx="38715">4</cx:pt>
          <cx:pt idx="38716">4</cx:pt>
          <cx:pt idx="38717">1</cx:pt>
          <cx:pt idx="38718">2</cx:pt>
          <cx:pt idx="38719">4</cx:pt>
          <cx:pt idx="38720">3</cx:pt>
          <cx:pt idx="38721">2</cx:pt>
          <cx:pt idx="38722">5</cx:pt>
          <cx:pt idx="38723">1</cx:pt>
          <cx:pt idx="38724">4</cx:pt>
          <cx:pt idx="38725">3</cx:pt>
          <cx:pt idx="38726">4</cx:pt>
          <cx:pt idx="38727">4</cx:pt>
          <cx:pt idx="38728">5</cx:pt>
          <cx:pt idx="38729">2</cx:pt>
          <cx:pt idx="38730">4</cx:pt>
          <cx:pt idx="38731">4</cx:pt>
          <cx:pt idx="38732">4</cx:pt>
          <cx:pt idx="38733">5</cx:pt>
          <cx:pt idx="38734">3</cx:pt>
          <cx:pt idx="38735">3</cx:pt>
          <cx:pt idx="38736">5</cx:pt>
          <cx:pt idx="38737">4</cx:pt>
          <cx:pt idx="38738">5</cx:pt>
          <cx:pt idx="38739">3</cx:pt>
          <cx:pt idx="38740">4</cx:pt>
          <cx:pt idx="38741">4</cx:pt>
          <cx:pt idx="38742">1</cx:pt>
          <cx:pt idx="38743">5</cx:pt>
          <cx:pt idx="38744">5</cx:pt>
          <cx:pt idx="38745">3</cx:pt>
          <cx:pt idx="38746">4</cx:pt>
          <cx:pt idx="38747">2</cx:pt>
          <cx:pt idx="38748">2</cx:pt>
          <cx:pt idx="38749">3</cx:pt>
          <cx:pt idx="38750">5</cx:pt>
          <cx:pt idx="38751">3</cx:pt>
          <cx:pt idx="38752">4</cx:pt>
          <cx:pt idx="38753">4</cx:pt>
          <cx:pt idx="38754">4</cx:pt>
          <cx:pt idx="38755">5</cx:pt>
          <cx:pt idx="38756">2</cx:pt>
          <cx:pt idx="38757">4</cx:pt>
          <cx:pt idx="38758">3</cx:pt>
          <cx:pt idx="38759">5</cx:pt>
          <cx:pt idx="38760">3</cx:pt>
          <cx:pt idx="38761">2</cx:pt>
          <cx:pt idx="38762">4</cx:pt>
          <cx:pt idx="38763">1</cx:pt>
          <cx:pt idx="38764">4</cx:pt>
          <cx:pt idx="38765">5</cx:pt>
          <cx:pt idx="38766">1</cx:pt>
          <cx:pt idx="38767">4</cx:pt>
          <cx:pt idx="38768">2</cx:pt>
          <cx:pt idx="38769">2</cx:pt>
          <cx:pt idx="38770">5</cx:pt>
          <cx:pt idx="38771">3</cx:pt>
          <cx:pt idx="38772">5</cx:pt>
          <cx:pt idx="38773">1</cx:pt>
          <cx:pt idx="38774">5</cx:pt>
          <cx:pt idx="38775">2</cx:pt>
          <cx:pt idx="38776">4</cx:pt>
          <cx:pt idx="38777">3</cx:pt>
          <cx:pt idx="38778">5</cx:pt>
          <cx:pt idx="38779">3</cx:pt>
          <cx:pt idx="38780">1</cx:pt>
          <cx:pt idx="38781">5</cx:pt>
          <cx:pt idx="38782">4</cx:pt>
          <cx:pt idx="38783">2</cx:pt>
          <cx:pt idx="38784">3</cx:pt>
          <cx:pt idx="38785">3</cx:pt>
          <cx:pt idx="38786">4</cx:pt>
          <cx:pt idx="38787">3</cx:pt>
          <cx:pt idx="38788">3</cx:pt>
          <cx:pt idx="38789">4</cx:pt>
          <cx:pt idx="38790">5</cx:pt>
          <cx:pt idx="38791">4</cx:pt>
          <cx:pt idx="38792">4</cx:pt>
          <cx:pt idx="38793">2</cx:pt>
          <cx:pt idx="38794">4</cx:pt>
          <cx:pt idx="38795">2</cx:pt>
          <cx:pt idx="38796">4</cx:pt>
          <cx:pt idx="38797">4</cx:pt>
          <cx:pt idx="38798">3</cx:pt>
          <cx:pt idx="38799">4</cx:pt>
          <cx:pt idx="38800">2</cx:pt>
          <cx:pt idx="38801">2</cx:pt>
          <cx:pt idx="38802">4</cx:pt>
          <cx:pt idx="38803">4</cx:pt>
          <cx:pt idx="38804">5</cx:pt>
          <cx:pt idx="38805">5</cx:pt>
          <cx:pt idx="38806">3</cx:pt>
          <cx:pt idx="38807">1</cx:pt>
          <cx:pt idx="38808">2</cx:pt>
          <cx:pt idx="38809">5</cx:pt>
          <cx:pt idx="38810">4</cx:pt>
          <cx:pt idx="38811">1</cx:pt>
          <cx:pt idx="38812">1</cx:pt>
          <cx:pt idx="38813">4</cx:pt>
          <cx:pt idx="38814">4</cx:pt>
          <cx:pt idx="38815">2</cx:pt>
          <cx:pt idx="38816">4</cx:pt>
          <cx:pt idx="38817">2</cx:pt>
          <cx:pt idx="38818">3</cx:pt>
          <cx:pt idx="38819">4</cx:pt>
          <cx:pt idx="38820">5</cx:pt>
          <cx:pt idx="38821">2</cx:pt>
          <cx:pt idx="38822">4</cx:pt>
          <cx:pt idx="38823">3</cx:pt>
          <cx:pt idx="38824">4</cx:pt>
          <cx:pt idx="38825">4</cx:pt>
          <cx:pt idx="38826">4</cx:pt>
          <cx:pt idx="38827">2</cx:pt>
          <cx:pt idx="38828">5</cx:pt>
          <cx:pt idx="38829">1</cx:pt>
          <cx:pt idx="38830">5</cx:pt>
          <cx:pt idx="38831">4</cx:pt>
          <cx:pt idx="38832">3</cx:pt>
          <cx:pt idx="38833">4</cx:pt>
          <cx:pt idx="38834">5</cx:pt>
          <cx:pt idx="38835">3</cx:pt>
          <cx:pt idx="38836">5</cx:pt>
          <cx:pt idx="38837">1</cx:pt>
          <cx:pt idx="38838">5</cx:pt>
          <cx:pt idx="38839">3</cx:pt>
          <cx:pt idx="38840">3</cx:pt>
          <cx:pt idx="38841">5</cx:pt>
          <cx:pt idx="38842">5</cx:pt>
          <cx:pt idx="38843">4</cx:pt>
          <cx:pt idx="38844">2</cx:pt>
          <cx:pt idx="38845">4</cx:pt>
          <cx:pt idx="38846">5</cx:pt>
          <cx:pt idx="38847">5</cx:pt>
          <cx:pt idx="38848">4</cx:pt>
          <cx:pt idx="38849">4</cx:pt>
          <cx:pt idx="38850">5</cx:pt>
          <cx:pt idx="38851">5</cx:pt>
          <cx:pt idx="38852">2</cx:pt>
          <cx:pt idx="38853">3</cx:pt>
          <cx:pt idx="38854">3</cx:pt>
          <cx:pt idx="38855">3</cx:pt>
          <cx:pt idx="38856">2</cx:pt>
          <cx:pt idx="38857">5</cx:pt>
          <cx:pt idx="38858">5</cx:pt>
          <cx:pt idx="38859">2</cx:pt>
          <cx:pt idx="38860">2</cx:pt>
          <cx:pt idx="38861">4</cx:pt>
          <cx:pt idx="38862">3</cx:pt>
          <cx:pt idx="38863">4</cx:pt>
          <cx:pt idx="38864">5</cx:pt>
          <cx:pt idx="38865">5</cx:pt>
          <cx:pt idx="38866">3</cx:pt>
          <cx:pt idx="38867">4</cx:pt>
          <cx:pt idx="38868">4</cx:pt>
          <cx:pt idx="38869">4</cx:pt>
          <cx:pt idx="38870">2</cx:pt>
          <cx:pt idx="38871">3</cx:pt>
          <cx:pt idx="38872">4</cx:pt>
          <cx:pt idx="38873">3</cx:pt>
          <cx:pt idx="38874">4</cx:pt>
          <cx:pt idx="38875">4</cx:pt>
          <cx:pt idx="38876">3</cx:pt>
          <cx:pt idx="38877">4</cx:pt>
          <cx:pt idx="38878">3</cx:pt>
          <cx:pt idx="38879">5</cx:pt>
          <cx:pt idx="38880">1</cx:pt>
          <cx:pt idx="38881">4</cx:pt>
          <cx:pt idx="38882">4</cx:pt>
          <cx:pt idx="38883">4</cx:pt>
          <cx:pt idx="38884">4</cx:pt>
          <cx:pt idx="38885">5</cx:pt>
          <cx:pt idx="38886">4</cx:pt>
          <cx:pt idx="38887">2</cx:pt>
          <cx:pt idx="38888">2</cx:pt>
          <cx:pt idx="38889">3</cx:pt>
          <cx:pt idx="38890">1</cx:pt>
          <cx:pt idx="38891">3</cx:pt>
          <cx:pt idx="38892">4</cx:pt>
          <cx:pt idx="38893">3</cx:pt>
          <cx:pt idx="38894">4</cx:pt>
          <cx:pt idx="38895">2</cx:pt>
          <cx:pt idx="38896">4</cx:pt>
          <cx:pt idx="38897">3</cx:pt>
          <cx:pt idx="38898">5</cx:pt>
          <cx:pt idx="38899">5</cx:pt>
          <cx:pt idx="38900">2</cx:pt>
          <cx:pt idx="38901">5</cx:pt>
          <cx:pt idx="38902">3</cx:pt>
          <cx:pt idx="38903">4</cx:pt>
          <cx:pt idx="38904">1</cx:pt>
          <cx:pt idx="38905">5</cx:pt>
          <cx:pt idx="38906">4</cx:pt>
          <cx:pt idx="38907">2</cx:pt>
          <cx:pt idx="38908">3</cx:pt>
          <cx:pt idx="38909">3</cx:pt>
          <cx:pt idx="38910">5</cx:pt>
          <cx:pt idx="38911">5</cx:pt>
          <cx:pt idx="38912">5</cx:pt>
          <cx:pt idx="38913">4</cx:pt>
          <cx:pt idx="38914">4</cx:pt>
          <cx:pt idx="38915">3</cx:pt>
          <cx:pt idx="38916">3</cx:pt>
          <cx:pt idx="38917">2</cx:pt>
          <cx:pt idx="38918">3</cx:pt>
          <cx:pt idx="38919">1</cx:pt>
          <cx:pt idx="38920">1</cx:pt>
          <cx:pt idx="38921">3</cx:pt>
          <cx:pt idx="38922">1</cx:pt>
          <cx:pt idx="38923">4</cx:pt>
          <cx:pt idx="38924">2</cx:pt>
          <cx:pt idx="38925">4</cx:pt>
          <cx:pt idx="38926">4</cx:pt>
          <cx:pt idx="38927">4</cx:pt>
          <cx:pt idx="38928">5</cx:pt>
          <cx:pt idx="38929">1</cx:pt>
          <cx:pt idx="38930">2</cx:pt>
          <cx:pt idx="38931">2</cx:pt>
          <cx:pt idx="38932">5</cx:pt>
          <cx:pt idx="38933">3</cx:pt>
          <cx:pt idx="38934">4</cx:pt>
          <cx:pt idx="38935">4</cx:pt>
          <cx:pt idx="38936">5</cx:pt>
          <cx:pt idx="38937">4</cx:pt>
          <cx:pt idx="38938">1</cx:pt>
          <cx:pt idx="38939">2</cx:pt>
          <cx:pt idx="38940">5</cx:pt>
          <cx:pt idx="38941">4</cx:pt>
          <cx:pt idx="38942">5</cx:pt>
          <cx:pt idx="38943">1</cx:pt>
          <cx:pt idx="38944">4</cx:pt>
          <cx:pt idx="38945">4</cx:pt>
          <cx:pt idx="38946">3</cx:pt>
          <cx:pt idx="38947">1</cx:pt>
          <cx:pt idx="38948">5</cx:pt>
          <cx:pt idx="38949">4</cx:pt>
          <cx:pt idx="38950">2</cx:pt>
          <cx:pt idx="38951">5</cx:pt>
          <cx:pt idx="38952">3</cx:pt>
          <cx:pt idx="38953">2</cx:pt>
          <cx:pt idx="38954">5</cx:pt>
          <cx:pt idx="38955">4</cx:pt>
          <cx:pt idx="38956">5</cx:pt>
          <cx:pt idx="38957">5</cx:pt>
          <cx:pt idx="38958">2</cx:pt>
          <cx:pt idx="38959">2</cx:pt>
          <cx:pt idx="38960">5</cx:pt>
          <cx:pt idx="38961">4</cx:pt>
          <cx:pt idx="38962">1</cx:pt>
          <cx:pt idx="38963">5</cx:pt>
          <cx:pt idx="38964">1</cx:pt>
          <cx:pt idx="38965">1</cx:pt>
          <cx:pt idx="38966">4</cx:pt>
          <cx:pt idx="38967">2</cx:pt>
          <cx:pt idx="38968">2</cx:pt>
          <cx:pt idx="38969">2</cx:pt>
          <cx:pt idx="38970">5</cx:pt>
          <cx:pt idx="38971">1</cx:pt>
          <cx:pt idx="38972">5</cx:pt>
          <cx:pt idx="38973">3</cx:pt>
          <cx:pt idx="38974">2</cx:pt>
          <cx:pt idx="38975">3</cx:pt>
          <cx:pt idx="38976">5</cx:pt>
          <cx:pt idx="38977">4</cx:pt>
          <cx:pt idx="38978">5</cx:pt>
          <cx:pt idx="38979">5</cx:pt>
          <cx:pt idx="38980">2</cx:pt>
          <cx:pt idx="38981">3</cx:pt>
          <cx:pt idx="38982">1</cx:pt>
          <cx:pt idx="38983">1</cx:pt>
          <cx:pt idx="38984">4</cx:pt>
          <cx:pt idx="38985">5</cx:pt>
          <cx:pt idx="38986">5</cx:pt>
          <cx:pt idx="38987">3</cx:pt>
          <cx:pt idx="38988">4</cx:pt>
          <cx:pt idx="38989">5</cx:pt>
          <cx:pt idx="38990">2</cx:pt>
          <cx:pt idx="38991">5</cx:pt>
          <cx:pt idx="38992">3</cx:pt>
          <cx:pt idx="38993">5</cx:pt>
          <cx:pt idx="38994">1</cx:pt>
          <cx:pt idx="38995">5</cx:pt>
          <cx:pt idx="38996">5</cx:pt>
          <cx:pt idx="38997">3</cx:pt>
          <cx:pt idx="38998">1</cx:pt>
          <cx:pt idx="38999">5</cx:pt>
          <cx:pt idx="39000">1</cx:pt>
          <cx:pt idx="39001">1</cx:pt>
          <cx:pt idx="39002">3</cx:pt>
          <cx:pt idx="39003">5</cx:pt>
          <cx:pt idx="39004">4</cx:pt>
          <cx:pt idx="39005">4</cx:pt>
          <cx:pt idx="39006">4</cx:pt>
          <cx:pt idx="39007">5</cx:pt>
          <cx:pt idx="39008">5</cx:pt>
          <cx:pt idx="39009">3</cx:pt>
          <cx:pt idx="39010">4</cx:pt>
          <cx:pt idx="39011">4</cx:pt>
          <cx:pt idx="39012">2</cx:pt>
          <cx:pt idx="39013">5</cx:pt>
          <cx:pt idx="39014">4</cx:pt>
          <cx:pt idx="39015">2</cx:pt>
          <cx:pt idx="39016">5</cx:pt>
          <cx:pt idx="39017">1</cx:pt>
          <cx:pt idx="39018">3</cx:pt>
          <cx:pt idx="39019">2</cx:pt>
          <cx:pt idx="39020">4</cx:pt>
          <cx:pt idx="39021">4</cx:pt>
          <cx:pt idx="39022">3</cx:pt>
          <cx:pt idx="39023">4</cx:pt>
          <cx:pt idx="39024">4</cx:pt>
          <cx:pt idx="39025">5</cx:pt>
          <cx:pt idx="39026">4</cx:pt>
          <cx:pt idx="39027">5</cx:pt>
          <cx:pt idx="39028">3</cx:pt>
          <cx:pt idx="39029">3</cx:pt>
          <cx:pt idx="39030">4</cx:pt>
          <cx:pt idx="39031">4</cx:pt>
          <cx:pt idx="39032">1</cx:pt>
          <cx:pt idx="39033">3</cx:pt>
          <cx:pt idx="39034">4</cx:pt>
          <cx:pt idx="39035">4</cx:pt>
          <cx:pt idx="39036">5</cx:pt>
          <cx:pt idx="39037">2</cx:pt>
          <cx:pt idx="39038">2</cx:pt>
          <cx:pt idx="39039">2</cx:pt>
          <cx:pt idx="39040">3</cx:pt>
          <cx:pt idx="39041">4</cx:pt>
          <cx:pt idx="39042">1</cx:pt>
          <cx:pt idx="39043">3</cx:pt>
          <cx:pt idx="39044">3</cx:pt>
          <cx:pt idx="39045">5</cx:pt>
          <cx:pt idx="39046">4</cx:pt>
          <cx:pt idx="39047">4</cx:pt>
          <cx:pt idx="39048">5</cx:pt>
          <cx:pt idx="39049">4</cx:pt>
          <cx:pt idx="39050">4</cx:pt>
          <cx:pt idx="39051">4</cx:pt>
          <cx:pt idx="39052">2</cx:pt>
          <cx:pt idx="39053">5</cx:pt>
          <cx:pt idx="39054">4</cx:pt>
          <cx:pt idx="39055">4</cx:pt>
          <cx:pt idx="39056">4</cx:pt>
          <cx:pt idx="39057">2</cx:pt>
          <cx:pt idx="39058">3</cx:pt>
          <cx:pt idx="39059">4</cx:pt>
          <cx:pt idx="39060">4</cx:pt>
          <cx:pt idx="39061">5</cx:pt>
          <cx:pt idx="39062">3</cx:pt>
          <cx:pt idx="39063">4</cx:pt>
          <cx:pt idx="39064">5</cx:pt>
          <cx:pt idx="39065">3</cx:pt>
          <cx:pt idx="39066">4</cx:pt>
          <cx:pt idx="39067">5</cx:pt>
          <cx:pt idx="39068">1</cx:pt>
          <cx:pt idx="39069">5</cx:pt>
          <cx:pt idx="39070">1</cx:pt>
          <cx:pt idx="39071">5</cx:pt>
          <cx:pt idx="39072">5</cx:pt>
          <cx:pt idx="39073">1</cx:pt>
          <cx:pt idx="39074">4</cx:pt>
          <cx:pt idx="39075">4</cx:pt>
          <cx:pt idx="39076">1</cx:pt>
          <cx:pt idx="39077">1</cx:pt>
          <cx:pt idx="39078">5</cx:pt>
          <cx:pt idx="39079">2</cx:pt>
          <cx:pt idx="39080">2</cx:pt>
          <cx:pt idx="39081">4</cx:pt>
          <cx:pt idx="39082">3</cx:pt>
          <cx:pt idx="39083">1</cx:pt>
          <cx:pt idx="39084">5</cx:pt>
          <cx:pt idx="39085">4</cx:pt>
          <cx:pt idx="39086">1</cx:pt>
          <cx:pt idx="39087">4</cx:pt>
          <cx:pt idx="39088">2</cx:pt>
          <cx:pt idx="39089">4</cx:pt>
          <cx:pt idx="39090">4</cx:pt>
          <cx:pt idx="39091">1</cx:pt>
          <cx:pt idx="39092">3</cx:pt>
          <cx:pt idx="39093">2</cx:pt>
          <cx:pt idx="39094">5</cx:pt>
          <cx:pt idx="39095">5</cx:pt>
          <cx:pt idx="39096">5</cx:pt>
          <cx:pt idx="39097">3</cx:pt>
          <cx:pt idx="39098">1</cx:pt>
          <cx:pt idx="39099">4</cx:pt>
          <cx:pt idx="39100">5</cx:pt>
          <cx:pt idx="39101">3</cx:pt>
          <cx:pt idx="39102">2</cx:pt>
          <cx:pt idx="39103">1</cx:pt>
          <cx:pt idx="39104">4</cx:pt>
          <cx:pt idx="39105">4</cx:pt>
          <cx:pt idx="39106">4</cx:pt>
          <cx:pt idx="39107">4</cx:pt>
          <cx:pt idx="39108">1</cx:pt>
          <cx:pt idx="39109">5</cx:pt>
          <cx:pt idx="39110">3</cx:pt>
          <cx:pt idx="39111">5</cx:pt>
          <cx:pt idx="39112">3</cx:pt>
          <cx:pt idx="39113">5</cx:pt>
          <cx:pt idx="39114">5</cx:pt>
          <cx:pt idx="39115">3</cx:pt>
          <cx:pt idx="39116">4</cx:pt>
          <cx:pt idx="39117">5</cx:pt>
          <cx:pt idx="39118">4</cx:pt>
          <cx:pt idx="39119">4</cx:pt>
          <cx:pt idx="39120">5</cx:pt>
          <cx:pt idx="39121">4</cx:pt>
          <cx:pt idx="39122">4</cx:pt>
          <cx:pt idx="39123">3</cx:pt>
          <cx:pt idx="39124">4</cx:pt>
          <cx:pt idx="39125">1</cx:pt>
          <cx:pt idx="39126">4</cx:pt>
          <cx:pt idx="39127">5</cx:pt>
          <cx:pt idx="39128">4</cx:pt>
          <cx:pt idx="39129">5</cx:pt>
          <cx:pt idx="39130">5</cx:pt>
          <cx:pt idx="39131">4</cx:pt>
          <cx:pt idx="39132">2</cx:pt>
          <cx:pt idx="39133">3</cx:pt>
          <cx:pt idx="39134">4</cx:pt>
          <cx:pt idx="39135">4</cx:pt>
          <cx:pt idx="39136">5</cx:pt>
          <cx:pt idx="39137">4</cx:pt>
          <cx:pt idx="39138">4</cx:pt>
          <cx:pt idx="39139">4</cx:pt>
          <cx:pt idx="39140">4</cx:pt>
          <cx:pt idx="39141">5</cx:pt>
          <cx:pt idx="39142">4</cx:pt>
          <cx:pt idx="39143">4</cx:pt>
          <cx:pt idx="39144">1</cx:pt>
          <cx:pt idx="39145">4</cx:pt>
          <cx:pt idx="39146">3</cx:pt>
          <cx:pt idx="39147">4</cx:pt>
          <cx:pt idx="39148">4</cx:pt>
          <cx:pt idx="39149">3</cx:pt>
          <cx:pt idx="39150">1</cx:pt>
          <cx:pt idx="39151">4</cx:pt>
          <cx:pt idx="39152">3</cx:pt>
          <cx:pt idx="39153">3</cx:pt>
          <cx:pt idx="39154">5</cx:pt>
          <cx:pt idx="39155">3</cx:pt>
          <cx:pt idx="39156">4</cx:pt>
          <cx:pt idx="39157">4</cx:pt>
          <cx:pt idx="39158">2</cx:pt>
          <cx:pt idx="39159">1</cx:pt>
          <cx:pt idx="39160">2</cx:pt>
          <cx:pt idx="39161">4</cx:pt>
          <cx:pt idx="39162">4</cx:pt>
          <cx:pt idx="39163">5</cx:pt>
          <cx:pt idx="39164">3</cx:pt>
          <cx:pt idx="39165">4</cx:pt>
          <cx:pt idx="39166">1</cx:pt>
          <cx:pt idx="39167">4</cx:pt>
          <cx:pt idx="39168">3</cx:pt>
          <cx:pt idx="39169">1</cx:pt>
          <cx:pt idx="39170">4</cx:pt>
          <cx:pt idx="39171">5</cx:pt>
          <cx:pt idx="39172">5</cx:pt>
          <cx:pt idx="39173">4</cx:pt>
          <cx:pt idx="39174">4</cx:pt>
          <cx:pt idx="39175">3</cx:pt>
          <cx:pt idx="39176">3</cx:pt>
          <cx:pt idx="39177">5</cx:pt>
          <cx:pt idx="39178">4</cx:pt>
          <cx:pt idx="39179">4</cx:pt>
          <cx:pt idx="39180">2</cx:pt>
          <cx:pt idx="39181">4</cx:pt>
          <cx:pt idx="39182">4</cx:pt>
          <cx:pt idx="39183">4</cx:pt>
          <cx:pt idx="39184">3</cx:pt>
          <cx:pt idx="39185">5</cx:pt>
          <cx:pt idx="39186">2</cx:pt>
          <cx:pt idx="39187">3</cx:pt>
          <cx:pt idx="39188">5</cx:pt>
          <cx:pt idx="39189">4</cx:pt>
          <cx:pt idx="39190">1</cx:pt>
          <cx:pt idx="39191">5</cx:pt>
          <cx:pt idx="39192">5</cx:pt>
          <cx:pt idx="39193">4</cx:pt>
          <cx:pt idx="39194">2</cx:pt>
          <cx:pt idx="39195">3</cx:pt>
          <cx:pt idx="39196">4</cx:pt>
          <cx:pt idx="39197">5</cx:pt>
          <cx:pt idx="39198">3</cx:pt>
          <cx:pt idx="39199">2</cx:pt>
          <cx:pt idx="39200">3</cx:pt>
          <cx:pt idx="39201">3</cx:pt>
          <cx:pt idx="39202">3</cx:pt>
          <cx:pt idx="39203">4</cx:pt>
          <cx:pt idx="39204">4</cx:pt>
          <cx:pt idx="39205">2</cx:pt>
          <cx:pt idx="39206">4</cx:pt>
          <cx:pt idx="39207">4</cx:pt>
          <cx:pt idx="39208">5</cx:pt>
          <cx:pt idx="39209">1</cx:pt>
          <cx:pt idx="39210">2</cx:pt>
          <cx:pt idx="39211">1</cx:pt>
          <cx:pt idx="39212">1</cx:pt>
          <cx:pt idx="39213">1</cx:pt>
          <cx:pt idx="39214">4</cx:pt>
          <cx:pt idx="39215">4</cx:pt>
          <cx:pt idx="39216">2</cx:pt>
          <cx:pt idx="39217">5</cx:pt>
          <cx:pt idx="39218">1</cx:pt>
          <cx:pt idx="39219">3</cx:pt>
          <cx:pt idx="39220">4</cx:pt>
          <cx:pt idx="39221">4</cx:pt>
          <cx:pt idx="39222">5</cx:pt>
          <cx:pt idx="39223">5</cx:pt>
          <cx:pt idx="39224">4</cx:pt>
          <cx:pt idx="39225">4</cx:pt>
          <cx:pt idx="39226">4</cx:pt>
          <cx:pt idx="39227">4</cx:pt>
          <cx:pt idx="39228">2</cx:pt>
          <cx:pt idx="39229">4</cx:pt>
          <cx:pt idx="39230">3</cx:pt>
          <cx:pt idx="39231">5</cx:pt>
          <cx:pt idx="39232">3</cx:pt>
          <cx:pt idx="39233">4</cx:pt>
          <cx:pt idx="39234">4</cx:pt>
          <cx:pt idx="39235">5</cx:pt>
          <cx:pt idx="39236">4</cx:pt>
          <cx:pt idx="39237">4</cx:pt>
          <cx:pt idx="39238">4</cx:pt>
          <cx:pt idx="39239">4</cx:pt>
          <cx:pt idx="39240">4</cx:pt>
          <cx:pt idx="39241">4</cx:pt>
          <cx:pt idx="39242">3</cx:pt>
          <cx:pt idx="39243">4</cx:pt>
          <cx:pt idx="39244">3</cx:pt>
          <cx:pt idx="39245">4</cx:pt>
          <cx:pt idx="39246">1</cx:pt>
          <cx:pt idx="39247">5</cx:pt>
          <cx:pt idx="39248">2</cx:pt>
          <cx:pt idx="39249">4</cx:pt>
          <cx:pt idx="39250">5</cx:pt>
          <cx:pt idx="39251">4</cx:pt>
          <cx:pt idx="39252">5</cx:pt>
          <cx:pt idx="39253">4</cx:pt>
          <cx:pt idx="39254">3</cx:pt>
          <cx:pt idx="39255">5</cx:pt>
          <cx:pt idx="39256">4</cx:pt>
          <cx:pt idx="39257">1</cx:pt>
          <cx:pt idx="39258">1</cx:pt>
          <cx:pt idx="39259">5</cx:pt>
          <cx:pt idx="39260">1</cx:pt>
          <cx:pt idx="39261">4</cx:pt>
          <cx:pt idx="39262">5</cx:pt>
          <cx:pt idx="39263">3</cx:pt>
          <cx:pt idx="39264">5</cx:pt>
          <cx:pt idx="39265">4</cx:pt>
          <cx:pt idx="39266">3</cx:pt>
          <cx:pt idx="39267">5</cx:pt>
          <cx:pt idx="39268">4</cx:pt>
          <cx:pt idx="39269">5</cx:pt>
          <cx:pt idx="39270">5</cx:pt>
          <cx:pt idx="39271">1</cx:pt>
          <cx:pt idx="39272">3</cx:pt>
          <cx:pt idx="39273">4</cx:pt>
          <cx:pt idx="39274">5</cx:pt>
          <cx:pt idx="39275">5</cx:pt>
          <cx:pt idx="39276">3</cx:pt>
          <cx:pt idx="39277">5</cx:pt>
          <cx:pt idx="39278">3</cx:pt>
          <cx:pt idx="39279">5</cx:pt>
          <cx:pt idx="39280">4</cx:pt>
          <cx:pt idx="39281">5</cx:pt>
          <cx:pt idx="39282">4</cx:pt>
          <cx:pt idx="39283">4</cx:pt>
          <cx:pt idx="39284">1</cx:pt>
          <cx:pt idx="39285">3</cx:pt>
          <cx:pt idx="39286">5</cx:pt>
          <cx:pt idx="39287">3</cx:pt>
          <cx:pt idx="39288">4</cx:pt>
          <cx:pt idx="39289">5</cx:pt>
          <cx:pt idx="39290">5</cx:pt>
          <cx:pt idx="39291">3</cx:pt>
          <cx:pt idx="39292">1</cx:pt>
          <cx:pt idx="39293">4</cx:pt>
          <cx:pt idx="39294">3</cx:pt>
          <cx:pt idx="39295">4</cx:pt>
          <cx:pt idx="39296">3</cx:pt>
          <cx:pt idx="39297">4</cx:pt>
          <cx:pt idx="39298">5</cx:pt>
          <cx:pt idx="39299">3</cx:pt>
          <cx:pt idx="39300">4</cx:pt>
          <cx:pt idx="39301">5</cx:pt>
          <cx:pt idx="39302">1</cx:pt>
          <cx:pt idx="39303">3</cx:pt>
          <cx:pt idx="39304">2</cx:pt>
          <cx:pt idx="39305">1</cx:pt>
          <cx:pt idx="39306">2</cx:pt>
          <cx:pt idx="39307">3</cx:pt>
          <cx:pt idx="39308">5</cx:pt>
          <cx:pt idx="39309">3</cx:pt>
          <cx:pt idx="39310">4</cx:pt>
          <cx:pt idx="39311">5</cx:pt>
          <cx:pt idx="39312">1</cx:pt>
          <cx:pt idx="39313">4</cx:pt>
          <cx:pt idx="39314">4</cx:pt>
          <cx:pt idx="39315">5</cx:pt>
          <cx:pt idx="39316">4</cx:pt>
          <cx:pt idx="39317">4</cx:pt>
          <cx:pt idx="39318">2</cx:pt>
          <cx:pt idx="39319">2</cx:pt>
          <cx:pt idx="39320">5</cx:pt>
          <cx:pt idx="39321">2</cx:pt>
          <cx:pt idx="39322">5</cx:pt>
          <cx:pt idx="39323">4</cx:pt>
          <cx:pt idx="39324">4</cx:pt>
          <cx:pt idx="39325">5</cx:pt>
          <cx:pt idx="39326">4</cx:pt>
          <cx:pt idx="39327">3</cx:pt>
          <cx:pt idx="39328">1</cx:pt>
          <cx:pt idx="39329">3</cx:pt>
          <cx:pt idx="39330">4</cx:pt>
          <cx:pt idx="39331">3</cx:pt>
          <cx:pt idx="39332">4</cx:pt>
          <cx:pt idx="39333">4</cx:pt>
          <cx:pt idx="39334">4</cx:pt>
          <cx:pt idx="39335">1</cx:pt>
          <cx:pt idx="39336">2</cx:pt>
          <cx:pt idx="39337">3</cx:pt>
          <cx:pt idx="39338">3</cx:pt>
          <cx:pt idx="39339">4</cx:pt>
          <cx:pt idx="39340">2</cx:pt>
          <cx:pt idx="39341">5</cx:pt>
          <cx:pt idx="39342">2</cx:pt>
          <cx:pt idx="39343">2</cx:pt>
          <cx:pt idx="39344">5</cx:pt>
          <cx:pt idx="39345">5</cx:pt>
          <cx:pt idx="39346">4</cx:pt>
          <cx:pt idx="39347">5</cx:pt>
          <cx:pt idx="39348">5</cx:pt>
          <cx:pt idx="39349">4</cx:pt>
          <cx:pt idx="39350">5</cx:pt>
          <cx:pt idx="39351">5</cx:pt>
          <cx:pt idx="39352">5</cx:pt>
          <cx:pt idx="39353">4</cx:pt>
          <cx:pt idx="39354">5</cx:pt>
          <cx:pt idx="39355">4</cx:pt>
          <cx:pt idx="39356">3</cx:pt>
          <cx:pt idx="39357">3</cx:pt>
          <cx:pt idx="39358">4</cx:pt>
          <cx:pt idx="39359">4</cx:pt>
          <cx:pt idx="39360">5</cx:pt>
          <cx:pt idx="39361">1</cx:pt>
          <cx:pt idx="39362">1</cx:pt>
          <cx:pt idx="39363">4</cx:pt>
          <cx:pt idx="39364">5</cx:pt>
          <cx:pt idx="39365">3</cx:pt>
          <cx:pt idx="39366">2</cx:pt>
          <cx:pt idx="39367">5</cx:pt>
          <cx:pt idx="39368">5</cx:pt>
          <cx:pt idx="39369">5</cx:pt>
          <cx:pt idx="39370">3</cx:pt>
          <cx:pt idx="39371">4</cx:pt>
          <cx:pt idx="39372">3</cx:pt>
          <cx:pt idx="39373">1</cx:pt>
          <cx:pt idx="39374">5</cx:pt>
          <cx:pt idx="39375">4</cx:pt>
          <cx:pt idx="39376">2</cx:pt>
          <cx:pt idx="39377">2</cx:pt>
          <cx:pt idx="39378">4</cx:pt>
          <cx:pt idx="39379">4</cx:pt>
          <cx:pt idx="39380">3</cx:pt>
          <cx:pt idx="39381">5</cx:pt>
          <cx:pt idx="39382">5</cx:pt>
          <cx:pt idx="39383">5</cx:pt>
          <cx:pt idx="39384">2</cx:pt>
          <cx:pt idx="39385">4</cx:pt>
          <cx:pt idx="39386">5</cx:pt>
          <cx:pt idx="39387">5</cx:pt>
          <cx:pt idx="39388">4</cx:pt>
          <cx:pt idx="39389">5</cx:pt>
          <cx:pt idx="39390">4</cx:pt>
          <cx:pt idx="39391">1</cx:pt>
          <cx:pt idx="39392">4</cx:pt>
          <cx:pt idx="39393">3</cx:pt>
          <cx:pt idx="39394">4</cx:pt>
          <cx:pt idx="39395">4</cx:pt>
          <cx:pt idx="39396">5</cx:pt>
          <cx:pt idx="39397">5</cx:pt>
          <cx:pt idx="39398">2</cx:pt>
          <cx:pt idx="39399">2</cx:pt>
          <cx:pt idx="39400">5</cx:pt>
          <cx:pt idx="39401">1</cx:pt>
          <cx:pt idx="39402">3</cx:pt>
          <cx:pt idx="39403">2</cx:pt>
          <cx:pt idx="39404">3</cx:pt>
          <cx:pt idx="39405">4</cx:pt>
          <cx:pt idx="39406">2</cx:pt>
          <cx:pt idx="39407">4</cx:pt>
          <cx:pt idx="39408">3</cx:pt>
          <cx:pt idx="39409">2</cx:pt>
          <cx:pt idx="39410">3</cx:pt>
          <cx:pt idx="39411">5</cx:pt>
          <cx:pt idx="39412">4</cx:pt>
          <cx:pt idx="39413">1</cx:pt>
          <cx:pt idx="39414">1</cx:pt>
          <cx:pt idx="39415">3</cx:pt>
          <cx:pt idx="39416">3</cx:pt>
          <cx:pt idx="39417">5</cx:pt>
          <cx:pt idx="39418">5</cx:pt>
          <cx:pt idx="39419">3</cx:pt>
          <cx:pt idx="39420">5</cx:pt>
          <cx:pt idx="39421">5</cx:pt>
          <cx:pt idx="39422">4</cx:pt>
          <cx:pt idx="39423">4</cx:pt>
          <cx:pt idx="39424">4</cx:pt>
          <cx:pt idx="39425">5</cx:pt>
          <cx:pt idx="39426">2</cx:pt>
          <cx:pt idx="39427">4</cx:pt>
          <cx:pt idx="39428">1</cx:pt>
          <cx:pt idx="39429">4</cx:pt>
          <cx:pt idx="39430">4</cx:pt>
          <cx:pt idx="39431">2</cx:pt>
          <cx:pt idx="39432">1</cx:pt>
          <cx:pt idx="39433">2</cx:pt>
          <cx:pt idx="39434">2</cx:pt>
          <cx:pt idx="39435">1</cx:pt>
          <cx:pt idx="39436">2</cx:pt>
          <cx:pt idx="39437">4</cx:pt>
          <cx:pt idx="39438">4</cx:pt>
          <cx:pt idx="39439">3</cx:pt>
          <cx:pt idx="39440">3</cx:pt>
          <cx:pt idx="39441">5</cx:pt>
          <cx:pt idx="39442">5</cx:pt>
          <cx:pt idx="39443">4</cx:pt>
          <cx:pt idx="39444">4</cx:pt>
          <cx:pt idx="39445">4</cx:pt>
          <cx:pt idx="39446">2</cx:pt>
          <cx:pt idx="39447">2</cx:pt>
          <cx:pt idx="39448">4</cx:pt>
          <cx:pt idx="39449">2</cx:pt>
          <cx:pt idx="39450">1</cx:pt>
          <cx:pt idx="39451">4</cx:pt>
          <cx:pt idx="39452">5</cx:pt>
          <cx:pt idx="39453">4</cx:pt>
          <cx:pt idx="39454">1</cx:pt>
          <cx:pt idx="39455">4</cx:pt>
          <cx:pt idx="39456">5</cx:pt>
          <cx:pt idx="39457">2</cx:pt>
          <cx:pt idx="39458">2</cx:pt>
          <cx:pt idx="39459">5</cx:pt>
          <cx:pt idx="39460">3</cx:pt>
          <cx:pt idx="39461">2</cx:pt>
          <cx:pt idx="39462">3</cx:pt>
          <cx:pt idx="39463">5</cx:pt>
          <cx:pt idx="39464">2</cx:pt>
          <cx:pt idx="39465">5</cx:pt>
          <cx:pt idx="39466">5</cx:pt>
          <cx:pt idx="39467">2</cx:pt>
          <cx:pt idx="39468">5</cx:pt>
          <cx:pt idx="39469">4</cx:pt>
          <cx:pt idx="39470">3</cx:pt>
          <cx:pt idx="39471">3</cx:pt>
          <cx:pt idx="39472">5</cx:pt>
          <cx:pt idx="39473">2</cx:pt>
          <cx:pt idx="39474">3</cx:pt>
          <cx:pt idx="39475">4</cx:pt>
          <cx:pt idx="39476">3</cx:pt>
          <cx:pt idx="39477">5</cx:pt>
          <cx:pt idx="39478">3</cx:pt>
          <cx:pt idx="39479">3</cx:pt>
          <cx:pt idx="39480">5</cx:pt>
          <cx:pt idx="39481">2</cx:pt>
          <cx:pt idx="39482">4</cx:pt>
          <cx:pt idx="39483">1</cx:pt>
          <cx:pt idx="39484">5</cx:pt>
          <cx:pt idx="39485">3</cx:pt>
          <cx:pt idx="39486">3</cx:pt>
          <cx:pt idx="39487">4</cx:pt>
          <cx:pt idx="39488">2</cx:pt>
          <cx:pt idx="39489">4</cx:pt>
          <cx:pt idx="39490">4</cx:pt>
          <cx:pt idx="39491">4</cx:pt>
          <cx:pt idx="39492">5</cx:pt>
          <cx:pt idx="39493">1</cx:pt>
          <cx:pt idx="39494">1</cx:pt>
          <cx:pt idx="39495">5</cx:pt>
          <cx:pt idx="39496">4</cx:pt>
          <cx:pt idx="39497">1</cx:pt>
          <cx:pt idx="39498">4</cx:pt>
          <cx:pt idx="39499">3</cx:pt>
          <cx:pt idx="39500">4</cx:pt>
          <cx:pt idx="39501">4</cx:pt>
          <cx:pt idx="39502">2</cx:pt>
          <cx:pt idx="39503">5</cx:pt>
          <cx:pt idx="39504">5</cx:pt>
          <cx:pt idx="39505">3</cx:pt>
          <cx:pt idx="39506">3</cx:pt>
          <cx:pt idx="39507">1</cx:pt>
          <cx:pt idx="39508">4</cx:pt>
          <cx:pt idx="39509">5</cx:pt>
          <cx:pt idx="39510">3</cx:pt>
          <cx:pt idx="39511">5</cx:pt>
          <cx:pt idx="39512">1</cx:pt>
          <cx:pt idx="39513">5</cx:pt>
          <cx:pt idx="39514">4</cx:pt>
          <cx:pt idx="39515">5</cx:pt>
          <cx:pt idx="39516">5</cx:pt>
          <cx:pt idx="39517">2</cx:pt>
          <cx:pt idx="39518">4</cx:pt>
          <cx:pt idx="39519">3</cx:pt>
          <cx:pt idx="39520">4</cx:pt>
          <cx:pt idx="39521">3</cx:pt>
          <cx:pt idx="39522">5</cx:pt>
          <cx:pt idx="39523">4</cx:pt>
          <cx:pt idx="39524">4</cx:pt>
          <cx:pt idx="39525">5</cx:pt>
          <cx:pt idx="39526">5</cx:pt>
          <cx:pt idx="39527">2</cx:pt>
          <cx:pt idx="39528">5</cx:pt>
          <cx:pt idx="39529">2</cx:pt>
          <cx:pt idx="39530">1</cx:pt>
          <cx:pt idx="39531">5</cx:pt>
          <cx:pt idx="39532">5</cx:pt>
          <cx:pt idx="39533">1</cx:pt>
          <cx:pt idx="39534">3</cx:pt>
          <cx:pt idx="39535">2</cx:pt>
          <cx:pt idx="39536">4</cx:pt>
          <cx:pt idx="39537">3</cx:pt>
          <cx:pt idx="39538">4</cx:pt>
          <cx:pt idx="39539">2</cx:pt>
          <cx:pt idx="39540">5</cx:pt>
          <cx:pt idx="39541">4</cx:pt>
          <cx:pt idx="39542">4</cx:pt>
          <cx:pt idx="39543">5</cx:pt>
          <cx:pt idx="39544">2</cx:pt>
          <cx:pt idx="39545">5</cx:pt>
          <cx:pt idx="39546">5</cx:pt>
          <cx:pt idx="39547">5</cx:pt>
          <cx:pt idx="39548">3</cx:pt>
          <cx:pt idx="39549">2</cx:pt>
          <cx:pt idx="39550">1</cx:pt>
          <cx:pt idx="39551">5</cx:pt>
          <cx:pt idx="39552">5</cx:pt>
          <cx:pt idx="39553">4</cx:pt>
          <cx:pt idx="39554">4</cx:pt>
          <cx:pt idx="39555">5</cx:pt>
          <cx:pt idx="39556">2</cx:pt>
          <cx:pt idx="39557">2</cx:pt>
          <cx:pt idx="39558">5</cx:pt>
          <cx:pt idx="39559">1</cx:pt>
          <cx:pt idx="39560">3</cx:pt>
          <cx:pt idx="39561">5</cx:pt>
          <cx:pt idx="39562">3</cx:pt>
          <cx:pt idx="39563">5</cx:pt>
          <cx:pt idx="39564">1</cx:pt>
          <cx:pt idx="39565">3</cx:pt>
          <cx:pt idx="39566">2</cx:pt>
          <cx:pt idx="39567">2</cx:pt>
          <cx:pt idx="39568">3</cx:pt>
          <cx:pt idx="39569">1</cx:pt>
          <cx:pt idx="39570">3</cx:pt>
          <cx:pt idx="39571">4</cx:pt>
          <cx:pt idx="39572">3</cx:pt>
          <cx:pt idx="39573">5</cx:pt>
          <cx:pt idx="39574">5</cx:pt>
          <cx:pt idx="39575">4</cx:pt>
          <cx:pt idx="39576">2</cx:pt>
          <cx:pt idx="39577">3</cx:pt>
          <cx:pt idx="39578">5</cx:pt>
          <cx:pt idx="39579">4</cx:pt>
          <cx:pt idx="39580">5</cx:pt>
          <cx:pt idx="39581">4</cx:pt>
          <cx:pt idx="39582">1</cx:pt>
          <cx:pt idx="39583">5</cx:pt>
          <cx:pt idx="39584">1</cx:pt>
          <cx:pt idx="39585">3</cx:pt>
          <cx:pt idx="39586">4</cx:pt>
          <cx:pt idx="39587">3</cx:pt>
          <cx:pt idx="39588">5</cx:pt>
          <cx:pt idx="39589">3</cx:pt>
          <cx:pt idx="39590">5</cx:pt>
          <cx:pt idx="39591">5</cx:pt>
          <cx:pt idx="39592">2</cx:pt>
          <cx:pt idx="39593">3</cx:pt>
          <cx:pt idx="39594">5</cx:pt>
          <cx:pt idx="39595">2</cx:pt>
          <cx:pt idx="39596">4</cx:pt>
          <cx:pt idx="39597">5</cx:pt>
          <cx:pt idx="39598">1</cx:pt>
          <cx:pt idx="39599">1</cx:pt>
          <cx:pt idx="39600">4</cx:pt>
          <cx:pt idx="39601">4</cx:pt>
          <cx:pt idx="39602">4</cx:pt>
          <cx:pt idx="39603">4</cx:pt>
          <cx:pt idx="39604">2</cx:pt>
          <cx:pt idx="39605">4</cx:pt>
          <cx:pt idx="39606">2</cx:pt>
          <cx:pt idx="39607">4</cx:pt>
          <cx:pt idx="39608">4</cx:pt>
          <cx:pt idx="39609">4</cx:pt>
          <cx:pt idx="39610">4</cx:pt>
          <cx:pt idx="39611">5</cx:pt>
          <cx:pt idx="39612">5</cx:pt>
          <cx:pt idx="39613">2</cx:pt>
          <cx:pt idx="39614">3</cx:pt>
          <cx:pt idx="39615">3</cx:pt>
          <cx:pt idx="39616">4</cx:pt>
          <cx:pt idx="39617">3</cx:pt>
          <cx:pt idx="39618">4</cx:pt>
          <cx:pt idx="39619">5</cx:pt>
          <cx:pt idx="39620">1</cx:pt>
          <cx:pt idx="39621">4</cx:pt>
          <cx:pt idx="39622">4</cx:pt>
          <cx:pt idx="39623">4</cx:pt>
          <cx:pt idx="39624">4</cx:pt>
          <cx:pt idx="39625">5</cx:pt>
          <cx:pt idx="39626">1</cx:pt>
          <cx:pt idx="39627">2</cx:pt>
          <cx:pt idx="39628">5</cx:pt>
          <cx:pt idx="39629">5</cx:pt>
          <cx:pt idx="39630">4</cx:pt>
          <cx:pt idx="39631">5</cx:pt>
          <cx:pt idx="39632">4</cx:pt>
          <cx:pt idx="39633">1</cx:pt>
          <cx:pt idx="39634">1</cx:pt>
          <cx:pt idx="39635">4</cx:pt>
          <cx:pt idx="39636">1</cx:pt>
          <cx:pt idx="39637">2</cx:pt>
          <cx:pt idx="39638">3</cx:pt>
          <cx:pt idx="39639">4</cx:pt>
          <cx:pt idx="39640">5</cx:pt>
          <cx:pt idx="39641">4</cx:pt>
          <cx:pt idx="39642">4</cx:pt>
          <cx:pt idx="39643">1</cx:pt>
          <cx:pt idx="39644">2</cx:pt>
          <cx:pt idx="39645">5</cx:pt>
          <cx:pt idx="39646">1</cx:pt>
          <cx:pt idx="39647">3</cx:pt>
          <cx:pt idx="39648">4</cx:pt>
          <cx:pt idx="39649">5</cx:pt>
          <cx:pt idx="39650">5</cx:pt>
          <cx:pt idx="39651">1</cx:pt>
          <cx:pt idx="39652">5</cx:pt>
          <cx:pt idx="39653">1</cx:pt>
          <cx:pt idx="39654">5</cx:pt>
          <cx:pt idx="39655">4</cx:pt>
          <cx:pt idx="39656">2</cx:pt>
          <cx:pt idx="39657">4</cx:pt>
          <cx:pt idx="39658">3</cx:pt>
          <cx:pt idx="39659">3</cx:pt>
          <cx:pt idx="39660">1</cx:pt>
          <cx:pt idx="39661">3</cx:pt>
          <cx:pt idx="39662">4</cx:pt>
          <cx:pt idx="39663">5</cx:pt>
          <cx:pt idx="39664">4</cx:pt>
          <cx:pt idx="39665">3</cx:pt>
          <cx:pt idx="39666">4</cx:pt>
          <cx:pt idx="39667">2</cx:pt>
          <cx:pt idx="39668">4</cx:pt>
          <cx:pt idx="39669">1</cx:pt>
          <cx:pt idx="39670">3</cx:pt>
          <cx:pt idx="39671">5</cx:pt>
          <cx:pt idx="39672">4</cx:pt>
          <cx:pt idx="39673">4</cx:pt>
          <cx:pt idx="39674">1</cx:pt>
          <cx:pt idx="39675">5</cx:pt>
          <cx:pt idx="39676">1</cx:pt>
          <cx:pt idx="39677">3</cx:pt>
          <cx:pt idx="39678">3</cx:pt>
          <cx:pt idx="39679">2</cx:pt>
          <cx:pt idx="39680">1</cx:pt>
          <cx:pt idx="39681">4</cx:pt>
          <cx:pt idx="39682">5</cx:pt>
          <cx:pt idx="39683">4</cx:pt>
          <cx:pt idx="39684">2</cx:pt>
          <cx:pt idx="39685">2</cx:pt>
          <cx:pt idx="39686">5</cx:pt>
          <cx:pt idx="39687">1</cx:pt>
          <cx:pt idx="39688">4</cx:pt>
          <cx:pt idx="39689">4</cx:pt>
          <cx:pt idx="39690">5</cx:pt>
          <cx:pt idx="39691">1</cx:pt>
          <cx:pt idx="39692">3</cx:pt>
          <cx:pt idx="39693">1</cx:pt>
          <cx:pt idx="39694">5</cx:pt>
          <cx:pt idx="39695">2</cx:pt>
          <cx:pt idx="39696">5</cx:pt>
          <cx:pt idx="39697">4</cx:pt>
          <cx:pt idx="39698">2</cx:pt>
          <cx:pt idx="39699">5</cx:pt>
          <cx:pt idx="39700">2</cx:pt>
          <cx:pt idx="39701">4</cx:pt>
          <cx:pt idx="39702">5</cx:pt>
          <cx:pt idx="39703">4</cx:pt>
          <cx:pt idx="39704">4</cx:pt>
          <cx:pt idx="39705">3</cx:pt>
          <cx:pt idx="39706">5</cx:pt>
          <cx:pt idx="39707">3</cx:pt>
          <cx:pt idx="39708">3</cx:pt>
          <cx:pt idx="39709">1</cx:pt>
          <cx:pt idx="39710">4</cx:pt>
          <cx:pt idx="39711">2</cx:pt>
          <cx:pt idx="39712">1</cx:pt>
          <cx:pt idx="39713">2</cx:pt>
          <cx:pt idx="39714">1</cx:pt>
          <cx:pt idx="39715">4</cx:pt>
          <cx:pt idx="39716">5</cx:pt>
          <cx:pt idx="39717">4</cx:pt>
          <cx:pt idx="39718">5</cx:pt>
          <cx:pt idx="39719">3</cx:pt>
          <cx:pt idx="39720">5</cx:pt>
          <cx:pt idx="39721">5</cx:pt>
          <cx:pt idx="39722">3</cx:pt>
          <cx:pt idx="39723">2</cx:pt>
          <cx:pt idx="39724">5</cx:pt>
          <cx:pt idx="39725">5</cx:pt>
          <cx:pt idx="39726">3</cx:pt>
          <cx:pt idx="39727">2</cx:pt>
          <cx:pt idx="39728">5</cx:pt>
          <cx:pt idx="39729">5</cx:pt>
          <cx:pt idx="39730">4</cx:pt>
          <cx:pt idx="39731">4</cx:pt>
          <cx:pt idx="39732">3</cx:pt>
          <cx:pt idx="39733">4</cx:pt>
          <cx:pt idx="39734">2</cx:pt>
          <cx:pt idx="39735">5</cx:pt>
          <cx:pt idx="39736">5</cx:pt>
          <cx:pt idx="39737">4</cx:pt>
          <cx:pt idx="39738">5</cx:pt>
          <cx:pt idx="39739">5</cx:pt>
          <cx:pt idx="39740">1</cx:pt>
          <cx:pt idx="39741">4</cx:pt>
          <cx:pt idx="39742">1</cx:pt>
          <cx:pt idx="39743">1</cx:pt>
          <cx:pt idx="39744">4</cx:pt>
          <cx:pt idx="39745">4</cx:pt>
          <cx:pt idx="39746">5</cx:pt>
          <cx:pt idx="39747">5</cx:pt>
          <cx:pt idx="39748">3</cx:pt>
          <cx:pt idx="39749">4</cx:pt>
          <cx:pt idx="39750">4</cx:pt>
          <cx:pt idx="39751">4</cx:pt>
          <cx:pt idx="39752">3</cx:pt>
          <cx:pt idx="39753">3</cx:pt>
          <cx:pt idx="39754">4</cx:pt>
          <cx:pt idx="39755">4</cx:pt>
          <cx:pt idx="39756">5</cx:pt>
          <cx:pt idx="39757">3</cx:pt>
          <cx:pt idx="39758">1</cx:pt>
          <cx:pt idx="39759">3</cx:pt>
          <cx:pt idx="39760">4</cx:pt>
          <cx:pt idx="39761">5</cx:pt>
          <cx:pt idx="39762">3</cx:pt>
          <cx:pt idx="39763">4</cx:pt>
          <cx:pt idx="39764">1</cx:pt>
          <cx:pt idx="39765">2</cx:pt>
          <cx:pt idx="39766">2</cx:pt>
          <cx:pt idx="39767">3</cx:pt>
          <cx:pt idx="39768">5</cx:pt>
          <cx:pt idx="39769">5</cx:pt>
          <cx:pt idx="39770">4</cx:pt>
          <cx:pt idx="39771">5</cx:pt>
          <cx:pt idx="39772">2</cx:pt>
          <cx:pt idx="39773">4</cx:pt>
          <cx:pt idx="39774">4</cx:pt>
          <cx:pt idx="39775">4</cx:pt>
          <cx:pt idx="39776">2</cx:pt>
          <cx:pt idx="39777">2</cx:pt>
          <cx:pt idx="39778">4</cx:pt>
          <cx:pt idx="39779">5</cx:pt>
          <cx:pt idx="39780">1</cx:pt>
          <cx:pt idx="39781">5</cx:pt>
          <cx:pt idx="39782">3</cx:pt>
          <cx:pt idx="39783">5</cx:pt>
          <cx:pt idx="39784">4</cx:pt>
          <cx:pt idx="39785">2</cx:pt>
          <cx:pt idx="39786">5</cx:pt>
          <cx:pt idx="39787">3</cx:pt>
          <cx:pt idx="39788">5</cx:pt>
          <cx:pt idx="39789">4</cx:pt>
          <cx:pt idx="39790">1</cx:pt>
          <cx:pt idx="39791">2</cx:pt>
          <cx:pt idx="39792">3</cx:pt>
          <cx:pt idx="39793">2</cx:pt>
          <cx:pt idx="39794">4</cx:pt>
          <cx:pt idx="39795">2</cx:pt>
          <cx:pt idx="39796">2</cx:pt>
          <cx:pt idx="39797">4</cx:pt>
          <cx:pt idx="39798">3</cx:pt>
          <cx:pt idx="39799">5</cx:pt>
          <cx:pt idx="39800">4</cx:pt>
          <cx:pt idx="39801">1</cx:pt>
          <cx:pt idx="39802">3</cx:pt>
          <cx:pt idx="39803">5</cx:pt>
          <cx:pt idx="39804">1</cx:pt>
          <cx:pt idx="39805">2</cx:pt>
          <cx:pt idx="39806">5</cx:pt>
          <cx:pt idx="39807">2</cx:pt>
          <cx:pt idx="39808">3</cx:pt>
          <cx:pt idx="39809">2</cx:pt>
          <cx:pt idx="39810">5</cx:pt>
          <cx:pt idx="39811">5</cx:pt>
          <cx:pt idx="39812">3</cx:pt>
          <cx:pt idx="39813">4</cx:pt>
          <cx:pt idx="39814">5</cx:pt>
          <cx:pt idx="39815">5</cx:pt>
          <cx:pt idx="39816">2</cx:pt>
          <cx:pt idx="39817">5</cx:pt>
          <cx:pt idx="39818">3</cx:pt>
          <cx:pt idx="39819">1</cx:pt>
          <cx:pt idx="39820">5</cx:pt>
          <cx:pt idx="39821">5</cx:pt>
          <cx:pt idx="39822">5</cx:pt>
          <cx:pt idx="39823">5</cx:pt>
          <cx:pt idx="39824">1</cx:pt>
          <cx:pt idx="39825">5</cx:pt>
          <cx:pt idx="39826">1</cx:pt>
          <cx:pt idx="39827">3</cx:pt>
          <cx:pt idx="39828">5</cx:pt>
          <cx:pt idx="39829">1</cx:pt>
          <cx:pt idx="39830">1</cx:pt>
          <cx:pt idx="39831">5</cx:pt>
          <cx:pt idx="39832">5</cx:pt>
          <cx:pt idx="39833">3</cx:pt>
          <cx:pt idx="39834">1</cx:pt>
          <cx:pt idx="39835">3</cx:pt>
          <cx:pt idx="39836">3</cx:pt>
          <cx:pt idx="39837">5</cx:pt>
          <cx:pt idx="39838">4</cx:pt>
          <cx:pt idx="39839">5</cx:pt>
          <cx:pt idx="39840">1</cx:pt>
          <cx:pt idx="39841">3</cx:pt>
          <cx:pt idx="39842">2</cx:pt>
          <cx:pt idx="39843">5</cx:pt>
          <cx:pt idx="39844">5</cx:pt>
          <cx:pt idx="39845">4</cx:pt>
          <cx:pt idx="39846">3</cx:pt>
          <cx:pt idx="39847">4</cx:pt>
          <cx:pt idx="39848">2</cx:pt>
          <cx:pt idx="39849">1</cx:pt>
          <cx:pt idx="39850">1</cx:pt>
          <cx:pt idx="39851">3</cx:pt>
          <cx:pt idx="39852">2</cx:pt>
          <cx:pt idx="39853">1</cx:pt>
          <cx:pt idx="39854">3</cx:pt>
          <cx:pt idx="39855">2</cx:pt>
          <cx:pt idx="39856">5</cx:pt>
          <cx:pt idx="39857">2</cx:pt>
          <cx:pt idx="39858">3</cx:pt>
          <cx:pt idx="39859">5</cx:pt>
          <cx:pt idx="39860">3</cx:pt>
          <cx:pt idx="39861">5</cx:pt>
          <cx:pt idx="39862">1</cx:pt>
          <cx:pt idx="39863">2</cx:pt>
          <cx:pt idx="39864">2</cx:pt>
          <cx:pt idx="39865">5</cx:pt>
          <cx:pt idx="39866">2</cx:pt>
          <cx:pt idx="39867">5</cx:pt>
          <cx:pt idx="39868">4</cx:pt>
          <cx:pt idx="39869">5</cx:pt>
          <cx:pt idx="39870">2</cx:pt>
          <cx:pt idx="39871">3</cx:pt>
          <cx:pt idx="39872">5</cx:pt>
          <cx:pt idx="39873">5</cx:pt>
          <cx:pt idx="39874">5</cx:pt>
          <cx:pt idx="39875">3</cx:pt>
          <cx:pt idx="39876">5</cx:pt>
          <cx:pt idx="39877">3</cx:pt>
          <cx:pt idx="39878">5</cx:pt>
          <cx:pt idx="39879">4</cx:pt>
          <cx:pt idx="39880">4</cx:pt>
          <cx:pt idx="39881">5</cx:pt>
          <cx:pt idx="39882">3</cx:pt>
          <cx:pt idx="39883">4</cx:pt>
          <cx:pt idx="39884">1</cx:pt>
          <cx:pt idx="39885">2</cx:pt>
          <cx:pt idx="39886">3</cx:pt>
          <cx:pt idx="39887">5</cx:pt>
          <cx:pt idx="39888">5</cx:pt>
          <cx:pt idx="39889">4</cx:pt>
          <cx:pt idx="39890">1</cx:pt>
          <cx:pt idx="39891">1</cx:pt>
          <cx:pt idx="39892">3</cx:pt>
          <cx:pt idx="39893">5</cx:pt>
          <cx:pt idx="39894">3</cx:pt>
          <cx:pt idx="39895">1</cx:pt>
          <cx:pt idx="39896">5</cx:pt>
          <cx:pt idx="39897">1</cx:pt>
          <cx:pt idx="39898">4</cx:pt>
          <cx:pt idx="39899">4</cx:pt>
          <cx:pt idx="39900">5</cx:pt>
          <cx:pt idx="39901">4</cx:pt>
          <cx:pt idx="39902">5</cx:pt>
          <cx:pt idx="39903">3</cx:pt>
          <cx:pt idx="39904">4</cx:pt>
          <cx:pt idx="39905">1</cx:pt>
          <cx:pt idx="39906">1</cx:pt>
          <cx:pt idx="39907">4</cx:pt>
          <cx:pt idx="39908">3</cx:pt>
          <cx:pt idx="39909">2</cx:pt>
          <cx:pt idx="39910">5</cx:pt>
          <cx:pt idx="39911">4</cx:pt>
          <cx:pt idx="39912">5</cx:pt>
          <cx:pt idx="39913">3</cx:pt>
          <cx:pt idx="39914">1</cx:pt>
          <cx:pt idx="39915">3</cx:pt>
          <cx:pt idx="39916">4</cx:pt>
          <cx:pt idx="39917">4</cx:pt>
          <cx:pt idx="39918">4</cx:pt>
          <cx:pt idx="39919">3</cx:pt>
          <cx:pt idx="39920">5</cx:pt>
          <cx:pt idx="39921">5</cx:pt>
          <cx:pt idx="39922">4</cx:pt>
          <cx:pt idx="39923">2</cx:pt>
          <cx:pt idx="39924">1</cx:pt>
          <cx:pt idx="39925">2</cx:pt>
          <cx:pt idx="39926">2</cx:pt>
          <cx:pt idx="39927">4</cx:pt>
          <cx:pt idx="39928">3</cx:pt>
          <cx:pt idx="39929">4</cx:pt>
          <cx:pt idx="39930">4</cx:pt>
          <cx:pt idx="39931">4</cx:pt>
          <cx:pt idx="39932">5</cx:pt>
          <cx:pt idx="39933">5</cx:pt>
          <cx:pt idx="39934">1</cx:pt>
          <cx:pt idx="39935">4</cx:pt>
          <cx:pt idx="39936">5</cx:pt>
          <cx:pt idx="39937">4</cx:pt>
          <cx:pt idx="39938">3</cx:pt>
          <cx:pt idx="39939">3</cx:pt>
          <cx:pt idx="39940">4</cx:pt>
          <cx:pt idx="39941">4</cx:pt>
          <cx:pt idx="39942">2</cx:pt>
          <cx:pt idx="39943">4</cx:pt>
          <cx:pt idx="39944">1</cx:pt>
          <cx:pt idx="39945">2</cx:pt>
          <cx:pt idx="39946">1</cx:pt>
          <cx:pt idx="39947">5</cx:pt>
          <cx:pt idx="39948">4</cx:pt>
          <cx:pt idx="39949">5</cx:pt>
          <cx:pt idx="39950">4</cx:pt>
          <cx:pt idx="39951">4</cx:pt>
          <cx:pt idx="39952">1</cx:pt>
          <cx:pt idx="39953">4</cx:pt>
          <cx:pt idx="39954">1</cx:pt>
          <cx:pt idx="39955">3</cx:pt>
          <cx:pt idx="39956">3</cx:pt>
          <cx:pt idx="39957">2</cx:pt>
          <cx:pt idx="39958">5</cx:pt>
          <cx:pt idx="39959">1</cx:pt>
          <cx:pt idx="39960">5</cx:pt>
          <cx:pt idx="39961">1</cx:pt>
          <cx:pt idx="39962">5</cx:pt>
          <cx:pt idx="39963">5</cx:pt>
          <cx:pt idx="39964">4</cx:pt>
          <cx:pt idx="39965">4</cx:pt>
          <cx:pt idx="39966">4</cx:pt>
          <cx:pt idx="39967">5</cx:pt>
          <cx:pt idx="39968">1</cx:pt>
          <cx:pt idx="39969">3</cx:pt>
          <cx:pt idx="39970">4</cx:pt>
          <cx:pt idx="39971">1</cx:pt>
          <cx:pt idx="39972">2</cx:pt>
          <cx:pt idx="39973">1</cx:pt>
          <cx:pt idx="39974">2</cx:pt>
          <cx:pt idx="39975">4</cx:pt>
          <cx:pt idx="39976">1</cx:pt>
          <cx:pt idx="39977">2</cx:pt>
          <cx:pt idx="39978">5</cx:pt>
          <cx:pt idx="39979">3</cx:pt>
          <cx:pt idx="39980">4</cx:pt>
          <cx:pt idx="39981">5</cx:pt>
          <cx:pt idx="39982">5</cx:pt>
          <cx:pt idx="39983">5</cx:pt>
          <cx:pt idx="39984">3</cx:pt>
          <cx:pt idx="39985">4</cx:pt>
          <cx:pt idx="39986">3</cx:pt>
          <cx:pt idx="39987">4</cx:pt>
          <cx:pt idx="39988">4</cx:pt>
          <cx:pt idx="39989">4</cx:pt>
          <cx:pt idx="39990">5</cx:pt>
          <cx:pt idx="39991">5</cx:pt>
          <cx:pt idx="39992">5</cx:pt>
          <cx:pt idx="39993">4</cx:pt>
          <cx:pt idx="39994">5</cx:pt>
          <cx:pt idx="39995">4</cx:pt>
          <cx:pt idx="39996">1</cx:pt>
          <cx:pt idx="39997">1</cx:pt>
          <cx:pt idx="39998">3</cx:pt>
          <cx:pt idx="39999">2</cx:pt>
          <cx:pt idx="40000">3</cx:pt>
          <cx:pt idx="40001">4</cx:pt>
          <cx:pt idx="40002">3</cx:pt>
          <cx:pt idx="40003">1</cx:pt>
          <cx:pt idx="40004">4</cx:pt>
          <cx:pt idx="40005">2</cx:pt>
          <cx:pt idx="40006">4</cx:pt>
          <cx:pt idx="40007">3</cx:pt>
          <cx:pt idx="40008">5</cx:pt>
          <cx:pt idx="40009">1</cx:pt>
          <cx:pt idx="40010">5</cx:pt>
          <cx:pt idx="40011">5</cx:pt>
          <cx:pt idx="40012">3</cx:pt>
          <cx:pt idx="40013">5</cx:pt>
          <cx:pt idx="40014">2</cx:pt>
          <cx:pt idx="40015">4</cx:pt>
          <cx:pt idx="40016">1</cx:pt>
          <cx:pt idx="40017">3</cx:pt>
          <cx:pt idx="40018">4</cx:pt>
          <cx:pt idx="40019">5</cx:pt>
          <cx:pt idx="40020">5</cx:pt>
          <cx:pt idx="40021">4</cx:pt>
          <cx:pt idx="40022">5</cx:pt>
          <cx:pt idx="40023">4</cx:pt>
          <cx:pt idx="40024">3</cx:pt>
          <cx:pt idx="40025">3</cx:pt>
          <cx:pt idx="40026">4</cx:pt>
          <cx:pt idx="40027">3</cx:pt>
          <cx:pt idx="40028">4</cx:pt>
          <cx:pt idx="40029">2</cx:pt>
          <cx:pt idx="40030">3</cx:pt>
          <cx:pt idx="40031">3</cx:pt>
          <cx:pt idx="40032">5</cx:pt>
          <cx:pt idx="40033">4</cx:pt>
          <cx:pt idx="40034">5</cx:pt>
          <cx:pt idx="40035">3</cx:pt>
          <cx:pt idx="40036">4</cx:pt>
          <cx:pt idx="40037">4</cx:pt>
          <cx:pt idx="40038">3</cx:pt>
          <cx:pt idx="40039">2</cx:pt>
          <cx:pt idx="40040">2</cx:pt>
          <cx:pt idx="40041">5</cx:pt>
          <cx:pt idx="40042">4</cx:pt>
          <cx:pt idx="40043">4</cx:pt>
          <cx:pt idx="40044">5</cx:pt>
          <cx:pt idx="40045">5</cx:pt>
          <cx:pt idx="40046">1</cx:pt>
          <cx:pt idx="40047">2</cx:pt>
          <cx:pt idx="40048">4</cx:pt>
          <cx:pt idx="40049">5</cx:pt>
          <cx:pt idx="40050">4</cx:pt>
          <cx:pt idx="40051">4</cx:pt>
          <cx:pt idx="40052">5</cx:pt>
          <cx:pt idx="40053">4</cx:pt>
          <cx:pt idx="40054">4</cx:pt>
          <cx:pt idx="40055">4</cx:pt>
          <cx:pt idx="40056">2</cx:pt>
          <cx:pt idx="40057">2</cx:pt>
          <cx:pt idx="40058">4</cx:pt>
          <cx:pt idx="40059">4</cx:pt>
          <cx:pt idx="40060">2</cx:pt>
          <cx:pt idx="40061">4</cx:pt>
          <cx:pt idx="40062">1</cx:pt>
          <cx:pt idx="40063">4</cx:pt>
          <cx:pt idx="40064">3</cx:pt>
          <cx:pt idx="40065">4</cx:pt>
          <cx:pt idx="40066">5</cx:pt>
          <cx:pt idx="40067">4</cx:pt>
          <cx:pt idx="40068">4</cx:pt>
          <cx:pt idx="40069">5</cx:pt>
          <cx:pt idx="40070">5</cx:pt>
          <cx:pt idx="40071">4</cx:pt>
          <cx:pt idx="40072">5</cx:pt>
          <cx:pt idx="40073">5</cx:pt>
          <cx:pt idx="40074">4</cx:pt>
          <cx:pt idx="40075">3</cx:pt>
          <cx:pt idx="40076">3</cx:pt>
          <cx:pt idx="40077">1</cx:pt>
          <cx:pt idx="40078">4</cx:pt>
          <cx:pt idx="40079">3</cx:pt>
          <cx:pt idx="40080">2</cx:pt>
          <cx:pt idx="40081">4</cx:pt>
          <cx:pt idx="40082">4</cx:pt>
          <cx:pt idx="40083">4</cx:pt>
          <cx:pt idx="40084">4</cx:pt>
          <cx:pt idx="40085">2</cx:pt>
          <cx:pt idx="40086">4</cx:pt>
          <cx:pt idx="40087">3</cx:pt>
          <cx:pt idx="40088">2</cx:pt>
          <cx:pt idx="40089">1</cx:pt>
          <cx:pt idx="40090">5</cx:pt>
          <cx:pt idx="40091">2</cx:pt>
          <cx:pt idx="40092">3</cx:pt>
          <cx:pt idx="40093">4</cx:pt>
          <cx:pt idx="40094">2</cx:pt>
          <cx:pt idx="40095">5</cx:pt>
          <cx:pt idx="40096">5</cx:pt>
          <cx:pt idx="40097">1</cx:pt>
          <cx:pt idx="40098">2</cx:pt>
          <cx:pt idx="40099">4</cx:pt>
          <cx:pt idx="40100">3</cx:pt>
          <cx:pt idx="40101">4</cx:pt>
          <cx:pt idx="40102">2</cx:pt>
          <cx:pt idx="40103">4</cx:pt>
          <cx:pt idx="40104">3</cx:pt>
          <cx:pt idx="40105">5</cx:pt>
          <cx:pt idx="40106">5</cx:pt>
          <cx:pt idx="40107">4</cx:pt>
          <cx:pt idx="40108">3</cx:pt>
          <cx:pt idx="40109">4</cx:pt>
          <cx:pt idx="40110">4</cx:pt>
          <cx:pt idx="40111">3</cx:pt>
          <cx:pt idx="40112">1</cx:pt>
          <cx:pt idx="40113">5</cx:pt>
          <cx:pt idx="40114">2</cx:pt>
          <cx:pt idx="40115">4</cx:pt>
          <cx:pt idx="40116">4</cx:pt>
          <cx:pt idx="40117">5</cx:pt>
          <cx:pt idx="40118">4</cx:pt>
          <cx:pt idx="40119">5</cx:pt>
          <cx:pt idx="40120">2</cx:pt>
          <cx:pt idx="40121">5</cx:pt>
          <cx:pt idx="40122">2</cx:pt>
          <cx:pt idx="40123">4</cx:pt>
          <cx:pt idx="40124">3</cx:pt>
          <cx:pt idx="40125">2</cx:pt>
          <cx:pt idx="40126">4</cx:pt>
          <cx:pt idx="40127">5</cx:pt>
          <cx:pt idx="40128">3</cx:pt>
          <cx:pt idx="40129">3</cx:pt>
          <cx:pt idx="40130">4</cx:pt>
          <cx:pt idx="40131">4</cx:pt>
          <cx:pt idx="40132">1</cx:pt>
          <cx:pt idx="40133">4</cx:pt>
          <cx:pt idx="40134">2</cx:pt>
          <cx:pt idx="40135">1</cx:pt>
          <cx:pt idx="40136">2</cx:pt>
          <cx:pt idx="40137">4</cx:pt>
          <cx:pt idx="40138">5</cx:pt>
          <cx:pt idx="40139">4</cx:pt>
          <cx:pt idx="40140">5</cx:pt>
          <cx:pt idx="40141">5</cx:pt>
          <cx:pt idx="40142">5</cx:pt>
          <cx:pt idx="40143">2</cx:pt>
          <cx:pt idx="40144">5</cx:pt>
          <cx:pt idx="40145">4</cx:pt>
          <cx:pt idx="40146">4</cx:pt>
          <cx:pt idx="40147">5</cx:pt>
          <cx:pt idx="40148">2</cx:pt>
          <cx:pt idx="40149">4</cx:pt>
          <cx:pt idx="40150">1</cx:pt>
          <cx:pt idx="40151">4</cx:pt>
          <cx:pt idx="40152">5</cx:pt>
          <cx:pt idx="40153">5</cx:pt>
          <cx:pt idx="40154">2</cx:pt>
          <cx:pt idx="40155">5</cx:pt>
          <cx:pt idx="40156">4</cx:pt>
          <cx:pt idx="40157">4</cx:pt>
          <cx:pt idx="40158">3</cx:pt>
          <cx:pt idx="40159">1</cx:pt>
          <cx:pt idx="40160">5</cx:pt>
          <cx:pt idx="40161">5</cx:pt>
          <cx:pt idx="40162">4</cx:pt>
          <cx:pt idx="40163">2</cx:pt>
          <cx:pt idx="40164">5</cx:pt>
          <cx:pt idx="40165">4</cx:pt>
          <cx:pt idx="40166">5</cx:pt>
          <cx:pt idx="40167">3</cx:pt>
          <cx:pt idx="40168">3</cx:pt>
          <cx:pt idx="40169">4</cx:pt>
          <cx:pt idx="40170">4</cx:pt>
          <cx:pt idx="40171">1</cx:pt>
          <cx:pt idx="40172">2</cx:pt>
          <cx:pt idx="40173">3</cx:pt>
          <cx:pt idx="40174">5</cx:pt>
          <cx:pt idx="40175">1</cx:pt>
          <cx:pt idx="40176">2</cx:pt>
          <cx:pt idx="40177">4</cx:pt>
          <cx:pt idx="40178">1</cx:pt>
          <cx:pt idx="40179">5</cx:pt>
          <cx:pt idx="40180">4</cx:pt>
          <cx:pt idx="40181">4</cx:pt>
          <cx:pt idx="40182">1</cx:pt>
          <cx:pt idx="40183">4</cx:pt>
          <cx:pt idx="40184">4</cx:pt>
          <cx:pt idx="40185">1</cx:pt>
          <cx:pt idx="40186">5</cx:pt>
          <cx:pt idx="40187">4</cx:pt>
          <cx:pt idx="40188">3</cx:pt>
          <cx:pt idx="40189">5</cx:pt>
          <cx:pt idx="40190">2</cx:pt>
          <cx:pt idx="40191">5</cx:pt>
          <cx:pt idx="40192">2</cx:pt>
          <cx:pt idx="40193">1</cx:pt>
          <cx:pt idx="40194">3</cx:pt>
          <cx:pt idx="40195">2</cx:pt>
          <cx:pt idx="40196">4</cx:pt>
          <cx:pt idx="40197">3</cx:pt>
          <cx:pt idx="40198">2</cx:pt>
          <cx:pt idx="40199">3</cx:pt>
          <cx:pt idx="40200">5</cx:pt>
          <cx:pt idx="40201">3</cx:pt>
          <cx:pt idx="40202">1</cx:pt>
          <cx:pt idx="40203">1</cx:pt>
          <cx:pt idx="40204">1</cx:pt>
          <cx:pt idx="40205">5</cx:pt>
          <cx:pt idx="40206">3</cx:pt>
          <cx:pt idx="40207">5</cx:pt>
          <cx:pt idx="40208">1</cx:pt>
          <cx:pt idx="40209">5</cx:pt>
          <cx:pt idx="40210">4</cx:pt>
          <cx:pt idx="40211">4</cx:pt>
          <cx:pt idx="40212">2</cx:pt>
          <cx:pt idx="40213">5</cx:pt>
          <cx:pt idx="40214">5</cx:pt>
          <cx:pt idx="40215">5</cx:pt>
          <cx:pt idx="40216">5</cx:pt>
          <cx:pt idx="40217">3</cx:pt>
          <cx:pt idx="40218">2</cx:pt>
          <cx:pt idx="40219">5</cx:pt>
          <cx:pt idx="40220">4</cx:pt>
          <cx:pt idx="40221">4</cx:pt>
          <cx:pt idx="40222">2</cx:pt>
          <cx:pt idx="40223">5</cx:pt>
          <cx:pt idx="40224">1</cx:pt>
          <cx:pt idx="40225">2</cx:pt>
          <cx:pt idx="40226">4</cx:pt>
          <cx:pt idx="40227">4</cx:pt>
          <cx:pt idx="40228">5</cx:pt>
          <cx:pt idx="40229">4</cx:pt>
          <cx:pt idx="40230">4</cx:pt>
          <cx:pt idx="40231">4</cx:pt>
          <cx:pt idx="40232">4</cx:pt>
          <cx:pt idx="40233">1</cx:pt>
          <cx:pt idx="40234">3</cx:pt>
          <cx:pt idx="40235">2</cx:pt>
          <cx:pt idx="40236">3</cx:pt>
          <cx:pt idx="40237">5</cx:pt>
          <cx:pt idx="40238">4</cx:pt>
          <cx:pt idx="40239">5</cx:pt>
          <cx:pt idx="40240">4</cx:pt>
          <cx:pt idx="40241">2</cx:pt>
          <cx:pt idx="40242">3</cx:pt>
          <cx:pt idx="40243">4</cx:pt>
          <cx:pt idx="40244">2</cx:pt>
          <cx:pt idx="40245">4</cx:pt>
          <cx:pt idx="40246">5</cx:pt>
          <cx:pt idx="40247">5</cx:pt>
          <cx:pt idx="40248">5</cx:pt>
          <cx:pt idx="40249">4</cx:pt>
          <cx:pt idx="40250">4</cx:pt>
          <cx:pt idx="40251">4</cx:pt>
          <cx:pt idx="40252">4</cx:pt>
          <cx:pt idx="40253">5</cx:pt>
          <cx:pt idx="40254">5</cx:pt>
          <cx:pt idx="40255">1</cx:pt>
          <cx:pt idx="40256">3</cx:pt>
          <cx:pt idx="40257">3</cx:pt>
          <cx:pt idx="40258">3</cx:pt>
          <cx:pt idx="40259">4</cx:pt>
          <cx:pt idx="40260">2</cx:pt>
          <cx:pt idx="40261">4</cx:pt>
          <cx:pt idx="40262">3</cx:pt>
          <cx:pt idx="40263">2</cx:pt>
          <cx:pt idx="40264">5</cx:pt>
          <cx:pt idx="40265">4</cx:pt>
          <cx:pt idx="40266">4</cx:pt>
          <cx:pt idx="40267">1</cx:pt>
          <cx:pt idx="40268">4</cx:pt>
          <cx:pt idx="40269">5</cx:pt>
          <cx:pt idx="40270">4</cx:pt>
          <cx:pt idx="40271">5</cx:pt>
          <cx:pt idx="40272">5</cx:pt>
          <cx:pt idx="40273">4</cx:pt>
          <cx:pt idx="40274">3</cx:pt>
          <cx:pt idx="40275">2</cx:pt>
          <cx:pt idx="40276">4</cx:pt>
          <cx:pt idx="40277">5</cx:pt>
          <cx:pt idx="40278">3</cx:pt>
          <cx:pt idx="40279">4</cx:pt>
          <cx:pt idx="40280">4</cx:pt>
          <cx:pt idx="40281">4</cx:pt>
          <cx:pt idx="40282">4</cx:pt>
          <cx:pt idx="40283">4</cx:pt>
          <cx:pt idx="40284">5</cx:pt>
          <cx:pt idx="40285">3</cx:pt>
          <cx:pt idx="40286">4</cx:pt>
          <cx:pt idx="40287">3</cx:pt>
          <cx:pt idx="40288">3</cx:pt>
          <cx:pt idx="40289">5</cx:pt>
          <cx:pt idx="40290">5</cx:pt>
          <cx:pt idx="40291">4</cx:pt>
          <cx:pt idx="40292">5</cx:pt>
          <cx:pt idx="40293">4</cx:pt>
          <cx:pt idx="40294">2</cx:pt>
          <cx:pt idx="40295">1</cx:pt>
          <cx:pt idx="40296">4</cx:pt>
          <cx:pt idx="40297">3</cx:pt>
          <cx:pt idx="40298">4</cx:pt>
          <cx:pt idx="40299">1</cx:pt>
          <cx:pt idx="40300">3</cx:pt>
          <cx:pt idx="40301">2</cx:pt>
          <cx:pt idx="40302">5</cx:pt>
          <cx:pt idx="40303">3</cx:pt>
          <cx:pt idx="40304">3</cx:pt>
          <cx:pt idx="40305">4</cx:pt>
          <cx:pt idx="40306">3</cx:pt>
          <cx:pt idx="40307">4</cx:pt>
          <cx:pt idx="40308">2</cx:pt>
          <cx:pt idx="40309">4</cx:pt>
          <cx:pt idx="40310">4</cx:pt>
          <cx:pt idx="40311">1</cx:pt>
          <cx:pt idx="40312">2</cx:pt>
          <cx:pt idx="40313">5</cx:pt>
          <cx:pt idx="40314">4</cx:pt>
          <cx:pt idx="40315">3</cx:pt>
          <cx:pt idx="40316">3</cx:pt>
          <cx:pt idx="40317">3</cx:pt>
          <cx:pt idx="40318">5</cx:pt>
          <cx:pt idx="40319">5</cx:pt>
          <cx:pt idx="40320">4</cx:pt>
          <cx:pt idx="40321">4</cx:pt>
          <cx:pt idx="40322">4</cx:pt>
          <cx:pt idx="40323">1</cx:pt>
          <cx:pt idx="40324">3</cx:pt>
          <cx:pt idx="40325">3</cx:pt>
          <cx:pt idx="40326">4</cx:pt>
          <cx:pt idx="40327">4</cx:pt>
          <cx:pt idx="40328">4</cx:pt>
          <cx:pt idx="40329">3</cx:pt>
          <cx:pt idx="40330">5</cx:pt>
          <cx:pt idx="40331">3</cx:pt>
          <cx:pt idx="40332">4</cx:pt>
          <cx:pt idx="40333">2</cx:pt>
          <cx:pt idx="40334">3</cx:pt>
          <cx:pt idx="40335">4</cx:pt>
          <cx:pt idx="40336">3</cx:pt>
          <cx:pt idx="40337">5</cx:pt>
          <cx:pt idx="40338">1</cx:pt>
          <cx:pt idx="40339">5</cx:pt>
          <cx:pt idx="40340">4</cx:pt>
          <cx:pt idx="40341">2</cx:pt>
          <cx:pt idx="40342">5</cx:pt>
          <cx:pt idx="40343">5</cx:pt>
          <cx:pt idx="40344">4</cx:pt>
          <cx:pt idx="40345">3</cx:pt>
          <cx:pt idx="40346">2</cx:pt>
          <cx:pt idx="40347">1</cx:pt>
          <cx:pt idx="40348">3</cx:pt>
          <cx:pt idx="40349">4</cx:pt>
          <cx:pt idx="40350">5</cx:pt>
          <cx:pt idx="40351">5</cx:pt>
          <cx:pt idx="40352">3</cx:pt>
          <cx:pt idx="40353">2</cx:pt>
          <cx:pt idx="40354">5</cx:pt>
          <cx:pt idx="40355">4</cx:pt>
          <cx:pt idx="40356">4</cx:pt>
          <cx:pt idx="40357">1</cx:pt>
          <cx:pt idx="40358">3</cx:pt>
          <cx:pt idx="40359">4</cx:pt>
          <cx:pt idx="40360">2</cx:pt>
          <cx:pt idx="40361">3</cx:pt>
          <cx:pt idx="40362">5</cx:pt>
          <cx:pt idx="40363">4</cx:pt>
          <cx:pt idx="40364">4</cx:pt>
          <cx:pt idx="40365">2</cx:pt>
          <cx:pt idx="40366">5</cx:pt>
          <cx:pt idx="40367">5</cx:pt>
          <cx:pt idx="40368">5</cx:pt>
          <cx:pt idx="40369">1</cx:pt>
          <cx:pt idx="40370">5</cx:pt>
          <cx:pt idx="40371">4</cx:pt>
          <cx:pt idx="40372">4</cx:pt>
          <cx:pt idx="40373">4</cx:pt>
          <cx:pt idx="40374">4</cx:pt>
          <cx:pt idx="40375">1</cx:pt>
          <cx:pt idx="40376">5</cx:pt>
          <cx:pt idx="40377">5</cx:pt>
          <cx:pt idx="40378">3</cx:pt>
          <cx:pt idx="40379">5</cx:pt>
          <cx:pt idx="40380">4</cx:pt>
          <cx:pt idx="40381">2</cx:pt>
          <cx:pt idx="40382">4</cx:pt>
          <cx:pt idx="40383">2</cx:pt>
          <cx:pt idx="40384">5</cx:pt>
          <cx:pt idx="40385">1</cx:pt>
          <cx:pt idx="40386">2</cx:pt>
          <cx:pt idx="40387">5</cx:pt>
          <cx:pt idx="40388">5</cx:pt>
          <cx:pt idx="40389">1</cx:pt>
          <cx:pt idx="40390">2</cx:pt>
          <cx:pt idx="40391">5</cx:pt>
          <cx:pt idx="40392">5</cx:pt>
          <cx:pt idx="40393">4</cx:pt>
          <cx:pt idx="40394">5</cx:pt>
          <cx:pt idx="40395">4</cx:pt>
          <cx:pt idx="40396">4</cx:pt>
          <cx:pt idx="40397">1</cx:pt>
          <cx:pt idx="40398">4</cx:pt>
          <cx:pt idx="40399">3</cx:pt>
          <cx:pt idx="40400">1</cx:pt>
          <cx:pt idx="40401">5</cx:pt>
          <cx:pt idx="40402">3</cx:pt>
          <cx:pt idx="40403">1</cx:pt>
          <cx:pt idx="40404">1</cx:pt>
          <cx:pt idx="40405">2</cx:pt>
          <cx:pt idx="40406">2</cx:pt>
          <cx:pt idx="40407">5</cx:pt>
          <cx:pt idx="40408">5</cx:pt>
          <cx:pt idx="40409">3</cx:pt>
          <cx:pt idx="40410">5</cx:pt>
          <cx:pt idx="40411">4</cx:pt>
          <cx:pt idx="40412">4</cx:pt>
          <cx:pt idx="40413">5</cx:pt>
          <cx:pt idx="40414">1</cx:pt>
          <cx:pt idx="40415">1</cx:pt>
          <cx:pt idx="40416">5</cx:pt>
          <cx:pt idx="40417">5</cx:pt>
          <cx:pt idx="40418">4</cx:pt>
          <cx:pt idx="40419">1</cx:pt>
          <cx:pt idx="40420">5</cx:pt>
          <cx:pt idx="40421">3</cx:pt>
          <cx:pt idx="40422">5</cx:pt>
          <cx:pt idx="40423">1</cx:pt>
          <cx:pt idx="40424">1</cx:pt>
          <cx:pt idx="40425">3</cx:pt>
          <cx:pt idx="40426">3</cx:pt>
          <cx:pt idx="40427">4</cx:pt>
          <cx:pt idx="40428">5</cx:pt>
          <cx:pt idx="40429">5</cx:pt>
          <cx:pt idx="40430">1</cx:pt>
          <cx:pt idx="40431">4</cx:pt>
          <cx:pt idx="40432">3</cx:pt>
          <cx:pt idx="40433">5</cx:pt>
          <cx:pt idx="40434">1</cx:pt>
          <cx:pt idx="40435">5</cx:pt>
          <cx:pt idx="40436">2</cx:pt>
          <cx:pt idx="40437">4</cx:pt>
          <cx:pt idx="40438">3</cx:pt>
          <cx:pt idx="40439">4</cx:pt>
          <cx:pt idx="40440">5</cx:pt>
          <cx:pt idx="40441">4</cx:pt>
          <cx:pt idx="40442">3</cx:pt>
          <cx:pt idx="40443">2</cx:pt>
          <cx:pt idx="40444">2</cx:pt>
          <cx:pt idx="40445">4</cx:pt>
          <cx:pt idx="40446">5</cx:pt>
          <cx:pt idx="40447">2</cx:pt>
          <cx:pt idx="40448">4</cx:pt>
          <cx:pt idx="40449">5</cx:pt>
          <cx:pt idx="40450">2</cx:pt>
          <cx:pt idx="40451">3</cx:pt>
          <cx:pt idx="40452">4</cx:pt>
          <cx:pt idx="40453">5</cx:pt>
          <cx:pt idx="40454">4</cx:pt>
          <cx:pt idx="40455">3</cx:pt>
          <cx:pt idx="40456">5</cx:pt>
          <cx:pt idx="40457">5</cx:pt>
          <cx:pt idx="40458">5</cx:pt>
          <cx:pt idx="40459">3</cx:pt>
          <cx:pt idx="40460">4</cx:pt>
          <cx:pt idx="40461">1</cx:pt>
          <cx:pt idx="40462">2</cx:pt>
          <cx:pt idx="40463">5</cx:pt>
          <cx:pt idx="40464">2</cx:pt>
          <cx:pt idx="40465">3</cx:pt>
          <cx:pt idx="40466">5</cx:pt>
          <cx:pt idx="40467">3</cx:pt>
          <cx:pt idx="40468">1</cx:pt>
          <cx:pt idx="40469">2</cx:pt>
          <cx:pt idx="40470">3</cx:pt>
          <cx:pt idx="40471">5</cx:pt>
          <cx:pt idx="40472">5</cx:pt>
          <cx:pt idx="40473">2</cx:pt>
          <cx:pt idx="40474">4</cx:pt>
          <cx:pt idx="40475">4</cx:pt>
          <cx:pt idx="40476">2</cx:pt>
          <cx:pt idx="40477">4</cx:pt>
          <cx:pt idx="40478">5</cx:pt>
          <cx:pt idx="40479">4</cx:pt>
          <cx:pt idx="40480">1</cx:pt>
          <cx:pt idx="40481">1</cx:pt>
          <cx:pt idx="40482">3</cx:pt>
          <cx:pt idx="40483">5</cx:pt>
          <cx:pt idx="40484">5</cx:pt>
          <cx:pt idx="40485">5</cx:pt>
          <cx:pt idx="40486">5</cx:pt>
          <cx:pt idx="40487">5</cx:pt>
          <cx:pt idx="40488">4</cx:pt>
          <cx:pt idx="40489">4</cx:pt>
          <cx:pt idx="40490">5</cx:pt>
          <cx:pt idx="40491">5</cx:pt>
          <cx:pt idx="40492">2</cx:pt>
          <cx:pt idx="40493">2</cx:pt>
          <cx:pt idx="40494">2</cx:pt>
          <cx:pt idx="40495">4</cx:pt>
          <cx:pt idx="40496">2</cx:pt>
          <cx:pt idx="40497">1</cx:pt>
          <cx:pt idx="40498">5</cx:pt>
          <cx:pt idx="40499">2</cx:pt>
          <cx:pt idx="40500">3</cx:pt>
          <cx:pt idx="40501">3</cx:pt>
          <cx:pt idx="40502">3</cx:pt>
          <cx:pt idx="40503">4</cx:pt>
          <cx:pt idx="40504">4</cx:pt>
          <cx:pt idx="40505">3</cx:pt>
          <cx:pt idx="40506">2</cx:pt>
          <cx:pt idx="40507">4</cx:pt>
          <cx:pt idx="40508">3</cx:pt>
          <cx:pt idx="40509">4</cx:pt>
          <cx:pt idx="40510">1</cx:pt>
          <cx:pt idx="40511">4</cx:pt>
          <cx:pt idx="40512">2</cx:pt>
          <cx:pt idx="40513">5</cx:pt>
          <cx:pt idx="40514">2</cx:pt>
          <cx:pt idx="40515">2</cx:pt>
          <cx:pt idx="40516">3</cx:pt>
          <cx:pt idx="40517">3</cx:pt>
          <cx:pt idx="40518">4</cx:pt>
          <cx:pt idx="40519">4</cx:pt>
          <cx:pt idx="40520">2</cx:pt>
          <cx:pt idx="40521">4</cx:pt>
          <cx:pt idx="40522">5</cx:pt>
          <cx:pt idx="40523">5</cx:pt>
          <cx:pt idx="40524">4</cx:pt>
          <cx:pt idx="40525">2</cx:pt>
          <cx:pt idx="40526">2</cx:pt>
          <cx:pt idx="40527">4</cx:pt>
          <cx:pt idx="40528">4</cx:pt>
          <cx:pt idx="40529">3</cx:pt>
          <cx:pt idx="40530">2</cx:pt>
          <cx:pt idx="40531">4</cx:pt>
          <cx:pt idx="40532">3</cx:pt>
          <cx:pt idx="40533">4</cx:pt>
          <cx:pt idx="40534">1</cx:pt>
          <cx:pt idx="40535">4</cx:pt>
          <cx:pt idx="40536">4</cx:pt>
          <cx:pt idx="40537">5</cx:pt>
          <cx:pt idx="40538">3</cx:pt>
          <cx:pt idx="40539">4</cx:pt>
          <cx:pt idx="40540">1</cx:pt>
          <cx:pt idx="40541">2</cx:pt>
          <cx:pt idx="40542">5</cx:pt>
          <cx:pt idx="40543">4</cx:pt>
          <cx:pt idx="40544">4</cx:pt>
          <cx:pt idx="40545">3</cx:pt>
          <cx:pt idx="40546">2</cx:pt>
          <cx:pt idx="40547">5</cx:pt>
          <cx:pt idx="40548">5</cx:pt>
          <cx:pt idx="40549">5</cx:pt>
          <cx:pt idx="40550">3</cx:pt>
          <cx:pt idx="40551">2</cx:pt>
          <cx:pt idx="40552">4</cx:pt>
          <cx:pt idx="40553">3</cx:pt>
          <cx:pt idx="40554">2</cx:pt>
          <cx:pt idx="40555">4</cx:pt>
          <cx:pt idx="40556">3</cx:pt>
          <cx:pt idx="40557">5</cx:pt>
          <cx:pt idx="40558">4</cx:pt>
          <cx:pt idx="40559">5</cx:pt>
          <cx:pt idx="40560">3</cx:pt>
          <cx:pt idx="40561">2</cx:pt>
          <cx:pt idx="40562">2</cx:pt>
          <cx:pt idx="40563">5</cx:pt>
          <cx:pt idx="40564">4</cx:pt>
          <cx:pt idx="40565">4</cx:pt>
          <cx:pt idx="40566">4</cx:pt>
          <cx:pt idx="40567">1</cx:pt>
          <cx:pt idx="40568">1</cx:pt>
          <cx:pt idx="40569">5</cx:pt>
          <cx:pt idx="40570">4</cx:pt>
          <cx:pt idx="40571">4</cx:pt>
          <cx:pt idx="40572">3</cx:pt>
          <cx:pt idx="40573">1</cx:pt>
          <cx:pt idx="40574">4</cx:pt>
          <cx:pt idx="40575">3</cx:pt>
          <cx:pt idx="40576">3</cx:pt>
          <cx:pt idx="40577">5</cx:pt>
          <cx:pt idx="40578">2</cx:pt>
          <cx:pt idx="40579">4</cx:pt>
          <cx:pt idx="40580">1</cx:pt>
          <cx:pt idx="40581">3</cx:pt>
          <cx:pt idx="40582">4</cx:pt>
          <cx:pt idx="40583">5</cx:pt>
          <cx:pt idx="40584">5</cx:pt>
          <cx:pt idx="40585">1</cx:pt>
          <cx:pt idx="40586">1</cx:pt>
          <cx:pt idx="40587">1</cx:pt>
          <cx:pt idx="40588">5</cx:pt>
          <cx:pt idx="40589">1</cx:pt>
          <cx:pt idx="40590">5</cx:pt>
          <cx:pt idx="40591">4</cx:pt>
          <cx:pt idx="40592">1</cx:pt>
          <cx:pt idx="40593">4</cx:pt>
          <cx:pt idx="40594">4</cx:pt>
          <cx:pt idx="40595">3</cx:pt>
          <cx:pt idx="40596">1</cx:pt>
          <cx:pt idx="40597">1</cx:pt>
          <cx:pt idx="40598">5</cx:pt>
          <cx:pt idx="40599">2</cx:pt>
          <cx:pt idx="40600">4</cx:pt>
          <cx:pt idx="40601">5</cx:pt>
          <cx:pt idx="40602">4</cx:pt>
          <cx:pt idx="40603">3</cx:pt>
          <cx:pt idx="40604">2</cx:pt>
          <cx:pt idx="40605">5</cx:pt>
          <cx:pt idx="40606">4</cx:pt>
          <cx:pt idx="40607">5</cx:pt>
          <cx:pt idx="40608">4</cx:pt>
          <cx:pt idx="40609">2</cx:pt>
          <cx:pt idx="40610">2</cx:pt>
          <cx:pt idx="40611">5</cx:pt>
          <cx:pt idx="40612">1</cx:pt>
          <cx:pt idx="40613">3</cx:pt>
          <cx:pt idx="40614">1</cx:pt>
          <cx:pt idx="40615">5</cx:pt>
          <cx:pt idx="40616">5</cx:pt>
          <cx:pt idx="40617">1</cx:pt>
          <cx:pt idx="40618">5</cx:pt>
          <cx:pt idx="40619">4</cx:pt>
          <cx:pt idx="40620">4</cx:pt>
          <cx:pt idx="40621">5</cx:pt>
          <cx:pt idx="40622">3</cx:pt>
          <cx:pt idx="40623">1</cx:pt>
          <cx:pt idx="40624">3</cx:pt>
          <cx:pt idx="40625">4</cx:pt>
          <cx:pt idx="40626">4</cx:pt>
          <cx:pt idx="40627">2</cx:pt>
          <cx:pt idx="40628">3</cx:pt>
          <cx:pt idx="40629">1</cx:pt>
          <cx:pt idx="40630">5</cx:pt>
          <cx:pt idx="40631">4</cx:pt>
          <cx:pt idx="40632">5</cx:pt>
          <cx:pt idx="40633">4</cx:pt>
          <cx:pt idx="40634">4</cx:pt>
          <cx:pt idx="40635">4</cx:pt>
          <cx:pt idx="40636">2</cx:pt>
          <cx:pt idx="40637">4</cx:pt>
          <cx:pt idx="40638">3</cx:pt>
          <cx:pt idx="40639">1</cx:pt>
          <cx:pt idx="40640">3</cx:pt>
          <cx:pt idx="40641">3</cx:pt>
          <cx:pt idx="40642">4</cx:pt>
          <cx:pt idx="40643">1</cx:pt>
          <cx:pt idx="40644">4</cx:pt>
          <cx:pt idx="40645">1</cx:pt>
          <cx:pt idx="40646">5</cx:pt>
          <cx:pt idx="40647">3</cx:pt>
          <cx:pt idx="40648">2</cx:pt>
          <cx:pt idx="40649">3</cx:pt>
          <cx:pt idx="40650">4</cx:pt>
          <cx:pt idx="40651">1</cx:pt>
          <cx:pt idx="40652">5</cx:pt>
          <cx:pt idx="40653">4</cx:pt>
          <cx:pt idx="40654">4</cx:pt>
          <cx:pt idx="40655">3</cx:pt>
          <cx:pt idx="40656">4</cx:pt>
          <cx:pt idx="40657">2</cx:pt>
          <cx:pt idx="40658">3</cx:pt>
          <cx:pt idx="40659">4</cx:pt>
          <cx:pt idx="40660">4</cx:pt>
          <cx:pt idx="40661">4</cx:pt>
          <cx:pt idx="40662">2</cx:pt>
          <cx:pt idx="40663">5</cx:pt>
          <cx:pt idx="40664">5</cx:pt>
          <cx:pt idx="40665">1</cx:pt>
          <cx:pt idx="40666">4</cx:pt>
          <cx:pt idx="40667">2</cx:pt>
          <cx:pt idx="40668">5</cx:pt>
          <cx:pt idx="40669">4</cx:pt>
          <cx:pt idx="40670">3</cx:pt>
          <cx:pt idx="40671">2</cx:pt>
          <cx:pt idx="40672">2</cx:pt>
          <cx:pt idx="40673">2</cx:pt>
          <cx:pt idx="40674">5</cx:pt>
          <cx:pt idx="40675">3</cx:pt>
          <cx:pt idx="40676">1</cx:pt>
          <cx:pt idx="40677">3</cx:pt>
          <cx:pt idx="40678">4</cx:pt>
          <cx:pt idx="40679">4</cx:pt>
          <cx:pt idx="40680">5</cx:pt>
          <cx:pt idx="40681">4</cx:pt>
          <cx:pt idx="40682">4</cx:pt>
          <cx:pt idx="40683">5</cx:pt>
          <cx:pt idx="40684">5</cx:pt>
          <cx:pt idx="40685">2</cx:pt>
          <cx:pt idx="40686">5</cx:pt>
          <cx:pt idx="40687">2</cx:pt>
          <cx:pt idx="40688">5</cx:pt>
          <cx:pt idx="40689">1</cx:pt>
          <cx:pt idx="40690">2</cx:pt>
          <cx:pt idx="40691">5</cx:pt>
          <cx:pt idx="40692">3</cx:pt>
          <cx:pt idx="40693">2</cx:pt>
          <cx:pt idx="40694">5</cx:pt>
          <cx:pt idx="40695">5</cx:pt>
          <cx:pt idx="40696">4</cx:pt>
          <cx:pt idx="40697">5</cx:pt>
          <cx:pt idx="40698">2</cx:pt>
          <cx:pt idx="40699">5</cx:pt>
          <cx:pt idx="40700">3</cx:pt>
          <cx:pt idx="40701">5</cx:pt>
          <cx:pt idx="40702">5</cx:pt>
          <cx:pt idx="40703">2</cx:pt>
          <cx:pt idx="40704">5</cx:pt>
          <cx:pt idx="40705">1</cx:pt>
          <cx:pt idx="40706">5</cx:pt>
          <cx:pt idx="40707">2</cx:pt>
          <cx:pt idx="40708">3</cx:pt>
          <cx:pt idx="40709">5</cx:pt>
          <cx:pt idx="40710">5</cx:pt>
          <cx:pt idx="40711">4</cx:pt>
          <cx:pt idx="40712">4</cx:pt>
          <cx:pt idx="40713">1</cx:pt>
          <cx:pt idx="40714">2</cx:pt>
          <cx:pt idx="40715">3</cx:pt>
          <cx:pt idx="40716">4</cx:pt>
          <cx:pt idx="40717">5</cx:pt>
          <cx:pt idx="40718">1</cx:pt>
          <cx:pt idx="40719">4</cx:pt>
          <cx:pt idx="40720">4</cx:pt>
          <cx:pt idx="40721">5</cx:pt>
          <cx:pt idx="40722">4</cx:pt>
          <cx:pt idx="40723">5</cx:pt>
          <cx:pt idx="40724">1</cx:pt>
          <cx:pt idx="40725">4</cx:pt>
          <cx:pt idx="40726">5</cx:pt>
          <cx:pt idx="40727">3</cx:pt>
          <cx:pt idx="40728">2</cx:pt>
          <cx:pt idx="40729">1</cx:pt>
          <cx:pt idx="40730">4</cx:pt>
          <cx:pt idx="40731">2</cx:pt>
          <cx:pt idx="40732">1</cx:pt>
          <cx:pt idx="40733">5</cx:pt>
          <cx:pt idx="40734">4</cx:pt>
          <cx:pt idx="40735">1</cx:pt>
          <cx:pt idx="40736">5</cx:pt>
          <cx:pt idx="40737">1</cx:pt>
          <cx:pt idx="40738">1</cx:pt>
          <cx:pt idx="40739">5</cx:pt>
          <cx:pt idx="40740">2</cx:pt>
          <cx:pt idx="40741">5</cx:pt>
          <cx:pt idx="40742">5</cx:pt>
          <cx:pt idx="40743">3</cx:pt>
          <cx:pt idx="40744">5</cx:pt>
          <cx:pt idx="40745">4</cx:pt>
          <cx:pt idx="40746">5</cx:pt>
          <cx:pt idx="40747">4</cx:pt>
          <cx:pt idx="40748">4</cx:pt>
          <cx:pt idx="40749">5</cx:pt>
          <cx:pt idx="40750">5</cx:pt>
          <cx:pt idx="40751">5</cx:pt>
          <cx:pt idx="40752">5</cx:pt>
          <cx:pt idx="40753">3</cx:pt>
          <cx:pt idx="40754">3</cx:pt>
          <cx:pt idx="40755">5</cx:pt>
          <cx:pt idx="40756">5</cx:pt>
          <cx:pt idx="40757">4</cx:pt>
          <cx:pt idx="40758">4</cx:pt>
          <cx:pt idx="40759">2</cx:pt>
          <cx:pt idx="40760">4</cx:pt>
          <cx:pt idx="40761">3</cx:pt>
          <cx:pt idx="40762">4</cx:pt>
          <cx:pt idx="40763">3</cx:pt>
          <cx:pt idx="40764">4</cx:pt>
          <cx:pt idx="40765">2</cx:pt>
          <cx:pt idx="40766">4</cx:pt>
          <cx:pt idx="40767">4</cx:pt>
          <cx:pt idx="40768">3</cx:pt>
          <cx:pt idx="40769">4</cx:pt>
          <cx:pt idx="40770">5</cx:pt>
          <cx:pt idx="40771">2</cx:pt>
          <cx:pt idx="40772">2</cx:pt>
          <cx:pt idx="40773">5</cx:pt>
          <cx:pt idx="40774">4</cx:pt>
          <cx:pt idx="40775">5</cx:pt>
          <cx:pt idx="40776">5</cx:pt>
          <cx:pt idx="40777">5</cx:pt>
          <cx:pt idx="40778">5</cx:pt>
          <cx:pt idx="40779">5</cx:pt>
          <cx:pt idx="40780">2</cx:pt>
          <cx:pt idx="40781">5</cx:pt>
          <cx:pt idx="40782">5</cx:pt>
          <cx:pt idx="40783">4</cx:pt>
          <cx:pt idx="40784">4</cx:pt>
          <cx:pt idx="40785">5</cx:pt>
          <cx:pt idx="40786">2</cx:pt>
          <cx:pt idx="40787">5</cx:pt>
          <cx:pt idx="40788">3</cx:pt>
          <cx:pt idx="40789">2</cx:pt>
          <cx:pt idx="40790">4</cx:pt>
          <cx:pt idx="40791">4</cx:pt>
          <cx:pt idx="40792">2</cx:pt>
          <cx:pt idx="40793">4</cx:pt>
          <cx:pt idx="40794">4</cx:pt>
          <cx:pt idx="40795">4</cx:pt>
          <cx:pt idx="40796">5</cx:pt>
          <cx:pt idx="40797">1</cx:pt>
          <cx:pt idx="40798">2</cx:pt>
          <cx:pt idx="40799">4</cx:pt>
          <cx:pt idx="40800">2</cx:pt>
          <cx:pt idx="40801">5</cx:pt>
          <cx:pt idx="40802">3</cx:pt>
          <cx:pt idx="40803">5</cx:pt>
          <cx:pt idx="40804">4</cx:pt>
          <cx:pt idx="40805">2</cx:pt>
          <cx:pt idx="40806">5</cx:pt>
          <cx:pt idx="40807">4</cx:pt>
          <cx:pt idx="40808">5</cx:pt>
          <cx:pt idx="40809">5</cx:pt>
          <cx:pt idx="40810">2</cx:pt>
          <cx:pt idx="40811">4</cx:pt>
          <cx:pt idx="40812">4</cx:pt>
          <cx:pt idx="40813">4</cx:pt>
          <cx:pt idx="40814">1</cx:pt>
          <cx:pt idx="40815">1</cx:pt>
          <cx:pt idx="40816">3</cx:pt>
          <cx:pt idx="40817">2</cx:pt>
          <cx:pt idx="40818">4</cx:pt>
          <cx:pt idx="40819">3</cx:pt>
          <cx:pt idx="40820">4</cx:pt>
          <cx:pt idx="40821">2</cx:pt>
          <cx:pt idx="40822">3</cx:pt>
          <cx:pt idx="40823">5</cx:pt>
          <cx:pt idx="40824">4</cx:pt>
          <cx:pt idx="40825">3</cx:pt>
          <cx:pt idx="40826">1</cx:pt>
          <cx:pt idx="40827">2</cx:pt>
          <cx:pt idx="40828">5</cx:pt>
          <cx:pt idx="40829">4</cx:pt>
          <cx:pt idx="40830">1</cx:pt>
          <cx:pt idx="40831">5</cx:pt>
          <cx:pt idx="40832">5</cx:pt>
          <cx:pt idx="40833">4</cx:pt>
          <cx:pt idx="40834">3</cx:pt>
          <cx:pt idx="40835">3</cx:pt>
          <cx:pt idx="40836">4</cx:pt>
          <cx:pt idx="40837">4</cx:pt>
          <cx:pt idx="40838">5</cx:pt>
          <cx:pt idx="40839">4</cx:pt>
          <cx:pt idx="40840">5</cx:pt>
          <cx:pt idx="40841">3</cx:pt>
          <cx:pt idx="40842">5</cx:pt>
          <cx:pt idx="40843">1</cx:pt>
          <cx:pt idx="40844">4</cx:pt>
          <cx:pt idx="40845">3</cx:pt>
          <cx:pt idx="40846">5</cx:pt>
          <cx:pt idx="40847">2</cx:pt>
          <cx:pt idx="40848">4</cx:pt>
          <cx:pt idx="40849">4</cx:pt>
          <cx:pt idx="40850">2</cx:pt>
          <cx:pt idx="40851">1</cx:pt>
          <cx:pt idx="40852">5</cx:pt>
          <cx:pt idx="40853">4</cx:pt>
          <cx:pt idx="40854">5</cx:pt>
          <cx:pt idx="40855">4</cx:pt>
          <cx:pt idx="40856">5</cx:pt>
          <cx:pt idx="40857">3</cx:pt>
          <cx:pt idx="40858">5</cx:pt>
          <cx:pt idx="40859">5</cx:pt>
          <cx:pt idx="40860">5</cx:pt>
          <cx:pt idx="40861">5</cx:pt>
          <cx:pt idx="40862">5</cx:pt>
          <cx:pt idx="40863">4</cx:pt>
          <cx:pt idx="40864">5</cx:pt>
          <cx:pt idx="40865">5</cx:pt>
          <cx:pt idx="40866">1</cx:pt>
          <cx:pt idx="40867">5</cx:pt>
          <cx:pt idx="40868">3</cx:pt>
          <cx:pt idx="40869">4</cx:pt>
          <cx:pt idx="40870">4</cx:pt>
          <cx:pt idx="40871">4</cx:pt>
          <cx:pt idx="40872">4</cx:pt>
          <cx:pt idx="40873">4</cx:pt>
          <cx:pt idx="40874">5</cx:pt>
          <cx:pt idx="40875">2</cx:pt>
          <cx:pt idx="40876">3</cx:pt>
          <cx:pt idx="40877">4</cx:pt>
          <cx:pt idx="40878">2</cx:pt>
          <cx:pt idx="40879">4</cx:pt>
          <cx:pt idx="40880">5</cx:pt>
          <cx:pt idx="40881">3</cx:pt>
          <cx:pt idx="40882">4</cx:pt>
          <cx:pt idx="40883">1</cx:pt>
          <cx:pt idx="40884">4</cx:pt>
          <cx:pt idx="40885">2</cx:pt>
          <cx:pt idx="40886">5</cx:pt>
          <cx:pt idx="40887">4</cx:pt>
          <cx:pt idx="40888">4</cx:pt>
          <cx:pt idx="40889">4</cx:pt>
          <cx:pt idx="40890">5</cx:pt>
          <cx:pt idx="40891">4</cx:pt>
          <cx:pt idx="40892">4</cx:pt>
          <cx:pt idx="40893">3</cx:pt>
          <cx:pt idx="40894">2</cx:pt>
          <cx:pt idx="40895">5</cx:pt>
          <cx:pt idx="40896">1</cx:pt>
          <cx:pt idx="40897">4</cx:pt>
          <cx:pt idx="40898">4</cx:pt>
          <cx:pt idx="40899">2</cx:pt>
          <cx:pt idx="40900">5</cx:pt>
          <cx:pt idx="40901">4</cx:pt>
          <cx:pt idx="40902">5</cx:pt>
          <cx:pt idx="40903">2</cx:pt>
          <cx:pt idx="40904">5</cx:pt>
          <cx:pt idx="40905">3</cx:pt>
          <cx:pt idx="40906">2</cx:pt>
          <cx:pt idx="40907">5</cx:pt>
          <cx:pt idx="40908">2</cx:pt>
          <cx:pt idx="40909">1</cx:pt>
          <cx:pt idx="40910">4</cx:pt>
          <cx:pt idx="40911">2</cx:pt>
          <cx:pt idx="40912">3</cx:pt>
          <cx:pt idx="40913">4</cx:pt>
          <cx:pt idx="40914">4</cx:pt>
          <cx:pt idx="40915">3</cx:pt>
          <cx:pt idx="40916">2</cx:pt>
          <cx:pt idx="40917">2</cx:pt>
          <cx:pt idx="40918">4</cx:pt>
          <cx:pt idx="40919">5</cx:pt>
          <cx:pt idx="40920">1</cx:pt>
          <cx:pt idx="40921">1</cx:pt>
          <cx:pt idx="40922">5</cx:pt>
          <cx:pt idx="40923">4</cx:pt>
          <cx:pt idx="40924">5</cx:pt>
          <cx:pt idx="40925">2</cx:pt>
          <cx:pt idx="40926">3</cx:pt>
          <cx:pt idx="40927">2</cx:pt>
          <cx:pt idx="40928">1</cx:pt>
          <cx:pt idx="40929">4</cx:pt>
          <cx:pt idx="40930">5</cx:pt>
          <cx:pt idx="40931">2</cx:pt>
          <cx:pt idx="40932">5</cx:pt>
          <cx:pt idx="40933">5</cx:pt>
          <cx:pt idx="40934">3</cx:pt>
          <cx:pt idx="40935">5</cx:pt>
          <cx:pt idx="40936">4</cx:pt>
          <cx:pt idx="40937">1</cx:pt>
          <cx:pt idx="40938">5</cx:pt>
          <cx:pt idx="40939">5</cx:pt>
          <cx:pt idx="40940">1</cx:pt>
          <cx:pt idx="40941">4</cx:pt>
          <cx:pt idx="40942">3</cx:pt>
          <cx:pt idx="40943">5</cx:pt>
          <cx:pt idx="40944">4</cx:pt>
          <cx:pt idx="40945">5</cx:pt>
          <cx:pt idx="40946">5</cx:pt>
          <cx:pt idx="40947">2</cx:pt>
          <cx:pt idx="40948">1</cx:pt>
          <cx:pt idx="40949">5</cx:pt>
          <cx:pt idx="40950">4</cx:pt>
          <cx:pt idx="40951">1</cx:pt>
          <cx:pt idx="40952">3</cx:pt>
          <cx:pt idx="40953">3</cx:pt>
          <cx:pt idx="40954">3</cx:pt>
          <cx:pt idx="40955">2</cx:pt>
          <cx:pt idx="40956">5</cx:pt>
          <cx:pt idx="40957">4</cx:pt>
          <cx:pt idx="40958">4</cx:pt>
          <cx:pt idx="40959">3</cx:pt>
          <cx:pt idx="40960">2</cx:pt>
          <cx:pt idx="40961">2</cx:pt>
          <cx:pt idx="40962">1</cx:pt>
          <cx:pt idx="40963">4</cx:pt>
          <cx:pt idx="40964">3</cx:pt>
          <cx:pt idx="40965">2</cx:pt>
          <cx:pt idx="40966">1</cx:pt>
          <cx:pt idx="40967">4</cx:pt>
          <cx:pt idx="40968">5</cx:pt>
          <cx:pt idx="40969">3</cx:pt>
          <cx:pt idx="40970">4</cx:pt>
          <cx:pt idx="40971">5</cx:pt>
          <cx:pt idx="40972">5</cx:pt>
          <cx:pt idx="40973">4</cx:pt>
          <cx:pt idx="40974">4</cx:pt>
          <cx:pt idx="40975">3</cx:pt>
          <cx:pt idx="40976">1</cx:pt>
          <cx:pt idx="40977">4</cx:pt>
          <cx:pt idx="40978">2</cx:pt>
          <cx:pt idx="40979">5</cx:pt>
          <cx:pt idx="40980">5</cx:pt>
          <cx:pt idx="40981">5</cx:pt>
          <cx:pt idx="40982">3</cx:pt>
          <cx:pt idx="40983">1</cx:pt>
          <cx:pt idx="40984">5</cx:pt>
          <cx:pt idx="40985">1</cx:pt>
          <cx:pt idx="40986">4</cx:pt>
          <cx:pt idx="40987">5</cx:pt>
          <cx:pt idx="40988">5</cx:pt>
          <cx:pt idx="40989">2</cx:pt>
          <cx:pt idx="40990">5</cx:pt>
          <cx:pt idx="40991">5</cx:pt>
          <cx:pt idx="40992">3</cx:pt>
          <cx:pt idx="40993">4</cx:pt>
          <cx:pt idx="40994">4</cx:pt>
          <cx:pt idx="40995">2</cx:pt>
          <cx:pt idx="40996">5</cx:pt>
          <cx:pt idx="40997">1</cx:pt>
          <cx:pt idx="40998">3</cx:pt>
          <cx:pt idx="40999">2</cx:pt>
          <cx:pt idx="41000">3</cx:pt>
          <cx:pt idx="41001">4</cx:pt>
          <cx:pt idx="41002">4</cx:pt>
          <cx:pt idx="41003">3</cx:pt>
          <cx:pt idx="41004">2</cx:pt>
          <cx:pt idx="41005">3</cx:pt>
          <cx:pt idx="41006">1</cx:pt>
          <cx:pt idx="41007">1</cx:pt>
          <cx:pt idx="41008">2</cx:pt>
          <cx:pt idx="41009">4</cx:pt>
          <cx:pt idx="41010">5</cx:pt>
          <cx:pt idx="41011">2</cx:pt>
          <cx:pt idx="41012">3</cx:pt>
          <cx:pt idx="41013">4</cx:pt>
          <cx:pt idx="41014">4</cx:pt>
          <cx:pt idx="41015">1</cx:pt>
          <cx:pt idx="41016">3</cx:pt>
          <cx:pt idx="41017">4</cx:pt>
          <cx:pt idx="41018">2</cx:pt>
          <cx:pt idx="41019">5</cx:pt>
          <cx:pt idx="41020">4</cx:pt>
          <cx:pt idx="41021">5</cx:pt>
          <cx:pt idx="41022">4</cx:pt>
          <cx:pt idx="41023">5</cx:pt>
          <cx:pt idx="41024">2</cx:pt>
          <cx:pt idx="41025">1</cx:pt>
          <cx:pt idx="41026">1</cx:pt>
          <cx:pt idx="41027">4</cx:pt>
          <cx:pt idx="41028">5</cx:pt>
          <cx:pt idx="41029">1</cx:pt>
          <cx:pt idx="41030">4</cx:pt>
          <cx:pt idx="41031">4</cx:pt>
          <cx:pt idx="41032">1</cx:pt>
          <cx:pt idx="41033">5</cx:pt>
          <cx:pt idx="41034">1</cx:pt>
          <cx:pt idx="41035">3</cx:pt>
          <cx:pt idx="41036">3</cx:pt>
          <cx:pt idx="41037">4</cx:pt>
          <cx:pt idx="41038">5</cx:pt>
          <cx:pt idx="41039">2</cx:pt>
          <cx:pt idx="41040">2</cx:pt>
          <cx:pt idx="41041">5</cx:pt>
          <cx:pt idx="41042">4</cx:pt>
          <cx:pt idx="41043">4</cx:pt>
          <cx:pt idx="41044">4</cx:pt>
          <cx:pt idx="41045">4</cx:pt>
          <cx:pt idx="41046">4</cx:pt>
          <cx:pt idx="41047">4</cx:pt>
          <cx:pt idx="41048">5</cx:pt>
          <cx:pt idx="41049">3</cx:pt>
          <cx:pt idx="41050">4</cx:pt>
          <cx:pt idx="41051">3</cx:pt>
          <cx:pt idx="41052">5</cx:pt>
          <cx:pt idx="41053">4</cx:pt>
          <cx:pt idx="41054">5</cx:pt>
          <cx:pt idx="41055">3</cx:pt>
          <cx:pt idx="41056">5</cx:pt>
          <cx:pt idx="41057">3</cx:pt>
          <cx:pt idx="41058">4</cx:pt>
          <cx:pt idx="41059">5</cx:pt>
          <cx:pt idx="41060">5</cx:pt>
          <cx:pt idx="41061">2</cx:pt>
          <cx:pt idx="41062">5</cx:pt>
          <cx:pt idx="41063">2</cx:pt>
          <cx:pt idx="41064">3</cx:pt>
          <cx:pt idx="41065">4</cx:pt>
          <cx:pt idx="41066">2</cx:pt>
          <cx:pt idx="41067">4</cx:pt>
          <cx:pt idx="41068">3</cx:pt>
          <cx:pt idx="41069">2</cx:pt>
          <cx:pt idx="41070">2</cx:pt>
          <cx:pt idx="41071">3</cx:pt>
          <cx:pt idx="41072">3</cx:pt>
          <cx:pt idx="41073">5</cx:pt>
          <cx:pt idx="41074">5</cx:pt>
          <cx:pt idx="41075">2</cx:pt>
          <cx:pt idx="41076">2</cx:pt>
          <cx:pt idx="41077">2</cx:pt>
          <cx:pt idx="41078">2</cx:pt>
          <cx:pt idx="41079">4</cx:pt>
          <cx:pt idx="41080">4</cx:pt>
          <cx:pt idx="41081">3</cx:pt>
          <cx:pt idx="41082">4</cx:pt>
          <cx:pt idx="41083">4</cx:pt>
          <cx:pt idx="41084">5</cx:pt>
          <cx:pt idx="41085">1</cx:pt>
          <cx:pt idx="41086">5</cx:pt>
          <cx:pt idx="41087">5</cx:pt>
          <cx:pt idx="41088">3</cx:pt>
          <cx:pt idx="41089">2</cx:pt>
          <cx:pt idx="41090">2</cx:pt>
          <cx:pt idx="41091">5</cx:pt>
          <cx:pt idx="41092">3</cx:pt>
          <cx:pt idx="41093">4</cx:pt>
          <cx:pt idx="41094">5</cx:pt>
          <cx:pt idx="41095">2</cx:pt>
          <cx:pt idx="41096">5</cx:pt>
          <cx:pt idx="41097">2</cx:pt>
          <cx:pt idx="41098">1</cx:pt>
          <cx:pt idx="41099">3</cx:pt>
          <cx:pt idx="41100">2</cx:pt>
          <cx:pt idx="41101">4</cx:pt>
          <cx:pt idx="41102">4</cx:pt>
          <cx:pt idx="41103">5</cx:pt>
          <cx:pt idx="41104">5</cx:pt>
          <cx:pt idx="41105">3</cx:pt>
          <cx:pt idx="41106">5</cx:pt>
          <cx:pt idx="41107">3</cx:pt>
          <cx:pt idx="41108">4</cx:pt>
          <cx:pt idx="41109">4</cx:pt>
          <cx:pt idx="41110">4</cx:pt>
          <cx:pt idx="41111">2</cx:pt>
          <cx:pt idx="41112">3</cx:pt>
          <cx:pt idx="41113">2</cx:pt>
          <cx:pt idx="41114">4</cx:pt>
          <cx:pt idx="41115">1</cx:pt>
          <cx:pt idx="41116">3</cx:pt>
          <cx:pt idx="41117">4</cx:pt>
          <cx:pt idx="41118">2</cx:pt>
          <cx:pt idx="41119">1</cx:pt>
          <cx:pt idx="41120">5</cx:pt>
          <cx:pt idx="41121">5</cx:pt>
          <cx:pt idx="41122">4</cx:pt>
          <cx:pt idx="41123">2</cx:pt>
          <cx:pt idx="41124">4</cx:pt>
          <cx:pt idx="41125">1</cx:pt>
          <cx:pt idx="41126">4</cx:pt>
          <cx:pt idx="41127">4</cx:pt>
          <cx:pt idx="41128">4</cx:pt>
          <cx:pt idx="41129">4</cx:pt>
          <cx:pt idx="41130">4</cx:pt>
          <cx:pt idx="41131">1</cx:pt>
          <cx:pt idx="41132">3</cx:pt>
          <cx:pt idx="41133">1</cx:pt>
          <cx:pt idx="41134">3</cx:pt>
          <cx:pt idx="41135">4</cx:pt>
          <cx:pt idx="41136">4</cx:pt>
          <cx:pt idx="41137">4</cx:pt>
          <cx:pt idx="41138">3</cx:pt>
          <cx:pt idx="41139">4</cx:pt>
          <cx:pt idx="41140">2</cx:pt>
          <cx:pt idx="41141">5</cx:pt>
          <cx:pt idx="41142">1</cx:pt>
          <cx:pt idx="41143">5</cx:pt>
          <cx:pt idx="41144">4</cx:pt>
          <cx:pt idx="41145">4</cx:pt>
          <cx:pt idx="41146">5</cx:pt>
          <cx:pt idx="41147">3</cx:pt>
          <cx:pt idx="41148">5</cx:pt>
          <cx:pt idx="41149">3</cx:pt>
          <cx:pt idx="41150">3</cx:pt>
          <cx:pt idx="41151">1</cx:pt>
          <cx:pt idx="41152">4</cx:pt>
          <cx:pt idx="41153">1</cx:pt>
          <cx:pt idx="41154">5</cx:pt>
          <cx:pt idx="41155">5</cx:pt>
          <cx:pt idx="41156">5</cx:pt>
          <cx:pt idx="41157">1</cx:pt>
          <cx:pt idx="41158">4</cx:pt>
          <cx:pt idx="41159">4</cx:pt>
          <cx:pt idx="41160">5</cx:pt>
          <cx:pt idx="41161">3</cx:pt>
          <cx:pt idx="41162">2</cx:pt>
          <cx:pt idx="41163">5</cx:pt>
          <cx:pt idx="41164">4</cx:pt>
          <cx:pt idx="41165">3</cx:pt>
          <cx:pt idx="41166">2</cx:pt>
          <cx:pt idx="41167">4</cx:pt>
          <cx:pt idx="41168">5</cx:pt>
          <cx:pt idx="41169">5</cx:pt>
          <cx:pt idx="41170">4</cx:pt>
          <cx:pt idx="41171">3</cx:pt>
          <cx:pt idx="41172">4</cx:pt>
          <cx:pt idx="41173">4</cx:pt>
          <cx:pt idx="41174">4</cx:pt>
          <cx:pt idx="41175">4</cx:pt>
          <cx:pt idx="41176">4</cx:pt>
          <cx:pt idx="41177">1</cx:pt>
          <cx:pt idx="41178">1</cx:pt>
          <cx:pt idx="41179">4</cx:pt>
          <cx:pt idx="41180">5</cx:pt>
          <cx:pt idx="41181">4</cx:pt>
          <cx:pt idx="41182">4</cx:pt>
          <cx:pt idx="41183">2</cx:pt>
          <cx:pt idx="41184">1</cx:pt>
          <cx:pt idx="41185">5</cx:pt>
          <cx:pt idx="41186">4</cx:pt>
          <cx:pt idx="41187">2</cx:pt>
          <cx:pt idx="41188">3</cx:pt>
          <cx:pt idx="41189">5</cx:pt>
          <cx:pt idx="41190">5</cx:pt>
          <cx:pt idx="41191">4</cx:pt>
          <cx:pt idx="41192">3</cx:pt>
          <cx:pt idx="41193">3</cx:pt>
          <cx:pt idx="41194">4</cx:pt>
          <cx:pt idx="41195">3</cx:pt>
          <cx:pt idx="41196">4</cx:pt>
          <cx:pt idx="41197">3</cx:pt>
          <cx:pt idx="41198">5</cx:pt>
          <cx:pt idx="41199">4</cx:pt>
          <cx:pt idx="41200">3</cx:pt>
          <cx:pt idx="41201">4</cx:pt>
          <cx:pt idx="41202">2</cx:pt>
          <cx:pt idx="41203">2</cx:pt>
          <cx:pt idx="41204">5</cx:pt>
          <cx:pt idx="41205">4</cx:pt>
          <cx:pt idx="41206">5</cx:pt>
          <cx:pt idx="41207">1</cx:pt>
          <cx:pt idx="41208">4</cx:pt>
          <cx:pt idx="41209">1</cx:pt>
          <cx:pt idx="41210">4</cx:pt>
          <cx:pt idx="41211">1</cx:pt>
          <cx:pt idx="41212">1</cx:pt>
          <cx:pt idx="41213">1</cx:pt>
          <cx:pt idx="41214">4</cx:pt>
          <cx:pt idx="41215">5</cx:pt>
          <cx:pt idx="41216">3</cx:pt>
          <cx:pt idx="41217">5</cx:pt>
          <cx:pt idx="41218">5</cx:pt>
          <cx:pt idx="41219">5</cx:pt>
          <cx:pt idx="41220">1</cx:pt>
          <cx:pt idx="41221">4</cx:pt>
          <cx:pt idx="41222">3</cx:pt>
          <cx:pt idx="41223">3</cx:pt>
          <cx:pt idx="41224">5</cx:pt>
          <cx:pt idx="41225">5</cx:pt>
          <cx:pt idx="41226">4</cx:pt>
          <cx:pt idx="41227">1</cx:pt>
          <cx:pt idx="41228">5</cx:pt>
          <cx:pt idx="41229">3</cx:pt>
          <cx:pt idx="41230">5</cx:pt>
          <cx:pt idx="41231">3</cx:pt>
          <cx:pt idx="41232">3</cx:pt>
          <cx:pt idx="41233">4</cx:pt>
          <cx:pt idx="41234">3</cx:pt>
          <cx:pt idx="41235">2</cx:pt>
          <cx:pt idx="41236">2</cx:pt>
          <cx:pt idx="41237">4</cx:pt>
          <cx:pt idx="41238">5</cx:pt>
          <cx:pt idx="41239">5</cx:pt>
          <cx:pt idx="41240">4</cx:pt>
          <cx:pt idx="41241">3</cx:pt>
          <cx:pt idx="41242">5</cx:pt>
          <cx:pt idx="41243">4</cx:pt>
          <cx:pt idx="41244">4</cx:pt>
          <cx:pt idx="41245">4</cx:pt>
          <cx:pt idx="41246">2</cx:pt>
          <cx:pt idx="41247">4</cx:pt>
          <cx:pt idx="41248">2</cx:pt>
          <cx:pt idx="41249">4</cx:pt>
          <cx:pt idx="41250">5</cx:pt>
          <cx:pt idx="41251">1</cx:pt>
          <cx:pt idx="41252">5</cx:pt>
          <cx:pt idx="41253">3</cx:pt>
          <cx:pt idx="41254">3</cx:pt>
          <cx:pt idx="41255">5</cx:pt>
          <cx:pt idx="41256">1</cx:pt>
          <cx:pt idx="41257">1</cx:pt>
          <cx:pt idx="41258">3</cx:pt>
          <cx:pt idx="41259">2</cx:pt>
          <cx:pt idx="41260">3</cx:pt>
          <cx:pt idx="41261">4</cx:pt>
          <cx:pt idx="41262">4</cx:pt>
          <cx:pt idx="41263">5</cx:pt>
          <cx:pt idx="41264">4</cx:pt>
          <cx:pt idx="41265">4</cx:pt>
          <cx:pt idx="41266">4</cx:pt>
          <cx:pt idx="41267">4</cx:pt>
          <cx:pt idx="41268">5</cx:pt>
          <cx:pt idx="41269">5</cx:pt>
          <cx:pt idx="41270">4</cx:pt>
          <cx:pt idx="41271">5</cx:pt>
          <cx:pt idx="41272">4</cx:pt>
          <cx:pt idx="41273">1</cx:pt>
          <cx:pt idx="41274">1</cx:pt>
          <cx:pt idx="41275">5</cx:pt>
          <cx:pt idx="41276">3</cx:pt>
          <cx:pt idx="41277">4</cx:pt>
          <cx:pt idx="41278">1</cx:pt>
          <cx:pt idx="41279">3</cx:pt>
          <cx:pt idx="41280">4</cx:pt>
          <cx:pt idx="41281">3</cx:pt>
          <cx:pt idx="41282">3</cx:pt>
          <cx:pt idx="41283">5</cx:pt>
          <cx:pt idx="41284">3</cx:pt>
          <cx:pt idx="41285">4</cx:pt>
          <cx:pt idx="41286">2</cx:pt>
          <cx:pt idx="41287">2</cx:pt>
          <cx:pt idx="41288">5</cx:pt>
          <cx:pt idx="41289">1</cx:pt>
          <cx:pt idx="41290">5</cx:pt>
          <cx:pt idx="41291">5</cx:pt>
          <cx:pt idx="41292">4</cx:pt>
          <cx:pt idx="41293">4</cx:pt>
          <cx:pt idx="41294">3</cx:pt>
          <cx:pt idx="41295">1</cx:pt>
          <cx:pt idx="41296">1</cx:pt>
          <cx:pt idx="41297">4</cx:pt>
          <cx:pt idx="41298">2</cx:pt>
          <cx:pt idx="41299">4</cx:pt>
          <cx:pt idx="41300">5</cx:pt>
          <cx:pt idx="41301">5</cx:pt>
          <cx:pt idx="41302">2</cx:pt>
          <cx:pt idx="41303">4</cx:pt>
          <cx:pt idx="41304">3</cx:pt>
          <cx:pt idx="41305">4</cx:pt>
          <cx:pt idx="41306">1</cx:pt>
          <cx:pt idx="41307">3</cx:pt>
          <cx:pt idx="41308">5</cx:pt>
          <cx:pt idx="41309">4</cx:pt>
          <cx:pt idx="41310">5</cx:pt>
          <cx:pt idx="41311">5</cx:pt>
          <cx:pt idx="41312">4</cx:pt>
          <cx:pt idx="41313">1</cx:pt>
          <cx:pt idx="41314">3</cx:pt>
          <cx:pt idx="41315">4</cx:pt>
          <cx:pt idx="41316">4</cx:pt>
          <cx:pt idx="41317">2</cx:pt>
          <cx:pt idx="41318">1</cx:pt>
          <cx:pt idx="41319">4</cx:pt>
          <cx:pt idx="41320">3</cx:pt>
          <cx:pt idx="41321">5</cx:pt>
          <cx:pt idx="41322">5</cx:pt>
          <cx:pt idx="41323">5</cx:pt>
          <cx:pt idx="41324">4</cx:pt>
          <cx:pt idx="41325">1</cx:pt>
          <cx:pt idx="41326">1</cx:pt>
          <cx:pt idx="41327">5</cx:pt>
          <cx:pt idx="41328">1</cx:pt>
          <cx:pt idx="41329">4</cx:pt>
          <cx:pt idx="41330">4</cx:pt>
          <cx:pt idx="41331">3</cx:pt>
          <cx:pt idx="41332">4</cx:pt>
          <cx:pt idx="41333">4</cx:pt>
          <cx:pt idx="41334">4</cx:pt>
          <cx:pt idx="41335">1</cx:pt>
          <cx:pt idx="41336">2</cx:pt>
          <cx:pt idx="41337">4</cx:pt>
          <cx:pt idx="41338">4</cx:pt>
          <cx:pt idx="41339">4</cx:pt>
          <cx:pt idx="41340">2</cx:pt>
          <cx:pt idx="41341">2</cx:pt>
          <cx:pt idx="41342">3</cx:pt>
          <cx:pt idx="41343">4</cx:pt>
          <cx:pt idx="41344">1</cx:pt>
          <cx:pt idx="41345">1</cx:pt>
          <cx:pt idx="41346">5</cx:pt>
          <cx:pt idx="41347">5</cx:pt>
          <cx:pt idx="41348">5</cx:pt>
          <cx:pt idx="41349">4</cx:pt>
          <cx:pt idx="41350">5</cx:pt>
          <cx:pt idx="41351">5</cx:pt>
          <cx:pt idx="41352">3</cx:pt>
          <cx:pt idx="41353">5</cx:pt>
          <cx:pt idx="41354">4</cx:pt>
          <cx:pt idx="41355">5</cx:pt>
          <cx:pt idx="41356">4</cx:pt>
          <cx:pt idx="41357">1</cx:pt>
          <cx:pt idx="41358">4</cx:pt>
          <cx:pt idx="41359">1</cx:pt>
          <cx:pt idx="41360">4</cx:pt>
          <cx:pt idx="41361">2</cx:pt>
          <cx:pt idx="41362">3</cx:pt>
          <cx:pt idx="41363">1</cx:pt>
          <cx:pt idx="41364">4</cx:pt>
          <cx:pt idx="41365">4</cx:pt>
          <cx:pt idx="41366">5</cx:pt>
          <cx:pt idx="41367">1</cx:pt>
          <cx:pt idx="41368">5</cx:pt>
          <cx:pt idx="41369">5</cx:pt>
          <cx:pt idx="41370">3</cx:pt>
          <cx:pt idx="41371">4</cx:pt>
          <cx:pt idx="41372">4</cx:pt>
          <cx:pt idx="41373">1</cx:pt>
          <cx:pt idx="41374">5</cx:pt>
          <cx:pt idx="41375">1</cx:pt>
          <cx:pt idx="41376">4</cx:pt>
          <cx:pt idx="41377">2</cx:pt>
          <cx:pt idx="41378">5</cx:pt>
          <cx:pt idx="41379">5</cx:pt>
          <cx:pt idx="41380">5</cx:pt>
          <cx:pt idx="41381">5</cx:pt>
          <cx:pt idx="41382">4</cx:pt>
          <cx:pt idx="41383">4</cx:pt>
          <cx:pt idx="41384">1</cx:pt>
          <cx:pt idx="41385">2</cx:pt>
          <cx:pt idx="41386">2</cx:pt>
          <cx:pt idx="41387">1</cx:pt>
          <cx:pt idx="41388">4</cx:pt>
          <cx:pt idx="41389">3</cx:pt>
          <cx:pt idx="41390">2</cx:pt>
          <cx:pt idx="41391">4</cx:pt>
          <cx:pt idx="41392">4</cx:pt>
          <cx:pt idx="41393">5</cx:pt>
          <cx:pt idx="41394">3</cx:pt>
          <cx:pt idx="41395">5</cx:pt>
          <cx:pt idx="41396">4</cx:pt>
          <cx:pt idx="41397">1</cx:pt>
          <cx:pt idx="41398">4</cx:pt>
          <cx:pt idx="41399">4</cx:pt>
          <cx:pt idx="41400">3</cx:pt>
          <cx:pt idx="41401">5</cx:pt>
          <cx:pt idx="41402">5</cx:pt>
          <cx:pt idx="41403">5</cx:pt>
          <cx:pt idx="41404">4</cx:pt>
          <cx:pt idx="41405">5</cx:pt>
          <cx:pt idx="41406">5</cx:pt>
          <cx:pt idx="41407">4</cx:pt>
          <cx:pt idx="41408">4</cx:pt>
          <cx:pt idx="41409">4</cx:pt>
          <cx:pt idx="41410">3</cx:pt>
          <cx:pt idx="41411">4</cx:pt>
          <cx:pt idx="41412">5</cx:pt>
          <cx:pt idx="41413">1</cx:pt>
          <cx:pt idx="41414">2</cx:pt>
          <cx:pt idx="41415">2</cx:pt>
          <cx:pt idx="41416">5</cx:pt>
          <cx:pt idx="41417">2</cx:pt>
          <cx:pt idx="41418">2</cx:pt>
          <cx:pt idx="41419">1</cx:pt>
          <cx:pt idx="41420">2</cx:pt>
          <cx:pt idx="41421">3</cx:pt>
          <cx:pt idx="41422">3</cx:pt>
          <cx:pt idx="41423">5</cx:pt>
          <cx:pt idx="41424">1</cx:pt>
          <cx:pt idx="41425">4</cx:pt>
          <cx:pt idx="41426">4</cx:pt>
          <cx:pt idx="41427">5</cx:pt>
          <cx:pt idx="41428">1</cx:pt>
          <cx:pt idx="41429">2</cx:pt>
          <cx:pt idx="41430">5</cx:pt>
          <cx:pt idx="41431">2</cx:pt>
          <cx:pt idx="41432">5</cx:pt>
          <cx:pt idx="41433">4</cx:pt>
          <cx:pt idx="41434">5</cx:pt>
          <cx:pt idx="41435">1</cx:pt>
          <cx:pt idx="41436">5</cx:pt>
          <cx:pt idx="41437">4</cx:pt>
          <cx:pt idx="41438">3</cx:pt>
          <cx:pt idx="41439">4</cx:pt>
          <cx:pt idx="41440">2</cx:pt>
          <cx:pt idx="41441">2</cx:pt>
          <cx:pt idx="41442">4</cx:pt>
          <cx:pt idx="41443">3</cx:pt>
          <cx:pt idx="41444">4</cx:pt>
          <cx:pt idx="41445">5</cx:pt>
          <cx:pt idx="41446">3</cx:pt>
          <cx:pt idx="41447">4</cx:pt>
          <cx:pt idx="41448">4</cx:pt>
          <cx:pt idx="41449">2</cx:pt>
          <cx:pt idx="41450">3</cx:pt>
          <cx:pt idx="41451">3</cx:pt>
          <cx:pt idx="41452">4</cx:pt>
          <cx:pt idx="41453">4</cx:pt>
          <cx:pt idx="41454">3</cx:pt>
          <cx:pt idx="41455">4</cx:pt>
          <cx:pt idx="41456">3</cx:pt>
          <cx:pt idx="41457">3</cx:pt>
          <cx:pt idx="41458">5</cx:pt>
          <cx:pt idx="41459">5</cx:pt>
          <cx:pt idx="41460">4</cx:pt>
          <cx:pt idx="41461">4</cx:pt>
          <cx:pt idx="41462">4</cx:pt>
          <cx:pt idx="41463">3</cx:pt>
          <cx:pt idx="41464">5</cx:pt>
          <cx:pt idx="41465">3</cx:pt>
          <cx:pt idx="41466">5</cx:pt>
          <cx:pt idx="41467">4</cx:pt>
          <cx:pt idx="41468">4</cx:pt>
          <cx:pt idx="41469">4</cx:pt>
          <cx:pt idx="41470">5</cx:pt>
          <cx:pt idx="41471">1</cx:pt>
          <cx:pt idx="41472">3</cx:pt>
          <cx:pt idx="41473">4</cx:pt>
          <cx:pt idx="41474">4</cx:pt>
          <cx:pt idx="41475">1</cx:pt>
          <cx:pt idx="41476">5</cx:pt>
          <cx:pt idx="41477">4</cx:pt>
          <cx:pt idx="41478">1</cx:pt>
          <cx:pt idx="41479">4</cx:pt>
          <cx:pt idx="41480">3</cx:pt>
          <cx:pt idx="41481">2</cx:pt>
          <cx:pt idx="41482">3</cx:pt>
          <cx:pt idx="41483">2</cx:pt>
          <cx:pt idx="41484">3</cx:pt>
          <cx:pt idx="41485">5</cx:pt>
          <cx:pt idx="41486">4</cx:pt>
          <cx:pt idx="41487">5</cx:pt>
          <cx:pt idx="41488">2</cx:pt>
          <cx:pt idx="41489">1</cx:pt>
          <cx:pt idx="41490">1</cx:pt>
          <cx:pt idx="41491">4</cx:pt>
          <cx:pt idx="41492">2</cx:pt>
          <cx:pt idx="41493">4</cx:pt>
          <cx:pt idx="41494">3</cx:pt>
          <cx:pt idx="41495">4</cx:pt>
          <cx:pt idx="41496">4</cx:pt>
          <cx:pt idx="41497">4</cx:pt>
          <cx:pt idx="41498">5</cx:pt>
          <cx:pt idx="41499">5</cx:pt>
          <cx:pt idx="41500">3</cx:pt>
          <cx:pt idx="41501">4</cx:pt>
          <cx:pt idx="41502">5</cx:pt>
          <cx:pt idx="41503">4</cx:pt>
          <cx:pt idx="41504">4</cx:pt>
          <cx:pt idx="41505">4</cx:pt>
          <cx:pt idx="41506">5</cx:pt>
          <cx:pt idx="41507">1</cx:pt>
          <cx:pt idx="41508">1</cx:pt>
          <cx:pt idx="41509">4</cx:pt>
          <cx:pt idx="41510">5</cx:pt>
          <cx:pt idx="41511">4</cx:pt>
          <cx:pt idx="41512">4</cx:pt>
          <cx:pt idx="41513">5</cx:pt>
          <cx:pt idx="41514">3</cx:pt>
          <cx:pt idx="41515">5</cx:pt>
          <cx:pt idx="41516">4</cx:pt>
          <cx:pt idx="41517">5</cx:pt>
          <cx:pt idx="41518">4</cx:pt>
          <cx:pt idx="41519">3</cx:pt>
          <cx:pt idx="41520">1</cx:pt>
          <cx:pt idx="41521">4</cx:pt>
          <cx:pt idx="41522">2</cx:pt>
          <cx:pt idx="41523">3</cx:pt>
          <cx:pt idx="41524">2</cx:pt>
          <cx:pt idx="41525">4</cx:pt>
          <cx:pt idx="41526">3</cx:pt>
          <cx:pt idx="41527">3</cx:pt>
          <cx:pt idx="41528">4</cx:pt>
          <cx:pt idx="41529">3</cx:pt>
          <cx:pt idx="41530">4</cx:pt>
          <cx:pt idx="41531">3</cx:pt>
          <cx:pt idx="41532">5</cx:pt>
          <cx:pt idx="41533">5</cx:pt>
          <cx:pt idx="41534">4</cx:pt>
          <cx:pt idx="41535">1</cx:pt>
          <cx:pt idx="41536">4</cx:pt>
          <cx:pt idx="41537">4</cx:pt>
          <cx:pt idx="41538">1</cx:pt>
          <cx:pt idx="41539">4</cx:pt>
          <cx:pt idx="41540">5</cx:pt>
          <cx:pt idx="41541">2</cx:pt>
          <cx:pt idx="41542">4</cx:pt>
          <cx:pt idx="41543">3</cx:pt>
          <cx:pt idx="41544">4</cx:pt>
          <cx:pt idx="41545">5</cx:pt>
          <cx:pt idx="41546">5</cx:pt>
          <cx:pt idx="41547">4</cx:pt>
          <cx:pt idx="41548">4</cx:pt>
          <cx:pt idx="41549">5</cx:pt>
          <cx:pt idx="41550">1</cx:pt>
          <cx:pt idx="41551">5</cx:pt>
          <cx:pt idx="41552">3</cx:pt>
          <cx:pt idx="41553">5</cx:pt>
          <cx:pt idx="41554">2</cx:pt>
          <cx:pt idx="41555">3</cx:pt>
          <cx:pt idx="41556">5</cx:pt>
          <cx:pt idx="41557">4</cx:pt>
          <cx:pt idx="41558">2</cx:pt>
          <cx:pt idx="41559">5</cx:pt>
          <cx:pt idx="41560">5</cx:pt>
          <cx:pt idx="41561">2</cx:pt>
          <cx:pt idx="41562">5</cx:pt>
          <cx:pt idx="41563">5</cx:pt>
          <cx:pt idx="41564">4</cx:pt>
          <cx:pt idx="41565">5</cx:pt>
          <cx:pt idx="41566">5</cx:pt>
          <cx:pt idx="41567">2</cx:pt>
          <cx:pt idx="41568">2</cx:pt>
          <cx:pt idx="41569">2</cx:pt>
          <cx:pt idx="41570">4</cx:pt>
          <cx:pt idx="41571">3</cx:pt>
          <cx:pt idx="41572">4</cx:pt>
          <cx:pt idx="41573">4</cx:pt>
          <cx:pt idx="41574">2</cx:pt>
          <cx:pt idx="41575">3</cx:pt>
          <cx:pt idx="41576">4</cx:pt>
          <cx:pt idx="41577">5</cx:pt>
          <cx:pt idx="41578">1</cx:pt>
          <cx:pt idx="41579">2</cx:pt>
          <cx:pt idx="41580">5</cx:pt>
          <cx:pt idx="41581">4</cx:pt>
          <cx:pt idx="41582">4</cx:pt>
          <cx:pt idx="41583">4</cx:pt>
          <cx:pt idx="41584">4</cx:pt>
          <cx:pt idx="41585">5</cx:pt>
          <cx:pt idx="41586">4</cx:pt>
          <cx:pt idx="41587">3</cx:pt>
          <cx:pt idx="41588">4</cx:pt>
          <cx:pt idx="41589">1</cx:pt>
          <cx:pt idx="41590">4</cx:pt>
          <cx:pt idx="41591">3</cx:pt>
          <cx:pt idx="41592">4</cx:pt>
          <cx:pt idx="41593">2</cx:pt>
          <cx:pt idx="41594">5</cx:pt>
          <cx:pt idx="41595">4</cx:pt>
          <cx:pt idx="41596">4</cx:pt>
          <cx:pt idx="41597">4</cx:pt>
          <cx:pt idx="41598">5</cx:pt>
          <cx:pt idx="41599">5</cx:pt>
          <cx:pt idx="41600">1</cx:pt>
          <cx:pt idx="41601">1</cx:pt>
          <cx:pt idx="41602">3</cx:pt>
          <cx:pt idx="41603">4</cx:pt>
          <cx:pt idx="41604">4</cx:pt>
          <cx:pt idx="41605">3</cx:pt>
          <cx:pt idx="41606">2</cx:pt>
          <cx:pt idx="41607">4</cx:pt>
          <cx:pt idx="41608">5</cx:pt>
          <cx:pt idx="41609">3</cx:pt>
          <cx:pt idx="41610">4</cx:pt>
          <cx:pt idx="41611">4</cx:pt>
          <cx:pt idx="41612">3</cx:pt>
          <cx:pt idx="41613">1</cx:pt>
          <cx:pt idx="41614">2</cx:pt>
          <cx:pt idx="41615">3</cx:pt>
          <cx:pt idx="41616">4</cx:pt>
          <cx:pt idx="41617">4</cx:pt>
          <cx:pt idx="41618">5</cx:pt>
          <cx:pt idx="41619">2</cx:pt>
          <cx:pt idx="41620">4</cx:pt>
          <cx:pt idx="41621">5</cx:pt>
          <cx:pt idx="41622">5</cx:pt>
          <cx:pt idx="41623">2</cx:pt>
          <cx:pt idx="41624">5</cx:pt>
          <cx:pt idx="41625">2</cx:pt>
          <cx:pt idx="41626">5</cx:pt>
          <cx:pt idx="41627">4</cx:pt>
          <cx:pt idx="41628">3</cx:pt>
          <cx:pt idx="41629">5</cx:pt>
          <cx:pt idx="41630">4</cx:pt>
          <cx:pt idx="41631">5</cx:pt>
          <cx:pt idx="41632">4</cx:pt>
          <cx:pt idx="41633">2</cx:pt>
          <cx:pt idx="41634">2</cx:pt>
          <cx:pt idx="41635">3</cx:pt>
          <cx:pt idx="41636">4</cx:pt>
          <cx:pt idx="41637">2</cx:pt>
          <cx:pt idx="41638">5</cx:pt>
          <cx:pt idx="41639">4</cx:pt>
          <cx:pt idx="41640">5</cx:pt>
          <cx:pt idx="41641">4</cx:pt>
          <cx:pt idx="41642">5</cx:pt>
          <cx:pt idx="41643">5</cx:pt>
          <cx:pt idx="41644">5</cx:pt>
          <cx:pt idx="41645">2</cx:pt>
          <cx:pt idx="41646">5</cx:pt>
          <cx:pt idx="41647">3</cx:pt>
          <cx:pt idx="41648">5</cx:pt>
          <cx:pt idx="41649">3</cx:pt>
          <cx:pt idx="41650">5</cx:pt>
          <cx:pt idx="41651">4</cx:pt>
          <cx:pt idx="41652">4</cx:pt>
          <cx:pt idx="41653">5</cx:pt>
          <cx:pt idx="41654">5</cx:pt>
          <cx:pt idx="41655">2</cx:pt>
          <cx:pt idx="41656">5</cx:pt>
          <cx:pt idx="41657">5</cx:pt>
          <cx:pt idx="41658">5</cx:pt>
          <cx:pt idx="41659">3</cx:pt>
          <cx:pt idx="41660">4</cx:pt>
          <cx:pt idx="41661">1</cx:pt>
          <cx:pt idx="41662">5</cx:pt>
          <cx:pt idx="41663">2</cx:pt>
          <cx:pt idx="41664">5</cx:pt>
          <cx:pt idx="41665">5</cx:pt>
          <cx:pt idx="41666">1</cx:pt>
          <cx:pt idx="41667">3</cx:pt>
          <cx:pt idx="41668">1</cx:pt>
          <cx:pt idx="41669">4</cx:pt>
          <cx:pt idx="41670">4</cx:pt>
          <cx:pt idx="41671">1</cx:pt>
          <cx:pt idx="41672">5</cx:pt>
          <cx:pt idx="41673">4</cx:pt>
          <cx:pt idx="41674">4</cx:pt>
          <cx:pt idx="41675">2</cx:pt>
          <cx:pt idx="41676">2</cx:pt>
          <cx:pt idx="41677">5</cx:pt>
          <cx:pt idx="41678">2</cx:pt>
          <cx:pt idx="41679">3</cx:pt>
          <cx:pt idx="41680">3</cx:pt>
          <cx:pt idx="41681">2</cx:pt>
          <cx:pt idx="41682">5</cx:pt>
          <cx:pt idx="41683">3</cx:pt>
          <cx:pt idx="41684">5</cx:pt>
          <cx:pt idx="41685">2</cx:pt>
          <cx:pt idx="41686">3</cx:pt>
          <cx:pt idx="41687">3</cx:pt>
          <cx:pt idx="41688">3</cx:pt>
          <cx:pt idx="41689">4</cx:pt>
          <cx:pt idx="41690">5</cx:pt>
          <cx:pt idx="41691">4</cx:pt>
          <cx:pt idx="41692">3</cx:pt>
          <cx:pt idx="41693">3</cx:pt>
          <cx:pt idx="41694">5</cx:pt>
          <cx:pt idx="41695">3</cx:pt>
          <cx:pt idx="41696">4</cx:pt>
          <cx:pt idx="41697">2</cx:pt>
          <cx:pt idx="41698">5</cx:pt>
          <cx:pt idx="41699">3</cx:pt>
          <cx:pt idx="41700">3</cx:pt>
          <cx:pt idx="41701">5</cx:pt>
          <cx:pt idx="41702">5</cx:pt>
          <cx:pt idx="41703">2</cx:pt>
          <cx:pt idx="41704">5</cx:pt>
          <cx:pt idx="41705">5</cx:pt>
          <cx:pt idx="41706">1</cx:pt>
          <cx:pt idx="41707">3</cx:pt>
          <cx:pt idx="41708">4</cx:pt>
          <cx:pt idx="41709">5</cx:pt>
          <cx:pt idx="41710">3</cx:pt>
          <cx:pt idx="41711">5</cx:pt>
          <cx:pt idx="41712">4</cx:pt>
          <cx:pt idx="41713">4</cx:pt>
          <cx:pt idx="41714">4</cx:pt>
          <cx:pt idx="41715">4</cx:pt>
          <cx:pt idx="41716">1</cx:pt>
          <cx:pt idx="41717">4</cx:pt>
          <cx:pt idx="41718">5</cx:pt>
          <cx:pt idx="41719">4</cx:pt>
          <cx:pt idx="41720">5</cx:pt>
          <cx:pt idx="41721">3</cx:pt>
          <cx:pt idx="41722">5</cx:pt>
          <cx:pt idx="41723">2</cx:pt>
          <cx:pt idx="41724">1</cx:pt>
          <cx:pt idx="41725">1</cx:pt>
          <cx:pt idx="41726">3</cx:pt>
          <cx:pt idx="41727">4</cx:pt>
          <cx:pt idx="41728">4</cx:pt>
          <cx:pt idx="41729">4</cx:pt>
          <cx:pt idx="41730">5</cx:pt>
          <cx:pt idx="41731">5</cx:pt>
          <cx:pt idx="41732">5</cx:pt>
          <cx:pt idx="41733">4</cx:pt>
          <cx:pt idx="41734">5</cx:pt>
          <cx:pt idx="41735">2</cx:pt>
          <cx:pt idx="41736">3</cx:pt>
          <cx:pt idx="41737">4</cx:pt>
          <cx:pt idx="41738">4</cx:pt>
          <cx:pt idx="41739">5</cx:pt>
          <cx:pt idx="41740">4</cx:pt>
          <cx:pt idx="41741">5</cx:pt>
          <cx:pt idx="41742">4</cx:pt>
          <cx:pt idx="41743">1</cx:pt>
          <cx:pt idx="41744">1</cx:pt>
          <cx:pt idx="41745">4</cx:pt>
          <cx:pt idx="41746">1</cx:pt>
          <cx:pt idx="41747">3</cx:pt>
          <cx:pt idx="41748">4</cx:pt>
          <cx:pt idx="41749">2</cx:pt>
          <cx:pt idx="41750">1</cx:pt>
          <cx:pt idx="41751">4</cx:pt>
          <cx:pt idx="41752">1</cx:pt>
          <cx:pt idx="41753">5</cx:pt>
          <cx:pt idx="41754">2</cx:pt>
          <cx:pt idx="41755">2</cx:pt>
          <cx:pt idx="41756">1</cx:pt>
          <cx:pt idx="41757">3</cx:pt>
          <cx:pt idx="41758">2</cx:pt>
          <cx:pt idx="41759">5</cx:pt>
          <cx:pt idx="41760">3</cx:pt>
          <cx:pt idx="41761">1</cx:pt>
          <cx:pt idx="41762">4</cx:pt>
          <cx:pt idx="41763">1</cx:pt>
          <cx:pt idx="41764">5</cx:pt>
          <cx:pt idx="41765">4</cx:pt>
          <cx:pt idx="41766">3</cx:pt>
          <cx:pt idx="41767">5</cx:pt>
          <cx:pt idx="41768">3</cx:pt>
          <cx:pt idx="41769">4</cx:pt>
          <cx:pt idx="41770">4</cx:pt>
          <cx:pt idx="41771">5</cx:pt>
          <cx:pt idx="41772">5</cx:pt>
          <cx:pt idx="41773">4</cx:pt>
          <cx:pt idx="41774">5</cx:pt>
          <cx:pt idx="41775">4</cx:pt>
          <cx:pt idx="41776">4</cx:pt>
          <cx:pt idx="41777">4</cx:pt>
          <cx:pt idx="41778">5</cx:pt>
          <cx:pt idx="41779">5</cx:pt>
          <cx:pt idx="41780">4</cx:pt>
          <cx:pt idx="41781">3</cx:pt>
          <cx:pt idx="41782">5</cx:pt>
          <cx:pt idx="41783">1</cx:pt>
          <cx:pt idx="41784">2</cx:pt>
          <cx:pt idx="41785">5</cx:pt>
          <cx:pt idx="41786">5</cx:pt>
          <cx:pt idx="41787">5</cx:pt>
          <cx:pt idx="41788">5</cx:pt>
          <cx:pt idx="41789">3</cx:pt>
          <cx:pt idx="41790">4</cx:pt>
          <cx:pt idx="41791">3</cx:pt>
          <cx:pt idx="41792">1</cx:pt>
          <cx:pt idx="41793">5</cx:pt>
          <cx:pt idx="41794">1</cx:pt>
          <cx:pt idx="41795">3</cx:pt>
          <cx:pt idx="41796">3</cx:pt>
          <cx:pt idx="41797">4</cx:pt>
          <cx:pt idx="41798">4</cx:pt>
          <cx:pt idx="41799">5</cx:pt>
          <cx:pt idx="41800">5</cx:pt>
          <cx:pt idx="41801">4</cx:pt>
          <cx:pt idx="41802">5</cx:pt>
          <cx:pt idx="41803">4</cx:pt>
          <cx:pt idx="41804">3</cx:pt>
          <cx:pt idx="41805">4</cx:pt>
          <cx:pt idx="41806">4</cx:pt>
          <cx:pt idx="41807">4</cx:pt>
          <cx:pt idx="41808">4</cx:pt>
          <cx:pt idx="41809">5</cx:pt>
          <cx:pt idx="41810">5</cx:pt>
          <cx:pt idx="41811">4</cx:pt>
          <cx:pt idx="41812">3</cx:pt>
          <cx:pt idx="41813">4</cx:pt>
          <cx:pt idx="41814">4</cx:pt>
          <cx:pt idx="41815">2</cx:pt>
          <cx:pt idx="41816">5</cx:pt>
          <cx:pt idx="41817">2</cx:pt>
          <cx:pt idx="41818">3</cx:pt>
          <cx:pt idx="41819">3</cx:pt>
          <cx:pt idx="41820">5</cx:pt>
          <cx:pt idx="41821">3</cx:pt>
          <cx:pt idx="41822">5</cx:pt>
          <cx:pt idx="41823">1</cx:pt>
          <cx:pt idx="41824">3</cx:pt>
          <cx:pt idx="41825">5</cx:pt>
          <cx:pt idx="41826">3</cx:pt>
          <cx:pt idx="41827">3</cx:pt>
          <cx:pt idx="41828">4</cx:pt>
          <cx:pt idx="41829">4</cx:pt>
          <cx:pt idx="41830">4</cx:pt>
          <cx:pt idx="41831">1</cx:pt>
          <cx:pt idx="41832">5</cx:pt>
          <cx:pt idx="41833">4</cx:pt>
          <cx:pt idx="41834">4</cx:pt>
          <cx:pt idx="41835">5</cx:pt>
          <cx:pt idx="41836">5</cx:pt>
          <cx:pt idx="41837">4</cx:pt>
          <cx:pt idx="41838">4</cx:pt>
          <cx:pt idx="41839">4</cx:pt>
          <cx:pt idx="41840">4</cx:pt>
          <cx:pt idx="41841">2</cx:pt>
          <cx:pt idx="41842">5</cx:pt>
          <cx:pt idx="41843">5</cx:pt>
          <cx:pt idx="41844">4</cx:pt>
          <cx:pt idx="41845">3</cx:pt>
          <cx:pt idx="41846">5</cx:pt>
          <cx:pt idx="41847">5</cx:pt>
          <cx:pt idx="41848">2</cx:pt>
          <cx:pt idx="41849">2</cx:pt>
          <cx:pt idx="41850">5</cx:pt>
          <cx:pt idx="41851">4</cx:pt>
          <cx:pt idx="41852">5</cx:pt>
          <cx:pt idx="41853">4</cx:pt>
          <cx:pt idx="41854">4</cx:pt>
          <cx:pt idx="41855">2</cx:pt>
          <cx:pt idx="41856">4</cx:pt>
          <cx:pt idx="41857">2</cx:pt>
          <cx:pt idx="41858">2</cx:pt>
          <cx:pt idx="41859">2</cx:pt>
          <cx:pt idx="41860">4</cx:pt>
          <cx:pt idx="41861">5</cx:pt>
          <cx:pt idx="41862">2</cx:pt>
          <cx:pt idx="41863">4</cx:pt>
          <cx:pt idx="41864">1</cx:pt>
          <cx:pt idx="41865">2</cx:pt>
          <cx:pt idx="41866">3</cx:pt>
          <cx:pt idx="41867">4</cx:pt>
          <cx:pt idx="41868">2</cx:pt>
          <cx:pt idx="41869">2</cx:pt>
          <cx:pt idx="41870">3</cx:pt>
          <cx:pt idx="41871">3</cx:pt>
          <cx:pt idx="41872">5</cx:pt>
          <cx:pt idx="41873">4</cx:pt>
          <cx:pt idx="41874">3</cx:pt>
          <cx:pt idx="41875">4</cx:pt>
          <cx:pt idx="41876">3</cx:pt>
          <cx:pt idx="41877">5</cx:pt>
          <cx:pt idx="41878">4</cx:pt>
          <cx:pt idx="41879">3</cx:pt>
          <cx:pt idx="41880">4</cx:pt>
          <cx:pt idx="41881">4</cx:pt>
          <cx:pt idx="41882">1</cx:pt>
          <cx:pt idx="41883">4</cx:pt>
          <cx:pt idx="41884">5</cx:pt>
          <cx:pt idx="41885">2</cx:pt>
          <cx:pt idx="41886">3</cx:pt>
          <cx:pt idx="41887">5</cx:pt>
          <cx:pt idx="41888">4</cx:pt>
          <cx:pt idx="41889">2</cx:pt>
          <cx:pt idx="41890">3</cx:pt>
          <cx:pt idx="41891">2</cx:pt>
          <cx:pt idx="41892">1</cx:pt>
          <cx:pt idx="41893">4</cx:pt>
          <cx:pt idx="41894">4</cx:pt>
          <cx:pt idx="41895">4</cx:pt>
          <cx:pt idx="41896">2</cx:pt>
          <cx:pt idx="41897">5</cx:pt>
          <cx:pt idx="41898">4</cx:pt>
          <cx:pt idx="41899">1</cx:pt>
          <cx:pt idx="41900">5</cx:pt>
          <cx:pt idx="41901">5</cx:pt>
          <cx:pt idx="41902">5</cx:pt>
          <cx:pt idx="41903">3</cx:pt>
          <cx:pt idx="41904">5</cx:pt>
          <cx:pt idx="41905">1</cx:pt>
          <cx:pt idx="41906">1</cx:pt>
          <cx:pt idx="41907">2</cx:pt>
          <cx:pt idx="41908">2</cx:pt>
          <cx:pt idx="41909">1</cx:pt>
          <cx:pt idx="41910">2</cx:pt>
          <cx:pt idx="41911">3</cx:pt>
          <cx:pt idx="41912">4</cx:pt>
          <cx:pt idx="41913">2</cx:pt>
          <cx:pt idx="41914">5</cx:pt>
          <cx:pt idx="41915">1</cx:pt>
          <cx:pt idx="41916">3</cx:pt>
          <cx:pt idx="41917">1</cx:pt>
          <cx:pt idx="41918">4</cx:pt>
          <cx:pt idx="41919">4</cx:pt>
          <cx:pt idx="41920">5</cx:pt>
          <cx:pt idx="41921">2</cx:pt>
          <cx:pt idx="41922">3</cx:pt>
          <cx:pt idx="41923">5</cx:pt>
          <cx:pt idx="41924">5</cx:pt>
          <cx:pt idx="41925">5</cx:pt>
          <cx:pt idx="41926">4</cx:pt>
          <cx:pt idx="41927">4</cx:pt>
          <cx:pt idx="41928">1</cx:pt>
          <cx:pt idx="41929">4</cx:pt>
          <cx:pt idx="41930">5</cx:pt>
          <cx:pt idx="41931">1</cx:pt>
          <cx:pt idx="41932">2</cx:pt>
          <cx:pt idx="41933">4</cx:pt>
          <cx:pt idx="41934">3</cx:pt>
          <cx:pt idx="41935">4</cx:pt>
          <cx:pt idx="41936">4</cx:pt>
          <cx:pt idx="41937">5</cx:pt>
          <cx:pt idx="41938">5</cx:pt>
          <cx:pt idx="41939">4</cx:pt>
          <cx:pt idx="41940">5</cx:pt>
          <cx:pt idx="41941">5</cx:pt>
          <cx:pt idx="41942">4</cx:pt>
          <cx:pt idx="41943">5</cx:pt>
          <cx:pt idx="41944">4</cx:pt>
          <cx:pt idx="41945">5</cx:pt>
          <cx:pt idx="41946">3</cx:pt>
          <cx:pt idx="41947">5</cx:pt>
          <cx:pt idx="41948">5</cx:pt>
          <cx:pt idx="41949">4</cx:pt>
          <cx:pt idx="41950">5</cx:pt>
          <cx:pt idx="41951">5</cx:pt>
          <cx:pt idx="41952">3</cx:pt>
          <cx:pt idx="41953">5</cx:pt>
          <cx:pt idx="41954">4</cx:pt>
          <cx:pt idx="41955">4</cx:pt>
          <cx:pt idx="41956">5</cx:pt>
          <cx:pt idx="41957">4</cx:pt>
          <cx:pt idx="41958">2</cx:pt>
          <cx:pt idx="41959">4</cx:pt>
          <cx:pt idx="41960">2</cx:pt>
          <cx:pt idx="41961">4</cx:pt>
          <cx:pt idx="41962">4</cx:pt>
          <cx:pt idx="41963">2</cx:pt>
          <cx:pt idx="41964">2</cx:pt>
          <cx:pt idx="41965">4</cx:pt>
          <cx:pt idx="41966">1</cx:pt>
          <cx:pt idx="41967">1</cx:pt>
          <cx:pt idx="41968">4</cx:pt>
          <cx:pt idx="41969">3</cx:pt>
          <cx:pt idx="41970">5</cx:pt>
          <cx:pt idx="41971">4</cx:pt>
          <cx:pt idx="41972">5</cx:pt>
          <cx:pt idx="41973">4</cx:pt>
          <cx:pt idx="41974">3</cx:pt>
          <cx:pt idx="41975">2</cx:pt>
          <cx:pt idx="41976">3</cx:pt>
          <cx:pt idx="41977">3</cx:pt>
          <cx:pt idx="41978">3</cx:pt>
          <cx:pt idx="41979">4</cx:pt>
          <cx:pt idx="41980">4</cx:pt>
          <cx:pt idx="41981">4</cx:pt>
          <cx:pt idx="41982">4</cx:pt>
          <cx:pt idx="41983">4</cx:pt>
          <cx:pt idx="41984">2</cx:pt>
          <cx:pt idx="41985">2</cx:pt>
          <cx:pt idx="41986">2</cx:pt>
          <cx:pt idx="41987">1</cx:pt>
          <cx:pt idx="41988">1</cx:pt>
          <cx:pt idx="41989">4</cx:pt>
          <cx:pt idx="41990">2</cx:pt>
          <cx:pt idx="41991">4</cx:pt>
          <cx:pt idx="41992">5</cx:pt>
          <cx:pt idx="41993">3</cx:pt>
          <cx:pt idx="41994">4</cx:pt>
          <cx:pt idx="41995">2</cx:pt>
          <cx:pt idx="41996">5</cx:pt>
          <cx:pt idx="41997">4</cx:pt>
          <cx:pt idx="41998">5</cx:pt>
          <cx:pt idx="41999">5</cx:pt>
          <cx:pt idx="42000">5</cx:pt>
          <cx:pt idx="42001">4</cx:pt>
          <cx:pt idx="42002">3</cx:pt>
          <cx:pt idx="42003">5</cx:pt>
          <cx:pt idx="42004">4</cx:pt>
          <cx:pt idx="42005">5</cx:pt>
          <cx:pt idx="42006">4</cx:pt>
          <cx:pt idx="42007">4</cx:pt>
          <cx:pt idx="42008">4</cx:pt>
          <cx:pt idx="42009">4</cx:pt>
          <cx:pt idx="42010">5</cx:pt>
          <cx:pt idx="42011">5</cx:pt>
          <cx:pt idx="42012">5</cx:pt>
          <cx:pt idx="42013">4</cx:pt>
          <cx:pt idx="42014">5</cx:pt>
          <cx:pt idx="42015">1</cx:pt>
          <cx:pt idx="42016">5</cx:pt>
          <cx:pt idx="42017">5</cx:pt>
          <cx:pt idx="42018">5</cx:pt>
          <cx:pt idx="42019">4</cx:pt>
          <cx:pt idx="42020">1</cx:pt>
          <cx:pt idx="42021">4</cx:pt>
          <cx:pt idx="42022">4</cx:pt>
          <cx:pt idx="42023">5</cx:pt>
          <cx:pt idx="42024">5</cx:pt>
          <cx:pt idx="42025">5</cx:pt>
          <cx:pt idx="42026">4</cx:pt>
          <cx:pt idx="42027">3</cx:pt>
          <cx:pt idx="42028">4</cx:pt>
          <cx:pt idx="42029">4</cx:pt>
          <cx:pt idx="42030">3</cx:pt>
          <cx:pt idx="42031">3</cx:pt>
          <cx:pt idx="42032">5</cx:pt>
          <cx:pt idx="42033">5</cx:pt>
          <cx:pt idx="42034">4</cx:pt>
          <cx:pt idx="42035">2</cx:pt>
          <cx:pt idx="42036">4</cx:pt>
          <cx:pt idx="42037">1</cx:pt>
          <cx:pt idx="42038">4</cx:pt>
          <cx:pt idx="42039">4</cx:pt>
          <cx:pt idx="42040">3</cx:pt>
          <cx:pt idx="42041">4</cx:pt>
          <cx:pt idx="42042">2</cx:pt>
          <cx:pt idx="42043">5</cx:pt>
          <cx:pt idx="42044">3</cx:pt>
          <cx:pt idx="42045">4</cx:pt>
          <cx:pt idx="42046">3</cx:pt>
          <cx:pt idx="42047">5</cx:pt>
          <cx:pt idx="42048">4</cx:pt>
          <cx:pt idx="42049">5</cx:pt>
          <cx:pt idx="42050">4</cx:pt>
          <cx:pt idx="42051">5</cx:pt>
          <cx:pt idx="42052">4</cx:pt>
          <cx:pt idx="42053">5</cx:pt>
          <cx:pt idx="42054">5</cx:pt>
          <cx:pt idx="42055">5</cx:pt>
          <cx:pt idx="42056">3</cx:pt>
          <cx:pt idx="42057">4</cx:pt>
          <cx:pt idx="42058">5</cx:pt>
          <cx:pt idx="42059">5</cx:pt>
          <cx:pt idx="42060">4</cx:pt>
          <cx:pt idx="42061">4</cx:pt>
          <cx:pt idx="42062">2</cx:pt>
          <cx:pt idx="42063">2</cx:pt>
          <cx:pt idx="42064">4</cx:pt>
          <cx:pt idx="42065">2</cx:pt>
          <cx:pt idx="42066">4</cx:pt>
          <cx:pt idx="42067">4</cx:pt>
          <cx:pt idx="42068">3</cx:pt>
          <cx:pt idx="42069">3</cx:pt>
          <cx:pt idx="42070">5</cx:pt>
          <cx:pt idx="42071">5</cx:pt>
          <cx:pt idx="42072">4</cx:pt>
          <cx:pt idx="42073">5</cx:pt>
          <cx:pt idx="42074">4</cx:pt>
          <cx:pt idx="42075">1</cx:pt>
          <cx:pt idx="42076">2</cx:pt>
          <cx:pt idx="42077">1</cx:pt>
          <cx:pt idx="42078">5</cx:pt>
          <cx:pt idx="42079">1</cx:pt>
          <cx:pt idx="42080">4</cx:pt>
          <cx:pt idx="42081">3</cx:pt>
          <cx:pt idx="42082">3</cx:pt>
          <cx:pt idx="42083">4</cx:pt>
          <cx:pt idx="42084">3</cx:pt>
          <cx:pt idx="42085">5</cx:pt>
          <cx:pt idx="42086">1</cx:pt>
          <cx:pt idx="42087">2</cx:pt>
          <cx:pt idx="42088">3</cx:pt>
          <cx:pt idx="42089">4</cx:pt>
          <cx:pt idx="42090">5</cx:pt>
          <cx:pt idx="42091">1</cx:pt>
          <cx:pt idx="42092">4</cx:pt>
          <cx:pt idx="42093">1</cx:pt>
          <cx:pt idx="42094">2</cx:pt>
          <cx:pt idx="42095">2</cx:pt>
          <cx:pt idx="42096">4</cx:pt>
          <cx:pt idx="42097">5</cx:pt>
          <cx:pt idx="42098">5</cx:pt>
          <cx:pt idx="42099">4</cx:pt>
          <cx:pt idx="42100">4</cx:pt>
          <cx:pt idx="42101">4</cx:pt>
          <cx:pt idx="42102">5</cx:pt>
          <cx:pt idx="42103">5</cx:pt>
          <cx:pt idx="42104">2</cx:pt>
          <cx:pt idx="42105">2</cx:pt>
          <cx:pt idx="42106">4</cx:pt>
          <cx:pt idx="42107">5</cx:pt>
          <cx:pt idx="42108">5</cx:pt>
          <cx:pt idx="42109">5</cx:pt>
          <cx:pt idx="42110">1</cx:pt>
          <cx:pt idx="42111">4</cx:pt>
          <cx:pt idx="42112">3</cx:pt>
          <cx:pt idx="42113">5</cx:pt>
          <cx:pt idx="42114">3</cx:pt>
          <cx:pt idx="42115">2</cx:pt>
          <cx:pt idx="42116">4</cx:pt>
          <cx:pt idx="42117">4</cx:pt>
          <cx:pt idx="42118">5</cx:pt>
          <cx:pt idx="42119">3</cx:pt>
          <cx:pt idx="42120">4</cx:pt>
          <cx:pt idx="42121">4</cx:pt>
          <cx:pt idx="42122">2</cx:pt>
          <cx:pt idx="42123">4</cx:pt>
          <cx:pt idx="42124">2</cx:pt>
          <cx:pt idx="42125">5</cx:pt>
          <cx:pt idx="42126">4</cx:pt>
          <cx:pt idx="42127">2</cx:pt>
          <cx:pt idx="42128">4</cx:pt>
          <cx:pt idx="42129">4</cx:pt>
          <cx:pt idx="42130">3</cx:pt>
          <cx:pt idx="42131">3</cx:pt>
          <cx:pt idx="42132">5</cx:pt>
          <cx:pt idx="42133">3</cx:pt>
          <cx:pt idx="42134">4</cx:pt>
          <cx:pt idx="42135">2</cx:pt>
          <cx:pt idx="42136">4</cx:pt>
          <cx:pt idx="42137">4</cx:pt>
          <cx:pt idx="42138">3</cx:pt>
          <cx:pt idx="42139">4</cx:pt>
          <cx:pt idx="42140">5</cx:pt>
          <cx:pt idx="42141">5</cx:pt>
          <cx:pt idx="42142">5</cx:pt>
          <cx:pt idx="42143">4</cx:pt>
          <cx:pt idx="42144">1</cx:pt>
          <cx:pt idx="42145">5</cx:pt>
          <cx:pt idx="42146">5</cx:pt>
          <cx:pt idx="42147">1</cx:pt>
          <cx:pt idx="42148">5</cx:pt>
          <cx:pt idx="42149">5</cx:pt>
          <cx:pt idx="42150">5</cx:pt>
          <cx:pt idx="42151">5</cx:pt>
          <cx:pt idx="42152">5</cx:pt>
          <cx:pt idx="42153">2</cx:pt>
          <cx:pt idx="42154">3</cx:pt>
          <cx:pt idx="42155">4</cx:pt>
          <cx:pt idx="42156">2</cx:pt>
          <cx:pt idx="42157">4</cx:pt>
          <cx:pt idx="42158">5</cx:pt>
          <cx:pt idx="42159">5</cx:pt>
          <cx:pt idx="42160">4</cx:pt>
          <cx:pt idx="42161">5</cx:pt>
          <cx:pt idx="42162">5</cx:pt>
          <cx:pt idx="42163">4</cx:pt>
          <cx:pt idx="42164">3</cx:pt>
          <cx:pt idx="42165">5</cx:pt>
          <cx:pt idx="42166">4</cx:pt>
          <cx:pt idx="42167">1</cx:pt>
          <cx:pt idx="42168">5</cx:pt>
          <cx:pt idx="42169">1</cx:pt>
          <cx:pt idx="42170">5</cx:pt>
          <cx:pt idx="42171">1</cx:pt>
          <cx:pt idx="42172">3</cx:pt>
          <cx:pt idx="42173">1</cx:pt>
          <cx:pt idx="42174">3</cx:pt>
          <cx:pt idx="42175">3</cx:pt>
          <cx:pt idx="42176">4</cx:pt>
          <cx:pt idx="42177">2</cx:pt>
          <cx:pt idx="42178">5</cx:pt>
          <cx:pt idx="42179">4</cx:pt>
          <cx:pt idx="42180">2</cx:pt>
          <cx:pt idx="42181">1</cx:pt>
          <cx:pt idx="42182">3</cx:pt>
          <cx:pt idx="42183">4</cx:pt>
          <cx:pt idx="42184">4</cx:pt>
          <cx:pt idx="42185">2</cx:pt>
          <cx:pt idx="42186">3</cx:pt>
          <cx:pt idx="42187">3</cx:pt>
          <cx:pt idx="42188">4</cx:pt>
          <cx:pt idx="42189">3</cx:pt>
          <cx:pt idx="42190">4</cx:pt>
          <cx:pt idx="42191">5</cx:pt>
          <cx:pt idx="42192">5</cx:pt>
          <cx:pt idx="42193">4</cx:pt>
          <cx:pt idx="42194">4</cx:pt>
          <cx:pt idx="42195">2</cx:pt>
          <cx:pt idx="42196">3</cx:pt>
          <cx:pt idx="42197">2</cx:pt>
          <cx:pt idx="42198">4</cx:pt>
          <cx:pt idx="42199">4</cx:pt>
          <cx:pt idx="42200">5</cx:pt>
          <cx:pt idx="42201">2</cx:pt>
          <cx:pt idx="42202">5</cx:pt>
          <cx:pt idx="42203">4</cx:pt>
          <cx:pt idx="42204">3</cx:pt>
          <cx:pt idx="42205">4</cx:pt>
          <cx:pt idx="42206">4</cx:pt>
          <cx:pt idx="42207">2</cx:pt>
          <cx:pt idx="42208">5</cx:pt>
          <cx:pt idx="42209">5</cx:pt>
          <cx:pt idx="42210">2</cx:pt>
          <cx:pt idx="42211">5</cx:pt>
          <cx:pt idx="42212">5</cx:pt>
          <cx:pt idx="42213">4</cx:pt>
          <cx:pt idx="42214">2</cx:pt>
          <cx:pt idx="42215">2</cx:pt>
          <cx:pt idx="42216">4</cx:pt>
          <cx:pt idx="42217">3</cx:pt>
          <cx:pt idx="42218">5</cx:pt>
          <cx:pt idx="42219">4</cx:pt>
          <cx:pt idx="42220">3</cx:pt>
          <cx:pt idx="42221">5</cx:pt>
          <cx:pt idx="42222">4</cx:pt>
          <cx:pt idx="42223">4</cx:pt>
          <cx:pt idx="42224">3</cx:pt>
          <cx:pt idx="42225">4</cx:pt>
          <cx:pt idx="42226">5</cx:pt>
          <cx:pt idx="42227">4</cx:pt>
          <cx:pt idx="42228">5</cx:pt>
          <cx:pt idx="42229">3</cx:pt>
          <cx:pt idx="42230">1</cx:pt>
          <cx:pt idx="42231">1</cx:pt>
          <cx:pt idx="42232">2</cx:pt>
          <cx:pt idx="42233">3</cx:pt>
          <cx:pt idx="42234">4</cx:pt>
          <cx:pt idx="42235">5</cx:pt>
          <cx:pt idx="42236">5</cx:pt>
          <cx:pt idx="42237">5</cx:pt>
          <cx:pt idx="42238">2</cx:pt>
          <cx:pt idx="42239">3</cx:pt>
          <cx:pt idx="42240">5</cx:pt>
          <cx:pt idx="42241">3</cx:pt>
          <cx:pt idx="42242">5</cx:pt>
          <cx:pt idx="42243">2</cx:pt>
          <cx:pt idx="42244">5</cx:pt>
          <cx:pt idx="42245">5</cx:pt>
          <cx:pt idx="42246">4</cx:pt>
          <cx:pt idx="42247">4</cx:pt>
          <cx:pt idx="42248">3</cx:pt>
          <cx:pt idx="42249">2</cx:pt>
          <cx:pt idx="42250">1</cx:pt>
          <cx:pt idx="42251">5</cx:pt>
          <cx:pt idx="42252">4</cx:pt>
          <cx:pt idx="42253">3</cx:pt>
          <cx:pt idx="42254">3</cx:pt>
          <cx:pt idx="42255">2</cx:pt>
          <cx:pt idx="42256">4</cx:pt>
          <cx:pt idx="42257">4</cx:pt>
          <cx:pt idx="42258">4</cx:pt>
          <cx:pt idx="42259">4</cx:pt>
          <cx:pt idx="42260">5</cx:pt>
          <cx:pt idx="42261">4</cx:pt>
          <cx:pt idx="42262">4</cx:pt>
          <cx:pt idx="42263">2</cx:pt>
          <cx:pt idx="42264">1</cx:pt>
          <cx:pt idx="42265">4</cx:pt>
          <cx:pt idx="42266">3</cx:pt>
          <cx:pt idx="42267">4</cx:pt>
          <cx:pt idx="42268">5</cx:pt>
          <cx:pt idx="42269">3</cx:pt>
          <cx:pt idx="42270">5</cx:pt>
          <cx:pt idx="42271">1</cx:pt>
          <cx:pt idx="42272">5</cx:pt>
          <cx:pt idx="42273">1</cx:pt>
          <cx:pt idx="42274">4</cx:pt>
          <cx:pt idx="42275">5</cx:pt>
          <cx:pt idx="42276">4</cx:pt>
          <cx:pt idx="42277">4</cx:pt>
          <cx:pt idx="42278">4</cx:pt>
          <cx:pt idx="42279">1</cx:pt>
          <cx:pt idx="42280">5</cx:pt>
          <cx:pt idx="42281">2</cx:pt>
          <cx:pt idx="42282">4</cx:pt>
          <cx:pt idx="42283">4</cx:pt>
          <cx:pt idx="42284">4</cx:pt>
          <cx:pt idx="42285">4</cx:pt>
          <cx:pt idx="42286">4</cx:pt>
          <cx:pt idx="42287">3</cx:pt>
          <cx:pt idx="42288">5</cx:pt>
          <cx:pt idx="42289">4</cx:pt>
          <cx:pt idx="42290">4</cx:pt>
          <cx:pt idx="42291">3</cx:pt>
          <cx:pt idx="42292">5</cx:pt>
          <cx:pt idx="42293">3</cx:pt>
          <cx:pt idx="42294">2</cx:pt>
          <cx:pt idx="42295">4</cx:pt>
          <cx:pt idx="42296">5</cx:pt>
          <cx:pt idx="42297">2</cx:pt>
          <cx:pt idx="42298">5</cx:pt>
          <cx:pt idx="42299">5</cx:pt>
          <cx:pt idx="42300">5</cx:pt>
          <cx:pt idx="42301">4</cx:pt>
          <cx:pt idx="42302">1</cx:pt>
          <cx:pt idx="42303">4</cx:pt>
          <cx:pt idx="42304">5</cx:pt>
          <cx:pt idx="42305">5</cx:pt>
          <cx:pt idx="42306">5</cx:pt>
          <cx:pt idx="42307">2</cx:pt>
          <cx:pt idx="42308">3</cx:pt>
          <cx:pt idx="42309">5</cx:pt>
          <cx:pt idx="42310">4</cx:pt>
          <cx:pt idx="42311">1</cx:pt>
          <cx:pt idx="42312">1</cx:pt>
          <cx:pt idx="42313">5</cx:pt>
          <cx:pt idx="42314">4</cx:pt>
          <cx:pt idx="42315">3</cx:pt>
          <cx:pt idx="42316">5</cx:pt>
          <cx:pt idx="42317">3</cx:pt>
          <cx:pt idx="42318">4</cx:pt>
          <cx:pt idx="42319">4</cx:pt>
          <cx:pt idx="42320">4</cx:pt>
          <cx:pt idx="42321">5</cx:pt>
          <cx:pt idx="42322">4</cx:pt>
          <cx:pt idx="42323">5</cx:pt>
          <cx:pt idx="42324">4</cx:pt>
          <cx:pt idx="42325">3</cx:pt>
          <cx:pt idx="42326">5</cx:pt>
          <cx:pt idx="42327">3</cx:pt>
          <cx:pt idx="42328">4</cx:pt>
          <cx:pt idx="42329">5</cx:pt>
          <cx:pt idx="42330">5</cx:pt>
          <cx:pt idx="42331">3</cx:pt>
          <cx:pt idx="42332">5</cx:pt>
          <cx:pt idx="42333">2</cx:pt>
          <cx:pt idx="42334">5</cx:pt>
          <cx:pt idx="42335">4</cx:pt>
          <cx:pt idx="42336">4</cx:pt>
          <cx:pt idx="42337">5</cx:pt>
          <cx:pt idx="42338">4</cx:pt>
          <cx:pt idx="42339">5</cx:pt>
          <cx:pt idx="42340">5</cx:pt>
          <cx:pt idx="42341">3</cx:pt>
          <cx:pt idx="42342">4</cx:pt>
          <cx:pt idx="42343">3</cx:pt>
          <cx:pt idx="42344">2</cx:pt>
          <cx:pt idx="42345">4</cx:pt>
          <cx:pt idx="42346">4</cx:pt>
          <cx:pt idx="42347">4</cx:pt>
          <cx:pt idx="42348">4</cx:pt>
          <cx:pt idx="42349">2</cx:pt>
          <cx:pt idx="42350">3</cx:pt>
          <cx:pt idx="42351">3</cx:pt>
          <cx:pt idx="42352">2</cx:pt>
          <cx:pt idx="42353">4</cx:pt>
          <cx:pt idx="42354">3</cx:pt>
          <cx:pt idx="42355">4</cx:pt>
          <cx:pt idx="42356">1</cx:pt>
          <cx:pt idx="42357">2</cx:pt>
          <cx:pt idx="42358">4</cx:pt>
          <cx:pt idx="42359">4</cx:pt>
          <cx:pt idx="42360">1</cx:pt>
          <cx:pt idx="42361">5</cx:pt>
          <cx:pt idx="42362">2</cx:pt>
          <cx:pt idx="42363">4</cx:pt>
          <cx:pt idx="42364">5</cx:pt>
          <cx:pt idx="42365">3</cx:pt>
          <cx:pt idx="42366">1</cx:pt>
          <cx:pt idx="42367">1</cx:pt>
          <cx:pt idx="42368">4</cx:pt>
          <cx:pt idx="42369">2</cx:pt>
          <cx:pt idx="42370">5</cx:pt>
          <cx:pt idx="42371">4</cx:pt>
          <cx:pt idx="42372">5</cx:pt>
          <cx:pt idx="42373">1</cx:pt>
          <cx:pt idx="42374">4</cx:pt>
          <cx:pt idx="42375">5</cx:pt>
          <cx:pt idx="42376">4</cx:pt>
          <cx:pt idx="42377">3</cx:pt>
          <cx:pt idx="42378">5</cx:pt>
          <cx:pt idx="42379">5</cx:pt>
          <cx:pt idx="42380">5</cx:pt>
          <cx:pt idx="42381">3</cx:pt>
          <cx:pt idx="42382">4</cx:pt>
          <cx:pt idx="42383">3</cx:pt>
          <cx:pt idx="42384">2</cx:pt>
          <cx:pt idx="42385">4</cx:pt>
          <cx:pt idx="42386">4</cx:pt>
          <cx:pt idx="42387">5</cx:pt>
          <cx:pt idx="42388">3</cx:pt>
          <cx:pt idx="42389">4</cx:pt>
          <cx:pt idx="42390">4</cx:pt>
          <cx:pt idx="42391">5</cx:pt>
          <cx:pt idx="42392">3</cx:pt>
          <cx:pt idx="42393">1</cx:pt>
          <cx:pt idx="42394">1</cx:pt>
          <cx:pt idx="42395">5</cx:pt>
          <cx:pt idx="42396">2</cx:pt>
          <cx:pt idx="42397">4</cx:pt>
          <cx:pt idx="42398">2</cx:pt>
          <cx:pt idx="42399">4</cx:pt>
          <cx:pt idx="42400">3</cx:pt>
          <cx:pt idx="42401">1</cx:pt>
          <cx:pt idx="42402">4</cx:pt>
          <cx:pt idx="42403">1</cx:pt>
          <cx:pt idx="42404">5</cx:pt>
          <cx:pt idx="42405">3</cx:pt>
          <cx:pt idx="42406">3</cx:pt>
          <cx:pt idx="42407">5</cx:pt>
          <cx:pt idx="42408">3</cx:pt>
          <cx:pt idx="42409">4</cx:pt>
          <cx:pt idx="42410">4</cx:pt>
          <cx:pt idx="42411">4</cx:pt>
          <cx:pt idx="42412">3</cx:pt>
          <cx:pt idx="42413">5</cx:pt>
          <cx:pt idx="42414">4</cx:pt>
          <cx:pt idx="42415">5</cx:pt>
          <cx:pt idx="42416">3</cx:pt>
          <cx:pt idx="42417">2</cx:pt>
          <cx:pt idx="42418">3</cx:pt>
          <cx:pt idx="42419">2</cx:pt>
          <cx:pt idx="42420">5</cx:pt>
          <cx:pt idx="42421">4</cx:pt>
          <cx:pt idx="42422">3</cx:pt>
          <cx:pt idx="42423">5</cx:pt>
          <cx:pt idx="42424">3</cx:pt>
          <cx:pt idx="42425">1</cx:pt>
          <cx:pt idx="42426">4</cx:pt>
          <cx:pt idx="42427">4</cx:pt>
          <cx:pt idx="42428">2</cx:pt>
          <cx:pt idx="42429">3</cx:pt>
          <cx:pt idx="42430">2</cx:pt>
          <cx:pt idx="42431">4</cx:pt>
          <cx:pt idx="42432">4</cx:pt>
          <cx:pt idx="42433">5</cx:pt>
          <cx:pt idx="42434">4</cx:pt>
          <cx:pt idx="42435">4</cx:pt>
          <cx:pt idx="42436">4</cx:pt>
          <cx:pt idx="42437">4</cx:pt>
          <cx:pt idx="42438">5</cx:pt>
          <cx:pt idx="42439">5</cx:pt>
          <cx:pt idx="42440">1</cx:pt>
          <cx:pt idx="42441">3</cx:pt>
          <cx:pt idx="42442">3</cx:pt>
          <cx:pt idx="42443">5</cx:pt>
          <cx:pt idx="42444">2</cx:pt>
          <cx:pt idx="42445">3</cx:pt>
          <cx:pt idx="42446">2</cx:pt>
          <cx:pt idx="42447">3</cx:pt>
          <cx:pt idx="42448">4</cx:pt>
          <cx:pt idx="42449">5</cx:pt>
          <cx:pt idx="42450">4</cx:pt>
          <cx:pt idx="42451">4</cx:pt>
          <cx:pt idx="42452">5</cx:pt>
          <cx:pt idx="42453">3</cx:pt>
          <cx:pt idx="42454">3</cx:pt>
          <cx:pt idx="42455">5</cx:pt>
          <cx:pt idx="42456">1</cx:pt>
          <cx:pt idx="42457">3</cx:pt>
          <cx:pt idx="42458">4</cx:pt>
          <cx:pt idx="42459">3</cx:pt>
          <cx:pt idx="42460">4</cx:pt>
          <cx:pt idx="42461">4</cx:pt>
          <cx:pt idx="42462">2</cx:pt>
          <cx:pt idx="42463">4</cx:pt>
          <cx:pt idx="42464">1</cx:pt>
          <cx:pt idx="42465">4</cx:pt>
          <cx:pt idx="42466">5</cx:pt>
          <cx:pt idx="42467">5</cx:pt>
          <cx:pt idx="42468">1</cx:pt>
          <cx:pt idx="42469">4</cx:pt>
          <cx:pt idx="42470">3</cx:pt>
          <cx:pt idx="42471">4</cx:pt>
          <cx:pt idx="42472">4</cx:pt>
          <cx:pt idx="42473">4</cx:pt>
          <cx:pt idx="42474">5</cx:pt>
          <cx:pt idx="42475">4</cx:pt>
          <cx:pt idx="42476">4</cx:pt>
          <cx:pt idx="42477">2</cx:pt>
          <cx:pt idx="42478">3</cx:pt>
          <cx:pt idx="42479">2</cx:pt>
          <cx:pt idx="42480">4</cx:pt>
          <cx:pt idx="42481">4</cx:pt>
          <cx:pt idx="42482">3</cx:pt>
          <cx:pt idx="42483">3</cx:pt>
          <cx:pt idx="42484">4</cx:pt>
          <cx:pt idx="42485">5</cx:pt>
          <cx:pt idx="42486">4</cx:pt>
          <cx:pt idx="42487">1</cx:pt>
          <cx:pt idx="42488">3</cx:pt>
          <cx:pt idx="42489">1</cx:pt>
          <cx:pt idx="42490">2</cx:pt>
          <cx:pt idx="42491">3</cx:pt>
          <cx:pt idx="42492">4</cx:pt>
          <cx:pt idx="42493">5</cx:pt>
          <cx:pt idx="42494">4</cx:pt>
          <cx:pt idx="42495">5</cx:pt>
          <cx:pt idx="42496">4</cx:pt>
          <cx:pt idx="42497">2</cx:pt>
          <cx:pt idx="42498">1</cx:pt>
          <cx:pt idx="42499">2</cx:pt>
          <cx:pt idx="42500">4</cx:pt>
          <cx:pt idx="42501">4</cx:pt>
          <cx:pt idx="42502">4</cx:pt>
          <cx:pt idx="42503">4</cx:pt>
          <cx:pt idx="42504">2</cx:pt>
          <cx:pt idx="42505">4</cx:pt>
          <cx:pt idx="42506">1</cx:pt>
          <cx:pt idx="42507">2</cx:pt>
          <cx:pt idx="42508">5</cx:pt>
          <cx:pt idx="42509">4</cx:pt>
          <cx:pt idx="42510">4</cx:pt>
          <cx:pt idx="42511">3</cx:pt>
          <cx:pt idx="42512">1</cx:pt>
          <cx:pt idx="42513">1</cx:pt>
          <cx:pt idx="42514">3</cx:pt>
          <cx:pt idx="42515">4</cx:pt>
          <cx:pt idx="42516">2</cx:pt>
          <cx:pt idx="42517">4</cx:pt>
          <cx:pt idx="42518">5</cx:pt>
          <cx:pt idx="42519">5</cx:pt>
          <cx:pt idx="42520">4</cx:pt>
          <cx:pt idx="42521">1</cx:pt>
          <cx:pt idx="42522">5</cx:pt>
          <cx:pt idx="42523">3</cx:pt>
          <cx:pt idx="42524">4</cx:pt>
          <cx:pt idx="42525">2</cx:pt>
          <cx:pt idx="42526">3</cx:pt>
          <cx:pt idx="42527">1</cx:pt>
          <cx:pt idx="42528">3</cx:pt>
          <cx:pt idx="42529">4</cx:pt>
          <cx:pt idx="42530">5</cx:pt>
          <cx:pt idx="42531">3</cx:pt>
          <cx:pt idx="42532">3</cx:pt>
          <cx:pt idx="42533">1</cx:pt>
          <cx:pt idx="42534">4</cx:pt>
          <cx:pt idx="42535">3</cx:pt>
          <cx:pt idx="42536">5</cx:pt>
          <cx:pt idx="42537">2</cx:pt>
          <cx:pt idx="42538">4</cx:pt>
          <cx:pt idx="42539">5</cx:pt>
          <cx:pt idx="42540">2</cx:pt>
          <cx:pt idx="42541">5</cx:pt>
          <cx:pt idx="42542">2</cx:pt>
          <cx:pt idx="42543">1</cx:pt>
          <cx:pt idx="42544">4</cx:pt>
          <cx:pt idx="42545">4</cx:pt>
          <cx:pt idx="42546">1</cx:pt>
          <cx:pt idx="42547">5</cx:pt>
          <cx:pt idx="42548">2</cx:pt>
          <cx:pt idx="42549">4</cx:pt>
          <cx:pt idx="42550">3</cx:pt>
          <cx:pt idx="42551">5</cx:pt>
          <cx:pt idx="42552">4</cx:pt>
          <cx:pt idx="42553">5</cx:pt>
          <cx:pt idx="42554">4</cx:pt>
          <cx:pt idx="42555">4</cx:pt>
          <cx:pt idx="42556">4</cx:pt>
          <cx:pt idx="42557">1</cx:pt>
          <cx:pt idx="42558">1</cx:pt>
          <cx:pt idx="42559">1</cx:pt>
          <cx:pt idx="42560">5</cx:pt>
          <cx:pt idx="42561">5</cx:pt>
          <cx:pt idx="42562">4</cx:pt>
          <cx:pt idx="42563">4</cx:pt>
          <cx:pt idx="42564">4</cx:pt>
          <cx:pt idx="42565">5</cx:pt>
          <cx:pt idx="42566">2</cx:pt>
          <cx:pt idx="42567">4</cx:pt>
          <cx:pt idx="42568">3</cx:pt>
          <cx:pt idx="42569">4</cx:pt>
          <cx:pt idx="42570">1</cx:pt>
          <cx:pt idx="42571">2</cx:pt>
          <cx:pt idx="42572">3</cx:pt>
          <cx:pt idx="42573">1</cx:pt>
          <cx:pt idx="42574">4</cx:pt>
          <cx:pt idx="42575">2</cx:pt>
          <cx:pt idx="42576">3</cx:pt>
          <cx:pt idx="42577">4</cx:pt>
          <cx:pt idx="42578">5</cx:pt>
          <cx:pt idx="42579">4</cx:pt>
          <cx:pt idx="42580">4</cx:pt>
          <cx:pt idx="42581">4</cx:pt>
          <cx:pt idx="42582">2</cx:pt>
          <cx:pt idx="42583">4</cx:pt>
          <cx:pt idx="42584">5</cx:pt>
          <cx:pt idx="42585">3</cx:pt>
          <cx:pt idx="42586">2</cx:pt>
          <cx:pt idx="42587">5</cx:pt>
          <cx:pt idx="42588">2</cx:pt>
          <cx:pt idx="42589">4</cx:pt>
          <cx:pt idx="42590">3</cx:pt>
          <cx:pt idx="42591">1</cx:pt>
          <cx:pt idx="42592">3</cx:pt>
          <cx:pt idx="42593">3</cx:pt>
          <cx:pt idx="42594">1</cx:pt>
          <cx:pt idx="42595">5</cx:pt>
          <cx:pt idx="42596">3</cx:pt>
          <cx:pt idx="42597">2</cx:pt>
          <cx:pt idx="42598">3</cx:pt>
          <cx:pt idx="42599">3</cx:pt>
          <cx:pt idx="42600">4</cx:pt>
          <cx:pt idx="42601">5</cx:pt>
          <cx:pt idx="42602">3</cx:pt>
          <cx:pt idx="42603">2</cx:pt>
          <cx:pt idx="42604">2</cx:pt>
          <cx:pt idx="42605">5</cx:pt>
          <cx:pt idx="42606">2</cx:pt>
          <cx:pt idx="42607">5</cx:pt>
          <cx:pt idx="42608">4</cx:pt>
          <cx:pt idx="42609">1</cx:pt>
          <cx:pt idx="42610">4</cx:pt>
          <cx:pt idx="42611">4</cx:pt>
          <cx:pt idx="42612">3</cx:pt>
          <cx:pt idx="42613">3</cx:pt>
          <cx:pt idx="42614">5</cx:pt>
          <cx:pt idx="42615">5</cx:pt>
          <cx:pt idx="42616">4</cx:pt>
          <cx:pt idx="42617">3</cx:pt>
          <cx:pt idx="42618">4</cx:pt>
          <cx:pt idx="42619">2</cx:pt>
          <cx:pt idx="42620">5</cx:pt>
          <cx:pt idx="42621">5</cx:pt>
          <cx:pt idx="42622">1</cx:pt>
          <cx:pt idx="42623">5</cx:pt>
          <cx:pt idx="42624">2</cx:pt>
          <cx:pt idx="42625">4</cx:pt>
          <cx:pt idx="42626">1</cx:pt>
          <cx:pt idx="42627">5</cx:pt>
          <cx:pt idx="42628">4</cx:pt>
          <cx:pt idx="42629">4</cx:pt>
          <cx:pt idx="42630">4</cx:pt>
          <cx:pt idx="42631">3</cx:pt>
          <cx:pt idx="42632">3</cx:pt>
          <cx:pt idx="42633">5</cx:pt>
          <cx:pt idx="42634">2</cx:pt>
          <cx:pt idx="42635">4</cx:pt>
          <cx:pt idx="42636">1</cx:pt>
          <cx:pt idx="42637">1</cx:pt>
          <cx:pt idx="42638">4</cx:pt>
          <cx:pt idx="42639">5</cx:pt>
          <cx:pt idx="42640">4</cx:pt>
          <cx:pt idx="42641">5</cx:pt>
          <cx:pt idx="42642">4</cx:pt>
          <cx:pt idx="42643">5</cx:pt>
          <cx:pt idx="42644">1</cx:pt>
          <cx:pt idx="42645">5</cx:pt>
          <cx:pt idx="42646">3</cx:pt>
          <cx:pt idx="42647">4</cx:pt>
          <cx:pt idx="42648">3</cx:pt>
          <cx:pt idx="42649">3</cx:pt>
          <cx:pt idx="42650">5</cx:pt>
          <cx:pt idx="42651">4</cx:pt>
          <cx:pt idx="42652">5</cx:pt>
          <cx:pt idx="42653">1</cx:pt>
          <cx:pt idx="42654">5</cx:pt>
          <cx:pt idx="42655">1</cx:pt>
          <cx:pt idx="42656">2</cx:pt>
          <cx:pt idx="42657">5</cx:pt>
          <cx:pt idx="42658">2</cx:pt>
          <cx:pt idx="42659">2</cx:pt>
          <cx:pt idx="42660">1</cx:pt>
          <cx:pt idx="42661">1</cx:pt>
          <cx:pt idx="42662">3</cx:pt>
          <cx:pt idx="42663">2</cx:pt>
          <cx:pt idx="42664">1</cx:pt>
          <cx:pt idx="42665">2</cx:pt>
          <cx:pt idx="42666">3</cx:pt>
          <cx:pt idx="42667">2</cx:pt>
          <cx:pt idx="42668">5</cx:pt>
          <cx:pt idx="42669">4</cx:pt>
          <cx:pt idx="42670">5</cx:pt>
          <cx:pt idx="42671">5</cx:pt>
          <cx:pt idx="42672">5</cx:pt>
          <cx:pt idx="42673">4</cx:pt>
          <cx:pt idx="42674">4</cx:pt>
          <cx:pt idx="42675">4</cx:pt>
          <cx:pt idx="42676">1</cx:pt>
          <cx:pt idx="42677">5</cx:pt>
          <cx:pt idx="42678">4</cx:pt>
          <cx:pt idx="42679">4</cx:pt>
          <cx:pt idx="42680">5</cx:pt>
          <cx:pt idx="42681">5</cx:pt>
          <cx:pt idx="42682">5</cx:pt>
          <cx:pt idx="42683">4</cx:pt>
          <cx:pt idx="42684">4</cx:pt>
          <cx:pt idx="42685">4</cx:pt>
          <cx:pt idx="42686">2</cx:pt>
          <cx:pt idx="42687">2</cx:pt>
          <cx:pt idx="42688">4</cx:pt>
          <cx:pt idx="42689">1</cx:pt>
          <cx:pt idx="42690">5</cx:pt>
          <cx:pt idx="42691">4</cx:pt>
          <cx:pt idx="42692">2</cx:pt>
          <cx:pt idx="42693">4</cx:pt>
          <cx:pt idx="42694">4</cx:pt>
          <cx:pt idx="42695">4</cx:pt>
          <cx:pt idx="42696">5</cx:pt>
          <cx:pt idx="42697">1</cx:pt>
          <cx:pt idx="42698">5</cx:pt>
          <cx:pt idx="42699">1</cx:pt>
          <cx:pt idx="42700">4</cx:pt>
          <cx:pt idx="42701">2</cx:pt>
          <cx:pt idx="42702">1</cx:pt>
          <cx:pt idx="42703">4</cx:pt>
          <cx:pt idx="42704">3</cx:pt>
          <cx:pt idx="42705">4</cx:pt>
          <cx:pt idx="42706">3</cx:pt>
          <cx:pt idx="42707">5</cx:pt>
          <cx:pt idx="42708">2</cx:pt>
          <cx:pt idx="42709">4</cx:pt>
          <cx:pt idx="42710">1</cx:pt>
          <cx:pt idx="42711">4</cx:pt>
          <cx:pt idx="42712">4</cx:pt>
          <cx:pt idx="42713">1</cx:pt>
          <cx:pt idx="42714">5</cx:pt>
          <cx:pt idx="42715">4</cx:pt>
          <cx:pt idx="42716">2</cx:pt>
          <cx:pt idx="42717">4</cx:pt>
          <cx:pt idx="42718">4</cx:pt>
          <cx:pt idx="42719">2</cx:pt>
          <cx:pt idx="42720">1</cx:pt>
          <cx:pt idx="42721">1</cx:pt>
          <cx:pt idx="42722">2</cx:pt>
          <cx:pt idx="42723">5</cx:pt>
          <cx:pt idx="42724">5</cx:pt>
          <cx:pt idx="42725">1</cx:pt>
          <cx:pt idx="42726">5</cx:pt>
          <cx:pt idx="42727">2</cx:pt>
          <cx:pt idx="42728">5</cx:pt>
          <cx:pt idx="42729">5</cx:pt>
          <cx:pt idx="42730">2</cx:pt>
          <cx:pt idx="42731">1</cx:pt>
          <cx:pt idx="42732">3</cx:pt>
          <cx:pt idx="42733">3</cx:pt>
          <cx:pt idx="42734">4</cx:pt>
          <cx:pt idx="42735">4</cx:pt>
          <cx:pt idx="42736">4</cx:pt>
          <cx:pt idx="42737">5</cx:pt>
          <cx:pt idx="42738">3</cx:pt>
          <cx:pt idx="42739">4</cx:pt>
          <cx:pt idx="42740">3</cx:pt>
          <cx:pt idx="42741">2</cx:pt>
          <cx:pt idx="42742">4</cx:pt>
          <cx:pt idx="42743">1</cx:pt>
          <cx:pt idx="42744">5</cx:pt>
          <cx:pt idx="42745">4</cx:pt>
          <cx:pt idx="42746">5</cx:pt>
          <cx:pt idx="42747">2</cx:pt>
          <cx:pt idx="42748">4</cx:pt>
          <cx:pt idx="42749">4</cx:pt>
          <cx:pt idx="42750">3</cx:pt>
          <cx:pt idx="42751">2</cx:pt>
          <cx:pt idx="42752">1</cx:pt>
          <cx:pt idx="42753">3</cx:pt>
          <cx:pt idx="42754">5</cx:pt>
          <cx:pt idx="42755">5</cx:pt>
          <cx:pt idx="42756">2</cx:pt>
          <cx:pt idx="42757">4</cx:pt>
          <cx:pt idx="42758">4</cx:pt>
          <cx:pt idx="42759">5</cx:pt>
          <cx:pt idx="42760">4</cx:pt>
          <cx:pt idx="42761">4</cx:pt>
          <cx:pt idx="42762">5</cx:pt>
          <cx:pt idx="42763">4</cx:pt>
          <cx:pt idx="42764">4</cx:pt>
          <cx:pt idx="42765">3</cx:pt>
          <cx:pt idx="42766">4</cx:pt>
          <cx:pt idx="42767">1</cx:pt>
          <cx:pt idx="42768">4</cx:pt>
          <cx:pt idx="42769">5</cx:pt>
          <cx:pt idx="42770">5</cx:pt>
          <cx:pt idx="42771">2</cx:pt>
          <cx:pt idx="42772">4</cx:pt>
          <cx:pt idx="42773">2</cx:pt>
          <cx:pt idx="42774">3</cx:pt>
          <cx:pt idx="42775">2</cx:pt>
          <cx:pt idx="42776">5</cx:pt>
          <cx:pt idx="42777">4</cx:pt>
          <cx:pt idx="42778">5</cx:pt>
          <cx:pt idx="42779">3</cx:pt>
          <cx:pt idx="42780">3</cx:pt>
          <cx:pt idx="42781">3</cx:pt>
          <cx:pt idx="42782">5</cx:pt>
          <cx:pt idx="42783">1</cx:pt>
          <cx:pt idx="42784">2</cx:pt>
          <cx:pt idx="42785">4</cx:pt>
          <cx:pt idx="42786">5</cx:pt>
          <cx:pt idx="42787">5</cx:pt>
          <cx:pt idx="42788">5</cx:pt>
          <cx:pt idx="42789">4</cx:pt>
          <cx:pt idx="42790">5</cx:pt>
          <cx:pt idx="42791">4</cx:pt>
          <cx:pt idx="42792">1</cx:pt>
          <cx:pt idx="42793">3</cx:pt>
          <cx:pt idx="42794">3</cx:pt>
          <cx:pt idx="42795">1</cx:pt>
          <cx:pt idx="42796">4</cx:pt>
          <cx:pt idx="42797">4</cx:pt>
          <cx:pt idx="42798">2</cx:pt>
          <cx:pt idx="42799">2</cx:pt>
          <cx:pt idx="42800">5</cx:pt>
          <cx:pt idx="42801">4</cx:pt>
          <cx:pt idx="42802">4</cx:pt>
          <cx:pt idx="42803">5</cx:pt>
          <cx:pt idx="42804">2</cx:pt>
          <cx:pt idx="42805">4</cx:pt>
          <cx:pt idx="42806">4</cx:pt>
          <cx:pt idx="42807">5</cx:pt>
          <cx:pt idx="42808">4</cx:pt>
          <cx:pt idx="42809">3</cx:pt>
          <cx:pt idx="42810">4</cx:pt>
          <cx:pt idx="42811">2</cx:pt>
          <cx:pt idx="42812">3</cx:pt>
          <cx:pt idx="42813">5</cx:pt>
          <cx:pt idx="42814">3</cx:pt>
          <cx:pt idx="42815">5</cx:pt>
          <cx:pt idx="42816">3</cx:pt>
          <cx:pt idx="42817">2</cx:pt>
          <cx:pt idx="42818">5</cx:pt>
          <cx:pt idx="42819">1</cx:pt>
          <cx:pt idx="42820">3</cx:pt>
          <cx:pt idx="42821">5</cx:pt>
          <cx:pt idx="42822">5</cx:pt>
          <cx:pt idx="42823">4</cx:pt>
          <cx:pt idx="42824">2</cx:pt>
          <cx:pt idx="42825">2</cx:pt>
          <cx:pt idx="42826">5</cx:pt>
          <cx:pt idx="42827">5</cx:pt>
          <cx:pt idx="42828">4</cx:pt>
          <cx:pt idx="42829">4</cx:pt>
          <cx:pt idx="42830">3</cx:pt>
          <cx:pt idx="42831">4</cx:pt>
          <cx:pt idx="42832">4</cx:pt>
          <cx:pt idx="42833">4</cx:pt>
          <cx:pt idx="42834">2</cx:pt>
          <cx:pt idx="42835">4</cx:pt>
          <cx:pt idx="42836">3</cx:pt>
          <cx:pt idx="42837">3</cx:pt>
          <cx:pt idx="42838">2</cx:pt>
          <cx:pt idx="42839">3</cx:pt>
          <cx:pt idx="42840">5</cx:pt>
          <cx:pt idx="42841">2</cx:pt>
          <cx:pt idx="42842">4</cx:pt>
          <cx:pt idx="42843">5</cx:pt>
          <cx:pt idx="42844">3</cx:pt>
          <cx:pt idx="42845">1</cx:pt>
          <cx:pt idx="42846">2</cx:pt>
          <cx:pt idx="42847">4</cx:pt>
          <cx:pt idx="42848">4</cx:pt>
          <cx:pt idx="42849">5</cx:pt>
          <cx:pt idx="42850">2</cx:pt>
          <cx:pt idx="42851">4</cx:pt>
          <cx:pt idx="42852">1</cx:pt>
          <cx:pt idx="42853">2</cx:pt>
          <cx:pt idx="42854">4</cx:pt>
          <cx:pt idx="42855">5</cx:pt>
          <cx:pt idx="42856">4</cx:pt>
          <cx:pt idx="42857">4</cx:pt>
          <cx:pt idx="42858">2</cx:pt>
          <cx:pt idx="42859">4</cx:pt>
          <cx:pt idx="42860">3</cx:pt>
          <cx:pt idx="42861">4</cx:pt>
          <cx:pt idx="42862">5</cx:pt>
          <cx:pt idx="42863">4</cx:pt>
          <cx:pt idx="42864">4</cx:pt>
          <cx:pt idx="42865">2</cx:pt>
          <cx:pt idx="42866">5</cx:pt>
          <cx:pt idx="42867">4</cx:pt>
          <cx:pt idx="42868">3</cx:pt>
          <cx:pt idx="42869">4</cx:pt>
          <cx:pt idx="42870">1</cx:pt>
          <cx:pt idx="42871">3</cx:pt>
          <cx:pt idx="42872">5</cx:pt>
          <cx:pt idx="42873">5</cx:pt>
          <cx:pt idx="42874">5</cx:pt>
          <cx:pt idx="42875">5</cx:pt>
          <cx:pt idx="42876">3</cx:pt>
          <cx:pt idx="42877">4</cx:pt>
          <cx:pt idx="42878">1</cx:pt>
          <cx:pt idx="42879">1</cx:pt>
          <cx:pt idx="42880">5</cx:pt>
          <cx:pt idx="42881">4</cx:pt>
          <cx:pt idx="42882">5</cx:pt>
          <cx:pt idx="42883">4</cx:pt>
          <cx:pt idx="42884">4</cx:pt>
          <cx:pt idx="42885">3</cx:pt>
          <cx:pt idx="42886">3</cx:pt>
          <cx:pt idx="42887">5</cx:pt>
          <cx:pt idx="42888">3</cx:pt>
          <cx:pt idx="42889">4</cx:pt>
          <cx:pt idx="42890">2</cx:pt>
          <cx:pt idx="42891">1</cx:pt>
          <cx:pt idx="42892">4</cx:pt>
          <cx:pt idx="42893">1</cx:pt>
          <cx:pt idx="42894">3</cx:pt>
          <cx:pt idx="42895">2</cx:pt>
          <cx:pt idx="42896">3</cx:pt>
          <cx:pt idx="42897">2</cx:pt>
          <cx:pt idx="42898">4</cx:pt>
          <cx:pt idx="42899">2</cx:pt>
          <cx:pt idx="42900">4</cx:pt>
          <cx:pt idx="42901">5</cx:pt>
          <cx:pt idx="42902">5</cx:pt>
          <cx:pt idx="42903">2</cx:pt>
          <cx:pt idx="42904">4</cx:pt>
          <cx:pt idx="42905">3</cx:pt>
          <cx:pt idx="42906">2</cx:pt>
          <cx:pt idx="42907">4</cx:pt>
          <cx:pt idx="42908">2</cx:pt>
          <cx:pt idx="42909">3</cx:pt>
          <cx:pt idx="42910">4</cx:pt>
          <cx:pt idx="42911">1</cx:pt>
          <cx:pt idx="42912">5</cx:pt>
          <cx:pt idx="42913">2</cx:pt>
          <cx:pt idx="42914">4</cx:pt>
          <cx:pt idx="42915">5</cx:pt>
          <cx:pt idx="42916">5</cx:pt>
          <cx:pt idx="42917">5</cx:pt>
          <cx:pt idx="42918">3</cx:pt>
          <cx:pt idx="42919">5</cx:pt>
          <cx:pt idx="42920">5</cx:pt>
          <cx:pt idx="42921">5</cx:pt>
          <cx:pt idx="42922">3</cx:pt>
          <cx:pt idx="42923">5</cx:pt>
          <cx:pt idx="42924">5</cx:pt>
          <cx:pt idx="42925">4</cx:pt>
          <cx:pt idx="42926">5</cx:pt>
          <cx:pt idx="42927">4</cx:pt>
          <cx:pt idx="42928">2</cx:pt>
          <cx:pt idx="42929">3</cx:pt>
          <cx:pt idx="42930">3</cx:pt>
          <cx:pt idx="42931">4</cx:pt>
          <cx:pt idx="42932">5</cx:pt>
          <cx:pt idx="42933">4</cx:pt>
          <cx:pt idx="42934">4</cx:pt>
          <cx:pt idx="42935">3</cx:pt>
          <cx:pt idx="42936">2</cx:pt>
          <cx:pt idx="42937">2</cx:pt>
          <cx:pt idx="42938">3</cx:pt>
          <cx:pt idx="42939">5</cx:pt>
          <cx:pt idx="42940">4</cx:pt>
          <cx:pt idx="42941">4</cx:pt>
          <cx:pt idx="42942">4</cx:pt>
          <cx:pt idx="42943">3</cx:pt>
          <cx:pt idx="42944">3</cx:pt>
          <cx:pt idx="42945">4</cx:pt>
          <cx:pt idx="42946">4</cx:pt>
          <cx:pt idx="42947">4</cx:pt>
          <cx:pt idx="42948">3</cx:pt>
          <cx:pt idx="42949">3</cx:pt>
          <cx:pt idx="42950">5</cx:pt>
          <cx:pt idx="42951">3</cx:pt>
          <cx:pt idx="42952">4</cx:pt>
          <cx:pt idx="42953">1</cx:pt>
          <cx:pt idx="42954">5</cx:pt>
          <cx:pt idx="42955">5</cx:pt>
          <cx:pt idx="42956">3</cx:pt>
          <cx:pt idx="42957">1</cx:pt>
          <cx:pt idx="42958">4</cx:pt>
          <cx:pt idx="42959">5</cx:pt>
          <cx:pt idx="42960">2</cx:pt>
          <cx:pt idx="42961">1</cx:pt>
          <cx:pt idx="42962">5</cx:pt>
          <cx:pt idx="42963">2</cx:pt>
          <cx:pt idx="42964">4</cx:pt>
          <cx:pt idx="42965">1</cx:pt>
          <cx:pt idx="42966">2</cx:pt>
          <cx:pt idx="42967">2</cx:pt>
          <cx:pt idx="42968">4</cx:pt>
          <cx:pt idx="42969">4</cx:pt>
          <cx:pt idx="42970">5</cx:pt>
          <cx:pt idx="42971">2</cx:pt>
          <cx:pt idx="42972">4</cx:pt>
          <cx:pt idx="42973">2</cx:pt>
          <cx:pt idx="42974">4</cx:pt>
          <cx:pt idx="42975">5</cx:pt>
          <cx:pt idx="42976">2</cx:pt>
          <cx:pt idx="42977">4</cx:pt>
          <cx:pt idx="42978">3</cx:pt>
          <cx:pt idx="42979">1</cx:pt>
          <cx:pt idx="42980">4</cx:pt>
          <cx:pt idx="42981">1</cx:pt>
          <cx:pt idx="42982">3</cx:pt>
          <cx:pt idx="42983">4</cx:pt>
          <cx:pt idx="42984">5</cx:pt>
          <cx:pt idx="42985">1</cx:pt>
          <cx:pt idx="42986">1</cx:pt>
          <cx:pt idx="42987">2</cx:pt>
          <cx:pt idx="42988">5</cx:pt>
          <cx:pt idx="42989">5</cx:pt>
          <cx:pt idx="42990">2</cx:pt>
          <cx:pt idx="42991">2</cx:pt>
          <cx:pt idx="42992">5</cx:pt>
          <cx:pt idx="42993">4</cx:pt>
          <cx:pt idx="42994">4</cx:pt>
          <cx:pt idx="42995">5</cx:pt>
          <cx:pt idx="42996">5</cx:pt>
          <cx:pt idx="42997">5</cx:pt>
          <cx:pt idx="42998">5</cx:pt>
          <cx:pt idx="42999">5</cx:pt>
          <cx:pt idx="43000">5</cx:pt>
          <cx:pt idx="43001">4</cx:pt>
          <cx:pt idx="43002">1</cx:pt>
          <cx:pt idx="43003">4</cx:pt>
          <cx:pt idx="43004">1</cx:pt>
          <cx:pt idx="43005">5</cx:pt>
          <cx:pt idx="43006">4</cx:pt>
          <cx:pt idx="43007">5</cx:pt>
          <cx:pt idx="43008">2</cx:pt>
          <cx:pt idx="43009">2</cx:pt>
          <cx:pt idx="43010">5</cx:pt>
          <cx:pt idx="43011">3</cx:pt>
          <cx:pt idx="43012">4</cx:pt>
          <cx:pt idx="43013">2</cx:pt>
          <cx:pt idx="43014">3</cx:pt>
          <cx:pt idx="43015">5</cx:pt>
          <cx:pt idx="43016">1</cx:pt>
          <cx:pt idx="43017">2</cx:pt>
          <cx:pt idx="43018">4</cx:pt>
          <cx:pt idx="43019">5</cx:pt>
          <cx:pt idx="43020">5</cx:pt>
          <cx:pt idx="43021">4</cx:pt>
          <cx:pt idx="43022">3</cx:pt>
          <cx:pt idx="43023">5</cx:pt>
          <cx:pt idx="43024">4</cx:pt>
          <cx:pt idx="43025">1</cx:pt>
          <cx:pt idx="43026">3</cx:pt>
          <cx:pt idx="43027">2</cx:pt>
          <cx:pt idx="43028">5</cx:pt>
          <cx:pt idx="43029">5</cx:pt>
          <cx:pt idx="43030">4</cx:pt>
          <cx:pt idx="43031">1</cx:pt>
          <cx:pt idx="43032">3</cx:pt>
          <cx:pt idx="43033">3</cx:pt>
          <cx:pt idx="43034">5</cx:pt>
          <cx:pt idx="43035">3</cx:pt>
          <cx:pt idx="43036">3</cx:pt>
          <cx:pt idx="43037">2</cx:pt>
          <cx:pt idx="43038">4</cx:pt>
          <cx:pt idx="43039">4</cx:pt>
          <cx:pt idx="43040">5</cx:pt>
          <cx:pt idx="43041">5</cx:pt>
          <cx:pt idx="43042">5</cx:pt>
          <cx:pt idx="43043">5</cx:pt>
          <cx:pt idx="43044">4</cx:pt>
          <cx:pt idx="43045">2</cx:pt>
          <cx:pt idx="43046">4</cx:pt>
          <cx:pt idx="43047">3</cx:pt>
          <cx:pt idx="43048">4</cx:pt>
          <cx:pt idx="43049">5</cx:pt>
          <cx:pt idx="43050">3</cx:pt>
          <cx:pt idx="43051">1</cx:pt>
          <cx:pt idx="43052">4</cx:pt>
          <cx:pt idx="43053">1</cx:pt>
          <cx:pt idx="43054">4</cx:pt>
          <cx:pt idx="43055">2</cx:pt>
          <cx:pt idx="43056">3</cx:pt>
          <cx:pt idx="43057">2</cx:pt>
          <cx:pt idx="43058">5</cx:pt>
          <cx:pt idx="43059">3</cx:pt>
          <cx:pt idx="43060">3</cx:pt>
          <cx:pt idx="43061">4</cx:pt>
          <cx:pt idx="43062">3</cx:pt>
          <cx:pt idx="43063">3</cx:pt>
          <cx:pt idx="43064">5</cx:pt>
          <cx:pt idx="43065">4</cx:pt>
          <cx:pt idx="43066">3</cx:pt>
          <cx:pt idx="43067">4</cx:pt>
          <cx:pt idx="43068">3</cx:pt>
          <cx:pt idx="43069">2</cx:pt>
          <cx:pt idx="43070">5</cx:pt>
          <cx:pt idx="43071">5</cx:pt>
          <cx:pt idx="43072">4</cx:pt>
          <cx:pt idx="43073">5</cx:pt>
          <cx:pt idx="43074">3</cx:pt>
          <cx:pt idx="43075">4</cx:pt>
          <cx:pt idx="43076">3</cx:pt>
          <cx:pt idx="43077">5</cx:pt>
          <cx:pt idx="43078">3</cx:pt>
          <cx:pt idx="43079">4</cx:pt>
          <cx:pt idx="43080">1</cx:pt>
          <cx:pt idx="43081">5</cx:pt>
          <cx:pt idx="43082">5</cx:pt>
          <cx:pt idx="43083">3</cx:pt>
          <cx:pt idx="43084">3</cx:pt>
          <cx:pt idx="43085">2</cx:pt>
          <cx:pt idx="43086">5</cx:pt>
          <cx:pt idx="43087">4</cx:pt>
          <cx:pt idx="43088">4</cx:pt>
          <cx:pt idx="43089">4</cx:pt>
          <cx:pt idx="43090">4</cx:pt>
          <cx:pt idx="43091">4</cx:pt>
          <cx:pt idx="43092">5</cx:pt>
          <cx:pt idx="43093">4</cx:pt>
          <cx:pt idx="43094">4</cx:pt>
          <cx:pt idx="43095">5</cx:pt>
          <cx:pt idx="43096">3</cx:pt>
          <cx:pt idx="43097">3</cx:pt>
          <cx:pt idx="43098">3</cx:pt>
          <cx:pt idx="43099">3</cx:pt>
          <cx:pt idx="43100">4</cx:pt>
          <cx:pt idx="43101">2</cx:pt>
          <cx:pt idx="43102">3</cx:pt>
          <cx:pt idx="43103">5</cx:pt>
          <cx:pt idx="43104">4</cx:pt>
          <cx:pt idx="43105">5</cx:pt>
          <cx:pt idx="43106">1</cx:pt>
          <cx:pt idx="43107">4</cx:pt>
          <cx:pt idx="43108">4</cx:pt>
          <cx:pt idx="43109">2</cx:pt>
          <cx:pt idx="43110">2</cx:pt>
          <cx:pt idx="43111">1</cx:pt>
          <cx:pt idx="43112">4</cx:pt>
          <cx:pt idx="43113">2</cx:pt>
          <cx:pt idx="43114">2</cx:pt>
          <cx:pt idx="43115">5</cx:pt>
          <cx:pt idx="43116">3</cx:pt>
          <cx:pt idx="43117">2</cx:pt>
          <cx:pt idx="43118">5</cx:pt>
          <cx:pt idx="43119">3</cx:pt>
          <cx:pt idx="43120">5</cx:pt>
          <cx:pt idx="43121">4</cx:pt>
          <cx:pt idx="43122">4</cx:pt>
          <cx:pt idx="43123">3</cx:pt>
          <cx:pt idx="43124">3</cx:pt>
          <cx:pt idx="43125">4</cx:pt>
          <cx:pt idx="43126">4</cx:pt>
          <cx:pt idx="43127">4</cx:pt>
          <cx:pt idx="43128">4</cx:pt>
          <cx:pt idx="43129">1</cx:pt>
          <cx:pt idx="43130">3</cx:pt>
          <cx:pt idx="43131">4</cx:pt>
          <cx:pt idx="43132">4</cx:pt>
          <cx:pt idx="43133">4</cx:pt>
          <cx:pt idx="43134">5</cx:pt>
          <cx:pt idx="43135">4</cx:pt>
          <cx:pt idx="43136">3</cx:pt>
          <cx:pt idx="43137">5</cx:pt>
          <cx:pt idx="43138">3</cx:pt>
          <cx:pt idx="43139">2</cx:pt>
          <cx:pt idx="43140">4</cx:pt>
          <cx:pt idx="43141">5</cx:pt>
          <cx:pt idx="43142">4</cx:pt>
          <cx:pt idx="43143">5</cx:pt>
          <cx:pt idx="43144">3</cx:pt>
          <cx:pt idx="43145">4</cx:pt>
          <cx:pt idx="43146">5</cx:pt>
          <cx:pt idx="43147">4</cx:pt>
          <cx:pt idx="43148">2</cx:pt>
          <cx:pt idx="43149">5</cx:pt>
          <cx:pt idx="43150">1</cx:pt>
          <cx:pt idx="43151">2</cx:pt>
          <cx:pt idx="43152">1</cx:pt>
          <cx:pt idx="43153">2</cx:pt>
          <cx:pt idx="43154">4</cx:pt>
          <cx:pt idx="43155">3</cx:pt>
          <cx:pt idx="43156">5</cx:pt>
          <cx:pt idx="43157">1</cx:pt>
          <cx:pt idx="43158">5</cx:pt>
          <cx:pt idx="43159">5</cx:pt>
          <cx:pt idx="43160">4</cx:pt>
          <cx:pt idx="43161">3</cx:pt>
          <cx:pt idx="43162">3</cx:pt>
          <cx:pt idx="43163">3</cx:pt>
          <cx:pt idx="43164">4</cx:pt>
          <cx:pt idx="43165">1</cx:pt>
          <cx:pt idx="43166">1</cx:pt>
          <cx:pt idx="43167">2</cx:pt>
          <cx:pt idx="43168">5</cx:pt>
          <cx:pt idx="43169">2</cx:pt>
          <cx:pt idx="43170">4</cx:pt>
          <cx:pt idx="43171">2</cx:pt>
          <cx:pt idx="43172">5</cx:pt>
          <cx:pt idx="43173">4</cx:pt>
          <cx:pt idx="43174">2</cx:pt>
          <cx:pt idx="43175">5</cx:pt>
          <cx:pt idx="43176">5</cx:pt>
          <cx:pt idx="43177">2</cx:pt>
          <cx:pt idx="43178">5</cx:pt>
          <cx:pt idx="43179">5</cx:pt>
          <cx:pt idx="43180">2</cx:pt>
          <cx:pt idx="43181">3</cx:pt>
          <cx:pt idx="43182">3</cx:pt>
          <cx:pt idx="43183">5</cx:pt>
          <cx:pt idx="43184">3</cx:pt>
          <cx:pt idx="43185">5</cx:pt>
          <cx:pt idx="43186">3</cx:pt>
          <cx:pt idx="43187">5</cx:pt>
          <cx:pt idx="43188">3</cx:pt>
          <cx:pt idx="43189">5</cx:pt>
          <cx:pt idx="43190">4</cx:pt>
          <cx:pt idx="43191">4</cx:pt>
          <cx:pt idx="43192">4</cx:pt>
          <cx:pt idx="43193">2</cx:pt>
          <cx:pt idx="43194">1</cx:pt>
          <cx:pt idx="43195">1</cx:pt>
          <cx:pt idx="43196">2</cx:pt>
          <cx:pt idx="43197">2</cx:pt>
          <cx:pt idx="43198">2</cx:pt>
          <cx:pt idx="43199">5</cx:pt>
          <cx:pt idx="43200">3</cx:pt>
          <cx:pt idx="43201">4</cx:pt>
          <cx:pt idx="43202">3</cx:pt>
          <cx:pt idx="43203">1</cx:pt>
          <cx:pt idx="43204">3</cx:pt>
          <cx:pt idx="43205">1</cx:pt>
          <cx:pt idx="43206">3</cx:pt>
          <cx:pt idx="43207">4</cx:pt>
          <cx:pt idx="43208">5</cx:pt>
          <cx:pt idx="43209">5</cx:pt>
          <cx:pt idx="43210">5</cx:pt>
          <cx:pt idx="43211">5</cx:pt>
          <cx:pt idx="43212">5</cx:pt>
          <cx:pt idx="43213">4</cx:pt>
          <cx:pt idx="43214">3</cx:pt>
          <cx:pt idx="43215">4</cx:pt>
          <cx:pt idx="43216">5</cx:pt>
          <cx:pt idx="43217">4</cx:pt>
          <cx:pt idx="43218">3</cx:pt>
          <cx:pt idx="43219">2</cx:pt>
          <cx:pt idx="43220">2</cx:pt>
          <cx:pt idx="43221">2</cx:pt>
          <cx:pt idx="43222">2</cx:pt>
          <cx:pt idx="43223">4</cx:pt>
          <cx:pt idx="43224">5</cx:pt>
          <cx:pt idx="43225">5</cx:pt>
          <cx:pt idx="43226">3</cx:pt>
          <cx:pt idx="43227">2</cx:pt>
          <cx:pt idx="43228">4</cx:pt>
          <cx:pt idx="43229">5</cx:pt>
          <cx:pt idx="43230">1</cx:pt>
          <cx:pt idx="43231">2</cx:pt>
          <cx:pt idx="43232">2</cx:pt>
          <cx:pt idx="43233">5</cx:pt>
          <cx:pt idx="43234">5</cx:pt>
          <cx:pt idx="43235">5</cx:pt>
          <cx:pt idx="43236">5</cx:pt>
          <cx:pt idx="43237">2</cx:pt>
          <cx:pt idx="43238">4</cx:pt>
          <cx:pt idx="43239">4</cx:pt>
          <cx:pt idx="43240">2</cx:pt>
          <cx:pt idx="43241">5</cx:pt>
          <cx:pt idx="43242">2</cx:pt>
          <cx:pt idx="43243">3</cx:pt>
          <cx:pt idx="43244">4</cx:pt>
          <cx:pt idx="43245">4</cx:pt>
          <cx:pt idx="43246">1</cx:pt>
          <cx:pt idx="43247">4</cx:pt>
          <cx:pt idx="43248">4</cx:pt>
          <cx:pt idx="43249">4</cx:pt>
          <cx:pt idx="43250">1</cx:pt>
          <cx:pt idx="43251">5</cx:pt>
          <cx:pt idx="43252">2</cx:pt>
          <cx:pt idx="43253">5</cx:pt>
          <cx:pt idx="43254">2</cx:pt>
          <cx:pt idx="43255">4</cx:pt>
          <cx:pt idx="43256">4</cx:pt>
          <cx:pt idx="43257">2</cx:pt>
          <cx:pt idx="43258">3</cx:pt>
          <cx:pt idx="43259">5</cx:pt>
          <cx:pt idx="43260">4</cx:pt>
          <cx:pt idx="43261">3</cx:pt>
          <cx:pt idx="43262">5</cx:pt>
          <cx:pt idx="43263">5</cx:pt>
          <cx:pt idx="43264">4</cx:pt>
          <cx:pt idx="43265">1</cx:pt>
          <cx:pt idx="43266">4</cx:pt>
          <cx:pt idx="43267">5</cx:pt>
          <cx:pt idx="43268">4</cx:pt>
          <cx:pt idx="43269">3</cx:pt>
          <cx:pt idx="43270">3</cx:pt>
          <cx:pt idx="43271">4</cx:pt>
          <cx:pt idx="43272">5</cx:pt>
          <cx:pt idx="43273">2</cx:pt>
          <cx:pt idx="43274">3</cx:pt>
          <cx:pt idx="43275">1</cx:pt>
          <cx:pt idx="43276">4</cx:pt>
          <cx:pt idx="43277">2</cx:pt>
          <cx:pt idx="43278">5</cx:pt>
          <cx:pt idx="43279">1</cx:pt>
          <cx:pt idx="43280">4</cx:pt>
          <cx:pt idx="43281">5</cx:pt>
          <cx:pt idx="43282">1</cx:pt>
          <cx:pt idx="43283">4</cx:pt>
          <cx:pt idx="43284">4</cx:pt>
          <cx:pt idx="43285">4</cx:pt>
          <cx:pt idx="43286">4</cx:pt>
          <cx:pt idx="43287">2</cx:pt>
          <cx:pt idx="43288">4</cx:pt>
          <cx:pt idx="43289">4</cx:pt>
          <cx:pt idx="43290">5</cx:pt>
          <cx:pt idx="43291">4</cx:pt>
          <cx:pt idx="43292">5</cx:pt>
          <cx:pt idx="43293">1</cx:pt>
          <cx:pt idx="43294">1</cx:pt>
          <cx:pt idx="43295">3</cx:pt>
          <cx:pt idx="43296">5</cx:pt>
          <cx:pt idx="43297">2</cx:pt>
          <cx:pt idx="43298">5</cx:pt>
          <cx:pt idx="43299">2</cx:pt>
          <cx:pt idx="43300">4</cx:pt>
          <cx:pt idx="43301">4</cx:pt>
          <cx:pt idx="43302">5</cx:pt>
          <cx:pt idx="43303">5</cx:pt>
          <cx:pt idx="43304">3</cx:pt>
          <cx:pt idx="43305">2</cx:pt>
          <cx:pt idx="43306">4</cx:pt>
          <cx:pt idx="43307">4</cx:pt>
          <cx:pt idx="43308">3</cx:pt>
          <cx:pt idx="43309">5</cx:pt>
          <cx:pt idx="43310">5</cx:pt>
          <cx:pt idx="43311">5</cx:pt>
          <cx:pt idx="43312">3</cx:pt>
          <cx:pt idx="43313">4</cx:pt>
          <cx:pt idx="43314">1</cx:pt>
          <cx:pt idx="43315">5</cx:pt>
          <cx:pt idx="43316">3</cx:pt>
          <cx:pt idx="43317">3</cx:pt>
          <cx:pt idx="43318">4</cx:pt>
          <cx:pt idx="43319">5</cx:pt>
          <cx:pt idx="43320">1</cx:pt>
          <cx:pt idx="43321">5</cx:pt>
          <cx:pt idx="43322">2</cx:pt>
          <cx:pt idx="43323">4</cx:pt>
          <cx:pt idx="43324">2</cx:pt>
          <cx:pt idx="43325">5</cx:pt>
          <cx:pt idx="43326">4</cx:pt>
          <cx:pt idx="43327">5</cx:pt>
          <cx:pt idx="43328">4</cx:pt>
          <cx:pt idx="43329">1</cx:pt>
          <cx:pt idx="43330">2</cx:pt>
          <cx:pt idx="43331">4</cx:pt>
          <cx:pt idx="43332">2</cx:pt>
          <cx:pt idx="43333">2</cx:pt>
          <cx:pt idx="43334">4</cx:pt>
          <cx:pt idx="43335">1</cx:pt>
          <cx:pt idx="43336">1</cx:pt>
          <cx:pt idx="43337">4</cx:pt>
          <cx:pt idx="43338">5</cx:pt>
          <cx:pt idx="43339">4</cx:pt>
          <cx:pt idx="43340">5</cx:pt>
          <cx:pt idx="43341">3</cx:pt>
          <cx:pt idx="43342">5</cx:pt>
          <cx:pt idx="43343">3</cx:pt>
          <cx:pt idx="43344">4</cx:pt>
          <cx:pt idx="43345">5</cx:pt>
          <cx:pt idx="43346">2</cx:pt>
          <cx:pt idx="43347">3</cx:pt>
          <cx:pt idx="43348">5</cx:pt>
          <cx:pt idx="43349">3</cx:pt>
          <cx:pt idx="43350">5</cx:pt>
          <cx:pt idx="43351">4</cx:pt>
          <cx:pt idx="43352">4</cx:pt>
          <cx:pt idx="43353">4</cx:pt>
          <cx:pt idx="43354">4</cx:pt>
          <cx:pt idx="43355">5</cx:pt>
          <cx:pt idx="43356">3</cx:pt>
          <cx:pt idx="43357">4</cx:pt>
          <cx:pt idx="43358">1</cx:pt>
          <cx:pt idx="43359">4</cx:pt>
          <cx:pt idx="43360">4</cx:pt>
          <cx:pt idx="43361">5</cx:pt>
          <cx:pt idx="43362">3</cx:pt>
          <cx:pt idx="43363">4</cx:pt>
          <cx:pt idx="43364">2</cx:pt>
          <cx:pt idx="43365">5</cx:pt>
          <cx:pt idx="43366">3</cx:pt>
          <cx:pt idx="43367">5</cx:pt>
          <cx:pt idx="43368">5</cx:pt>
          <cx:pt idx="43369">4</cx:pt>
          <cx:pt idx="43370">5</cx:pt>
          <cx:pt idx="43371">4</cx:pt>
          <cx:pt idx="43372">3</cx:pt>
          <cx:pt idx="43373">4</cx:pt>
          <cx:pt idx="43374">5</cx:pt>
          <cx:pt idx="43375">1</cx:pt>
          <cx:pt idx="43376">4</cx:pt>
          <cx:pt idx="43377">4</cx:pt>
          <cx:pt idx="43378">4</cx:pt>
          <cx:pt idx="43379">5</cx:pt>
          <cx:pt idx="43380">3</cx:pt>
          <cx:pt idx="43381">3</cx:pt>
          <cx:pt idx="43382">5</cx:pt>
          <cx:pt idx="43383">3</cx:pt>
          <cx:pt idx="43384">4</cx:pt>
          <cx:pt idx="43385">5</cx:pt>
          <cx:pt idx="43386">5</cx:pt>
          <cx:pt idx="43387">4</cx:pt>
          <cx:pt idx="43388">3</cx:pt>
          <cx:pt idx="43389">4</cx:pt>
          <cx:pt idx="43390">3</cx:pt>
          <cx:pt idx="43391">4</cx:pt>
          <cx:pt idx="43392">2</cx:pt>
          <cx:pt idx="43393">3</cx:pt>
          <cx:pt idx="43394">3</cx:pt>
          <cx:pt idx="43395">2</cx:pt>
          <cx:pt idx="43396">4</cx:pt>
          <cx:pt idx="43397">4</cx:pt>
          <cx:pt idx="43398">3</cx:pt>
          <cx:pt idx="43399">5</cx:pt>
          <cx:pt idx="43400">1</cx:pt>
          <cx:pt idx="43401">4</cx:pt>
          <cx:pt idx="43402">4</cx:pt>
          <cx:pt idx="43403">1</cx:pt>
          <cx:pt idx="43404">2</cx:pt>
          <cx:pt idx="43405">4</cx:pt>
          <cx:pt idx="43406">3</cx:pt>
          <cx:pt idx="43407">5</cx:pt>
          <cx:pt idx="43408">4</cx:pt>
          <cx:pt idx="43409">2</cx:pt>
          <cx:pt idx="43410">4</cx:pt>
          <cx:pt idx="43411">5</cx:pt>
          <cx:pt idx="43412">5</cx:pt>
          <cx:pt idx="43413">3</cx:pt>
          <cx:pt idx="43414">1</cx:pt>
          <cx:pt idx="43415">3</cx:pt>
          <cx:pt idx="43416">4</cx:pt>
          <cx:pt idx="43417">4</cx:pt>
          <cx:pt idx="43418">2</cx:pt>
          <cx:pt idx="43419">4</cx:pt>
          <cx:pt idx="43420">3</cx:pt>
          <cx:pt idx="43421">4</cx:pt>
          <cx:pt idx="43422">4</cx:pt>
          <cx:pt idx="43423">4</cx:pt>
          <cx:pt idx="43424">4</cx:pt>
          <cx:pt idx="43425">4</cx:pt>
          <cx:pt idx="43426">3</cx:pt>
          <cx:pt idx="43427">4</cx:pt>
          <cx:pt idx="43428">2</cx:pt>
          <cx:pt idx="43429">5</cx:pt>
          <cx:pt idx="43430">5</cx:pt>
          <cx:pt idx="43431">3</cx:pt>
          <cx:pt idx="43432">5</cx:pt>
          <cx:pt idx="43433">2</cx:pt>
          <cx:pt idx="43434">5</cx:pt>
          <cx:pt idx="43435">4</cx:pt>
          <cx:pt idx="43436">4</cx:pt>
          <cx:pt idx="43437">4</cx:pt>
          <cx:pt idx="43438">5</cx:pt>
          <cx:pt idx="43439">2</cx:pt>
          <cx:pt idx="43440">5</cx:pt>
          <cx:pt idx="43441">3</cx:pt>
          <cx:pt idx="43442">5</cx:pt>
          <cx:pt idx="43443">5</cx:pt>
          <cx:pt idx="43444">5</cx:pt>
          <cx:pt idx="43445">5</cx:pt>
          <cx:pt idx="43446">3</cx:pt>
          <cx:pt idx="43447">5</cx:pt>
          <cx:pt idx="43448">4</cx:pt>
          <cx:pt idx="43449">5</cx:pt>
          <cx:pt idx="43450">5</cx:pt>
          <cx:pt idx="43451">5</cx:pt>
          <cx:pt idx="43452">5</cx:pt>
          <cx:pt idx="43453">3</cx:pt>
          <cx:pt idx="43454">1</cx:pt>
          <cx:pt idx="43455">3</cx:pt>
          <cx:pt idx="43456">2</cx:pt>
          <cx:pt idx="43457">2</cx:pt>
          <cx:pt idx="43458">4</cx:pt>
          <cx:pt idx="43459">4</cx:pt>
          <cx:pt idx="43460">5</cx:pt>
          <cx:pt idx="43461">1</cx:pt>
          <cx:pt idx="43462">5</cx:pt>
          <cx:pt idx="43463">5</cx:pt>
          <cx:pt idx="43464">4</cx:pt>
          <cx:pt idx="43465">5</cx:pt>
          <cx:pt idx="43466">5</cx:pt>
          <cx:pt idx="43467">3</cx:pt>
          <cx:pt idx="43468">5</cx:pt>
          <cx:pt idx="43469">3</cx:pt>
          <cx:pt idx="43470">2</cx:pt>
          <cx:pt idx="43471">2</cx:pt>
          <cx:pt idx="43472">4</cx:pt>
          <cx:pt idx="43473">4</cx:pt>
          <cx:pt idx="43474">2</cx:pt>
          <cx:pt idx="43475">5</cx:pt>
          <cx:pt idx="43476">4</cx:pt>
          <cx:pt idx="43477">2</cx:pt>
          <cx:pt idx="43478">4</cx:pt>
          <cx:pt idx="43479">4</cx:pt>
          <cx:pt idx="43480">4</cx:pt>
          <cx:pt idx="43481">5</cx:pt>
          <cx:pt idx="43482">4</cx:pt>
          <cx:pt idx="43483">4</cx:pt>
          <cx:pt idx="43484">3</cx:pt>
          <cx:pt idx="43485">2</cx:pt>
          <cx:pt idx="43486">5</cx:pt>
          <cx:pt idx="43487">5</cx:pt>
          <cx:pt idx="43488">3</cx:pt>
          <cx:pt idx="43489">1</cx:pt>
          <cx:pt idx="43490">5</cx:pt>
          <cx:pt idx="43491">3</cx:pt>
          <cx:pt idx="43492">5</cx:pt>
          <cx:pt idx="43493">3</cx:pt>
          <cx:pt idx="43494">5</cx:pt>
          <cx:pt idx="43495">4</cx:pt>
          <cx:pt idx="43496">1</cx:pt>
          <cx:pt idx="43497">3</cx:pt>
          <cx:pt idx="43498">5</cx:pt>
          <cx:pt idx="43499">5</cx:pt>
          <cx:pt idx="43500">5</cx:pt>
          <cx:pt idx="43501">4</cx:pt>
          <cx:pt idx="43502">3</cx:pt>
          <cx:pt idx="43503">1</cx:pt>
          <cx:pt idx="43504">4</cx:pt>
          <cx:pt idx="43505">5</cx:pt>
          <cx:pt idx="43506">4</cx:pt>
          <cx:pt idx="43507">4</cx:pt>
          <cx:pt idx="43508">5</cx:pt>
          <cx:pt idx="43509">5</cx:pt>
          <cx:pt idx="43510">5</cx:pt>
          <cx:pt idx="43511">3</cx:pt>
          <cx:pt idx="43512">5</cx:pt>
          <cx:pt idx="43513">2</cx:pt>
          <cx:pt idx="43514">2</cx:pt>
          <cx:pt idx="43515">4</cx:pt>
          <cx:pt idx="43516">4</cx:pt>
          <cx:pt idx="43517">2</cx:pt>
          <cx:pt idx="43518">4</cx:pt>
          <cx:pt idx="43519">3</cx:pt>
          <cx:pt idx="43520">2</cx:pt>
          <cx:pt idx="43521">4</cx:pt>
          <cx:pt idx="43522">1</cx:pt>
          <cx:pt idx="43523">4</cx:pt>
          <cx:pt idx="43524">4</cx:pt>
          <cx:pt idx="43525">4</cx:pt>
          <cx:pt idx="43526">4</cx:pt>
          <cx:pt idx="43527">3</cx:pt>
          <cx:pt idx="43528">1</cx:pt>
          <cx:pt idx="43529">5</cx:pt>
          <cx:pt idx="43530">1</cx:pt>
          <cx:pt idx="43531">4</cx:pt>
          <cx:pt idx="43532">5</cx:pt>
          <cx:pt idx="43533">5</cx:pt>
          <cx:pt idx="43534">4</cx:pt>
          <cx:pt idx="43535">4</cx:pt>
          <cx:pt idx="43536">5</cx:pt>
          <cx:pt idx="43537">4</cx:pt>
          <cx:pt idx="43538">5</cx:pt>
          <cx:pt idx="43539">5</cx:pt>
          <cx:pt idx="43540">5</cx:pt>
          <cx:pt idx="43541">5</cx:pt>
          <cx:pt idx="43542">5</cx:pt>
          <cx:pt idx="43543">5</cx:pt>
          <cx:pt idx="43544">3</cx:pt>
          <cx:pt idx="43545">2</cx:pt>
          <cx:pt idx="43546">2</cx:pt>
          <cx:pt idx="43547">5</cx:pt>
          <cx:pt idx="43548">5</cx:pt>
          <cx:pt idx="43549">1</cx:pt>
          <cx:pt idx="43550">2</cx:pt>
          <cx:pt idx="43551">5</cx:pt>
          <cx:pt idx="43552">5</cx:pt>
          <cx:pt idx="43553">5</cx:pt>
          <cx:pt idx="43554">2</cx:pt>
          <cx:pt idx="43555">4</cx:pt>
          <cx:pt idx="43556">2</cx:pt>
          <cx:pt idx="43557">1</cx:pt>
          <cx:pt idx="43558">3</cx:pt>
          <cx:pt idx="43559">5</cx:pt>
          <cx:pt idx="43560">4</cx:pt>
          <cx:pt idx="43561">4</cx:pt>
          <cx:pt idx="43562">4</cx:pt>
          <cx:pt idx="43563">4</cx:pt>
          <cx:pt idx="43564">3</cx:pt>
          <cx:pt idx="43565">2</cx:pt>
          <cx:pt idx="43566">5</cx:pt>
          <cx:pt idx="43567">4</cx:pt>
          <cx:pt idx="43568">5</cx:pt>
          <cx:pt idx="43569">3</cx:pt>
          <cx:pt idx="43570">2</cx:pt>
          <cx:pt idx="43571">4</cx:pt>
          <cx:pt idx="43572">5</cx:pt>
          <cx:pt idx="43573">5</cx:pt>
          <cx:pt idx="43574">2</cx:pt>
          <cx:pt idx="43575">5</cx:pt>
          <cx:pt idx="43576">4</cx:pt>
          <cx:pt idx="43577">3</cx:pt>
          <cx:pt idx="43578">5</cx:pt>
          <cx:pt idx="43579">3</cx:pt>
          <cx:pt idx="43580">4</cx:pt>
          <cx:pt idx="43581">5</cx:pt>
          <cx:pt idx="43582">5</cx:pt>
          <cx:pt idx="43583">4</cx:pt>
          <cx:pt idx="43584">5</cx:pt>
          <cx:pt idx="43585">1</cx:pt>
          <cx:pt idx="43586">4</cx:pt>
          <cx:pt idx="43587">2</cx:pt>
          <cx:pt idx="43588">2</cx:pt>
          <cx:pt idx="43589">5</cx:pt>
          <cx:pt idx="43590">4</cx:pt>
          <cx:pt idx="43591">3</cx:pt>
          <cx:pt idx="43592">4</cx:pt>
          <cx:pt idx="43593">4</cx:pt>
          <cx:pt idx="43594">2</cx:pt>
          <cx:pt idx="43595">1</cx:pt>
          <cx:pt idx="43596">4</cx:pt>
          <cx:pt idx="43597">4</cx:pt>
          <cx:pt idx="43598">4</cx:pt>
          <cx:pt idx="43599">5</cx:pt>
          <cx:pt idx="43600">1</cx:pt>
          <cx:pt idx="43601">3</cx:pt>
          <cx:pt idx="43602">4</cx:pt>
          <cx:pt idx="43603">5</cx:pt>
          <cx:pt idx="43604">5</cx:pt>
          <cx:pt idx="43605">4</cx:pt>
          <cx:pt idx="43606">5</cx:pt>
          <cx:pt idx="43607">5</cx:pt>
          <cx:pt idx="43608">4</cx:pt>
          <cx:pt idx="43609">5</cx:pt>
          <cx:pt idx="43610">4</cx:pt>
          <cx:pt idx="43611">4</cx:pt>
          <cx:pt idx="43612">4</cx:pt>
          <cx:pt idx="43613">5</cx:pt>
          <cx:pt idx="43614">3</cx:pt>
          <cx:pt idx="43615">4</cx:pt>
          <cx:pt idx="43616">5</cx:pt>
          <cx:pt idx="43617">5</cx:pt>
          <cx:pt idx="43618">5</cx:pt>
          <cx:pt idx="43619">1</cx:pt>
          <cx:pt idx="43620">5</cx:pt>
          <cx:pt idx="43621">2</cx:pt>
          <cx:pt idx="43622">1</cx:pt>
          <cx:pt idx="43623">1</cx:pt>
          <cx:pt idx="43624">5</cx:pt>
          <cx:pt idx="43625">4</cx:pt>
          <cx:pt idx="43626">5</cx:pt>
          <cx:pt idx="43627">4</cx:pt>
          <cx:pt idx="43628">4</cx:pt>
          <cx:pt idx="43629">1</cx:pt>
          <cx:pt idx="43630">2</cx:pt>
          <cx:pt idx="43631">5</cx:pt>
          <cx:pt idx="43632">1</cx:pt>
          <cx:pt idx="43633">5</cx:pt>
          <cx:pt idx="43634">1</cx:pt>
          <cx:pt idx="43635">5</cx:pt>
          <cx:pt idx="43636">4</cx:pt>
          <cx:pt idx="43637">3</cx:pt>
          <cx:pt idx="43638">5</cx:pt>
          <cx:pt idx="43639">1</cx:pt>
          <cx:pt idx="43640">4</cx:pt>
          <cx:pt idx="43641">4</cx:pt>
          <cx:pt idx="43642">3</cx:pt>
          <cx:pt idx="43643">4</cx:pt>
          <cx:pt idx="43644">4</cx:pt>
          <cx:pt idx="43645">5</cx:pt>
          <cx:pt idx="43646">2</cx:pt>
          <cx:pt idx="43647">1</cx:pt>
          <cx:pt idx="43648">4</cx:pt>
          <cx:pt idx="43649">4</cx:pt>
          <cx:pt idx="43650">4</cx:pt>
          <cx:pt idx="43651">4</cx:pt>
          <cx:pt idx="43652">4</cx:pt>
          <cx:pt idx="43653">3</cx:pt>
          <cx:pt idx="43654">4</cx:pt>
          <cx:pt idx="43655">5</cx:pt>
          <cx:pt idx="43656">4</cx:pt>
          <cx:pt idx="43657">2</cx:pt>
          <cx:pt idx="43658">4</cx:pt>
          <cx:pt idx="43659">5</cx:pt>
          <cx:pt idx="43660">3</cx:pt>
          <cx:pt idx="43661">3</cx:pt>
          <cx:pt idx="43662">1</cx:pt>
          <cx:pt idx="43663">3</cx:pt>
          <cx:pt idx="43664">4</cx:pt>
          <cx:pt idx="43665">4</cx:pt>
          <cx:pt idx="43666">1</cx:pt>
          <cx:pt idx="43667">2</cx:pt>
          <cx:pt idx="43668">2</cx:pt>
          <cx:pt idx="43669">1</cx:pt>
          <cx:pt idx="43670">2</cx:pt>
          <cx:pt idx="43671">4</cx:pt>
          <cx:pt idx="43672">3</cx:pt>
          <cx:pt idx="43673">5</cx:pt>
          <cx:pt idx="43674">5</cx:pt>
          <cx:pt idx="43675">5</cx:pt>
          <cx:pt idx="43676">4</cx:pt>
          <cx:pt idx="43677">5</cx:pt>
          <cx:pt idx="43678">2</cx:pt>
          <cx:pt idx="43679">2</cx:pt>
          <cx:pt idx="43680">5</cx:pt>
          <cx:pt idx="43681">4</cx:pt>
          <cx:pt idx="43682">4</cx:pt>
          <cx:pt idx="43683">2</cx:pt>
          <cx:pt idx="43684">5</cx:pt>
          <cx:pt idx="43685">4</cx:pt>
          <cx:pt idx="43686">3</cx:pt>
          <cx:pt idx="43687">1</cx:pt>
          <cx:pt idx="43688">3</cx:pt>
          <cx:pt idx="43689">4</cx:pt>
          <cx:pt idx="43690">5</cx:pt>
          <cx:pt idx="43691">4</cx:pt>
          <cx:pt idx="43692">1</cx:pt>
          <cx:pt idx="43693">3</cx:pt>
          <cx:pt idx="43694">2</cx:pt>
          <cx:pt idx="43695">2</cx:pt>
          <cx:pt idx="43696">1</cx:pt>
          <cx:pt idx="43697">2</cx:pt>
          <cx:pt idx="43698">4</cx:pt>
          <cx:pt idx="43699">4</cx:pt>
          <cx:pt idx="43700">3</cx:pt>
          <cx:pt idx="43701">3</cx:pt>
          <cx:pt idx="43702">5</cx:pt>
          <cx:pt idx="43703">3</cx:pt>
          <cx:pt idx="43704">5</cx:pt>
          <cx:pt idx="43705">1</cx:pt>
          <cx:pt idx="43706">5</cx:pt>
          <cx:pt idx="43707">4</cx:pt>
          <cx:pt idx="43708">4</cx:pt>
          <cx:pt idx="43709">3</cx:pt>
          <cx:pt idx="43710">4</cx:pt>
          <cx:pt idx="43711">3</cx:pt>
          <cx:pt idx="43712">4</cx:pt>
          <cx:pt idx="43713">4</cx:pt>
          <cx:pt idx="43714">1</cx:pt>
          <cx:pt idx="43715">4</cx:pt>
          <cx:pt idx="43716">3</cx:pt>
          <cx:pt idx="43717">2</cx:pt>
          <cx:pt idx="43718">4</cx:pt>
          <cx:pt idx="43719">4</cx:pt>
          <cx:pt idx="43720">3</cx:pt>
          <cx:pt idx="43721">1</cx:pt>
          <cx:pt idx="43722">4</cx:pt>
          <cx:pt idx="43723">2</cx:pt>
          <cx:pt idx="43724">1</cx:pt>
          <cx:pt idx="43725">3</cx:pt>
          <cx:pt idx="43726">4</cx:pt>
          <cx:pt idx="43727">5</cx:pt>
          <cx:pt idx="43728">3</cx:pt>
          <cx:pt idx="43729">3</cx:pt>
          <cx:pt idx="43730">4</cx:pt>
          <cx:pt idx="43731">2</cx:pt>
          <cx:pt idx="43732">2</cx:pt>
          <cx:pt idx="43733">4</cx:pt>
          <cx:pt idx="43734">4</cx:pt>
          <cx:pt idx="43735">5</cx:pt>
          <cx:pt idx="43736">4</cx:pt>
          <cx:pt idx="43737">5</cx:pt>
          <cx:pt idx="43738">5</cx:pt>
          <cx:pt idx="43739">4</cx:pt>
          <cx:pt idx="43740">3</cx:pt>
          <cx:pt idx="43741">3</cx:pt>
          <cx:pt idx="43742">1</cx:pt>
          <cx:pt idx="43743">4</cx:pt>
          <cx:pt idx="43744">5</cx:pt>
          <cx:pt idx="43745">1</cx:pt>
          <cx:pt idx="43746">3</cx:pt>
          <cx:pt idx="43747">4</cx:pt>
          <cx:pt idx="43748">3</cx:pt>
          <cx:pt idx="43749">4</cx:pt>
          <cx:pt idx="43750">4</cx:pt>
          <cx:pt idx="43751">3</cx:pt>
          <cx:pt idx="43752">3</cx:pt>
          <cx:pt idx="43753">3</cx:pt>
          <cx:pt idx="43754">3</cx:pt>
          <cx:pt idx="43755">4</cx:pt>
          <cx:pt idx="43756">4</cx:pt>
          <cx:pt idx="43757">5</cx:pt>
          <cx:pt idx="43758">1</cx:pt>
          <cx:pt idx="43759">4</cx:pt>
          <cx:pt idx="43760">5</cx:pt>
          <cx:pt idx="43761">2</cx:pt>
          <cx:pt idx="43762">2</cx:pt>
          <cx:pt idx="43763">1</cx:pt>
          <cx:pt idx="43764">1</cx:pt>
          <cx:pt idx="43765">5</cx:pt>
          <cx:pt idx="43766">5</cx:pt>
          <cx:pt idx="43767">5</cx:pt>
          <cx:pt idx="43768">3</cx:pt>
          <cx:pt idx="43769">5</cx:pt>
          <cx:pt idx="43770">3</cx:pt>
          <cx:pt idx="43771">1</cx:pt>
          <cx:pt idx="43772">5</cx:pt>
          <cx:pt idx="43773">1</cx:pt>
          <cx:pt idx="43774">4</cx:pt>
          <cx:pt idx="43775">3</cx:pt>
          <cx:pt idx="43776">5</cx:pt>
          <cx:pt idx="43777">2</cx:pt>
          <cx:pt idx="43778">2</cx:pt>
          <cx:pt idx="43779">5</cx:pt>
          <cx:pt idx="43780">2</cx:pt>
          <cx:pt idx="43781">4</cx:pt>
          <cx:pt idx="43782">3</cx:pt>
          <cx:pt idx="43783">2</cx:pt>
          <cx:pt idx="43784">3</cx:pt>
          <cx:pt idx="43785">5</cx:pt>
          <cx:pt idx="43786">5</cx:pt>
          <cx:pt idx="43787">5</cx:pt>
          <cx:pt idx="43788">1</cx:pt>
          <cx:pt idx="43789">5</cx:pt>
          <cx:pt idx="43790">3</cx:pt>
          <cx:pt idx="43791">3</cx:pt>
          <cx:pt idx="43792">4</cx:pt>
          <cx:pt idx="43793">4</cx:pt>
          <cx:pt idx="43794">5</cx:pt>
          <cx:pt idx="43795">5</cx:pt>
          <cx:pt idx="43796">4</cx:pt>
          <cx:pt idx="43797">5</cx:pt>
          <cx:pt idx="43798">2</cx:pt>
          <cx:pt idx="43799">5</cx:pt>
          <cx:pt idx="43800">4</cx:pt>
          <cx:pt idx="43801">4</cx:pt>
          <cx:pt idx="43802">5</cx:pt>
          <cx:pt idx="43803">5</cx:pt>
          <cx:pt idx="43804">4</cx:pt>
          <cx:pt idx="43805">4</cx:pt>
          <cx:pt idx="43806">4</cx:pt>
          <cx:pt idx="43807">2</cx:pt>
          <cx:pt idx="43808">4</cx:pt>
          <cx:pt idx="43809">1</cx:pt>
          <cx:pt idx="43810">4</cx:pt>
          <cx:pt idx="43811">4</cx:pt>
          <cx:pt idx="43812">3</cx:pt>
          <cx:pt idx="43813">4</cx:pt>
          <cx:pt idx="43814">5</cx:pt>
          <cx:pt idx="43815">5</cx:pt>
          <cx:pt idx="43816">4</cx:pt>
          <cx:pt idx="43817">4</cx:pt>
          <cx:pt idx="43818">3</cx:pt>
          <cx:pt idx="43819">5</cx:pt>
          <cx:pt idx="43820">1</cx:pt>
          <cx:pt idx="43821">4</cx:pt>
          <cx:pt idx="43822">2</cx:pt>
          <cx:pt idx="43823">4</cx:pt>
          <cx:pt idx="43824">4</cx:pt>
          <cx:pt idx="43825">3</cx:pt>
          <cx:pt idx="43826">3</cx:pt>
          <cx:pt idx="43827">1</cx:pt>
          <cx:pt idx="43828">4</cx:pt>
          <cx:pt idx="43829">5</cx:pt>
          <cx:pt idx="43830">4</cx:pt>
          <cx:pt idx="43831">3</cx:pt>
          <cx:pt idx="43832">5</cx:pt>
          <cx:pt idx="43833">5</cx:pt>
          <cx:pt idx="43834">3</cx:pt>
          <cx:pt idx="43835">4</cx:pt>
          <cx:pt idx="43836">3</cx:pt>
          <cx:pt idx="43837">3</cx:pt>
          <cx:pt idx="43838">2</cx:pt>
          <cx:pt idx="43839">5</cx:pt>
          <cx:pt idx="43840">1</cx:pt>
          <cx:pt idx="43841">2</cx:pt>
          <cx:pt idx="43842">3</cx:pt>
          <cx:pt idx="43843">5</cx:pt>
          <cx:pt idx="43844">5</cx:pt>
          <cx:pt idx="43845">4</cx:pt>
          <cx:pt idx="43846">4</cx:pt>
          <cx:pt idx="43847">5</cx:pt>
          <cx:pt idx="43848">5</cx:pt>
          <cx:pt idx="43849">2</cx:pt>
          <cx:pt idx="43850">5</cx:pt>
          <cx:pt idx="43851">2</cx:pt>
          <cx:pt idx="43852">5</cx:pt>
          <cx:pt idx="43853">5</cx:pt>
          <cx:pt idx="43854">3</cx:pt>
          <cx:pt idx="43855">5</cx:pt>
          <cx:pt idx="43856">4</cx:pt>
          <cx:pt idx="43857">4</cx:pt>
          <cx:pt idx="43858">3</cx:pt>
          <cx:pt idx="43859">4</cx:pt>
          <cx:pt idx="43860">3</cx:pt>
          <cx:pt idx="43861">4</cx:pt>
          <cx:pt idx="43862">4</cx:pt>
          <cx:pt idx="43863">4</cx:pt>
          <cx:pt idx="43864">5</cx:pt>
          <cx:pt idx="43865">4</cx:pt>
          <cx:pt idx="43866">5</cx:pt>
          <cx:pt idx="43867">4</cx:pt>
          <cx:pt idx="43868">4</cx:pt>
          <cx:pt idx="43869">5</cx:pt>
          <cx:pt idx="43870">2</cx:pt>
          <cx:pt idx="43871">5</cx:pt>
          <cx:pt idx="43872">4</cx:pt>
          <cx:pt idx="43873">3</cx:pt>
          <cx:pt idx="43874">5</cx:pt>
          <cx:pt idx="43875">4</cx:pt>
          <cx:pt idx="43876">5</cx:pt>
          <cx:pt idx="43877">4</cx:pt>
          <cx:pt idx="43878">5</cx:pt>
          <cx:pt idx="43879">3</cx:pt>
          <cx:pt idx="43880">5</cx:pt>
          <cx:pt idx="43881">4</cx:pt>
          <cx:pt idx="43882">5</cx:pt>
          <cx:pt idx="43883">2</cx:pt>
          <cx:pt idx="43884">4</cx:pt>
          <cx:pt idx="43885">1</cx:pt>
          <cx:pt idx="43886">4</cx:pt>
          <cx:pt idx="43887">5</cx:pt>
          <cx:pt idx="43888">5</cx:pt>
          <cx:pt idx="43889">5</cx:pt>
          <cx:pt idx="43890">2</cx:pt>
          <cx:pt idx="43891">4</cx:pt>
          <cx:pt idx="43892">4</cx:pt>
          <cx:pt idx="43893">2</cx:pt>
          <cx:pt idx="43894">2</cx:pt>
          <cx:pt idx="43895">3</cx:pt>
          <cx:pt idx="43896">5</cx:pt>
          <cx:pt idx="43897">5</cx:pt>
          <cx:pt idx="43898">5</cx:pt>
          <cx:pt idx="43899">5</cx:pt>
          <cx:pt idx="43900">2</cx:pt>
          <cx:pt idx="43901">5</cx:pt>
          <cx:pt idx="43902">3</cx:pt>
          <cx:pt idx="43903">2</cx:pt>
          <cx:pt idx="43904">5</cx:pt>
          <cx:pt idx="43905">3</cx:pt>
          <cx:pt idx="43906">4</cx:pt>
          <cx:pt idx="43907">4</cx:pt>
          <cx:pt idx="43908">1</cx:pt>
          <cx:pt idx="43909">3</cx:pt>
          <cx:pt idx="43910">3</cx:pt>
          <cx:pt idx="43911">2</cx:pt>
          <cx:pt idx="43912">3</cx:pt>
          <cx:pt idx="43913">2</cx:pt>
          <cx:pt idx="43914">5</cx:pt>
          <cx:pt idx="43915">5</cx:pt>
          <cx:pt idx="43916">3</cx:pt>
          <cx:pt idx="43917">4</cx:pt>
          <cx:pt idx="43918">3</cx:pt>
          <cx:pt idx="43919">1</cx:pt>
          <cx:pt idx="43920">5</cx:pt>
          <cx:pt idx="43921">5</cx:pt>
          <cx:pt idx="43922">2</cx:pt>
          <cx:pt idx="43923">2</cx:pt>
          <cx:pt idx="43924">1</cx:pt>
          <cx:pt idx="43925">1</cx:pt>
          <cx:pt idx="43926">5</cx:pt>
          <cx:pt idx="43927">3</cx:pt>
          <cx:pt idx="43928">1</cx:pt>
          <cx:pt idx="43929">4</cx:pt>
          <cx:pt idx="43930">3</cx:pt>
          <cx:pt idx="43931">2</cx:pt>
          <cx:pt idx="43932">2</cx:pt>
          <cx:pt idx="43933">3</cx:pt>
          <cx:pt idx="43934">5</cx:pt>
          <cx:pt idx="43935">1</cx:pt>
          <cx:pt idx="43936">5</cx:pt>
          <cx:pt idx="43937">4</cx:pt>
          <cx:pt idx="43938">2</cx:pt>
          <cx:pt idx="43939">4</cx:pt>
          <cx:pt idx="43940">3</cx:pt>
          <cx:pt idx="43941">2</cx:pt>
          <cx:pt idx="43942">4</cx:pt>
          <cx:pt idx="43943">5</cx:pt>
          <cx:pt idx="43944">2</cx:pt>
          <cx:pt idx="43945">4</cx:pt>
          <cx:pt idx="43946">1</cx:pt>
          <cx:pt idx="43947">5</cx:pt>
          <cx:pt idx="43948">3</cx:pt>
          <cx:pt idx="43949">3</cx:pt>
          <cx:pt idx="43950">1</cx:pt>
          <cx:pt idx="43951">1</cx:pt>
          <cx:pt idx="43952">3</cx:pt>
          <cx:pt idx="43953">2</cx:pt>
          <cx:pt idx="43954">5</cx:pt>
          <cx:pt idx="43955">2</cx:pt>
          <cx:pt idx="43956">1</cx:pt>
          <cx:pt idx="43957">4</cx:pt>
          <cx:pt idx="43958">4</cx:pt>
          <cx:pt idx="43959">1</cx:pt>
          <cx:pt idx="43960">1</cx:pt>
          <cx:pt idx="43961">4</cx:pt>
          <cx:pt idx="43962">2</cx:pt>
          <cx:pt idx="43963">3</cx:pt>
          <cx:pt idx="43964">5</cx:pt>
          <cx:pt idx="43965">5</cx:pt>
          <cx:pt idx="43966">4</cx:pt>
          <cx:pt idx="43967">2</cx:pt>
          <cx:pt idx="43968">4</cx:pt>
          <cx:pt idx="43969">4</cx:pt>
          <cx:pt idx="43970">1</cx:pt>
          <cx:pt idx="43971">4</cx:pt>
          <cx:pt idx="43972">4</cx:pt>
          <cx:pt idx="43973">2</cx:pt>
          <cx:pt idx="43974">4</cx:pt>
          <cx:pt idx="43975">5</cx:pt>
          <cx:pt idx="43976">4</cx:pt>
          <cx:pt idx="43977">1</cx:pt>
          <cx:pt idx="43978">4</cx:pt>
          <cx:pt idx="43979">3</cx:pt>
          <cx:pt idx="43980">5</cx:pt>
          <cx:pt idx="43981">3</cx:pt>
          <cx:pt idx="43982">2</cx:pt>
          <cx:pt idx="43983">4</cx:pt>
          <cx:pt idx="43984">5</cx:pt>
          <cx:pt idx="43985">2</cx:pt>
          <cx:pt idx="43986">4</cx:pt>
          <cx:pt idx="43987">4</cx:pt>
          <cx:pt idx="43988">2</cx:pt>
          <cx:pt idx="43989">2</cx:pt>
          <cx:pt idx="43990">5</cx:pt>
          <cx:pt idx="43991">5</cx:pt>
          <cx:pt idx="43992">4</cx:pt>
          <cx:pt idx="43993">5</cx:pt>
          <cx:pt idx="43994">4</cx:pt>
          <cx:pt idx="43995">5</cx:pt>
          <cx:pt idx="43996">3</cx:pt>
          <cx:pt idx="43997">3</cx:pt>
          <cx:pt idx="43998">2</cx:pt>
          <cx:pt idx="43999">5</cx:pt>
          <cx:pt idx="44000">5</cx:pt>
          <cx:pt idx="44001">1</cx:pt>
          <cx:pt idx="44002">3</cx:pt>
          <cx:pt idx="44003">1</cx:pt>
          <cx:pt idx="44004">5</cx:pt>
          <cx:pt idx="44005">5</cx:pt>
          <cx:pt idx="44006">3</cx:pt>
          <cx:pt idx="44007">2</cx:pt>
          <cx:pt idx="44008">5</cx:pt>
          <cx:pt idx="44009">5</cx:pt>
          <cx:pt idx="44010">3</cx:pt>
          <cx:pt idx="44011">5</cx:pt>
          <cx:pt idx="44012">3</cx:pt>
          <cx:pt idx="44013">1</cx:pt>
          <cx:pt idx="44014">5</cx:pt>
          <cx:pt idx="44015">4</cx:pt>
          <cx:pt idx="44016">1</cx:pt>
          <cx:pt idx="44017">5</cx:pt>
          <cx:pt idx="44018">2</cx:pt>
          <cx:pt idx="44019">5</cx:pt>
          <cx:pt idx="44020">4</cx:pt>
          <cx:pt idx="44021">1</cx:pt>
          <cx:pt idx="44022">5</cx:pt>
          <cx:pt idx="44023">1</cx:pt>
          <cx:pt idx="44024">2</cx:pt>
          <cx:pt idx="44025">5</cx:pt>
          <cx:pt idx="44026">3</cx:pt>
          <cx:pt idx="44027">3</cx:pt>
          <cx:pt idx="44028">4</cx:pt>
          <cx:pt idx="44029">3</cx:pt>
          <cx:pt idx="44030">4</cx:pt>
          <cx:pt idx="44031">1</cx:pt>
          <cx:pt idx="44032">5</cx:pt>
          <cx:pt idx="44033">5</cx:pt>
          <cx:pt idx="44034">4</cx:pt>
          <cx:pt idx="44035">1</cx:pt>
          <cx:pt idx="44036">1</cx:pt>
          <cx:pt idx="44037">4</cx:pt>
          <cx:pt idx="44038">5</cx:pt>
          <cx:pt idx="44039">3</cx:pt>
          <cx:pt idx="44040">1</cx:pt>
          <cx:pt idx="44041">2</cx:pt>
          <cx:pt idx="44042">4</cx:pt>
          <cx:pt idx="44043">2</cx:pt>
          <cx:pt idx="44044">2</cx:pt>
          <cx:pt idx="44045">2</cx:pt>
          <cx:pt idx="44046">4</cx:pt>
          <cx:pt idx="44047">2</cx:pt>
          <cx:pt idx="44048">3</cx:pt>
          <cx:pt idx="44049">3</cx:pt>
          <cx:pt idx="44050">2</cx:pt>
          <cx:pt idx="44051">3</cx:pt>
          <cx:pt idx="44052">4</cx:pt>
          <cx:pt idx="44053">5</cx:pt>
          <cx:pt idx="44054">2</cx:pt>
          <cx:pt idx="44055">5</cx:pt>
          <cx:pt idx="44056">3</cx:pt>
          <cx:pt idx="44057">2</cx:pt>
          <cx:pt idx="44058">4</cx:pt>
          <cx:pt idx="44059">3</cx:pt>
          <cx:pt idx="44060">2</cx:pt>
          <cx:pt idx="44061">1</cx:pt>
          <cx:pt idx="44062">2</cx:pt>
          <cx:pt idx="44063">1</cx:pt>
          <cx:pt idx="44064">2</cx:pt>
          <cx:pt idx="44065">4</cx:pt>
          <cx:pt idx="44066">4</cx:pt>
          <cx:pt idx="44067">4</cx:pt>
          <cx:pt idx="44068">5</cx:pt>
          <cx:pt idx="44069">4</cx:pt>
          <cx:pt idx="44070">4</cx:pt>
          <cx:pt idx="44071">1</cx:pt>
          <cx:pt idx="44072">5</cx:pt>
          <cx:pt idx="44073">4</cx:pt>
          <cx:pt idx="44074">3</cx:pt>
          <cx:pt idx="44075">2</cx:pt>
          <cx:pt idx="44076">4</cx:pt>
          <cx:pt idx="44077">3</cx:pt>
          <cx:pt idx="44078">2</cx:pt>
          <cx:pt idx="44079">4</cx:pt>
          <cx:pt idx="44080">5</cx:pt>
          <cx:pt idx="44081">4</cx:pt>
          <cx:pt idx="44082">3</cx:pt>
          <cx:pt idx="44083">5</cx:pt>
          <cx:pt idx="44084">3</cx:pt>
          <cx:pt idx="44085">2</cx:pt>
          <cx:pt idx="44086">4</cx:pt>
          <cx:pt idx="44087">5</cx:pt>
          <cx:pt idx="44088">1</cx:pt>
          <cx:pt idx="44089">3</cx:pt>
          <cx:pt idx="44090">2</cx:pt>
          <cx:pt idx="44091">5</cx:pt>
          <cx:pt idx="44092">2</cx:pt>
          <cx:pt idx="44093">1</cx:pt>
          <cx:pt idx="44094">3</cx:pt>
          <cx:pt idx="44095">3</cx:pt>
          <cx:pt idx="44096">2</cx:pt>
          <cx:pt idx="44097">3</cx:pt>
          <cx:pt idx="44098">3</cx:pt>
          <cx:pt idx="44099">4</cx:pt>
          <cx:pt idx="44100">5</cx:pt>
          <cx:pt idx="44101">1</cx:pt>
          <cx:pt idx="44102">5</cx:pt>
          <cx:pt idx="44103">4</cx:pt>
          <cx:pt idx="44104">4</cx:pt>
          <cx:pt idx="44105">1</cx:pt>
          <cx:pt idx="44106">5</cx:pt>
          <cx:pt idx="44107">5</cx:pt>
          <cx:pt idx="44108">5</cx:pt>
          <cx:pt idx="44109">3</cx:pt>
          <cx:pt idx="44110">5</cx:pt>
          <cx:pt idx="44111">3</cx:pt>
          <cx:pt idx="44112">1</cx:pt>
          <cx:pt idx="44113">1</cx:pt>
          <cx:pt idx="44114">4</cx:pt>
          <cx:pt idx="44115">4</cx:pt>
          <cx:pt idx="44116">5</cx:pt>
          <cx:pt idx="44117">5</cx:pt>
          <cx:pt idx="44118">3</cx:pt>
          <cx:pt idx="44119">5</cx:pt>
          <cx:pt idx="44120">2</cx:pt>
          <cx:pt idx="44121">4</cx:pt>
          <cx:pt idx="44122">3</cx:pt>
          <cx:pt idx="44123">1</cx:pt>
          <cx:pt idx="44124">1</cx:pt>
          <cx:pt idx="44125">1</cx:pt>
          <cx:pt idx="44126">1</cx:pt>
          <cx:pt idx="44127">5</cx:pt>
          <cx:pt idx="44128">3</cx:pt>
          <cx:pt idx="44129">2</cx:pt>
          <cx:pt idx="44130">5</cx:pt>
          <cx:pt idx="44131">3</cx:pt>
          <cx:pt idx="44132">4</cx:pt>
          <cx:pt idx="44133">3</cx:pt>
          <cx:pt idx="44134">3</cx:pt>
          <cx:pt idx="44135">4</cx:pt>
          <cx:pt idx="44136">5</cx:pt>
          <cx:pt idx="44137">4</cx:pt>
          <cx:pt idx="44138">4</cx:pt>
          <cx:pt idx="44139">3</cx:pt>
          <cx:pt idx="44140">5</cx:pt>
          <cx:pt idx="44141">3</cx:pt>
          <cx:pt idx="44142">2</cx:pt>
          <cx:pt idx="44143">5</cx:pt>
          <cx:pt idx="44144">4</cx:pt>
          <cx:pt idx="44145">5</cx:pt>
          <cx:pt idx="44146">5</cx:pt>
          <cx:pt idx="44147">4</cx:pt>
          <cx:pt idx="44148">1</cx:pt>
          <cx:pt idx="44149">1</cx:pt>
          <cx:pt idx="44150">4</cx:pt>
          <cx:pt idx="44151">4</cx:pt>
          <cx:pt idx="44152">3</cx:pt>
          <cx:pt idx="44153">4</cx:pt>
          <cx:pt idx="44154">4</cx:pt>
          <cx:pt idx="44155">1</cx:pt>
          <cx:pt idx="44156">1</cx:pt>
          <cx:pt idx="44157">4</cx:pt>
          <cx:pt idx="44158">4</cx:pt>
          <cx:pt idx="44159">5</cx:pt>
          <cx:pt idx="44160">5</cx:pt>
          <cx:pt idx="44161">2</cx:pt>
          <cx:pt idx="44162">3</cx:pt>
          <cx:pt idx="44163">4</cx:pt>
          <cx:pt idx="44164">5</cx:pt>
          <cx:pt idx="44165">4</cx:pt>
          <cx:pt idx="44166">1</cx:pt>
          <cx:pt idx="44167">3</cx:pt>
          <cx:pt idx="44168">4</cx:pt>
          <cx:pt idx="44169">2</cx:pt>
          <cx:pt idx="44170">5</cx:pt>
          <cx:pt idx="44171">5</cx:pt>
          <cx:pt idx="44172">5</cx:pt>
          <cx:pt idx="44173">5</cx:pt>
          <cx:pt idx="44174">5</cx:pt>
          <cx:pt idx="44175">4</cx:pt>
          <cx:pt idx="44176">5</cx:pt>
          <cx:pt idx="44177">4</cx:pt>
          <cx:pt idx="44178">4</cx:pt>
          <cx:pt idx="44179">2</cx:pt>
          <cx:pt idx="44180">5</cx:pt>
          <cx:pt idx="44181">4</cx:pt>
          <cx:pt idx="44182">3</cx:pt>
          <cx:pt idx="44183">3</cx:pt>
          <cx:pt idx="44184">1</cx:pt>
          <cx:pt idx="44185">1</cx:pt>
          <cx:pt idx="44186">5</cx:pt>
          <cx:pt idx="44187">4</cx:pt>
          <cx:pt idx="44188">2</cx:pt>
          <cx:pt idx="44189">2</cx:pt>
          <cx:pt idx="44190">5</cx:pt>
          <cx:pt idx="44191">1</cx:pt>
          <cx:pt idx="44192">2</cx:pt>
          <cx:pt idx="44193">2</cx:pt>
          <cx:pt idx="44194">4</cx:pt>
          <cx:pt idx="44195">4</cx:pt>
          <cx:pt idx="44196">1</cx:pt>
          <cx:pt idx="44197">4</cx:pt>
          <cx:pt idx="44198">4</cx:pt>
          <cx:pt idx="44199">5</cx:pt>
          <cx:pt idx="44200">5</cx:pt>
          <cx:pt idx="44201">1</cx:pt>
          <cx:pt idx="44202">5</cx:pt>
          <cx:pt idx="44203">4</cx:pt>
          <cx:pt idx="44204">5</cx:pt>
          <cx:pt idx="44205">4</cx:pt>
          <cx:pt idx="44206">1</cx:pt>
          <cx:pt idx="44207">2</cx:pt>
          <cx:pt idx="44208">3</cx:pt>
          <cx:pt idx="44209">4</cx:pt>
          <cx:pt idx="44210">2</cx:pt>
          <cx:pt idx="44211">5</cx:pt>
          <cx:pt idx="44212">1</cx:pt>
          <cx:pt idx="44213">5</cx:pt>
          <cx:pt idx="44214">3</cx:pt>
          <cx:pt idx="44215">3</cx:pt>
          <cx:pt idx="44216">2</cx:pt>
          <cx:pt idx="44217">3</cx:pt>
          <cx:pt idx="44218">5</cx:pt>
          <cx:pt idx="44219">4</cx:pt>
          <cx:pt idx="44220">5</cx:pt>
          <cx:pt idx="44221">4</cx:pt>
          <cx:pt idx="44222">4</cx:pt>
          <cx:pt idx="44223">4</cx:pt>
          <cx:pt idx="44224">1</cx:pt>
          <cx:pt idx="44225">2</cx:pt>
          <cx:pt idx="44226">5</cx:pt>
          <cx:pt idx="44227">5</cx:pt>
          <cx:pt idx="44228">4</cx:pt>
          <cx:pt idx="44229">4</cx:pt>
          <cx:pt idx="44230">4</cx:pt>
          <cx:pt idx="44231">5</cx:pt>
          <cx:pt idx="44232">5</cx:pt>
          <cx:pt idx="44233">4</cx:pt>
          <cx:pt idx="44234">3</cx:pt>
          <cx:pt idx="44235">4</cx:pt>
          <cx:pt idx="44236">5</cx:pt>
          <cx:pt idx="44237">4</cx:pt>
          <cx:pt idx="44238">5</cx:pt>
          <cx:pt idx="44239">1</cx:pt>
          <cx:pt idx="44240">3</cx:pt>
          <cx:pt idx="44241">4</cx:pt>
          <cx:pt idx="44242">4</cx:pt>
          <cx:pt idx="44243">4</cx:pt>
          <cx:pt idx="44244">4</cx:pt>
          <cx:pt idx="44245">2</cx:pt>
          <cx:pt idx="44246">5</cx:pt>
          <cx:pt idx="44247">5</cx:pt>
          <cx:pt idx="44248">5</cx:pt>
          <cx:pt idx="44249">5</cx:pt>
          <cx:pt idx="44250">5</cx:pt>
          <cx:pt idx="44251">4</cx:pt>
          <cx:pt idx="44252">5</cx:pt>
          <cx:pt idx="44253">5</cx:pt>
          <cx:pt idx="44254">2</cx:pt>
          <cx:pt idx="44255">3</cx:pt>
          <cx:pt idx="44256">5</cx:pt>
          <cx:pt idx="44257">4</cx:pt>
          <cx:pt idx="44258">3</cx:pt>
          <cx:pt idx="44259">3</cx:pt>
          <cx:pt idx="44260">4</cx:pt>
          <cx:pt idx="44261">1</cx:pt>
          <cx:pt idx="44262">5</cx:pt>
          <cx:pt idx="44263">1</cx:pt>
          <cx:pt idx="44264">2</cx:pt>
          <cx:pt idx="44265">5</cx:pt>
          <cx:pt idx="44266">5</cx:pt>
          <cx:pt idx="44267">5</cx:pt>
          <cx:pt idx="44268">2</cx:pt>
          <cx:pt idx="44269">3</cx:pt>
          <cx:pt idx="44270">5</cx:pt>
          <cx:pt idx="44271">3</cx:pt>
          <cx:pt idx="44272">4</cx:pt>
          <cx:pt idx="44273">1</cx:pt>
          <cx:pt idx="44274">3</cx:pt>
          <cx:pt idx="44275">2</cx:pt>
          <cx:pt idx="44276">3</cx:pt>
          <cx:pt idx="44277">3</cx:pt>
          <cx:pt idx="44278">1</cx:pt>
          <cx:pt idx="44279">4</cx:pt>
          <cx:pt idx="44280">4</cx:pt>
          <cx:pt idx="44281">4</cx:pt>
          <cx:pt idx="44282">4</cx:pt>
          <cx:pt idx="44283">5</cx:pt>
          <cx:pt idx="44284">1</cx:pt>
          <cx:pt idx="44285">2</cx:pt>
          <cx:pt idx="44286">4</cx:pt>
          <cx:pt idx="44287">4</cx:pt>
          <cx:pt idx="44288">4</cx:pt>
          <cx:pt idx="44289">4</cx:pt>
          <cx:pt idx="44290">4</cx:pt>
          <cx:pt idx="44291">2</cx:pt>
          <cx:pt idx="44292">4</cx:pt>
          <cx:pt idx="44293">4</cx:pt>
          <cx:pt idx="44294">4</cx:pt>
          <cx:pt idx="44295">3</cx:pt>
          <cx:pt idx="44296">1</cx:pt>
          <cx:pt idx="44297">4</cx:pt>
          <cx:pt idx="44298">1</cx:pt>
          <cx:pt idx="44299">4</cx:pt>
          <cx:pt idx="44300">2</cx:pt>
          <cx:pt idx="44301">1</cx:pt>
          <cx:pt idx="44302">4</cx:pt>
          <cx:pt idx="44303">1</cx:pt>
          <cx:pt idx="44304">3</cx:pt>
          <cx:pt idx="44305">4</cx:pt>
          <cx:pt idx="44306">3</cx:pt>
          <cx:pt idx="44307">5</cx:pt>
          <cx:pt idx="44308">5</cx:pt>
          <cx:pt idx="44309">5</cx:pt>
          <cx:pt idx="44310">2</cx:pt>
          <cx:pt idx="44311">4</cx:pt>
          <cx:pt idx="44312">4</cx:pt>
          <cx:pt idx="44313">2</cx:pt>
          <cx:pt idx="44314">1</cx:pt>
          <cx:pt idx="44315">4</cx:pt>
          <cx:pt idx="44316">3</cx:pt>
          <cx:pt idx="44317">3</cx:pt>
          <cx:pt idx="44318">2</cx:pt>
          <cx:pt idx="44319">4</cx:pt>
          <cx:pt idx="44320">5</cx:pt>
          <cx:pt idx="44321">3</cx:pt>
          <cx:pt idx="44322">4</cx:pt>
          <cx:pt idx="44323">5</cx:pt>
          <cx:pt idx="44324">5</cx:pt>
          <cx:pt idx="44325">3</cx:pt>
          <cx:pt idx="44326">1</cx:pt>
          <cx:pt idx="44327">5</cx:pt>
          <cx:pt idx="44328">1</cx:pt>
          <cx:pt idx="44329">4</cx:pt>
          <cx:pt idx="44330">2</cx:pt>
          <cx:pt idx="44331">3</cx:pt>
          <cx:pt idx="44332">5</cx:pt>
          <cx:pt idx="44333">5</cx:pt>
          <cx:pt idx="44334">5</cx:pt>
          <cx:pt idx="44335">5</cx:pt>
          <cx:pt idx="44336">4</cx:pt>
          <cx:pt idx="44337">5</cx:pt>
          <cx:pt idx="44338">1</cx:pt>
          <cx:pt idx="44339">5</cx:pt>
          <cx:pt idx="44340">3</cx:pt>
          <cx:pt idx="44341">5</cx:pt>
          <cx:pt idx="44342">4</cx:pt>
          <cx:pt idx="44343">5</cx:pt>
          <cx:pt idx="44344">4</cx:pt>
          <cx:pt idx="44345">3</cx:pt>
          <cx:pt idx="44346">5</cx:pt>
          <cx:pt idx="44347">3</cx:pt>
          <cx:pt idx="44348">5</cx:pt>
          <cx:pt idx="44349">2</cx:pt>
          <cx:pt idx="44350">3</cx:pt>
          <cx:pt idx="44351">4</cx:pt>
          <cx:pt idx="44352">4</cx:pt>
          <cx:pt idx="44353">4</cx:pt>
          <cx:pt idx="44354">4</cx:pt>
          <cx:pt idx="44355">5</cx:pt>
          <cx:pt idx="44356">5</cx:pt>
          <cx:pt idx="44357">4</cx:pt>
          <cx:pt idx="44358">3</cx:pt>
          <cx:pt idx="44359">5</cx:pt>
          <cx:pt idx="44360">5</cx:pt>
          <cx:pt idx="44361">3</cx:pt>
          <cx:pt idx="44362">1</cx:pt>
          <cx:pt idx="44363">3</cx:pt>
          <cx:pt idx="44364">3</cx:pt>
          <cx:pt idx="44365">4</cx:pt>
          <cx:pt idx="44366">5</cx:pt>
          <cx:pt idx="44367">4</cx:pt>
          <cx:pt idx="44368">5</cx:pt>
          <cx:pt idx="44369">1</cx:pt>
          <cx:pt idx="44370">4</cx:pt>
          <cx:pt idx="44371">2</cx:pt>
          <cx:pt idx="44372">3</cx:pt>
          <cx:pt idx="44373">1</cx:pt>
          <cx:pt idx="44374">3</cx:pt>
          <cx:pt idx="44375">5</cx:pt>
          <cx:pt idx="44376">5</cx:pt>
          <cx:pt idx="44377">1</cx:pt>
          <cx:pt idx="44378">4</cx:pt>
          <cx:pt idx="44379">4</cx:pt>
          <cx:pt idx="44380">5</cx:pt>
          <cx:pt idx="44381">4</cx:pt>
          <cx:pt idx="44382">3</cx:pt>
          <cx:pt idx="44383">5</cx:pt>
          <cx:pt idx="44384">4</cx:pt>
          <cx:pt idx="44385">4</cx:pt>
          <cx:pt idx="44386">4</cx:pt>
          <cx:pt idx="44387">2</cx:pt>
          <cx:pt idx="44388">4</cx:pt>
          <cx:pt idx="44389">2</cx:pt>
          <cx:pt idx="44390">4</cx:pt>
          <cx:pt idx="44391">5</cx:pt>
          <cx:pt idx="44392">4</cx:pt>
          <cx:pt idx="44393">5</cx:pt>
          <cx:pt idx="44394">4</cx:pt>
          <cx:pt idx="44395">3</cx:pt>
          <cx:pt idx="44396">4</cx:pt>
          <cx:pt idx="44397">5</cx:pt>
          <cx:pt idx="44398">4</cx:pt>
          <cx:pt idx="44399">2</cx:pt>
          <cx:pt idx="44400">2</cx:pt>
          <cx:pt idx="44401">4</cx:pt>
          <cx:pt idx="44402">4</cx:pt>
          <cx:pt idx="44403">1</cx:pt>
          <cx:pt idx="44404">5</cx:pt>
          <cx:pt idx="44405">2</cx:pt>
          <cx:pt idx="44406">3</cx:pt>
          <cx:pt idx="44407">2</cx:pt>
          <cx:pt idx="44408">1</cx:pt>
          <cx:pt idx="44409">5</cx:pt>
          <cx:pt idx="44410">4</cx:pt>
          <cx:pt idx="44411">5</cx:pt>
          <cx:pt idx="44412">5</cx:pt>
          <cx:pt idx="44413">4</cx:pt>
          <cx:pt idx="44414">1</cx:pt>
          <cx:pt idx="44415">4</cx:pt>
          <cx:pt idx="44416">5</cx:pt>
          <cx:pt idx="44417">4</cx:pt>
          <cx:pt idx="44418">5</cx:pt>
          <cx:pt idx="44419">4</cx:pt>
          <cx:pt idx="44420">3</cx:pt>
          <cx:pt idx="44421">5</cx:pt>
          <cx:pt idx="44422">1</cx:pt>
          <cx:pt idx="44423">1</cx:pt>
          <cx:pt idx="44424">4</cx:pt>
          <cx:pt idx="44425">5</cx:pt>
          <cx:pt idx="44426">2</cx:pt>
          <cx:pt idx="44427">5</cx:pt>
          <cx:pt idx="44428">3</cx:pt>
          <cx:pt idx="44429">5</cx:pt>
          <cx:pt idx="44430">3</cx:pt>
          <cx:pt idx="44431">5</cx:pt>
          <cx:pt idx="44432">5</cx:pt>
          <cx:pt idx="44433">5</cx:pt>
          <cx:pt idx="44434">5</cx:pt>
          <cx:pt idx="44435">1</cx:pt>
          <cx:pt idx="44436">4</cx:pt>
          <cx:pt idx="44437">5</cx:pt>
          <cx:pt idx="44438">5</cx:pt>
          <cx:pt idx="44439">2</cx:pt>
          <cx:pt idx="44440">4</cx:pt>
          <cx:pt idx="44441">1</cx:pt>
          <cx:pt idx="44442">4</cx:pt>
          <cx:pt idx="44443">1</cx:pt>
          <cx:pt idx="44444">4</cx:pt>
          <cx:pt idx="44445">2</cx:pt>
          <cx:pt idx="44446">4</cx:pt>
          <cx:pt idx="44447">4</cx:pt>
          <cx:pt idx="44448">3</cx:pt>
          <cx:pt idx="44449">3</cx:pt>
          <cx:pt idx="44450">3</cx:pt>
          <cx:pt idx="44451">3</cx:pt>
          <cx:pt idx="44452">2</cx:pt>
          <cx:pt idx="44453">4</cx:pt>
          <cx:pt idx="44454">3</cx:pt>
          <cx:pt idx="44455">5</cx:pt>
          <cx:pt idx="44456">1</cx:pt>
          <cx:pt idx="44457">4</cx:pt>
          <cx:pt idx="44458">5</cx:pt>
          <cx:pt idx="44459">4</cx:pt>
          <cx:pt idx="44460">5</cx:pt>
          <cx:pt idx="44461">4</cx:pt>
          <cx:pt idx="44462">3</cx:pt>
          <cx:pt idx="44463">5</cx:pt>
          <cx:pt idx="44464">4</cx:pt>
          <cx:pt idx="44465">3</cx:pt>
          <cx:pt idx="44466">3</cx:pt>
          <cx:pt idx="44467">5</cx:pt>
          <cx:pt idx="44468">5</cx:pt>
          <cx:pt idx="44469">2</cx:pt>
          <cx:pt idx="44470">2</cx:pt>
          <cx:pt idx="44471">1</cx:pt>
          <cx:pt idx="44472">4</cx:pt>
          <cx:pt idx="44473">4</cx:pt>
          <cx:pt idx="44474">4</cx:pt>
          <cx:pt idx="44475">2</cx:pt>
          <cx:pt idx="44476">5</cx:pt>
          <cx:pt idx="44477">2</cx:pt>
          <cx:pt idx="44478">3</cx:pt>
          <cx:pt idx="44479">2</cx:pt>
          <cx:pt idx="44480">2</cx:pt>
          <cx:pt idx="44481">3</cx:pt>
          <cx:pt idx="44482">2</cx:pt>
          <cx:pt idx="44483">3</cx:pt>
          <cx:pt idx="44484">5</cx:pt>
          <cx:pt idx="44485">4</cx:pt>
          <cx:pt idx="44486">1</cx:pt>
          <cx:pt idx="44487">2</cx:pt>
          <cx:pt idx="44488">3</cx:pt>
          <cx:pt idx="44489">2</cx:pt>
          <cx:pt idx="44490">3</cx:pt>
          <cx:pt idx="44491">1</cx:pt>
          <cx:pt idx="44492">2</cx:pt>
          <cx:pt idx="44493">2</cx:pt>
          <cx:pt idx="44494">4</cx:pt>
          <cx:pt idx="44495">5</cx:pt>
          <cx:pt idx="44496">1</cx:pt>
          <cx:pt idx="44497">4</cx:pt>
          <cx:pt idx="44498">3</cx:pt>
          <cx:pt idx="44499">1</cx:pt>
          <cx:pt idx="44500">4</cx:pt>
          <cx:pt idx="44501">4</cx:pt>
          <cx:pt idx="44502">2</cx:pt>
          <cx:pt idx="44503">4</cx:pt>
          <cx:pt idx="44504">4</cx:pt>
          <cx:pt idx="44505">3</cx:pt>
          <cx:pt idx="44506">2</cx:pt>
          <cx:pt idx="44507">4</cx:pt>
          <cx:pt idx="44508">3</cx:pt>
          <cx:pt idx="44509">1</cx:pt>
          <cx:pt idx="44510">2</cx:pt>
          <cx:pt idx="44511">5</cx:pt>
          <cx:pt idx="44512">4</cx:pt>
          <cx:pt idx="44513">4</cx:pt>
          <cx:pt idx="44514">3</cx:pt>
          <cx:pt idx="44515">2</cx:pt>
          <cx:pt idx="44516">4</cx:pt>
          <cx:pt idx="44517">2</cx:pt>
          <cx:pt idx="44518">3</cx:pt>
          <cx:pt idx="44519">3</cx:pt>
          <cx:pt idx="44520">2</cx:pt>
          <cx:pt idx="44521">1</cx:pt>
          <cx:pt idx="44522">4</cx:pt>
          <cx:pt idx="44523">5</cx:pt>
          <cx:pt idx="44524">4</cx:pt>
          <cx:pt idx="44525">5</cx:pt>
          <cx:pt idx="44526">4</cx:pt>
          <cx:pt idx="44527">4</cx:pt>
          <cx:pt idx="44528">4</cx:pt>
          <cx:pt idx="44529">5</cx:pt>
          <cx:pt idx="44530">1</cx:pt>
          <cx:pt idx="44531">4</cx:pt>
          <cx:pt idx="44532">1</cx:pt>
          <cx:pt idx="44533">5</cx:pt>
          <cx:pt idx="44534">4</cx:pt>
          <cx:pt idx="44535">1</cx:pt>
          <cx:pt idx="44536">2</cx:pt>
          <cx:pt idx="44537">3</cx:pt>
          <cx:pt idx="44538">2</cx:pt>
          <cx:pt idx="44539">1</cx:pt>
          <cx:pt idx="44540">5</cx:pt>
          <cx:pt idx="44541">4</cx:pt>
          <cx:pt idx="44542">5</cx:pt>
          <cx:pt idx="44543">2</cx:pt>
          <cx:pt idx="44544">5</cx:pt>
          <cx:pt idx="44545">4</cx:pt>
          <cx:pt idx="44546">5</cx:pt>
          <cx:pt idx="44547">5</cx:pt>
          <cx:pt idx="44548">4</cx:pt>
          <cx:pt idx="44549">2</cx:pt>
          <cx:pt idx="44550">5</cx:pt>
          <cx:pt idx="44551">4</cx:pt>
          <cx:pt idx="44552">5</cx:pt>
          <cx:pt idx="44553">3</cx:pt>
          <cx:pt idx="44554">4</cx:pt>
          <cx:pt idx="44555">2</cx:pt>
          <cx:pt idx="44556">1</cx:pt>
          <cx:pt idx="44557">5</cx:pt>
          <cx:pt idx="44558">5</cx:pt>
          <cx:pt idx="44559">4</cx:pt>
          <cx:pt idx="44560">1</cx:pt>
          <cx:pt idx="44561">4</cx:pt>
          <cx:pt idx="44562">4</cx:pt>
          <cx:pt idx="44563">4</cx:pt>
          <cx:pt idx="44564">3</cx:pt>
          <cx:pt idx="44565">4</cx:pt>
          <cx:pt idx="44566">1</cx:pt>
          <cx:pt idx="44567">4</cx:pt>
          <cx:pt idx="44568">5</cx:pt>
          <cx:pt idx="44569">5</cx:pt>
          <cx:pt idx="44570">5</cx:pt>
          <cx:pt idx="44571">3</cx:pt>
          <cx:pt idx="44572">4</cx:pt>
          <cx:pt idx="44573">5</cx:pt>
          <cx:pt idx="44574">1</cx:pt>
          <cx:pt idx="44575">4</cx:pt>
          <cx:pt idx="44576">3</cx:pt>
          <cx:pt idx="44577">4</cx:pt>
          <cx:pt idx="44578">2</cx:pt>
          <cx:pt idx="44579">2</cx:pt>
          <cx:pt idx="44580">1</cx:pt>
          <cx:pt idx="44581">3</cx:pt>
          <cx:pt idx="44582">2</cx:pt>
          <cx:pt idx="44583">3</cx:pt>
          <cx:pt idx="44584">2</cx:pt>
          <cx:pt idx="44585">4</cx:pt>
          <cx:pt idx="44586">5</cx:pt>
          <cx:pt idx="44587">1</cx:pt>
          <cx:pt idx="44588">1</cx:pt>
          <cx:pt idx="44589">5</cx:pt>
          <cx:pt idx="44590">3</cx:pt>
          <cx:pt idx="44591">3</cx:pt>
          <cx:pt idx="44592">5</cx:pt>
          <cx:pt idx="44593">4</cx:pt>
          <cx:pt idx="44594">4</cx:pt>
          <cx:pt idx="44595">3</cx:pt>
          <cx:pt idx="44596">2</cx:pt>
          <cx:pt idx="44597">5</cx:pt>
          <cx:pt idx="44598">2</cx:pt>
          <cx:pt idx="44599">4</cx:pt>
          <cx:pt idx="44600">4</cx:pt>
          <cx:pt idx="44601">4</cx:pt>
          <cx:pt idx="44602">3</cx:pt>
          <cx:pt idx="44603">5</cx:pt>
          <cx:pt idx="44604">1</cx:pt>
          <cx:pt idx="44605">4</cx:pt>
          <cx:pt idx="44606">4</cx:pt>
          <cx:pt idx="44607">2</cx:pt>
          <cx:pt idx="44608">1</cx:pt>
          <cx:pt idx="44609">5</cx:pt>
          <cx:pt idx="44610">4</cx:pt>
          <cx:pt idx="44611">5</cx:pt>
          <cx:pt idx="44612">3</cx:pt>
          <cx:pt idx="44613">4</cx:pt>
          <cx:pt idx="44614">1</cx:pt>
          <cx:pt idx="44615">1</cx:pt>
          <cx:pt idx="44616">4</cx:pt>
          <cx:pt idx="44617">4</cx:pt>
          <cx:pt idx="44618">4</cx:pt>
          <cx:pt idx="44619">3</cx:pt>
          <cx:pt idx="44620">5</cx:pt>
          <cx:pt idx="44621">1</cx:pt>
          <cx:pt idx="44622">5</cx:pt>
          <cx:pt idx="44623">5</cx:pt>
          <cx:pt idx="44624">2</cx:pt>
          <cx:pt idx="44625">5</cx:pt>
          <cx:pt idx="44626">1</cx:pt>
          <cx:pt idx="44627">5</cx:pt>
          <cx:pt idx="44628">1</cx:pt>
          <cx:pt idx="44629">1</cx:pt>
          <cx:pt idx="44630">4</cx:pt>
          <cx:pt idx="44631">1</cx:pt>
          <cx:pt idx="44632">4</cx:pt>
          <cx:pt idx="44633">3</cx:pt>
          <cx:pt idx="44634">1</cx:pt>
          <cx:pt idx="44635">5</cx:pt>
          <cx:pt idx="44636">2</cx:pt>
          <cx:pt idx="44637">4</cx:pt>
          <cx:pt idx="44638">5</cx:pt>
          <cx:pt idx="44639">1</cx:pt>
          <cx:pt idx="44640">4</cx:pt>
          <cx:pt idx="44641">4</cx:pt>
          <cx:pt idx="44642">4</cx:pt>
          <cx:pt idx="44643">3</cx:pt>
          <cx:pt idx="44644">4</cx:pt>
          <cx:pt idx="44645">5</cx:pt>
          <cx:pt idx="44646">4</cx:pt>
          <cx:pt idx="44647">1</cx:pt>
          <cx:pt idx="44648">1</cx:pt>
          <cx:pt idx="44649">4</cx:pt>
          <cx:pt idx="44650">1</cx:pt>
          <cx:pt idx="44651">4</cx:pt>
          <cx:pt idx="44652">2</cx:pt>
          <cx:pt idx="44653">3</cx:pt>
          <cx:pt idx="44654">5</cx:pt>
          <cx:pt idx="44655">3</cx:pt>
          <cx:pt idx="44656">4</cx:pt>
          <cx:pt idx="44657">4</cx:pt>
          <cx:pt idx="44658">5</cx:pt>
          <cx:pt idx="44659">5</cx:pt>
          <cx:pt idx="44660">4</cx:pt>
          <cx:pt idx="44661">2</cx:pt>
          <cx:pt idx="44662">5</cx:pt>
          <cx:pt idx="44663">4</cx:pt>
          <cx:pt idx="44664">5</cx:pt>
          <cx:pt idx="44665">4</cx:pt>
          <cx:pt idx="44666">4</cx:pt>
          <cx:pt idx="44667">3</cx:pt>
          <cx:pt idx="44668">5</cx:pt>
          <cx:pt idx="44669">5</cx:pt>
          <cx:pt idx="44670">3</cx:pt>
          <cx:pt idx="44671">3</cx:pt>
          <cx:pt idx="44672">1</cx:pt>
          <cx:pt idx="44673">5</cx:pt>
          <cx:pt idx="44674">4</cx:pt>
          <cx:pt idx="44675">5</cx:pt>
          <cx:pt idx="44676">5</cx:pt>
          <cx:pt idx="44677">5</cx:pt>
          <cx:pt idx="44678">2</cx:pt>
          <cx:pt idx="44679">5</cx:pt>
          <cx:pt idx="44680">5</cx:pt>
          <cx:pt idx="44681">1</cx:pt>
          <cx:pt idx="44682">4</cx:pt>
          <cx:pt idx="44683">4</cx:pt>
          <cx:pt idx="44684">5</cx:pt>
          <cx:pt idx="44685">5</cx:pt>
          <cx:pt idx="44686">1</cx:pt>
          <cx:pt idx="44687">3</cx:pt>
          <cx:pt idx="44688">3</cx:pt>
          <cx:pt idx="44689">4</cx:pt>
          <cx:pt idx="44690">2</cx:pt>
          <cx:pt idx="44691">2</cx:pt>
          <cx:pt idx="44692">1</cx:pt>
          <cx:pt idx="44693">3</cx:pt>
          <cx:pt idx="44694">1</cx:pt>
          <cx:pt idx="44695">1</cx:pt>
          <cx:pt idx="44696">3</cx:pt>
          <cx:pt idx="44697">5</cx:pt>
          <cx:pt idx="44698">3</cx:pt>
          <cx:pt idx="44699">2</cx:pt>
          <cx:pt idx="44700">1</cx:pt>
          <cx:pt idx="44701">1</cx:pt>
          <cx:pt idx="44702">3</cx:pt>
          <cx:pt idx="44703">1</cx:pt>
          <cx:pt idx="44704">2</cx:pt>
          <cx:pt idx="44705">3</cx:pt>
          <cx:pt idx="44706">5</cx:pt>
          <cx:pt idx="44707">3</cx:pt>
          <cx:pt idx="44708">1</cx:pt>
          <cx:pt idx="44709">3</cx:pt>
          <cx:pt idx="44710">1</cx:pt>
          <cx:pt idx="44711">5</cx:pt>
          <cx:pt idx="44712">3</cx:pt>
          <cx:pt idx="44713">5</cx:pt>
          <cx:pt idx="44714">5</cx:pt>
          <cx:pt idx="44715">4</cx:pt>
          <cx:pt idx="44716">1</cx:pt>
          <cx:pt idx="44717">3</cx:pt>
          <cx:pt idx="44718">2</cx:pt>
          <cx:pt idx="44719">5</cx:pt>
          <cx:pt idx="44720">4</cx:pt>
          <cx:pt idx="44721">3</cx:pt>
          <cx:pt idx="44722">5</cx:pt>
          <cx:pt idx="44723">3</cx:pt>
          <cx:pt idx="44724">2</cx:pt>
          <cx:pt idx="44725">1</cx:pt>
          <cx:pt idx="44726">3</cx:pt>
          <cx:pt idx="44727">4</cx:pt>
          <cx:pt idx="44728">3</cx:pt>
          <cx:pt idx="44729">5</cx:pt>
          <cx:pt idx="44730">5</cx:pt>
          <cx:pt idx="44731">5</cx:pt>
          <cx:pt idx="44732">5</cx:pt>
          <cx:pt idx="44733">3</cx:pt>
          <cx:pt idx="44734">5</cx:pt>
          <cx:pt idx="44735">4</cx:pt>
          <cx:pt idx="44736">2</cx:pt>
          <cx:pt idx="44737">3</cx:pt>
          <cx:pt idx="44738">1</cx:pt>
          <cx:pt idx="44739">4</cx:pt>
          <cx:pt idx="44740">3</cx:pt>
          <cx:pt idx="44741">3</cx:pt>
          <cx:pt idx="44742">4</cx:pt>
          <cx:pt idx="44743">2</cx:pt>
          <cx:pt idx="44744">2</cx:pt>
          <cx:pt idx="44745">3</cx:pt>
          <cx:pt idx="44746">1</cx:pt>
          <cx:pt idx="44747">4</cx:pt>
          <cx:pt idx="44748">2</cx:pt>
          <cx:pt idx="44749">4</cx:pt>
          <cx:pt idx="44750">5</cx:pt>
          <cx:pt idx="44751">4</cx:pt>
          <cx:pt idx="44752">5</cx:pt>
          <cx:pt idx="44753">4</cx:pt>
          <cx:pt idx="44754">1</cx:pt>
          <cx:pt idx="44755">5</cx:pt>
          <cx:pt idx="44756">5</cx:pt>
          <cx:pt idx="44757">3</cx:pt>
          <cx:pt idx="44758">3</cx:pt>
          <cx:pt idx="44759">1</cx:pt>
          <cx:pt idx="44760">3</cx:pt>
          <cx:pt idx="44761">2</cx:pt>
          <cx:pt idx="44762">5</cx:pt>
          <cx:pt idx="44763">4</cx:pt>
          <cx:pt idx="44764">2</cx:pt>
          <cx:pt idx="44765">3</cx:pt>
          <cx:pt idx="44766">4</cx:pt>
          <cx:pt idx="44767">5</cx:pt>
          <cx:pt idx="44768">5</cx:pt>
          <cx:pt idx="44769">4</cx:pt>
          <cx:pt idx="44770">3</cx:pt>
          <cx:pt idx="44771">2</cx:pt>
          <cx:pt idx="44772">4</cx:pt>
          <cx:pt idx="44773">5</cx:pt>
          <cx:pt idx="44774">1</cx:pt>
          <cx:pt idx="44775">3</cx:pt>
          <cx:pt idx="44776">4</cx:pt>
          <cx:pt idx="44777">2</cx:pt>
          <cx:pt idx="44778">5</cx:pt>
          <cx:pt idx="44779">4</cx:pt>
          <cx:pt idx="44780">3</cx:pt>
          <cx:pt idx="44781">5</cx:pt>
          <cx:pt idx="44782">4</cx:pt>
          <cx:pt idx="44783">5</cx:pt>
          <cx:pt idx="44784">4</cx:pt>
          <cx:pt idx="44785">4</cx:pt>
          <cx:pt idx="44786">1</cx:pt>
          <cx:pt idx="44787">4</cx:pt>
          <cx:pt idx="44788">5</cx:pt>
          <cx:pt idx="44789">5</cx:pt>
          <cx:pt idx="44790">4</cx:pt>
          <cx:pt idx="44791">2</cx:pt>
          <cx:pt idx="44792">4</cx:pt>
          <cx:pt idx="44793">1</cx:pt>
          <cx:pt idx="44794">4</cx:pt>
          <cx:pt idx="44795">4</cx:pt>
          <cx:pt idx="44796">5</cx:pt>
          <cx:pt idx="44797">3</cx:pt>
          <cx:pt idx="44798">4</cx:pt>
          <cx:pt idx="44799">3</cx:pt>
          <cx:pt idx="44800">5</cx:pt>
          <cx:pt idx="44801">4</cx:pt>
          <cx:pt idx="44802">2</cx:pt>
          <cx:pt idx="44803">4</cx:pt>
          <cx:pt idx="44804">5</cx:pt>
          <cx:pt idx="44805">4</cx:pt>
          <cx:pt idx="44806">4</cx:pt>
          <cx:pt idx="44807">5</cx:pt>
          <cx:pt idx="44808">4</cx:pt>
          <cx:pt idx="44809">4</cx:pt>
          <cx:pt idx="44810">1</cx:pt>
          <cx:pt idx="44811">1</cx:pt>
          <cx:pt idx="44812">4</cx:pt>
          <cx:pt idx="44813">4</cx:pt>
          <cx:pt idx="44814">1</cx:pt>
          <cx:pt idx="44815">5</cx:pt>
          <cx:pt idx="44816">5</cx:pt>
          <cx:pt idx="44817">3</cx:pt>
          <cx:pt idx="44818">5</cx:pt>
          <cx:pt idx="44819">4</cx:pt>
          <cx:pt idx="44820">4</cx:pt>
          <cx:pt idx="44821">2</cx:pt>
          <cx:pt idx="44822">5</cx:pt>
          <cx:pt idx="44823">1</cx:pt>
          <cx:pt idx="44824">3</cx:pt>
          <cx:pt idx="44825">1</cx:pt>
          <cx:pt idx="44826">4</cx:pt>
          <cx:pt idx="44827">4</cx:pt>
          <cx:pt idx="44828">4</cx:pt>
          <cx:pt idx="44829">2</cx:pt>
          <cx:pt idx="44830">4</cx:pt>
          <cx:pt idx="44831">2</cx:pt>
          <cx:pt idx="44832">5</cx:pt>
          <cx:pt idx="44833">4</cx:pt>
          <cx:pt idx="44834">4</cx:pt>
          <cx:pt idx="44835">4</cx:pt>
          <cx:pt idx="44836">5</cx:pt>
          <cx:pt idx="44837">1</cx:pt>
          <cx:pt idx="44838">5</cx:pt>
          <cx:pt idx="44839">2</cx:pt>
          <cx:pt idx="44840">4</cx:pt>
          <cx:pt idx="44841">3</cx:pt>
          <cx:pt idx="44842">2</cx:pt>
          <cx:pt idx="44843">4</cx:pt>
          <cx:pt idx="44844">4</cx:pt>
          <cx:pt idx="44845">4</cx:pt>
          <cx:pt idx="44846">5</cx:pt>
          <cx:pt idx="44847">3</cx:pt>
          <cx:pt idx="44848">2</cx:pt>
          <cx:pt idx="44849">5</cx:pt>
          <cx:pt idx="44850">4</cx:pt>
          <cx:pt idx="44851">2</cx:pt>
          <cx:pt idx="44852">4</cx:pt>
          <cx:pt idx="44853">2</cx:pt>
          <cx:pt idx="44854">1</cx:pt>
          <cx:pt idx="44855">5</cx:pt>
          <cx:pt idx="44856">5</cx:pt>
          <cx:pt idx="44857">5</cx:pt>
          <cx:pt idx="44858">4</cx:pt>
          <cx:pt idx="44859">3</cx:pt>
          <cx:pt idx="44860">3</cx:pt>
          <cx:pt idx="44861">2</cx:pt>
          <cx:pt idx="44862">4</cx:pt>
          <cx:pt idx="44863">2</cx:pt>
          <cx:pt idx="44864">4</cx:pt>
          <cx:pt idx="44865">3</cx:pt>
          <cx:pt idx="44866">3</cx:pt>
          <cx:pt idx="44867">2</cx:pt>
          <cx:pt idx="44868">1</cx:pt>
          <cx:pt idx="44869">2</cx:pt>
          <cx:pt idx="44870">3</cx:pt>
          <cx:pt idx="44871">5</cx:pt>
          <cx:pt idx="44872">4</cx:pt>
          <cx:pt idx="44873">3</cx:pt>
          <cx:pt idx="44874">1</cx:pt>
          <cx:pt idx="44875">3</cx:pt>
          <cx:pt idx="44876">2</cx:pt>
          <cx:pt idx="44877">5</cx:pt>
          <cx:pt idx="44878">3</cx:pt>
          <cx:pt idx="44879">1</cx:pt>
          <cx:pt idx="44880">5</cx:pt>
          <cx:pt idx="44881">3</cx:pt>
          <cx:pt idx="44882">4</cx:pt>
          <cx:pt idx="44883">3</cx:pt>
          <cx:pt idx="44884">3</cx:pt>
          <cx:pt idx="44885">5</cx:pt>
          <cx:pt idx="44886">4</cx:pt>
          <cx:pt idx="44887">4</cx:pt>
          <cx:pt idx="44888">1</cx:pt>
          <cx:pt idx="44889">2</cx:pt>
          <cx:pt idx="44890">1</cx:pt>
          <cx:pt idx="44891">4</cx:pt>
          <cx:pt idx="44892">3</cx:pt>
          <cx:pt idx="44893">4</cx:pt>
          <cx:pt idx="44894">3</cx:pt>
          <cx:pt idx="44895">2</cx:pt>
          <cx:pt idx="44896">5</cx:pt>
          <cx:pt idx="44897">5</cx:pt>
          <cx:pt idx="44898">4</cx:pt>
          <cx:pt idx="44899">3</cx:pt>
          <cx:pt idx="44900">2</cx:pt>
          <cx:pt idx="44901">3</cx:pt>
          <cx:pt idx="44902">3</cx:pt>
          <cx:pt idx="44903">5</cx:pt>
          <cx:pt idx="44904">5</cx:pt>
          <cx:pt idx="44905">1</cx:pt>
          <cx:pt idx="44906">1</cx:pt>
          <cx:pt idx="44907">1</cx:pt>
          <cx:pt idx="44908">1</cx:pt>
          <cx:pt idx="44909">4</cx:pt>
          <cx:pt idx="44910">3</cx:pt>
          <cx:pt idx="44911">4</cx:pt>
          <cx:pt idx="44912">4</cx:pt>
          <cx:pt idx="44913">4</cx:pt>
          <cx:pt idx="44914">5</cx:pt>
          <cx:pt idx="44915">4</cx:pt>
          <cx:pt idx="44916">5</cx:pt>
          <cx:pt idx="44917">3</cx:pt>
          <cx:pt idx="44918">1</cx:pt>
          <cx:pt idx="44919">5</cx:pt>
          <cx:pt idx="44920">4</cx:pt>
          <cx:pt idx="44921">3</cx:pt>
          <cx:pt idx="44922">2</cx:pt>
          <cx:pt idx="44923">3</cx:pt>
          <cx:pt idx="44924">4</cx:pt>
          <cx:pt idx="44925">5</cx:pt>
          <cx:pt idx="44926">2</cx:pt>
          <cx:pt idx="44927">5</cx:pt>
          <cx:pt idx="44928">4</cx:pt>
          <cx:pt idx="44929">3</cx:pt>
          <cx:pt idx="44930">4</cx:pt>
          <cx:pt idx="44931">3</cx:pt>
          <cx:pt idx="44932">4</cx:pt>
          <cx:pt idx="44933">4</cx:pt>
          <cx:pt idx="44934">5</cx:pt>
          <cx:pt idx="44935">5</cx:pt>
          <cx:pt idx="44936">5</cx:pt>
          <cx:pt idx="44937">4</cx:pt>
          <cx:pt idx="44938">2</cx:pt>
          <cx:pt idx="44939">5</cx:pt>
          <cx:pt idx="44940">2</cx:pt>
          <cx:pt idx="44941">2</cx:pt>
          <cx:pt idx="44942">4</cx:pt>
          <cx:pt idx="44943">5</cx:pt>
          <cx:pt idx="44944">4</cx:pt>
          <cx:pt idx="44945">4</cx:pt>
          <cx:pt idx="44946">4</cx:pt>
          <cx:pt idx="44947">3</cx:pt>
          <cx:pt idx="44948">3</cx:pt>
          <cx:pt idx="44949">4</cx:pt>
          <cx:pt idx="44950">4</cx:pt>
          <cx:pt idx="44951">1</cx:pt>
          <cx:pt idx="44952">3</cx:pt>
          <cx:pt idx="44953">1</cx:pt>
          <cx:pt idx="44954">1</cx:pt>
          <cx:pt idx="44955">4</cx:pt>
          <cx:pt idx="44956">5</cx:pt>
          <cx:pt idx="44957">2</cx:pt>
          <cx:pt idx="44958">2</cx:pt>
          <cx:pt idx="44959">4</cx:pt>
          <cx:pt idx="44960">2</cx:pt>
          <cx:pt idx="44961">4</cx:pt>
          <cx:pt idx="44962">5</cx:pt>
          <cx:pt idx="44963">3</cx:pt>
          <cx:pt idx="44964">4</cx:pt>
          <cx:pt idx="44965">5</cx:pt>
          <cx:pt idx="44966">4</cx:pt>
          <cx:pt idx="44967">5</cx:pt>
          <cx:pt idx="44968">3</cx:pt>
          <cx:pt idx="44969">5</cx:pt>
          <cx:pt idx="44970">2</cx:pt>
          <cx:pt idx="44971">5</cx:pt>
          <cx:pt idx="44972">2</cx:pt>
          <cx:pt idx="44973">4</cx:pt>
          <cx:pt idx="44974">5</cx:pt>
          <cx:pt idx="44975">3</cx:pt>
          <cx:pt idx="44976">5</cx:pt>
          <cx:pt idx="44977">4</cx:pt>
          <cx:pt idx="44978">5</cx:pt>
          <cx:pt idx="44979">2</cx:pt>
          <cx:pt idx="44980">2</cx:pt>
          <cx:pt idx="44981">5</cx:pt>
          <cx:pt idx="44982">2</cx:pt>
          <cx:pt idx="44983">1</cx:pt>
          <cx:pt idx="44984">3</cx:pt>
          <cx:pt idx="44985">3</cx:pt>
          <cx:pt idx="44986">5</cx:pt>
          <cx:pt idx="44987">5</cx:pt>
          <cx:pt idx="44988">4</cx:pt>
          <cx:pt idx="44989">1</cx:pt>
          <cx:pt idx="44990">3</cx:pt>
          <cx:pt idx="44991">4</cx:pt>
          <cx:pt idx="44992">4</cx:pt>
          <cx:pt idx="44993">3</cx:pt>
          <cx:pt idx="44994">5</cx:pt>
          <cx:pt idx="44995">1</cx:pt>
          <cx:pt idx="44996">5</cx:pt>
          <cx:pt idx="44997">3</cx:pt>
          <cx:pt idx="44998">3</cx:pt>
          <cx:pt idx="44999">4</cx:pt>
          <cx:pt idx="45000">3</cx:pt>
          <cx:pt idx="45001">4</cx:pt>
          <cx:pt idx="45002">5</cx:pt>
          <cx:pt idx="45003">3</cx:pt>
          <cx:pt idx="45004">5</cx:pt>
          <cx:pt idx="45005">1</cx:pt>
          <cx:pt idx="45006">5</cx:pt>
          <cx:pt idx="45007">5</cx:pt>
          <cx:pt idx="45008">4</cx:pt>
          <cx:pt idx="45009">2</cx:pt>
          <cx:pt idx="45010">4</cx:pt>
          <cx:pt idx="45011">2</cx:pt>
          <cx:pt idx="45012">5</cx:pt>
          <cx:pt idx="45013">5</cx:pt>
          <cx:pt idx="45014">1</cx:pt>
          <cx:pt idx="45015">1</cx:pt>
          <cx:pt idx="45016">4</cx:pt>
          <cx:pt idx="45017">5</cx:pt>
          <cx:pt idx="45018">4</cx:pt>
          <cx:pt idx="45019">5</cx:pt>
          <cx:pt idx="45020">3</cx:pt>
          <cx:pt idx="45021">5</cx:pt>
          <cx:pt idx="45022">2</cx:pt>
          <cx:pt idx="45023">5</cx:pt>
          <cx:pt idx="45024">5</cx:pt>
          <cx:pt idx="45025">5</cx:pt>
          <cx:pt idx="45026">3</cx:pt>
          <cx:pt idx="45027">4</cx:pt>
          <cx:pt idx="45028">4</cx:pt>
          <cx:pt idx="45029">5</cx:pt>
          <cx:pt idx="45030">4</cx:pt>
          <cx:pt idx="45031">2</cx:pt>
          <cx:pt idx="45032">4</cx:pt>
          <cx:pt idx="45033">4</cx:pt>
          <cx:pt idx="45034">2</cx:pt>
          <cx:pt idx="45035">2</cx:pt>
          <cx:pt idx="45036">2</cx:pt>
          <cx:pt idx="45037">3</cx:pt>
          <cx:pt idx="45038">1</cx:pt>
          <cx:pt idx="45039">3</cx:pt>
          <cx:pt idx="45040">2</cx:pt>
          <cx:pt idx="45041">3</cx:pt>
          <cx:pt idx="45042">1</cx:pt>
          <cx:pt idx="45043">4</cx:pt>
          <cx:pt idx="45044">3</cx:pt>
          <cx:pt idx="45045">4</cx:pt>
          <cx:pt idx="45046">3</cx:pt>
          <cx:pt idx="45047">5</cx:pt>
          <cx:pt idx="45048">4</cx:pt>
          <cx:pt idx="45049">2</cx:pt>
          <cx:pt idx="45050">4</cx:pt>
          <cx:pt idx="45051">4</cx:pt>
          <cx:pt idx="45052">2</cx:pt>
          <cx:pt idx="45053">4</cx:pt>
          <cx:pt idx="45054">4</cx:pt>
          <cx:pt idx="45055">5</cx:pt>
          <cx:pt idx="45056">2</cx:pt>
          <cx:pt idx="45057">5</cx:pt>
          <cx:pt idx="45058">2</cx:pt>
          <cx:pt idx="45059">4</cx:pt>
          <cx:pt idx="45060">2</cx:pt>
          <cx:pt idx="45061">3</cx:pt>
          <cx:pt idx="45062">5</cx:pt>
          <cx:pt idx="45063">5</cx:pt>
          <cx:pt idx="45064">4</cx:pt>
          <cx:pt idx="45065">2</cx:pt>
          <cx:pt idx="45066">1</cx:pt>
          <cx:pt idx="45067">1</cx:pt>
          <cx:pt idx="45068">5</cx:pt>
          <cx:pt idx="45069">4</cx:pt>
          <cx:pt idx="45070">2</cx:pt>
          <cx:pt idx="45071">4</cx:pt>
          <cx:pt idx="45072">4</cx:pt>
          <cx:pt idx="45073">1</cx:pt>
          <cx:pt idx="45074">2</cx:pt>
          <cx:pt idx="45075">3</cx:pt>
          <cx:pt idx="45076">5</cx:pt>
          <cx:pt idx="45077">4</cx:pt>
          <cx:pt idx="45078">5</cx:pt>
          <cx:pt idx="45079">1</cx:pt>
          <cx:pt idx="45080">1</cx:pt>
          <cx:pt idx="45081">5</cx:pt>
          <cx:pt idx="45082">4</cx:pt>
          <cx:pt idx="45083">4</cx:pt>
          <cx:pt idx="45084">3</cx:pt>
          <cx:pt idx="45085">3</cx:pt>
          <cx:pt idx="45086">3</cx:pt>
          <cx:pt idx="45087">5</cx:pt>
          <cx:pt idx="45088">4</cx:pt>
          <cx:pt idx="45089">1</cx:pt>
          <cx:pt idx="45090">4</cx:pt>
          <cx:pt idx="45091">4</cx:pt>
          <cx:pt idx="45092">5</cx:pt>
          <cx:pt idx="45093">4</cx:pt>
          <cx:pt idx="45094">3</cx:pt>
          <cx:pt idx="45095">4</cx:pt>
          <cx:pt idx="45096">2</cx:pt>
          <cx:pt idx="45097">4</cx:pt>
          <cx:pt idx="45098">4</cx:pt>
          <cx:pt idx="45099">3</cx:pt>
          <cx:pt idx="45100">5</cx:pt>
          <cx:pt idx="45101">4</cx:pt>
          <cx:pt idx="45102">1</cx:pt>
          <cx:pt idx="45103">1</cx:pt>
          <cx:pt idx="45104">4</cx:pt>
          <cx:pt idx="45105">5</cx:pt>
          <cx:pt idx="45106">1</cx:pt>
          <cx:pt idx="45107">5</cx:pt>
          <cx:pt idx="45108">5</cx:pt>
          <cx:pt idx="45109">4</cx:pt>
          <cx:pt idx="45110">3</cx:pt>
          <cx:pt idx="45111">4</cx:pt>
          <cx:pt idx="45112">4</cx:pt>
          <cx:pt idx="45113">4</cx:pt>
          <cx:pt idx="45114">3</cx:pt>
          <cx:pt idx="45115">1</cx:pt>
          <cx:pt idx="45116">5</cx:pt>
          <cx:pt idx="45117">4</cx:pt>
          <cx:pt idx="45118">2</cx:pt>
          <cx:pt idx="45119">4</cx:pt>
          <cx:pt idx="45120">5</cx:pt>
          <cx:pt idx="45121">3</cx:pt>
          <cx:pt idx="45122">3</cx:pt>
          <cx:pt idx="45123">3</cx:pt>
          <cx:pt idx="45124">3</cx:pt>
          <cx:pt idx="45125">3</cx:pt>
          <cx:pt idx="45126">4</cx:pt>
          <cx:pt idx="45127">4</cx:pt>
          <cx:pt idx="45128">4</cx:pt>
          <cx:pt idx="45129">4</cx:pt>
          <cx:pt idx="45130">1</cx:pt>
          <cx:pt idx="45131">3</cx:pt>
          <cx:pt idx="45132">2</cx:pt>
          <cx:pt idx="45133">3</cx:pt>
          <cx:pt idx="45134">4</cx:pt>
          <cx:pt idx="45135">2</cx:pt>
          <cx:pt idx="45136">4</cx:pt>
          <cx:pt idx="45137">4</cx:pt>
          <cx:pt idx="45138">3</cx:pt>
          <cx:pt idx="45139">2</cx:pt>
          <cx:pt idx="45140">4</cx:pt>
          <cx:pt idx="45141">4</cx:pt>
          <cx:pt idx="45142">1</cx:pt>
          <cx:pt idx="45143">3</cx:pt>
          <cx:pt idx="45144">4</cx:pt>
          <cx:pt idx="45145">5</cx:pt>
          <cx:pt idx="45146">4</cx:pt>
          <cx:pt idx="45147">5</cx:pt>
          <cx:pt idx="45148">3</cx:pt>
          <cx:pt idx="45149">5</cx:pt>
          <cx:pt idx="45150">4</cx:pt>
          <cx:pt idx="45151">3</cx:pt>
          <cx:pt idx="45152">3</cx:pt>
          <cx:pt idx="45153">4</cx:pt>
          <cx:pt idx="45154">3</cx:pt>
          <cx:pt idx="45155">1</cx:pt>
          <cx:pt idx="45156">4</cx:pt>
          <cx:pt idx="45157">2</cx:pt>
          <cx:pt idx="45158">4</cx:pt>
          <cx:pt idx="45159">3</cx:pt>
          <cx:pt idx="45160">5</cx:pt>
          <cx:pt idx="45161">2</cx:pt>
          <cx:pt idx="45162">2</cx:pt>
          <cx:pt idx="45163">1</cx:pt>
          <cx:pt idx="45164">5</cx:pt>
          <cx:pt idx="45165">5</cx:pt>
          <cx:pt idx="45166">5</cx:pt>
          <cx:pt idx="45167">2</cx:pt>
          <cx:pt idx="45168">5</cx:pt>
          <cx:pt idx="45169">5</cx:pt>
          <cx:pt idx="45170">2</cx:pt>
          <cx:pt idx="45171">4</cx:pt>
          <cx:pt idx="45172">4</cx:pt>
          <cx:pt idx="45173">3</cx:pt>
          <cx:pt idx="45174">5</cx:pt>
          <cx:pt idx="45175">4</cx:pt>
          <cx:pt idx="45176">2</cx:pt>
          <cx:pt idx="45177">5</cx:pt>
          <cx:pt idx="45178">4</cx:pt>
          <cx:pt idx="45179">4</cx:pt>
          <cx:pt idx="45180">5</cx:pt>
          <cx:pt idx="45181">1</cx:pt>
          <cx:pt idx="45182">1</cx:pt>
          <cx:pt idx="45183">3</cx:pt>
          <cx:pt idx="45184">5</cx:pt>
          <cx:pt idx="45185">5</cx:pt>
          <cx:pt idx="45186">5</cx:pt>
          <cx:pt idx="45187">5</cx:pt>
          <cx:pt idx="45188">5</cx:pt>
          <cx:pt idx="45189">5</cx:pt>
          <cx:pt idx="45190">2</cx:pt>
          <cx:pt idx="45191">3</cx:pt>
          <cx:pt idx="45192">3</cx:pt>
          <cx:pt idx="45193">3</cx:pt>
          <cx:pt idx="45194">3</cx:pt>
          <cx:pt idx="45195">4</cx:pt>
          <cx:pt idx="45196">5</cx:pt>
          <cx:pt idx="45197">4</cx:pt>
          <cx:pt idx="45198">4</cx:pt>
          <cx:pt idx="45199">3</cx:pt>
          <cx:pt idx="45200">4</cx:pt>
          <cx:pt idx="45201">4</cx:pt>
          <cx:pt idx="45202">5</cx:pt>
          <cx:pt idx="45203">4</cx:pt>
          <cx:pt idx="45204">1</cx:pt>
          <cx:pt idx="45205">4</cx:pt>
          <cx:pt idx="45206">1</cx:pt>
          <cx:pt idx="45207">2</cx:pt>
          <cx:pt idx="45208">4</cx:pt>
          <cx:pt idx="45209">4</cx:pt>
          <cx:pt idx="45210">2</cx:pt>
          <cx:pt idx="45211">4</cx:pt>
          <cx:pt idx="45212">5</cx:pt>
          <cx:pt idx="45213">3</cx:pt>
          <cx:pt idx="45214">3</cx:pt>
          <cx:pt idx="45215">5</cx:pt>
          <cx:pt idx="45216">4</cx:pt>
          <cx:pt idx="45217">5</cx:pt>
          <cx:pt idx="45218">4</cx:pt>
          <cx:pt idx="45219">4</cx:pt>
          <cx:pt idx="45220">5</cx:pt>
          <cx:pt idx="45221">3</cx:pt>
          <cx:pt idx="45222">4</cx:pt>
          <cx:pt idx="45223">3</cx:pt>
          <cx:pt idx="45224">4</cx:pt>
          <cx:pt idx="45225">5</cx:pt>
          <cx:pt idx="45226">4</cx:pt>
          <cx:pt idx="45227">5</cx:pt>
          <cx:pt idx="45228">2</cx:pt>
          <cx:pt idx="45229">3</cx:pt>
          <cx:pt idx="45230">4</cx:pt>
          <cx:pt idx="45231">4</cx:pt>
          <cx:pt idx="45232">1</cx:pt>
          <cx:pt idx="45233">4</cx:pt>
          <cx:pt idx="45234">4</cx:pt>
          <cx:pt idx="45235">4</cx:pt>
          <cx:pt idx="45236">4</cx:pt>
          <cx:pt idx="45237">4</cx:pt>
          <cx:pt idx="45238">4</cx:pt>
          <cx:pt idx="45239">3</cx:pt>
          <cx:pt idx="45240">2</cx:pt>
          <cx:pt idx="45241">3</cx:pt>
          <cx:pt idx="45242">4</cx:pt>
          <cx:pt idx="45243">4</cx:pt>
          <cx:pt idx="45244">5</cx:pt>
          <cx:pt idx="45245">1</cx:pt>
          <cx:pt idx="45246">2</cx:pt>
          <cx:pt idx="45247">5</cx:pt>
          <cx:pt idx="45248">3</cx:pt>
          <cx:pt idx="45249">2</cx:pt>
          <cx:pt idx="45250">2</cx:pt>
          <cx:pt idx="45251">3</cx:pt>
          <cx:pt idx="45252">5</cx:pt>
          <cx:pt idx="45253">1</cx:pt>
          <cx:pt idx="45254">1</cx:pt>
          <cx:pt idx="45255">3</cx:pt>
          <cx:pt idx="45256">4</cx:pt>
          <cx:pt idx="45257">2</cx:pt>
          <cx:pt idx="45258">3</cx:pt>
          <cx:pt idx="45259">2</cx:pt>
          <cx:pt idx="45260">5</cx:pt>
          <cx:pt idx="45261">5</cx:pt>
          <cx:pt idx="45262">2</cx:pt>
          <cx:pt idx="45263">3</cx:pt>
          <cx:pt idx="45264">4</cx:pt>
          <cx:pt idx="45265">1</cx:pt>
          <cx:pt idx="45266">1</cx:pt>
          <cx:pt idx="45267">1</cx:pt>
          <cx:pt idx="45268">2</cx:pt>
          <cx:pt idx="45269">4</cx:pt>
          <cx:pt idx="45270">1</cx:pt>
          <cx:pt idx="45271">5</cx:pt>
          <cx:pt idx="45272">3</cx:pt>
          <cx:pt idx="45273">1</cx:pt>
          <cx:pt idx="45274">4</cx:pt>
          <cx:pt idx="45275">2</cx:pt>
          <cx:pt idx="45276">4</cx:pt>
          <cx:pt idx="45277">3</cx:pt>
          <cx:pt idx="45278">3</cx:pt>
          <cx:pt idx="45279">4</cx:pt>
          <cx:pt idx="45280">2</cx:pt>
          <cx:pt idx="45281">2</cx:pt>
          <cx:pt idx="45282">1</cx:pt>
          <cx:pt idx="45283">2</cx:pt>
          <cx:pt idx="45284">2</cx:pt>
          <cx:pt idx="45285">4</cx:pt>
          <cx:pt idx="45286">2</cx:pt>
          <cx:pt idx="45287">2</cx:pt>
          <cx:pt idx="45288">4</cx:pt>
          <cx:pt idx="45289">2</cx:pt>
          <cx:pt idx="45290">1</cx:pt>
          <cx:pt idx="45291">3</cx:pt>
          <cx:pt idx="45292">1</cx:pt>
          <cx:pt idx="45293">2</cx:pt>
          <cx:pt idx="45294">1</cx:pt>
          <cx:pt idx="45295">4</cx:pt>
          <cx:pt idx="45296">1</cx:pt>
          <cx:pt idx="45297">5</cx:pt>
          <cx:pt idx="45298">4</cx:pt>
          <cx:pt idx="45299">3</cx:pt>
          <cx:pt idx="45300">4</cx:pt>
          <cx:pt idx="45301">4</cx:pt>
          <cx:pt idx="45302">3</cx:pt>
          <cx:pt idx="45303">5</cx:pt>
          <cx:pt idx="45304">4</cx:pt>
          <cx:pt idx="45305">4</cx:pt>
          <cx:pt idx="45306">1</cx:pt>
          <cx:pt idx="45307">5</cx:pt>
          <cx:pt idx="45308">3</cx:pt>
          <cx:pt idx="45309">3</cx:pt>
          <cx:pt idx="45310">5</cx:pt>
          <cx:pt idx="45311">3</cx:pt>
          <cx:pt idx="45312">4</cx:pt>
          <cx:pt idx="45313">4</cx:pt>
          <cx:pt idx="45314">3</cx:pt>
          <cx:pt idx="45315">3</cx:pt>
          <cx:pt idx="45316">4</cx:pt>
          <cx:pt idx="45317">4</cx:pt>
          <cx:pt idx="45318">2</cx:pt>
          <cx:pt idx="45319">2</cx:pt>
          <cx:pt idx="45320">2</cx:pt>
          <cx:pt idx="45321">3</cx:pt>
          <cx:pt idx="45322">4</cx:pt>
          <cx:pt idx="45323">3</cx:pt>
          <cx:pt idx="45324">3</cx:pt>
          <cx:pt idx="45325">4</cx:pt>
          <cx:pt idx="45326">5</cx:pt>
          <cx:pt idx="45327">2</cx:pt>
          <cx:pt idx="45328">4</cx:pt>
          <cx:pt idx="45329">5</cx:pt>
          <cx:pt idx="45330">5</cx:pt>
          <cx:pt idx="45331">2</cx:pt>
          <cx:pt idx="45332">2</cx:pt>
          <cx:pt idx="45333">4</cx:pt>
          <cx:pt idx="45334">4</cx:pt>
          <cx:pt idx="45335">3</cx:pt>
          <cx:pt idx="45336">5</cx:pt>
          <cx:pt idx="45337">4</cx:pt>
          <cx:pt idx="45338">1</cx:pt>
          <cx:pt idx="45339">5</cx:pt>
          <cx:pt idx="45340">4</cx:pt>
          <cx:pt idx="45341">3</cx:pt>
          <cx:pt idx="45342">1</cx:pt>
          <cx:pt idx="45343">5</cx:pt>
          <cx:pt idx="45344">2</cx:pt>
          <cx:pt idx="45345">2</cx:pt>
          <cx:pt idx="45346">5</cx:pt>
          <cx:pt idx="45347">1</cx:pt>
          <cx:pt idx="45348">4</cx:pt>
          <cx:pt idx="45349">4</cx:pt>
          <cx:pt idx="45350">1</cx:pt>
          <cx:pt idx="45351">4</cx:pt>
          <cx:pt idx="45352">2</cx:pt>
          <cx:pt idx="45353">4</cx:pt>
          <cx:pt idx="45354">4</cx:pt>
          <cx:pt idx="45355">4</cx:pt>
          <cx:pt idx="45356">4</cx:pt>
          <cx:pt idx="45357">3</cx:pt>
          <cx:pt idx="45358">4</cx:pt>
          <cx:pt idx="45359">5</cx:pt>
          <cx:pt idx="45360">4</cx:pt>
          <cx:pt idx="45361">5</cx:pt>
          <cx:pt idx="45362">5</cx:pt>
          <cx:pt idx="45363">2</cx:pt>
          <cx:pt idx="45364">3</cx:pt>
          <cx:pt idx="45365">4</cx:pt>
          <cx:pt idx="45366">2</cx:pt>
          <cx:pt idx="45367">3</cx:pt>
          <cx:pt idx="45368">3</cx:pt>
          <cx:pt idx="45369">3</cx:pt>
          <cx:pt idx="45370">5</cx:pt>
          <cx:pt idx="45371">2</cx:pt>
          <cx:pt idx="45372">3</cx:pt>
          <cx:pt idx="45373">1</cx:pt>
          <cx:pt idx="45374">5</cx:pt>
          <cx:pt idx="45375">1</cx:pt>
          <cx:pt idx="45376">3</cx:pt>
          <cx:pt idx="45377">5</cx:pt>
          <cx:pt idx="45378">1</cx:pt>
          <cx:pt idx="45379">4</cx:pt>
          <cx:pt idx="45380">5</cx:pt>
          <cx:pt idx="45381">5</cx:pt>
          <cx:pt idx="45382">4</cx:pt>
          <cx:pt idx="45383">4</cx:pt>
          <cx:pt idx="45384">4</cx:pt>
          <cx:pt idx="45385">3</cx:pt>
          <cx:pt idx="45386">4</cx:pt>
          <cx:pt idx="45387">5</cx:pt>
          <cx:pt idx="45388">5</cx:pt>
          <cx:pt idx="45389">5</cx:pt>
          <cx:pt idx="45390">5</cx:pt>
          <cx:pt idx="45391">4</cx:pt>
          <cx:pt idx="45392">1</cx:pt>
          <cx:pt idx="45393">4</cx:pt>
          <cx:pt idx="45394">2</cx:pt>
          <cx:pt idx="45395">4</cx:pt>
          <cx:pt idx="45396">1</cx:pt>
          <cx:pt idx="45397">5</cx:pt>
          <cx:pt idx="45398">5</cx:pt>
          <cx:pt idx="45399">5</cx:pt>
          <cx:pt idx="45400">3</cx:pt>
          <cx:pt idx="45401">5</cx:pt>
          <cx:pt idx="45402">5</cx:pt>
          <cx:pt idx="45403">5</cx:pt>
          <cx:pt idx="45404">3</cx:pt>
          <cx:pt idx="45405">2</cx:pt>
          <cx:pt idx="45406">3</cx:pt>
          <cx:pt idx="45407">3</cx:pt>
          <cx:pt idx="45408">5</cx:pt>
          <cx:pt idx="45409">5</cx:pt>
          <cx:pt idx="45410">4</cx:pt>
          <cx:pt idx="45411">3</cx:pt>
          <cx:pt idx="45412">2</cx:pt>
          <cx:pt idx="45413">4</cx:pt>
          <cx:pt idx="45414">5</cx:pt>
          <cx:pt idx="45415">3</cx:pt>
          <cx:pt idx="45416">5</cx:pt>
          <cx:pt idx="45417">5</cx:pt>
          <cx:pt idx="45418">3</cx:pt>
          <cx:pt idx="45419">4</cx:pt>
          <cx:pt idx="45420">3</cx:pt>
          <cx:pt idx="45421">4</cx:pt>
          <cx:pt idx="45422">4</cx:pt>
          <cx:pt idx="45423">1</cx:pt>
          <cx:pt idx="45424">4</cx:pt>
          <cx:pt idx="45425">4</cx:pt>
          <cx:pt idx="45426">4</cx:pt>
          <cx:pt idx="45427">3</cx:pt>
          <cx:pt idx="45428">2</cx:pt>
          <cx:pt idx="45429">4</cx:pt>
          <cx:pt idx="45430">5</cx:pt>
          <cx:pt idx="45431">5</cx:pt>
          <cx:pt idx="45432">5</cx:pt>
          <cx:pt idx="45433">5</cx:pt>
          <cx:pt idx="45434">2</cx:pt>
          <cx:pt idx="45435">2</cx:pt>
          <cx:pt idx="45436">1</cx:pt>
          <cx:pt idx="45437">3</cx:pt>
          <cx:pt idx="45438">3</cx:pt>
          <cx:pt idx="45439">2</cx:pt>
          <cx:pt idx="45440">4</cx:pt>
          <cx:pt idx="45441">2</cx:pt>
          <cx:pt idx="45442">5</cx:pt>
          <cx:pt idx="45443">3</cx:pt>
          <cx:pt idx="45444">5</cx:pt>
          <cx:pt idx="45445">2</cx:pt>
          <cx:pt idx="45446">2</cx:pt>
          <cx:pt idx="45447">2</cx:pt>
          <cx:pt idx="45448">5</cx:pt>
          <cx:pt idx="45449">3</cx:pt>
          <cx:pt idx="45450">4</cx:pt>
          <cx:pt idx="45451">1</cx:pt>
          <cx:pt idx="45452">5</cx:pt>
          <cx:pt idx="45453">5</cx:pt>
          <cx:pt idx="45454">3</cx:pt>
          <cx:pt idx="45455">3</cx:pt>
          <cx:pt idx="45456">2</cx:pt>
          <cx:pt idx="45457">5</cx:pt>
          <cx:pt idx="45458">3</cx:pt>
          <cx:pt idx="45459">2</cx:pt>
          <cx:pt idx="45460">3</cx:pt>
          <cx:pt idx="45461">5</cx:pt>
          <cx:pt idx="45462">4</cx:pt>
          <cx:pt idx="45463">4</cx:pt>
          <cx:pt idx="45464">2</cx:pt>
          <cx:pt idx="45465">5</cx:pt>
          <cx:pt idx="45466">5</cx:pt>
          <cx:pt idx="45467">2</cx:pt>
          <cx:pt idx="45468">1</cx:pt>
          <cx:pt idx="45469">4</cx:pt>
          <cx:pt idx="45470">4</cx:pt>
          <cx:pt idx="45471">4</cx:pt>
          <cx:pt idx="45472">3</cx:pt>
          <cx:pt idx="45473">3</cx:pt>
          <cx:pt idx="45474">5</cx:pt>
          <cx:pt idx="45475">2</cx:pt>
          <cx:pt idx="45476">1</cx:pt>
          <cx:pt idx="45477">3</cx:pt>
          <cx:pt idx="45478">3</cx:pt>
          <cx:pt idx="45479">2</cx:pt>
          <cx:pt idx="45480">4</cx:pt>
          <cx:pt idx="45481">3</cx:pt>
          <cx:pt idx="45482">5</cx:pt>
          <cx:pt idx="45483">4</cx:pt>
          <cx:pt idx="45484">1</cx:pt>
          <cx:pt idx="45485">4</cx:pt>
          <cx:pt idx="45486">5</cx:pt>
          <cx:pt idx="45487">3</cx:pt>
          <cx:pt idx="45488">2</cx:pt>
          <cx:pt idx="45489">2</cx:pt>
          <cx:pt idx="45490">5</cx:pt>
          <cx:pt idx="45491">3</cx:pt>
          <cx:pt idx="45492">2</cx:pt>
          <cx:pt idx="45493">3</cx:pt>
          <cx:pt idx="45494">3</cx:pt>
          <cx:pt idx="45495">1</cx:pt>
          <cx:pt idx="45496">2</cx:pt>
          <cx:pt idx="45497">2</cx:pt>
          <cx:pt idx="45498">3</cx:pt>
          <cx:pt idx="45499">3</cx:pt>
          <cx:pt idx="45500">3</cx:pt>
          <cx:pt idx="45501">3</cx:pt>
          <cx:pt idx="45502">1</cx:pt>
          <cx:pt idx="45503">4</cx:pt>
          <cx:pt idx="45504">5</cx:pt>
          <cx:pt idx="45505">2</cx:pt>
          <cx:pt idx="45506">4</cx:pt>
          <cx:pt idx="45507">3</cx:pt>
          <cx:pt idx="45508">2</cx:pt>
          <cx:pt idx="45509">4</cx:pt>
          <cx:pt idx="45510">5</cx:pt>
          <cx:pt idx="45511">4</cx:pt>
          <cx:pt idx="45512">4</cx:pt>
          <cx:pt idx="45513">4</cx:pt>
          <cx:pt idx="45514">1</cx:pt>
          <cx:pt idx="45515">5</cx:pt>
          <cx:pt idx="45516">4</cx:pt>
          <cx:pt idx="45517">4</cx:pt>
          <cx:pt idx="45518">5</cx:pt>
          <cx:pt idx="45519">1</cx:pt>
          <cx:pt idx="45520">3</cx:pt>
          <cx:pt idx="45521">2</cx:pt>
          <cx:pt idx="45522">5</cx:pt>
          <cx:pt idx="45523">3</cx:pt>
          <cx:pt idx="45524">5</cx:pt>
          <cx:pt idx="45525">4</cx:pt>
          <cx:pt idx="45526">3</cx:pt>
          <cx:pt idx="45527">5</cx:pt>
          <cx:pt idx="45528">3</cx:pt>
          <cx:pt idx="45529">2</cx:pt>
          <cx:pt idx="45530">2</cx:pt>
          <cx:pt idx="45531">4</cx:pt>
          <cx:pt idx="45532">4</cx:pt>
          <cx:pt idx="45533">1</cx:pt>
          <cx:pt idx="45534">2</cx:pt>
          <cx:pt idx="45535">5</cx:pt>
          <cx:pt idx="45536">2</cx:pt>
          <cx:pt idx="45537">4</cx:pt>
          <cx:pt idx="45538">3</cx:pt>
          <cx:pt idx="45539">5</cx:pt>
          <cx:pt idx="45540">5</cx:pt>
          <cx:pt idx="45541">5</cx:pt>
          <cx:pt idx="45542">4</cx:pt>
          <cx:pt idx="45543">1</cx:pt>
          <cx:pt idx="45544">5</cx:pt>
          <cx:pt idx="45545">3</cx:pt>
          <cx:pt idx="45546">2</cx:pt>
          <cx:pt idx="45547">5</cx:pt>
          <cx:pt idx="45548">4</cx:pt>
          <cx:pt idx="45549">3</cx:pt>
          <cx:pt idx="45550">3</cx:pt>
          <cx:pt idx="45551">2</cx:pt>
          <cx:pt idx="45552">2</cx:pt>
          <cx:pt idx="45553">5</cx:pt>
          <cx:pt idx="45554">5</cx:pt>
          <cx:pt idx="45555">3</cx:pt>
          <cx:pt idx="45556">5</cx:pt>
          <cx:pt idx="45557">1</cx:pt>
          <cx:pt idx="45558">3</cx:pt>
          <cx:pt idx="45559">1</cx:pt>
          <cx:pt idx="45560">3</cx:pt>
          <cx:pt idx="45561">5</cx:pt>
          <cx:pt idx="45562">5</cx:pt>
          <cx:pt idx="45563">5</cx:pt>
          <cx:pt idx="45564">5</cx:pt>
          <cx:pt idx="45565">4</cx:pt>
          <cx:pt idx="45566">1</cx:pt>
          <cx:pt idx="45567">5</cx:pt>
          <cx:pt idx="45568">2</cx:pt>
          <cx:pt idx="45569">4</cx:pt>
          <cx:pt idx="45570">5</cx:pt>
          <cx:pt idx="45571">2</cx:pt>
          <cx:pt idx="45572">5</cx:pt>
          <cx:pt idx="45573">4</cx:pt>
          <cx:pt idx="45574">1</cx:pt>
          <cx:pt idx="45575">2</cx:pt>
          <cx:pt idx="45576">2</cx:pt>
          <cx:pt idx="45577">4</cx:pt>
          <cx:pt idx="45578">3</cx:pt>
          <cx:pt idx="45579">4</cx:pt>
          <cx:pt idx="45580">5</cx:pt>
          <cx:pt idx="45581">4</cx:pt>
          <cx:pt idx="45582">5</cx:pt>
          <cx:pt idx="45583">4</cx:pt>
          <cx:pt idx="45584">1</cx:pt>
          <cx:pt idx="45585">4</cx:pt>
          <cx:pt idx="45586">3</cx:pt>
          <cx:pt idx="45587">1</cx:pt>
          <cx:pt idx="45588">3</cx:pt>
          <cx:pt idx="45589">4</cx:pt>
          <cx:pt idx="45590">4</cx:pt>
          <cx:pt idx="45591">5</cx:pt>
          <cx:pt idx="45592">5</cx:pt>
          <cx:pt idx="45593">1</cx:pt>
          <cx:pt idx="45594">5</cx:pt>
          <cx:pt idx="45595">3</cx:pt>
          <cx:pt idx="45596">2</cx:pt>
          <cx:pt idx="45597">1</cx:pt>
          <cx:pt idx="45598">4</cx:pt>
          <cx:pt idx="45599">4</cx:pt>
          <cx:pt idx="45600">4</cx:pt>
          <cx:pt idx="45601">3</cx:pt>
          <cx:pt idx="45602">2</cx:pt>
          <cx:pt idx="45603">1</cx:pt>
          <cx:pt idx="45604">4</cx:pt>
          <cx:pt idx="45605">5</cx:pt>
          <cx:pt idx="45606">5</cx:pt>
          <cx:pt idx="45607">4</cx:pt>
          <cx:pt idx="45608">5</cx:pt>
          <cx:pt idx="45609">5</cx:pt>
          <cx:pt idx="45610">4</cx:pt>
          <cx:pt idx="45611">2</cx:pt>
          <cx:pt idx="45612">3</cx:pt>
          <cx:pt idx="45613">4</cx:pt>
          <cx:pt idx="45614">4</cx:pt>
          <cx:pt idx="45615">3</cx:pt>
          <cx:pt idx="45616">2</cx:pt>
          <cx:pt idx="45617">5</cx:pt>
          <cx:pt idx="45618">2</cx:pt>
          <cx:pt idx="45619">4</cx:pt>
          <cx:pt idx="45620">2</cx:pt>
          <cx:pt idx="45621">4</cx:pt>
          <cx:pt idx="45622">5</cx:pt>
          <cx:pt idx="45623">4</cx:pt>
          <cx:pt idx="45624">4</cx:pt>
          <cx:pt idx="45625">4</cx:pt>
          <cx:pt idx="45626">2</cx:pt>
          <cx:pt idx="45627">5</cx:pt>
          <cx:pt idx="45628">4</cx:pt>
          <cx:pt idx="45629">4</cx:pt>
          <cx:pt idx="45630">1</cx:pt>
          <cx:pt idx="45631">4</cx:pt>
          <cx:pt idx="45632">2</cx:pt>
          <cx:pt idx="45633">1</cx:pt>
          <cx:pt idx="45634">5</cx:pt>
          <cx:pt idx="45635">4</cx:pt>
          <cx:pt idx="45636">4</cx:pt>
          <cx:pt idx="45637">5</cx:pt>
          <cx:pt idx="45638">1</cx:pt>
          <cx:pt idx="45639">4</cx:pt>
          <cx:pt idx="45640">3</cx:pt>
          <cx:pt idx="45641">4</cx:pt>
          <cx:pt idx="45642">5</cx:pt>
          <cx:pt idx="45643">3</cx:pt>
          <cx:pt idx="45644">1</cx:pt>
          <cx:pt idx="45645">4</cx:pt>
          <cx:pt idx="45646">5</cx:pt>
          <cx:pt idx="45647">2</cx:pt>
          <cx:pt idx="45648">2</cx:pt>
          <cx:pt idx="45649">3</cx:pt>
          <cx:pt idx="45650">2</cx:pt>
          <cx:pt idx="45651">2</cx:pt>
          <cx:pt idx="45652">5</cx:pt>
          <cx:pt idx="45653">2</cx:pt>
          <cx:pt idx="45654">5</cx:pt>
          <cx:pt idx="45655">2</cx:pt>
          <cx:pt idx="45656">5</cx:pt>
          <cx:pt idx="45657">4</cx:pt>
          <cx:pt idx="45658">1</cx:pt>
          <cx:pt idx="45659">5</cx:pt>
          <cx:pt idx="45660">4</cx:pt>
          <cx:pt idx="45661">2</cx:pt>
          <cx:pt idx="45662">5</cx:pt>
          <cx:pt idx="45663">4</cx:pt>
          <cx:pt idx="45664">3</cx:pt>
          <cx:pt idx="45665">4</cx:pt>
          <cx:pt idx="45666">5</cx:pt>
          <cx:pt idx="45667">3</cx:pt>
          <cx:pt idx="45668">5</cx:pt>
          <cx:pt idx="45669">5</cx:pt>
          <cx:pt idx="45670">5</cx:pt>
          <cx:pt idx="45671">2</cx:pt>
          <cx:pt idx="45672">5</cx:pt>
          <cx:pt idx="45673">4</cx:pt>
          <cx:pt idx="45674">5</cx:pt>
          <cx:pt idx="45675">3</cx:pt>
          <cx:pt idx="45676">4</cx:pt>
          <cx:pt idx="45677">2</cx:pt>
          <cx:pt idx="45678">4</cx:pt>
          <cx:pt idx="45679">2</cx:pt>
          <cx:pt idx="45680">5</cx:pt>
          <cx:pt idx="45681">5</cx:pt>
          <cx:pt idx="45682">3</cx:pt>
          <cx:pt idx="45683">1</cx:pt>
          <cx:pt idx="45684">4</cx:pt>
          <cx:pt idx="45685">2</cx:pt>
          <cx:pt idx="45686">4</cx:pt>
          <cx:pt idx="45687">4</cx:pt>
          <cx:pt idx="45688">3</cx:pt>
          <cx:pt idx="45689">4</cx:pt>
          <cx:pt idx="45690">4</cx:pt>
          <cx:pt idx="45691">5</cx:pt>
          <cx:pt idx="45692">4</cx:pt>
          <cx:pt idx="45693">3</cx:pt>
          <cx:pt idx="45694">5</cx:pt>
          <cx:pt idx="45695">5</cx:pt>
          <cx:pt idx="45696">2</cx:pt>
          <cx:pt idx="45697">2</cx:pt>
          <cx:pt idx="45698">2</cx:pt>
          <cx:pt idx="45699">3</cx:pt>
          <cx:pt idx="45700">5</cx:pt>
          <cx:pt idx="45701">4</cx:pt>
          <cx:pt idx="45702">4</cx:pt>
          <cx:pt idx="45703">4</cx:pt>
          <cx:pt idx="45704">4</cx:pt>
          <cx:pt idx="45705">4</cx:pt>
          <cx:pt idx="45706">1</cx:pt>
          <cx:pt idx="45707">3</cx:pt>
          <cx:pt idx="45708">2</cx:pt>
          <cx:pt idx="45709">4</cx:pt>
          <cx:pt idx="45710">1</cx:pt>
          <cx:pt idx="45711">3</cx:pt>
          <cx:pt idx="45712">1</cx:pt>
          <cx:pt idx="45713">1</cx:pt>
          <cx:pt idx="45714">4</cx:pt>
          <cx:pt idx="45715">2</cx:pt>
          <cx:pt idx="45716">5</cx:pt>
          <cx:pt idx="45717">1</cx:pt>
          <cx:pt idx="45718">4</cx:pt>
          <cx:pt idx="45719">4</cx:pt>
          <cx:pt idx="45720">5</cx:pt>
          <cx:pt idx="45721">1</cx:pt>
          <cx:pt idx="45722">3</cx:pt>
          <cx:pt idx="45723">1</cx:pt>
          <cx:pt idx="45724">2</cx:pt>
          <cx:pt idx="45725">4</cx:pt>
          <cx:pt idx="45726">3</cx:pt>
          <cx:pt idx="45727">5</cx:pt>
          <cx:pt idx="45728">3</cx:pt>
          <cx:pt idx="45729">4</cx:pt>
          <cx:pt idx="45730">3</cx:pt>
          <cx:pt idx="45731">4</cx:pt>
          <cx:pt idx="45732">1</cx:pt>
          <cx:pt idx="45733">3</cx:pt>
          <cx:pt idx="45734">4</cx:pt>
          <cx:pt idx="45735">5</cx:pt>
          <cx:pt idx="45736">3</cx:pt>
          <cx:pt idx="45737">2</cx:pt>
          <cx:pt idx="45738">5</cx:pt>
          <cx:pt idx="45739">5</cx:pt>
          <cx:pt idx="45740">4</cx:pt>
          <cx:pt idx="45741">4</cx:pt>
          <cx:pt idx="45742">2</cx:pt>
          <cx:pt idx="45743">2</cx:pt>
          <cx:pt idx="45744">5</cx:pt>
          <cx:pt idx="45745">1</cx:pt>
          <cx:pt idx="45746">3</cx:pt>
          <cx:pt idx="45747">3</cx:pt>
          <cx:pt idx="45748">2</cx:pt>
          <cx:pt idx="45749">3</cx:pt>
          <cx:pt idx="45750">4</cx:pt>
          <cx:pt idx="45751">1</cx:pt>
          <cx:pt idx="45752">4</cx:pt>
          <cx:pt idx="45753">4</cx:pt>
          <cx:pt idx="45754">4</cx:pt>
          <cx:pt idx="45755">3</cx:pt>
          <cx:pt idx="45756">5</cx:pt>
          <cx:pt idx="45757">1</cx:pt>
          <cx:pt idx="45758">4</cx:pt>
          <cx:pt idx="45759">3</cx:pt>
          <cx:pt idx="45760">4</cx:pt>
          <cx:pt idx="45761">1</cx:pt>
          <cx:pt idx="45762">5</cx:pt>
          <cx:pt idx="45763">4</cx:pt>
          <cx:pt idx="45764">4</cx:pt>
          <cx:pt idx="45765">3</cx:pt>
          <cx:pt idx="45766">3</cx:pt>
          <cx:pt idx="45767">4</cx:pt>
          <cx:pt idx="45768">4</cx:pt>
          <cx:pt idx="45769">5</cx:pt>
          <cx:pt idx="45770">3</cx:pt>
          <cx:pt idx="45771">4</cx:pt>
          <cx:pt idx="45772">4</cx:pt>
          <cx:pt idx="45773">4</cx:pt>
          <cx:pt idx="45774">3</cx:pt>
          <cx:pt idx="45775">4</cx:pt>
          <cx:pt idx="45776">4</cx:pt>
          <cx:pt idx="45777">5</cx:pt>
          <cx:pt idx="45778">4</cx:pt>
          <cx:pt idx="45779">4</cx:pt>
          <cx:pt idx="45780">4</cx:pt>
          <cx:pt idx="45781">3</cx:pt>
          <cx:pt idx="45782">2</cx:pt>
          <cx:pt idx="45783">5</cx:pt>
          <cx:pt idx="45784">2</cx:pt>
          <cx:pt idx="45785">5</cx:pt>
          <cx:pt idx="45786">4</cx:pt>
          <cx:pt idx="45787">3</cx:pt>
          <cx:pt idx="45788">1</cx:pt>
          <cx:pt idx="45789">5</cx:pt>
          <cx:pt idx="45790">5</cx:pt>
          <cx:pt idx="45791">2</cx:pt>
          <cx:pt idx="45792">4</cx:pt>
          <cx:pt idx="45793">4</cx:pt>
          <cx:pt idx="45794">2</cx:pt>
          <cx:pt idx="45795">5</cx:pt>
          <cx:pt idx="45796">5</cx:pt>
          <cx:pt idx="45797">5</cx:pt>
          <cx:pt idx="45798">2</cx:pt>
          <cx:pt idx="45799">1</cx:pt>
          <cx:pt idx="45800">4</cx:pt>
          <cx:pt idx="45801">4</cx:pt>
          <cx:pt idx="45802">1</cx:pt>
          <cx:pt idx="45803">2</cx:pt>
          <cx:pt idx="45804">3</cx:pt>
          <cx:pt idx="45805">5</cx:pt>
          <cx:pt idx="45806">4</cx:pt>
          <cx:pt idx="45807">5</cx:pt>
          <cx:pt idx="45808">2</cx:pt>
          <cx:pt idx="45809">1</cx:pt>
          <cx:pt idx="45810">5</cx:pt>
          <cx:pt idx="45811">5</cx:pt>
          <cx:pt idx="45812">5</cx:pt>
          <cx:pt idx="45813">1</cx:pt>
          <cx:pt idx="45814">1</cx:pt>
          <cx:pt idx="45815">4</cx:pt>
          <cx:pt idx="45816">1</cx:pt>
          <cx:pt idx="45817">5</cx:pt>
          <cx:pt idx="45818">2</cx:pt>
          <cx:pt idx="45819">5</cx:pt>
          <cx:pt idx="45820">5</cx:pt>
          <cx:pt idx="45821">4</cx:pt>
          <cx:pt idx="45822">3</cx:pt>
          <cx:pt idx="45823">4</cx:pt>
          <cx:pt idx="45824">4</cx:pt>
          <cx:pt idx="45825">1</cx:pt>
          <cx:pt idx="45826">5</cx:pt>
          <cx:pt idx="45827">2</cx:pt>
          <cx:pt idx="45828">2</cx:pt>
          <cx:pt idx="45829">4</cx:pt>
          <cx:pt idx="45830">4</cx:pt>
          <cx:pt idx="45831">4</cx:pt>
          <cx:pt idx="45832">2</cx:pt>
          <cx:pt idx="45833">5</cx:pt>
          <cx:pt idx="45834">4</cx:pt>
          <cx:pt idx="45835">4</cx:pt>
          <cx:pt idx="45836">1</cx:pt>
          <cx:pt idx="45837">3</cx:pt>
          <cx:pt idx="45838">4</cx:pt>
          <cx:pt idx="45839">4</cx:pt>
          <cx:pt idx="45840">2</cx:pt>
          <cx:pt idx="45841">2</cx:pt>
          <cx:pt idx="45842">4</cx:pt>
          <cx:pt idx="45843">3</cx:pt>
          <cx:pt idx="45844">1</cx:pt>
          <cx:pt idx="45845">4</cx:pt>
          <cx:pt idx="45846">4</cx:pt>
          <cx:pt idx="45847">4</cx:pt>
          <cx:pt idx="45848">1</cx:pt>
          <cx:pt idx="45849">4</cx:pt>
          <cx:pt idx="45850">3</cx:pt>
          <cx:pt idx="45851">3</cx:pt>
          <cx:pt idx="45852">3</cx:pt>
          <cx:pt idx="45853">4</cx:pt>
          <cx:pt idx="45854">5</cx:pt>
          <cx:pt idx="45855">5</cx:pt>
          <cx:pt idx="45856">4</cx:pt>
          <cx:pt idx="45857">4</cx:pt>
          <cx:pt idx="45858">2</cx:pt>
          <cx:pt idx="45859">3</cx:pt>
          <cx:pt idx="45860">5</cx:pt>
          <cx:pt idx="45861">3</cx:pt>
          <cx:pt idx="45862">4</cx:pt>
          <cx:pt idx="45863">5</cx:pt>
          <cx:pt idx="45864">3</cx:pt>
          <cx:pt idx="45865">1</cx:pt>
          <cx:pt idx="45866">3</cx:pt>
          <cx:pt idx="45867">3</cx:pt>
          <cx:pt idx="45868">4</cx:pt>
          <cx:pt idx="45869">3</cx:pt>
          <cx:pt idx="45870">5</cx:pt>
          <cx:pt idx="45871">4</cx:pt>
          <cx:pt idx="45872">3</cx:pt>
          <cx:pt idx="45873">2</cx:pt>
          <cx:pt idx="45874">4</cx:pt>
          <cx:pt idx="45875">2</cx:pt>
          <cx:pt idx="45876">4</cx:pt>
          <cx:pt idx="45877">4</cx:pt>
          <cx:pt idx="45878">5</cx:pt>
          <cx:pt idx="45879">3</cx:pt>
          <cx:pt idx="45880">1</cx:pt>
          <cx:pt idx="45881">3</cx:pt>
          <cx:pt idx="45882">4</cx:pt>
          <cx:pt idx="45883">1</cx:pt>
          <cx:pt idx="45884">5</cx:pt>
          <cx:pt idx="45885">1</cx:pt>
          <cx:pt idx="45886">1</cx:pt>
          <cx:pt idx="45887">5</cx:pt>
          <cx:pt idx="45888">2</cx:pt>
          <cx:pt idx="45889">4</cx:pt>
          <cx:pt idx="45890">1</cx:pt>
          <cx:pt idx="45891">5</cx:pt>
          <cx:pt idx="45892">5</cx:pt>
          <cx:pt idx="45893">4</cx:pt>
          <cx:pt idx="45894">2</cx:pt>
          <cx:pt idx="45895">2</cx:pt>
          <cx:pt idx="45896">5</cx:pt>
          <cx:pt idx="45897">2</cx:pt>
          <cx:pt idx="45898">3</cx:pt>
          <cx:pt idx="45899">4</cx:pt>
          <cx:pt idx="45900">5</cx:pt>
          <cx:pt idx="45901">2</cx:pt>
          <cx:pt idx="45902">1</cx:pt>
          <cx:pt idx="45903">5</cx:pt>
          <cx:pt idx="45904">2</cx:pt>
          <cx:pt idx="45905">5</cx:pt>
          <cx:pt idx="45906">4</cx:pt>
          <cx:pt idx="45907">5</cx:pt>
          <cx:pt idx="45908">4</cx:pt>
          <cx:pt idx="45909">1</cx:pt>
          <cx:pt idx="45910">2</cx:pt>
          <cx:pt idx="45911">1</cx:pt>
          <cx:pt idx="45912">5</cx:pt>
          <cx:pt idx="45913">4</cx:pt>
          <cx:pt idx="45914">2</cx:pt>
          <cx:pt idx="45915">4</cx:pt>
          <cx:pt idx="45916">4</cx:pt>
          <cx:pt idx="45917">3</cx:pt>
          <cx:pt idx="45918">5</cx:pt>
          <cx:pt idx="45919">5</cx:pt>
          <cx:pt idx="45920">3</cx:pt>
          <cx:pt idx="45921">2</cx:pt>
          <cx:pt idx="45922">5</cx:pt>
          <cx:pt idx="45923">2</cx:pt>
          <cx:pt idx="45924">5</cx:pt>
          <cx:pt idx="45925">4</cx:pt>
          <cx:pt idx="45926">4</cx:pt>
          <cx:pt idx="45927">5</cx:pt>
          <cx:pt idx="45928">2</cx:pt>
          <cx:pt idx="45929">3</cx:pt>
          <cx:pt idx="45930">1</cx:pt>
          <cx:pt idx="45931">4</cx:pt>
          <cx:pt idx="45932">4</cx:pt>
          <cx:pt idx="45933">5</cx:pt>
          <cx:pt idx="45934">3</cx:pt>
          <cx:pt idx="45935">4</cx:pt>
          <cx:pt idx="45936">2</cx:pt>
          <cx:pt idx="45937">5</cx:pt>
          <cx:pt idx="45938">4</cx:pt>
          <cx:pt idx="45939">3</cx:pt>
          <cx:pt idx="45940">4</cx:pt>
          <cx:pt idx="45941">5</cx:pt>
          <cx:pt idx="45942">1</cx:pt>
          <cx:pt idx="45943">5</cx:pt>
          <cx:pt idx="45944">5</cx:pt>
          <cx:pt idx="45945">1</cx:pt>
          <cx:pt idx="45946">3</cx:pt>
          <cx:pt idx="45947">4</cx:pt>
          <cx:pt idx="45948">5</cx:pt>
          <cx:pt idx="45949">5</cx:pt>
          <cx:pt idx="45950">4</cx:pt>
          <cx:pt idx="45951">5</cx:pt>
          <cx:pt idx="45952">3</cx:pt>
          <cx:pt idx="45953">4</cx:pt>
          <cx:pt idx="45954">3</cx:pt>
          <cx:pt idx="45955">4</cx:pt>
          <cx:pt idx="45956">5</cx:pt>
          <cx:pt idx="45957">5</cx:pt>
          <cx:pt idx="45958">1</cx:pt>
          <cx:pt idx="45959">3</cx:pt>
          <cx:pt idx="45960">3</cx:pt>
          <cx:pt idx="45961">1</cx:pt>
          <cx:pt idx="45962">3</cx:pt>
          <cx:pt idx="45963">4</cx:pt>
          <cx:pt idx="45964">1</cx:pt>
          <cx:pt idx="45965">5</cx:pt>
          <cx:pt idx="45966">4</cx:pt>
          <cx:pt idx="45967">5</cx:pt>
          <cx:pt idx="45968">3</cx:pt>
          <cx:pt idx="45969">5</cx:pt>
          <cx:pt idx="45970">5</cx:pt>
          <cx:pt idx="45971">5</cx:pt>
          <cx:pt idx="45972">4</cx:pt>
          <cx:pt idx="45973">5</cx:pt>
          <cx:pt idx="45974">4</cx:pt>
          <cx:pt idx="45975">4</cx:pt>
          <cx:pt idx="45976">1</cx:pt>
          <cx:pt idx="45977">4</cx:pt>
          <cx:pt idx="45978">4</cx:pt>
          <cx:pt idx="45979">4</cx:pt>
          <cx:pt idx="45980">5</cx:pt>
          <cx:pt idx="45981">2</cx:pt>
          <cx:pt idx="45982">3</cx:pt>
          <cx:pt idx="45983">4</cx:pt>
          <cx:pt idx="45984">2</cx:pt>
          <cx:pt idx="45985">4</cx:pt>
          <cx:pt idx="45986">5</cx:pt>
          <cx:pt idx="45987">5</cx:pt>
          <cx:pt idx="45988">3</cx:pt>
          <cx:pt idx="45989">3</cx:pt>
          <cx:pt idx="45990">3</cx:pt>
          <cx:pt idx="45991">3</cx:pt>
          <cx:pt idx="45992">2</cx:pt>
          <cx:pt idx="45993">4</cx:pt>
          <cx:pt idx="45994">3</cx:pt>
          <cx:pt idx="45995">3</cx:pt>
          <cx:pt idx="45996">4</cx:pt>
          <cx:pt idx="45997">5</cx:pt>
          <cx:pt idx="45998">4</cx:pt>
          <cx:pt idx="45999">5</cx:pt>
          <cx:pt idx="46000">4</cx:pt>
          <cx:pt idx="46001">4</cx:pt>
          <cx:pt idx="46002">4</cx:pt>
          <cx:pt idx="46003">5</cx:pt>
          <cx:pt idx="46004">5</cx:pt>
          <cx:pt idx="46005">5</cx:pt>
          <cx:pt idx="46006">1</cx:pt>
          <cx:pt idx="46007">2</cx:pt>
          <cx:pt idx="46008">4</cx:pt>
          <cx:pt idx="46009">4</cx:pt>
          <cx:pt idx="46010">5</cx:pt>
          <cx:pt idx="46011">1</cx:pt>
          <cx:pt idx="46012">4</cx:pt>
          <cx:pt idx="46013">3</cx:pt>
          <cx:pt idx="46014">5</cx:pt>
          <cx:pt idx="46015">3</cx:pt>
          <cx:pt idx="46016">3</cx:pt>
          <cx:pt idx="46017">3</cx:pt>
          <cx:pt idx="46018">5</cx:pt>
          <cx:pt idx="46019">4</cx:pt>
          <cx:pt idx="46020">1</cx:pt>
          <cx:pt idx="46021">5</cx:pt>
          <cx:pt idx="46022">5</cx:pt>
          <cx:pt idx="46023">4</cx:pt>
          <cx:pt idx="46024">2</cx:pt>
          <cx:pt idx="46025">1</cx:pt>
          <cx:pt idx="46026">4</cx:pt>
          <cx:pt idx="46027">4</cx:pt>
          <cx:pt idx="46028">4</cx:pt>
          <cx:pt idx="46029">4</cx:pt>
          <cx:pt idx="46030">4</cx:pt>
          <cx:pt idx="46031">5</cx:pt>
          <cx:pt idx="46032">4</cx:pt>
          <cx:pt idx="46033">3</cx:pt>
          <cx:pt idx="46034">4</cx:pt>
          <cx:pt idx="46035">5</cx:pt>
          <cx:pt idx="46036">5</cx:pt>
          <cx:pt idx="46037">3</cx:pt>
          <cx:pt idx="46038">3</cx:pt>
          <cx:pt idx="46039">5</cx:pt>
          <cx:pt idx="46040">2</cx:pt>
          <cx:pt idx="46041">1</cx:pt>
          <cx:pt idx="46042">2</cx:pt>
          <cx:pt idx="46043">2</cx:pt>
          <cx:pt idx="46044">1</cx:pt>
          <cx:pt idx="46045">5</cx:pt>
          <cx:pt idx="46046">3</cx:pt>
          <cx:pt idx="46047">4</cx:pt>
          <cx:pt idx="46048">4</cx:pt>
          <cx:pt idx="46049">3</cx:pt>
          <cx:pt idx="46050">4</cx:pt>
          <cx:pt idx="46051">5</cx:pt>
          <cx:pt idx="46052">5</cx:pt>
          <cx:pt idx="46053">5</cx:pt>
          <cx:pt idx="46054">3</cx:pt>
          <cx:pt idx="46055">5</cx:pt>
          <cx:pt idx="46056">1</cx:pt>
          <cx:pt idx="46057">2</cx:pt>
          <cx:pt idx="46058">3</cx:pt>
          <cx:pt idx="46059">4</cx:pt>
          <cx:pt idx="46060">3</cx:pt>
          <cx:pt idx="46061">2</cx:pt>
          <cx:pt idx="46062">5</cx:pt>
          <cx:pt idx="46063">5</cx:pt>
          <cx:pt idx="46064">2</cx:pt>
          <cx:pt idx="46065">5</cx:pt>
          <cx:pt idx="46066">1</cx:pt>
          <cx:pt idx="46067">4</cx:pt>
          <cx:pt idx="46068">2</cx:pt>
          <cx:pt idx="46069">4</cx:pt>
          <cx:pt idx="46070">4</cx:pt>
          <cx:pt idx="46071">5</cx:pt>
          <cx:pt idx="46072">1</cx:pt>
          <cx:pt idx="46073">2</cx:pt>
          <cx:pt idx="46074">5</cx:pt>
          <cx:pt idx="46075">4</cx:pt>
          <cx:pt idx="46076">3</cx:pt>
          <cx:pt idx="46077">5</cx:pt>
          <cx:pt idx="46078">5</cx:pt>
          <cx:pt idx="46079">3</cx:pt>
          <cx:pt idx="46080">4</cx:pt>
          <cx:pt idx="46081">4</cx:pt>
          <cx:pt idx="46082">1</cx:pt>
          <cx:pt idx="46083">3</cx:pt>
          <cx:pt idx="46084">4</cx:pt>
          <cx:pt idx="46085">4</cx:pt>
          <cx:pt idx="46086">5</cx:pt>
          <cx:pt idx="46087">4</cx:pt>
          <cx:pt idx="46088">2</cx:pt>
          <cx:pt idx="46089">3</cx:pt>
          <cx:pt idx="46090">4</cx:pt>
          <cx:pt idx="46091">3</cx:pt>
          <cx:pt idx="46092">1</cx:pt>
          <cx:pt idx="46093">4</cx:pt>
          <cx:pt idx="46094">5</cx:pt>
          <cx:pt idx="46095">3</cx:pt>
          <cx:pt idx="46096">3</cx:pt>
          <cx:pt idx="46097">4</cx:pt>
          <cx:pt idx="46098">5</cx:pt>
          <cx:pt idx="46099">4</cx:pt>
          <cx:pt idx="46100">4</cx:pt>
          <cx:pt idx="46101">4</cx:pt>
          <cx:pt idx="46102">4</cx:pt>
          <cx:pt idx="46103">5</cx:pt>
          <cx:pt idx="46104">4</cx:pt>
          <cx:pt idx="46105">4</cx:pt>
          <cx:pt idx="46106">2</cx:pt>
          <cx:pt idx="46107">4</cx:pt>
          <cx:pt idx="46108">4</cx:pt>
          <cx:pt idx="46109">5</cx:pt>
          <cx:pt idx="46110">1</cx:pt>
          <cx:pt idx="46111">4</cx:pt>
          <cx:pt idx="46112">4</cx:pt>
          <cx:pt idx="46113">4</cx:pt>
          <cx:pt idx="46114">1</cx:pt>
          <cx:pt idx="46115">4</cx:pt>
          <cx:pt idx="46116">2</cx:pt>
          <cx:pt idx="46117">2</cx:pt>
          <cx:pt idx="46118">5</cx:pt>
          <cx:pt idx="46119">4</cx:pt>
          <cx:pt idx="46120">2</cx:pt>
          <cx:pt idx="46121">4</cx:pt>
          <cx:pt idx="46122">5</cx:pt>
          <cx:pt idx="46123">2</cx:pt>
          <cx:pt idx="46124">4</cx:pt>
          <cx:pt idx="46125">2</cx:pt>
          <cx:pt idx="46126">5</cx:pt>
          <cx:pt idx="46127">4</cx:pt>
          <cx:pt idx="46128">4</cx:pt>
          <cx:pt idx="46129">5</cx:pt>
          <cx:pt idx="46130">5</cx:pt>
          <cx:pt idx="46131">4</cx:pt>
          <cx:pt idx="46132">1</cx:pt>
          <cx:pt idx="46133">4</cx:pt>
          <cx:pt idx="46134">5</cx:pt>
          <cx:pt idx="46135">3</cx:pt>
          <cx:pt idx="46136">4</cx:pt>
          <cx:pt idx="46137">5</cx:pt>
          <cx:pt idx="46138">4</cx:pt>
          <cx:pt idx="46139">4</cx:pt>
          <cx:pt idx="46140">5</cx:pt>
          <cx:pt idx="46141">5</cx:pt>
          <cx:pt idx="46142">3</cx:pt>
          <cx:pt idx="46143">4</cx:pt>
          <cx:pt idx="46144">5</cx:pt>
          <cx:pt idx="46145">4</cx:pt>
          <cx:pt idx="46146">5</cx:pt>
          <cx:pt idx="46147">4</cx:pt>
          <cx:pt idx="46148">4</cx:pt>
          <cx:pt idx="46149">1</cx:pt>
          <cx:pt idx="46150">3</cx:pt>
          <cx:pt idx="46151">4</cx:pt>
          <cx:pt idx="46152">4</cx:pt>
          <cx:pt idx="46153">1</cx:pt>
          <cx:pt idx="46154">1</cx:pt>
          <cx:pt idx="46155">3</cx:pt>
          <cx:pt idx="46156">3</cx:pt>
          <cx:pt idx="46157">5</cx:pt>
          <cx:pt idx="46158">3</cx:pt>
          <cx:pt idx="46159">4</cx:pt>
          <cx:pt idx="46160">1</cx:pt>
          <cx:pt idx="46161">1</cx:pt>
          <cx:pt idx="46162">2</cx:pt>
          <cx:pt idx="46163">2</cx:pt>
          <cx:pt idx="46164">4</cx:pt>
          <cx:pt idx="46165">2</cx:pt>
          <cx:pt idx="46166">3</cx:pt>
          <cx:pt idx="46167">2</cx:pt>
          <cx:pt idx="46168">1</cx:pt>
          <cx:pt idx="46169">2</cx:pt>
          <cx:pt idx="46170">4</cx:pt>
          <cx:pt idx="46171">1</cx:pt>
          <cx:pt idx="46172">4</cx:pt>
          <cx:pt idx="46173">1</cx:pt>
          <cx:pt idx="46174">4</cx:pt>
          <cx:pt idx="46175">2</cx:pt>
          <cx:pt idx="46176">3</cx:pt>
          <cx:pt idx="46177">5</cx:pt>
          <cx:pt idx="46178">4</cx:pt>
          <cx:pt idx="46179">5</cx:pt>
          <cx:pt idx="46180">5</cx:pt>
          <cx:pt idx="46181">2</cx:pt>
          <cx:pt idx="46182">4</cx:pt>
          <cx:pt idx="46183">2</cx:pt>
          <cx:pt idx="46184">3</cx:pt>
          <cx:pt idx="46185">2</cx:pt>
          <cx:pt idx="46186">2</cx:pt>
          <cx:pt idx="46187">3</cx:pt>
          <cx:pt idx="46188">4</cx:pt>
          <cx:pt idx="46189">2</cx:pt>
          <cx:pt idx="46190">3</cx:pt>
          <cx:pt idx="46191">4</cx:pt>
          <cx:pt idx="46192">4</cx:pt>
          <cx:pt idx="46193">2</cx:pt>
          <cx:pt idx="46194">2</cx:pt>
          <cx:pt idx="46195">2</cx:pt>
          <cx:pt idx="46196">2</cx:pt>
          <cx:pt idx="46197">5</cx:pt>
          <cx:pt idx="46198">4</cx:pt>
          <cx:pt idx="46199">2</cx:pt>
          <cx:pt idx="46200">1</cx:pt>
          <cx:pt idx="46201">4</cx:pt>
          <cx:pt idx="46202">5</cx:pt>
          <cx:pt idx="46203">2</cx:pt>
          <cx:pt idx="46204">3</cx:pt>
          <cx:pt idx="46205">5</cx:pt>
          <cx:pt idx="46206">4</cx:pt>
          <cx:pt idx="46207">4</cx:pt>
          <cx:pt idx="46208">4</cx:pt>
          <cx:pt idx="46209">5</cx:pt>
          <cx:pt idx="46210">3</cx:pt>
          <cx:pt idx="46211">3</cx:pt>
          <cx:pt idx="46212">1</cx:pt>
          <cx:pt idx="46213">4</cx:pt>
          <cx:pt idx="46214">3</cx:pt>
          <cx:pt idx="46215">3</cx:pt>
          <cx:pt idx="46216">4</cx:pt>
          <cx:pt idx="46217">4</cx:pt>
          <cx:pt idx="46218">2</cx:pt>
          <cx:pt idx="46219">3</cx:pt>
          <cx:pt idx="46220">5</cx:pt>
          <cx:pt idx="46221">5</cx:pt>
          <cx:pt idx="46222">4</cx:pt>
          <cx:pt idx="46223">3</cx:pt>
          <cx:pt idx="46224">5</cx:pt>
          <cx:pt idx="46225">4</cx:pt>
          <cx:pt idx="46226">2</cx:pt>
          <cx:pt idx="46227">1</cx:pt>
          <cx:pt idx="46228">4</cx:pt>
          <cx:pt idx="46229">3</cx:pt>
          <cx:pt idx="46230">5</cx:pt>
          <cx:pt idx="46231">1</cx:pt>
          <cx:pt idx="46232">2</cx:pt>
          <cx:pt idx="46233">4</cx:pt>
          <cx:pt idx="46234">4</cx:pt>
          <cx:pt idx="46235">2</cx:pt>
          <cx:pt idx="46236">3</cx:pt>
          <cx:pt idx="46237">1</cx:pt>
          <cx:pt idx="46238">2</cx:pt>
          <cx:pt idx="46239">5</cx:pt>
          <cx:pt idx="46240">4</cx:pt>
          <cx:pt idx="46241">2</cx:pt>
          <cx:pt idx="46242">4</cx:pt>
          <cx:pt idx="46243">3</cx:pt>
          <cx:pt idx="46244">5</cx:pt>
          <cx:pt idx="46245">5</cx:pt>
          <cx:pt idx="46246">4</cx:pt>
          <cx:pt idx="46247">4</cx:pt>
          <cx:pt idx="46248">4</cx:pt>
          <cx:pt idx="46249">2</cx:pt>
          <cx:pt idx="46250">4</cx:pt>
          <cx:pt idx="46251">2</cx:pt>
          <cx:pt idx="46252">4</cx:pt>
          <cx:pt idx="46253">5</cx:pt>
          <cx:pt idx="46254">5</cx:pt>
          <cx:pt idx="46255">4</cx:pt>
          <cx:pt idx="46256">2</cx:pt>
          <cx:pt idx="46257">5</cx:pt>
          <cx:pt idx="46258">4</cx:pt>
          <cx:pt idx="46259">4</cx:pt>
          <cx:pt idx="46260">3</cx:pt>
          <cx:pt idx="46261">2</cx:pt>
          <cx:pt idx="46262">2</cx:pt>
          <cx:pt idx="46263">4</cx:pt>
          <cx:pt idx="46264">5</cx:pt>
          <cx:pt idx="46265">3</cx:pt>
          <cx:pt idx="46266">5</cx:pt>
          <cx:pt idx="46267">5</cx:pt>
          <cx:pt idx="46268">4</cx:pt>
          <cx:pt idx="46269">4</cx:pt>
          <cx:pt idx="46270">3</cx:pt>
          <cx:pt idx="46271">5</cx:pt>
          <cx:pt idx="46272">2</cx:pt>
          <cx:pt idx="46273">4</cx:pt>
          <cx:pt idx="46274">4</cx:pt>
          <cx:pt idx="46275">5</cx:pt>
          <cx:pt idx="46276">3</cx:pt>
          <cx:pt idx="46277">3</cx:pt>
          <cx:pt idx="46278">1</cx:pt>
          <cx:pt idx="46279">1</cx:pt>
          <cx:pt idx="46280">4</cx:pt>
          <cx:pt idx="46281">5</cx:pt>
          <cx:pt idx="46282">2</cx:pt>
          <cx:pt idx="46283">4</cx:pt>
          <cx:pt idx="46284">4</cx:pt>
          <cx:pt idx="46285">1</cx:pt>
          <cx:pt idx="46286">2</cx:pt>
          <cx:pt idx="46287">5</cx:pt>
          <cx:pt idx="46288">3</cx:pt>
          <cx:pt idx="46289">3</cx:pt>
          <cx:pt idx="46290">5</cx:pt>
          <cx:pt idx="46291">2</cx:pt>
          <cx:pt idx="46292">5</cx:pt>
          <cx:pt idx="46293">5</cx:pt>
          <cx:pt idx="46294">4</cx:pt>
          <cx:pt idx="46295">2</cx:pt>
          <cx:pt idx="46296">5</cx:pt>
          <cx:pt idx="46297">1</cx:pt>
          <cx:pt idx="46298">3</cx:pt>
          <cx:pt idx="46299">1</cx:pt>
          <cx:pt idx="46300">4</cx:pt>
          <cx:pt idx="46301">4</cx:pt>
          <cx:pt idx="46302">4</cx:pt>
          <cx:pt idx="46303">5</cx:pt>
          <cx:pt idx="46304">5</cx:pt>
          <cx:pt idx="46305">5</cx:pt>
          <cx:pt idx="46306">5</cx:pt>
          <cx:pt idx="46307">4</cx:pt>
          <cx:pt idx="46308">5</cx:pt>
          <cx:pt idx="46309">2</cx:pt>
          <cx:pt idx="46310">5</cx:pt>
          <cx:pt idx="46311">2</cx:pt>
          <cx:pt idx="46312">5</cx:pt>
          <cx:pt idx="46313">1</cx:pt>
          <cx:pt idx="46314">5</cx:pt>
          <cx:pt idx="46315">3</cx:pt>
          <cx:pt idx="46316">4</cx:pt>
          <cx:pt idx="46317">1</cx:pt>
          <cx:pt idx="46318">1</cx:pt>
          <cx:pt idx="46319">5</cx:pt>
          <cx:pt idx="46320">5</cx:pt>
          <cx:pt idx="46321">4</cx:pt>
          <cx:pt idx="46322">3</cx:pt>
          <cx:pt idx="46323">3</cx:pt>
          <cx:pt idx="46324">4</cx:pt>
          <cx:pt idx="46325">5</cx:pt>
          <cx:pt idx="46326">2</cx:pt>
          <cx:pt idx="46327">2</cx:pt>
          <cx:pt idx="46328">3</cx:pt>
          <cx:pt idx="46329">2</cx:pt>
          <cx:pt idx="46330">4</cx:pt>
          <cx:pt idx="46331">4</cx:pt>
          <cx:pt idx="46332">2</cx:pt>
          <cx:pt idx="46333">4</cx:pt>
          <cx:pt idx="46334">1</cx:pt>
          <cx:pt idx="46335">1</cx:pt>
          <cx:pt idx="46336">5</cx:pt>
          <cx:pt idx="46337">4</cx:pt>
          <cx:pt idx="46338">4</cx:pt>
          <cx:pt idx="46339">5</cx:pt>
          <cx:pt idx="46340">5</cx:pt>
          <cx:pt idx="46341">3</cx:pt>
          <cx:pt idx="46342">1</cx:pt>
          <cx:pt idx="46343">4</cx:pt>
          <cx:pt idx="46344">1</cx:pt>
          <cx:pt idx="46345">5</cx:pt>
          <cx:pt idx="46346">2</cx:pt>
          <cx:pt idx="46347">3</cx:pt>
          <cx:pt idx="46348">4</cx:pt>
          <cx:pt idx="46349">4</cx:pt>
          <cx:pt idx="46350">1</cx:pt>
          <cx:pt idx="46351">2</cx:pt>
          <cx:pt idx="46352">4</cx:pt>
          <cx:pt idx="46353">4</cx:pt>
          <cx:pt idx="46354">3</cx:pt>
          <cx:pt idx="46355">5</cx:pt>
          <cx:pt idx="46356">4</cx:pt>
          <cx:pt idx="46357">3</cx:pt>
          <cx:pt idx="46358">2</cx:pt>
          <cx:pt idx="46359">5</cx:pt>
          <cx:pt idx="46360">5</cx:pt>
          <cx:pt idx="46361">3</cx:pt>
          <cx:pt idx="46362">4</cx:pt>
          <cx:pt idx="46363">1</cx:pt>
          <cx:pt idx="46364">1</cx:pt>
          <cx:pt idx="46365">1</cx:pt>
          <cx:pt idx="46366">4</cx:pt>
          <cx:pt idx="46367">5</cx:pt>
          <cx:pt idx="46368">5</cx:pt>
          <cx:pt idx="46369">5</cx:pt>
          <cx:pt idx="46370">3</cx:pt>
          <cx:pt idx="46371">5</cx:pt>
          <cx:pt idx="46372">3</cx:pt>
          <cx:pt idx="46373">1</cx:pt>
          <cx:pt idx="46374">5</cx:pt>
          <cx:pt idx="46375">5</cx:pt>
          <cx:pt idx="46376">2</cx:pt>
          <cx:pt idx="46377">2</cx:pt>
          <cx:pt idx="46378">3</cx:pt>
          <cx:pt idx="46379">3</cx:pt>
          <cx:pt idx="46380">4</cx:pt>
          <cx:pt idx="46381">4</cx:pt>
          <cx:pt idx="46382">1</cx:pt>
          <cx:pt idx="46383">5</cx:pt>
          <cx:pt idx="46384">5</cx:pt>
          <cx:pt idx="46385">5</cx:pt>
          <cx:pt idx="46386">1</cx:pt>
          <cx:pt idx="46387">5</cx:pt>
          <cx:pt idx="46388">3</cx:pt>
          <cx:pt idx="46389">5</cx:pt>
          <cx:pt idx="46390">1</cx:pt>
          <cx:pt idx="46391">4</cx:pt>
          <cx:pt idx="46392">1</cx:pt>
          <cx:pt idx="46393">3</cx:pt>
          <cx:pt idx="46394">4</cx:pt>
          <cx:pt idx="46395">3</cx:pt>
          <cx:pt idx="46396">5</cx:pt>
          <cx:pt idx="46397">5</cx:pt>
          <cx:pt idx="46398">4</cx:pt>
          <cx:pt idx="46399">5</cx:pt>
          <cx:pt idx="46400">4</cx:pt>
          <cx:pt idx="46401">5</cx:pt>
          <cx:pt idx="46402">5</cx:pt>
          <cx:pt idx="46403">2</cx:pt>
          <cx:pt idx="46404">3</cx:pt>
          <cx:pt idx="46405">4</cx:pt>
          <cx:pt idx="46406">4</cx:pt>
          <cx:pt idx="46407">4</cx:pt>
          <cx:pt idx="46408">1</cx:pt>
          <cx:pt idx="46409">2</cx:pt>
          <cx:pt idx="46410">4</cx:pt>
          <cx:pt idx="46411">4</cx:pt>
          <cx:pt idx="46412">5</cx:pt>
          <cx:pt idx="46413">4</cx:pt>
          <cx:pt idx="46414">4</cx:pt>
          <cx:pt idx="46415">2</cx:pt>
          <cx:pt idx="46416">5</cx:pt>
          <cx:pt idx="46417">4</cx:pt>
          <cx:pt idx="46418">5</cx:pt>
          <cx:pt idx="46419">2</cx:pt>
          <cx:pt idx="46420">2</cx:pt>
          <cx:pt idx="46421">4</cx:pt>
          <cx:pt idx="46422">1</cx:pt>
          <cx:pt idx="46423">5</cx:pt>
          <cx:pt idx="46424">5</cx:pt>
          <cx:pt idx="46425">5</cx:pt>
          <cx:pt idx="46426">4</cx:pt>
          <cx:pt idx="46427">3</cx:pt>
          <cx:pt idx="46428">4</cx:pt>
          <cx:pt idx="46429">3</cx:pt>
          <cx:pt idx="46430">5</cx:pt>
          <cx:pt idx="46431">1</cx:pt>
          <cx:pt idx="46432">3</cx:pt>
          <cx:pt idx="46433">2</cx:pt>
          <cx:pt idx="46434">2</cx:pt>
          <cx:pt idx="46435">5</cx:pt>
          <cx:pt idx="46436">5</cx:pt>
          <cx:pt idx="46437">4</cx:pt>
          <cx:pt idx="46438">5</cx:pt>
          <cx:pt idx="46439">3</cx:pt>
          <cx:pt idx="46440">5</cx:pt>
          <cx:pt idx="46441">4</cx:pt>
          <cx:pt idx="46442">1</cx:pt>
          <cx:pt idx="46443">4</cx:pt>
          <cx:pt idx="46444">3</cx:pt>
          <cx:pt idx="46445">5</cx:pt>
          <cx:pt idx="46446">3</cx:pt>
          <cx:pt idx="46447">2</cx:pt>
          <cx:pt idx="46448">5</cx:pt>
          <cx:pt idx="46449">4</cx:pt>
          <cx:pt idx="46450">4</cx:pt>
          <cx:pt idx="46451">1</cx:pt>
          <cx:pt idx="46452">4</cx:pt>
          <cx:pt idx="46453">2</cx:pt>
          <cx:pt idx="46454">5</cx:pt>
          <cx:pt idx="46455">4</cx:pt>
          <cx:pt idx="46456">5</cx:pt>
          <cx:pt idx="46457">5</cx:pt>
          <cx:pt idx="46458">3</cx:pt>
          <cx:pt idx="46459">3</cx:pt>
          <cx:pt idx="46460">4</cx:pt>
          <cx:pt idx="46461">2</cx:pt>
          <cx:pt idx="46462">1</cx:pt>
          <cx:pt idx="46463">1</cx:pt>
          <cx:pt idx="46464">1</cx:pt>
          <cx:pt idx="46465">4</cx:pt>
          <cx:pt idx="46466">3</cx:pt>
          <cx:pt idx="46467">3</cx:pt>
          <cx:pt idx="46468">5</cx:pt>
          <cx:pt idx="46469">3</cx:pt>
          <cx:pt idx="46470">1</cx:pt>
          <cx:pt idx="46471">1</cx:pt>
          <cx:pt idx="46472">3</cx:pt>
          <cx:pt idx="46473">1</cx:pt>
          <cx:pt idx="46474">3</cx:pt>
          <cx:pt idx="46475">5</cx:pt>
          <cx:pt idx="46476">5</cx:pt>
          <cx:pt idx="46477">3</cx:pt>
          <cx:pt idx="46478">1</cx:pt>
          <cx:pt idx="46479">3</cx:pt>
          <cx:pt idx="46480">3</cx:pt>
          <cx:pt idx="46481">4</cx:pt>
          <cx:pt idx="46482">3</cx:pt>
          <cx:pt idx="46483">3</cx:pt>
          <cx:pt idx="46484">3</cx:pt>
          <cx:pt idx="46485">4</cx:pt>
          <cx:pt idx="46486">1</cx:pt>
          <cx:pt idx="46487">3</cx:pt>
          <cx:pt idx="46488">3</cx:pt>
          <cx:pt idx="46489">5</cx:pt>
          <cx:pt idx="46490">4</cx:pt>
          <cx:pt idx="46491">3</cx:pt>
          <cx:pt idx="46492">2</cx:pt>
          <cx:pt idx="46493">2</cx:pt>
          <cx:pt idx="46494">5</cx:pt>
          <cx:pt idx="46495">4</cx:pt>
          <cx:pt idx="46496">1</cx:pt>
          <cx:pt idx="46497">2</cx:pt>
          <cx:pt idx="46498">4</cx:pt>
          <cx:pt idx="46499">1</cx:pt>
          <cx:pt idx="46500">2</cx:pt>
          <cx:pt idx="46501">3</cx:pt>
          <cx:pt idx="46502">5</cx:pt>
          <cx:pt idx="46503">4</cx:pt>
          <cx:pt idx="46504">2</cx:pt>
          <cx:pt idx="46505">5</cx:pt>
          <cx:pt idx="46506">1</cx:pt>
          <cx:pt idx="46507">3</cx:pt>
          <cx:pt idx="46508">3</cx:pt>
          <cx:pt idx="46509">4</cx:pt>
          <cx:pt idx="46510">4</cx:pt>
          <cx:pt idx="46511">5</cx:pt>
          <cx:pt idx="46512">4</cx:pt>
          <cx:pt idx="46513">5</cx:pt>
          <cx:pt idx="46514">1</cx:pt>
          <cx:pt idx="46515">5</cx:pt>
          <cx:pt idx="46516">5</cx:pt>
          <cx:pt idx="46517">4</cx:pt>
          <cx:pt idx="46518">2</cx:pt>
          <cx:pt idx="46519">1</cx:pt>
          <cx:pt idx="46520">2</cx:pt>
          <cx:pt idx="46521">3</cx:pt>
          <cx:pt idx="46522">4</cx:pt>
          <cx:pt idx="46523">1</cx:pt>
          <cx:pt idx="46524">5</cx:pt>
          <cx:pt idx="46525">3</cx:pt>
          <cx:pt idx="46526">5</cx:pt>
          <cx:pt idx="46527">3</cx:pt>
          <cx:pt idx="46528">5</cx:pt>
          <cx:pt idx="46529">3</cx:pt>
          <cx:pt idx="46530">5</cx:pt>
          <cx:pt idx="46531">4</cx:pt>
          <cx:pt idx="46532">5</cx:pt>
          <cx:pt idx="46533">4</cx:pt>
          <cx:pt idx="46534">4</cx:pt>
          <cx:pt idx="46535">1</cx:pt>
          <cx:pt idx="46536">3</cx:pt>
          <cx:pt idx="46537">3</cx:pt>
          <cx:pt idx="46538">5</cx:pt>
          <cx:pt idx="46539">5</cx:pt>
          <cx:pt idx="46540">5</cx:pt>
          <cx:pt idx="46541">4</cx:pt>
          <cx:pt idx="46542">2</cx:pt>
          <cx:pt idx="46543">4</cx:pt>
          <cx:pt idx="46544">5</cx:pt>
          <cx:pt idx="46545">2</cx:pt>
          <cx:pt idx="46546">3</cx:pt>
          <cx:pt idx="46547">3</cx:pt>
          <cx:pt idx="46548">1</cx:pt>
          <cx:pt idx="46549">3</cx:pt>
          <cx:pt idx="46550">4</cx:pt>
          <cx:pt idx="46551">5</cx:pt>
          <cx:pt idx="46552">3</cx:pt>
          <cx:pt idx="46553">5</cx:pt>
          <cx:pt idx="46554">5</cx:pt>
          <cx:pt idx="46555">3</cx:pt>
          <cx:pt idx="46556">2</cx:pt>
          <cx:pt idx="46557">2</cx:pt>
          <cx:pt idx="46558">5</cx:pt>
          <cx:pt idx="46559">1</cx:pt>
          <cx:pt idx="46560">1</cx:pt>
          <cx:pt idx="46561">4</cx:pt>
          <cx:pt idx="46562">5</cx:pt>
          <cx:pt idx="46563">1</cx:pt>
          <cx:pt idx="46564">5</cx:pt>
          <cx:pt idx="46565">5</cx:pt>
          <cx:pt idx="46566">4</cx:pt>
          <cx:pt idx="46567">4</cx:pt>
          <cx:pt idx="46568">4</cx:pt>
          <cx:pt idx="46569">3</cx:pt>
          <cx:pt idx="46570">3</cx:pt>
          <cx:pt idx="46571">5</cx:pt>
          <cx:pt idx="46572">5</cx:pt>
          <cx:pt idx="46573">4</cx:pt>
          <cx:pt idx="46574">1</cx:pt>
          <cx:pt idx="46575">3</cx:pt>
          <cx:pt idx="46576">5</cx:pt>
          <cx:pt idx="46577">4</cx:pt>
          <cx:pt idx="46578">5</cx:pt>
          <cx:pt idx="46579">4</cx:pt>
          <cx:pt idx="46580">1</cx:pt>
          <cx:pt idx="46581">2</cx:pt>
          <cx:pt idx="46582">5</cx:pt>
          <cx:pt idx="46583">1</cx:pt>
          <cx:pt idx="46584">5</cx:pt>
          <cx:pt idx="46585">3</cx:pt>
          <cx:pt idx="46586">2</cx:pt>
          <cx:pt idx="46587">3</cx:pt>
          <cx:pt idx="46588">5</cx:pt>
          <cx:pt idx="46589">5</cx:pt>
          <cx:pt idx="46590">3</cx:pt>
          <cx:pt idx="46591">5</cx:pt>
          <cx:pt idx="46592">3</cx:pt>
          <cx:pt idx="46593">4</cx:pt>
          <cx:pt idx="46594">4</cx:pt>
          <cx:pt idx="46595">4</cx:pt>
          <cx:pt idx="46596">4</cx:pt>
          <cx:pt idx="46597">5</cx:pt>
          <cx:pt idx="46598">4</cx:pt>
          <cx:pt idx="46599">5</cx:pt>
          <cx:pt idx="46600">3</cx:pt>
          <cx:pt idx="46601">5</cx:pt>
          <cx:pt idx="46602">3</cx:pt>
          <cx:pt idx="46603">1</cx:pt>
          <cx:pt idx="46604">4</cx:pt>
          <cx:pt idx="46605">1</cx:pt>
          <cx:pt idx="46606">3</cx:pt>
          <cx:pt idx="46607">5</cx:pt>
          <cx:pt idx="46608">2</cx:pt>
          <cx:pt idx="46609">5</cx:pt>
          <cx:pt idx="46610">4</cx:pt>
          <cx:pt idx="46611">5</cx:pt>
          <cx:pt idx="46612">4</cx:pt>
          <cx:pt idx="46613">5</cx:pt>
          <cx:pt idx="46614">2</cx:pt>
          <cx:pt idx="46615">2</cx:pt>
          <cx:pt idx="46616">5</cx:pt>
          <cx:pt idx="46617">3</cx:pt>
          <cx:pt idx="46618">2</cx:pt>
          <cx:pt idx="46619">3</cx:pt>
          <cx:pt idx="46620">3</cx:pt>
          <cx:pt idx="46621">2</cx:pt>
          <cx:pt idx="46622">3</cx:pt>
          <cx:pt idx="46623">2</cx:pt>
          <cx:pt idx="46624">5</cx:pt>
          <cx:pt idx="46625">1</cx:pt>
          <cx:pt idx="46626">4</cx:pt>
          <cx:pt idx="46627">1</cx:pt>
          <cx:pt idx="46628">4</cx:pt>
          <cx:pt idx="46629">4</cx:pt>
          <cx:pt idx="46630">3</cx:pt>
          <cx:pt idx="46631">1</cx:pt>
          <cx:pt idx="46632">1</cx:pt>
          <cx:pt idx="46633">5</cx:pt>
          <cx:pt idx="46634">4</cx:pt>
          <cx:pt idx="46635">4</cx:pt>
          <cx:pt idx="46636">3</cx:pt>
          <cx:pt idx="46637">4</cx:pt>
          <cx:pt idx="46638">4</cx:pt>
          <cx:pt idx="46639">5</cx:pt>
          <cx:pt idx="46640">3</cx:pt>
          <cx:pt idx="46641">5</cx:pt>
          <cx:pt idx="46642">2</cx:pt>
          <cx:pt idx="46643">4</cx:pt>
          <cx:pt idx="46644">5</cx:pt>
          <cx:pt idx="46645">2</cx:pt>
          <cx:pt idx="46646">5</cx:pt>
          <cx:pt idx="46647">3</cx:pt>
          <cx:pt idx="46648">5</cx:pt>
          <cx:pt idx="46649">3</cx:pt>
          <cx:pt idx="46650">4</cx:pt>
          <cx:pt idx="46651">1</cx:pt>
          <cx:pt idx="46652">3</cx:pt>
          <cx:pt idx="46653">3</cx:pt>
          <cx:pt idx="46654">2</cx:pt>
          <cx:pt idx="46655">4</cx:pt>
          <cx:pt idx="46656">1</cx:pt>
          <cx:pt idx="46657">4</cx:pt>
          <cx:pt idx="46658">5</cx:pt>
          <cx:pt idx="46659">3</cx:pt>
          <cx:pt idx="46660">2</cx:pt>
          <cx:pt idx="46661">1</cx:pt>
          <cx:pt idx="46662">4</cx:pt>
          <cx:pt idx="46663">1</cx:pt>
          <cx:pt idx="46664">2</cx:pt>
          <cx:pt idx="46665">4</cx:pt>
          <cx:pt idx="46666">4</cx:pt>
          <cx:pt idx="46667">4</cx:pt>
          <cx:pt idx="46668">3</cx:pt>
          <cx:pt idx="46669">4</cx:pt>
          <cx:pt idx="46670">3</cx:pt>
          <cx:pt idx="46671">2</cx:pt>
          <cx:pt idx="46672">4</cx:pt>
          <cx:pt idx="46673">4</cx:pt>
          <cx:pt idx="46674">5</cx:pt>
          <cx:pt idx="46675">2</cx:pt>
          <cx:pt idx="46676">4</cx:pt>
          <cx:pt idx="46677">4</cx:pt>
          <cx:pt idx="46678">5</cx:pt>
          <cx:pt idx="46679">1</cx:pt>
          <cx:pt idx="46680">4</cx:pt>
          <cx:pt idx="46681">3</cx:pt>
          <cx:pt idx="46682">4</cx:pt>
          <cx:pt idx="46683">4</cx:pt>
          <cx:pt idx="46684">3</cx:pt>
          <cx:pt idx="46685">5</cx:pt>
          <cx:pt idx="46686">4</cx:pt>
          <cx:pt idx="46687">1</cx:pt>
          <cx:pt idx="46688">3</cx:pt>
          <cx:pt idx="46689">2</cx:pt>
          <cx:pt idx="46690">3</cx:pt>
          <cx:pt idx="46691">2</cx:pt>
          <cx:pt idx="46692">1</cx:pt>
          <cx:pt idx="46693">2</cx:pt>
          <cx:pt idx="46694">5</cx:pt>
          <cx:pt idx="46695">5</cx:pt>
          <cx:pt idx="46696">4</cx:pt>
          <cx:pt idx="46697">5</cx:pt>
          <cx:pt idx="46698">3</cx:pt>
          <cx:pt idx="46699">1</cx:pt>
          <cx:pt idx="46700">5</cx:pt>
          <cx:pt idx="46701">1</cx:pt>
          <cx:pt idx="46702">4</cx:pt>
          <cx:pt idx="46703">3</cx:pt>
          <cx:pt idx="46704">5</cx:pt>
          <cx:pt idx="46705">5</cx:pt>
          <cx:pt idx="46706">5</cx:pt>
          <cx:pt idx="46707">3</cx:pt>
          <cx:pt idx="46708">4</cx:pt>
          <cx:pt idx="46709">5</cx:pt>
          <cx:pt idx="46710">5</cx:pt>
          <cx:pt idx="46711">4</cx:pt>
          <cx:pt idx="46712">5</cx:pt>
          <cx:pt idx="46713">4</cx:pt>
          <cx:pt idx="46714">4</cx:pt>
          <cx:pt idx="46715">2</cx:pt>
          <cx:pt idx="46716">4</cx:pt>
          <cx:pt idx="46717">2</cx:pt>
          <cx:pt idx="46718">2</cx:pt>
          <cx:pt idx="46719">2</cx:pt>
          <cx:pt idx="46720">4</cx:pt>
          <cx:pt idx="46721">5</cx:pt>
          <cx:pt idx="46722">2</cx:pt>
          <cx:pt idx="46723">4</cx:pt>
          <cx:pt idx="46724">3</cx:pt>
          <cx:pt idx="46725">5</cx:pt>
          <cx:pt idx="46726">1</cx:pt>
          <cx:pt idx="46727">4</cx:pt>
          <cx:pt idx="46728">4</cx:pt>
          <cx:pt idx="46729">5</cx:pt>
          <cx:pt idx="46730">4</cx:pt>
          <cx:pt idx="46731">5</cx:pt>
          <cx:pt idx="46732">2</cx:pt>
          <cx:pt idx="46733">4</cx:pt>
          <cx:pt idx="46734">3</cx:pt>
          <cx:pt idx="46735">3</cx:pt>
          <cx:pt idx="46736">5</cx:pt>
          <cx:pt idx="46737">5</cx:pt>
          <cx:pt idx="46738">5</cx:pt>
          <cx:pt idx="46739">3</cx:pt>
          <cx:pt idx="46740">3</cx:pt>
          <cx:pt idx="46741">4</cx:pt>
          <cx:pt idx="46742">2</cx:pt>
          <cx:pt idx="46743">5</cx:pt>
          <cx:pt idx="46744">4</cx:pt>
          <cx:pt idx="46745">2</cx:pt>
          <cx:pt idx="46746">4</cx:pt>
          <cx:pt idx="46747">5</cx:pt>
          <cx:pt idx="46748">4</cx:pt>
          <cx:pt idx="46749">5</cx:pt>
          <cx:pt idx="46750">3</cx:pt>
          <cx:pt idx="46751">3</cx:pt>
          <cx:pt idx="46752">5</cx:pt>
          <cx:pt idx="46753">5</cx:pt>
          <cx:pt idx="46754">4</cx:pt>
          <cx:pt idx="46755">3</cx:pt>
          <cx:pt idx="46756">2</cx:pt>
          <cx:pt idx="46757">5</cx:pt>
          <cx:pt idx="46758">2</cx:pt>
          <cx:pt idx="46759">4</cx:pt>
          <cx:pt idx="46760">3</cx:pt>
          <cx:pt idx="46761">3</cx:pt>
          <cx:pt idx="46762">4</cx:pt>
          <cx:pt idx="46763">3</cx:pt>
          <cx:pt idx="46764">5</cx:pt>
          <cx:pt idx="46765">3</cx:pt>
          <cx:pt idx="46766">5</cx:pt>
          <cx:pt idx="46767">5</cx:pt>
          <cx:pt idx="46768">1</cx:pt>
          <cx:pt idx="46769">3</cx:pt>
          <cx:pt idx="46770">2</cx:pt>
          <cx:pt idx="46771">4</cx:pt>
          <cx:pt idx="46772">2</cx:pt>
          <cx:pt idx="46773">4</cx:pt>
          <cx:pt idx="46774">2</cx:pt>
          <cx:pt idx="46775">3</cx:pt>
          <cx:pt idx="46776">1</cx:pt>
          <cx:pt idx="46777">4</cx:pt>
          <cx:pt idx="46778">3</cx:pt>
          <cx:pt idx="46779">4</cx:pt>
          <cx:pt idx="46780">4</cx:pt>
          <cx:pt idx="46781">3</cx:pt>
          <cx:pt idx="46782">4</cx:pt>
          <cx:pt idx="46783">5</cx:pt>
          <cx:pt idx="46784">3</cx:pt>
          <cx:pt idx="46785">2</cx:pt>
          <cx:pt idx="46786">3</cx:pt>
          <cx:pt idx="46787">3</cx:pt>
          <cx:pt idx="46788">2</cx:pt>
          <cx:pt idx="46789">4</cx:pt>
          <cx:pt idx="46790">5</cx:pt>
          <cx:pt idx="46791">5</cx:pt>
          <cx:pt idx="46792">4</cx:pt>
          <cx:pt idx="46793">5</cx:pt>
          <cx:pt idx="46794">5</cx:pt>
          <cx:pt idx="46795">1</cx:pt>
          <cx:pt idx="46796">3</cx:pt>
          <cx:pt idx="46797">1</cx:pt>
          <cx:pt idx="46798">4</cx:pt>
          <cx:pt idx="46799">5</cx:pt>
          <cx:pt idx="46800">3</cx:pt>
          <cx:pt idx="46801">5</cx:pt>
          <cx:pt idx="46802">3</cx:pt>
          <cx:pt idx="46803">5</cx:pt>
          <cx:pt idx="46804">4</cx:pt>
          <cx:pt idx="46805">2</cx:pt>
          <cx:pt idx="46806">5</cx:pt>
          <cx:pt idx="46807">5</cx:pt>
          <cx:pt idx="46808">4</cx:pt>
          <cx:pt idx="46809">2</cx:pt>
          <cx:pt idx="46810">1</cx:pt>
          <cx:pt idx="46811">1</cx:pt>
          <cx:pt idx="46812">5</cx:pt>
          <cx:pt idx="46813">4</cx:pt>
          <cx:pt idx="46814">2</cx:pt>
          <cx:pt idx="46815">3</cx:pt>
          <cx:pt idx="46816">3</cx:pt>
          <cx:pt idx="46817">3</cx:pt>
          <cx:pt idx="46818">5</cx:pt>
          <cx:pt idx="46819">5</cx:pt>
          <cx:pt idx="46820">5</cx:pt>
          <cx:pt idx="46821">4</cx:pt>
          <cx:pt idx="46822">4</cx:pt>
          <cx:pt idx="46823">3</cx:pt>
          <cx:pt idx="46824">1</cx:pt>
          <cx:pt idx="46825">4</cx:pt>
          <cx:pt idx="46826">2</cx:pt>
          <cx:pt idx="46827">2</cx:pt>
          <cx:pt idx="46828">1</cx:pt>
          <cx:pt idx="46829">1</cx:pt>
          <cx:pt idx="46830">1</cx:pt>
          <cx:pt idx="46831">2</cx:pt>
          <cx:pt idx="46832">2</cx:pt>
          <cx:pt idx="46833">5</cx:pt>
          <cx:pt idx="46834">1</cx:pt>
          <cx:pt idx="46835">5</cx:pt>
          <cx:pt idx="46836">5</cx:pt>
          <cx:pt idx="46837">5</cx:pt>
          <cx:pt idx="46838">4</cx:pt>
          <cx:pt idx="46839">4</cx:pt>
          <cx:pt idx="46840">3</cx:pt>
          <cx:pt idx="46841">3</cx:pt>
          <cx:pt idx="46842">3</cx:pt>
          <cx:pt idx="46843">1</cx:pt>
          <cx:pt idx="46844">4</cx:pt>
          <cx:pt idx="46845">2</cx:pt>
          <cx:pt idx="46846">5</cx:pt>
          <cx:pt idx="46847">2</cx:pt>
          <cx:pt idx="46848">4</cx:pt>
          <cx:pt idx="46849">4</cx:pt>
          <cx:pt idx="46850">4</cx:pt>
          <cx:pt idx="46851">4</cx:pt>
          <cx:pt idx="46852">4</cx:pt>
          <cx:pt idx="46853">4</cx:pt>
          <cx:pt idx="46854">1</cx:pt>
          <cx:pt idx="46855">3</cx:pt>
          <cx:pt idx="46856">5</cx:pt>
          <cx:pt idx="46857">2</cx:pt>
          <cx:pt idx="46858">1</cx:pt>
          <cx:pt idx="46859">5</cx:pt>
          <cx:pt idx="46860">5</cx:pt>
          <cx:pt idx="46861">4</cx:pt>
          <cx:pt idx="46862">3</cx:pt>
          <cx:pt idx="46863">1</cx:pt>
          <cx:pt idx="46864">1</cx:pt>
          <cx:pt idx="46865">1</cx:pt>
          <cx:pt idx="46866">1</cx:pt>
          <cx:pt idx="46867">5</cx:pt>
          <cx:pt idx="46868">2</cx:pt>
          <cx:pt idx="46869">2</cx:pt>
          <cx:pt idx="46870">5</cx:pt>
          <cx:pt idx="46871">4</cx:pt>
          <cx:pt idx="46872">5</cx:pt>
          <cx:pt idx="46873">1</cx:pt>
          <cx:pt idx="46874">4</cx:pt>
          <cx:pt idx="46875">2</cx:pt>
          <cx:pt idx="46876">5</cx:pt>
          <cx:pt idx="46877">4</cx:pt>
          <cx:pt idx="46878">2</cx:pt>
          <cx:pt idx="46879">4</cx:pt>
          <cx:pt idx="46880">5</cx:pt>
          <cx:pt idx="46881">4</cx:pt>
          <cx:pt idx="46882">2</cx:pt>
          <cx:pt idx="46883">4</cx:pt>
          <cx:pt idx="46884">2</cx:pt>
          <cx:pt idx="46885">4</cx:pt>
          <cx:pt idx="46886">3</cx:pt>
          <cx:pt idx="46887">3</cx:pt>
          <cx:pt idx="46888">3</cx:pt>
          <cx:pt idx="46889">5</cx:pt>
          <cx:pt idx="46890">5</cx:pt>
          <cx:pt idx="46891">2</cx:pt>
          <cx:pt idx="46892">5</cx:pt>
          <cx:pt idx="46893">4</cx:pt>
          <cx:pt idx="46894">1</cx:pt>
          <cx:pt idx="46895">4</cx:pt>
          <cx:pt idx="46896">3</cx:pt>
          <cx:pt idx="46897">5</cx:pt>
          <cx:pt idx="46898">3</cx:pt>
          <cx:pt idx="46899">3</cx:pt>
          <cx:pt idx="46900">5</cx:pt>
          <cx:pt idx="46901">3</cx:pt>
          <cx:pt idx="46902">4</cx:pt>
          <cx:pt idx="46903">5</cx:pt>
          <cx:pt idx="46904">4</cx:pt>
          <cx:pt idx="46905">5</cx:pt>
          <cx:pt idx="46906">2</cx:pt>
          <cx:pt idx="46907">2</cx:pt>
          <cx:pt idx="46908">2</cx:pt>
          <cx:pt idx="46909">4</cx:pt>
          <cx:pt idx="46910">5</cx:pt>
          <cx:pt idx="46911">5</cx:pt>
          <cx:pt idx="46912">2</cx:pt>
          <cx:pt idx="46913">5</cx:pt>
          <cx:pt idx="46914">4</cx:pt>
          <cx:pt idx="46915">4</cx:pt>
          <cx:pt idx="46916">1</cx:pt>
          <cx:pt idx="46917">4</cx:pt>
          <cx:pt idx="46918">3</cx:pt>
          <cx:pt idx="46919">4</cx:pt>
          <cx:pt idx="46920">3</cx:pt>
          <cx:pt idx="46921">4</cx:pt>
          <cx:pt idx="46922">4</cx:pt>
          <cx:pt idx="46923">4</cx:pt>
          <cx:pt idx="46924">1</cx:pt>
          <cx:pt idx="46925">4</cx:pt>
          <cx:pt idx="46926">3</cx:pt>
          <cx:pt idx="46927">4</cx:pt>
          <cx:pt idx="46928">4</cx:pt>
          <cx:pt idx="46929">4</cx:pt>
          <cx:pt idx="46930">5</cx:pt>
          <cx:pt idx="46931">3</cx:pt>
          <cx:pt idx="46932">4</cx:pt>
          <cx:pt idx="46933">3</cx:pt>
          <cx:pt idx="46934">4</cx:pt>
          <cx:pt idx="46935">2</cx:pt>
          <cx:pt idx="46936">5</cx:pt>
          <cx:pt idx="46937">4</cx:pt>
          <cx:pt idx="46938">4</cx:pt>
          <cx:pt idx="46939">4</cx:pt>
          <cx:pt idx="46940">4</cx:pt>
          <cx:pt idx="46941">3</cx:pt>
          <cx:pt idx="46942">1</cx:pt>
          <cx:pt idx="46943">1</cx:pt>
          <cx:pt idx="46944">5</cx:pt>
          <cx:pt idx="46945">4</cx:pt>
          <cx:pt idx="46946">2</cx:pt>
          <cx:pt idx="46947">2</cx:pt>
          <cx:pt idx="46948">4</cx:pt>
          <cx:pt idx="46949">4</cx:pt>
          <cx:pt idx="46950">3</cx:pt>
          <cx:pt idx="46951">4</cx:pt>
          <cx:pt idx="46952">5</cx:pt>
          <cx:pt idx="46953">4</cx:pt>
          <cx:pt idx="46954">5</cx:pt>
          <cx:pt idx="46955">3</cx:pt>
          <cx:pt idx="46956">5</cx:pt>
          <cx:pt idx="46957">1</cx:pt>
          <cx:pt idx="46958">3</cx:pt>
          <cx:pt idx="46959">1</cx:pt>
          <cx:pt idx="46960">5</cx:pt>
          <cx:pt idx="46961">2</cx:pt>
          <cx:pt idx="46962">4</cx:pt>
          <cx:pt idx="46963">3</cx:pt>
          <cx:pt idx="46964">2</cx:pt>
          <cx:pt idx="46965">5</cx:pt>
          <cx:pt idx="46966">4</cx:pt>
          <cx:pt idx="46967">4</cx:pt>
          <cx:pt idx="46968">5</cx:pt>
          <cx:pt idx="46969">4</cx:pt>
          <cx:pt idx="46970">3</cx:pt>
          <cx:pt idx="46971">5</cx:pt>
          <cx:pt idx="46972">5</cx:pt>
          <cx:pt idx="46973">2</cx:pt>
          <cx:pt idx="46974">4</cx:pt>
          <cx:pt idx="46975">3</cx:pt>
          <cx:pt idx="46976">4</cx:pt>
          <cx:pt idx="46977">2</cx:pt>
          <cx:pt idx="46978">3</cx:pt>
          <cx:pt idx="46979">1</cx:pt>
          <cx:pt idx="46980">1</cx:pt>
          <cx:pt idx="46981">3</cx:pt>
          <cx:pt idx="46982">5</cx:pt>
          <cx:pt idx="46983">2</cx:pt>
          <cx:pt idx="46984">3</cx:pt>
          <cx:pt idx="46985">3</cx:pt>
          <cx:pt idx="46986">4</cx:pt>
          <cx:pt idx="46987">5</cx:pt>
          <cx:pt idx="46988">4</cx:pt>
          <cx:pt idx="46989">2</cx:pt>
          <cx:pt idx="46990">1</cx:pt>
          <cx:pt idx="46991">3</cx:pt>
          <cx:pt idx="46992">3</cx:pt>
          <cx:pt idx="46993">3</cx:pt>
          <cx:pt idx="46994">3</cx:pt>
          <cx:pt idx="46995">4</cx:pt>
          <cx:pt idx="46996">1</cx:pt>
          <cx:pt idx="46997">4</cx:pt>
          <cx:pt idx="46998">5</cx:pt>
          <cx:pt idx="46999">4</cx:pt>
          <cx:pt idx="47000">4</cx:pt>
          <cx:pt idx="47001">3</cx:pt>
          <cx:pt idx="47002">2</cx:pt>
          <cx:pt idx="47003">5</cx:pt>
          <cx:pt idx="47004">5</cx:pt>
          <cx:pt idx="47005">4</cx:pt>
          <cx:pt idx="47006">5</cx:pt>
          <cx:pt idx="47007">1</cx:pt>
          <cx:pt idx="47008">4</cx:pt>
          <cx:pt idx="47009">1</cx:pt>
          <cx:pt idx="47010">3</cx:pt>
          <cx:pt idx="47011">2</cx:pt>
          <cx:pt idx="47012">5</cx:pt>
          <cx:pt idx="47013">4</cx:pt>
          <cx:pt idx="47014">4</cx:pt>
          <cx:pt idx="47015">4</cx:pt>
          <cx:pt idx="47016">5</cx:pt>
          <cx:pt idx="47017">3</cx:pt>
          <cx:pt idx="47018">2</cx:pt>
          <cx:pt idx="47019">1</cx:pt>
          <cx:pt idx="47020">3</cx:pt>
          <cx:pt idx="47021">4</cx:pt>
          <cx:pt idx="47022">4</cx:pt>
          <cx:pt idx="47023">1</cx:pt>
          <cx:pt idx="47024">3</cx:pt>
          <cx:pt idx="47025">3</cx:pt>
          <cx:pt idx="47026">5</cx:pt>
          <cx:pt idx="47027">1</cx:pt>
          <cx:pt idx="47028">2</cx:pt>
          <cx:pt idx="47029">5</cx:pt>
          <cx:pt idx="47030">2</cx:pt>
          <cx:pt idx="47031">4</cx:pt>
          <cx:pt idx="47032">1</cx:pt>
          <cx:pt idx="47033">2</cx:pt>
          <cx:pt idx="47034">4</cx:pt>
          <cx:pt idx="47035">4</cx:pt>
          <cx:pt idx="47036">5</cx:pt>
          <cx:pt idx="47037">4</cx:pt>
          <cx:pt idx="47038">2</cx:pt>
          <cx:pt idx="47039">1</cx:pt>
          <cx:pt idx="47040">5</cx:pt>
          <cx:pt idx="47041">1</cx:pt>
          <cx:pt idx="47042">5</cx:pt>
          <cx:pt idx="47043">2</cx:pt>
          <cx:pt idx="47044">3</cx:pt>
          <cx:pt idx="47045">4</cx:pt>
          <cx:pt idx="47046">1</cx:pt>
          <cx:pt idx="47047">4</cx:pt>
          <cx:pt idx="47048">4</cx:pt>
          <cx:pt idx="47049">4</cx:pt>
          <cx:pt idx="47050">1</cx:pt>
          <cx:pt idx="47051">1</cx:pt>
          <cx:pt idx="47052">5</cx:pt>
          <cx:pt idx="47053">4</cx:pt>
          <cx:pt idx="47054">5</cx:pt>
          <cx:pt idx="47055">1</cx:pt>
          <cx:pt idx="47056">3</cx:pt>
          <cx:pt idx="47057">5</cx:pt>
          <cx:pt idx="47058">4</cx:pt>
          <cx:pt idx="47059">1</cx:pt>
          <cx:pt idx="47060">2</cx:pt>
          <cx:pt idx="47061">1</cx:pt>
          <cx:pt idx="47062">2</cx:pt>
          <cx:pt idx="47063">4</cx:pt>
          <cx:pt idx="47064">5</cx:pt>
          <cx:pt idx="47065">5</cx:pt>
          <cx:pt idx="47066">3</cx:pt>
          <cx:pt idx="47067">3</cx:pt>
          <cx:pt idx="47068">1</cx:pt>
          <cx:pt idx="47069">5</cx:pt>
          <cx:pt idx="47070">4</cx:pt>
          <cx:pt idx="47071">4</cx:pt>
          <cx:pt idx="47072">4</cx:pt>
          <cx:pt idx="47073">4</cx:pt>
          <cx:pt idx="47074">2</cx:pt>
          <cx:pt idx="47075">2</cx:pt>
          <cx:pt idx="47076">4</cx:pt>
          <cx:pt idx="47077">3</cx:pt>
          <cx:pt idx="47078">4</cx:pt>
          <cx:pt idx="47079">3</cx:pt>
          <cx:pt idx="47080">5</cx:pt>
          <cx:pt idx="47081">3</cx:pt>
          <cx:pt idx="47082">3</cx:pt>
          <cx:pt idx="47083">5</cx:pt>
          <cx:pt idx="47084">5</cx:pt>
          <cx:pt idx="47085">1</cx:pt>
          <cx:pt idx="47086">4</cx:pt>
          <cx:pt idx="47087">5</cx:pt>
          <cx:pt idx="47088">4</cx:pt>
          <cx:pt idx="47089">4</cx:pt>
          <cx:pt idx="47090">1</cx:pt>
          <cx:pt idx="47091">5</cx:pt>
          <cx:pt idx="47092">5</cx:pt>
          <cx:pt idx="47093">5</cx:pt>
          <cx:pt idx="47094">4</cx:pt>
          <cx:pt idx="47095">5</cx:pt>
          <cx:pt idx="47096">3</cx:pt>
          <cx:pt idx="47097">3</cx:pt>
          <cx:pt idx="47098">3</cx:pt>
          <cx:pt idx="47099">4</cx:pt>
          <cx:pt idx="47100">4</cx:pt>
          <cx:pt idx="47101">3</cx:pt>
          <cx:pt idx="47102">4</cx:pt>
          <cx:pt idx="47103">4</cx:pt>
          <cx:pt idx="47104">4</cx:pt>
          <cx:pt idx="47105">5</cx:pt>
          <cx:pt idx="47106">3</cx:pt>
          <cx:pt idx="47107">4</cx:pt>
          <cx:pt idx="47108">1</cx:pt>
          <cx:pt idx="47109">1</cx:pt>
          <cx:pt idx="47110">4</cx:pt>
          <cx:pt idx="47111">3</cx:pt>
          <cx:pt idx="47112">1</cx:pt>
          <cx:pt idx="47113">5</cx:pt>
          <cx:pt idx="47114">2</cx:pt>
          <cx:pt idx="47115">3</cx:pt>
          <cx:pt idx="47116">2</cx:pt>
          <cx:pt idx="47117">5</cx:pt>
          <cx:pt idx="47118">4</cx:pt>
          <cx:pt idx="47119">1</cx:pt>
          <cx:pt idx="47120">4</cx:pt>
          <cx:pt idx="47121">4</cx:pt>
          <cx:pt idx="47122">4</cx:pt>
          <cx:pt idx="47123">1</cx:pt>
          <cx:pt idx="47124">5</cx:pt>
          <cx:pt idx="47125">2</cx:pt>
          <cx:pt idx="47126">4</cx:pt>
          <cx:pt idx="47127">3</cx:pt>
          <cx:pt idx="47128">4</cx:pt>
          <cx:pt idx="47129">4</cx:pt>
          <cx:pt idx="47130">5</cx:pt>
          <cx:pt idx="47131">5</cx:pt>
          <cx:pt idx="47132">5</cx:pt>
          <cx:pt idx="47133">2</cx:pt>
          <cx:pt idx="47134">3</cx:pt>
          <cx:pt idx="47135">5</cx:pt>
          <cx:pt idx="47136">1</cx:pt>
          <cx:pt idx="47137">5</cx:pt>
          <cx:pt idx="47138">3</cx:pt>
          <cx:pt idx="47139">3</cx:pt>
          <cx:pt idx="47140">4</cx:pt>
          <cx:pt idx="47141">3</cx:pt>
          <cx:pt idx="47142">3</cx:pt>
          <cx:pt idx="47143">5</cx:pt>
          <cx:pt idx="47144">4</cx:pt>
          <cx:pt idx="47145">5</cx:pt>
          <cx:pt idx="47146">5</cx:pt>
          <cx:pt idx="47147">4</cx:pt>
          <cx:pt idx="47148">4</cx:pt>
          <cx:pt idx="47149">3</cx:pt>
          <cx:pt idx="47150">5</cx:pt>
          <cx:pt idx="47151">5</cx:pt>
          <cx:pt idx="47152">5</cx:pt>
          <cx:pt idx="47153">4</cx:pt>
          <cx:pt idx="47154">5</cx:pt>
          <cx:pt idx="47155">2</cx:pt>
          <cx:pt idx="47156">4</cx:pt>
          <cx:pt idx="47157">3</cx:pt>
          <cx:pt idx="47158">4</cx:pt>
          <cx:pt idx="47159">2</cx:pt>
          <cx:pt idx="47160">1</cx:pt>
          <cx:pt idx="47161">5</cx:pt>
          <cx:pt idx="47162">3</cx:pt>
          <cx:pt idx="47163">4</cx:pt>
          <cx:pt idx="47164">4</cx:pt>
          <cx:pt idx="47165">3</cx:pt>
          <cx:pt idx="47166">5</cx:pt>
          <cx:pt idx="47167">4</cx:pt>
          <cx:pt idx="47168">4</cx:pt>
          <cx:pt idx="47169">5</cx:pt>
          <cx:pt idx="47170">5</cx:pt>
          <cx:pt idx="47171">4</cx:pt>
          <cx:pt idx="47172">4</cx:pt>
          <cx:pt idx="47173">3</cx:pt>
          <cx:pt idx="47174">5</cx:pt>
          <cx:pt idx="47175">4</cx:pt>
          <cx:pt idx="47176">3</cx:pt>
          <cx:pt idx="47177">5</cx:pt>
          <cx:pt idx="47178">1</cx:pt>
          <cx:pt idx="47179">5</cx:pt>
          <cx:pt idx="47180">5</cx:pt>
          <cx:pt idx="47181">4</cx:pt>
          <cx:pt idx="47182">4</cx:pt>
          <cx:pt idx="47183">5</cx:pt>
          <cx:pt idx="47184">2</cx:pt>
          <cx:pt idx="47185">4</cx:pt>
          <cx:pt idx="47186">1</cx:pt>
          <cx:pt idx="47187">4</cx:pt>
          <cx:pt idx="47188">5</cx:pt>
          <cx:pt idx="47189">4</cx:pt>
          <cx:pt idx="47190">5</cx:pt>
          <cx:pt idx="47191">3</cx:pt>
          <cx:pt idx="47192">4</cx:pt>
          <cx:pt idx="47193">5</cx:pt>
          <cx:pt idx="47194">4</cx:pt>
          <cx:pt idx="47195">3</cx:pt>
          <cx:pt idx="47196">2</cx:pt>
          <cx:pt idx="47197">5</cx:pt>
          <cx:pt idx="47198">3</cx:pt>
          <cx:pt idx="47199">4</cx:pt>
          <cx:pt idx="47200">5</cx:pt>
          <cx:pt idx="47201">4</cx:pt>
          <cx:pt idx="47202">4</cx:pt>
          <cx:pt idx="47203">4</cx:pt>
          <cx:pt idx="47204">3</cx:pt>
          <cx:pt idx="47205">2</cx:pt>
          <cx:pt idx="47206">5</cx:pt>
          <cx:pt idx="47207">3</cx:pt>
          <cx:pt idx="47208">3</cx:pt>
          <cx:pt idx="47209">4</cx:pt>
          <cx:pt idx="47210">5</cx:pt>
          <cx:pt idx="47211">3</cx:pt>
          <cx:pt idx="47212">3</cx:pt>
          <cx:pt idx="47213">4</cx:pt>
          <cx:pt idx="47214">4</cx:pt>
          <cx:pt idx="47215">5</cx:pt>
          <cx:pt idx="47216">4</cx:pt>
          <cx:pt idx="47217">2</cx:pt>
          <cx:pt idx="47218">3</cx:pt>
          <cx:pt idx="47219">2</cx:pt>
          <cx:pt idx="47220">3</cx:pt>
          <cx:pt idx="47221">4</cx:pt>
          <cx:pt idx="47222">4</cx:pt>
          <cx:pt idx="47223">4</cx:pt>
          <cx:pt idx="47224">4</cx:pt>
          <cx:pt idx="47225">3</cx:pt>
          <cx:pt idx="47226">5</cx:pt>
          <cx:pt idx="47227">5</cx:pt>
          <cx:pt idx="47228">4</cx:pt>
          <cx:pt idx="47229">4</cx:pt>
          <cx:pt idx="47230">5</cx:pt>
          <cx:pt idx="47231">2</cx:pt>
          <cx:pt idx="47232">5</cx:pt>
          <cx:pt idx="47233">4</cx:pt>
          <cx:pt idx="47234">2</cx:pt>
          <cx:pt idx="47235">5</cx:pt>
          <cx:pt idx="47236">3</cx:pt>
          <cx:pt idx="47237">1</cx:pt>
          <cx:pt idx="47238">4</cx:pt>
          <cx:pt idx="47239">1</cx:pt>
          <cx:pt idx="47240">4</cx:pt>
          <cx:pt idx="47241">5</cx:pt>
          <cx:pt idx="47242">3</cx:pt>
          <cx:pt idx="47243">3</cx:pt>
          <cx:pt idx="47244">2</cx:pt>
          <cx:pt idx="47245">3</cx:pt>
          <cx:pt idx="47246">4</cx:pt>
          <cx:pt idx="47247">5</cx:pt>
          <cx:pt idx="47248">3</cx:pt>
          <cx:pt idx="47249">2</cx:pt>
          <cx:pt idx="47250">1</cx:pt>
          <cx:pt idx="47251">1</cx:pt>
          <cx:pt idx="47252">1</cx:pt>
          <cx:pt idx="47253">5</cx:pt>
          <cx:pt idx="47254">5</cx:pt>
          <cx:pt idx="47255">5</cx:pt>
          <cx:pt idx="47256">2</cx:pt>
          <cx:pt idx="47257">3</cx:pt>
          <cx:pt idx="47258">1</cx:pt>
          <cx:pt idx="47259">1</cx:pt>
          <cx:pt idx="47260">3</cx:pt>
          <cx:pt idx="47261">1</cx:pt>
          <cx:pt idx="47262">4</cx:pt>
          <cx:pt idx="47263">2</cx:pt>
          <cx:pt idx="47264">5</cx:pt>
          <cx:pt idx="47265">2</cx:pt>
          <cx:pt idx="47266">3</cx:pt>
          <cx:pt idx="47267">5</cx:pt>
          <cx:pt idx="47268">3</cx:pt>
          <cx:pt idx="47269">3</cx:pt>
          <cx:pt idx="47270">5</cx:pt>
          <cx:pt idx="47271">4</cx:pt>
          <cx:pt idx="47272">4</cx:pt>
          <cx:pt idx="47273">5</cx:pt>
          <cx:pt idx="47274">5</cx:pt>
          <cx:pt idx="47275">4</cx:pt>
          <cx:pt idx="47276">2</cx:pt>
          <cx:pt idx="47277">2</cx:pt>
          <cx:pt idx="47278">3</cx:pt>
          <cx:pt idx="47279">1</cx:pt>
          <cx:pt idx="47280">5</cx:pt>
          <cx:pt idx="47281">5</cx:pt>
          <cx:pt idx="47282">4</cx:pt>
          <cx:pt idx="47283">4</cx:pt>
          <cx:pt idx="47284">1</cx:pt>
          <cx:pt idx="47285">3</cx:pt>
          <cx:pt idx="47286">3</cx:pt>
          <cx:pt idx="47287">4</cx:pt>
          <cx:pt idx="47288">5</cx:pt>
          <cx:pt idx="47289">4</cx:pt>
          <cx:pt idx="47290">3</cx:pt>
          <cx:pt idx="47291">5</cx:pt>
          <cx:pt idx="47292">3</cx:pt>
          <cx:pt idx="47293">2</cx:pt>
          <cx:pt idx="47294">4</cx:pt>
          <cx:pt idx="47295">5</cx:pt>
          <cx:pt idx="47296">5</cx:pt>
          <cx:pt idx="47297">2</cx:pt>
          <cx:pt idx="47298">3</cx:pt>
          <cx:pt idx="47299">5</cx:pt>
          <cx:pt idx="47300">4</cx:pt>
          <cx:pt idx="47301">3</cx:pt>
          <cx:pt idx="47302">4</cx:pt>
          <cx:pt idx="47303">5</cx:pt>
          <cx:pt idx="47304">3</cx:pt>
          <cx:pt idx="47305">3</cx:pt>
          <cx:pt idx="47306">3</cx:pt>
          <cx:pt idx="47307">1</cx:pt>
          <cx:pt idx="47308">2</cx:pt>
          <cx:pt idx="47309">4</cx:pt>
          <cx:pt idx="47310">3</cx:pt>
          <cx:pt idx="47311">2</cx:pt>
          <cx:pt idx="47312">4</cx:pt>
          <cx:pt idx="47313">2</cx:pt>
          <cx:pt idx="47314">5</cx:pt>
          <cx:pt idx="47315">4</cx:pt>
          <cx:pt idx="47316">4</cx:pt>
          <cx:pt idx="47317">5</cx:pt>
          <cx:pt idx="47318">2</cx:pt>
          <cx:pt idx="47319">5</cx:pt>
          <cx:pt idx="47320">3</cx:pt>
          <cx:pt idx="47321">5</cx:pt>
          <cx:pt idx="47322">4</cx:pt>
          <cx:pt idx="47323">4</cx:pt>
          <cx:pt idx="47324">2</cx:pt>
          <cx:pt idx="47325">2</cx:pt>
          <cx:pt idx="47326">2</cx:pt>
          <cx:pt idx="47327">4</cx:pt>
          <cx:pt idx="47328">2</cx:pt>
          <cx:pt idx="47329">5</cx:pt>
          <cx:pt idx="47330">1</cx:pt>
          <cx:pt idx="47331">5</cx:pt>
          <cx:pt idx="47332">4</cx:pt>
          <cx:pt idx="47333">4</cx:pt>
          <cx:pt idx="47334">2</cx:pt>
          <cx:pt idx="47335">2</cx:pt>
          <cx:pt idx="47336">4</cx:pt>
          <cx:pt idx="47337">3</cx:pt>
          <cx:pt idx="47338">5</cx:pt>
          <cx:pt idx="47339">2</cx:pt>
          <cx:pt idx="47340">1</cx:pt>
          <cx:pt idx="47341">5</cx:pt>
          <cx:pt idx="47342">4</cx:pt>
          <cx:pt idx="47343">3</cx:pt>
          <cx:pt idx="47344">4</cx:pt>
          <cx:pt idx="47345">5</cx:pt>
          <cx:pt idx="47346">3</cx:pt>
          <cx:pt idx="47347">3</cx:pt>
          <cx:pt idx="47348">5</cx:pt>
          <cx:pt idx="47349">1</cx:pt>
          <cx:pt idx="47350">5</cx:pt>
          <cx:pt idx="47351">4</cx:pt>
          <cx:pt idx="47352">4</cx:pt>
          <cx:pt idx="47353">4</cx:pt>
          <cx:pt idx="47354">5</cx:pt>
          <cx:pt idx="47355">3</cx:pt>
          <cx:pt idx="47356">5</cx:pt>
          <cx:pt idx="47357">1</cx:pt>
          <cx:pt idx="47358">2</cx:pt>
          <cx:pt idx="47359">5</cx:pt>
          <cx:pt idx="47360">5</cx:pt>
          <cx:pt idx="47361">3</cx:pt>
          <cx:pt idx="47362">4</cx:pt>
          <cx:pt idx="47363">4</cx:pt>
          <cx:pt idx="47364">4</cx:pt>
          <cx:pt idx="47365">2</cx:pt>
          <cx:pt idx="47366">5</cx:pt>
          <cx:pt idx="47367">4</cx:pt>
          <cx:pt idx="47368">5</cx:pt>
          <cx:pt idx="47369">3</cx:pt>
          <cx:pt idx="47370">4</cx:pt>
          <cx:pt idx="47371">4</cx:pt>
          <cx:pt idx="47372">5</cx:pt>
          <cx:pt idx="47373">4</cx:pt>
          <cx:pt idx="47374">1</cx:pt>
          <cx:pt idx="47375">3</cx:pt>
          <cx:pt idx="47376">5</cx:pt>
          <cx:pt idx="47377">2</cx:pt>
          <cx:pt idx="47378">4</cx:pt>
          <cx:pt idx="47379">5</cx:pt>
          <cx:pt idx="47380">5</cx:pt>
          <cx:pt idx="47381">2</cx:pt>
          <cx:pt idx="47382">3</cx:pt>
          <cx:pt idx="47383">2</cx:pt>
          <cx:pt idx="47384">5</cx:pt>
          <cx:pt idx="47385">4</cx:pt>
          <cx:pt idx="47386">3</cx:pt>
          <cx:pt idx="47387">2</cx:pt>
          <cx:pt idx="47388">3</cx:pt>
          <cx:pt idx="47389">5</cx:pt>
          <cx:pt idx="47390">5</cx:pt>
          <cx:pt idx="47391">4</cx:pt>
          <cx:pt idx="47392">2</cx:pt>
          <cx:pt idx="47393">5</cx:pt>
          <cx:pt idx="47394">2</cx:pt>
          <cx:pt idx="47395">1</cx:pt>
          <cx:pt idx="47396">3</cx:pt>
          <cx:pt idx="47397">5</cx:pt>
          <cx:pt idx="47398">5</cx:pt>
          <cx:pt idx="47399">4</cx:pt>
          <cx:pt idx="47400">5</cx:pt>
          <cx:pt idx="47401">1</cx:pt>
          <cx:pt idx="47402">5</cx:pt>
          <cx:pt idx="47403">2</cx:pt>
          <cx:pt idx="47404">4</cx:pt>
          <cx:pt idx="47405">3</cx:pt>
          <cx:pt idx="47406">4</cx:pt>
          <cx:pt idx="47407">2</cx:pt>
          <cx:pt idx="47408">4</cx:pt>
          <cx:pt idx="47409">5</cx:pt>
          <cx:pt idx="47410">2</cx:pt>
          <cx:pt idx="47411">5</cx:pt>
          <cx:pt idx="47412">4</cx:pt>
          <cx:pt idx="47413">3</cx:pt>
          <cx:pt idx="47414">4</cx:pt>
          <cx:pt idx="47415">3</cx:pt>
          <cx:pt idx="47416">5</cx:pt>
          <cx:pt idx="47417">5</cx:pt>
          <cx:pt idx="47418">3</cx:pt>
          <cx:pt idx="47419">5</cx:pt>
          <cx:pt idx="47420">2</cx:pt>
          <cx:pt idx="47421">4</cx:pt>
          <cx:pt idx="47422">1</cx:pt>
          <cx:pt idx="47423">5</cx:pt>
          <cx:pt idx="47424">5</cx:pt>
          <cx:pt idx="47425">5</cx:pt>
          <cx:pt idx="47426">4</cx:pt>
          <cx:pt idx="47427">3</cx:pt>
          <cx:pt idx="47428">4</cx:pt>
          <cx:pt idx="47429">5</cx:pt>
          <cx:pt idx="47430">5</cx:pt>
          <cx:pt idx="47431">5</cx:pt>
          <cx:pt idx="47432">3</cx:pt>
          <cx:pt idx="47433">4</cx:pt>
          <cx:pt idx="47434">4</cx:pt>
          <cx:pt idx="47435">3</cx:pt>
          <cx:pt idx="47436">3</cx:pt>
          <cx:pt idx="47437">1</cx:pt>
          <cx:pt idx="47438">1</cx:pt>
          <cx:pt idx="47439">4</cx:pt>
          <cx:pt idx="47440">2</cx:pt>
          <cx:pt idx="47441">4</cx:pt>
          <cx:pt idx="47442">4</cx:pt>
          <cx:pt idx="47443">2</cx:pt>
          <cx:pt idx="47444">3</cx:pt>
          <cx:pt idx="47445">5</cx:pt>
          <cx:pt idx="47446">3</cx:pt>
          <cx:pt idx="47447">2</cx:pt>
          <cx:pt idx="47448">4</cx:pt>
          <cx:pt idx="47449">3</cx:pt>
          <cx:pt idx="47450">1</cx:pt>
          <cx:pt idx="47451">4</cx:pt>
          <cx:pt idx="47452">4</cx:pt>
          <cx:pt idx="47453">1</cx:pt>
          <cx:pt idx="47454">5</cx:pt>
          <cx:pt idx="47455">1</cx:pt>
          <cx:pt idx="47456">4</cx:pt>
          <cx:pt idx="47457">3</cx:pt>
          <cx:pt idx="47458">4</cx:pt>
          <cx:pt idx="47459">4</cx:pt>
          <cx:pt idx="47460">3</cx:pt>
          <cx:pt idx="47461">5</cx:pt>
          <cx:pt idx="47462">3</cx:pt>
          <cx:pt idx="47463">5</cx:pt>
          <cx:pt idx="47464">5</cx:pt>
          <cx:pt idx="47465">4</cx:pt>
          <cx:pt idx="47466">2</cx:pt>
          <cx:pt idx="47467">4</cx:pt>
          <cx:pt idx="47468">3</cx:pt>
          <cx:pt idx="47469">5</cx:pt>
          <cx:pt idx="47470">2</cx:pt>
          <cx:pt idx="47471">3</cx:pt>
          <cx:pt idx="47472">5</cx:pt>
          <cx:pt idx="47473">5</cx:pt>
          <cx:pt idx="47474">5</cx:pt>
          <cx:pt idx="47475">4</cx:pt>
          <cx:pt idx="47476">2</cx:pt>
          <cx:pt idx="47477">1</cx:pt>
          <cx:pt idx="47478">3</cx:pt>
          <cx:pt idx="47479">3</cx:pt>
          <cx:pt idx="47480">4</cx:pt>
          <cx:pt idx="47481">4</cx:pt>
          <cx:pt idx="47482">5</cx:pt>
          <cx:pt idx="47483">4</cx:pt>
          <cx:pt idx="47484">3</cx:pt>
          <cx:pt idx="47485">1</cx:pt>
          <cx:pt idx="47486">1</cx:pt>
          <cx:pt idx="47487">2</cx:pt>
          <cx:pt idx="47488">3</cx:pt>
          <cx:pt idx="47489">2</cx:pt>
          <cx:pt idx="47490">4</cx:pt>
          <cx:pt idx="47491">5</cx:pt>
          <cx:pt idx="47492">4</cx:pt>
          <cx:pt idx="47493">5</cx:pt>
          <cx:pt idx="47494">3</cx:pt>
          <cx:pt idx="47495">3</cx:pt>
          <cx:pt idx="47496">2</cx:pt>
          <cx:pt idx="47497">4</cx:pt>
          <cx:pt idx="47498">5</cx:pt>
          <cx:pt idx="47499">5</cx:pt>
          <cx:pt idx="47500">1</cx:pt>
          <cx:pt idx="47501">4</cx:pt>
          <cx:pt idx="47502">3</cx:pt>
          <cx:pt idx="47503">4</cx:pt>
          <cx:pt idx="47504">4</cx:pt>
          <cx:pt idx="47505">3</cx:pt>
          <cx:pt idx="47506">4</cx:pt>
          <cx:pt idx="47507">5</cx:pt>
          <cx:pt idx="47508">4</cx:pt>
          <cx:pt idx="47509">5</cx:pt>
          <cx:pt idx="47510">5</cx:pt>
          <cx:pt idx="47511">4</cx:pt>
          <cx:pt idx="47512">1</cx:pt>
          <cx:pt idx="47513">1</cx:pt>
          <cx:pt idx="47514">1</cx:pt>
          <cx:pt idx="47515">5</cx:pt>
          <cx:pt idx="47516">3</cx:pt>
          <cx:pt idx="47517">4</cx:pt>
          <cx:pt idx="47518">4</cx:pt>
          <cx:pt idx="47519">3</cx:pt>
          <cx:pt idx="47520">2</cx:pt>
          <cx:pt idx="47521">2</cx:pt>
          <cx:pt idx="47522">5</cx:pt>
          <cx:pt idx="47523">5</cx:pt>
          <cx:pt idx="47524">3</cx:pt>
          <cx:pt idx="47525">4</cx:pt>
          <cx:pt idx="47526">4</cx:pt>
          <cx:pt idx="47527">3</cx:pt>
          <cx:pt idx="47528">1</cx:pt>
          <cx:pt idx="47529">5</cx:pt>
          <cx:pt idx="47530">5</cx:pt>
          <cx:pt idx="47531">1</cx:pt>
          <cx:pt idx="47532">2</cx:pt>
          <cx:pt idx="47533">1</cx:pt>
          <cx:pt idx="47534">2</cx:pt>
          <cx:pt idx="47535">4</cx:pt>
          <cx:pt idx="47536">4</cx:pt>
          <cx:pt idx="47537">3</cx:pt>
          <cx:pt idx="47538">5</cx:pt>
          <cx:pt idx="47539">3</cx:pt>
          <cx:pt idx="47540">3</cx:pt>
          <cx:pt idx="47541">1</cx:pt>
          <cx:pt idx="47542">1</cx:pt>
          <cx:pt idx="47543">2</cx:pt>
          <cx:pt idx="47544">4</cx:pt>
          <cx:pt idx="47545">2</cx:pt>
          <cx:pt idx="47546">1</cx:pt>
          <cx:pt idx="47547">4</cx:pt>
          <cx:pt idx="47548">2</cx:pt>
          <cx:pt idx="47549">1</cx:pt>
          <cx:pt idx="47550">2</cx:pt>
          <cx:pt idx="47551">5</cx:pt>
          <cx:pt idx="47552">5</cx:pt>
          <cx:pt idx="47553">4</cx:pt>
          <cx:pt idx="47554">3</cx:pt>
          <cx:pt idx="47555">5</cx:pt>
          <cx:pt idx="47556">1</cx:pt>
          <cx:pt idx="47557">1</cx:pt>
          <cx:pt idx="47558">1</cx:pt>
          <cx:pt idx="47559">4</cx:pt>
          <cx:pt idx="47560">4</cx:pt>
          <cx:pt idx="47561">4</cx:pt>
          <cx:pt idx="47562">5</cx:pt>
          <cx:pt idx="47563">4</cx:pt>
          <cx:pt idx="47564">2</cx:pt>
          <cx:pt idx="47565">5</cx:pt>
          <cx:pt idx="47566">4</cx:pt>
          <cx:pt idx="47567">5</cx:pt>
          <cx:pt idx="47568">5</cx:pt>
          <cx:pt idx="47569">5</cx:pt>
          <cx:pt idx="47570">5</cx:pt>
          <cx:pt idx="47571">4</cx:pt>
          <cx:pt idx="47572">5</cx:pt>
          <cx:pt idx="47573">5</cx:pt>
          <cx:pt idx="47574">2</cx:pt>
          <cx:pt idx="47575">5</cx:pt>
          <cx:pt idx="47576">5</cx:pt>
          <cx:pt idx="47577">3</cx:pt>
          <cx:pt idx="47578">5</cx:pt>
          <cx:pt idx="47579">3</cx:pt>
          <cx:pt idx="47580">4</cx:pt>
          <cx:pt idx="47581">2</cx:pt>
          <cx:pt idx="47582">4</cx:pt>
          <cx:pt idx="47583">5</cx:pt>
          <cx:pt idx="47584">4</cx:pt>
          <cx:pt idx="47585">5</cx:pt>
          <cx:pt idx="47586">5</cx:pt>
          <cx:pt idx="47587">3</cx:pt>
          <cx:pt idx="47588">5</cx:pt>
          <cx:pt idx="47589">1</cx:pt>
          <cx:pt idx="47590">4</cx:pt>
          <cx:pt idx="47591">4</cx:pt>
          <cx:pt idx="47592">5</cx:pt>
          <cx:pt idx="47593">2</cx:pt>
          <cx:pt idx="47594">5</cx:pt>
          <cx:pt idx="47595">2</cx:pt>
          <cx:pt idx="47596">5</cx:pt>
          <cx:pt idx="47597">3</cx:pt>
          <cx:pt idx="47598">5</cx:pt>
          <cx:pt idx="47599">5</cx:pt>
          <cx:pt idx="47600">5</cx:pt>
          <cx:pt idx="47601">1</cx:pt>
          <cx:pt idx="47602">5</cx:pt>
          <cx:pt idx="47603">4</cx:pt>
          <cx:pt idx="47604">2</cx:pt>
          <cx:pt idx="47605">4</cx:pt>
          <cx:pt idx="47606">4</cx:pt>
          <cx:pt idx="47607">3</cx:pt>
          <cx:pt idx="47608">5</cx:pt>
          <cx:pt idx="47609">3</cx:pt>
          <cx:pt idx="47610">5</cx:pt>
          <cx:pt idx="47611">5</cx:pt>
          <cx:pt idx="47612">4</cx:pt>
          <cx:pt idx="47613">2</cx:pt>
          <cx:pt idx="47614">3</cx:pt>
          <cx:pt idx="47615">2</cx:pt>
          <cx:pt idx="47616">1</cx:pt>
          <cx:pt idx="47617">5</cx:pt>
          <cx:pt idx="47618">4</cx:pt>
          <cx:pt idx="47619">1</cx:pt>
          <cx:pt idx="47620">4</cx:pt>
          <cx:pt idx="47621">2</cx:pt>
          <cx:pt idx="47622">3</cx:pt>
          <cx:pt idx="47623">5</cx:pt>
          <cx:pt idx="47624">4</cx:pt>
          <cx:pt idx="47625">4</cx:pt>
          <cx:pt idx="47626">3</cx:pt>
          <cx:pt idx="47627">3</cx:pt>
          <cx:pt idx="47628">5</cx:pt>
          <cx:pt idx="47629">1</cx:pt>
          <cx:pt idx="47630">5</cx:pt>
          <cx:pt idx="47631">5</cx:pt>
          <cx:pt idx="47632">3</cx:pt>
          <cx:pt idx="47633">4</cx:pt>
          <cx:pt idx="47634">4</cx:pt>
          <cx:pt idx="47635">3</cx:pt>
          <cx:pt idx="47636">5</cx:pt>
          <cx:pt idx="47637">5</cx:pt>
          <cx:pt idx="47638">5</cx:pt>
          <cx:pt idx="47639">2</cx:pt>
          <cx:pt idx="47640">4</cx:pt>
          <cx:pt idx="47641">1</cx:pt>
          <cx:pt idx="47642">2</cx:pt>
          <cx:pt idx="47643">4</cx:pt>
          <cx:pt idx="47644">1</cx:pt>
          <cx:pt idx="47645">4</cx:pt>
          <cx:pt idx="47646">4</cx:pt>
          <cx:pt idx="47647">1</cx:pt>
          <cx:pt idx="47648">2</cx:pt>
          <cx:pt idx="47649">1</cx:pt>
          <cx:pt idx="47650">5</cx:pt>
          <cx:pt idx="47651">4</cx:pt>
          <cx:pt idx="47652">3</cx:pt>
          <cx:pt idx="47653">3</cx:pt>
          <cx:pt idx="47654">5</cx:pt>
          <cx:pt idx="47655">5</cx:pt>
          <cx:pt idx="47656">4</cx:pt>
          <cx:pt idx="47657">1</cx:pt>
          <cx:pt idx="47658">4</cx:pt>
          <cx:pt idx="47659">3</cx:pt>
          <cx:pt idx="47660">2</cx:pt>
          <cx:pt idx="47661">4</cx:pt>
          <cx:pt idx="47662">3</cx:pt>
          <cx:pt idx="47663">3</cx:pt>
          <cx:pt idx="47664">4</cx:pt>
          <cx:pt idx="47665">3</cx:pt>
          <cx:pt idx="47666">3</cx:pt>
          <cx:pt idx="47667">3</cx:pt>
          <cx:pt idx="47668">2</cx:pt>
          <cx:pt idx="47669">4</cx:pt>
          <cx:pt idx="47670">1</cx:pt>
          <cx:pt idx="47671">4</cx:pt>
          <cx:pt idx="47672">5</cx:pt>
          <cx:pt idx="47673">4</cx:pt>
          <cx:pt idx="47674">4</cx:pt>
          <cx:pt idx="47675">2</cx:pt>
          <cx:pt idx="47676">4</cx:pt>
          <cx:pt idx="47677">2</cx:pt>
          <cx:pt idx="47678">3</cx:pt>
          <cx:pt idx="47679">4</cx:pt>
          <cx:pt idx="47680">2</cx:pt>
          <cx:pt idx="47681">1</cx:pt>
          <cx:pt idx="47682">4</cx:pt>
          <cx:pt idx="47683">4</cx:pt>
          <cx:pt idx="47684">4</cx:pt>
          <cx:pt idx="47685">3</cx:pt>
          <cx:pt idx="47686">1</cx:pt>
          <cx:pt idx="47687">3</cx:pt>
          <cx:pt idx="47688">3</cx:pt>
          <cx:pt idx="47689">1</cx:pt>
          <cx:pt idx="47690">3</cx:pt>
          <cx:pt idx="47691">2</cx:pt>
          <cx:pt idx="47692">4</cx:pt>
          <cx:pt idx="47693">4</cx:pt>
          <cx:pt idx="47694">4</cx:pt>
          <cx:pt idx="47695">5</cx:pt>
          <cx:pt idx="47696">4</cx:pt>
          <cx:pt idx="47697">3</cx:pt>
          <cx:pt idx="47698">5</cx:pt>
          <cx:pt idx="47699">4</cx:pt>
          <cx:pt idx="47700">5</cx:pt>
          <cx:pt idx="47701">4</cx:pt>
          <cx:pt idx="47702">5</cx:pt>
          <cx:pt idx="47703">3</cx:pt>
          <cx:pt idx="47704">5</cx:pt>
          <cx:pt idx="47705">5</cx:pt>
          <cx:pt idx="47706">4</cx:pt>
          <cx:pt idx="47707">4</cx:pt>
          <cx:pt idx="47708">5</cx:pt>
          <cx:pt idx="47709">5</cx:pt>
          <cx:pt idx="47710">2</cx:pt>
          <cx:pt idx="47711">4</cx:pt>
          <cx:pt idx="47712">4</cx:pt>
          <cx:pt idx="47713">4</cx:pt>
          <cx:pt idx="47714">3</cx:pt>
          <cx:pt idx="47715">4</cx:pt>
          <cx:pt idx="47716">2</cx:pt>
          <cx:pt idx="47717">5</cx:pt>
          <cx:pt idx="47718">3</cx:pt>
          <cx:pt idx="47719">5</cx:pt>
          <cx:pt idx="47720">4</cx:pt>
          <cx:pt idx="47721">4</cx:pt>
          <cx:pt idx="47722">3</cx:pt>
          <cx:pt idx="47723">3</cx:pt>
          <cx:pt idx="47724">5</cx:pt>
          <cx:pt idx="47725">2</cx:pt>
          <cx:pt idx="47726">4</cx:pt>
          <cx:pt idx="47727">3</cx:pt>
          <cx:pt idx="47728">5</cx:pt>
          <cx:pt idx="47729">3</cx:pt>
          <cx:pt idx="47730">4</cx:pt>
          <cx:pt idx="47731">5</cx:pt>
          <cx:pt idx="47732">4</cx:pt>
          <cx:pt idx="47733">2</cx:pt>
          <cx:pt idx="47734">1</cx:pt>
          <cx:pt idx="47735">5</cx:pt>
          <cx:pt idx="47736">1</cx:pt>
          <cx:pt idx="47737">4</cx:pt>
          <cx:pt idx="47738">5</cx:pt>
          <cx:pt idx="47739">2</cx:pt>
          <cx:pt idx="47740">3</cx:pt>
          <cx:pt idx="47741">2</cx:pt>
          <cx:pt idx="47742">2</cx:pt>
          <cx:pt idx="47743">5</cx:pt>
          <cx:pt idx="47744">5</cx:pt>
          <cx:pt idx="47745">3</cx:pt>
          <cx:pt idx="47746">4</cx:pt>
          <cx:pt idx="47747">2</cx:pt>
          <cx:pt idx="47748">3</cx:pt>
          <cx:pt idx="47749">3</cx:pt>
          <cx:pt idx="47750">5</cx:pt>
          <cx:pt idx="47751">4</cx:pt>
          <cx:pt idx="47752">3</cx:pt>
          <cx:pt idx="47753">5</cx:pt>
          <cx:pt idx="47754">4</cx:pt>
          <cx:pt idx="47755">1</cx:pt>
          <cx:pt idx="47756">5</cx:pt>
          <cx:pt idx="47757">3</cx:pt>
          <cx:pt idx="47758">3</cx:pt>
          <cx:pt idx="47759">4</cx:pt>
          <cx:pt idx="47760">3</cx:pt>
          <cx:pt idx="47761">5</cx:pt>
          <cx:pt idx="47762">4</cx:pt>
          <cx:pt idx="47763">4</cx:pt>
          <cx:pt idx="47764">5</cx:pt>
          <cx:pt idx="47765">5</cx:pt>
          <cx:pt idx="47766">2</cx:pt>
          <cx:pt idx="47767">3</cx:pt>
          <cx:pt idx="47768">4</cx:pt>
          <cx:pt idx="47769">3</cx:pt>
          <cx:pt idx="47770">4</cx:pt>
          <cx:pt idx="47771">3</cx:pt>
          <cx:pt idx="47772">5</cx:pt>
          <cx:pt idx="47773">5</cx:pt>
          <cx:pt idx="47774">5</cx:pt>
          <cx:pt idx="47775">2</cx:pt>
          <cx:pt idx="47776">5</cx:pt>
          <cx:pt idx="47777">5</cx:pt>
          <cx:pt idx="47778">3</cx:pt>
          <cx:pt idx="47779">3</cx:pt>
          <cx:pt idx="47780">4</cx:pt>
          <cx:pt idx="47781">5</cx:pt>
          <cx:pt idx="47782">4</cx:pt>
          <cx:pt idx="47783">3</cx:pt>
          <cx:pt idx="47784">1</cx:pt>
          <cx:pt idx="47785">2</cx:pt>
          <cx:pt idx="47786">4</cx:pt>
          <cx:pt idx="47787">3</cx:pt>
          <cx:pt idx="47788">4</cx:pt>
          <cx:pt idx="47789">1</cx:pt>
          <cx:pt idx="47790">3</cx:pt>
          <cx:pt idx="47791">4</cx:pt>
          <cx:pt idx="47792">5</cx:pt>
          <cx:pt idx="47793">3</cx:pt>
          <cx:pt idx="47794">5</cx:pt>
          <cx:pt idx="47795">5</cx:pt>
          <cx:pt idx="47796">1</cx:pt>
          <cx:pt idx="47797">2</cx:pt>
          <cx:pt idx="47798">5</cx:pt>
          <cx:pt idx="47799">5</cx:pt>
          <cx:pt idx="47800">4</cx:pt>
          <cx:pt idx="47801">5</cx:pt>
          <cx:pt idx="47802">2</cx:pt>
          <cx:pt idx="47803">5</cx:pt>
          <cx:pt idx="47804">4</cx:pt>
          <cx:pt idx="47805">2</cx:pt>
          <cx:pt idx="47806">2</cx:pt>
          <cx:pt idx="47807">3</cx:pt>
          <cx:pt idx="47808">3</cx:pt>
          <cx:pt idx="47809">4</cx:pt>
          <cx:pt idx="47810">3</cx:pt>
          <cx:pt idx="47811">3</cx:pt>
          <cx:pt idx="47812">4</cx:pt>
          <cx:pt idx="47813">3</cx:pt>
          <cx:pt idx="47814">2</cx:pt>
          <cx:pt idx="47815">4</cx:pt>
          <cx:pt idx="47816">2</cx:pt>
          <cx:pt idx="47817">5</cx:pt>
          <cx:pt idx="47818">3</cx:pt>
          <cx:pt idx="47819">3</cx:pt>
          <cx:pt idx="47820">2</cx:pt>
          <cx:pt idx="47821">1</cx:pt>
          <cx:pt idx="47822">4</cx:pt>
          <cx:pt idx="47823">4</cx:pt>
          <cx:pt idx="47824">5</cx:pt>
          <cx:pt idx="47825">5</cx:pt>
          <cx:pt idx="47826">4</cx:pt>
          <cx:pt idx="47827">4</cx:pt>
          <cx:pt idx="47828">4</cx:pt>
          <cx:pt idx="47829">4</cx:pt>
          <cx:pt idx="47830">4</cx:pt>
          <cx:pt idx="47831">4</cx:pt>
          <cx:pt idx="47832">3</cx:pt>
          <cx:pt idx="47833">2</cx:pt>
          <cx:pt idx="47834">5</cx:pt>
          <cx:pt idx="47835">2</cx:pt>
          <cx:pt idx="47836">5</cx:pt>
          <cx:pt idx="47837">2</cx:pt>
          <cx:pt idx="47838">4</cx:pt>
          <cx:pt idx="47839">3</cx:pt>
          <cx:pt idx="47840">1</cx:pt>
          <cx:pt idx="47841">5</cx:pt>
          <cx:pt idx="47842">5</cx:pt>
          <cx:pt idx="47843">3</cx:pt>
          <cx:pt idx="47844">3</cx:pt>
          <cx:pt idx="47845">2</cx:pt>
          <cx:pt idx="47846">5</cx:pt>
          <cx:pt idx="47847">2</cx:pt>
          <cx:pt idx="47848">4</cx:pt>
          <cx:pt idx="47849">5</cx:pt>
          <cx:pt idx="47850">4</cx:pt>
          <cx:pt idx="47851">1</cx:pt>
          <cx:pt idx="47852">5</cx:pt>
          <cx:pt idx="47853">4</cx:pt>
          <cx:pt idx="47854">5</cx:pt>
          <cx:pt idx="47855">3</cx:pt>
          <cx:pt idx="47856">3</cx:pt>
          <cx:pt idx="47857">4</cx:pt>
          <cx:pt idx="47858">4</cx:pt>
          <cx:pt idx="47859">4</cx:pt>
          <cx:pt idx="47860">3</cx:pt>
          <cx:pt idx="47861">3</cx:pt>
          <cx:pt idx="47862">5</cx:pt>
          <cx:pt idx="47863">4</cx:pt>
          <cx:pt idx="47864">2</cx:pt>
          <cx:pt idx="47865">4</cx:pt>
          <cx:pt idx="47866">5</cx:pt>
          <cx:pt idx="47867">5</cx:pt>
          <cx:pt idx="47868">5</cx:pt>
          <cx:pt idx="47869">4</cx:pt>
          <cx:pt idx="47870">3</cx:pt>
          <cx:pt idx="47871">1</cx:pt>
          <cx:pt idx="47872">5</cx:pt>
          <cx:pt idx="47873">1</cx:pt>
          <cx:pt idx="47874">1</cx:pt>
          <cx:pt idx="47875">3</cx:pt>
          <cx:pt idx="47876">3</cx:pt>
          <cx:pt idx="47877">4</cx:pt>
          <cx:pt idx="47878">5</cx:pt>
          <cx:pt idx="47879">4</cx:pt>
          <cx:pt idx="47880">4</cx:pt>
          <cx:pt idx="47881">3</cx:pt>
          <cx:pt idx="47882">1</cx:pt>
          <cx:pt idx="47883">5</cx:pt>
          <cx:pt idx="47884">1</cx:pt>
          <cx:pt idx="47885">5</cx:pt>
          <cx:pt idx="47886">4</cx:pt>
          <cx:pt idx="47887">5</cx:pt>
          <cx:pt idx="47888">5</cx:pt>
          <cx:pt idx="47889">4</cx:pt>
          <cx:pt idx="47890">4</cx:pt>
          <cx:pt idx="47891">4</cx:pt>
          <cx:pt idx="47892">3</cx:pt>
          <cx:pt idx="47893">5</cx:pt>
          <cx:pt idx="47894">3</cx:pt>
          <cx:pt idx="47895">3</cx:pt>
          <cx:pt idx="47896">1</cx:pt>
          <cx:pt idx="47897">5</cx:pt>
          <cx:pt idx="47898">2</cx:pt>
          <cx:pt idx="47899">4</cx:pt>
          <cx:pt idx="47900">3</cx:pt>
          <cx:pt idx="47901">2</cx:pt>
          <cx:pt idx="47902">1</cx:pt>
          <cx:pt idx="47903">3</cx:pt>
          <cx:pt idx="47904">4</cx:pt>
          <cx:pt idx="47905">5</cx:pt>
          <cx:pt idx="47906">1</cx:pt>
          <cx:pt idx="47907">4</cx:pt>
          <cx:pt idx="47908">3</cx:pt>
          <cx:pt idx="47909">4</cx:pt>
          <cx:pt idx="47910">3</cx:pt>
          <cx:pt idx="47911">4</cx:pt>
          <cx:pt idx="47912">4</cx:pt>
          <cx:pt idx="47913">4</cx:pt>
          <cx:pt idx="47914">3</cx:pt>
          <cx:pt idx="47915">5</cx:pt>
          <cx:pt idx="47916">3</cx:pt>
          <cx:pt idx="47917">5</cx:pt>
          <cx:pt idx="47918">3</cx:pt>
          <cx:pt idx="47919">3</cx:pt>
          <cx:pt idx="47920">4</cx:pt>
          <cx:pt idx="47921">4</cx:pt>
          <cx:pt idx="47922">3</cx:pt>
          <cx:pt idx="47923">5</cx:pt>
          <cx:pt idx="47924">1</cx:pt>
          <cx:pt idx="47925">4</cx:pt>
          <cx:pt idx="47926">1</cx:pt>
          <cx:pt idx="47927">5</cx:pt>
          <cx:pt idx="47928">5</cx:pt>
          <cx:pt idx="47929">4</cx:pt>
          <cx:pt idx="47930">5</cx:pt>
          <cx:pt idx="47931">4</cx:pt>
          <cx:pt idx="47932">2</cx:pt>
          <cx:pt idx="47933">2</cx:pt>
          <cx:pt idx="47934">2</cx:pt>
          <cx:pt idx="47935">4</cx:pt>
          <cx:pt idx="47936">4</cx:pt>
          <cx:pt idx="47937">5</cx:pt>
          <cx:pt idx="47938">2</cx:pt>
          <cx:pt idx="47939">4</cx:pt>
          <cx:pt idx="47940">5</cx:pt>
          <cx:pt idx="47941">4</cx:pt>
          <cx:pt idx="47942">5</cx:pt>
          <cx:pt idx="47943">3</cx:pt>
          <cx:pt idx="47944">5</cx:pt>
          <cx:pt idx="47945">5</cx:pt>
          <cx:pt idx="47946">4</cx:pt>
          <cx:pt idx="47947">5</cx:pt>
          <cx:pt idx="47948">3</cx:pt>
          <cx:pt idx="47949">5</cx:pt>
          <cx:pt idx="47950">4</cx:pt>
          <cx:pt idx="47951">1</cx:pt>
          <cx:pt idx="47952">1</cx:pt>
          <cx:pt idx="47953">3</cx:pt>
          <cx:pt idx="47954">5</cx:pt>
          <cx:pt idx="47955">3</cx:pt>
          <cx:pt idx="47956">5</cx:pt>
          <cx:pt idx="47957">3</cx:pt>
          <cx:pt idx="47958">5</cx:pt>
          <cx:pt idx="47959">3</cx:pt>
          <cx:pt idx="47960">5</cx:pt>
          <cx:pt idx="47961">2</cx:pt>
          <cx:pt idx="47962">4</cx:pt>
          <cx:pt idx="47963">4</cx:pt>
          <cx:pt idx="47964">1</cx:pt>
          <cx:pt idx="47965">1</cx:pt>
          <cx:pt idx="47966">4</cx:pt>
          <cx:pt idx="47967">4</cx:pt>
          <cx:pt idx="47968">1</cx:pt>
          <cx:pt idx="47969">4</cx:pt>
          <cx:pt idx="47970">5</cx:pt>
          <cx:pt idx="47971">5</cx:pt>
          <cx:pt idx="47972">5</cx:pt>
          <cx:pt idx="47973">5</cx:pt>
          <cx:pt idx="47974">5</cx:pt>
          <cx:pt idx="47975">4</cx:pt>
          <cx:pt idx="47976">1</cx:pt>
          <cx:pt idx="47977">2</cx:pt>
          <cx:pt idx="47978">3</cx:pt>
          <cx:pt idx="47979">4</cx:pt>
          <cx:pt idx="47980">5</cx:pt>
          <cx:pt idx="47981">5</cx:pt>
          <cx:pt idx="47982">3</cx:pt>
          <cx:pt idx="47983">5</cx:pt>
          <cx:pt idx="47984">4</cx:pt>
          <cx:pt idx="47985">1</cx:pt>
          <cx:pt idx="47986">3</cx:pt>
          <cx:pt idx="47987">4</cx:pt>
          <cx:pt idx="47988">3</cx:pt>
          <cx:pt idx="47989">4</cx:pt>
          <cx:pt idx="47990">2</cx:pt>
          <cx:pt idx="47991">3</cx:pt>
          <cx:pt idx="47992">4</cx:pt>
          <cx:pt idx="47993">4</cx:pt>
          <cx:pt idx="47994">4</cx:pt>
          <cx:pt idx="47995">4</cx:pt>
          <cx:pt idx="47996">1</cx:pt>
          <cx:pt idx="47997">5</cx:pt>
          <cx:pt idx="47998">2</cx:pt>
          <cx:pt idx="47999">1</cx:pt>
          <cx:pt idx="48000">3</cx:pt>
          <cx:pt idx="48001">3</cx:pt>
          <cx:pt idx="48002">3</cx:pt>
          <cx:pt idx="48003">5</cx:pt>
          <cx:pt idx="48004">5</cx:pt>
          <cx:pt idx="48005">1</cx:pt>
          <cx:pt idx="48006">5</cx:pt>
          <cx:pt idx="48007">4</cx:pt>
          <cx:pt idx="48008">1</cx:pt>
          <cx:pt idx="48009">4</cx:pt>
          <cx:pt idx="48010">3</cx:pt>
          <cx:pt idx="48011">4</cx:pt>
          <cx:pt idx="48012">3</cx:pt>
          <cx:pt idx="48013">2</cx:pt>
          <cx:pt idx="48014">5</cx:pt>
          <cx:pt idx="48015">3</cx:pt>
          <cx:pt idx="48016">1</cx:pt>
          <cx:pt idx="48017">5</cx:pt>
          <cx:pt idx="48018">1</cx:pt>
          <cx:pt idx="48019">2</cx:pt>
          <cx:pt idx="48020">1</cx:pt>
          <cx:pt idx="48021">1</cx:pt>
          <cx:pt idx="48022">4</cx:pt>
          <cx:pt idx="48023">4</cx:pt>
          <cx:pt idx="48024">5</cx:pt>
          <cx:pt idx="48025">4</cx:pt>
          <cx:pt idx="48026">3</cx:pt>
          <cx:pt idx="48027">4</cx:pt>
          <cx:pt idx="48028">5</cx:pt>
          <cx:pt idx="48029">1</cx:pt>
          <cx:pt idx="48030">4</cx:pt>
          <cx:pt idx="48031">5</cx:pt>
          <cx:pt idx="48032">5</cx:pt>
          <cx:pt idx="48033">4</cx:pt>
          <cx:pt idx="48034">5</cx:pt>
          <cx:pt idx="48035">4</cx:pt>
          <cx:pt idx="48036">4</cx:pt>
          <cx:pt idx="48037">1</cx:pt>
          <cx:pt idx="48038">1</cx:pt>
          <cx:pt idx="48039">4</cx:pt>
          <cx:pt idx="48040">5</cx:pt>
          <cx:pt idx="48041">3</cx:pt>
          <cx:pt idx="48042">2</cx:pt>
          <cx:pt idx="48043">5</cx:pt>
          <cx:pt idx="48044">4</cx:pt>
          <cx:pt idx="48045">1</cx:pt>
          <cx:pt idx="48046">3</cx:pt>
          <cx:pt idx="48047">5</cx:pt>
          <cx:pt idx="48048">3</cx:pt>
          <cx:pt idx="48049">1</cx:pt>
          <cx:pt idx="48050">2</cx:pt>
          <cx:pt idx="48051">3</cx:pt>
          <cx:pt idx="48052">1</cx:pt>
          <cx:pt idx="48053">4</cx:pt>
          <cx:pt idx="48054">4</cx:pt>
          <cx:pt idx="48055">5</cx:pt>
          <cx:pt idx="48056">1</cx:pt>
          <cx:pt idx="48057">2</cx:pt>
          <cx:pt idx="48058">4</cx:pt>
          <cx:pt idx="48059">5</cx:pt>
          <cx:pt idx="48060">4</cx:pt>
          <cx:pt idx="48061">4</cx:pt>
          <cx:pt idx="48062">2</cx:pt>
          <cx:pt idx="48063">5</cx:pt>
          <cx:pt idx="48064">3</cx:pt>
          <cx:pt idx="48065">2</cx:pt>
          <cx:pt idx="48066">1</cx:pt>
          <cx:pt idx="48067">3</cx:pt>
          <cx:pt idx="48068">4</cx:pt>
          <cx:pt idx="48069">5</cx:pt>
          <cx:pt idx="48070">3</cx:pt>
          <cx:pt idx="48071">4</cx:pt>
          <cx:pt idx="48072">5</cx:pt>
          <cx:pt idx="48073">4</cx:pt>
          <cx:pt idx="48074">4</cx:pt>
          <cx:pt idx="48075">3</cx:pt>
          <cx:pt idx="48076">3</cx:pt>
          <cx:pt idx="48077">1</cx:pt>
          <cx:pt idx="48078">4</cx:pt>
          <cx:pt idx="48079">5</cx:pt>
          <cx:pt idx="48080">2</cx:pt>
          <cx:pt idx="48081">4</cx:pt>
          <cx:pt idx="48082">2</cx:pt>
          <cx:pt idx="48083">5</cx:pt>
          <cx:pt idx="48084">3</cx:pt>
          <cx:pt idx="48085">4</cx:pt>
          <cx:pt idx="48086">4</cx:pt>
          <cx:pt idx="48087">4</cx:pt>
          <cx:pt idx="48088">5</cx:pt>
          <cx:pt idx="48089">3</cx:pt>
          <cx:pt idx="48090">4</cx:pt>
          <cx:pt idx="48091">1</cx:pt>
          <cx:pt idx="48092">4</cx:pt>
          <cx:pt idx="48093">5</cx:pt>
          <cx:pt idx="48094">2</cx:pt>
          <cx:pt idx="48095">3</cx:pt>
          <cx:pt idx="48096">5</cx:pt>
          <cx:pt idx="48097">1</cx:pt>
          <cx:pt idx="48098">4</cx:pt>
          <cx:pt idx="48099">1</cx:pt>
          <cx:pt idx="48100">4</cx:pt>
          <cx:pt idx="48101">2</cx:pt>
          <cx:pt idx="48102">3</cx:pt>
          <cx:pt idx="48103">5</cx:pt>
          <cx:pt idx="48104">1</cx:pt>
          <cx:pt idx="48105">3</cx:pt>
          <cx:pt idx="48106">2</cx:pt>
          <cx:pt idx="48107">4</cx:pt>
          <cx:pt idx="48108">5</cx:pt>
          <cx:pt idx="48109">5</cx:pt>
          <cx:pt idx="48110">4</cx:pt>
          <cx:pt idx="48111">2</cx:pt>
          <cx:pt idx="48112">1</cx:pt>
          <cx:pt idx="48113">3</cx:pt>
          <cx:pt idx="48114">4</cx:pt>
          <cx:pt idx="48115">4</cx:pt>
          <cx:pt idx="48116">1</cx:pt>
          <cx:pt idx="48117">1</cx:pt>
          <cx:pt idx="48118">1</cx:pt>
          <cx:pt idx="48119">5</cx:pt>
          <cx:pt idx="48120">4</cx:pt>
          <cx:pt idx="48121">2</cx:pt>
          <cx:pt idx="48122">5</cx:pt>
          <cx:pt idx="48123">5</cx:pt>
          <cx:pt idx="48124">3</cx:pt>
          <cx:pt idx="48125">4</cx:pt>
          <cx:pt idx="48126">1</cx:pt>
          <cx:pt idx="48127">5</cx:pt>
          <cx:pt idx="48128">5</cx:pt>
          <cx:pt idx="48129">3</cx:pt>
          <cx:pt idx="48130">5</cx:pt>
          <cx:pt idx="48131">4</cx:pt>
          <cx:pt idx="48132">5</cx:pt>
          <cx:pt idx="48133">2</cx:pt>
          <cx:pt idx="48134">5</cx:pt>
          <cx:pt idx="48135">3</cx:pt>
          <cx:pt idx="48136">4</cx:pt>
          <cx:pt idx="48137">4</cx:pt>
          <cx:pt idx="48138">5</cx:pt>
          <cx:pt idx="48139">3</cx:pt>
          <cx:pt idx="48140">5</cx:pt>
          <cx:pt idx="48141">4</cx:pt>
          <cx:pt idx="48142">3</cx:pt>
          <cx:pt idx="48143">3</cx:pt>
          <cx:pt idx="48144">4</cx:pt>
          <cx:pt idx="48145">5</cx:pt>
          <cx:pt idx="48146">1</cx:pt>
          <cx:pt idx="48147">2</cx:pt>
          <cx:pt idx="48148">3</cx:pt>
          <cx:pt idx="48149">4</cx:pt>
          <cx:pt idx="48150">3</cx:pt>
          <cx:pt idx="48151">5</cx:pt>
          <cx:pt idx="48152">5</cx:pt>
          <cx:pt idx="48153">4</cx:pt>
          <cx:pt idx="48154">1</cx:pt>
          <cx:pt idx="48155">4</cx:pt>
          <cx:pt idx="48156">5</cx:pt>
          <cx:pt idx="48157">4</cx:pt>
          <cx:pt idx="48158">4</cx:pt>
          <cx:pt idx="48159">5</cx:pt>
          <cx:pt idx="48160">5</cx:pt>
          <cx:pt idx="48161">2</cx:pt>
          <cx:pt idx="48162">4</cx:pt>
          <cx:pt idx="48163">2</cx:pt>
          <cx:pt idx="48164">4</cx:pt>
          <cx:pt idx="48165">4</cx:pt>
          <cx:pt idx="48166">2</cx:pt>
          <cx:pt idx="48167">3</cx:pt>
          <cx:pt idx="48168">2</cx:pt>
          <cx:pt idx="48169">4</cx:pt>
          <cx:pt idx="48170">5</cx:pt>
          <cx:pt idx="48171">4</cx:pt>
          <cx:pt idx="48172">2</cx:pt>
          <cx:pt idx="48173">5</cx:pt>
          <cx:pt idx="48174">5</cx:pt>
          <cx:pt idx="48175">5</cx:pt>
          <cx:pt idx="48176">5</cx:pt>
          <cx:pt idx="48177">5</cx:pt>
          <cx:pt idx="48178">3</cx:pt>
          <cx:pt idx="48179">5</cx:pt>
          <cx:pt idx="48180">4</cx:pt>
          <cx:pt idx="48181">4</cx:pt>
          <cx:pt idx="48182">3</cx:pt>
          <cx:pt idx="48183">4</cx:pt>
          <cx:pt idx="48184">4</cx:pt>
          <cx:pt idx="48185">1</cx:pt>
          <cx:pt idx="48186">5</cx:pt>
          <cx:pt idx="48187">4</cx:pt>
          <cx:pt idx="48188">5</cx:pt>
          <cx:pt idx="48189">4</cx:pt>
          <cx:pt idx="48190">1</cx:pt>
          <cx:pt idx="48191">5</cx:pt>
          <cx:pt idx="48192">5</cx:pt>
          <cx:pt idx="48193">4</cx:pt>
          <cx:pt idx="48194">4</cx:pt>
          <cx:pt idx="48195">4</cx:pt>
          <cx:pt idx="48196">5</cx:pt>
          <cx:pt idx="48197">5</cx:pt>
          <cx:pt idx="48198">1</cx:pt>
          <cx:pt idx="48199">5</cx:pt>
          <cx:pt idx="48200">4</cx:pt>
          <cx:pt idx="48201">4</cx:pt>
          <cx:pt idx="48202">3</cx:pt>
          <cx:pt idx="48203">5</cx:pt>
          <cx:pt idx="48204">5</cx:pt>
          <cx:pt idx="48205">4</cx:pt>
          <cx:pt idx="48206">5</cx:pt>
          <cx:pt idx="48207">4</cx:pt>
          <cx:pt idx="48208">4</cx:pt>
          <cx:pt idx="48209">4</cx:pt>
          <cx:pt idx="48210">5</cx:pt>
          <cx:pt idx="48211">3</cx:pt>
          <cx:pt idx="48212">4</cx:pt>
          <cx:pt idx="48213">3</cx:pt>
          <cx:pt idx="48214">2</cx:pt>
          <cx:pt idx="48215">4</cx:pt>
          <cx:pt idx="48216">3</cx:pt>
          <cx:pt idx="48217">3</cx:pt>
          <cx:pt idx="48218">3</cx:pt>
          <cx:pt idx="48219">2</cx:pt>
          <cx:pt idx="48220">2</cx:pt>
          <cx:pt idx="48221">4</cx:pt>
          <cx:pt idx="48222">3</cx:pt>
          <cx:pt idx="48223">3</cx:pt>
          <cx:pt idx="48224">2</cx:pt>
          <cx:pt idx="48225">5</cx:pt>
          <cx:pt idx="48226">4</cx:pt>
          <cx:pt idx="48227">4</cx:pt>
          <cx:pt idx="48228">2</cx:pt>
          <cx:pt idx="48229">3</cx:pt>
          <cx:pt idx="48230">3</cx:pt>
          <cx:pt idx="48231">4</cx:pt>
          <cx:pt idx="48232">5</cx:pt>
          <cx:pt idx="48233">5</cx:pt>
          <cx:pt idx="48234">4</cx:pt>
          <cx:pt idx="48235">5</cx:pt>
          <cx:pt idx="48236">1</cx:pt>
          <cx:pt idx="48237">4</cx:pt>
          <cx:pt idx="48238">5</cx:pt>
          <cx:pt idx="48239">5</cx:pt>
          <cx:pt idx="48240">2</cx:pt>
          <cx:pt idx="48241">2</cx:pt>
          <cx:pt idx="48242">2</cx:pt>
          <cx:pt idx="48243">4</cx:pt>
          <cx:pt idx="48244">5</cx:pt>
          <cx:pt idx="48245">5</cx:pt>
          <cx:pt idx="48246">5</cx:pt>
          <cx:pt idx="48247">4</cx:pt>
          <cx:pt idx="48248">1</cx:pt>
          <cx:pt idx="48249">5</cx:pt>
          <cx:pt idx="48250">4</cx:pt>
          <cx:pt idx="48251">5</cx:pt>
          <cx:pt idx="48252">4</cx:pt>
          <cx:pt idx="48253">5</cx:pt>
          <cx:pt idx="48254">1</cx:pt>
          <cx:pt idx="48255">3</cx:pt>
          <cx:pt idx="48256">4</cx:pt>
          <cx:pt idx="48257">1</cx:pt>
          <cx:pt idx="48258">5</cx:pt>
          <cx:pt idx="48259">5</cx:pt>
          <cx:pt idx="48260">3</cx:pt>
          <cx:pt idx="48261">3</cx:pt>
          <cx:pt idx="48262">1</cx:pt>
          <cx:pt idx="48263">5</cx:pt>
          <cx:pt idx="48264">3</cx:pt>
          <cx:pt idx="48265">5</cx:pt>
          <cx:pt idx="48266">3</cx:pt>
          <cx:pt idx="48267">1</cx:pt>
          <cx:pt idx="48268">4</cx:pt>
          <cx:pt idx="48269">3</cx:pt>
          <cx:pt idx="48270">1</cx:pt>
          <cx:pt idx="48271">3</cx:pt>
          <cx:pt idx="48272">5</cx:pt>
          <cx:pt idx="48273">4</cx:pt>
          <cx:pt idx="48274">2</cx:pt>
          <cx:pt idx="48275">5</cx:pt>
          <cx:pt idx="48276">2</cx:pt>
          <cx:pt idx="48277">3</cx:pt>
          <cx:pt idx="48278">1</cx:pt>
          <cx:pt idx="48279">3</cx:pt>
          <cx:pt idx="48280">1</cx:pt>
          <cx:pt idx="48281">3</cx:pt>
          <cx:pt idx="48282">3</cx:pt>
          <cx:pt idx="48283">4</cx:pt>
          <cx:pt idx="48284">2</cx:pt>
          <cx:pt idx="48285">3</cx:pt>
          <cx:pt idx="48286">5</cx:pt>
          <cx:pt idx="48287">4</cx:pt>
          <cx:pt idx="48288">2</cx:pt>
          <cx:pt idx="48289">5</cx:pt>
          <cx:pt idx="48290">5</cx:pt>
          <cx:pt idx="48291">2</cx:pt>
          <cx:pt idx="48292">4</cx:pt>
          <cx:pt idx="48293">5</cx:pt>
          <cx:pt idx="48294">3</cx:pt>
          <cx:pt idx="48295">5</cx:pt>
          <cx:pt idx="48296">2</cx:pt>
          <cx:pt idx="48297">3</cx:pt>
          <cx:pt idx="48298">5</cx:pt>
          <cx:pt idx="48299">3</cx:pt>
          <cx:pt idx="48300">3</cx:pt>
          <cx:pt idx="48301">4</cx:pt>
          <cx:pt idx="48302">4</cx:pt>
          <cx:pt idx="48303">4</cx:pt>
          <cx:pt idx="48304">1</cx:pt>
          <cx:pt idx="48305">5</cx:pt>
          <cx:pt idx="48306">4</cx:pt>
          <cx:pt idx="48307">2</cx:pt>
          <cx:pt idx="48308">1</cx:pt>
          <cx:pt idx="48309">4</cx:pt>
          <cx:pt idx="48310">4</cx:pt>
          <cx:pt idx="48311">4</cx:pt>
          <cx:pt idx="48312">5</cx:pt>
          <cx:pt idx="48313">4</cx:pt>
          <cx:pt idx="48314">1</cx:pt>
          <cx:pt idx="48315">5</cx:pt>
          <cx:pt idx="48316">3</cx:pt>
          <cx:pt idx="48317">5</cx:pt>
          <cx:pt idx="48318">1</cx:pt>
          <cx:pt idx="48319">2</cx:pt>
          <cx:pt idx="48320">3</cx:pt>
          <cx:pt idx="48321">5</cx:pt>
          <cx:pt idx="48322">1</cx:pt>
          <cx:pt idx="48323">4</cx:pt>
          <cx:pt idx="48324">3</cx:pt>
          <cx:pt idx="48325">4</cx:pt>
          <cx:pt idx="48326">3</cx:pt>
          <cx:pt idx="48327">5</cx:pt>
          <cx:pt idx="48328">4</cx:pt>
          <cx:pt idx="48329">3</cx:pt>
          <cx:pt idx="48330">4</cx:pt>
          <cx:pt idx="48331">2</cx:pt>
          <cx:pt idx="48332">4</cx:pt>
          <cx:pt idx="48333">1</cx:pt>
          <cx:pt idx="48334">5</cx:pt>
          <cx:pt idx="48335">2</cx:pt>
          <cx:pt idx="48336">4</cx:pt>
          <cx:pt idx="48337">4</cx:pt>
          <cx:pt idx="48338">2</cx:pt>
          <cx:pt idx="48339">1</cx:pt>
          <cx:pt idx="48340">4</cx:pt>
          <cx:pt idx="48341">5</cx:pt>
          <cx:pt idx="48342">5</cx:pt>
          <cx:pt idx="48343">3</cx:pt>
          <cx:pt idx="48344">3</cx:pt>
          <cx:pt idx="48345">4</cx:pt>
          <cx:pt idx="48346">4</cx:pt>
          <cx:pt idx="48347">3</cx:pt>
          <cx:pt idx="48348">4</cx:pt>
          <cx:pt idx="48349">3</cx:pt>
          <cx:pt idx="48350">1</cx:pt>
          <cx:pt idx="48351">2</cx:pt>
          <cx:pt idx="48352">1</cx:pt>
          <cx:pt idx="48353">3</cx:pt>
          <cx:pt idx="48354">4</cx:pt>
          <cx:pt idx="48355">3</cx:pt>
          <cx:pt idx="48356">5</cx:pt>
          <cx:pt idx="48357">4</cx:pt>
          <cx:pt idx="48358">3</cx:pt>
          <cx:pt idx="48359">3</cx:pt>
          <cx:pt idx="48360">3</cx:pt>
          <cx:pt idx="48361">1</cx:pt>
          <cx:pt idx="48362">4</cx:pt>
          <cx:pt idx="48363">4</cx:pt>
          <cx:pt idx="48364">5</cx:pt>
          <cx:pt idx="48365">4</cx:pt>
          <cx:pt idx="48366">5</cx:pt>
          <cx:pt idx="48367">3</cx:pt>
          <cx:pt idx="48368">4</cx:pt>
          <cx:pt idx="48369">4</cx:pt>
          <cx:pt idx="48370">4</cx:pt>
          <cx:pt idx="48371">5</cx:pt>
          <cx:pt idx="48372">4</cx:pt>
          <cx:pt idx="48373">2</cx:pt>
          <cx:pt idx="48374">1</cx:pt>
          <cx:pt idx="48375">2</cx:pt>
          <cx:pt idx="48376">3</cx:pt>
          <cx:pt idx="48377">1</cx:pt>
          <cx:pt idx="48378">5</cx:pt>
          <cx:pt idx="48379">2</cx:pt>
          <cx:pt idx="48380">1</cx:pt>
          <cx:pt idx="48381">5</cx:pt>
          <cx:pt idx="48382">5</cx:pt>
          <cx:pt idx="48383">3</cx:pt>
          <cx:pt idx="48384">1</cx:pt>
          <cx:pt idx="48385">4</cx:pt>
          <cx:pt idx="48386">4</cx:pt>
          <cx:pt idx="48387">5</cx:pt>
          <cx:pt idx="48388">2</cx:pt>
          <cx:pt idx="48389">5</cx:pt>
          <cx:pt idx="48390">2</cx:pt>
          <cx:pt idx="48391">2</cx:pt>
          <cx:pt idx="48392">1</cx:pt>
          <cx:pt idx="48393">2</cx:pt>
          <cx:pt idx="48394">5</cx:pt>
          <cx:pt idx="48395">1</cx:pt>
          <cx:pt idx="48396">2</cx:pt>
          <cx:pt idx="48397">4</cx:pt>
          <cx:pt idx="48398">5</cx:pt>
          <cx:pt idx="48399">3</cx:pt>
          <cx:pt idx="48400">4</cx:pt>
          <cx:pt idx="48401">5</cx:pt>
          <cx:pt idx="48402">4</cx:pt>
          <cx:pt idx="48403">2</cx:pt>
          <cx:pt idx="48404">4</cx:pt>
          <cx:pt idx="48405">4</cx:pt>
          <cx:pt idx="48406">4</cx:pt>
          <cx:pt idx="48407">4</cx:pt>
          <cx:pt idx="48408">5</cx:pt>
          <cx:pt idx="48409">3</cx:pt>
          <cx:pt idx="48410">4</cx:pt>
          <cx:pt idx="48411">5</cx:pt>
          <cx:pt idx="48412">3</cx:pt>
          <cx:pt idx="48413">5</cx:pt>
          <cx:pt idx="48414">5</cx:pt>
          <cx:pt idx="48415">5</cx:pt>
          <cx:pt idx="48416">2</cx:pt>
          <cx:pt idx="48417">5</cx:pt>
          <cx:pt idx="48418">1</cx:pt>
          <cx:pt idx="48419">2</cx:pt>
          <cx:pt idx="48420">5</cx:pt>
          <cx:pt idx="48421">4</cx:pt>
          <cx:pt idx="48422">1</cx:pt>
          <cx:pt idx="48423">4</cx:pt>
          <cx:pt idx="48424">3</cx:pt>
          <cx:pt idx="48425">2</cx:pt>
          <cx:pt idx="48426">3</cx:pt>
          <cx:pt idx="48427">4</cx:pt>
          <cx:pt idx="48428">3</cx:pt>
          <cx:pt idx="48429">4</cx:pt>
          <cx:pt idx="48430">4</cx:pt>
          <cx:pt idx="48431">5</cx:pt>
          <cx:pt idx="48432">4</cx:pt>
          <cx:pt idx="48433">2</cx:pt>
          <cx:pt idx="48434">4</cx:pt>
          <cx:pt idx="48435">3</cx:pt>
          <cx:pt idx="48436">4</cx:pt>
          <cx:pt idx="48437">5</cx:pt>
          <cx:pt idx="48438">1</cx:pt>
          <cx:pt idx="48439">5</cx:pt>
          <cx:pt idx="48440">3</cx:pt>
          <cx:pt idx="48441">4</cx:pt>
          <cx:pt idx="48442">5</cx:pt>
          <cx:pt idx="48443">4</cx:pt>
          <cx:pt idx="48444">5</cx:pt>
          <cx:pt idx="48445">1</cx:pt>
          <cx:pt idx="48446">3</cx:pt>
          <cx:pt idx="48447">5</cx:pt>
          <cx:pt idx="48448">3</cx:pt>
          <cx:pt idx="48449">5</cx:pt>
          <cx:pt idx="48450">3</cx:pt>
          <cx:pt idx="48451">4</cx:pt>
          <cx:pt idx="48452">3</cx:pt>
          <cx:pt idx="48453">5</cx:pt>
          <cx:pt idx="48454">4</cx:pt>
          <cx:pt idx="48455">5</cx:pt>
          <cx:pt idx="48456">4</cx:pt>
          <cx:pt idx="48457">1</cx:pt>
          <cx:pt idx="48458">2</cx:pt>
          <cx:pt idx="48459">5</cx:pt>
          <cx:pt idx="48460">4</cx:pt>
          <cx:pt idx="48461">4</cx:pt>
          <cx:pt idx="48462">1</cx:pt>
          <cx:pt idx="48463">5</cx:pt>
          <cx:pt idx="48464">4</cx:pt>
          <cx:pt idx="48465">3</cx:pt>
          <cx:pt idx="48466">3</cx:pt>
          <cx:pt idx="48467">4</cx:pt>
          <cx:pt idx="48468">3</cx:pt>
          <cx:pt idx="48469">1</cx:pt>
          <cx:pt idx="48470">4</cx:pt>
          <cx:pt idx="48471">4</cx:pt>
          <cx:pt idx="48472">5</cx:pt>
          <cx:pt idx="48473">1</cx:pt>
          <cx:pt idx="48474">5</cx:pt>
          <cx:pt idx="48475">4</cx:pt>
          <cx:pt idx="48476">4</cx:pt>
          <cx:pt idx="48477">3</cx:pt>
          <cx:pt idx="48478">5</cx:pt>
          <cx:pt idx="48479">4</cx:pt>
          <cx:pt idx="48480">2</cx:pt>
          <cx:pt idx="48481">3</cx:pt>
          <cx:pt idx="48482">5</cx:pt>
          <cx:pt idx="48483">4</cx:pt>
          <cx:pt idx="48484">4</cx:pt>
          <cx:pt idx="48485">5</cx:pt>
          <cx:pt idx="48486">4</cx:pt>
          <cx:pt idx="48487">4</cx:pt>
          <cx:pt idx="48488">2</cx:pt>
          <cx:pt idx="48489">4</cx:pt>
          <cx:pt idx="48490">5</cx:pt>
          <cx:pt idx="48491">4</cx:pt>
          <cx:pt idx="48492">4</cx:pt>
          <cx:pt idx="48493">4</cx:pt>
          <cx:pt idx="48494">2</cx:pt>
          <cx:pt idx="48495">4</cx:pt>
          <cx:pt idx="48496">4</cx:pt>
          <cx:pt idx="48497">1</cx:pt>
          <cx:pt idx="48498">5</cx:pt>
          <cx:pt idx="48499">5</cx:pt>
          <cx:pt idx="48500">4</cx:pt>
          <cx:pt idx="48501">2</cx:pt>
          <cx:pt idx="48502">3</cx:pt>
          <cx:pt idx="48503">5</cx:pt>
          <cx:pt idx="48504">5</cx:pt>
          <cx:pt idx="48505">1</cx:pt>
          <cx:pt idx="48506">2</cx:pt>
          <cx:pt idx="48507">3</cx:pt>
          <cx:pt idx="48508">5</cx:pt>
          <cx:pt idx="48509">2</cx:pt>
          <cx:pt idx="48510">2</cx:pt>
          <cx:pt idx="48511">1</cx:pt>
          <cx:pt idx="48512">2</cx:pt>
          <cx:pt idx="48513">4</cx:pt>
          <cx:pt idx="48514">4</cx:pt>
          <cx:pt idx="48515">2</cx:pt>
          <cx:pt idx="48516">3</cx:pt>
          <cx:pt idx="48517">5</cx:pt>
          <cx:pt idx="48518">5</cx:pt>
          <cx:pt idx="48519">2</cx:pt>
          <cx:pt idx="48520">5</cx:pt>
          <cx:pt idx="48521">3</cx:pt>
          <cx:pt idx="48522">5</cx:pt>
          <cx:pt idx="48523">4</cx:pt>
          <cx:pt idx="48524">5</cx:pt>
          <cx:pt idx="48525">4</cx:pt>
          <cx:pt idx="48526">4</cx:pt>
          <cx:pt idx="48527">3</cx:pt>
          <cx:pt idx="48528">3</cx:pt>
          <cx:pt idx="48529">3</cx:pt>
          <cx:pt idx="48530">4</cx:pt>
          <cx:pt idx="48531">3</cx:pt>
          <cx:pt idx="48532">2</cx:pt>
          <cx:pt idx="48533">4</cx:pt>
          <cx:pt idx="48534">5</cx:pt>
          <cx:pt idx="48535">5</cx:pt>
          <cx:pt idx="48536">4</cx:pt>
          <cx:pt idx="48537">5</cx:pt>
          <cx:pt idx="48538">5</cx:pt>
          <cx:pt idx="48539">5</cx:pt>
          <cx:pt idx="48540">2</cx:pt>
          <cx:pt idx="48541">4</cx:pt>
          <cx:pt idx="48542">4</cx:pt>
          <cx:pt idx="48543">5</cx:pt>
          <cx:pt idx="48544">2</cx:pt>
          <cx:pt idx="48545">3</cx:pt>
          <cx:pt idx="48546">3</cx:pt>
          <cx:pt idx="48547">5</cx:pt>
          <cx:pt idx="48548">4</cx:pt>
          <cx:pt idx="48549">4</cx:pt>
          <cx:pt idx="48550">5</cx:pt>
          <cx:pt idx="48551">5</cx:pt>
          <cx:pt idx="48552">3</cx:pt>
          <cx:pt idx="48553">5</cx:pt>
          <cx:pt idx="48554">1</cx:pt>
          <cx:pt idx="48555">5</cx:pt>
          <cx:pt idx="48556">1</cx:pt>
          <cx:pt idx="48557">3</cx:pt>
          <cx:pt idx="48558">4</cx:pt>
          <cx:pt idx="48559">4</cx:pt>
          <cx:pt idx="48560">5</cx:pt>
          <cx:pt idx="48561">3</cx:pt>
          <cx:pt idx="48562">2</cx:pt>
          <cx:pt idx="48563">3</cx:pt>
          <cx:pt idx="48564">4</cx:pt>
          <cx:pt idx="48565">2</cx:pt>
          <cx:pt idx="48566">4</cx:pt>
          <cx:pt idx="48567">5</cx:pt>
          <cx:pt idx="48568">5</cx:pt>
          <cx:pt idx="48569">4</cx:pt>
          <cx:pt idx="48570">4</cx:pt>
          <cx:pt idx="48571">3</cx:pt>
          <cx:pt idx="48572">4</cx:pt>
          <cx:pt idx="48573">3</cx:pt>
          <cx:pt idx="48574">5</cx:pt>
          <cx:pt idx="48575">3</cx:pt>
          <cx:pt idx="48576">5</cx:pt>
          <cx:pt idx="48577">1</cx:pt>
          <cx:pt idx="48578">2</cx:pt>
          <cx:pt idx="48579">1</cx:pt>
          <cx:pt idx="48580">5</cx:pt>
          <cx:pt idx="48581">1</cx:pt>
          <cx:pt idx="48582">4</cx:pt>
          <cx:pt idx="48583">2</cx:pt>
          <cx:pt idx="48584">3</cx:pt>
          <cx:pt idx="48585">3</cx:pt>
          <cx:pt idx="48586">5</cx:pt>
          <cx:pt idx="48587">4</cx:pt>
          <cx:pt idx="48588">2</cx:pt>
          <cx:pt idx="48589">4</cx:pt>
          <cx:pt idx="48590">2</cx:pt>
          <cx:pt idx="48591">4</cx:pt>
          <cx:pt idx="48592">5</cx:pt>
          <cx:pt idx="48593">4</cx:pt>
          <cx:pt idx="48594">2</cx:pt>
          <cx:pt idx="48595">1</cx:pt>
          <cx:pt idx="48596">2</cx:pt>
          <cx:pt idx="48597">2</cx:pt>
          <cx:pt idx="48598">3</cx:pt>
          <cx:pt idx="48599">4</cx:pt>
          <cx:pt idx="48600">5</cx:pt>
          <cx:pt idx="48601">4</cx:pt>
          <cx:pt idx="48602">2</cx:pt>
          <cx:pt idx="48603">3</cx:pt>
          <cx:pt idx="48604">5</cx:pt>
          <cx:pt idx="48605">5</cx:pt>
          <cx:pt idx="48606">5</cx:pt>
          <cx:pt idx="48607">5</cx:pt>
          <cx:pt idx="48608">4</cx:pt>
          <cx:pt idx="48609">5</cx:pt>
          <cx:pt idx="48610">4</cx:pt>
          <cx:pt idx="48611">1</cx:pt>
          <cx:pt idx="48612">1</cx:pt>
          <cx:pt idx="48613">2</cx:pt>
          <cx:pt idx="48614">5</cx:pt>
          <cx:pt idx="48615">3</cx:pt>
          <cx:pt idx="48616">4</cx:pt>
          <cx:pt idx="48617">5</cx:pt>
          <cx:pt idx="48618">1</cx:pt>
          <cx:pt idx="48619">5</cx:pt>
          <cx:pt idx="48620">2</cx:pt>
          <cx:pt idx="48621">4</cx:pt>
          <cx:pt idx="48622">5</cx:pt>
          <cx:pt idx="48623">3</cx:pt>
          <cx:pt idx="48624">3</cx:pt>
          <cx:pt idx="48625">5</cx:pt>
          <cx:pt idx="48626">5</cx:pt>
          <cx:pt idx="48627">4</cx:pt>
          <cx:pt idx="48628">2</cx:pt>
          <cx:pt idx="48629">2</cx:pt>
          <cx:pt idx="48630">2</cx:pt>
          <cx:pt idx="48631">4</cx:pt>
          <cx:pt idx="48632">4</cx:pt>
          <cx:pt idx="48633">5</cx:pt>
          <cx:pt idx="48634">5</cx:pt>
          <cx:pt idx="48635">2</cx:pt>
          <cx:pt idx="48636">3</cx:pt>
          <cx:pt idx="48637">4</cx:pt>
          <cx:pt idx="48638">2</cx:pt>
          <cx:pt idx="48639">5</cx:pt>
          <cx:pt idx="48640">2</cx:pt>
          <cx:pt idx="48641">4</cx:pt>
          <cx:pt idx="48642">2</cx:pt>
          <cx:pt idx="48643">1</cx:pt>
          <cx:pt idx="48644">5</cx:pt>
          <cx:pt idx="48645">5</cx:pt>
          <cx:pt idx="48646">3</cx:pt>
          <cx:pt idx="48647">3</cx:pt>
          <cx:pt idx="48648">3</cx:pt>
          <cx:pt idx="48649">4</cx:pt>
          <cx:pt idx="48650">4</cx:pt>
          <cx:pt idx="48651">4</cx:pt>
          <cx:pt idx="48652">3</cx:pt>
          <cx:pt idx="48653">5</cx:pt>
          <cx:pt idx="48654">2</cx:pt>
          <cx:pt idx="48655">5</cx:pt>
          <cx:pt idx="48656">2</cx:pt>
          <cx:pt idx="48657">4</cx:pt>
          <cx:pt idx="48658">5</cx:pt>
          <cx:pt idx="48659">4</cx:pt>
          <cx:pt idx="48660">3</cx:pt>
          <cx:pt idx="48661">2</cx:pt>
          <cx:pt idx="48662">3</cx:pt>
          <cx:pt idx="48663">4</cx:pt>
          <cx:pt idx="48664">5</cx:pt>
          <cx:pt idx="48665">2</cx:pt>
          <cx:pt idx="48666">2</cx:pt>
          <cx:pt idx="48667">1</cx:pt>
          <cx:pt idx="48668">2</cx:pt>
          <cx:pt idx="48669">1</cx:pt>
          <cx:pt idx="48670">2</cx:pt>
          <cx:pt idx="48671">5</cx:pt>
          <cx:pt idx="48672">2</cx:pt>
          <cx:pt idx="48673">3</cx:pt>
          <cx:pt idx="48674">2</cx:pt>
          <cx:pt idx="48675">5</cx:pt>
          <cx:pt idx="48676">3</cx:pt>
          <cx:pt idx="48677">5</cx:pt>
          <cx:pt idx="48678">3</cx:pt>
          <cx:pt idx="48679">3</cx:pt>
          <cx:pt idx="48680">4</cx:pt>
          <cx:pt idx="48681">3</cx:pt>
          <cx:pt idx="48682">3</cx:pt>
          <cx:pt idx="48683">4</cx:pt>
          <cx:pt idx="48684">4</cx:pt>
          <cx:pt idx="48685">2</cx:pt>
          <cx:pt idx="48686">5</cx:pt>
          <cx:pt idx="48687">4</cx:pt>
          <cx:pt idx="48688">4</cx:pt>
          <cx:pt idx="48689">3</cx:pt>
          <cx:pt idx="48690">5</cx:pt>
          <cx:pt idx="48691">4</cx:pt>
          <cx:pt idx="48692">1</cx:pt>
          <cx:pt idx="48693">4</cx:pt>
          <cx:pt idx="48694">4</cx:pt>
          <cx:pt idx="48695">4</cx:pt>
          <cx:pt idx="48696">4</cx:pt>
          <cx:pt idx="48697">2</cx:pt>
          <cx:pt idx="48698">1</cx:pt>
          <cx:pt idx="48699">3</cx:pt>
          <cx:pt idx="48700">3</cx:pt>
          <cx:pt idx="48701">1</cx:pt>
          <cx:pt idx="48702">4</cx:pt>
          <cx:pt idx="48703">4</cx:pt>
          <cx:pt idx="48704">1</cx:pt>
          <cx:pt idx="48705">2</cx:pt>
          <cx:pt idx="48706">2</cx:pt>
          <cx:pt idx="48707">4</cx:pt>
          <cx:pt idx="48708">2</cx:pt>
          <cx:pt idx="48709">3</cx:pt>
          <cx:pt idx="48710">1</cx:pt>
          <cx:pt idx="48711">4</cx:pt>
          <cx:pt idx="48712">5</cx:pt>
          <cx:pt idx="48713">5</cx:pt>
          <cx:pt idx="48714">1</cx:pt>
          <cx:pt idx="48715">5</cx:pt>
          <cx:pt idx="48716">2</cx:pt>
          <cx:pt idx="48717">4</cx:pt>
          <cx:pt idx="48718">5</cx:pt>
          <cx:pt idx="48719">1</cx:pt>
          <cx:pt idx="48720">5</cx:pt>
          <cx:pt idx="48721">4</cx:pt>
          <cx:pt idx="48722">4</cx:pt>
          <cx:pt idx="48723">5</cx:pt>
          <cx:pt idx="48724">5</cx:pt>
          <cx:pt idx="48725">4</cx:pt>
          <cx:pt idx="48726">2</cx:pt>
          <cx:pt idx="48727">5</cx:pt>
          <cx:pt idx="48728">1</cx:pt>
          <cx:pt idx="48729">2</cx:pt>
          <cx:pt idx="48730">1</cx:pt>
          <cx:pt idx="48731">2</cx:pt>
          <cx:pt idx="48732">4</cx:pt>
          <cx:pt idx="48733">4</cx:pt>
          <cx:pt idx="48734">4</cx:pt>
          <cx:pt idx="48735">4</cx:pt>
          <cx:pt idx="48736">4</cx:pt>
          <cx:pt idx="48737">5</cx:pt>
          <cx:pt idx="48738">5</cx:pt>
          <cx:pt idx="48739">4</cx:pt>
          <cx:pt idx="48740">3</cx:pt>
          <cx:pt idx="48741">4</cx:pt>
          <cx:pt idx="48742">2</cx:pt>
          <cx:pt idx="48743">2</cx:pt>
          <cx:pt idx="48744">5</cx:pt>
          <cx:pt idx="48745">4</cx:pt>
          <cx:pt idx="48746">1</cx:pt>
          <cx:pt idx="48747">5</cx:pt>
          <cx:pt idx="48748">4</cx:pt>
          <cx:pt idx="48749">4</cx:pt>
          <cx:pt idx="48750">5</cx:pt>
          <cx:pt idx="48751">4</cx:pt>
          <cx:pt idx="48752">4</cx:pt>
          <cx:pt idx="48753">2</cx:pt>
          <cx:pt idx="48754">5</cx:pt>
          <cx:pt idx="48755">5</cx:pt>
          <cx:pt idx="48756">4</cx:pt>
          <cx:pt idx="48757">5</cx:pt>
          <cx:pt idx="48758">5</cx:pt>
          <cx:pt idx="48759">3</cx:pt>
          <cx:pt idx="48760">1</cx:pt>
          <cx:pt idx="48761">1</cx:pt>
          <cx:pt idx="48762">1</cx:pt>
          <cx:pt idx="48763">4</cx:pt>
          <cx:pt idx="48764">1</cx:pt>
          <cx:pt idx="48765">2</cx:pt>
          <cx:pt idx="48766">2</cx:pt>
          <cx:pt idx="48767">3</cx:pt>
          <cx:pt idx="48768">4</cx:pt>
          <cx:pt idx="48769">1</cx:pt>
          <cx:pt idx="48770">1</cx:pt>
          <cx:pt idx="48771">4</cx:pt>
          <cx:pt idx="48772">4</cx:pt>
          <cx:pt idx="48773">5</cx:pt>
          <cx:pt idx="48774">2</cx:pt>
          <cx:pt idx="48775">3</cx:pt>
          <cx:pt idx="48776">1</cx:pt>
          <cx:pt idx="48777">3</cx:pt>
          <cx:pt idx="48778">5</cx:pt>
          <cx:pt idx="48779">3</cx:pt>
          <cx:pt idx="48780">5</cx:pt>
          <cx:pt idx="48781">4</cx:pt>
          <cx:pt idx="48782">2</cx:pt>
          <cx:pt idx="48783">1</cx:pt>
          <cx:pt idx="48784">4</cx:pt>
          <cx:pt idx="48785">2</cx:pt>
          <cx:pt idx="48786">2</cx:pt>
          <cx:pt idx="48787">4</cx:pt>
          <cx:pt idx="48788">4</cx:pt>
          <cx:pt idx="48789">2</cx:pt>
          <cx:pt idx="48790">2</cx:pt>
          <cx:pt idx="48791">3</cx:pt>
          <cx:pt idx="48792">2</cx:pt>
          <cx:pt idx="48793">3</cx:pt>
          <cx:pt idx="48794">5</cx:pt>
          <cx:pt idx="48795">5</cx:pt>
          <cx:pt idx="48796">4</cx:pt>
          <cx:pt idx="48797">5</cx:pt>
          <cx:pt idx="48798">1</cx:pt>
          <cx:pt idx="48799">5</cx:pt>
          <cx:pt idx="48800">3</cx:pt>
          <cx:pt idx="48801">4</cx:pt>
          <cx:pt idx="48802">1</cx:pt>
          <cx:pt idx="48803">4</cx:pt>
          <cx:pt idx="48804">5</cx:pt>
          <cx:pt idx="48805">5</cx:pt>
          <cx:pt idx="48806">3</cx:pt>
          <cx:pt idx="48807">1</cx:pt>
          <cx:pt idx="48808">4</cx:pt>
          <cx:pt idx="48809">5</cx:pt>
          <cx:pt idx="48810">3</cx:pt>
          <cx:pt idx="48811">1</cx:pt>
          <cx:pt idx="48812">4</cx:pt>
          <cx:pt idx="48813">5</cx:pt>
          <cx:pt idx="48814">4</cx:pt>
          <cx:pt idx="48815">4</cx:pt>
          <cx:pt idx="48816">4</cx:pt>
          <cx:pt idx="48817">5</cx:pt>
          <cx:pt idx="48818">1</cx:pt>
          <cx:pt idx="48819">5</cx:pt>
          <cx:pt idx="48820">2</cx:pt>
          <cx:pt idx="48821">4</cx:pt>
          <cx:pt idx="48822">5</cx:pt>
          <cx:pt idx="48823">3</cx:pt>
          <cx:pt idx="48824">2</cx:pt>
          <cx:pt idx="48825">2</cx:pt>
          <cx:pt idx="48826">4</cx:pt>
          <cx:pt idx="48827">4</cx:pt>
          <cx:pt idx="48828">2</cx:pt>
          <cx:pt idx="48829">3</cx:pt>
          <cx:pt idx="48830">5</cx:pt>
          <cx:pt idx="48831">3</cx:pt>
          <cx:pt idx="48832">5</cx:pt>
          <cx:pt idx="48833">1</cx:pt>
          <cx:pt idx="48834">2</cx:pt>
          <cx:pt idx="48835">5</cx:pt>
          <cx:pt idx="48836">5</cx:pt>
          <cx:pt idx="48837">4</cx:pt>
          <cx:pt idx="48838">4</cx:pt>
          <cx:pt idx="48839">5</cx:pt>
          <cx:pt idx="48840">5</cx:pt>
          <cx:pt idx="48841">3</cx:pt>
          <cx:pt idx="48842">3</cx:pt>
          <cx:pt idx="48843">1</cx:pt>
          <cx:pt idx="48844">3</cx:pt>
          <cx:pt idx="48845">4</cx:pt>
          <cx:pt idx="48846">5</cx:pt>
          <cx:pt idx="48847">4</cx:pt>
          <cx:pt idx="48848">2</cx:pt>
          <cx:pt idx="48849">2</cx:pt>
          <cx:pt idx="48850">4</cx:pt>
          <cx:pt idx="48851">4</cx:pt>
          <cx:pt idx="48852">4</cx:pt>
          <cx:pt idx="48853">5</cx:pt>
          <cx:pt idx="48854">4</cx:pt>
          <cx:pt idx="48855">4</cx:pt>
          <cx:pt idx="48856">3</cx:pt>
          <cx:pt idx="48857">5</cx:pt>
          <cx:pt idx="48858">4</cx:pt>
          <cx:pt idx="48859">3</cx:pt>
          <cx:pt idx="48860">4</cx:pt>
          <cx:pt idx="48861">3</cx:pt>
          <cx:pt idx="48862">5</cx:pt>
          <cx:pt idx="48863">4</cx:pt>
          <cx:pt idx="48864">4</cx:pt>
          <cx:pt idx="48865">5</cx:pt>
          <cx:pt idx="48866">5</cx:pt>
          <cx:pt idx="48867">2</cx:pt>
          <cx:pt idx="48868">4</cx:pt>
          <cx:pt idx="48869">5</cx:pt>
          <cx:pt idx="48870">4</cx:pt>
          <cx:pt idx="48871">5</cx:pt>
          <cx:pt idx="48872">3</cx:pt>
          <cx:pt idx="48873">4</cx:pt>
          <cx:pt idx="48874">4</cx:pt>
          <cx:pt idx="48875">3</cx:pt>
          <cx:pt idx="48876">4</cx:pt>
          <cx:pt idx="48877">3</cx:pt>
          <cx:pt idx="48878">2</cx:pt>
          <cx:pt idx="48879">2</cx:pt>
          <cx:pt idx="48880">5</cx:pt>
          <cx:pt idx="48881">1</cx:pt>
          <cx:pt idx="48882">3</cx:pt>
          <cx:pt idx="48883">2</cx:pt>
          <cx:pt idx="48884">4</cx:pt>
          <cx:pt idx="48885">3</cx:pt>
          <cx:pt idx="48886">5</cx:pt>
          <cx:pt idx="48887">1</cx:pt>
          <cx:pt idx="48888">2</cx:pt>
          <cx:pt idx="48889">1</cx:pt>
          <cx:pt idx="48890">5</cx:pt>
          <cx:pt idx="48891">1</cx:pt>
          <cx:pt idx="48892">4</cx:pt>
          <cx:pt idx="48893">3</cx:pt>
          <cx:pt idx="48894">5</cx:pt>
          <cx:pt idx="48895">5</cx:pt>
          <cx:pt idx="48896">1</cx:pt>
          <cx:pt idx="48897">4</cx:pt>
          <cx:pt idx="48898">5</cx:pt>
          <cx:pt idx="48899">3</cx:pt>
          <cx:pt idx="48900">3</cx:pt>
          <cx:pt idx="48901">5</cx:pt>
          <cx:pt idx="48902">3</cx:pt>
          <cx:pt idx="48903">5</cx:pt>
          <cx:pt idx="48904">2</cx:pt>
          <cx:pt idx="48905">5</cx:pt>
          <cx:pt idx="48906">4</cx:pt>
          <cx:pt idx="48907">5</cx:pt>
          <cx:pt idx="48908">5</cx:pt>
          <cx:pt idx="48909">1</cx:pt>
          <cx:pt idx="48910">4</cx:pt>
          <cx:pt idx="48911">2</cx:pt>
          <cx:pt idx="48912">2</cx:pt>
          <cx:pt idx="48913">2</cx:pt>
          <cx:pt idx="48914">1</cx:pt>
          <cx:pt idx="48915">2</cx:pt>
          <cx:pt idx="48916">5</cx:pt>
          <cx:pt idx="48917">4</cx:pt>
          <cx:pt idx="48918">5</cx:pt>
          <cx:pt idx="48919">1</cx:pt>
          <cx:pt idx="48920">5</cx:pt>
          <cx:pt idx="48921">3</cx:pt>
          <cx:pt idx="48922">5</cx:pt>
          <cx:pt idx="48923">1</cx:pt>
          <cx:pt idx="48924">5</cx:pt>
          <cx:pt idx="48925">2</cx:pt>
          <cx:pt idx="48926">5</cx:pt>
          <cx:pt idx="48927">5</cx:pt>
          <cx:pt idx="48928">5</cx:pt>
          <cx:pt idx="48929">5</cx:pt>
          <cx:pt idx="48930">2</cx:pt>
          <cx:pt idx="48931">4</cx:pt>
          <cx:pt idx="48932">1</cx:pt>
          <cx:pt idx="48933">3</cx:pt>
          <cx:pt idx="48934">4</cx:pt>
          <cx:pt idx="48935">1</cx:pt>
          <cx:pt idx="48936">4</cx:pt>
          <cx:pt idx="48937">2</cx:pt>
          <cx:pt idx="48938">3</cx:pt>
          <cx:pt idx="48939">4</cx:pt>
          <cx:pt idx="48940">2</cx:pt>
          <cx:pt idx="48941">3</cx:pt>
          <cx:pt idx="48942">2</cx:pt>
          <cx:pt idx="48943">4</cx:pt>
          <cx:pt idx="48944">2</cx:pt>
          <cx:pt idx="48945">5</cx:pt>
          <cx:pt idx="48946">4</cx:pt>
          <cx:pt idx="48947">3</cx:pt>
          <cx:pt idx="48948">5</cx:pt>
          <cx:pt idx="48949">5</cx:pt>
          <cx:pt idx="48950">5</cx:pt>
          <cx:pt idx="48951">1</cx:pt>
          <cx:pt idx="48952">5</cx:pt>
          <cx:pt idx="48953">1</cx:pt>
          <cx:pt idx="48954">2</cx:pt>
          <cx:pt idx="48955">2</cx:pt>
          <cx:pt idx="48956">2</cx:pt>
          <cx:pt idx="48957">4</cx:pt>
          <cx:pt idx="48958">5</cx:pt>
          <cx:pt idx="48959">3</cx:pt>
          <cx:pt idx="48960">4</cx:pt>
          <cx:pt idx="48961">5</cx:pt>
          <cx:pt idx="48962">4</cx:pt>
          <cx:pt idx="48963">5</cx:pt>
          <cx:pt idx="48964">3</cx:pt>
          <cx:pt idx="48965">2</cx:pt>
          <cx:pt idx="48966">2</cx:pt>
          <cx:pt idx="48967">3</cx:pt>
          <cx:pt idx="48968">1</cx:pt>
          <cx:pt idx="48969">5</cx:pt>
          <cx:pt idx="48970">2</cx:pt>
          <cx:pt idx="48971">3</cx:pt>
          <cx:pt idx="48972">5</cx:pt>
          <cx:pt idx="48973">4</cx:pt>
          <cx:pt idx="48974">5</cx:pt>
          <cx:pt idx="48975">3</cx:pt>
          <cx:pt idx="48976">3</cx:pt>
          <cx:pt idx="48977">5</cx:pt>
          <cx:pt idx="48978">3</cx:pt>
          <cx:pt idx="48979">1</cx:pt>
          <cx:pt idx="48980">1</cx:pt>
          <cx:pt idx="48981">4</cx:pt>
          <cx:pt idx="48982">5</cx:pt>
          <cx:pt idx="48983">3</cx:pt>
          <cx:pt idx="48984">4</cx:pt>
          <cx:pt idx="48985">4</cx:pt>
          <cx:pt idx="48986">4</cx:pt>
          <cx:pt idx="48987">2</cx:pt>
          <cx:pt idx="48988">2</cx:pt>
          <cx:pt idx="48989">4</cx:pt>
          <cx:pt idx="48990">5</cx:pt>
          <cx:pt idx="48991">5</cx:pt>
          <cx:pt idx="48992">4</cx:pt>
          <cx:pt idx="48993">5</cx:pt>
          <cx:pt idx="48994">2</cx:pt>
          <cx:pt idx="48995">3</cx:pt>
          <cx:pt idx="48996">2</cx:pt>
          <cx:pt idx="48997">4</cx:pt>
          <cx:pt idx="48998">2</cx:pt>
          <cx:pt idx="48999">5</cx:pt>
          <cx:pt idx="49000">3</cx:pt>
          <cx:pt idx="49001">5</cx:pt>
          <cx:pt idx="49002">1</cx:pt>
          <cx:pt idx="49003">5</cx:pt>
          <cx:pt idx="49004">4</cx:pt>
          <cx:pt idx="49005">4</cx:pt>
          <cx:pt idx="49006">3</cx:pt>
          <cx:pt idx="49007">5</cx:pt>
          <cx:pt idx="49008">2</cx:pt>
          <cx:pt idx="49009">2</cx:pt>
          <cx:pt idx="49010">4</cx:pt>
          <cx:pt idx="49011">4</cx:pt>
          <cx:pt idx="49012">1</cx:pt>
          <cx:pt idx="49013">4</cx:pt>
          <cx:pt idx="49014">5</cx:pt>
          <cx:pt idx="49015">3</cx:pt>
          <cx:pt idx="49016">1</cx:pt>
          <cx:pt idx="49017">5</cx:pt>
          <cx:pt idx="49018">2</cx:pt>
          <cx:pt idx="49019">4</cx:pt>
          <cx:pt idx="49020">3</cx:pt>
          <cx:pt idx="49021">3</cx:pt>
          <cx:pt idx="49022">2</cx:pt>
          <cx:pt idx="49023">1</cx:pt>
          <cx:pt idx="49024">4</cx:pt>
          <cx:pt idx="49025">1</cx:pt>
          <cx:pt idx="49026">5</cx:pt>
          <cx:pt idx="49027">3</cx:pt>
          <cx:pt idx="49028">1</cx:pt>
          <cx:pt idx="49029">1</cx:pt>
          <cx:pt idx="49030">5</cx:pt>
          <cx:pt idx="49031">1</cx:pt>
          <cx:pt idx="49032">3</cx:pt>
          <cx:pt idx="49033">2</cx:pt>
          <cx:pt idx="49034">5</cx:pt>
          <cx:pt idx="49035">4</cx:pt>
          <cx:pt idx="49036">4</cx:pt>
          <cx:pt idx="49037">4</cx:pt>
          <cx:pt idx="49038">3</cx:pt>
          <cx:pt idx="49039">4</cx:pt>
          <cx:pt idx="49040">4</cx:pt>
          <cx:pt idx="49041">4</cx:pt>
          <cx:pt idx="49042">2</cx:pt>
          <cx:pt idx="49043">5</cx:pt>
          <cx:pt idx="49044">1</cx:pt>
          <cx:pt idx="49045">3</cx:pt>
          <cx:pt idx="49046">4</cx:pt>
          <cx:pt idx="49047">3</cx:pt>
          <cx:pt idx="49048">4</cx:pt>
          <cx:pt idx="49049">1</cx:pt>
          <cx:pt idx="49050">5</cx:pt>
          <cx:pt idx="49051">4</cx:pt>
          <cx:pt idx="49052">4</cx:pt>
          <cx:pt idx="49053">5</cx:pt>
          <cx:pt idx="49054">4</cx:pt>
          <cx:pt idx="49055">4</cx:pt>
          <cx:pt idx="49056">4</cx:pt>
          <cx:pt idx="49057">1</cx:pt>
          <cx:pt idx="49058">5</cx:pt>
          <cx:pt idx="49059">5</cx:pt>
          <cx:pt idx="49060">4</cx:pt>
          <cx:pt idx="49061">5</cx:pt>
          <cx:pt idx="49062">2</cx:pt>
          <cx:pt idx="49063">5</cx:pt>
          <cx:pt idx="49064">3</cx:pt>
          <cx:pt idx="49065">3</cx:pt>
          <cx:pt idx="49066">1</cx:pt>
          <cx:pt idx="49067">4</cx:pt>
          <cx:pt idx="49068">5</cx:pt>
          <cx:pt idx="49069">1</cx:pt>
          <cx:pt idx="49070">2</cx:pt>
          <cx:pt idx="49071">5</cx:pt>
          <cx:pt idx="49072">5</cx:pt>
          <cx:pt idx="49073">5</cx:pt>
          <cx:pt idx="49074">4</cx:pt>
          <cx:pt idx="49075">5</cx:pt>
          <cx:pt idx="49076">3</cx:pt>
          <cx:pt idx="49077">3</cx:pt>
          <cx:pt idx="49078">2</cx:pt>
          <cx:pt idx="49079">5</cx:pt>
          <cx:pt idx="49080">4</cx:pt>
          <cx:pt idx="49081">3</cx:pt>
          <cx:pt idx="49082">5</cx:pt>
          <cx:pt idx="49083">2</cx:pt>
          <cx:pt idx="49084">2</cx:pt>
          <cx:pt idx="49085">4</cx:pt>
          <cx:pt idx="49086">2</cx:pt>
          <cx:pt idx="49087">4</cx:pt>
          <cx:pt idx="49088">4</cx:pt>
          <cx:pt idx="49089">5</cx:pt>
          <cx:pt idx="49090">2</cx:pt>
          <cx:pt idx="49091">4</cx:pt>
          <cx:pt idx="49092">4</cx:pt>
          <cx:pt idx="49093">5</cx:pt>
          <cx:pt idx="49094">5</cx:pt>
          <cx:pt idx="49095">1</cx:pt>
          <cx:pt idx="49096">4</cx:pt>
          <cx:pt idx="49097">2</cx:pt>
          <cx:pt idx="49098">2</cx:pt>
          <cx:pt idx="49099">4</cx:pt>
          <cx:pt idx="49100">3</cx:pt>
          <cx:pt idx="49101">3</cx:pt>
          <cx:pt idx="49102">5</cx:pt>
          <cx:pt idx="49103">5</cx:pt>
          <cx:pt idx="49104">1</cx:pt>
          <cx:pt idx="49105">2</cx:pt>
          <cx:pt idx="49106">4</cx:pt>
          <cx:pt idx="49107">3</cx:pt>
          <cx:pt idx="49108">5</cx:pt>
          <cx:pt idx="49109">4</cx:pt>
          <cx:pt idx="49110">4</cx:pt>
          <cx:pt idx="49111">5</cx:pt>
          <cx:pt idx="49112">2</cx:pt>
          <cx:pt idx="49113">3</cx:pt>
          <cx:pt idx="49114">2</cx:pt>
          <cx:pt idx="49115">2</cx:pt>
          <cx:pt idx="49116">1</cx:pt>
          <cx:pt idx="49117">3</cx:pt>
          <cx:pt idx="49118">3</cx:pt>
          <cx:pt idx="49119">1</cx:pt>
          <cx:pt idx="49120">1</cx:pt>
          <cx:pt idx="49121">5</cx:pt>
          <cx:pt idx="49122">5</cx:pt>
          <cx:pt idx="49123">3</cx:pt>
          <cx:pt idx="49124">4</cx:pt>
          <cx:pt idx="49125">5</cx:pt>
          <cx:pt idx="49126">1</cx:pt>
          <cx:pt idx="49127">4</cx:pt>
          <cx:pt idx="49128">1</cx:pt>
          <cx:pt idx="49129">1</cx:pt>
          <cx:pt idx="49130">5</cx:pt>
          <cx:pt idx="49131">4</cx:pt>
          <cx:pt idx="49132">4</cx:pt>
          <cx:pt idx="49133">1</cx:pt>
          <cx:pt idx="49134">5</cx:pt>
          <cx:pt idx="49135">5</cx:pt>
          <cx:pt idx="49136">4</cx:pt>
          <cx:pt idx="49137">2</cx:pt>
          <cx:pt idx="49138">4</cx:pt>
          <cx:pt idx="49139">2</cx:pt>
          <cx:pt idx="49140">5</cx:pt>
          <cx:pt idx="49141">4</cx:pt>
          <cx:pt idx="49142">3</cx:pt>
          <cx:pt idx="49143">5</cx:pt>
          <cx:pt idx="49144">2</cx:pt>
          <cx:pt idx="49145">4</cx:pt>
          <cx:pt idx="49146">5</cx:pt>
          <cx:pt idx="49147">5</cx:pt>
          <cx:pt idx="49148">4</cx:pt>
          <cx:pt idx="49149">4</cx:pt>
          <cx:pt idx="49150">4</cx:pt>
          <cx:pt idx="49151">2</cx:pt>
          <cx:pt idx="49152">3</cx:pt>
          <cx:pt idx="49153">4</cx:pt>
          <cx:pt idx="49154">1</cx:pt>
          <cx:pt idx="49155">1</cx:pt>
          <cx:pt idx="49156">1</cx:pt>
          <cx:pt idx="49157">3</cx:pt>
          <cx:pt idx="49158">4</cx:pt>
          <cx:pt idx="49159">4</cx:pt>
          <cx:pt idx="49160">3</cx:pt>
          <cx:pt idx="49161">1</cx:pt>
          <cx:pt idx="49162">4</cx:pt>
          <cx:pt idx="49163">4</cx:pt>
          <cx:pt idx="49164">4</cx:pt>
          <cx:pt idx="49165">1</cx:pt>
          <cx:pt idx="49166">5</cx:pt>
          <cx:pt idx="49167">4</cx:pt>
          <cx:pt idx="49168">4</cx:pt>
          <cx:pt idx="49169">1</cx:pt>
          <cx:pt idx="49170">4</cx:pt>
          <cx:pt idx="49171">4</cx:pt>
          <cx:pt idx="49172">4</cx:pt>
          <cx:pt idx="49173">1</cx:pt>
          <cx:pt idx="49174">4</cx:pt>
          <cx:pt idx="49175">3</cx:pt>
          <cx:pt idx="49176">1</cx:pt>
          <cx:pt idx="49177">3</cx:pt>
          <cx:pt idx="49178">3</cx:pt>
          <cx:pt idx="49179">5</cx:pt>
          <cx:pt idx="49180">5</cx:pt>
          <cx:pt idx="49181">4</cx:pt>
          <cx:pt idx="49182">4</cx:pt>
          <cx:pt idx="49183">4</cx:pt>
          <cx:pt idx="49184">3</cx:pt>
          <cx:pt idx="49185">3</cx:pt>
          <cx:pt idx="49186">3</cx:pt>
          <cx:pt idx="49187">5</cx:pt>
          <cx:pt idx="49188">2</cx:pt>
          <cx:pt idx="49189">5</cx:pt>
          <cx:pt idx="49190">3</cx:pt>
          <cx:pt idx="49191">5</cx:pt>
          <cx:pt idx="49192">5</cx:pt>
          <cx:pt idx="49193">4</cx:pt>
          <cx:pt idx="49194">2</cx:pt>
          <cx:pt idx="49195">1</cx:pt>
          <cx:pt idx="49196">3</cx:pt>
          <cx:pt idx="49197">4</cx:pt>
          <cx:pt idx="49198">1</cx:pt>
          <cx:pt idx="49199">5</cx:pt>
          <cx:pt idx="49200">4</cx:pt>
          <cx:pt idx="49201">5</cx:pt>
          <cx:pt idx="49202">4</cx:pt>
          <cx:pt idx="49203">4</cx:pt>
          <cx:pt idx="49204">2</cx:pt>
          <cx:pt idx="49205">4</cx:pt>
          <cx:pt idx="49206">2</cx:pt>
          <cx:pt idx="49207">4</cx:pt>
          <cx:pt idx="49208">4</cx:pt>
          <cx:pt idx="49209">5</cx:pt>
          <cx:pt idx="49210">5</cx:pt>
          <cx:pt idx="49211">4</cx:pt>
          <cx:pt idx="49212">1</cx:pt>
          <cx:pt idx="49213">3</cx:pt>
          <cx:pt idx="49214">3</cx:pt>
          <cx:pt idx="49215">2</cx:pt>
          <cx:pt idx="49216">1</cx:pt>
          <cx:pt idx="49217">1</cx:pt>
          <cx:pt idx="49218">4</cx:pt>
          <cx:pt idx="49219">5</cx:pt>
          <cx:pt idx="49220">5</cx:pt>
          <cx:pt idx="49221">5</cx:pt>
          <cx:pt idx="49222">4</cx:pt>
          <cx:pt idx="49223">4</cx:pt>
          <cx:pt idx="49224">1</cx:pt>
          <cx:pt idx="49225">3</cx:pt>
          <cx:pt idx="49226">4</cx:pt>
          <cx:pt idx="49227">3</cx:pt>
          <cx:pt idx="49228">3</cx:pt>
          <cx:pt idx="49229">4</cx:pt>
          <cx:pt idx="49230">3</cx:pt>
          <cx:pt idx="49231">1</cx:pt>
          <cx:pt idx="49232">5</cx:pt>
          <cx:pt idx="49233">1</cx:pt>
          <cx:pt idx="49234">3</cx:pt>
          <cx:pt idx="49235">2</cx:pt>
          <cx:pt idx="49236">1</cx:pt>
          <cx:pt idx="49237">5</cx:pt>
          <cx:pt idx="49238">2</cx:pt>
          <cx:pt idx="49239">5</cx:pt>
          <cx:pt idx="49240">5</cx:pt>
          <cx:pt idx="49241">4</cx:pt>
          <cx:pt idx="49242">4</cx:pt>
          <cx:pt idx="49243">3</cx:pt>
          <cx:pt idx="49244">4</cx:pt>
          <cx:pt idx="49245">4</cx:pt>
          <cx:pt idx="49246">2</cx:pt>
          <cx:pt idx="49247">5</cx:pt>
          <cx:pt idx="49248">4</cx:pt>
          <cx:pt idx="49249">3</cx:pt>
          <cx:pt idx="49250">5</cx:pt>
          <cx:pt idx="49251">4</cx:pt>
          <cx:pt idx="49252">4</cx:pt>
          <cx:pt idx="49253">5</cx:pt>
          <cx:pt idx="49254">3</cx:pt>
          <cx:pt idx="49255">5</cx:pt>
          <cx:pt idx="49256">2</cx:pt>
          <cx:pt idx="49257">5</cx:pt>
          <cx:pt idx="49258">1</cx:pt>
          <cx:pt idx="49259">4</cx:pt>
          <cx:pt idx="49260">4</cx:pt>
          <cx:pt idx="49261">5</cx:pt>
          <cx:pt idx="49262">3</cx:pt>
          <cx:pt idx="49263">1</cx:pt>
          <cx:pt idx="49264">3</cx:pt>
          <cx:pt idx="49265">4</cx:pt>
          <cx:pt idx="49266">5</cx:pt>
          <cx:pt idx="49267">4</cx:pt>
          <cx:pt idx="49268">5</cx:pt>
          <cx:pt idx="49269">4</cx:pt>
          <cx:pt idx="49270">3</cx:pt>
          <cx:pt idx="49271">5</cx:pt>
          <cx:pt idx="49272">2</cx:pt>
          <cx:pt idx="49273">1</cx:pt>
          <cx:pt idx="49274">5</cx:pt>
          <cx:pt idx="49275">4</cx:pt>
          <cx:pt idx="49276">5</cx:pt>
          <cx:pt idx="49277">4</cx:pt>
          <cx:pt idx="49278">5</cx:pt>
          <cx:pt idx="49279">4</cx:pt>
          <cx:pt idx="49280">5</cx:pt>
          <cx:pt idx="49281">3</cx:pt>
          <cx:pt idx="49282">1</cx:pt>
          <cx:pt idx="49283">1</cx:pt>
          <cx:pt idx="49284">4</cx:pt>
          <cx:pt idx="49285">5</cx:pt>
          <cx:pt idx="49286">2</cx:pt>
          <cx:pt idx="49287">5</cx:pt>
          <cx:pt idx="49288">4</cx:pt>
          <cx:pt idx="49289">4</cx:pt>
          <cx:pt idx="49290">5</cx:pt>
          <cx:pt idx="49291">5</cx:pt>
          <cx:pt idx="49292">4</cx:pt>
          <cx:pt idx="49293">2</cx:pt>
          <cx:pt idx="49294">4</cx:pt>
          <cx:pt idx="49295">4</cx:pt>
          <cx:pt idx="49296">3</cx:pt>
          <cx:pt idx="49297">5</cx:pt>
          <cx:pt idx="49298">1</cx:pt>
          <cx:pt idx="49299">4</cx:pt>
          <cx:pt idx="49300">5</cx:pt>
          <cx:pt idx="49301">5</cx:pt>
          <cx:pt idx="49302">4</cx:pt>
          <cx:pt idx="49303">4</cx:pt>
          <cx:pt idx="49304">4</cx:pt>
          <cx:pt idx="49305">2</cx:pt>
          <cx:pt idx="49306">2</cx:pt>
          <cx:pt idx="49307">5</cx:pt>
          <cx:pt idx="49308">4</cx:pt>
          <cx:pt idx="49309">2</cx:pt>
          <cx:pt idx="49310">3</cx:pt>
          <cx:pt idx="49311">5</cx:pt>
          <cx:pt idx="49312">3</cx:pt>
          <cx:pt idx="49313">2</cx:pt>
          <cx:pt idx="49314">3</cx:pt>
          <cx:pt idx="49315">3</cx:pt>
          <cx:pt idx="49316">5</cx:pt>
          <cx:pt idx="49317">4</cx:pt>
          <cx:pt idx="49318">3</cx:pt>
          <cx:pt idx="49319">2</cx:pt>
          <cx:pt idx="49320">1</cx:pt>
          <cx:pt idx="49321">5</cx:pt>
          <cx:pt idx="49322">1</cx:pt>
          <cx:pt idx="49323">5</cx:pt>
          <cx:pt idx="49324">2</cx:pt>
          <cx:pt idx="49325">3</cx:pt>
          <cx:pt idx="49326">3</cx:pt>
          <cx:pt idx="49327">5</cx:pt>
          <cx:pt idx="49328">4</cx:pt>
          <cx:pt idx="49329">3</cx:pt>
          <cx:pt idx="49330">4</cx:pt>
          <cx:pt idx="49331">5</cx:pt>
          <cx:pt idx="49332">3</cx:pt>
          <cx:pt idx="49333">4</cx:pt>
          <cx:pt idx="49334">5</cx:pt>
          <cx:pt idx="49335">5</cx:pt>
          <cx:pt idx="49336">1</cx:pt>
          <cx:pt idx="49337">3</cx:pt>
          <cx:pt idx="49338">4</cx:pt>
          <cx:pt idx="49339">1</cx:pt>
          <cx:pt idx="49340">4</cx:pt>
          <cx:pt idx="49341">4</cx:pt>
          <cx:pt idx="49342">4</cx:pt>
          <cx:pt idx="49343">2</cx:pt>
          <cx:pt idx="49344">5</cx:pt>
          <cx:pt idx="49345">1</cx:pt>
          <cx:pt idx="49346">5</cx:pt>
          <cx:pt idx="49347">5</cx:pt>
          <cx:pt idx="49348">1</cx:pt>
          <cx:pt idx="49349">4</cx:pt>
          <cx:pt idx="49350">3</cx:pt>
          <cx:pt idx="49351">3</cx:pt>
          <cx:pt idx="49352">4</cx:pt>
          <cx:pt idx="49353">2</cx:pt>
          <cx:pt idx="49354">5</cx:pt>
          <cx:pt idx="49355">1</cx:pt>
          <cx:pt idx="49356">3</cx:pt>
          <cx:pt idx="49357">3</cx:pt>
          <cx:pt idx="49358">5</cx:pt>
          <cx:pt idx="49359">5</cx:pt>
          <cx:pt idx="49360">2</cx:pt>
          <cx:pt idx="49361">5</cx:pt>
          <cx:pt idx="49362">5</cx:pt>
          <cx:pt idx="49363">2</cx:pt>
          <cx:pt idx="49364">5</cx:pt>
          <cx:pt idx="49365">1</cx:pt>
          <cx:pt idx="49366">4</cx:pt>
          <cx:pt idx="49367">4</cx:pt>
          <cx:pt idx="49368">4</cx:pt>
          <cx:pt idx="49369">3</cx:pt>
          <cx:pt idx="49370">4</cx:pt>
          <cx:pt idx="49371">5</cx:pt>
          <cx:pt idx="49372">5</cx:pt>
          <cx:pt idx="49373">5</cx:pt>
          <cx:pt idx="49374">5</cx:pt>
          <cx:pt idx="49375">5</cx:pt>
          <cx:pt idx="49376">5</cx:pt>
          <cx:pt idx="49377">1</cx:pt>
          <cx:pt idx="49378">3</cx:pt>
          <cx:pt idx="49379">4</cx:pt>
          <cx:pt idx="49380">4</cx:pt>
          <cx:pt idx="49381">5</cx:pt>
          <cx:pt idx="49382">3</cx:pt>
          <cx:pt idx="49383">3</cx:pt>
          <cx:pt idx="49384">4</cx:pt>
          <cx:pt idx="49385">2</cx:pt>
          <cx:pt idx="49386">4</cx:pt>
          <cx:pt idx="49387">5</cx:pt>
          <cx:pt idx="49388">4</cx:pt>
          <cx:pt idx="49389">2</cx:pt>
          <cx:pt idx="49390">1</cx:pt>
          <cx:pt idx="49391">3</cx:pt>
          <cx:pt idx="49392">2</cx:pt>
          <cx:pt idx="49393">1</cx:pt>
          <cx:pt idx="49394">1</cx:pt>
          <cx:pt idx="49395">4</cx:pt>
          <cx:pt idx="49396">1</cx:pt>
          <cx:pt idx="49397">4</cx:pt>
          <cx:pt idx="49398">4</cx:pt>
          <cx:pt idx="49399">3</cx:pt>
          <cx:pt idx="49400">5</cx:pt>
          <cx:pt idx="49401">4</cx:pt>
          <cx:pt idx="49402">3</cx:pt>
          <cx:pt idx="49403">3</cx:pt>
          <cx:pt idx="49404">1</cx:pt>
          <cx:pt idx="49405">2</cx:pt>
          <cx:pt idx="49406">2</cx:pt>
          <cx:pt idx="49407">4</cx:pt>
          <cx:pt idx="49408">4</cx:pt>
          <cx:pt idx="49409">4</cx:pt>
          <cx:pt idx="49410">2</cx:pt>
          <cx:pt idx="49411">4</cx:pt>
          <cx:pt idx="49412">3</cx:pt>
          <cx:pt idx="49413">4</cx:pt>
          <cx:pt idx="49414">5</cx:pt>
          <cx:pt idx="49415">5</cx:pt>
          <cx:pt idx="49416">2</cx:pt>
          <cx:pt idx="49417">5</cx:pt>
          <cx:pt idx="49418">4</cx:pt>
          <cx:pt idx="49419">3</cx:pt>
          <cx:pt idx="49420">5</cx:pt>
          <cx:pt idx="49421">1</cx:pt>
          <cx:pt idx="49422">5</cx:pt>
          <cx:pt idx="49423">3</cx:pt>
          <cx:pt idx="49424">5</cx:pt>
          <cx:pt idx="49425">3</cx:pt>
          <cx:pt idx="49426">2</cx:pt>
          <cx:pt idx="49427">4</cx:pt>
          <cx:pt idx="49428">1</cx:pt>
          <cx:pt idx="49429">4</cx:pt>
          <cx:pt idx="49430">4</cx:pt>
          <cx:pt idx="49431">4</cx:pt>
          <cx:pt idx="49432">5</cx:pt>
          <cx:pt idx="49433">4</cx:pt>
          <cx:pt idx="49434">4</cx:pt>
          <cx:pt idx="49435">5</cx:pt>
          <cx:pt idx="49436">5</cx:pt>
          <cx:pt idx="49437">3</cx:pt>
          <cx:pt idx="49438">4</cx:pt>
          <cx:pt idx="49439">5</cx:pt>
          <cx:pt idx="49440">1</cx:pt>
          <cx:pt idx="49441">3</cx:pt>
          <cx:pt idx="49442">3</cx:pt>
          <cx:pt idx="49443">5</cx:pt>
          <cx:pt idx="49444">4</cx:pt>
          <cx:pt idx="49445">3</cx:pt>
          <cx:pt idx="49446">4</cx:pt>
          <cx:pt idx="49447">4</cx:pt>
          <cx:pt idx="49448">3</cx:pt>
          <cx:pt idx="49449">4</cx:pt>
          <cx:pt idx="49450">3</cx:pt>
          <cx:pt idx="49451">4</cx:pt>
          <cx:pt idx="49452">4</cx:pt>
          <cx:pt idx="49453">5</cx:pt>
          <cx:pt idx="49454">1</cx:pt>
          <cx:pt idx="49455">3</cx:pt>
          <cx:pt idx="49456">1</cx:pt>
          <cx:pt idx="49457">4</cx:pt>
          <cx:pt idx="49458">2</cx:pt>
          <cx:pt idx="49459">5</cx:pt>
          <cx:pt idx="49460">4</cx:pt>
          <cx:pt idx="49461">3</cx:pt>
          <cx:pt idx="49462">4</cx:pt>
          <cx:pt idx="49463">4</cx:pt>
          <cx:pt idx="49464">1</cx:pt>
          <cx:pt idx="49465">5</cx:pt>
          <cx:pt idx="49466">2</cx:pt>
          <cx:pt idx="49467">5</cx:pt>
          <cx:pt idx="49468">4</cx:pt>
          <cx:pt idx="49469">4</cx:pt>
          <cx:pt idx="49470">5</cx:pt>
          <cx:pt idx="49471">1</cx:pt>
          <cx:pt idx="49472">1</cx:pt>
          <cx:pt idx="49473">5</cx:pt>
          <cx:pt idx="49474">5</cx:pt>
          <cx:pt idx="49475">5</cx:pt>
          <cx:pt idx="49476">4</cx:pt>
          <cx:pt idx="49477">3</cx:pt>
          <cx:pt idx="49478">2</cx:pt>
          <cx:pt idx="49479">1</cx:pt>
          <cx:pt idx="49480">5</cx:pt>
          <cx:pt idx="49481">5</cx:pt>
          <cx:pt idx="49482">4</cx:pt>
          <cx:pt idx="49483">2</cx:pt>
          <cx:pt idx="49484">4</cx:pt>
          <cx:pt idx="49485">5</cx:pt>
          <cx:pt idx="49486">5</cx:pt>
          <cx:pt idx="49487">5</cx:pt>
          <cx:pt idx="49488">5</cx:pt>
          <cx:pt idx="49489">2</cx:pt>
          <cx:pt idx="49490">4</cx:pt>
          <cx:pt idx="49491">4</cx:pt>
          <cx:pt idx="49492">4</cx:pt>
          <cx:pt idx="49493">1</cx:pt>
          <cx:pt idx="49494">3</cx:pt>
          <cx:pt idx="49495">4</cx:pt>
          <cx:pt idx="49496">3</cx:pt>
          <cx:pt idx="49497">4</cx:pt>
          <cx:pt idx="49498">4</cx:pt>
          <cx:pt idx="49499">1</cx:pt>
          <cx:pt idx="49500">4</cx:pt>
          <cx:pt idx="49501">5</cx:pt>
          <cx:pt idx="49502">1</cx:pt>
          <cx:pt idx="49503">3</cx:pt>
          <cx:pt idx="49504">5</cx:pt>
          <cx:pt idx="49505">3</cx:pt>
          <cx:pt idx="49506">4</cx:pt>
          <cx:pt idx="49507">2</cx:pt>
          <cx:pt idx="49508">2</cx:pt>
          <cx:pt idx="49509">4</cx:pt>
          <cx:pt idx="49510">3</cx:pt>
          <cx:pt idx="49511">4</cx:pt>
          <cx:pt idx="49512">5</cx:pt>
          <cx:pt idx="49513">5</cx:pt>
          <cx:pt idx="49514">4</cx:pt>
          <cx:pt idx="49515">5</cx:pt>
          <cx:pt idx="49516">2</cx:pt>
          <cx:pt idx="49517">4</cx:pt>
          <cx:pt idx="49518">2</cx:pt>
          <cx:pt idx="49519">1</cx:pt>
          <cx:pt idx="49520">2</cx:pt>
          <cx:pt idx="49521">3</cx:pt>
          <cx:pt idx="49522">2</cx:pt>
          <cx:pt idx="49523">4</cx:pt>
          <cx:pt idx="49524">3</cx:pt>
          <cx:pt idx="49525">4</cx:pt>
          <cx:pt idx="49526">2</cx:pt>
          <cx:pt idx="49527">2</cx:pt>
          <cx:pt idx="49528">5</cx:pt>
          <cx:pt idx="49529">4</cx:pt>
          <cx:pt idx="49530">5</cx:pt>
          <cx:pt idx="49531">2</cx:pt>
          <cx:pt idx="49532">5</cx:pt>
          <cx:pt idx="49533">3</cx:pt>
          <cx:pt idx="49534">2</cx:pt>
          <cx:pt idx="49535">5</cx:pt>
          <cx:pt idx="49536">2</cx:pt>
          <cx:pt idx="49537">1</cx:pt>
          <cx:pt idx="49538">5</cx:pt>
          <cx:pt idx="49539">5</cx:pt>
          <cx:pt idx="49540">2</cx:pt>
          <cx:pt idx="49541">4</cx:pt>
          <cx:pt idx="49542">4</cx:pt>
          <cx:pt idx="49543">3</cx:pt>
          <cx:pt idx="49544">4</cx:pt>
          <cx:pt idx="49545">3</cx:pt>
          <cx:pt idx="49546">2</cx:pt>
          <cx:pt idx="49547">3</cx:pt>
          <cx:pt idx="49548">4</cx:pt>
          <cx:pt idx="49549">5</cx:pt>
          <cx:pt idx="49550">1</cx:pt>
          <cx:pt idx="49551">5</cx:pt>
          <cx:pt idx="49552">4</cx:pt>
          <cx:pt idx="49553">4</cx:pt>
          <cx:pt idx="49554">2</cx:pt>
          <cx:pt idx="49555">3</cx:pt>
          <cx:pt idx="49556">5</cx:pt>
          <cx:pt idx="49557">3</cx:pt>
          <cx:pt idx="49558">4</cx:pt>
          <cx:pt idx="49559">5</cx:pt>
          <cx:pt idx="49560">5</cx:pt>
          <cx:pt idx="49561">2</cx:pt>
          <cx:pt idx="49562">5</cx:pt>
          <cx:pt idx="49563">4</cx:pt>
          <cx:pt idx="49564">4</cx:pt>
          <cx:pt idx="49565">5</cx:pt>
          <cx:pt idx="49566">3</cx:pt>
          <cx:pt idx="49567">5</cx:pt>
          <cx:pt idx="49568">4</cx:pt>
          <cx:pt idx="49569">2</cx:pt>
          <cx:pt idx="49570">2</cx:pt>
          <cx:pt idx="49571">5</cx:pt>
          <cx:pt idx="49572">4</cx:pt>
          <cx:pt idx="49573">3</cx:pt>
          <cx:pt idx="49574">1</cx:pt>
          <cx:pt idx="49575">4</cx:pt>
          <cx:pt idx="49576">2</cx:pt>
          <cx:pt idx="49577">1</cx:pt>
          <cx:pt idx="49578">5</cx:pt>
          <cx:pt idx="49579">4</cx:pt>
          <cx:pt idx="49580">4</cx:pt>
          <cx:pt idx="49581">1</cx:pt>
          <cx:pt idx="49582">4</cx:pt>
          <cx:pt idx="49583">4</cx:pt>
          <cx:pt idx="49584">2</cx:pt>
          <cx:pt idx="49585">5</cx:pt>
          <cx:pt idx="49586">3</cx:pt>
          <cx:pt idx="49587">2</cx:pt>
          <cx:pt idx="49588">4</cx:pt>
          <cx:pt idx="49589">4</cx:pt>
          <cx:pt idx="49590">5</cx:pt>
          <cx:pt idx="49591">3</cx:pt>
          <cx:pt idx="49592">4</cx:pt>
          <cx:pt idx="49593">4</cx:pt>
          <cx:pt idx="49594">5</cx:pt>
          <cx:pt idx="49595">4</cx:pt>
          <cx:pt idx="49596">5</cx:pt>
          <cx:pt idx="49597">5</cx:pt>
          <cx:pt idx="49598">5</cx:pt>
          <cx:pt idx="49599">3</cx:pt>
          <cx:pt idx="49600">4</cx:pt>
          <cx:pt idx="49601">3</cx:pt>
          <cx:pt idx="49602">4</cx:pt>
          <cx:pt idx="49603">1</cx:pt>
          <cx:pt idx="49604">5</cx:pt>
          <cx:pt idx="49605">2</cx:pt>
          <cx:pt idx="49606">5</cx:pt>
          <cx:pt idx="49607">5</cx:pt>
          <cx:pt idx="49608">2</cx:pt>
          <cx:pt idx="49609">2</cx:pt>
          <cx:pt idx="49610">5</cx:pt>
          <cx:pt idx="49611">4</cx:pt>
          <cx:pt idx="49612">1</cx:pt>
          <cx:pt idx="49613">2</cx:pt>
          <cx:pt idx="49614">5</cx:pt>
          <cx:pt idx="49615">2</cx:pt>
          <cx:pt idx="49616">5</cx:pt>
          <cx:pt idx="49617">4</cx:pt>
          <cx:pt idx="49618">2</cx:pt>
          <cx:pt idx="49619">1</cx:pt>
          <cx:pt idx="49620">5</cx:pt>
          <cx:pt idx="49621">2</cx:pt>
          <cx:pt idx="49622">5</cx:pt>
          <cx:pt idx="49623">4</cx:pt>
          <cx:pt idx="49624">3</cx:pt>
          <cx:pt idx="49625">4</cx:pt>
          <cx:pt idx="49626">3</cx:pt>
          <cx:pt idx="49627">4</cx:pt>
          <cx:pt idx="49628">5</cx:pt>
          <cx:pt idx="49629">5</cx:pt>
          <cx:pt idx="49630">4</cx:pt>
          <cx:pt idx="49631">3</cx:pt>
          <cx:pt idx="49632">1</cx:pt>
          <cx:pt idx="49633">2</cx:pt>
          <cx:pt idx="49634">4</cx:pt>
          <cx:pt idx="49635">5</cx:pt>
          <cx:pt idx="49636">4</cx:pt>
          <cx:pt idx="49637">4</cx:pt>
          <cx:pt idx="49638">4</cx:pt>
          <cx:pt idx="49639">1</cx:pt>
          <cx:pt idx="49640">1</cx:pt>
          <cx:pt idx="49641">5</cx:pt>
          <cx:pt idx="49642">2</cx:pt>
          <cx:pt idx="49643">3</cx:pt>
          <cx:pt idx="49644">2</cx:pt>
          <cx:pt idx="49645">5</cx:pt>
          <cx:pt idx="49646">4</cx:pt>
          <cx:pt idx="49647">5</cx:pt>
          <cx:pt idx="49648">5</cx:pt>
          <cx:pt idx="49649">1</cx:pt>
          <cx:pt idx="49650">3</cx:pt>
          <cx:pt idx="49651">4</cx:pt>
          <cx:pt idx="49652">4</cx:pt>
          <cx:pt idx="49653">5</cx:pt>
          <cx:pt idx="49654">1</cx:pt>
          <cx:pt idx="49655">4</cx:pt>
          <cx:pt idx="49656">3</cx:pt>
          <cx:pt idx="49657">5</cx:pt>
          <cx:pt idx="49658">5</cx:pt>
          <cx:pt idx="49659">1</cx:pt>
          <cx:pt idx="49660">3</cx:pt>
          <cx:pt idx="49661">3</cx:pt>
          <cx:pt idx="49662">4</cx:pt>
          <cx:pt idx="49663">4</cx:pt>
          <cx:pt idx="49664">2</cx:pt>
          <cx:pt idx="49665">4</cx:pt>
          <cx:pt idx="49666">4</cx:pt>
          <cx:pt idx="49667">3</cx:pt>
          <cx:pt idx="49668">5</cx:pt>
          <cx:pt idx="49669">1</cx:pt>
          <cx:pt idx="49670">3</cx:pt>
          <cx:pt idx="49671">3</cx:pt>
          <cx:pt idx="49672">4</cx:pt>
          <cx:pt idx="49673">4</cx:pt>
          <cx:pt idx="49674">5</cx:pt>
          <cx:pt idx="49675">4</cx:pt>
          <cx:pt idx="49676">4</cx:pt>
          <cx:pt idx="49677">1</cx:pt>
          <cx:pt idx="49678">2</cx:pt>
          <cx:pt idx="49679">4</cx:pt>
          <cx:pt idx="49680">5</cx:pt>
          <cx:pt idx="49681">5</cx:pt>
          <cx:pt idx="49682">5</cx:pt>
          <cx:pt idx="49683">5</cx:pt>
          <cx:pt idx="49684">3</cx:pt>
          <cx:pt idx="49685">1</cx:pt>
          <cx:pt idx="49686">1</cx:pt>
          <cx:pt idx="49687">4</cx:pt>
          <cx:pt idx="49688">5</cx:pt>
          <cx:pt idx="49689">2</cx:pt>
          <cx:pt idx="49690">2</cx:pt>
          <cx:pt idx="49691">3</cx:pt>
          <cx:pt idx="49692">4</cx:pt>
          <cx:pt idx="49693">3</cx:pt>
          <cx:pt idx="49694">2</cx:pt>
          <cx:pt idx="49695">2</cx:pt>
          <cx:pt idx="49696">5</cx:pt>
          <cx:pt idx="49697">1</cx:pt>
          <cx:pt idx="49698">4</cx:pt>
          <cx:pt idx="49699">1</cx:pt>
          <cx:pt idx="49700">4</cx:pt>
          <cx:pt idx="49701">2</cx:pt>
          <cx:pt idx="49702">4</cx:pt>
          <cx:pt idx="49703">5</cx:pt>
          <cx:pt idx="49704">4</cx:pt>
          <cx:pt idx="49705">5</cx:pt>
          <cx:pt idx="49706">5</cx:pt>
          <cx:pt idx="49707">2</cx:pt>
          <cx:pt idx="49708">4</cx:pt>
          <cx:pt idx="49709">5</cx:pt>
          <cx:pt idx="49710">4</cx:pt>
          <cx:pt idx="49711">4</cx:pt>
          <cx:pt idx="49712">4</cx:pt>
          <cx:pt idx="49713">5</cx:pt>
          <cx:pt idx="49714">3</cx:pt>
          <cx:pt idx="49715">4</cx:pt>
          <cx:pt idx="49716">2</cx:pt>
          <cx:pt idx="49717">4</cx:pt>
          <cx:pt idx="49718">3</cx:pt>
          <cx:pt idx="49719">2</cx:pt>
          <cx:pt idx="49720">1</cx:pt>
          <cx:pt idx="49721">3</cx:pt>
          <cx:pt idx="49722">1</cx:pt>
          <cx:pt idx="49723">5</cx:pt>
          <cx:pt idx="49724">3</cx:pt>
          <cx:pt idx="49725">4</cx:pt>
          <cx:pt idx="49726">5</cx:pt>
          <cx:pt idx="49727">4</cx:pt>
          <cx:pt idx="49728">5</cx:pt>
          <cx:pt idx="49729">3</cx:pt>
          <cx:pt idx="49730">2</cx:pt>
          <cx:pt idx="49731">3</cx:pt>
          <cx:pt idx="49732">1</cx:pt>
          <cx:pt idx="49733">2</cx:pt>
          <cx:pt idx="49734">5</cx:pt>
          <cx:pt idx="49735">3</cx:pt>
          <cx:pt idx="49736">3</cx:pt>
          <cx:pt idx="49737">5</cx:pt>
          <cx:pt idx="49738">2</cx:pt>
          <cx:pt idx="49739">5</cx:pt>
          <cx:pt idx="49740">4</cx:pt>
          <cx:pt idx="49741">5</cx:pt>
          <cx:pt idx="49742">3</cx:pt>
          <cx:pt idx="49743">1</cx:pt>
          <cx:pt idx="49744">1</cx:pt>
          <cx:pt idx="49745">4</cx:pt>
          <cx:pt idx="49746">5</cx:pt>
          <cx:pt idx="49747">3</cx:pt>
          <cx:pt idx="49748">5</cx:pt>
          <cx:pt idx="49749">3</cx:pt>
          <cx:pt idx="49750">5</cx:pt>
          <cx:pt idx="49751">1</cx:pt>
          <cx:pt idx="49752">4</cx:pt>
          <cx:pt idx="49753">4</cx:pt>
          <cx:pt idx="49754">3</cx:pt>
          <cx:pt idx="49755">5</cx:pt>
          <cx:pt idx="49756">5</cx:pt>
          <cx:pt idx="49757">4</cx:pt>
          <cx:pt idx="49758">2</cx:pt>
          <cx:pt idx="49759">2</cx:pt>
          <cx:pt idx="49760">3</cx:pt>
          <cx:pt idx="49761">4</cx:pt>
          <cx:pt idx="49762">4</cx:pt>
          <cx:pt idx="49763">3</cx:pt>
          <cx:pt idx="49764">4</cx:pt>
          <cx:pt idx="49765">2</cx:pt>
          <cx:pt idx="49766">5</cx:pt>
          <cx:pt idx="49767">2</cx:pt>
          <cx:pt idx="49768">3</cx:pt>
          <cx:pt idx="49769">4</cx:pt>
          <cx:pt idx="49770">1</cx:pt>
          <cx:pt idx="49771">3</cx:pt>
          <cx:pt idx="49772">4</cx:pt>
          <cx:pt idx="49773">5</cx:pt>
          <cx:pt idx="49774">3</cx:pt>
          <cx:pt idx="49775">5</cx:pt>
          <cx:pt idx="49776">2</cx:pt>
          <cx:pt idx="49777">2</cx:pt>
          <cx:pt idx="49778">4</cx:pt>
          <cx:pt idx="49779">5</cx:pt>
          <cx:pt idx="49780">5</cx:pt>
          <cx:pt idx="49781">5</cx:pt>
          <cx:pt idx="49782">1</cx:pt>
          <cx:pt idx="49783">4</cx:pt>
          <cx:pt idx="49784">2</cx:pt>
          <cx:pt idx="49785">4</cx:pt>
          <cx:pt idx="49786">4</cx:pt>
          <cx:pt idx="49787">4</cx:pt>
          <cx:pt idx="49788">3</cx:pt>
          <cx:pt idx="49789">3</cx:pt>
          <cx:pt idx="49790">1</cx:pt>
          <cx:pt idx="49791">4</cx:pt>
          <cx:pt idx="49792">5</cx:pt>
          <cx:pt idx="49793">2</cx:pt>
          <cx:pt idx="49794">2</cx:pt>
          <cx:pt idx="49795">2</cx:pt>
          <cx:pt idx="49796">3</cx:pt>
          <cx:pt idx="49797">5</cx:pt>
          <cx:pt idx="49798">5</cx:pt>
          <cx:pt idx="49799">4</cx:pt>
          <cx:pt idx="49800">3</cx:pt>
          <cx:pt idx="49801">2</cx:pt>
          <cx:pt idx="49802">5</cx:pt>
          <cx:pt idx="49803">2</cx:pt>
          <cx:pt idx="49804">4</cx:pt>
          <cx:pt idx="49805">2</cx:pt>
          <cx:pt idx="49806">4</cx:pt>
          <cx:pt idx="49807">4</cx:pt>
          <cx:pt idx="49808">4</cx:pt>
          <cx:pt idx="49809">5</cx:pt>
          <cx:pt idx="49810">2</cx:pt>
          <cx:pt idx="49811">1</cx:pt>
          <cx:pt idx="49812">2</cx:pt>
          <cx:pt idx="49813">1</cx:pt>
          <cx:pt idx="49814">1</cx:pt>
          <cx:pt idx="49815">5</cx:pt>
          <cx:pt idx="49816">2</cx:pt>
          <cx:pt idx="49817">5</cx:pt>
          <cx:pt idx="49818">4</cx:pt>
          <cx:pt idx="49819">3</cx:pt>
          <cx:pt idx="49820">3</cx:pt>
          <cx:pt idx="49821">3</cx:pt>
          <cx:pt idx="49822">4</cx:pt>
          <cx:pt idx="49823">4</cx:pt>
          <cx:pt idx="49824">3</cx:pt>
          <cx:pt idx="49825">4</cx:pt>
          <cx:pt idx="49826">5</cx:pt>
          <cx:pt idx="49827">4</cx:pt>
          <cx:pt idx="49828">5</cx:pt>
          <cx:pt idx="49829">5</cx:pt>
          <cx:pt idx="49830">4</cx:pt>
          <cx:pt idx="49831">5</cx:pt>
          <cx:pt idx="49832">5</cx:pt>
          <cx:pt idx="49833">2</cx:pt>
          <cx:pt idx="49834">4</cx:pt>
          <cx:pt idx="49835">3</cx:pt>
          <cx:pt idx="49836">4</cx:pt>
          <cx:pt idx="49837">4</cx:pt>
          <cx:pt idx="49838">3</cx:pt>
          <cx:pt idx="49839">3</cx:pt>
          <cx:pt idx="49840">4</cx:pt>
          <cx:pt idx="49841">5</cx:pt>
          <cx:pt idx="49842">4</cx:pt>
          <cx:pt idx="49843">3</cx:pt>
          <cx:pt idx="49844">2</cx:pt>
          <cx:pt idx="49845">4</cx:pt>
          <cx:pt idx="49846">4</cx:pt>
          <cx:pt idx="49847">4</cx:pt>
          <cx:pt idx="49848">4</cx:pt>
          <cx:pt idx="49849">5</cx:pt>
          <cx:pt idx="49850">5</cx:pt>
          <cx:pt idx="49851">1</cx:pt>
          <cx:pt idx="49852">2</cx:pt>
          <cx:pt idx="49853">5</cx:pt>
          <cx:pt idx="49854">3</cx:pt>
          <cx:pt idx="49855">4</cx:pt>
          <cx:pt idx="49856">5</cx:pt>
          <cx:pt idx="49857">2</cx:pt>
          <cx:pt idx="49858">2</cx:pt>
          <cx:pt idx="49859">5</cx:pt>
          <cx:pt idx="49860">3</cx:pt>
          <cx:pt idx="49861">1</cx:pt>
          <cx:pt idx="49862">3</cx:pt>
          <cx:pt idx="49863">3</cx:pt>
          <cx:pt idx="49864">5</cx:pt>
          <cx:pt idx="49865">2</cx:pt>
          <cx:pt idx="49866">5</cx:pt>
          <cx:pt idx="49867">1</cx:pt>
          <cx:pt idx="49868">5</cx:pt>
          <cx:pt idx="49869">5</cx:pt>
          <cx:pt idx="49870">2</cx:pt>
          <cx:pt idx="49871">4</cx:pt>
          <cx:pt idx="49872">5</cx:pt>
          <cx:pt idx="49873">4</cx:pt>
          <cx:pt idx="49874">3</cx:pt>
          <cx:pt idx="49875">5</cx:pt>
          <cx:pt idx="49876">5</cx:pt>
          <cx:pt idx="49877">1</cx:pt>
          <cx:pt idx="49878">4</cx:pt>
          <cx:pt idx="49879">5</cx:pt>
          <cx:pt idx="49880">5</cx:pt>
          <cx:pt idx="49881">3</cx:pt>
          <cx:pt idx="49882">4</cx:pt>
          <cx:pt idx="49883">1</cx:pt>
          <cx:pt idx="49884">3</cx:pt>
          <cx:pt idx="49885">3</cx:pt>
          <cx:pt idx="49886">2</cx:pt>
          <cx:pt idx="49887">2</cx:pt>
          <cx:pt idx="49888">3</cx:pt>
          <cx:pt idx="49889">5</cx:pt>
          <cx:pt idx="49890">2</cx:pt>
          <cx:pt idx="49891">4</cx:pt>
          <cx:pt idx="49892">5</cx:pt>
          <cx:pt idx="49893">5</cx:pt>
          <cx:pt idx="49894">4</cx:pt>
          <cx:pt idx="49895">3</cx:pt>
          <cx:pt idx="49896">2</cx:pt>
          <cx:pt idx="49897">1</cx:pt>
          <cx:pt idx="49898">3</cx:pt>
          <cx:pt idx="49899">1</cx:pt>
          <cx:pt idx="49900">1</cx:pt>
          <cx:pt idx="49901">5</cx:pt>
          <cx:pt idx="49902">2</cx:pt>
          <cx:pt idx="49903">2</cx:pt>
          <cx:pt idx="49904">5</cx:pt>
          <cx:pt idx="49905">4</cx:pt>
          <cx:pt idx="49906">4</cx:pt>
          <cx:pt idx="49907">3</cx:pt>
          <cx:pt idx="49908">2</cx:pt>
          <cx:pt idx="49909">3</cx:pt>
          <cx:pt idx="49910">4</cx:pt>
          <cx:pt idx="49911">1</cx:pt>
          <cx:pt idx="49912">4</cx:pt>
          <cx:pt idx="49913">4</cx:pt>
          <cx:pt idx="49914">4</cx:pt>
          <cx:pt idx="49915">3</cx:pt>
          <cx:pt idx="49916">5</cx:pt>
          <cx:pt idx="49917">5</cx:pt>
          <cx:pt idx="49918">4</cx:pt>
          <cx:pt idx="49919">5</cx:pt>
          <cx:pt idx="49920">5</cx:pt>
          <cx:pt idx="49921">4</cx:pt>
          <cx:pt idx="49922">3</cx:pt>
          <cx:pt idx="49923">3</cx:pt>
          <cx:pt idx="49924">5</cx:pt>
          <cx:pt idx="49925">5</cx:pt>
          <cx:pt idx="49926">4</cx:pt>
          <cx:pt idx="49927">2</cx:pt>
          <cx:pt idx="49928">5</cx:pt>
          <cx:pt idx="49929">5</cx:pt>
          <cx:pt idx="49930">3</cx:pt>
          <cx:pt idx="49931">2</cx:pt>
          <cx:pt idx="49932">4</cx:pt>
          <cx:pt idx="49933">3</cx:pt>
          <cx:pt idx="49934">4</cx:pt>
          <cx:pt idx="49935">1</cx:pt>
          <cx:pt idx="49936">1</cx:pt>
          <cx:pt idx="49937">2</cx:pt>
          <cx:pt idx="49938">1</cx:pt>
          <cx:pt idx="49939">4</cx:pt>
          <cx:pt idx="49940">4</cx:pt>
          <cx:pt idx="49941">4</cx:pt>
          <cx:pt idx="49942">4</cx:pt>
          <cx:pt idx="49943">4</cx:pt>
          <cx:pt idx="49944">5</cx:pt>
          <cx:pt idx="49945">5</cx:pt>
          <cx:pt idx="49946">3</cx:pt>
          <cx:pt idx="49947">1</cx:pt>
          <cx:pt idx="49948">2</cx:pt>
          <cx:pt idx="49949">5</cx:pt>
          <cx:pt idx="49950">2</cx:pt>
          <cx:pt idx="49951">3</cx:pt>
          <cx:pt idx="49952">1</cx:pt>
          <cx:pt idx="49953">4</cx:pt>
          <cx:pt idx="49954">5</cx:pt>
          <cx:pt idx="49955">5</cx:pt>
          <cx:pt idx="49956">5</cx:pt>
          <cx:pt idx="49957">4</cx:pt>
          <cx:pt idx="49958">4</cx:pt>
          <cx:pt idx="49959">5</cx:pt>
          <cx:pt idx="49960">4</cx:pt>
          <cx:pt idx="49961">3</cx:pt>
          <cx:pt idx="49962">5</cx:pt>
          <cx:pt idx="49963">5</cx:pt>
          <cx:pt idx="49964">3</cx:pt>
          <cx:pt idx="49965">4</cx:pt>
          <cx:pt idx="49966">3</cx:pt>
          <cx:pt idx="49967">5</cx:pt>
          <cx:pt idx="49968">1</cx:pt>
          <cx:pt idx="49969">4</cx:pt>
          <cx:pt idx="49970">4</cx:pt>
          <cx:pt idx="49971">4</cx:pt>
          <cx:pt idx="49972">4</cx:pt>
          <cx:pt idx="49973">4</cx:pt>
          <cx:pt idx="49974">2</cx:pt>
          <cx:pt idx="49975">5</cx:pt>
          <cx:pt idx="49976">5</cx:pt>
          <cx:pt idx="49977">2</cx:pt>
          <cx:pt idx="49978">3</cx:pt>
          <cx:pt idx="49979">1</cx:pt>
          <cx:pt idx="49980">5</cx:pt>
          <cx:pt idx="49981">3</cx:pt>
          <cx:pt idx="49982">4</cx:pt>
          <cx:pt idx="49983">5</cx:pt>
          <cx:pt idx="49984">5</cx:pt>
          <cx:pt idx="49985">1</cx:pt>
          <cx:pt idx="49986">4</cx:pt>
          <cx:pt idx="49987">5</cx:pt>
          <cx:pt idx="49988">5</cx:pt>
          <cx:pt idx="49989">2</cx:pt>
          <cx:pt idx="49990">2</cx:pt>
          <cx:pt idx="49991">2</cx:pt>
          <cx:pt idx="49992">1</cx:pt>
          <cx:pt idx="49993">5</cx:pt>
          <cx:pt idx="49994">4</cx:pt>
          <cx:pt idx="49995">2</cx:pt>
          <cx:pt idx="49996">4</cx:pt>
          <cx:pt idx="49997">4</cx:pt>
          <cx:pt idx="49998">1</cx:pt>
          <cx:pt idx="49999">2</cx:pt>
          <cx:pt idx="50000">1</cx:pt>
          <cx:pt idx="50001">4</cx:pt>
          <cx:pt idx="50002">2</cx:pt>
          <cx:pt idx="50003">4</cx:pt>
          <cx:pt idx="50004">1</cx:pt>
          <cx:pt idx="50005">5</cx:pt>
          <cx:pt idx="50006">5</cx:pt>
          <cx:pt idx="50007">3</cx:pt>
          <cx:pt idx="50008">3</cx:pt>
          <cx:pt idx="50009">5</cx:pt>
          <cx:pt idx="50010">2</cx:pt>
          <cx:pt idx="50011">4</cx:pt>
          <cx:pt idx="50012">5</cx:pt>
          <cx:pt idx="50013">3</cx:pt>
          <cx:pt idx="50014">3</cx:pt>
          <cx:pt idx="50015">2</cx:pt>
          <cx:pt idx="50016">4</cx:pt>
          <cx:pt idx="50017">4</cx:pt>
          <cx:pt idx="50018">5</cx:pt>
          <cx:pt idx="50019">1</cx:pt>
          <cx:pt idx="50020">5</cx:pt>
          <cx:pt idx="50021">3</cx:pt>
          <cx:pt idx="50022">3</cx:pt>
          <cx:pt idx="50023">5</cx:pt>
          <cx:pt idx="50024">5</cx:pt>
          <cx:pt idx="50025">5</cx:pt>
          <cx:pt idx="50026">5</cx:pt>
          <cx:pt idx="50027">1</cx:pt>
          <cx:pt idx="50028">4</cx:pt>
          <cx:pt idx="50029">3</cx:pt>
          <cx:pt idx="50030">4</cx:pt>
          <cx:pt idx="50031">3</cx:pt>
          <cx:pt idx="50032">4</cx:pt>
          <cx:pt idx="50033">1</cx:pt>
          <cx:pt idx="50034">2</cx:pt>
          <cx:pt idx="50035">3</cx:pt>
          <cx:pt idx="50036">1</cx:pt>
          <cx:pt idx="50037">1</cx:pt>
          <cx:pt idx="50038">5</cx:pt>
          <cx:pt idx="50039">4</cx:pt>
          <cx:pt idx="50040">2</cx:pt>
          <cx:pt idx="50041">5</cx:pt>
          <cx:pt idx="50042">1</cx:pt>
          <cx:pt idx="50043">2</cx:pt>
          <cx:pt idx="50044">4</cx:pt>
          <cx:pt idx="50045">3</cx:pt>
          <cx:pt idx="50046">5</cx:pt>
          <cx:pt idx="50047">4</cx:pt>
          <cx:pt idx="50048">4</cx:pt>
          <cx:pt idx="50049">5</cx:pt>
          <cx:pt idx="50050">1</cx:pt>
          <cx:pt idx="50051">2</cx:pt>
          <cx:pt idx="50052">5</cx:pt>
          <cx:pt idx="50053">4</cx:pt>
          <cx:pt idx="50054">4</cx:pt>
          <cx:pt idx="50055">5</cx:pt>
          <cx:pt idx="50056">2</cx:pt>
          <cx:pt idx="50057">4</cx:pt>
          <cx:pt idx="50058">2</cx:pt>
          <cx:pt idx="50059">4</cx:pt>
          <cx:pt idx="50060">3</cx:pt>
          <cx:pt idx="50061">2</cx:pt>
          <cx:pt idx="50062">5</cx:pt>
          <cx:pt idx="50063">4</cx:pt>
          <cx:pt idx="50064">4</cx:pt>
          <cx:pt idx="50065">2</cx:pt>
          <cx:pt idx="50066">1</cx:pt>
          <cx:pt idx="50067">5</cx:pt>
          <cx:pt idx="50068">4</cx:pt>
          <cx:pt idx="50069">2</cx:pt>
          <cx:pt idx="50070">5</cx:pt>
          <cx:pt idx="50071">1</cx:pt>
          <cx:pt idx="50072">3</cx:pt>
          <cx:pt idx="50073">4</cx:pt>
          <cx:pt idx="50074">1</cx:pt>
          <cx:pt idx="50075">4</cx:pt>
          <cx:pt idx="50076">4</cx:pt>
          <cx:pt idx="50077">4</cx:pt>
          <cx:pt idx="50078">4</cx:pt>
          <cx:pt idx="50079">4</cx:pt>
          <cx:pt idx="50080">2</cx:pt>
          <cx:pt idx="50081">4</cx:pt>
          <cx:pt idx="50082">3</cx:pt>
          <cx:pt idx="50083">5</cx:pt>
          <cx:pt idx="50084">3</cx:pt>
          <cx:pt idx="50085">1</cx:pt>
          <cx:pt idx="50086">1</cx:pt>
          <cx:pt idx="50087">1</cx:pt>
          <cx:pt idx="50088">5</cx:pt>
          <cx:pt idx="50089">2</cx:pt>
          <cx:pt idx="50090">5</cx:pt>
          <cx:pt idx="50091">1</cx:pt>
          <cx:pt idx="50092">5</cx:pt>
          <cx:pt idx="50093">2</cx:pt>
          <cx:pt idx="50094">1</cx:pt>
          <cx:pt idx="50095">4</cx:pt>
          <cx:pt idx="50096">1</cx:pt>
          <cx:pt idx="50097">2</cx:pt>
          <cx:pt idx="50098">2</cx:pt>
          <cx:pt idx="50099">2</cx:pt>
          <cx:pt idx="50100">3</cx:pt>
          <cx:pt idx="50101">5</cx:pt>
          <cx:pt idx="50102">4</cx:pt>
          <cx:pt idx="50103">5</cx:pt>
          <cx:pt idx="50104">3</cx:pt>
          <cx:pt idx="50105">5</cx:pt>
          <cx:pt idx="50106">4</cx:pt>
          <cx:pt idx="50107">1</cx:pt>
          <cx:pt idx="50108">4</cx:pt>
          <cx:pt idx="50109">3</cx:pt>
          <cx:pt idx="50110">4</cx:pt>
          <cx:pt idx="50111">2</cx:pt>
          <cx:pt idx="50112">5</cx:pt>
          <cx:pt idx="50113">2</cx:pt>
          <cx:pt idx="50114">4</cx:pt>
          <cx:pt idx="50115">5</cx:pt>
          <cx:pt idx="50116">5</cx:pt>
          <cx:pt idx="50117">5</cx:pt>
          <cx:pt idx="50118">4</cx:pt>
          <cx:pt idx="50119">2</cx:pt>
          <cx:pt idx="50120">1</cx:pt>
          <cx:pt idx="50121">5</cx:pt>
          <cx:pt idx="50122">4</cx:pt>
          <cx:pt idx="50123">3</cx:pt>
          <cx:pt idx="50124">3</cx:pt>
          <cx:pt idx="50125">3</cx:pt>
          <cx:pt idx="50126">4</cx:pt>
          <cx:pt idx="50127">4</cx:pt>
          <cx:pt idx="50128">4</cx:pt>
          <cx:pt idx="50129">4</cx:pt>
          <cx:pt idx="50130">4</cx:pt>
          <cx:pt idx="50131">5</cx:pt>
          <cx:pt idx="50132">2</cx:pt>
          <cx:pt idx="50133">5</cx:pt>
          <cx:pt idx="50134">3</cx:pt>
          <cx:pt idx="50135">5</cx:pt>
          <cx:pt idx="50136">5</cx:pt>
          <cx:pt idx="50137">1</cx:pt>
          <cx:pt idx="50138">2</cx:pt>
          <cx:pt idx="50139">3</cx:pt>
          <cx:pt idx="50140">3</cx:pt>
          <cx:pt idx="50141">3</cx:pt>
          <cx:pt idx="50142">4</cx:pt>
          <cx:pt idx="50143">4</cx:pt>
          <cx:pt idx="50144">1</cx:pt>
          <cx:pt idx="50145">3</cx:pt>
          <cx:pt idx="50146">4</cx:pt>
          <cx:pt idx="50147">5</cx:pt>
          <cx:pt idx="50148">4</cx:pt>
          <cx:pt idx="50149">3</cx:pt>
          <cx:pt idx="50150">4</cx:pt>
          <cx:pt idx="50151">4</cx:pt>
          <cx:pt idx="50152">4</cx:pt>
          <cx:pt idx="50153">1</cx:pt>
          <cx:pt idx="50154">5</cx:pt>
          <cx:pt idx="50155">4</cx:pt>
          <cx:pt idx="50156">1</cx:pt>
          <cx:pt idx="50157">2</cx:pt>
          <cx:pt idx="50158">4</cx:pt>
          <cx:pt idx="50159">1</cx:pt>
          <cx:pt idx="50160">3</cx:pt>
          <cx:pt idx="50161">4</cx:pt>
          <cx:pt idx="50162">5</cx:pt>
          <cx:pt idx="50163">4</cx:pt>
          <cx:pt idx="50164">1</cx:pt>
          <cx:pt idx="50165">4</cx:pt>
          <cx:pt idx="50166">1</cx:pt>
          <cx:pt idx="50167">5</cx:pt>
          <cx:pt idx="50168">4</cx:pt>
          <cx:pt idx="50169">3</cx:pt>
          <cx:pt idx="50170">2</cx:pt>
          <cx:pt idx="50171">5</cx:pt>
          <cx:pt idx="50172">4</cx:pt>
          <cx:pt idx="50173">1</cx:pt>
          <cx:pt idx="50174">5</cx:pt>
          <cx:pt idx="50175">3</cx:pt>
          <cx:pt idx="50176">5</cx:pt>
          <cx:pt idx="50177">3</cx:pt>
          <cx:pt idx="50178">3</cx:pt>
          <cx:pt idx="50179">5</cx:pt>
          <cx:pt idx="50180">3</cx:pt>
          <cx:pt idx="50181">1</cx:pt>
          <cx:pt idx="50182">4</cx:pt>
          <cx:pt idx="50183">2</cx:pt>
          <cx:pt idx="50184">4</cx:pt>
          <cx:pt idx="50185">5</cx:pt>
          <cx:pt idx="50186">5</cx:pt>
          <cx:pt idx="50187">5</cx:pt>
          <cx:pt idx="50188">4</cx:pt>
          <cx:pt idx="50189">3</cx:pt>
          <cx:pt idx="50190">3</cx:pt>
          <cx:pt idx="50191">4</cx:pt>
          <cx:pt idx="50192">3</cx:pt>
          <cx:pt idx="50193">1</cx:pt>
          <cx:pt idx="50194">3</cx:pt>
          <cx:pt idx="50195">3</cx:pt>
          <cx:pt idx="50196">5</cx:pt>
          <cx:pt idx="50197">5</cx:pt>
          <cx:pt idx="50198">4</cx:pt>
          <cx:pt idx="50199">4</cx:pt>
          <cx:pt idx="50200">5</cx:pt>
          <cx:pt idx="50201">5</cx:pt>
          <cx:pt idx="50202">5</cx:pt>
          <cx:pt idx="50203">5</cx:pt>
          <cx:pt idx="50204">4</cx:pt>
          <cx:pt idx="50205">5</cx:pt>
          <cx:pt idx="50206">2</cx:pt>
          <cx:pt idx="50207">3</cx:pt>
          <cx:pt idx="50208">4</cx:pt>
          <cx:pt idx="50209">2</cx:pt>
          <cx:pt idx="50210">5</cx:pt>
          <cx:pt idx="50211">2</cx:pt>
          <cx:pt idx="50212">3</cx:pt>
          <cx:pt idx="50213">4</cx:pt>
          <cx:pt idx="50214">5</cx:pt>
          <cx:pt idx="50215">2</cx:pt>
          <cx:pt idx="50216">3</cx:pt>
          <cx:pt idx="50217">1</cx:pt>
          <cx:pt idx="50218">1</cx:pt>
          <cx:pt idx="50219">3</cx:pt>
          <cx:pt idx="50220">1</cx:pt>
          <cx:pt idx="50221">2</cx:pt>
          <cx:pt idx="50222">3</cx:pt>
          <cx:pt idx="50223">4</cx:pt>
          <cx:pt idx="50224">4</cx:pt>
          <cx:pt idx="50225">4</cx:pt>
          <cx:pt idx="50226">5</cx:pt>
          <cx:pt idx="50227">3</cx:pt>
          <cx:pt idx="50228">3</cx:pt>
          <cx:pt idx="50229">2</cx:pt>
          <cx:pt idx="50230">2</cx:pt>
          <cx:pt idx="50231">5</cx:pt>
          <cx:pt idx="50232">4</cx:pt>
          <cx:pt idx="50233">5</cx:pt>
          <cx:pt idx="50234">5</cx:pt>
          <cx:pt idx="50235">4</cx:pt>
          <cx:pt idx="50236">4</cx:pt>
          <cx:pt idx="50237">3</cx:pt>
          <cx:pt idx="50238">5</cx:pt>
          <cx:pt idx="50239">4</cx:pt>
          <cx:pt idx="50240">3</cx:pt>
          <cx:pt idx="50241">5</cx:pt>
          <cx:pt idx="50242">5</cx:pt>
          <cx:pt idx="50243">1</cx:pt>
          <cx:pt idx="50244">5</cx:pt>
          <cx:pt idx="50245">4</cx:pt>
          <cx:pt idx="50246">1</cx:pt>
          <cx:pt idx="50247">3</cx:pt>
          <cx:pt idx="50248">5</cx:pt>
          <cx:pt idx="50249">5</cx:pt>
          <cx:pt idx="50250">3</cx:pt>
          <cx:pt idx="50251">4</cx:pt>
          <cx:pt idx="50252">5</cx:pt>
          <cx:pt idx="50253">4</cx:pt>
          <cx:pt idx="50254">4</cx:pt>
          <cx:pt idx="50255">4</cx:pt>
          <cx:pt idx="50256">5</cx:pt>
          <cx:pt idx="50257">5</cx:pt>
          <cx:pt idx="50258">1</cx:pt>
          <cx:pt idx="50259">5</cx:pt>
          <cx:pt idx="50260">5</cx:pt>
          <cx:pt idx="50261">4</cx:pt>
          <cx:pt idx="50262">2</cx:pt>
          <cx:pt idx="50263">3</cx:pt>
          <cx:pt idx="50264">4</cx:pt>
          <cx:pt idx="50265">5</cx:pt>
          <cx:pt idx="50266">5</cx:pt>
          <cx:pt idx="50267">1</cx:pt>
          <cx:pt idx="50268">5</cx:pt>
          <cx:pt idx="50269">4</cx:pt>
          <cx:pt idx="50270">4</cx:pt>
          <cx:pt idx="50271">4</cx:pt>
          <cx:pt idx="50272">1</cx:pt>
          <cx:pt idx="50273">5</cx:pt>
          <cx:pt idx="50274">1</cx:pt>
          <cx:pt idx="50275">4</cx:pt>
          <cx:pt idx="50276">4</cx:pt>
          <cx:pt idx="50277">2</cx:pt>
          <cx:pt idx="50278">4</cx:pt>
          <cx:pt idx="50279">3</cx:pt>
          <cx:pt idx="50280">3</cx:pt>
          <cx:pt idx="50281">3</cx:pt>
          <cx:pt idx="50282">2</cx:pt>
          <cx:pt idx="50283">4</cx:pt>
          <cx:pt idx="50284">5</cx:pt>
          <cx:pt idx="50285">1</cx:pt>
          <cx:pt idx="50286">2</cx:pt>
          <cx:pt idx="50287">5</cx:pt>
          <cx:pt idx="50288">4</cx:pt>
          <cx:pt idx="50289">1</cx:pt>
          <cx:pt idx="50290">5</cx:pt>
          <cx:pt idx="50291">4</cx:pt>
          <cx:pt idx="50292">5</cx:pt>
          <cx:pt idx="50293">4</cx:pt>
          <cx:pt idx="50294">2</cx:pt>
          <cx:pt idx="50295">5</cx:pt>
          <cx:pt idx="50296">4</cx:pt>
          <cx:pt idx="50297">1</cx:pt>
          <cx:pt idx="50298">3</cx:pt>
          <cx:pt idx="50299">4</cx:pt>
          <cx:pt idx="50300">4</cx:pt>
          <cx:pt idx="50301">2</cx:pt>
          <cx:pt idx="50302">1</cx:pt>
          <cx:pt idx="50303">4</cx:pt>
          <cx:pt idx="50304">4</cx:pt>
          <cx:pt idx="50305">3</cx:pt>
          <cx:pt idx="50306">2</cx:pt>
          <cx:pt idx="50307">2</cx:pt>
          <cx:pt idx="50308">1</cx:pt>
          <cx:pt idx="50309">4</cx:pt>
          <cx:pt idx="50310">5</cx:pt>
          <cx:pt idx="50311">3</cx:pt>
          <cx:pt idx="50312">5</cx:pt>
          <cx:pt idx="50313">5</cx:pt>
          <cx:pt idx="50314">1</cx:pt>
          <cx:pt idx="50315">1</cx:pt>
          <cx:pt idx="50316">2</cx:pt>
          <cx:pt idx="50317">5</cx:pt>
          <cx:pt idx="50318">1</cx:pt>
          <cx:pt idx="50319">3</cx:pt>
          <cx:pt idx="50320">1</cx:pt>
          <cx:pt idx="50321">5</cx:pt>
          <cx:pt idx="50322">3</cx:pt>
          <cx:pt idx="50323">5</cx:pt>
          <cx:pt idx="50324">5</cx:pt>
          <cx:pt idx="50325">5</cx:pt>
          <cx:pt idx="50326">2</cx:pt>
          <cx:pt idx="50327">5</cx:pt>
          <cx:pt idx="50328">3</cx:pt>
          <cx:pt idx="50329">4</cx:pt>
          <cx:pt idx="50330">2</cx:pt>
          <cx:pt idx="50331">1</cx:pt>
          <cx:pt idx="50332">4</cx:pt>
          <cx:pt idx="50333">4</cx:pt>
          <cx:pt idx="50334">2</cx:pt>
          <cx:pt idx="50335">2</cx:pt>
          <cx:pt idx="50336">4</cx:pt>
          <cx:pt idx="50337">1</cx:pt>
          <cx:pt idx="50338">5</cx:pt>
          <cx:pt idx="50339">4</cx:pt>
          <cx:pt idx="50340">3</cx:pt>
          <cx:pt idx="50341">3</cx:pt>
          <cx:pt idx="50342">3</cx:pt>
          <cx:pt idx="50343">3</cx:pt>
          <cx:pt idx="50344">4</cx:pt>
          <cx:pt idx="50345">5</cx:pt>
          <cx:pt idx="50346">2</cx:pt>
          <cx:pt idx="50347">1</cx:pt>
          <cx:pt idx="50348">5</cx:pt>
          <cx:pt idx="50349">5</cx:pt>
          <cx:pt idx="50350">3</cx:pt>
          <cx:pt idx="50351">4</cx:pt>
          <cx:pt idx="50352">4</cx:pt>
          <cx:pt idx="50353">4</cx:pt>
          <cx:pt idx="50354">5</cx:pt>
          <cx:pt idx="50355">5</cx:pt>
          <cx:pt idx="50356">1</cx:pt>
          <cx:pt idx="50357">2</cx:pt>
          <cx:pt idx="50358">4</cx:pt>
          <cx:pt idx="50359">5</cx:pt>
          <cx:pt idx="50360">5</cx:pt>
          <cx:pt idx="50361">5</cx:pt>
          <cx:pt idx="50362">3</cx:pt>
          <cx:pt idx="50363">2</cx:pt>
          <cx:pt idx="50364">2</cx:pt>
          <cx:pt idx="50365">4</cx:pt>
          <cx:pt idx="50366">3</cx:pt>
          <cx:pt idx="50367">1</cx:pt>
          <cx:pt idx="50368">1</cx:pt>
          <cx:pt idx="50369">3</cx:pt>
          <cx:pt idx="50370">3</cx:pt>
          <cx:pt idx="50371">4</cx:pt>
          <cx:pt idx="50372">4</cx:pt>
          <cx:pt idx="50373">4</cx:pt>
          <cx:pt idx="50374">5</cx:pt>
          <cx:pt idx="50375">4</cx:pt>
          <cx:pt idx="50376">3</cx:pt>
          <cx:pt idx="50377">5</cx:pt>
          <cx:pt idx="50378">3</cx:pt>
          <cx:pt idx="50379">1</cx:pt>
          <cx:pt idx="50380">4</cx:pt>
          <cx:pt idx="50381">2</cx:pt>
          <cx:pt idx="50382">4</cx:pt>
          <cx:pt idx="50383">2</cx:pt>
          <cx:pt idx="50384">2</cx:pt>
          <cx:pt idx="50385">3</cx:pt>
          <cx:pt idx="50386">4</cx:pt>
          <cx:pt idx="50387">5</cx:pt>
          <cx:pt idx="50388">5</cx:pt>
          <cx:pt idx="50389">4</cx:pt>
          <cx:pt idx="50390">5</cx:pt>
          <cx:pt idx="50391">4</cx:pt>
          <cx:pt idx="50392">3</cx:pt>
          <cx:pt idx="50393">4</cx:pt>
          <cx:pt idx="50394">4</cx:pt>
          <cx:pt idx="50395">3</cx:pt>
          <cx:pt idx="50396">3</cx:pt>
          <cx:pt idx="50397">4</cx:pt>
          <cx:pt idx="50398">4</cx:pt>
          <cx:pt idx="50399">5</cx:pt>
          <cx:pt idx="50400">3</cx:pt>
          <cx:pt idx="50401">5</cx:pt>
          <cx:pt idx="50402">5</cx:pt>
          <cx:pt idx="50403">3</cx:pt>
          <cx:pt idx="50404">3</cx:pt>
          <cx:pt idx="50405">5</cx:pt>
          <cx:pt idx="50406">4</cx:pt>
          <cx:pt idx="50407">2</cx:pt>
          <cx:pt idx="50408">5</cx:pt>
          <cx:pt idx="50409">5</cx:pt>
          <cx:pt idx="50410">4</cx:pt>
          <cx:pt idx="50411">4</cx:pt>
          <cx:pt idx="50412">5</cx:pt>
          <cx:pt idx="50413">2</cx:pt>
          <cx:pt idx="50414">4</cx:pt>
          <cx:pt idx="50415">4</cx:pt>
          <cx:pt idx="50416">5</cx:pt>
          <cx:pt idx="50417">5</cx:pt>
          <cx:pt idx="50418">5</cx:pt>
          <cx:pt idx="50419">2</cx:pt>
          <cx:pt idx="50420">4</cx:pt>
          <cx:pt idx="50421">5</cx:pt>
          <cx:pt idx="50422">2</cx:pt>
          <cx:pt idx="50423">3</cx:pt>
          <cx:pt idx="50424">1</cx:pt>
          <cx:pt idx="50425">1</cx:pt>
          <cx:pt idx="50426">3</cx:pt>
          <cx:pt idx="50427">4</cx:pt>
          <cx:pt idx="50428">2</cx:pt>
          <cx:pt idx="50429">5</cx:pt>
          <cx:pt idx="50430">4</cx:pt>
          <cx:pt idx="50431">2</cx:pt>
          <cx:pt idx="50432">4</cx:pt>
          <cx:pt idx="50433">5</cx:pt>
          <cx:pt idx="50434">2</cx:pt>
          <cx:pt idx="50435">4</cx:pt>
          <cx:pt idx="50436">4</cx:pt>
          <cx:pt idx="50437">5</cx:pt>
          <cx:pt idx="50438">4</cx:pt>
          <cx:pt idx="50439">5</cx:pt>
          <cx:pt idx="50440">3</cx:pt>
          <cx:pt idx="50441">4</cx:pt>
          <cx:pt idx="50442">4</cx:pt>
          <cx:pt idx="50443">4</cx:pt>
          <cx:pt idx="50444">2</cx:pt>
          <cx:pt idx="50445">2</cx:pt>
          <cx:pt idx="50446">4</cx:pt>
          <cx:pt idx="50447">3</cx:pt>
          <cx:pt idx="50448">2</cx:pt>
          <cx:pt idx="50449">3</cx:pt>
          <cx:pt idx="50450">2</cx:pt>
          <cx:pt idx="50451">5</cx:pt>
          <cx:pt idx="50452">2</cx:pt>
          <cx:pt idx="50453">4</cx:pt>
          <cx:pt idx="50454">3</cx:pt>
          <cx:pt idx="50455">5</cx:pt>
          <cx:pt idx="50456">2</cx:pt>
          <cx:pt idx="50457">4</cx:pt>
          <cx:pt idx="50458">5</cx:pt>
          <cx:pt idx="50459">3</cx:pt>
          <cx:pt idx="50460">4</cx:pt>
          <cx:pt idx="50461">5</cx:pt>
          <cx:pt idx="50462">5</cx:pt>
          <cx:pt idx="50463">1</cx:pt>
          <cx:pt idx="50464">5</cx:pt>
          <cx:pt idx="50465">1</cx:pt>
          <cx:pt idx="50466">5</cx:pt>
          <cx:pt idx="50467">4</cx:pt>
          <cx:pt idx="50468">4</cx:pt>
          <cx:pt idx="50469">1</cx:pt>
          <cx:pt idx="50470">5</cx:pt>
          <cx:pt idx="50471">3</cx:pt>
          <cx:pt idx="50472">3</cx:pt>
          <cx:pt idx="50473">4</cx:pt>
          <cx:pt idx="50474">5</cx:pt>
          <cx:pt idx="50475">5</cx:pt>
          <cx:pt idx="50476">4</cx:pt>
          <cx:pt idx="50477">4</cx:pt>
          <cx:pt idx="50478">5</cx:pt>
          <cx:pt idx="50479">1</cx:pt>
          <cx:pt idx="50480">5</cx:pt>
          <cx:pt idx="50481">5</cx:pt>
          <cx:pt idx="50482">5</cx:pt>
          <cx:pt idx="50483">4</cx:pt>
          <cx:pt idx="50484">1</cx:pt>
          <cx:pt idx="50485">3</cx:pt>
          <cx:pt idx="50486">5</cx:pt>
          <cx:pt idx="50487">4</cx:pt>
          <cx:pt idx="50488">5</cx:pt>
          <cx:pt idx="50489">4</cx:pt>
          <cx:pt idx="50490">4</cx:pt>
          <cx:pt idx="50491">5</cx:pt>
          <cx:pt idx="50492">4</cx:pt>
          <cx:pt idx="50493">4</cx:pt>
          <cx:pt idx="50494">3</cx:pt>
          <cx:pt idx="50495">5</cx:pt>
          <cx:pt idx="50496">4</cx:pt>
          <cx:pt idx="50497">1</cx:pt>
          <cx:pt idx="50498">4</cx:pt>
          <cx:pt idx="50499">4</cx:pt>
          <cx:pt idx="50500">5</cx:pt>
          <cx:pt idx="50501">5</cx:pt>
          <cx:pt idx="50502">3</cx:pt>
          <cx:pt idx="50503">3</cx:pt>
          <cx:pt idx="50504">2</cx:pt>
          <cx:pt idx="50505">4</cx:pt>
          <cx:pt idx="50506">1</cx:pt>
          <cx:pt idx="50507">2</cx:pt>
          <cx:pt idx="50508">2</cx:pt>
          <cx:pt idx="50509">2</cx:pt>
          <cx:pt idx="50510">5</cx:pt>
          <cx:pt idx="50511">4</cx:pt>
          <cx:pt idx="50512">5</cx:pt>
          <cx:pt idx="50513">4</cx:pt>
          <cx:pt idx="50514">4</cx:pt>
          <cx:pt idx="50515">2</cx:pt>
          <cx:pt idx="50516">5</cx:pt>
          <cx:pt idx="50517">1</cx:pt>
          <cx:pt idx="50518">2</cx:pt>
          <cx:pt idx="50519">3</cx:pt>
          <cx:pt idx="50520">4</cx:pt>
          <cx:pt idx="50521">1</cx:pt>
          <cx:pt idx="50522">1</cx:pt>
          <cx:pt idx="50523">3</cx:pt>
          <cx:pt idx="50524">4</cx:pt>
          <cx:pt idx="50525">4</cx:pt>
          <cx:pt idx="50526">4</cx:pt>
          <cx:pt idx="50527">2</cx:pt>
          <cx:pt idx="50528">5</cx:pt>
          <cx:pt idx="50529">4</cx:pt>
          <cx:pt idx="50530">3</cx:pt>
          <cx:pt idx="50531">4</cx:pt>
          <cx:pt idx="50532">5</cx:pt>
          <cx:pt idx="50533">3</cx:pt>
          <cx:pt idx="50534">5</cx:pt>
          <cx:pt idx="50535">3</cx:pt>
          <cx:pt idx="50536">3</cx:pt>
          <cx:pt idx="50537">3</cx:pt>
          <cx:pt idx="50538">4</cx:pt>
          <cx:pt idx="50539">2</cx:pt>
          <cx:pt idx="50540">1</cx:pt>
          <cx:pt idx="50541">4</cx:pt>
          <cx:pt idx="50542">5</cx:pt>
          <cx:pt idx="50543">4</cx:pt>
          <cx:pt idx="50544">4</cx:pt>
          <cx:pt idx="50545">3</cx:pt>
          <cx:pt idx="50546">2</cx:pt>
          <cx:pt idx="50547">1</cx:pt>
          <cx:pt idx="50548">1</cx:pt>
          <cx:pt idx="50549">4</cx:pt>
          <cx:pt idx="50550">3</cx:pt>
          <cx:pt idx="50551">1</cx:pt>
          <cx:pt idx="50552">4</cx:pt>
          <cx:pt idx="50553">4</cx:pt>
          <cx:pt idx="50554">5</cx:pt>
          <cx:pt idx="50555">5</cx:pt>
          <cx:pt idx="50556">1</cx:pt>
          <cx:pt idx="50557">3</cx:pt>
          <cx:pt idx="50558">5</cx:pt>
          <cx:pt idx="50559">3</cx:pt>
          <cx:pt idx="50560">3</cx:pt>
          <cx:pt idx="50561">1</cx:pt>
          <cx:pt idx="50562">2</cx:pt>
          <cx:pt idx="50563">4</cx:pt>
          <cx:pt idx="50564">1</cx:pt>
          <cx:pt idx="50565">1</cx:pt>
          <cx:pt idx="50566">4</cx:pt>
          <cx:pt idx="50567">3</cx:pt>
          <cx:pt idx="50568">4</cx:pt>
          <cx:pt idx="50569">4</cx:pt>
          <cx:pt idx="50570">2</cx:pt>
          <cx:pt idx="50571">3</cx:pt>
          <cx:pt idx="50572">1</cx:pt>
          <cx:pt idx="50573">5</cx:pt>
          <cx:pt idx="50574">4</cx:pt>
          <cx:pt idx="50575">4</cx:pt>
          <cx:pt idx="50576">5</cx:pt>
          <cx:pt idx="50577">4</cx:pt>
          <cx:pt idx="50578">2</cx:pt>
          <cx:pt idx="50579">2</cx:pt>
          <cx:pt idx="50580">1</cx:pt>
          <cx:pt idx="50581">5</cx:pt>
          <cx:pt idx="50582">5</cx:pt>
          <cx:pt idx="50583">4</cx:pt>
          <cx:pt idx="50584">3</cx:pt>
          <cx:pt idx="50585">3</cx:pt>
          <cx:pt idx="50586">4</cx:pt>
          <cx:pt idx="50587">4</cx:pt>
          <cx:pt idx="50588">5</cx:pt>
          <cx:pt idx="50589">4</cx:pt>
          <cx:pt idx="50590">1</cx:pt>
          <cx:pt idx="50591">2</cx:pt>
          <cx:pt idx="50592">2</cx:pt>
          <cx:pt idx="50593">2</cx:pt>
          <cx:pt idx="50594">5</cx:pt>
          <cx:pt idx="50595">1</cx:pt>
          <cx:pt idx="50596">4</cx:pt>
          <cx:pt idx="50597">3</cx:pt>
          <cx:pt idx="50598">2</cx:pt>
          <cx:pt idx="50599">5</cx:pt>
          <cx:pt idx="50600">5</cx:pt>
          <cx:pt idx="50601">5</cx:pt>
          <cx:pt idx="50602">5</cx:pt>
          <cx:pt idx="50603">3</cx:pt>
          <cx:pt idx="50604">2</cx:pt>
          <cx:pt idx="50605">4</cx:pt>
          <cx:pt idx="50606">1</cx:pt>
          <cx:pt idx="50607">2</cx:pt>
          <cx:pt idx="50608">3</cx:pt>
          <cx:pt idx="50609">5</cx:pt>
          <cx:pt idx="50610">3</cx:pt>
          <cx:pt idx="50611">4</cx:pt>
          <cx:pt idx="50612">3</cx:pt>
          <cx:pt idx="50613">5</cx:pt>
          <cx:pt idx="50614">4</cx:pt>
          <cx:pt idx="50615">3</cx:pt>
          <cx:pt idx="50616">2</cx:pt>
          <cx:pt idx="50617">4</cx:pt>
          <cx:pt idx="50618">5</cx:pt>
          <cx:pt idx="50619">2</cx:pt>
          <cx:pt idx="50620">5</cx:pt>
          <cx:pt idx="50621">4</cx:pt>
          <cx:pt idx="50622">2</cx:pt>
          <cx:pt idx="50623">2</cx:pt>
          <cx:pt idx="50624">2</cx:pt>
          <cx:pt idx="50625">3</cx:pt>
          <cx:pt idx="50626">3</cx:pt>
          <cx:pt idx="50627">2</cx:pt>
          <cx:pt idx="50628">3</cx:pt>
          <cx:pt idx="50629">3</cx:pt>
          <cx:pt idx="50630">5</cx:pt>
          <cx:pt idx="50631">5</cx:pt>
          <cx:pt idx="50632">3</cx:pt>
          <cx:pt idx="50633">4</cx:pt>
          <cx:pt idx="50634">5</cx:pt>
          <cx:pt idx="50635">1</cx:pt>
          <cx:pt idx="50636">5</cx:pt>
          <cx:pt idx="50637">4</cx:pt>
          <cx:pt idx="50638">4</cx:pt>
          <cx:pt idx="50639">4</cx:pt>
          <cx:pt idx="50640">4</cx:pt>
          <cx:pt idx="50641">5</cx:pt>
          <cx:pt idx="50642">3</cx:pt>
          <cx:pt idx="50643">2</cx:pt>
          <cx:pt idx="50644">4</cx:pt>
          <cx:pt idx="50645">3</cx:pt>
          <cx:pt idx="50646">5</cx:pt>
          <cx:pt idx="50647">2</cx:pt>
          <cx:pt idx="50648">2</cx:pt>
          <cx:pt idx="50649">4</cx:pt>
          <cx:pt idx="50650">4</cx:pt>
          <cx:pt idx="50651">4</cx:pt>
          <cx:pt idx="50652">5</cx:pt>
          <cx:pt idx="50653">3</cx:pt>
          <cx:pt idx="50654">1</cx:pt>
          <cx:pt idx="50655">1</cx:pt>
          <cx:pt idx="50656">2</cx:pt>
          <cx:pt idx="50657">5</cx:pt>
          <cx:pt idx="50658">5</cx:pt>
          <cx:pt idx="50659">5</cx:pt>
          <cx:pt idx="50660">4</cx:pt>
          <cx:pt idx="50661">5</cx:pt>
          <cx:pt idx="50662">2</cx:pt>
          <cx:pt idx="50663">3</cx:pt>
          <cx:pt idx="50664">4</cx:pt>
          <cx:pt idx="50665">2</cx:pt>
          <cx:pt idx="50666">3</cx:pt>
          <cx:pt idx="50667">3</cx:pt>
          <cx:pt idx="50668">1</cx:pt>
          <cx:pt idx="50669">4</cx:pt>
          <cx:pt idx="50670">4</cx:pt>
          <cx:pt idx="50671">4</cx:pt>
          <cx:pt idx="50672">4</cx:pt>
          <cx:pt idx="50673">4</cx:pt>
          <cx:pt idx="50674">3</cx:pt>
          <cx:pt idx="50675">1</cx:pt>
          <cx:pt idx="50676">5</cx:pt>
          <cx:pt idx="50677">4</cx:pt>
          <cx:pt idx="50678">5</cx:pt>
          <cx:pt idx="50679">5</cx:pt>
          <cx:pt idx="50680">4</cx:pt>
          <cx:pt idx="50681">3</cx:pt>
          <cx:pt idx="50682">5</cx:pt>
          <cx:pt idx="50683">3</cx:pt>
          <cx:pt idx="50684">5</cx:pt>
          <cx:pt idx="50685">4</cx:pt>
          <cx:pt idx="50686">4</cx:pt>
          <cx:pt idx="50687">1</cx:pt>
          <cx:pt idx="50688">2</cx:pt>
          <cx:pt idx="50689">4</cx:pt>
          <cx:pt idx="50690">4</cx:pt>
          <cx:pt idx="50691">2</cx:pt>
          <cx:pt idx="50692">4</cx:pt>
          <cx:pt idx="50693">1</cx:pt>
          <cx:pt idx="50694">5</cx:pt>
          <cx:pt idx="50695">5</cx:pt>
          <cx:pt idx="50696">4</cx:pt>
          <cx:pt idx="50697">3</cx:pt>
          <cx:pt idx="50698">5</cx:pt>
          <cx:pt idx="50699">5</cx:pt>
          <cx:pt idx="50700">4</cx:pt>
          <cx:pt idx="50701">5</cx:pt>
          <cx:pt idx="50702">2</cx:pt>
          <cx:pt idx="50703">5</cx:pt>
          <cx:pt idx="50704">1</cx:pt>
          <cx:pt idx="50705">5</cx:pt>
          <cx:pt idx="50706">2</cx:pt>
          <cx:pt idx="50707">3</cx:pt>
          <cx:pt idx="50708">4</cx:pt>
          <cx:pt idx="50709">5</cx:pt>
          <cx:pt idx="50710">3</cx:pt>
          <cx:pt idx="50711">5</cx:pt>
          <cx:pt idx="50712">3</cx:pt>
          <cx:pt idx="50713">2</cx:pt>
          <cx:pt idx="50714">3</cx:pt>
          <cx:pt idx="50715">4</cx:pt>
          <cx:pt idx="50716">5</cx:pt>
          <cx:pt idx="50717">1</cx:pt>
          <cx:pt idx="50718">4</cx:pt>
          <cx:pt idx="50719">5</cx:pt>
          <cx:pt idx="50720">1</cx:pt>
          <cx:pt idx="50721">4</cx:pt>
          <cx:pt idx="50722">4</cx:pt>
          <cx:pt idx="50723">3</cx:pt>
          <cx:pt idx="50724">5</cx:pt>
          <cx:pt idx="50725">3</cx:pt>
          <cx:pt idx="50726">4</cx:pt>
          <cx:pt idx="50727">5</cx:pt>
          <cx:pt idx="50728">4</cx:pt>
          <cx:pt idx="50729">5</cx:pt>
          <cx:pt idx="50730">4</cx:pt>
          <cx:pt idx="50731">5</cx:pt>
          <cx:pt idx="50732">3</cx:pt>
          <cx:pt idx="50733">5</cx:pt>
          <cx:pt idx="50734">2</cx:pt>
          <cx:pt idx="50735">4</cx:pt>
          <cx:pt idx="50736">5</cx:pt>
          <cx:pt idx="50737">4</cx:pt>
          <cx:pt idx="50738">5</cx:pt>
          <cx:pt idx="50739">5</cx:pt>
          <cx:pt idx="50740">5</cx:pt>
          <cx:pt idx="50741">2</cx:pt>
          <cx:pt idx="50742">3</cx:pt>
          <cx:pt idx="50743">2</cx:pt>
          <cx:pt idx="50744">5</cx:pt>
          <cx:pt idx="50745">3</cx:pt>
          <cx:pt idx="50746">3</cx:pt>
          <cx:pt idx="50747">4</cx:pt>
          <cx:pt idx="50748">1</cx:pt>
          <cx:pt idx="50749">2</cx:pt>
          <cx:pt idx="50750">4</cx:pt>
          <cx:pt idx="50751">4</cx:pt>
          <cx:pt idx="50752">4</cx:pt>
          <cx:pt idx="50753">2</cx:pt>
          <cx:pt idx="50754">1</cx:pt>
          <cx:pt idx="50755">3</cx:pt>
          <cx:pt idx="50756">4</cx:pt>
          <cx:pt idx="50757">5</cx:pt>
          <cx:pt idx="50758">3</cx:pt>
          <cx:pt idx="50759">3</cx:pt>
          <cx:pt idx="50760">3</cx:pt>
          <cx:pt idx="50761">5</cx:pt>
          <cx:pt idx="50762">1</cx:pt>
          <cx:pt idx="50763">3</cx:pt>
          <cx:pt idx="50764">3</cx:pt>
          <cx:pt idx="50765">2</cx:pt>
          <cx:pt idx="50766">2</cx:pt>
          <cx:pt idx="50767">5</cx:pt>
          <cx:pt idx="50768">5</cx:pt>
          <cx:pt idx="50769">2</cx:pt>
          <cx:pt idx="50770">5</cx:pt>
          <cx:pt idx="50771">3</cx:pt>
          <cx:pt idx="50772">5</cx:pt>
          <cx:pt idx="50773">3</cx:pt>
          <cx:pt idx="50774">5</cx:pt>
          <cx:pt idx="50775">2</cx:pt>
          <cx:pt idx="50776">4</cx:pt>
          <cx:pt idx="50777">5</cx:pt>
          <cx:pt idx="50778">2</cx:pt>
          <cx:pt idx="50779">4</cx:pt>
          <cx:pt idx="50780">3</cx:pt>
          <cx:pt idx="50781">4</cx:pt>
          <cx:pt idx="50782">3</cx:pt>
          <cx:pt idx="50783">3</cx:pt>
          <cx:pt idx="50784">1</cx:pt>
          <cx:pt idx="50785">4</cx:pt>
          <cx:pt idx="50786">5</cx:pt>
          <cx:pt idx="50787">4</cx:pt>
          <cx:pt idx="50788">3</cx:pt>
          <cx:pt idx="50789">5</cx:pt>
          <cx:pt idx="50790">2</cx:pt>
          <cx:pt idx="50791">2</cx:pt>
          <cx:pt idx="50792">1</cx:pt>
          <cx:pt idx="50793">2</cx:pt>
          <cx:pt idx="50794">4</cx:pt>
          <cx:pt idx="50795">4</cx:pt>
          <cx:pt idx="50796">1</cx:pt>
          <cx:pt idx="50797">3</cx:pt>
          <cx:pt idx="50798">4</cx:pt>
          <cx:pt idx="50799">5</cx:pt>
          <cx:pt idx="50800">5</cx:pt>
          <cx:pt idx="50801">1</cx:pt>
          <cx:pt idx="50802">4</cx:pt>
          <cx:pt idx="50803">5</cx:pt>
          <cx:pt idx="50804">1</cx:pt>
          <cx:pt idx="50805">3</cx:pt>
          <cx:pt idx="50806">2</cx:pt>
          <cx:pt idx="50807">2</cx:pt>
          <cx:pt idx="50808">4</cx:pt>
          <cx:pt idx="50809">4</cx:pt>
          <cx:pt idx="50810">2</cx:pt>
          <cx:pt idx="50811">3</cx:pt>
          <cx:pt idx="50812">4</cx:pt>
          <cx:pt idx="50813">4</cx:pt>
          <cx:pt idx="50814">4</cx:pt>
          <cx:pt idx="50815">4</cx:pt>
          <cx:pt idx="50816">4</cx:pt>
          <cx:pt idx="50817">1</cx:pt>
          <cx:pt idx="50818">3</cx:pt>
          <cx:pt idx="50819">4</cx:pt>
          <cx:pt idx="50820">4</cx:pt>
          <cx:pt idx="50821">1</cx:pt>
          <cx:pt idx="50822">1</cx:pt>
          <cx:pt idx="50823">3</cx:pt>
          <cx:pt idx="50824">2</cx:pt>
          <cx:pt idx="50825">3</cx:pt>
          <cx:pt idx="50826">1</cx:pt>
          <cx:pt idx="50827">4</cx:pt>
          <cx:pt idx="50828">4</cx:pt>
          <cx:pt idx="50829">1</cx:pt>
          <cx:pt idx="50830">4</cx:pt>
          <cx:pt idx="50831">5</cx:pt>
          <cx:pt idx="50832">3</cx:pt>
          <cx:pt idx="50833">3</cx:pt>
          <cx:pt idx="50834">3</cx:pt>
          <cx:pt idx="50835">5</cx:pt>
          <cx:pt idx="50836">1</cx:pt>
          <cx:pt idx="50837">5</cx:pt>
          <cx:pt idx="50838">5</cx:pt>
          <cx:pt idx="50839">4</cx:pt>
          <cx:pt idx="50840">2</cx:pt>
          <cx:pt idx="50841">2</cx:pt>
          <cx:pt idx="50842">2</cx:pt>
          <cx:pt idx="50843">4</cx:pt>
          <cx:pt idx="50844">3</cx:pt>
          <cx:pt idx="50845">4</cx:pt>
          <cx:pt idx="50846">5</cx:pt>
          <cx:pt idx="50847">4</cx:pt>
          <cx:pt idx="50848">4</cx:pt>
          <cx:pt idx="50849">5</cx:pt>
          <cx:pt idx="50850">4</cx:pt>
          <cx:pt idx="50851">4</cx:pt>
          <cx:pt idx="50852">3</cx:pt>
          <cx:pt idx="50853">3</cx:pt>
          <cx:pt idx="50854">4</cx:pt>
          <cx:pt idx="50855">2</cx:pt>
          <cx:pt idx="50856">4</cx:pt>
          <cx:pt idx="50857">3</cx:pt>
          <cx:pt idx="50858">2</cx:pt>
          <cx:pt idx="50859">3</cx:pt>
          <cx:pt idx="50860">3</cx:pt>
          <cx:pt idx="50861">5</cx:pt>
          <cx:pt idx="50862">3</cx:pt>
          <cx:pt idx="50863">4</cx:pt>
          <cx:pt idx="50864">4</cx:pt>
          <cx:pt idx="50865">1</cx:pt>
          <cx:pt idx="50866">4</cx:pt>
          <cx:pt idx="50867">5</cx:pt>
          <cx:pt idx="50868">3</cx:pt>
          <cx:pt idx="50869">5</cx:pt>
          <cx:pt idx="50870">3</cx:pt>
          <cx:pt idx="50871">5</cx:pt>
          <cx:pt idx="50872">5</cx:pt>
          <cx:pt idx="50873">3</cx:pt>
          <cx:pt idx="50874">4</cx:pt>
          <cx:pt idx="50875">4</cx:pt>
          <cx:pt idx="50876">5</cx:pt>
          <cx:pt idx="50877">3</cx:pt>
          <cx:pt idx="50878">4</cx:pt>
          <cx:pt idx="50879">2</cx:pt>
          <cx:pt idx="50880">4</cx:pt>
          <cx:pt idx="50881">4</cx:pt>
          <cx:pt idx="50882">2</cx:pt>
          <cx:pt idx="50883">2</cx:pt>
          <cx:pt idx="50884">5</cx:pt>
          <cx:pt idx="50885">3</cx:pt>
          <cx:pt idx="50886">1</cx:pt>
          <cx:pt idx="50887">4</cx:pt>
          <cx:pt idx="50888">3</cx:pt>
          <cx:pt idx="50889">5</cx:pt>
          <cx:pt idx="50890">4</cx:pt>
          <cx:pt idx="50891">3</cx:pt>
          <cx:pt idx="50892">5</cx:pt>
          <cx:pt idx="50893">4</cx:pt>
          <cx:pt idx="50894">1</cx:pt>
          <cx:pt idx="50895">3</cx:pt>
          <cx:pt idx="50896">5</cx:pt>
          <cx:pt idx="50897">4</cx:pt>
          <cx:pt idx="50898">5</cx:pt>
          <cx:pt idx="50899">3</cx:pt>
          <cx:pt idx="50900">2</cx:pt>
          <cx:pt idx="50901">5</cx:pt>
          <cx:pt idx="50902">4</cx:pt>
          <cx:pt idx="50903">5</cx:pt>
          <cx:pt idx="50904">5</cx:pt>
          <cx:pt idx="50905">3</cx:pt>
          <cx:pt idx="50906">4</cx:pt>
          <cx:pt idx="50907">4</cx:pt>
          <cx:pt idx="50908">1</cx:pt>
          <cx:pt idx="50909">2</cx:pt>
          <cx:pt idx="50910">5</cx:pt>
          <cx:pt idx="50911">4</cx:pt>
          <cx:pt idx="50912">2</cx:pt>
          <cx:pt idx="50913">5</cx:pt>
          <cx:pt idx="50914">4</cx:pt>
          <cx:pt idx="50915">4</cx:pt>
          <cx:pt idx="50916">2</cx:pt>
          <cx:pt idx="50917">1</cx:pt>
          <cx:pt idx="50918">4</cx:pt>
          <cx:pt idx="50919">5</cx:pt>
          <cx:pt idx="50920">1</cx:pt>
          <cx:pt idx="50921">5</cx:pt>
          <cx:pt idx="50922">3</cx:pt>
          <cx:pt idx="50923">3</cx:pt>
          <cx:pt idx="50924">3</cx:pt>
          <cx:pt idx="50925">3</cx:pt>
          <cx:pt idx="50926">1</cx:pt>
          <cx:pt idx="50927">4</cx:pt>
          <cx:pt idx="50928">5</cx:pt>
          <cx:pt idx="50929">5</cx:pt>
          <cx:pt idx="50930">1</cx:pt>
          <cx:pt idx="50931">4</cx:pt>
          <cx:pt idx="50932">5</cx:pt>
          <cx:pt idx="50933">1</cx:pt>
          <cx:pt idx="50934">2</cx:pt>
          <cx:pt idx="50935">4</cx:pt>
          <cx:pt idx="50936">5</cx:pt>
          <cx:pt idx="50937">1</cx:pt>
          <cx:pt idx="50938">3</cx:pt>
          <cx:pt idx="50939">2</cx:pt>
          <cx:pt idx="50940">3</cx:pt>
          <cx:pt idx="50941">4</cx:pt>
          <cx:pt idx="50942">5</cx:pt>
          <cx:pt idx="50943">3</cx:pt>
          <cx:pt idx="50944">4</cx:pt>
          <cx:pt idx="50945">5</cx:pt>
          <cx:pt idx="50946">4</cx:pt>
          <cx:pt idx="50947">1</cx:pt>
          <cx:pt idx="50948">2</cx:pt>
          <cx:pt idx="50949">3</cx:pt>
          <cx:pt idx="50950">4</cx:pt>
          <cx:pt idx="50951">4</cx:pt>
          <cx:pt idx="50952">2</cx:pt>
          <cx:pt idx="50953">5</cx:pt>
          <cx:pt idx="50954">3</cx:pt>
          <cx:pt idx="50955">2</cx:pt>
          <cx:pt idx="50956">1</cx:pt>
          <cx:pt idx="50957">4</cx:pt>
          <cx:pt idx="50958">5</cx:pt>
          <cx:pt idx="50959">5</cx:pt>
          <cx:pt idx="50960">4</cx:pt>
          <cx:pt idx="50961">4</cx:pt>
          <cx:pt idx="50962">2</cx:pt>
          <cx:pt idx="50963">5</cx:pt>
          <cx:pt idx="50964">4</cx:pt>
          <cx:pt idx="50965">2</cx:pt>
          <cx:pt idx="50966">4</cx:pt>
          <cx:pt idx="50967">5</cx:pt>
          <cx:pt idx="50968">4</cx:pt>
          <cx:pt idx="50969">4</cx:pt>
          <cx:pt idx="50970">2</cx:pt>
          <cx:pt idx="50971">4</cx:pt>
          <cx:pt idx="50972">5</cx:pt>
          <cx:pt idx="50973">5</cx:pt>
          <cx:pt idx="50974">5</cx:pt>
          <cx:pt idx="50975">3</cx:pt>
          <cx:pt idx="50976">5</cx:pt>
          <cx:pt idx="50977">5</cx:pt>
          <cx:pt idx="50978">4</cx:pt>
          <cx:pt idx="50979">3</cx:pt>
          <cx:pt idx="50980">5</cx:pt>
          <cx:pt idx="50981">1</cx:pt>
          <cx:pt idx="50982">3</cx:pt>
          <cx:pt idx="50983">4</cx:pt>
          <cx:pt idx="50984">2</cx:pt>
          <cx:pt idx="50985">5</cx:pt>
          <cx:pt idx="50986">2</cx:pt>
          <cx:pt idx="50987">4</cx:pt>
          <cx:pt idx="50988">4</cx:pt>
          <cx:pt idx="50989">2</cx:pt>
          <cx:pt idx="50990">4</cx:pt>
          <cx:pt idx="50991">3</cx:pt>
          <cx:pt idx="50992">5</cx:pt>
          <cx:pt idx="50993">4</cx:pt>
          <cx:pt idx="50994">3</cx:pt>
          <cx:pt idx="50995">3</cx:pt>
          <cx:pt idx="50996">4</cx:pt>
          <cx:pt idx="50997">3</cx:pt>
          <cx:pt idx="50998">5</cx:pt>
          <cx:pt idx="50999">3</cx:pt>
          <cx:pt idx="51000">1</cx:pt>
          <cx:pt idx="51001">4</cx:pt>
          <cx:pt idx="51002">3</cx:pt>
          <cx:pt idx="51003">4</cx:pt>
          <cx:pt idx="51004">4</cx:pt>
          <cx:pt idx="51005">3</cx:pt>
          <cx:pt idx="51006">3</cx:pt>
          <cx:pt idx="51007">4</cx:pt>
          <cx:pt idx="51008">5</cx:pt>
          <cx:pt idx="51009">2</cx:pt>
          <cx:pt idx="51010">3</cx:pt>
          <cx:pt idx="51011">5</cx:pt>
          <cx:pt idx="51012">1</cx:pt>
          <cx:pt idx="51013">4</cx:pt>
          <cx:pt idx="51014">3</cx:pt>
          <cx:pt idx="51015">5</cx:pt>
          <cx:pt idx="51016">3</cx:pt>
          <cx:pt idx="51017">2</cx:pt>
          <cx:pt idx="51018">4</cx:pt>
          <cx:pt idx="51019">2</cx:pt>
          <cx:pt idx="51020">5</cx:pt>
          <cx:pt idx="51021">4</cx:pt>
          <cx:pt idx="51022">1</cx:pt>
          <cx:pt idx="51023">3</cx:pt>
          <cx:pt idx="51024">5</cx:pt>
          <cx:pt idx="51025">5</cx:pt>
          <cx:pt idx="51026">5</cx:pt>
          <cx:pt idx="51027">4</cx:pt>
          <cx:pt idx="51028">3</cx:pt>
          <cx:pt idx="51029">1</cx:pt>
          <cx:pt idx="51030">4</cx:pt>
          <cx:pt idx="51031">4</cx:pt>
          <cx:pt idx="51032">1</cx:pt>
          <cx:pt idx="51033">2</cx:pt>
          <cx:pt idx="51034">2</cx:pt>
          <cx:pt idx="51035">4</cx:pt>
          <cx:pt idx="51036">2</cx:pt>
          <cx:pt idx="51037">4</cx:pt>
          <cx:pt idx="51038">2</cx:pt>
          <cx:pt idx="51039">3</cx:pt>
          <cx:pt idx="51040">3</cx:pt>
          <cx:pt idx="51041">4</cx:pt>
          <cx:pt idx="51042">4</cx:pt>
          <cx:pt idx="51043">5</cx:pt>
          <cx:pt idx="51044">5</cx:pt>
          <cx:pt idx="51045">3</cx:pt>
          <cx:pt idx="51046">1</cx:pt>
          <cx:pt idx="51047">2</cx:pt>
          <cx:pt idx="51048">1</cx:pt>
          <cx:pt idx="51049">1</cx:pt>
          <cx:pt idx="51050">2</cx:pt>
          <cx:pt idx="51051">4</cx:pt>
          <cx:pt idx="51052">4</cx:pt>
          <cx:pt idx="51053">2</cx:pt>
          <cx:pt idx="51054">3</cx:pt>
          <cx:pt idx="51055">4</cx:pt>
          <cx:pt idx="51056">3</cx:pt>
          <cx:pt idx="51057">1</cx:pt>
          <cx:pt idx="51058">2</cx:pt>
          <cx:pt idx="51059">1</cx:pt>
          <cx:pt idx="51060">2</cx:pt>
          <cx:pt idx="51061">1</cx:pt>
          <cx:pt idx="51062">3</cx:pt>
          <cx:pt idx="51063">3</cx:pt>
          <cx:pt idx="51064">2</cx:pt>
          <cx:pt idx="51065">4</cx:pt>
          <cx:pt idx="51066">4</cx:pt>
          <cx:pt idx="51067">5</cx:pt>
          <cx:pt idx="51068">4</cx:pt>
          <cx:pt idx="51069">5</cx:pt>
          <cx:pt idx="51070">5</cx:pt>
          <cx:pt idx="51071">4</cx:pt>
          <cx:pt idx="51072">4</cx:pt>
          <cx:pt idx="51073">4</cx:pt>
          <cx:pt idx="51074">5</cx:pt>
          <cx:pt idx="51075">2</cx:pt>
          <cx:pt idx="51076">5</cx:pt>
          <cx:pt idx="51077">4</cx:pt>
          <cx:pt idx="51078">4</cx:pt>
          <cx:pt idx="51079">4</cx:pt>
          <cx:pt idx="51080">4</cx:pt>
          <cx:pt idx="51081">2</cx:pt>
          <cx:pt idx="51082">4</cx:pt>
          <cx:pt idx="51083">5</cx:pt>
          <cx:pt idx="51084">5</cx:pt>
          <cx:pt idx="51085">4</cx:pt>
          <cx:pt idx="51086">4</cx:pt>
          <cx:pt idx="51087">4</cx:pt>
          <cx:pt idx="51088">3</cx:pt>
          <cx:pt idx="51089">5</cx:pt>
          <cx:pt idx="51090">5</cx:pt>
          <cx:pt idx="51091">3</cx:pt>
          <cx:pt idx="51092">5</cx:pt>
          <cx:pt idx="51093">5</cx:pt>
          <cx:pt idx="51094">4</cx:pt>
          <cx:pt idx="51095">4</cx:pt>
          <cx:pt idx="51096">5</cx:pt>
          <cx:pt idx="51097">1</cx:pt>
          <cx:pt idx="51098">4</cx:pt>
          <cx:pt idx="51099">1</cx:pt>
          <cx:pt idx="51100">3</cx:pt>
          <cx:pt idx="51101">5</cx:pt>
          <cx:pt idx="51102">2</cx:pt>
          <cx:pt idx="51103">2</cx:pt>
          <cx:pt idx="51104">4</cx:pt>
          <cx:pt idx="51105">2</cx:pt>
          <cx:pt idx="51106">1</cx:pt>
          <cx:pt idx="51107">5</cx:pt>
          <cx:pt idx="51108">2</cx:pt>
          <cx:pt idx="51109">4</cx:pt>
          <cx:pt idx="51110">5</cx:pt>
          <cx:pt idx="51111">3</cx:pt>
          <cx:pt idx="51112">4</cx:pt>
          <cx:pt idx="51113">5</cx:pt>
          <cx:pt idx="51114">1</cx:pt>
          <cx:pt idx="51115">1</cx:pt>
          <cx:pt idx="51116">5</cx:pt>
          <cx:pt idx="51117">5</cx:pt>
          <cx:pt idx="51118">3</cx:pt>
          <cx:pt idx="51119">5</cx:pt>
          <cx:pt idx="51120">4</cx:pt>
          <cx:pt idx="51121">1</cx:pt>
          <cx:pt idx="51122">5</cx:pt>
          <cx:pt idx="51123">5</cx:pt>
          <cx:pt idx="51124">4</cx:pt>
          <cx:pt idx="51125">5</cx:pt>
          <cx:pt idx="51126">5</cx:pt>
          <cx:pt idx="51127">4</cx:pt>
          <cx:pt idx="51128">4</cx:pt>
          <cx:pt idx="51129">3</cx:pt>
          <cx:pt idx="51130">5</cx:pt>
          <cx:pt idx="51131">4</cx:pt>
          <cx:pt idx="51132">4</cx:pt>
          <cx:pt idx="51133">4</cx:pt>
          <cx:pt idx="51134">2</cx:pt>
          <cx:pt idx="51135">4</cx:pt>
          <cx:pt idx="51136">1</cx:pt>
          <cx:pt idx="51137">3</cx:pt>
          <cx:pt idx="51138">3</cx:pt>
          <cx:pt idx="51139">5</cx:pt>
          <cx:pt idx="51140">5</cx:pt>
          <cx:pt idx="51141">5</cx:pt>
          <cx:pt idx="51142">3</cx:pt>
          <cx:pt idx="51143">5</cx:pt>
          <cx:pt idx="51144">1</cx:pt>
          <cx:pt idx="51145">2</cx:pt>
          <cx:pt idx="51146">4</cx:pt>
          <cx:pt idx="51147">4</cx:pt>
          <cx:pt idx="51148">3</cx:pt>
          <cx:pt idx="51149">4</cx:pt>
          <cx:pt idx="51150">3</cx:pt>
          <cx:pt idx="51151">5</cx:pt>
          <cx:pt idx="51152">1</cx:pt>
          <cx:pt idx="51153">3</cx:pt>
          <cx:pt idx="51154">4</cx:pt>
          <cx:pt idx="51155">5</cx:pt>
          <cx:pt idx="51156">4</cx:pt>
          <cx:pt idx="51157">4</cx:pt>
          <cx:pt idx="51158">2</cx:pt>
          <cx:pt idx="51159">4</cx:pt>
          <cx:pt idx="51160">4</cx:pt>
          <cx:pt idx="51161">3</cx:pt>
          <cx:pt idx="51162">5</cx:pt>
          <cx:pt idx="51163">3</cx:pt>
          <cx:pt idx="51164">5</cx:pt>
          <cx:pt idx="51165">4</cx:pt>
          <cx:pt idx="51166">1</cx:pt>
          <cx:pt idx="51167">2</cx:pt>
          <cx:pt idx="51168">2</cx:pt>
          <cx:pt idx="51169">3</cx:pt>
          <cx:pt idx="51170">1</cx:pt>
          <cx:pt idx="51171">4</cx:pt>
          <cx:pt idx="51172">3</cx:pt>
          <cx:pt idx="51173">2</cx:pt>
          <cx:pt idx="51174">4</cx:pt>
          <cx:pt idx="51175">4</cx:pt>
          <cx:pt idx="51176">4</cx:pt>
          <cx:pt idx="51177">1</cx:pt>
          <cx:pt idx="51178">2</cx:pt>
          <cx:pt idx="51179">3</cx:pt>
          <cx:pt idx="51180">3</cx:pt>
          <cx:pt idx="51181">5</cx:pt>
          <cx:pt idx="51182">2</cx:pt>
          <cx:pt idx="51183">5</cx:pt>
          <cx:pt idx="51184">1</cx:pt>
          <cx:pt idx="51185">2</cx:pt>
          <cx:pt idx="51186">2</cx:pt>
          <cx:pt idx="51187">2</cx:pt>
          <cx:pt idx="51188">5</cx:pt>
          <cx:pt idx="51189">4</cx:pt>
          <cx:pt idx="51190">3</cx:pt>
          <cx:pt idx="51191">5</cx:pt>
          <cx:pt idx="51192">3</cx:pt>
          <cx:pt idx="51193">1</cx:pt>
          <cx:pt idx="51194">2</cx:pt>
          <cx:pt idx="51195">5</cx:pt>
          <cx:pt idx="51196">5</cx:pt>
          <cx:pt idx="51197">2</cx:pt>
          <cx:pt idx="51198">4</cx:pt>
          <cx:pt idx="51199">1</cx:pt>
          <cx:pt idx="51200">5</cx:pt>
          <cx:pt idx="51201">5</cx:pt>
          <cx:pt idx="51202">5</cx:pt>
          <cx:pt idx="51203">4</cx:pt>
          <cx:pt idx="51204">5</cx:pt>
          <cx:pt idx="51205">3</cx:pt>
          <cx:pt idx="51206">3</cx:pt>
          <cx:pt idx="51207">1</cx:pt>
          <cx:pt idx="51208">5</cx:pt>
          <cx:pt idx="51209">4</cx:pt>
          <cx:pt idx="51210">1</cx:pt>
          <cx:pt idx="51211">3</cx:pt>
          <cx:pt idx="51212">4</cx:pt>
          <cx:pt idx="51213">5</cx:pt>
          <cx:pt idx="51214">3</cx:pt>
          <cx:pt idx="51215">4</cx:pt>
          <cx:pt idx="51216">4</cx:pt>
          <cx:pt idx="51217">5</cx:pt>
          <cx:pt idx="51218">1</cx:pt>
          <cx:pt idx="51219">5</cx:pt>
          <cx:pt idx="51220">5</cx:pt>
          <cx:pt idx="51221">1</cx:pt>
          <cx:pt idx="51222">3</cx:pt>
          <cx:pt idx="51223">4</cx:pt>
          <cx:pt idx="51224">4</cx:pt>
          <cx:pt idx="51225">5</cx:pt>
          <cx:pt idx="51226">1</cx:pt>
          <cx:pt idx="51227">2</cx:pt>
          <cx:pt idx="51228">5</cx:pt>
          <cx:pt idx="51229">4</cx:pt>
          <cx:pt idx="51230">5</cx:pt>
          <cx:pt idx="51231">1</cx:pt>
          <cx:pt idx="51232">1</cx:pt>
          <cx:pt idx="51233">2</cx:pt>
          <cx:pt idx="51234">2</cx:pt>
          <cx:pt idx="51235">4</cx:pt>
          <cx:pt idx="51236">5</cx:pt>
          <cx:pt idx="51237">4</cx:pt>
          <cx:pt idx="51238">1</cx:pt>
          <cx:pt idx="51239">4</cx:pt>
          <cx:pt idx="51240">5</cx:pt>
          <cx:pt idx="51241">4</cx:pt>
          <cx:pt idx="51242">4</cx:pt>
          <cx:pt idx="51243">5</cx:pt>
          <cx:pt idx="51244">3</cx:pt>
          <cx:pt idx="51245">3</cx:pt>
          <cx:pt idx="51246">1</cx:pt>
          <cx:pt idx="51247">3</cx:pt>
          <cx:pt idx="51248">4</cx:pt>
          <cx:pt idx="51249">3</cx:pt>
          <cx:pt idx="51250">3</cx:pt>
          <cx:pt idx="51251">5</cx:pt>
          <cx:pt idx="51252">5</cx:pt>
          <cx:pt idx="51253">5</cx:pt>
          <cx:pt idx="51254">4</cx:pt>
          <cx:pt idx="51255">5</cx:pt>
          <cx:pt idx="51256">5</cx:pt>
          <cx:pt idx="51257">2</cx:pt>
          <cx:pt idx="51258">3</cx:pt>
          <cx:pt idx="51259">2</cx:pt>
          <cx:pt idx="51260">5</cx:pt>
          <cx:pt idx="51261">4</cx:pt>
          <cx:pt idx="51262">1</cx:pt>
          <cx:pt idx="51263">2</cx:pt>
          <cx:pt idx="51264">4</cx:pt>
          <cx:pt idx="51265">3</cx:pt>
          <cx:pt idx="51266">2</cx:pt>
          <cx:pt idx="51267">2</cx:pt>
          <cx:pt idx="51268">4</cx:pt>
          <cx:pt idx="51269">4</cx:pt>
          <cx:pt idx="51270">4</cx:pt>
          <cx:pt idx="51271">4</cx:pt>
          <cx:pt idx="51272">5</cx:pt>
          <cx:pt idx="51273">1</cx:pt>
          <cx:pt idx="51274">5</cx:pt>
          <cx:pt idx="51275">2</cx:pt>
          <cx:pt idx="51276">3</cx:pt>
          <cx:pt idx="51277">1</cx:pt>
          <cx:pt idx="51278">1</cx:pt>
          <cx:pt idx="51279">4</cx:pt>
          <cx:pt idx="51280">3</cx:pt>
          <cx:pt idx="51281">2</cx:pt>
          <cx:pt idx="51282">1</cx:pt>
          <cx:pt idx="51283">5</cx:pt>
          <cx:pt idx="51284">5</cx:pt>
          <cx:pt idx="51285">1</cx:pt>
          <cx:pt idx="51286">5</cx:pt>
          <cx:pt idx="51287">2</cx:pt>
          <cx:pt idx="51288">5</cx:pt>
          <cx:pt idx="51289">5</cx:pt>
          <cx:pt idx="51290">1</cx:pt>
          <cx:pt idx="51291">3</cx:pt>
          <cx:pt idx="51292">5</cx:pt>
          <cx:pt idx="51293">1</cx:pt>
          <cx:pt idx="51294">5</cx:pt>
          <cx:pt idx="51295">2</cx:pt>
          <cx:pt idx="51296">4</cx:pt>
          <cx:pt idx="51297">4</cx:pt>
          <cx:pt idx="51298">5</cx:pt>
          <cx:pt idx="51299">4</cx:pt>
          <cx:pt idx="51300">5</cx:pt>
          <cx:pt idx="51301">5</cx:pt>
          <cx:pt idx="51302">4</cx:pt>
          <cx:pt idx="51303">2</cx:pt>
          <cx:pt idx="51304">2</cx:pt>
          <cx:pt idx="51305">5</cx:pt>
          <cx:pt idx="51306">5</cx:pt>
          <cx:pt idx="51307">3</cx:pt>
          <cx:pt idx="51308">5</cx:pt>
          <cx:pt idx="51309">2</cx:pt>
          <cx:pt idx="51310">4</cx:pt>
          <cx:pt idx="51311">5</cx:pt>
          <cx:pt idx="51312">2</cx:pt>
          <cx:pt idx="51313">2</cx:pt>
          <cx:pt idx="51314">4</cx:pt>
          <cx:pt idx="51315">4</cx:pt>
          <cx:pt idx="51316">2</cx:pt>
          <cx:pt idx="51317">5</cx:pt>
          <cx:pt idx="51318">2</cx:pt>
          <cx:pt idx="51319">4</cx:pt>
          <cx:pt idx="51320">4</cx:pt>
          <cx:pt idx="51321">3</cx:pt>
          <cx:pt idx="51322">1</cx:pt>
          <cx:pt idx="51323">5</cx:pt>
          <cx:pt idx="51324">3</cx:pt>
          <cx:pt idx="51325">5</cx:pt>
          <cx:pt idx="51326">3</cx:pt>
          <cx:pt idx="51327">5</cx:pt>
          <cx:pt idx="51328">3</cx:pt>
          <cx:pt idx="51329">5</cx:pt>
          <cx:pt idx="51330">3</cx:pt>
          <cx:pt idx="51331">5</cx:pt>
          <cx:pt idx="51332">2</cx:pt>
          <cx:pt idx="51333">4</cx:pt>
          <cx:pt idx="51334">5</cx:pt>
          <cx:pt idx="51335">4</cx:pt>
          <cx:pt idx="51336">4</cx:pt>
          <cx:pt idx="51337">5</cx:pt>
          <cx:pt idx="51338">4</cx:pt>
          <cx:pt idx="51339">4</cx:pt>
          <cx:pt idx="51340">4</cx:pt>
          <cx:pt idx="51341">3</cx:pt>
          <cx:pt idx="51342">2</cx:pt>
          <cx:pt idx="51343">4</cx:pt>
          <cx:pt idx="51344">5</cx:pt>
          <cx:pt idx="51345">2</cx:pt>
          <cx:pt idx="51346">3</cx:pt>
          <cx:pt idx="51347">2</cx:pt>
          <cx:pt idx="51348">2</cx:pt>
          <cx:pt idx="51349">1</cx:pt>
          <cx:pt idx="51350">3</cx:pt>
          <cx:pt idx="51351">3</cx:pt>
          <cx:pt idx="51352">5</cx:pt>
          <cx:pt idx="51353">2</cx:pt>
          <cx:pt idx="51354">1</cx:pt>
          <cx:pt idx="51355">4</cx:pt>
          <cx:pt idx="51356">5</cx:pt>
          <cx:pt idx="51357">4</cx:pt>
          <cx:pt idx="51358">5</cx:pt>
          <cx:pt idx="51359">4</cx:pt>
          <cx:pt idx="51360">1</cx:pt>
          <cx:pt idx="51361">5</cx:pt>
          <cx:pt idx="51362">3</cx:pt>
          <cx:pt idx="51363">4</cx:pt>
          <cx:pt idx="51364">3</cx:pt>
          <cx:pt idx="51365">2</cx:pt>
          <cx:pt idx="51366">4</cx:pt>
          <cx:pt idx="51367">1</cx:pt>
          <cx:pt idx="51368">4</cx:pt>
          <cx:pt idx="51369">2</cx:pt>
          <cx:pt idx="51370">4</cx:pt>
          <cx:pt idx="51371">4</cx:pt>
          <cx:pt idx="51372">1</cx:pt>
          <cx:pt idx="51373">4</cx:pt>
          <cx:pt idx="51374">2</cx:pt>
          <cx:pt idx="51375">4</cx:pt>
          <cx:pt idx="51376">4</cx:pt>
          <cx:pt idx="51377">3</cx:pt>
          <cx:pt idx="51378">5</cx:pt>
          <cx:pt idx="51379">3</cx:pt>
          <cx:pt idx="51380">2</cx:pt>
          <cx:pt idx="51381">5</cx:pt>
          <cx:pt idx="51382">3</cx:pt>
          <cx:pt idx="51383">3</cx:pt>
          <cx:pt idx="51384">4</cx:pt>
          <cx:pt idx="51385">5</cx:pt>
          <cx:pt idx="51386">4</cx:pt>
          <cx:pt idx="51387">4</cx:pt>
          <cx:pt idx="51388">3</cx:pt>
          <cx:pt idx="51389">1</cx:pt>
          <cx:pt idx="51390">4</cx:pt>
          <cx:pt idx="51391">3</cx:pt>
          <cx:pt idx="51392">3</cx:pt>
          <cx:pt idx="51393">5</cx:pt>
          <cx:pt idx="51394">4</cx:pt>
          <cx:pt idx="51395">4</cx:pt>
          <cx:pt idx="51396">5</cx:pt>
          <cx:pt idx="51397">3</cx:pt>
          <cx:pt idx="51398">4</cx:pt>
          <cx:pt idx="51399">1</cx:pt>
          <cx:pt idx="51400">3</cx:pt>
          <cx:pt idx="51401">3</cx:pt>
          <cx:pt idx="51402">2</cx:pt>
          <cx:pt idx="51403">4</cx:pt>
          <cx:pt idx="51404">5</cx:pt>
          <cx:pt idx="51405">3</cx:pt>
          <cx:pt idx="51406">5</cx:pt>
          <cx:pt idx="51407">1</cx:pt>
          <cx:pt idx="51408">3</cx:pt>
          <cx:pt idx="51409">4</cx:pt>
          <cx:pt idx="51410">5</cx:pt>
          <cx:pt idx="51411">1</cx:pt>
          <cx:pt idx="51412">4</cx:pt>
          <cx:pt idx="51413">3</cx:pt>
          <cx:pt idx="51414">4</cx:pt>
          <cx:pt idx="51415">1</cx:pt>
          <cx:pt idx="51416">1</cx:pt>
          <cx:pt idx="51417">5</cx:pt>
          <cx:pt idx="51418">2</cx:pt>
          <cx:pt idx="51419">3</cx:pt>
          <cx:pt idx="51420">4</cx:pt>
          <cx:pt idx="51421">3</cx:pt>
          <cx:pt idx="51422">4</cx:pt>
          <cx:pt idx="51423">1</cx:pt>
          <cx:pt idx="51424">4</cx:pt>
          <cx:pt idx="51425">5</cx:pt>
          <cx:pt idx="51426">4</cx:pt>
          <cx:pt idx="51427">5</cx:pt>
          <cx:pt idx="51428">4</cx:pt>
          <cx:pt idx="51429">4</cx:pt>
          <cx:pt idx="51430">4</cx:pt>
          <cx:pt idx="51431">4</cx:pt>
          <cx:pt idx="51432">4</cx:pt>
          <cx:pt idx="51433">4</cx:pt>
          <cx:pt idx="51434">4</cx:pt>
          <cx:pt idx="51435">1</cx:pt>
          <cx:pt idx="51436">4</cx:pt>
          <cx:pt idx="51437">4</cx:pt>
          <cx:pt idx="51438">5</cx:pt>
          <cx:pt idx="51439">4</cx:pt>
          <cx:pt idx="51440">3</cx:pt>
          <cx:pt idx="51441">1</cx:pt>
          <cx:pt idx="51442">2</cx:pt>
          <cx:pt idx="51443">1</cx:pt>
          <cx:pt idx="51444">3</cx:pt>
          <cx:pt idx="51445">4</cx:pt>
          <cx:pt idx="51446">3</cx:pt>
          <cx:pt idx="51447">4</cx:pt>
          <cx:pt idx="51448">4</cx:pt>
          <cx:pt idx="51449">3</cx:pt>
          <cx:pt idx="51450">3</cx:pt>
          <cx:pt idx="51451">1</cx:pt>
          <cx:pt idx="51452">3</cx:pt>
          <cx:pt idx="51453">4</cx:pt>
          <cx:pt idx="51454">3</cx:pt>
          <cx:pt idx="51455">2</cx:pt>
          <cx:pt idx="51456">1</cx:pt>
          <cx:pt idx="51457">3</cx:pt>
          <cx:pt idx="51458">2</cx:pt>
          <cx:pt idx="51459">4</cx:pt>
          <cx:pt idx="51460">5</cx:pt>
          <cx:pt idx="51461">4</cx:pt>
          <cx:pt idx="51462">5</cx:pt>
          <cx:pt idx="51463">4</cx:pt>
          <cx:pt idx="51464">1</cx:pt>
          <cx:pt idx="51465">4</cx:pt>
          <cx:pt idx="51466">2</cx:pt>
          <cx:pt idx="51467">4</cx:pt>
          <cx:pt idx="51468">2</cx:pt>
          <cx:pt idx="51469">5</cx:pt>
          <cx:pt idx="51470">4</cx:pt>
          <cx:pt idx="51471">5</cx:pt>
          <cx:pt idx="51472">1</cx:pt>
          <cx:pt idx="51473">4</cx:pt>
          <cx:pt idx="51474">5</cx:pt>
          <cx:pt idx="51475">3</cx:pt>
          <cx:pt idx="51476">4</cx:pt>
          <cx:pt idx="51477">5</cx:pt>
          <cx:pt idx="51478">3</cx:pt>
          <cx:pt idx="51479">5</cx:pt>
          <cx:pt idx="51480">2</cx:pt>
          <cx:pt idx="51481">4</cx:pt>
          <cx:pt idx="51482">1</cx:pt>
          <cx:pt idx="51483">5</cx:pt>
          <cx:pt idx="51484">5</cx:pt>
          <cx:pt idx="51485">1</cx:pt>
          <cx:pt idx="51486">3</cx:pt>
          <cx:pt idx="51487">3</cx:pt>
          <cx:pt idx="51488">3</cx:pt>
          <cx:pt idx="51489">4</cx:pt>
          <cx:pt idx="51490">5</cx:pt>
          <cx:pt idx="51491">4</cx:pt>
          <cx:pt idx="51492">5</cx:pt>
          <cx:pt idx="51493">2</cx:pt>
          <cx:pt idx="51494">4</cx:pt>
          <cx:pt idx="51495">5</cx:pt>
          <cx:pt idx="51496">5</cx:pt>
          <cx:pt idx="51497">3</cx:pt>
          <cx:pt idx="51498">5</cx:pt>
          <cx:pt idx="51499">4</cx:pt>
          <cx:pt idx="51500">4</cx:pt>
          <cx:pt idx="51501">2</cx:pt>
          <cx:pt idx="51502">4</cx:pt>
          <cx:pt idx="51503">3</cx:pt>
          <cx:pt idx="51504">4</cx:pt>
          <cx:pt idx="51505">3</cx:pt>
          <cx:pt idx="51506">5</cx:pt>
          <cx:pt idx="51507">2</cx:pt>
          <cx:pt idx="51508">4</cx:pt>
          <cx:pt idx="51509">3</cx:pt>
          <cx:pt idx="51510">2</cx:pt>
          <cx:pt idx="51511">2</cx:pt>
          <cx:pt idx="51512">2</cx:pt>
          <cx:pt idx="51513">4</cx:pt>
          <cx:pt idx="51514">1</cx:pt>
          <cx:pt idx="51515">5</cx:pt>
          <cx:pt idx="51516">3</cx:pt>
          <cx:pt idx="51517">4</cx:pt>
          <cx:pt idx="51518">3</cx:pt>
          <cx:pt idx="51519">5</cx:pt>
          <cx:pt idx="51520">4</cx:pt>
          <cx:pt idx="51521">5</cx:pt>
          <cx:pt idx="51522">2</cx:pt>
          <cx:pt idx="51523">3</cx:pt>
          <cx:pt idx="51524">5</cx:pt>
          <cx:pt idx="51525">3</cx:pt>
          <cx:pt idx="51526">4</cx:pt>
          <cx:pt idx="51527">5</cx:pt>
          <cx:pt idx="51528">5</cx:pt>
          <cx:pt idx="51529">5</cx:pt>
          <cx:pt idx="51530">3</cx:pt>
          <cx:pt idx="51531">1</cx:pt>
          <cx:pt idx="51532">5</cx:pt>
          <cx:pt idx="51533">5</cx:pt>
          <cx:pt idx="51534">2</cx:pt>
          <cx:pt idx="51535">5</cx:pt>
          <cx:pt idx="51536">4</cx:pt>
          <cx:pt idx="51537">2</cx:pt>
          <cx:pt idx="51538">4</cx:pt>
          <cx:pt idx="51539">1</cx:pt>
          <cx:pt idx="51540">5</cx:pt>
          <cx:pt idx="51541">1</cx:pt>
          <cx:pt idx="51542">2</cx:pt>
          <cx:pt idx="51543">4</cx:pt>
          <cx:pt idx="51544">4</cx:pt>
          <cx:pt idx="51545">3</cx:pt>
          <cx:pt idx="51546">4</cx:pt>
          <cx:pt idx="51547">5</cx:pt>
          <cx:pt idx="51548">3</cx:pt>
          <cx:pt idx="51549">4</cx:pt>
          <cx:pt idx="51550">5</cx:pt>
          <cx:pt idx="51551">4</cx:pt>
          <cx:pt idx="51552">4</cx:pt>
          <cx:pt idx="51553">5</cx:pt>
          <cx:pt idx="51554">4</cx:pt>
          <cx:pt idx="51555">3</cx:pt>
          <cx:pt idx="51556">5</cx:pt>
          <cx:pt idx="51557">5</cx:pt>
          <cx:pt idx="51558">2</cx:pt>
          <cx:pt idx="51559">5</cx:pt>
          <cx:pt idx="51560">2</cx:pt>
          <cx:pt idx="51561">1</cx:pt>
          <cx:pt idx="51562">5</cx:pt>
          <cx:pt idx="51563">1</cx:pt>
          <cx:pt idx="51564">4</cx:pt>
          <cx:pt idx="51565">5</cx:pt>
          <cx:pt idx="51566">5</cx:pt>
          <cx:pt idx="51567">3</cx:pt>
          <cx:pt idx="51568">4</cx:pt>
          <cx:pt idx="51569">3</cx:pt>
          <cx:pt idx="51570">2</cx:pt>
          <cx:pt idx="51571">2</cx:pt>
          <cx:pt idx="51572">3</cx:pt>
          <cx:pt idx="51573">2</cx:pt>
          <cx:pt idx="51574">4</cx:pt>
          <cx:pt idx="51575">2</cx:pt>
          <cx:pt idx="51576">4</cx:pt>
          <cx:pt idx="51577">5</cx:pt>
          <cx:pt idx="51578">5</cx:pt>
          <cx:pt idx="51579">3</cx:pt>
          <cx:pt idx="51580">5</cx:pt>
          <cx:pt idx="51581">5</cx:pt>
          <cx:pt idx="51582">1</cx:pt>
          <cx:pt idx="51583">4</cx:pt>
          <cx:pt idx="51584">4</cx:pt>
          <cx:pt idx="51585">4</cx:pt>
          <cx:pt idx="51586">4</cx:pt>
          <cx:pt idx="51587">3</cx:pt>
          <cx:pt idx="51588">3</cx:pt>
          <cx:pt idx="51589">5</cx:pt>
          <cx:pt idx="51590">2</cx:pt>
          <cx:pt idx="51591">4</cx:pt>
          <cx:pt idx="51592">3</cx:pt>
          <cx:pt idx="51593">3</cx:pt>
          <cx:pt idx="51594">4</cx:pt>
          <cx:pt idx="51595">4</cx:pt>
          <cx:pt idx="51596">1</cx:pt>
          <cx:pt idx="51597">3</cx:pt>
          <cx:pt idx="51598">5</cx:pt>
          <cx:pt idx="51599">4</cx:pt>
          <cx:pt idx="51600">4</cx:pt>
          <cx:pt idx="51601">3</cx:pt>
          <cx:pt idx="51602">2</cx:pt>
          <cx:pt idx="51603">5</cx:pt>
          <cx:pt idx="51604">5</cx:pt>
          <cx:pt idx="51605">5</cx:pt>
          <cx:pt idx="51606">3</cx:pt>
          <cx:pt idx="51607">5</cx:pt>
          <cx:pt idx="51608">3</cx:pt>
          <cx:pt idx="51609">4</cx:pt>
          <cx:pt idx="51610">4</cx:pt>
          <cx:pt idx="51611">5</cx:pt>
          <cx:pt idx="51612">5</cx:pt>
          <cx:pt idx="51613">4</cx:pt>
          <cx:pt idx="51614">4</cx:pt>
          <cx:pt idx="51615">2</cx:pt>
          <cx:pt idx="51616">4</cx:pt>
          <cx:pt idx="51617">4</cx:pt>
          <cx:pt idx="51618">5</cx:pt>
          <cx:pt idx="51619">3</cx:pt>
          <cx:pt idx="51620">4</cx:pt>
          <cx:pt idx="51621">4</cx:pt>
          <cx:pt idx="51622">5</cx:pt>
          <cx:pt idx="51623">4</cx:pt>
          <cx:pt idx="51624">4</cx:pt>
          <cx:pt idx="51625">4</cx:pt>
          <cx:pt idx="51626">5</cx:pt>
          <cx:pt idx="51627">5</cx:pt>
          <cx:pt idx="51628">2</cx:pt>
          <cx:pt idx="51629">4</cx:pt>
          <cx:pt idx="51630">2</cx:pt>
          <cx:pt idx="51631">5</cx:pt>
          <cx:pt idx="51632">3</cx:pt>
          <cx:pt idx="51633">4</cx:pt>
          <cx:pt idx="51634">5</cx:pt>
          <cx:pt idx="51635">2</cx:pt>
          <cx:pt idx="51636">4</cx:pt>
          <cx:pt idx="51637">3</cx:pt>
          <cx:pt idx="51638">3</cx:pt>
          <cx:pt idx="51639">3</cx:pt>
          <cx:pt idx="51640">4</cx:pt>
          <cx:pt idx="51641">5</cx:pt>
          <cx:pt idx="51642">4</cx:pt>
          <cx:pt idx="51643">4</cx:pt>
          <cx:pt idx="51644">1</cx:pt>
          <cx:pt idx="51645">4</cx:pt>
          <cx:pt idx="51646">1</cx:pt>
          <cx:pt idx="51647">4</cx:pt>
          <cx:pt idx="51648">4</cx:pt>
          <cx:pt idx="51649">4</cx:pt>
          <cx:pt idx="51650">5</cx:pt>
          <cx:pt idx="51651">5</cx:pt>
          <cx:pt idx="51652">5</cx:pt>
          <cx:pt idx="51653">5</cx:pt>
          <cx:pt idx="51654">4</cx:pt>
          <cx:pt idx="51655">5</cx:pt>
          <cx:pt idx="51656">5</cx:pt>
          <cx:pt idx="51657">5</cx:pt>
          <cx:pt idx="51658">4</cx:pt>
          <cx:pt idx="51659">4</cx:pt>
          <cx:pt idx="51660">4</cx:pt>
          <cx:pt idx="51661">5</cx:pt>
          <cx:pt idx="51662">5</cx:pt>
          <cx:pt idx="51663">5</cx:pt>
          <cx:pt idx="51664">4</cx:pt>
          <cx:pt idx="51665">1</cx:pt>
          <cx:pt idx="51666">3</cx:pt>
          <cx:pt idx="51667">1</cx:pt>
          <cx:pt idx="51668">5</cx:pt>
          <cx:pt idx="51669">4</cx:pt>
          <cx:pt idx="51670">4</cx:pt>
          <cx:pt idx="51671">4</cx:pt>
          <cx:pt idx="51672">4</cx:pt>
          <cx:pt idx="51673">5</cx:pt>
          <cx:pt idx="51674">5</cx:pt>
          <cx:pt idx="51675">4</cx:pt>
          <cx:pt idx="51676">2</cx:pt>
          <cx:pt idx="51677">1</cx:pt>
          <cx:pt idx="51678">3</cx:pt>
          <cx:pt idx="51679">5</cx:pt>
          <cx:pt idx="51680">2</cx:pt>
          <cx:pt idx="51681">1</cx:pt>
          <cx:pt idx="51682">3</cx:pt>
          <cx:pt idx="51683">3</cx:pt>
          <cx:pt idx="51684">4</cx:pt>
          <cx:pt idx="51685">4</cx:pt>
          <cx:pt idx="51686">5</cx:pt>
          <cx:pt idx="51687">4</cx:pt>
          <cx:pt idx="51688">4</cx:pt>
          <cx:pt idx="51689">5</cx:pt>
          <cx:pt idx="51690">2</cx:pt>
          <cx:pt idx="51691">4</cx:pt>
          <cx:pt idx="51692">5</cx:pt>
          <cx:pt idx="51693">1</cx:pt>
          <cx:pt idx="51694">1</cx:pt>
          <cx:pt idx="51695">5</cx:pt>
          <cx:pt idx="51696">5</cx:pt>
          <cx:pt idx="51697">2</cx:pt>
          <cx:pt idx="51698">3</cx:pt>
          <cx:pt idx="51699">3</cx:pt>
          <cx:pt idx="51700">5</cx:pt>
          <cx:pt idx="51701">4</cx:pt>
          <cx:pt idx="51702">4</cx:pt>
          <cx:pt idx="51703">5</cx:pt>
          <cx:pt idx="51704">5</cx:pt>
          <cx:pt idx="51705">5</cx:pt>
          <cx:pt idx="51706">3</cx:pt>
          <cx:pt idx="51707">5</cx:pt>
          <cx:pt idx="51708">5</cx:pt>
          <cx:pt idx="51709">4</cx:pt>
          <cx:pt idx="51710">2</cx:pt>
          <cx:pt idx="51711">4</cx:pt>
          <cx:pt idx="51712">5</cx:pt>
          <cx:pt idx="51713">3</cx:pt>
          <cx:pt idx="51714">4</cx:pt>
          <cx:pt idx="51715">4</cx:pt>
          <cx:pt idx="51716">1</cx:pt>
          <cx:pt idx="51717">5</cx:pt>
          <cx:pt idx="51718">5</cx:pt>
          <cx:pt idx="51719">1</cx:pt>
          <cx:pt idx="51720">5</cx:pt>
          <cx:pt idx="51721">2</cx:pt>
          <cx:pt idx="51722">3</cx:pt>
          <cx:pt idx="51723">5</cx:pt>
          <cx:pt idx="51724">2</cx:pt>
          <cx:pt idx="51725">4</cx:pt>
          <cx:pt idx="51726">5</cx:pt>
          <cx:pt idx="51727">4</cx:pt>
          <cx:pt idx="51728">5</cx:pt>
          <cx:pt idx="51729">5</cx:pt>
          <cx:pt idx="51730">2</cx:pt>
          <cx:pt idx="51731">1</cx:pt>
          <cx:pt idx="51732">4</cx:pt>
          <cx:pt idx="51733">5</cx:pt>
          <cx:pt idx="51734">5</cx:pt>
          <cx:pt idx="51735">2</cx:pt>
          <cx:pt idx="51736">5</cx:pt>
          <cx:pt idx="51737">5</cx:pt>
          <cx:pt idx="51738">1</cx:pt>
          <cx:pt idx="51739">5</cx:pt>
          <cx:pt idx="51740">2</cx:pt>
          <cx:pt idx="51741">1</cx:pt>
          <cx:pt idx="51742">2</cx:pt>
          <cx:pt idx="51743">3</cx:pt>
          <cx:pt idx="51744">3</cx:pt>
          <cx:pt idx="51745">2</cx:pt>
          <cx:pt idx="51746">5</cx:pt>
          <cx:pt idx="51747">2</cx:pt>
          <cx:pt idx="51748">4</cx:pt>
          <cx:pt idx="51749">4</cx:pt>
          <cx:pt idx="51750">5</cx:pt>
          <cx:pt idx="51751">2</cx:pt>
          <cx:pt idx="51752">4</cx:pt>
          <cx:pt idx="51753">2</cx:pt>
          <cx:pt idx="51754">2</cx:pt>
          <cx:pt idx="51755">5</cx:pt>
          <cx:pt idx="51756">1</cx:pt>
          <cx:pt idx="51757">4</cx:pt>
          <cx:pt idx="51758">4</cx:pt>
          <cx:pt idx="51759">3</cx:pt>
          <cx:pt idx="51760">4</cx:pt>
          <cx:pt idx="51761">5</cx:pt>
          <cx:pt idx="51762">4</cx:pt>
          <cx:pt idx="51763">5</cx:pt>
          <cx:pt idx="51764">5</cx:pt>
          <cx:pt idx="51765">5</cx:pt>
          <cx:pt idx="51766">3</cx:pt>
          <cx:pt idx="51767">4</cx:pt>
          <cx:pt idx="51768">3</cx:pt>
          <cx:pt idx="51769">1</cx:pt>
          <cx:pt idx="51770">4</cx:pt>
          <cx:pt idx="51771">4</cx:pt>
          <cx:pt idx="51772">4</cx:pt>
          <cx:pt idx="51773">1</cx:pt>
          <cx:pt idx="51774">4</cx:pt>
          <cx:pt idx="51775">3</cx:pt>
          <cx:pt idx="51776">5</cx:pt>
          <cx:pt idx="51777">4</cx:pt>
          <cx:pt idx="51778">4</cx:pt>
          <cx:pt idx="51779">1</cx:pt>
          <cx:pt idx="51780">1</cx:pt>
          <cx:pt idx="51781">4</cx:pt>
          <cx:pt idx="51782">5</cx:pt>
          <cx:pt idx="51783">5</cx:pt>
          <cx:pt idx="51784">4</cx:pt>
          <cx:pt idx="51785">3</cx:pt>
          <cx:pt idx="51786">3</cx:pt>
          <cx:pt idx="51787">5</cx:pt>
          <cx:pt idx="51788">5</cx:pt>
          <cx:pt idx="51789">4</cx:pt>
          <cx:pt idx="51790">5</cx:pt>
          <cx:pt idx="51791">4</cx:pt>
          <cx:pt idx="51792">4</cx:pt>
          <cx:pt idx="51793">5</cx:pt>
          <cx:pt idx="51794">4</cx:pt>
          <cx:pt idx="51795">3</cx:pt>
          <cx:pt idx="51796">4</cx:pt>
          <cx:pt idx="51797">2</cx:pt>
          <cx:pt idx="51798">4</cx:pt>
          <cx:pt idx="51799">5</cx:pt>
          <cx:pt idx="51800">3</cx:pt>
          <cx:pt idx="51801">2</cx:pt>
          <cx:pt idx="51802">5</cx:pt>
          <cx:pt idx="51803">4</cx:pt>
          <cx:pt idx="51804">3</cx:pt>
          <cx:pt idx="51805">5</cx:pt>
          <cx:pt idx="51806">2</cx:pt>
          <cx:pt idx="51807">4</cx:pt>
          <cx:pt idx="51808">3</cx:pt>
          <cx:pt idx="51809">5</cx:pt>
          <cx:pt idx="51810">5</cx:pt>
          <cx:pt idx="51811">1</cx:pt>
          <cx:pt idx="51812">4</cx:pt>
          <cx:pt idx="51813">1</cx:pt>
          <cx:pt idx="51814">3</cx:pt>
          <cx:pt idx="51815">4</cx:pt>
          <cx:pt idx="51816">1</cx:pt>
          <cx:pt idx="51817">4</cx:pt>
          <cx:pt idx="51818">4</cx:pt>
          <cx:pt idx="51819">4</cx:pt>
          <cx:pt idx="51820">1</cx:pt>
          <cx:pt idx="51821">3</cx:pt>
          <cx:pt idx="51822">2</cx:pt>
          <cx:pt idx="51823">3</cx:pt>
          <cx:pt idx="51824">2</cx:pt>
          <cx:pt idx="51825">4</cx:pt>
          <cx:pt idx="51826">3</cx:pt>
          <cx:pt idx="51827">4</cx:pt>
          <cx:pt idx="51828">5</cx:pt>
          <cx:pt idx="51829">4</cx:pt>
          <cx:pt idx="51830">2</cx:pt>
          <cx:pt idx="51831">5</cx:pt>
          <cx:pt idx="51832">4</cx:pt>
          <cx:pt idx="51833">4</cx:pt>
          <cx:pt idx="51834">4</cx:pt>
          <cx:pt idx="51835">4</cx:pt>
          <cx:pt idx="51836">3</cx:pt>
          <cx:pt idx="51837">2</cx:pt>
          <cx:pt idx="51838">3</cx:pt>
          <cx:pt idx="51839">5</cx:pt>
          <cx:pt idx="51840">5</cx:pt>
          <cx:pt idx="51841">2</cx:pt>
          <cx:pt idx="51842">5</cx:pt>
          <cx:pt idx="51843">4</cx:pt>
          <cx:pt idx="51844">3</cx:pt>
          <cx:pt idx="51845">2</cx:pt>
          <cx:pt idx="51846">4</cx:pt>
          <cx:pt idx="51847">5</cx:pt>
          <cx:pt idx="51848">2</cx:pt>
          <cx:pt idx="51849">4</cx:pt>
          <cx:pt idx="51850">5</cx:pt>
          <cx:pt idx="51851">5</cx:pt>
          <cx:pt idx="51852">4</cx:pt>
          <cx:pt idx="51853">1</cx:pt>
          <cx:pt idx="51854">3</cx:pt>
          <cx:pt idx="51855">5</cx:pt>
          <cx:pt idx="51856">4</cx:pt>
          <cx:pt idx="51857">4</cx:pt>
          <cx:pt idx="51858">2</cx:pt>
          <cx:pt idx="51859">4</cx:pt>
          <cx:pt idx="51860">2</cx:pt>
          <cx:pt idx="51861">2</cx:pt>
          <cx:pt idx="51862">5</cx:pt>
          <cx:pt idx="51863">5</cx:pt>
          <cx:pt idx="51864">4</cx:pt>
          <cx:pt idx="51865">3</cx:pt>
          <cx:pt idx="51866">5</cx:pt>
          <cx:pt idx="51867">2</cx:pt>
          <cx:pt idx="51868">4</cx:pt>
          <cx:pt idx="51869">5</cx:pt>
          <cx:pt idx="51870">1</cx:pt>
          <cx:pt idx="51871">5</cx:pt>
          <cx:pt idx="51872">1</cx:pt>
          <cx:pt idx="51873">4</cx:pt>
          <cx:pt idx="51874">2</cx:pt>
          <cx:pt idx="51875">3</cx:pt>
          <cx:pt idx="51876">3</cx:pt>
          <cx:pt idx="51877">2</cx:pt>
          <cx:pt idx="51878">3</cx:pt>
          <cx:pt idx="51879">3</cx:pt>
          <cx:pt idx="51880">3</cx:pt>
          <cx:pt idx="51881">3</cx:pt>
          <cx:pt idx="51882">3</cx:pt>
          <cx:pt idx="51883">2</cx:pt>
          <cx:pt idx="51884">5</cx:pt>
          <cx:pt idx="51885">1</cx:pt>
          <cx:pt idx="51886">1</cx:pt>
          <cx:pt idx="51887">4</cx:pt>
          <cx:pt idx="51888">4</cx:pt>
          <cx:pt idx="51889">5</cx:pt>
          <cx:pt idx="51890">4</cx:pt>
          <cx:pt idx="51891">3</cx:pt>
          <cx:pt idx="51892">4</cx:pt>
          <cx:pt idx="51893">3</cx:pt>
          <cx:pt idx="51894">3</cx:pt>
          <cx:pt idx="51895">5</cx:pt>
          <cx:pt idx="51896">2</cx:pt>
          <cx:pt idx="51897">5</cx:pt>
          <cx:pt idx="51898">4</cx:pt>
          <cx:pt idx="51899">5</cx:pt>
          <cx:pt idx="51900">3</cx:pt>
          <cx:pt idx="51901">1</cx:pt>
          <cx:pt idx="51902">2</cx:pt>
          <cx:pt idx="51903">4</cx:pt>
          <cx:pt idx="51904">5</cx:pt>
          <cx:pt idx="51905">4</cx:pt>
          <cx:pt idx="51906">4</cx:pt>
          <cx:pt idx="51907">4</cx:pt>
          <cx:pt idx="51908">1</cx:pt>
          <cx:pt idx="51909">4</cx:pt>
          <cx:pt idx="51910">2</cx:pt>
          <cx:pt idx="51911">3</cx:pt>
          <cx:pt idx="51912">4</cx:pt>
          <cx:pt idx="51913">3</cx:pt>
          <cx:pt idx="51914">5</cx:pt>
          <cx:pt idx="51915">2</cx:pt>
          <cx:pt idx="51916">5</cx:pt>
          <cx:pt idx="51917">2</cx:pt>
          <cx:pt idx="51918">4</cx:pt>
          <cx:pt idx="51919">3</cx:pt>
          <cx:pt idx="51920">1</cx:pt>
          <cx:pt idx="51921">4</cx:pt>
          <cx:pt idx="51922">4</cx:pt>
          <cx:pt idx="51923">5</cx:pt>
          <cx:pt idx="51924">4</cx:pt>
          <cx:pt idx="51925">4</cx:pt>
          <cx:pt idx="51926">3</cx:pt>
          <cx:pt idx="51927">4</cx:pt>
          <cx:pt idx="51928">3</cx:pt>
          <cx:pt idx="51929">3</cx:pt>
          <cx:pt idx="51930">4</cx:pt>
          <cx:pt idx="51931">5</cx:pt>
          <cx:pt idx="51932">5</cx:pt>
          <cx:pt idx="51933">4</cx:pt>
          <cx:pt idx="51934">5</cx:pt>
          <cx:pt idx="51935">4</cx:pt>
          <cx:pt idx="51936">3</cx:pt>
          <cx:pt idx="51937">5</cx:pt>
          <cx:pt idx="51938">2</cx:pt>
          <cx:pt idx="51939">2</cx:pt>
          <cx:pt idx="51940">5</cx:pt>
          <cx:pt idx="51941">3</cx:pt>
          <cx:pt idx="51942">4</cx:pt>
          <cx:pt idx="51943">5</cx:pt>
          <cx:pt idx="51944">4</cx:pt>
          <cx:pt idx="51945">5</cx:pt>
          <cx:pt idx="51946">5</cx:pt>
          <cx:pt idx="51947">3</cx:pt>
          <cx:pt idx="51948">4</cx:pt>
          <cx:pt idx="51949">4</cx:pt>
          <cx:pt idx="51950">4</cx:pt>
          <cx:pt idx="51951">1</cx:pt>
          <cx:pt idx="51952">4</cx:pt>
          <cx:pt idx="51953">3</cx:pt>
          <cx:pt idx="51954">2</cx:pt>
          <cx:pt idx="51955">4</cx:pt>
          <cx:pt idx="51956">4</cx:pt>
          <cx:pt idx="51957">4</cx:pt>
          <cx:pt idx="51958">3</cx:pt>
          <cx:pt idx="51959">4</cx:pt>
          <cx:pt idx="51960">4</cx:pt>
          <cx:pt idx="51961">3</cx:pt>
          <cx:pt idx="51962">4</cx:pt>
          <cx:pt idx="51963">3</cx:pt>
          <cx:pt idx="51964">4</cx:pt>
          <cx:pt idx="51965">4</cx:pt>
          <cx:pt idx="51966">1</cx:pt>
          <cx:pt idx="51967">4</cx:pt>
          <cx:pt idx="51968">2</cx:pt>
          <cx:pt idx="51969">5</cx:pt>
          <cx:pt idx="51970">4</cx:pt>
          <cx:pt idx="51971">4</cx:pt>
          <cx:pt idx="51972">2</cx:pt>
          <cx:pt idx="51973">4</cx:pt>
          <cx:pt idx="51974">2</cx:pt>
          <cx:pt idx="51975">4</cx:pt>
          <cx:pt idx="51976">4</cx:pt>
          <cx:pt idx="51977">4</cx:pt>
          <cx:pt idx="51978">5</cx:pt>
          <cx:pt idx="51979">4</cx:pt>
          <cx:pt idx="51980">3</cx:pt>
          <cx:pt idx="51981">3</cx:pt>
          <cx:pt idx="51982">3</cx:pt>
          <cx:pt idx="51983">3</cx:pt>
          <cx:pt idx="51984">3</cx:pt>
          <cx:pt idx="51985">4</cx:pt>
          <cx:pt idx="51986">3</cx:pt>
          <cx:pt idx="51987">3</cx:pt>
          <cx:pt idx="51988">4</cx:pt>
          <cx:pt idx="51989">4</cx:pt>
          <cx:pt idx="51990">4</cx:pt>
          <cx:pt idx="51991">4</cx:pt>
          <cx:pt idx="51992">5</cx:pt>
          <cx:pt idx="51993">3</cx:pt>
          <cx:pt idx="51994">4</cx:pt>
          <cx:pt idx="51995">3</cx:pt>
          <cx:pt idx="51996">5</cx:pt>
          <cx:pt idx="51997">3</cx:pt>
          <cx:pt idx="51998">2</cx:pt>
          <cx:pt idx="51999">1</cx:pt>
          <cx:pt idx="52000">4</cx:pt>
          <cx:pt idx="52001">1</cx:pt>
          <cx:pt idx="52002">4</cx:pt>
          <cx:pt idx="52003">1</cx:pt>
          <cx:pt idx="52004">2</cx:pt>
          <cx:pt idx="52005">4</cx:pt>
          <cx:pt idx="52006">2</cx:pt>
          <cx:pt idx="52007">4</cx:pt>
          <cx:pt idx="52008">2</cx:pt>
          <cx:pt idx="52009">3</cx:pt>
          <cx:pt idx="52010">5</cx:pt>
          <cx:pt idx="52011">4</cx:pt>
          <cx:pt idx="52012">4</cx:pt>
          <cx:pt idx="52013">4</cx:pt>
          <cx:pt idx="52014">4</cx:pt>
          <cx:pt idx="52015">2</cx:pt>
          <cx:pt idx="52016">4</cx:pt>
          <cx:pt idx="52017">1</cx:pt>
          <cx:pt idx="52018">2</cx:pt>
          <cx:pt idx="52019">4</cx:pt>
          <cx:pt idx="52020">5</cx:pt>
          <cx:pt idx="52021">3</cx:pt>
          <cx:pt idx="52022">2</cx:pt>
          <cx:pt idx="52023">4</cx:pt>
          <cx:pt idx="52024">5</cx:pt>
          <cx:pt idx="52025">3</cx:pt>
          <cx:pt idx="52026">1</cx:pt>
          <cx:pt idx="52027">4</cx:pt>
          <cx:pt idx="52028">5</cx:pt>
          <cx:pt idx="52029">5</cx:pt>
          <cx:pt idx="52030">5</cx:pt>
          <cx:pt idx="52031">5</cx:pt>
          <cx:pt idx="52032">5</cx:pt>
          <cx:pt idx="52033">3</cx:pt>
          <cx:pt idx="52034">5</cx:pt>
          <cx:pt idx="52035">2</cx:pt>
          <cx:pt idx="52036">1</cx:pt>
          <cx:pt idx="52037">4</cx:pt>
          <cx:pt idx="52038">4</cx:pt>
          <cx:pt idx="52039">4</cx:pt>
          <cx:pt idx="52040">4</cx:pt>
          <cx:pt idx="52041">5</cx:pt>
          <cx:pt idx="52042">1</cx:pt>
          <cx:pt idx="52043">2</cx:pt>
          <cx:pt idx="52044">4</cx:pt>
          <cx:pt idx="52045">3</cx:pt>
          <cx:pt idx="52046">4</cx:pt>
          <cx:pt idx="52047">3</cx:pt>
          <cx:pt idx="52048">1</cx:pt>
          <cx:pt idx="52049">4</cx:pt>
          <cx:pt idx="52050">5</cx:pt>
          <cx:pt idx="52051">4</cx:pt>
          <cx:pt idx="52052">4</cx:pt>
          <cx:pt idx="52053">3</cx:pt>
          <cx:pt idx="52054">1</cx:pt>
          <cx:pt idx="52055">3</cx:pt>
          <cx:pt idx="52056">4</cx:pt>
          <cx:pt idx="52057">4</cx:pt>
          <cx:pt idx="52058">5</cx:pt>
          <cx:pt idx="52059">1</cx:pt>
          <cx:pt idx="52060">4</cx:pt>
          <cx:pt idx="52061">1</cx:pt>
          <cx:pt idx="52062">3</cx:pt>
          <cx:pt idx="52063">3</cx:pt>
          <cx:pt idx="52064">4</cx:pt>
          <cx:pt idx="52065">2</cx:pt>
          <cx:pt idx="52066">4</cx:pt>
          <cx:pt idx="52067">3</cx:pt>
          <cx:pt idx="52068">2</cx:pt>
          <cx:pt idx="52069">4</cx:pt>
          <cx:pt idx="52070">5</cx:pt>
          <cx:pt idx="52071">3</cx:pt>
          <cx:pt idx="52072">4</cx:pt>
          <cx:pt idx="52073">4</cx:pt>
          <cx:pt idx="52074">3</cx:pt>
          <cx:pt idx="52075">1</cx:pt>
          <cx:pt idx="52076">4</cx:pt>
          <cx:pt idx="52077">2</cx:pt>
          <cx:pt idx="52078">4</cx:pt>
          <cx:pt idx="52079">4</cx:pt>
          <cx:pt idx="52080">4</cx:pt>
          <cx:pt idx="52081">3</cx:pt>
          <cx:pt idx="52082">5</cx:pt>
          <cx:pt idx="52083">2</cx:pt>
          <cx:pt idx="52084">5</cx:pt>
          <cx:pt idx="52085">4</cx:pt>
          <cx:pt idx="52086">3</cx:pt>
          <cx:pt idx="52087">2</cx:pt>
          <cx:pt idx="52088">2</cx:pt>
          <cx:pt idx="52089">5</cx:pt>
          <cx:pt idx="52090">3</cx:pt>
          <cx:pt idx="52091">5</cx:pt>
          <cx:pt idx="52092">1</cx:pt>
          <cx:pt idx="52093">3</cx:pt>
          <cx:pt idx="52094">2</cx:pt>
          <cx:pt idx="52095">3</cx:pt>
          <cx:pt idx="52096">4</cx:pt>
          <cx:pt idx="52097">5</cx:pt>
          <cx:pt idx="52098">1</cx:pt>
          <cx:pt idx="52099">5</cx:pt>
          <cx:pt idx="52100">2</cx:pt>
          <cx:pt idx="52101">2</cx:pt>
          <cx:pt idx="52102">4</cx:pt>
          <cx:pt idx="52103">4</cx:pt>
          <cx:pt idx="52104">5</cx:pt>
          <cx:pt idx="52105">4</cx:pt>
          <cx:pt idx="52106">5</cx:pt>
          <cx:pt idx="52107">5</cx:pt>
          <cx:pt idx="52108">2</cx:pt>
          <cx:pt idx="52109">1</cx:pt>
          <cx:pt idx="52110">5</cx:pt>
          <cx:pt idx="52111">3</cx:pt>
          <cx:pt idx="52112">3</cx:pt>
          <cx:pt idx="52113">4</cx:pt>
          <cx:pt idx="52114">1</cx:pt>
          <cx:pt idx="52115">3</cx:pt>
          <cx:pt idx="52116">3</cx:pt>
          <cx:pt idx="52117">5</cx:pt>
          <cx:pt idx="52118">5</cx:pt>
          <cx:pt idx="52119">1</cx:pt>
          <cx:pt idx="52120">4</cx:pt>
          <cx:pt idx="52121">4</cx:pt>
          <cx:pt idx="52122">3</cx:pt>
          <cx:pt idx="52123">4</cx:pt>
          <cx:pt idx="52124">2</cx:pt>
          <cx:pt idx="52125">3</cx:pt>
          <cx:pt idx="52126">4</cx:pt>
          <cx:pt idx="52127">5</cx:pt>
          <cx:pt idx="52128">5</cx:pt>
          <cx:pt idx="52129">4</cx:pt>
          <cx:pt idx="52130">3</cx:pt>
          <cx:pt idx="52131">4</cx:pt>
          <cx:pt idx="52132">2</cx:pt>
          <cx:pt idx="52133">2</cx:pt>
          <cx:pt idx="52134">5</cx:pt>
          <cx:pt idx="52135">3</cx:pt>
          <cx:pt idx="52136">5</cx:pt>
          <cx:pt idx="52137">4</cx:pt>
          <cx:pt idx="52138">1</cx:pt>
          <cx:pt idx="52139">4</cx:pt>
          <cx:pt idx="52140">5</cx:pt>
          <cx:pt idx="52141">3</cx:pt>
          <cx:pt idx="52142">4</cx:pt>
          <cx:pt idx="52143">1</cx:pt>
          <cx:pt idx="52144">3</cx:pt>
          <cx:pt idx="52145">1</cx:pt>
          <cx:pt idx="52146">3</cx:pt>
          <cx:pt idx="52147">5</cx:pt>
          <cx:pt idx="52148">2</cx:pt>
          <cx:pt idx="52149">4</cx:pt>
          <cx:pt idx="52150">3</cx:pt>
          <cx:pt idx="52151">4</cx:pt>
          <cx:pt idx="52152">2</cx:pt>
          <cx:pt idx="52153">4</cx:pt>
          <cx:pt idx="52154">3</cx:pt>
          <cx:pt idx="52155">2</cx:pt>
          <cx:pt idx="52156">2</cx:pt>
          <cx:pt idx="52157">1</cx:pt>
          <cx:pt idx="52158">2</cx:pt>
          <cx:pt idx="52159">4</cx:pt>
          <cx:pt idx="52160">2</cx:pt>
          <cx:pt idx="52161">2</cx:pt>
          <cx:pt idx="52162">3</cx:pt>
          <cx:pt idx="52163">4</cx:pt>
          <cx:pt idx="52164">4</cx:pt>
          <cx:pt idx="52165">1</cx:pt>
          <cx:pt idx="52166">4</cx:pt>
          <cx:pt idx="52167">2</cx:pt>
          <cx:pt idx="52168">3</cx:pt>
          <cx:pt idx="52169">3</cx:pt>
          <cx:pt idx="52170">1</cx:pt>
          <cx:pt idx="52171">5</cx:pt>
          <cx:pt idx="52172">3</cx:pt>
          <cx:pt idx="52173">5</cx:pt>
          <cx:pt idx="52174">4</cx:pt>
          <cx:pt idx="52175">4</cx:pt>
          <cx:pt idx="52176">4</cx:pt>
          <cx:pt idx="52177">2</cx:pt>
          <cx:pt idx="52178">5</cx:pt>
          <cx:pt idx="52179">4</cx:pt>
          <cx:pt idx="52180">5</cx:pt>
          <cx:pt idx="52181">4</cx:pt>
          <cx:pt idx="52182">4</cx:pt>
          <cx:pt idx="52183">3</cx:pt>
          <cx:pt idx="52184">3</cx:pt>
          <cx:pt idx="52185">1</cx:pt>
          <cx:pt idx="52186">1</cx:pt>
          <cx:pt idx="52187">5</cx:pt>
          <cx:pt idx="52188">5</cx:pt>
          <cx:pt idx="52189">3</cx:pt>
          <cx:pt idx="52190">5</cx:pt>
          <cx:pt idx="52191">3</cx:pt>
          <cx:pt idx="52192">2</cx:pt>
          <cx:pt idx="52193">4</cx:pt>
          <cx:pt idx="52194">5</cx:pt>
          <cx:pt idx="52195">3</cx:pt>
          <cx:pt idx="52196">5</cx:pt>
          <cx:pt idx="52197">2</cx:pt>
          <cx:pt idx="52198">5</cx:pt>
          <cx:pt idx="52199">1</cx:pt>
          <cx:pt idx="52200">1</cx:pt>
          <cx:pt idx="52201">5</cx:pt>
          <cx:pt idx="52202">5</cx:pt>
          <cx:pt idx="52203">2</cx:pt>
          <cx:pt idx="52204">5</cx:pt>
          <cx:pt idx="52205">5</cx:pt>
          <cx:pt idx="52206">1</cx:pt>
          <cx:pt idx="52207">2</cx:pt>
          <cx:pt idx="52208">4</cx:pt>
          <cx:pt idx="52209">2</cx:pt>
          <cx:pt idx="52210">4</cx:pt>
          <cx:pt idx="52211">2</cx:pt>
          <cx:pt idx="52212">5</cx:pt>
          <cx:pt idx="52213">4</cx:pt>
          <cx:pt idx="52214">2</cx:pt>
          <cx:pt idx="52215">4</cx:pt>
          <cx:pt idx="52216">4</cx:pt>
          <cx:pt idx="52217">1</cx:pt>
          <cx:pt idx="52218">1</cx:pt>
          <cx:pt idx="52219">3</cx:pt>
          <cx:pt idx="52220">4</cx:pt>
          <cx:pt idx="52221">2</cx:pt>
          <cx:pt idx="52222">2</cx:pt>
          <cx:pt idx="52223">3</cx:pt>
          <cx:pt idx="52224">4</cx:pt>
          <cx:pt idx="52225">2</cx:pt>
          <cx:pt idx="52226">4</cx:pt>
          <cx:pt idx="52227">5</cx:pt>
          <cx:pt idx="52228">5</cx:pt>
          <cx:pt idx="52229">3</cx:pt>
          <cx:pt idx="52230">1</cx:pt>
          <cx:pt idx="52231">5</cx:pt>
          <cx:pt idx="52232">4</cx:pt>
          <cx:pt idx="52233">2</cx:pt>
          <cx:pt idx="52234">2</cx:pt>
          <cx:pt idx="52235">5</cx:pt>
          <cx:pt idx="52236">5</cx:pt>
          <cx:pt idx="52237">4</cx:pt>
          <cx:pt idx="52238">1</cx:pt>
          <cx:pt idx="52239">2</cx:pt>
          <cx:pt idx="52240">4</cx:pt>
          <cx:pt idx="52241">5</cx:pt>
          <cx:pt idx="52242">4</cx:pt>
          <cx:pt idx="52243">3</cx:pt>
          <cx:pt idx="52244">1</cx:pt>
          <cx:pt idx="52245">2</cx:pt>
          <cx:pt idx="52246">4</cx:pt>
          <cx:pt idx="52247">2</cx:pt>
          <cx:pt idx="52248">5</cx:pt>
          <cx:pt idx="52249">2</cx:pt>
          <cx:pt idx="52250">4</cx:pt>
          <cx:pt idx="52251">2</cx:pt>
          <cx:pt idx="52252">4</cx:pt>
          <cx:pt idx="52253">5</cx:pt>
          <cx:pt idx="52254">1</cx:pt>
          <cx:pt idx="52255">3</cx:pt>
          <cx:pt idx="52256">1</cx:pt>
          <cx:pt idx="52257">1</cx:pt>
          <cx:pt idx="52258">3</cx:pt>
          <cx:pt idx="52259">5</cx:pt>
          <cx:pt idx="52260">4</cx:pt>
          <cx:pt idx="52261">3</cx:pt>
          <cx:pt idx="52262">3</cx:pt>
          <cx:pt idx="52263">2</cx:pt>
          <cx:pt idx="52264">2</cx:pt>
          <cx:pt idx="52265">5</cx:pt>
          <cx:pt idx="52266">4</cx:pt>
          <cx:pt idx="52267">2</cx:pt>
          <cx:pt idx="52268">4</cx:pt>
          <cx:pt idx="52269">2</cx:pt>
          <cx:pt idx="52270">5</cx:pt>
          <cx:pt idx="52271">4</cx:pt>
          <cx:pt idx="52272">4</cx:pt>
          <cx:pt idx="52273">5</cx:pt>
          <cx:pt idx="52274">3</cx:pt>
          <cx:pt idx="52275">2</cx:pt>
          <cx:pt idx="52276">5</cx:pt>
          <cx:pt idx="52277">4</cx:pt>
          <cx:pt idx="52278">3</cx:pt>
          <cx:pt idx="52279">4</cx:pt>
          <cx:pt idx="52280">2</cx:pt>
          <cx:pt idx="52281">4</cx:pt>
          <cx:pt idx="52282">4</cx:pt>
          <cx:pt idx="52283">4</cx:pt>
          <cx:pt idx="52284">5</cx:pt>
          <cx:pt idx="52285">3</cx:pt>
          <cx:pt idx="52286">3</cx:pt>
          <cx:pt idx="52287">2</cx:pt>
          <cx:pt idx="52288">2</cx:pt>
          <cx:pt idx="52289">3</cx:pt>
          <cx:pt idx="52290">2</cx:pt>
          <cx:pt idx="52291">3</cx:pt>
          <cx:pt idx="52292">4</cx:pt>
          <cx:pt idx="52293">3</cx:pt>
          <cx:pt idx="52294">4</cx:pt>
          <cx:pt idx="52295">2</cx:pt>
          <cx:pt idx="52296">5</cx:pt>
          <cx:pt idx="52297">4</cx:pt>
          <cx:pt idx="52298">2</cx:pt>
          <cx:pt idx="52299">4</cx:pt>
          <cx:pt idx="52300">5</cx:pt>
          <cx:pt idx="52301">5</cx:pt>
          <cx:pt idx="52302">5</cx:pt>
          <cx:pt idx="52303">4</cx:pt>
          <cx:pt idx="52304">4</cx:pt>
          <cx:pt idx="52305">2</cx:pt>
          <cx:pt idx="52306">5</cx:pt>
          <cx:pt idx="52307">4</cx:pt>
          <cx:pt idx="52308">5</cx:pt>
          <cx:pt idx="52309">5</cx:pt>
          <cx:pt idx="52310">5</cx:pt>
          <cx:pt idx="52311">3</cx:pt>
          <cx:pt idx="52312">2</cx:pt>
          <cx:pt idx="52313">4</cx:pt>
          <cx:pt idx="52314">3</cx:pt>
          <cx:pt idx="52315">3</cx:pt>
          <cx:pt idx="52316">4</cx:pt>
          <cx:pt idx="52317">3</cx:pt>
          <cx:pt idx="52318">2</cx:pt>
          <cx:pt idx="52319">5</cx:pt>
          <cx:pt idx="52320">2</cx:pt>
          <cx:pt idx="52321">1</cx:pt>
          <cx:pt idx="52322">4</cx:pt>
          <cx:pt idx="52323">3</cx:pt>
          <cx:pt idx="52324">5</cx:pt>
          <cx:pt idx="52325">2</cx:pt>
          <cx:pt idx="52326">4</cx:pt>
          <cx:pt idx="52327">4</cx:pt>
          <cx:pt idx="52328">2</cx:pt>
          <cx:pt idx="52329">1</cx:pt>
          <cx:pt idx="52330">4</cx:pt>
          <cx:pt idx="52331">4</cx:pt>
          <cx:pt idx="52332">4</cx:pt>
          <cx:pt idx="52333">3</cx:pt>
          <cx:pt idx="52334">4</cx:pt>
          <cx:pt idx="52335">5</cx:pt>
          <cx:pt idx="52336">4</cx:pt>
          <cx:pt idx="52337">4</cx:pt>
          <cx:pt idx="52338">2</cx:pt>
          <cx:pt idx="52339">5</cx:pt>
          <cx:pt idx="52340">4</cx:pt>
          <cx:pt idx="52341">3</cx:pt>
          <cx:pt idx="52342">5</cx:pt>
          <cx:pt idx="52343">4</cx:pt>
          <cx:pt idx="52344">4</cx:pt>
          <cx:pt idx="52345">4</cx:pt>
          <cx:pt idx="52346">4</cx:pt>
          <cx:pt idx="52347">5</cx:pt>
          <cx:pt idx="52348">1</cx:pt>
          <cx:pt idx="52349">3</cx:pt>
          <cx:pt idx="52350">4</cx:pt>
          <cx:pt idx="52351">5</cx:pt>
          <cx:pt idx="52352">1</cx:pt>
          <cx:pt idx="52353">5</cx:pt>
          <cx:pt idx="52354">4</cx:pt>
          <cx:pt idx="52355">3</cx:pt>
          <cx:pt idx="52356">3</cx:pt>
          <cx:pt idx="52357">4</cx:pt>
          <cx:pt idx="52358">2</cx:pt>
          <cx:pt idx="52359">1</cx:pt>
          <cx:pt idx="52360">3</cx:pt>
          <cx:pt idx="52361">3</cx:pt>
          <cx:pt idx="52362">3</cx:pt>
          <cx:pt idx="52363">4</cx:pt>
          <cx:pt idx="52364">3</cx:pt>
          <cx:pt idx="52365">4</cx:pt>
          <cx:pt idx="52366">4</cx:pt>
          <cx:pt idx="52367">4</cx:pt>
          <cx:pt idx="52368">4</cx:pt>
          <cx:pt idx="52369">4</cx:pt>
          <cx:pt idx="52370">5</cx:pt>
          <cx:pt idx="52371">2</cx:pt>
          <cx:pt idx="52372">1</cx:pt>
          <cx:pt idx="52373">3</cx:pt>
          <cx:pt idx="52374">1</cx:pt>
          <cx:pt idx="52375">3</cx:pt>
          <cx:pt idx="52376">4</cx:pt>
          <cx:pt idx="52377">4</cx:pt>
          <cx:pt idx="52378">4</cx:pt>
          <cx:pt idx="52379">5</cx:pt>
          <cx:pt idx="52380">4</cx:pt>
          <cx:pt idx="52381">2</cx:pt>
          <cx:pt idx="52382">2</cx:pt>
          <cx:pt idx="52383">4</cx:pt>
          <cx:pt idx="52384">2</cx:pt>
          <cx:pt idx="52385">3</cx:pt>
          <cx:pt idx="52386">2</cx:pt>
          <cx:pt idx="52387">2</cx:pt>
          <cx:pt idx="52388">4</cx:pt>
          <cx:pt idx="52389">4</cx:pt>
          <cx:pt idx="52390">1</cx:pt>
          <cx:pt idx="52391">5</cx:pt>
          <cx:pt idx="52392">3</cx:pt>
          <cx:pt idx="52393">2</cx:pt>
          <cx:pt idx="52394">5</cx:pt>
          <cx:pt idx="52395">2</cx:pt>
          <cx:pt idx="52396">4</cx:pt>
          <cx:pt idx="52397">5</cx:pt>
          <cx:pt idx="52398">4</cx:pt>
          <cx:pt idx="52399">5</cx:pt>
          <cx:pt idx="52400">2</cx:pt>
          <cx:pt idx="52401">5</cx:pt>
          <cx:pt idx="52402">4</cx:pt>
          <cx:pt idx="52403">5</cx:pt>
          <cx:pt idx="52404">4</cx:pt>
          <cx:pt idx="52405">4</cx:pt>
          <cx:pt idx="52406">5</cx:pt>
          <cx:pt idx="52407">3</cx:pt>
          <cx:pt idx="52408">2</cx:pt>
          <cx:pt idx="52409">1</cx:pt>
          <cx:pt idx="52410">4</cx:pt>
          <cx:pt idx="52411">1</cx:pt>
          <cx:pt idx="52412">4</cx:pt>
          <cx:pt idx="52413">2</cx:pt>
          <cx:pt idx="52414">5</cx:pt>
          <cx:pt idx="52415">5</cx:pt>
          <cx:pt idx="52416">2</cx:pt>
          <cx:pt idx="52417">2</cx:pt>
          <cx:pt idx="52418">3</cx:pt>
          <cx:pt idx="52419">3</cx:pt>
          <cx:pt idx="52420">5</cx:pt>
          <cx:pt idx="52421">4</cx:pt>
          <cx:pt idx="52422">1</cx:pt>
          <cx:pt idx="52423">1</cx:pt>
          <cx:pt idx="52424">3</cx:pt>
          <cx:pt idx="52425">5</cx:pt>
          <cx:pt idx="52426">3</cx:pt>
          <cx:pt idx="52427">5</cx:pt>
          <cx:pt idx="52428">3</cx:pt>
          <cx:pt idx="52429">2</cx:pt>
          <cx:pt idx="52430">5</cx:pt>
          <cx:pt idx="52431">4</cx:pt>
          <cx:pt idx="52432">3</cx:pt>
          <cx:pt idx="52433">4</cx:pt>
          <cx:pt idx="52434">4</cx:pt>
          <cx:pt idx="52435">5</cx:pt>
          <cx:pt idx="52436">3</cx:pt>
          <cx:pt idx="52437">2</cx:pt>
          <cx:pt idx="52438">5</cx:pt>
          <cx:pt idx="52439">3</cx:pt>
          <cx:pt idx="52440">4</cx:pt>
          <cx:pt idx="52441">1</cx:pt>
          <cx:pt idx="52442">4</cx:pt>
          <cx:pt idx="52443">4</cx:pt>
          <cx:pt idx="52444">4</cx:pt>
          <cx:pt idx="52445">5</cx:pt>
          <cx:pt idx="52446">1</cx:pt>
          <cx:pt idx="52447">2</cx:pt>
          <cx:pt idx="52448">1</cx:pt>
          <cx:pt idx="52449">1</cx:pt>
          <cx:pt idx="52450">2</cx:pt>
          <cx:pt idx="52451">3</cx:pt>
          <cx:pt idx="52452">2</cx:pt>
          <cx:pt idx="52453">5</cx:pt>
          <cx:pt idx="52454">2</cx:pt>
          <cx:pt idx="52455">1</cx:pt>
          <cx:pt idx="52456">2</cx:pt>
          <cx:pt idx="52457">4</cx:pt>
          <cx:pt idx="52458">4</cx:pt>
          <cx:pt idx="52459">1</cx:pt>
          <cx:pt idx="52460">2</cx:pt>
          <cx:pt idx="52461">4</cx:pt>
          <cx:pt idx="52462">5</cx:pt>
          <cx:pt idx="52463">4</cx:pt>
          <cx:pt idx="52464">4</cx:pt>
          <cx:pt idx="52465">4</cx:pt>
          <cx:pt idx="52466">1</cx:pt>
          <cx:pt idx="52467">5</cx:pt>
          <cx:pt idx="52468">1</cx:pt>
          <cx:pt idx="52469">2</cx:pt>
          <cx:pt idx="52470">3</cx:pt>
          <cx:pt idx="52471">5</cx:pt>
          <cx:pt idx="52472">5</cx:pt>
          <cx:pt idx="52473">2</cx:pt>
          <cx:pt idx="52474">4</cx:pt>
          <cx:pt idx="52475">5</cx:pt>
          <cx:pt idx="52476">4</cx:pt>
          <cx:pt idx="52477">1</cx:pt>
          <cx:pt idx="52478">4</cx:pt>
          <cx:pt idx="52479">2</cx:pt>
          <cx:pt idx="52480">3</cx:pt>
          <cx:pt idx="52481">1</cx:pt>
          <cx:pt idx="52482">4</cx:pt>
          <cx:pt idx="52483">2</cx:pt>
          <cx:pt idx="52484">2</cx:pt>
          <cx:pt idx="52485">3</cx:pt>
          <cx:pt idx="52486">1</cx:pt>
          <cx:pt idx="52487">5</cx:pt>
          <cx:pt idx="52488">2</cx:pt>
          <cx:pt idx="52489">4</cx:pt>
          <cx:pt idx="52490">4</cx:pt>
          <cx:pt idx="52491">4</cx:pt>
          <cx:pt idx="52492">4</cx:pt>
          <cx:pt idx="52493">1</cx:pt>
          <cx:pt idx="52494">2</cx:pt>
          <cx:pt idx="52495">4</cx:pt>
          <cx:pt idx="52496">3</cx:pt>
          <cx:pt idx="52497">3</cx:pt>
          <cx:pt idx="52498">4</cx:pt>
          <cx:pt idx="52499">2</cx:pt>
          <cx:pt idx="52500">4</cx:pt>
          <cx:pt idx="52501">2</cx:pt>
          <cx:pt idx="52502">5</cx:pt>
          <cx:pt idx="52503">2</cx:pt>
          <cx:pt idx="52504">4</cx:pt>
          <cx:pt idx="52505">4</cx:pt>
          <cx:pt idx="52506">4</cx:pt>
          <cx:pt idx="52507">5</cx:pt>
          <cx:pt idx="52508">5</cx:pt>
          <cx:pt idx="52509">4</cx:pt>
          <cx:pt idx="52510">4</cx:pt>
          <cx:pt idx="52511">5</cx:pt>
          <cx:pt idx="52512">3</cx:pt>
          <cx:pt idx="52513">2</cx:pt>
          <cx:pt idx="52514">4</cx:pt>
          <cx:pt idx="52515">5</cx:pt>
          <cx:pt idx="52516">5</cx:pt>
          <cx:pt idx="52517">2</cx:pt>
          <cx:pt idx="52518">5</cx:pt>
          <cx:pt idx="52519">4</cx:pt>
          <cx:pt idx="52520">2</cx:pt>
          <cx:pt idx="52521">1</cx:pt>
          <cx:pt idx="52522">1</cx:pt>
          <cx:pt idx="52523">3</cx:pt>
          <cx:pt idx="52524">1</cx:pt>
          <cx:pt idx="52525">4</cx:pt>
          <cx:pt idx="52526">5</cx:pt>
          <cx:pt idx="52527">2</cx:pt>
          <cx:pt idx="52528">4</cx:pt>
          <cx:pt idx="52529">1</cx:pt>
          <cx:pt idx="52530">5</cx:pt>
          <cx:pt idx="52531">5</cx:pt>
          <cx:pt idx="52532">4</cx:pt>
          <cx:pt idx="52533">2</cx:pt>
          <cx:pt idx="52534">5</cx:pt>
          <cx:pt idx="52535">1</cx:pt>
          <cx:pt idx="52536">5</cx:pt>
          <cx:pt idx="52537">2</cx:pt>
          <cx:pt idx="52538">2</cx:pt>
          <cx:pt idx="52539">3</cx:pt>
          <cx:pt idx="52540">5</cx:pt>
          <cx:pt idx="52541">4</cx:pt>
          <cx:pt idx="52542">4</cx:pt>
          <cx:pt idx="52543">5</cx:pt>
          <cx:pt idx="52544">5</cx:pt>
          <cx:pt idx="52545">5</cx:pt>
          <cx:pt idx="52546">5</cx:pt>
          <cx:pt idx="52547">3</cx:pt>
          <cx:pt idx="52548">3</cx:pt>
          <cx:pt idx="52549">1</cx:pt>
          <cx:pt idx="52550">5</cx:pt>
          <cx:pt idx="52551">4</cx:pt>
          <cx:pt idx="52552">4</cx:pt>
          <cx:pt idx="52553">4</cx:pt>
          <cx:pt idx="52554">1</cx:pt>
          <cx:pt idx="52555">4</cx:pt>
          <cx:pt idx="52556">5</cx:pt>
          <cx:pt idx="52557">2</cx:pt>
          <cx:pt idx="52558">4</cx:pt>
          <cx:pt idx="52559">2</cx:pt>
          <cx:pt idx="52560">4</cx:pt>
          <cx:pt idx="52561">4</cx:pt>
          <cx:pt idx="52562">4</cx:pt>
          <cx:pt idx="52563">3</cx:pt>
          <cx:pt idx="52564">5</cx:pt>
          <cx:pt idx="52565">4</cx:pt>
          <cx:pt idx="52566">4</cx:pt>
          <cx:pt idx="52567">3</cx:pt>
          <cx:pt idx="52568">5</cx:pt>
          <cx:pt idx="52569">1</cx:pt>
          <cx:pt idx="52570">3</cx:pt>
          <cx:pt idx="52571">4</cx:pt>
          <cx:pt idx="52572">5</cx:pt>
          <cx:pt idx="52573">3</cx:pt>
          <cx:pt idx="52574">1</cx:pt>
          <cx:pt idx="52575">5</cx:pt>
          <cx:pt idx="52576">1</cx:pt>
          <cx:pt idx="52577">2</cx:pt>
          <cx:pt idx="52578">4</cx:pt>
          <cx:pt idx="52579">4</cx:pt>
          <cx:pt idx="52580">1</cx:pt>
          <cx:pt idx="52581">4</cx:pt>
          <cx:pt idx="52582">4</cx:pt>
          <cx:pt idx="52583">2</cx:pt>
          <cx:pt idx="52584">4</cx:pt>
          <cx:pt idx="52585">4</cx:pt>
          <cx:pt idx="52586">5</cx:pt>
          <cx:pt idx="52587">5</cx:pt>
          <cx:pt idx="52588">4</cx:pt>
          <cx:pt idx="52589">5</cx:pt>
          <cx:pt idx="52590">1</cx:pt>
          <cx:pt idx="52591">5</cx:pt>
          <cx:pt idx="52592">2</cx:pt>
          <cx:pt idx="52593">5</cx:pt>
          <cx:pt idx="52594">2</cx:pt>
          <cx:pt idx="52595">5</cx:pt>
          <cx:pt idx="52596">4</cx:pt>
          <cx:pt idx="52597">3</cx:pt>
          <cx:pt idx="52598">1</cx:pt>
          <cx:pt idx="52599">4</cx:pt>
          <cx:pt idx="52600">5</cx:pt>
          <cx:pt idx="52601">4</cx:pt>
          <cx:pt idx="52602">4</cx:pt>
          <cx:pt idx="52603">5</cx:pt>
          <cx:pt idx="52604">2</cx:pt>
          <cx:pt idx="52605">5</cx:pt>
          <cx:pt idx="52606">5</cx:pt>
          <cx:pt idx="52607">1</cx:pt>
          <cx:pt idx="52608">4</cx:pt>
          <cx:pt idx="52609">4</cx:pt>
          <cx:pt idx="52610">1</cx:pt>
          <cx:pt idx="52611">3</cx:pt>
          <cx:pt idx="52612">4</cx:pt>
          <cx:pt idx="52613">3</cx:pt>
          <cx:pt idx="52614">2</cx:pt>
          <cx:pt idx="52615">4</cx:pt>
          <cx:pt idx="52616">4</cx:pt>
          <cx:pt idx="52617">5</cx:pt>
          <cx:pt idx="52618">4</cx:pt>
          <cx:pt idx="52619">3</cx:pt>
          <cx:pt idx="52620">4</cx:pt>
          <cx:pt idx="52621">2</cx:pt>
          <cx:pt idx="52622">4</cx:pt>
          <cx:pt idx="52623">3</cx:pt>
          <cx:pt idx="52624">5</cx:pt>
          <cx:pt idx="52625">4</cx:pt>
          <cx:pt idx="52626">5</cx:pt>
          <cx:pt idx="52627">4</cx:pt>
          <cx:pt idx="52628">1</cx:pt>
          <cx:pt idx="52629">4</cx:pt>
          <cx:pt idx="52630">4</cx:pt>
          <cx:pt idx="52631">2</cx:pt>
          <cx:pt idx="52632">4</cx:pt>
          <cx:pt idx="52633">1</cx:pt>
          <cx:pt idx="52634">5</cx:pt>
          <cx:pt idx="52635">4</cx:pt>
          <cx:pt idx="52636">4</cx:pt>
          <cx:pt idx="52637">5</cx:pt>
          <cx:pt idx="52638">4</cx:pt>
          <cx:pt idx="52639">4</cx:pt>
          <cx:pt idx="52640">5</cx:pt>
          <cx:pt idx="52641">4</cx:pt>
          <cx:pt idx="52642">3</cx:pt>
          <cx:pt idx="52643">5</cx:pt>
          <cx:pt idx="52644">1</cx:pt>
          <cx:pt idx="52645">2</cx:pt>
          <cx:pt idx="52646">4</cx:pt>
          <cx:pt idx="52647">5</cx:pt>
          <cx:pt idx="52648">5</cx:pt>
          <cx:pt idx="52649">4</cx:pt>
          <cx:pt idx="52650">5</cx:pt>
          <cx:pt idx="52651">4</cx:pt>
          <cx:pt idx="52652">3</cx:pt>
          <cx:pt idx="52653">4</cx:pt>
          <cx:pt idx="52654">5</cx:pt>
          <cx:pt idx="52655">5</cx:pt>
          <cx:pt idx="52656">5</cx:pt>
          <cx:pt idx="52657">2</cx:pt>
          <cx:pt idx="52658">4</cx:pt>
          <cx:pt idx="52659">1</cx:pt>
          <cx:pt idx="52660">4</cx:pt>
          <cx:pt idx="52661">4</cx:pt>
          <cx:pt idx="52662">5</cx:pt>
          <cx:pt idx="52663">4</cx:pt>
          <cx:pt idx="52664">2</cx:pt>
          <cx:pt idx="52665">3</cx:pt>
          <cx:pt idx="52666">1</cx:pt>
          <cx:pt idx="52667">5</cx:pt>
          <cx:pt idx="52668">4</cx:pt>
          <cx:pt idx="52669">2</cx:pt>
          <cx:pt idx="52670">5</cx:pt>
          <cx:pt idx="52671">1</cx:pt>
          <cx:pt idx="52672">5</cx:pt>
          <cx:pt idx="52673">1</cx:pt>
          <cx:pt idx="52674">5</cx:pt>
          <cx:pt idx="52675">3</cx:pt>
          <cx:pt idx="52676">4</cx:pt>
          <cx:pt idx="52677">4</cx:pt>
          <cx:pt idx="52678">2</cx:pt>
          <cx:pt idx="52679">1</cx:pt>
          <cx:pt idx="52680">4</cx:pt>
          <cx:pt idx="52681">4</cx:pt>
          <cx:pt idx="52682">5</cx:pt>
          <cx:pt idx="52683">3</cx:pt>
          <cx:pt idx="52684">1</cx:pt>
          <cx:pt idx="52685">2</cx:pt>
          <cx:pt idx="52686">2</cx:pt>
          <cx:pt idx="52687">5</cx:pt>
          <cx:pt idx="52688">3</cx:pt>
          <cx:pt idx="52689">5</cx:pt>
          <cx:pt idx="52690">5</cx:pt>
          <cx:pt idx="52691">4</cx:pt>
          <cx:pt idx="52692">4</cx:pt>
          <cx:pt idx="52693">3</cx:pt>
          <cx:pt idx="52694">3</cx:pt>
          <cx:pt idx="52695">5</cx:pt>
          <cx:pt idx="52696">4</cx:pt>
          <cx:pt idx="52697">3</cx:pt>
          <cx:pt idx="52698">2</cx:pt>
          <cx:pt idx="52699">1</cx:pt>
          <cx:pt idx="52700">3</cx:pt>
          <cx:pt idx="52701">4</cx:pt>
          <cx:pt idx="52702">4</cx:pt>
          <cx:pt idx="52703">3</cx:pt>
          <cx:pt idx="52704">3</cx:pt>
          <cx:pt idx="52705">2</cx:pt>
          <cx:pt idx="52706">1</cx:pt>
          <cx:pt idx="52707">2</cx:pt>
          <cx:pt idx="52708">5</cx:pt>
          <cx:pt idx="52709">2</cx:pt>
          <cx:pt idx="52710">5</cx:pt>
          <cx:pt idx="52711">2</cx:pt>
          <cx:pt idx="52712">5</cx:pt>
          <cx:pt idx="52713">5</cx:pt>
          <cx:pt idx="52714">4</cx:pt>
          <cx:pt idx="52715">4</cx:pt>
          <cx:pt idx="52716">3</cx:pt>
          <cx:pt idx="52717">2</cx:pt>
          <cx:pt idx="52718">4</cx:pt>
          <cx:pt idx="52719">3</cx:pt>
          <cx:pt idx="52720">4</cx:pt>
          <cx:pt idx="52721">4</cx:pt>
          <cx:pt idx="52722">4</cx:pt>
          <cx:pt idx="52723">2</cx:pt>
          <cx:pt idx="52724">3</cx:pt>
          <cx:pt idx="52725">3</cx:pt>
          <cx:pt idx="52726">5</cx:pt>
          <cx:pt idx="52727">4</cx:pt>
          <cx:pt idx="52728">4</cx:pt>
          <cx:pt idx="52729">4</cx:pt>
          <cx:pt idx="52730">4</cx:pt>
          <cx:pt idx="52731">1</cx:pt>
          <cx:pt idx="52732">1</cx:pt>
          <cx:pt idx="52733">5</cx:pt>
          <cx:pt idx="52734">3</cx:pt>
          <cx:pt idx="52735">3</cx:pt>
          <cx:pt idx="52736">3</cx:pt>
          <cx:pt idx="52737">2</cx:pt>
          <cx:pt idx="52738">4</cx:pt>
          <cx:pt idx="52739">2</cx:pt>
          <cx:pt idx="52740">3</cx:pt>
          <cx:pt idx="52741">2</cx:pt>
          <cx:pt idx="52742">2</cx:pt>
          <cx:pt idx="52743">4</cx:pt>
          <cx:pt idx="52744">5</cx:pt>
          <cx:pt idx="52745">5</cx:pt>
          <cx:pt idx="52746">2</cx:pt>
          <cx:pt idx="52747">5</cx:pt>
          <cx:pt idx="52748">1</cx:pt>
          <cx:pt idx="52749">5</cx:pt>
          <cx:pt idx="52750">5</cx:pt>
          <cx:pt idx="52751">4</cx:pt>
          <cx:pt idx="52752">5</cx:pt>
          <cx:pt idx="52753">3</cx:pt>
          <cx:pt idx="52754">4</cx:pt>
          <cx:pt idx="52755">5</cx:pt>
          <cx:pt idx="52756">1</cx:pt>
          <cx:pt idx="52757">4</cx:pt>
          <cx:pt idx="52758">5</cx:pt>
          <cx:pt idx="52759">5</cx:pt>
          <cx:pt idx="52760">5</cx:pt>
          <cx:pt idx="52761">5</cx:pt>
          <cx:pt idx="52762">5</cx:pt>
          <cx:pt idx="52763">4</cx:pt>
          <cx:pt idx="52764">1</cx:pt>
          <cx:pt idx="52765">5</cx:pt>
          <cx:pt idx="52766">5</cx:pt>
          <cx:pt idx="52767">4</cx:pt>
          <cx:pt idx="52768">3</cx:pt>
          <cx:pt idx="52769">2</cx:pt>
          <cx:pt idx="52770">1</cx:pt>
          <cx:pt idx="52771">4</cx:pt>
          <cx:pt idx="52772">4</cx:pt>
          <cx:pt idx="52773">3</cx:pt>
          <cx:pt idx="52774">4</cx:pt>
          <cx:pt idx="52775">5</cx:pt>
          <cx:pt idx="52776">4</cx:pt>
          <cx:pt idx="52777">4</cx:pt>
          <cx:pt idx="52778">4</cx:pt>
          <cx:pt idx="52779">2</cx:pt>
          <cx:pt idx="52780">5</cx:pt>
          <cx:pt idx="52781">5</cx:pt>
          <cx:pt idx="52782">5</cx:pt>
          <cx:pt idx="52783">2</cx:pt>
          <cx:pt idx="52784">5</cx:pt>
          <cx:pt idx="52785">3</cx:pt>
          <cx:pt idx="52786">4</cx:pt>
          <cx:pt idx="52787">4</cx:pt>
          <cx:pt idx="52788">1</cx:pt>
          <cx:pt idx="52789">5</cx:pt>
          <cx:pt idx="52790">4</cx:pt>
          <cx:pt idx="52791">4</cx:pt>
          <cx:pt idx="52792">4</cx:pt>
          <cx:pt idx="52793">5</cx:pt>
          <cx:pt idx="52794">1</cx:pt>
          <cx:pt idx="52795">5</cx:pt>
          <cx:pt idx="52796">1</cx:pt>
          <cx:pt idx="52797">4</cx:pt>
          <cx:pt idx="52798">1</cx:pt>
          <cx:pt idx="52799">2</cx:pt>
          <cx:pt idx="52800">3</cx:pt>
          <cx:pt idx="52801">5</cx:pt>
          <cx:pt idx="52802">4</cx:pt>
          <cx:pt idx="52803">5</cx:pt>
          <cx:pt idx="52804">5</cx:pt>
          <cx:pt idx="52805">5</cx:pt>
          <cx:pt idx="52806">3</cx:pt>
          <cx:pt idx="52807">5</cx:pt>
          <cx:pt idx="52808">1</cx:pt>
          <cx:pt idx="52809">4</cx:pt>
          <cx:pt idx="52810">5</cx:pt>
          <cx:pt idx="52811">5</cx:pt>
          <cx:pt idx="52812">4</cx:pt>
          <cx:pt idx="52813">5</cx:pt>
          <cx:pt idx="52814">2</cx:pt>
          <cx:pt idx="52815">4</cx:pt>
          <cx:pt idx="52816">3</cx:pt>
          <cx:pt idx="52817">5</cx:pt>
          <cx:pt idx="52818">5</cx:pt>
          <cx:pt idx="52819">4</cx:pt>
          <cx:pt idx="52820">4</cx:pt>
          <cx:pt idx="52821">5</cx:pt>
          <cx:pt idx="52822">5</cx:pt>
          <cx:pt idx="52823">5</cx:pt>
          <cx:pt idx="52824">4</cx:pt>
          <cx:pt idx="52825">4</cx:pt>
          <cx:pt idx="52826">4</cx:pt>
          <cx:pt idx="52827">5</cx:pt>
          <cx:pt idx="52828">4</cx:pt>
          <cx:pt idx="52829">2</cx:pt>
          <cx:pt idx="52830">4</cx:pt>
          <cx:pt idx="52831">3</cx:pt>
          <cx:pt idx="52832">1</cx:pt>
          <cx:pt idx="52833">4</cx:pt>
          <cx:pt idx="52834">4</cx:pt>
          <cx:pt idx="52835">3</cx:pt>
          <cx:pt idx="52836">2</cx:pt>
          <cx:pt idx="52837">3</cx:pt>
          <cx:pt idx="52838">3</cx:pt>
          <cx:pt idx="52839">4</cx:pt>
          <cx:pt idx="52840">5</cx:pt>
          <cx:pt idx="52841">2</cx:pt>
          <cx:pt idx="52842">2</cx:pt>
          <cx:pt idx="52843">4</cx:pt>
          <cx:pt idx="52844">3</cx:pt>
          <cx:pt idx="52845">4</cx:pt>
          <cx:pt idx="52846">5</cx:pt>
          <cx:pt idx="52847">3</cx:pt>
          <cx:pt idx="52848">2</cx:pt>
          <cx:pt idx="52849">1</cx:pt>
          <cx:pt idx="52850">4</cx:pt>
          <cx:pt idx="52851">1</cx:pt>
          <cx:pt idx="52852">5</cx:pt>
          <cx:pt idx="52853">1</cx:pt>
          <cx:pt idx="52854">4</cx:pt>
          <cx:pt idx="52855">5</cx:pt>
          <cx:pt idx="52856">1</cx:pt>
          <cx:pt idx="52857">5</cx:pt>
          <cx:pt idx="52858">5</cx:pt>
          <cx:pt idx="52859">1</cx:pt>
          <cx:pt idx="52860">5</cx:pt>
          <cx:pt idx="52861">2</cx:pt>
          <cx:pt idx="52862">3</cx:pt>
          <cx:pt idx="52863">5</cx:pt>
          <cx:pt idx="52864">5</cx:pt>
          <cx:pt idx="52865">2</cx:pt>
          <cx:pt idx="52866">3</cx:pt>
          <cx:pt idx="52867">5</cx:pt>
          <cx:pt idx="52868">3</cx:pt>
          <cx:pt idx="52869">5</cx:pt>
          <cx:pt idx="52870">2</cx:pt>
          <cx:pt idx="52871">5</cx:pt>
          <cx:pt idx="52872">2</cx:pt>
          <cx:pt idx="52873">5</cx:pt>
          <cx:pt idx="52874">4</cx:pt>
          <cx:pt idx="52875">3</cx:pt>
          <cx:pt idx="52876">1</cx:pt>
          <cx:pt idx="52877">3</cx:pt>
          <cx:pt idx="52878">4</cx:pt>
          <cx:pt idx="52879">3</cx:pt>
          <cx:pt idx="52880">4</cx:pt>
          <cx:pt idx="52881">5</cx:pt>
          <cx:pt idx="52882">5</cx:pt>
          <cx:pt idx="52883">1</cx:pt>
          <cx:pt idx="52884">4</cx:pt>
          <cx:pt idx="52885">5</cx:pt>
          <cx:pt idx="52886">3</cx:pt>
          <cx:pt idx="52887">3</cx:pt>
          <cx:pt idx="52888">4</cx:pt>
          <cx:pt idx="52889">5</cx:pt>
          <cx:pt idx="52890">2</cx:pt>
          <cx:pt idx="52891">2</cx:pt>
          <cx:pt idx="52892">5</cx:pt>
          <cx:pt idx="52893">5</cx:pt>
          <cx:pt idx="52894">4</cx:pt>
          <cx:pt idx="52895">4</cx:pt>
          <cx:pt idx="52896">4</cx:pt>
          <cx:pt idx="52897">4</cx:pt>
          <cx:pt idx="52898">3</cx:pt>
          <cx:pt idx="52899">2</cx:pt>
          <cx:pt idx="52900">3</cx:pt>
          <cx:pt idx="52901">5</cx:pt>
          <cx:pt idx="52902">2</cx:pt>
          <cx:pt idx="52903">3</cx:pt>
          <cx:pt idx="52904">5</cx:pt>
          <cx:pt idx="52905">5</cx:pt>
          <cx:pt idx="52906">4</cx:pt>
          <cx:pt idx="52907">4</cx:pt>
          <cx:pt idx="52908">5</cx:pt>
          <cx:pt idx="52909">2</cx:pt>
          <cx:pt idx="52910">3</cx:pt>
          <cx:pt idx="52911">4</cx:pt>
          <cx:pt idx="52912">3</cx:pt>
          <cx:pt idx="52913">4</cx:pt>
          <cx:pt idx="52914">5</cx:pt>
          <cx:pt idx="52915">3</cx:pt>
          <cx:pt idx="52916">4</cx:pt>
          <cx:pt idx="52917">2</cx:pt>
          <cx:pt idx="52918">5</cx:pt>
          <cx:pt idx="52919">2</cx:pt>
          <cx:pt idx="52920">1</cx:pt>
          <cx:pt idx="52921">5</cx:pt>
          <cx:pt idx="52922">2</cx:pt>
          <cx:pt idx="52923">5</cx:pt>
          <cx:pt idx="52924">4</cx:pt>
          <cx:pt idx="52925">4</cx:pt>
          <cx:pt idx="52926">2</cx:pt>
          <cx:pt idx="52927">4</cx:pt>
          <cx:pt idx="52928">3</cx:pt>
          <cx:pt idx="52929">3</cx:pt>
          <cx:pt idx="52930">4</cx:pt>
          <cx:pt idx="52931">4</cx:pt>
          <cx:pt idx="52932">2</cx:pt>
          <cx:pt idx="52933">4</cx:pt>
          <cx:pt idx="52934">4</cx:pt>
          <cx:pt idx="52935">3</cx:pt>
          <cx:pt idx="52936">5</cx:pt>
          <cx:pt idx="52937">4</cx:pt>
          <cx:pt idx="52938">5</cx:pt>
          <cx:pt idx="52939">2</cx:pt>
          <cx:pt idx="52940">2</cx:pt>
          <cx:pt idx="52941">2</cx:pt>
          <cx:pt idx="52942">4</cx:pt>
          <cx:pt idx="52943">2</cx:pt>
          <cx:pt idx="52944">4</cx:pt>
          <cx:pt idx="52945">5</cx:pt>
          <cx:pt idx="52946">5</cx:pt>
          <cx:pt idx="52947">5</cx:pt>
          <cx:pt idx="52948">4</cx:pt>
          <cx:pt idx="52949">5</cx:pt>
          <cx:pt idx="52950">5</cx:pt>
          <cx:pt idx="52951">5</cx:pt>
          <cx:pt idx="52952">4</cx:pt>
          <cx:pt idx="52953">1</cx:pt>
          <cx:pt idx="52954">5</cx:pt>
          <cx:pt idx="52955">5</cx:pt>
          <cx:pt idx="52956">4</cx:pt>
          <cx:pt idx="52957">4</cx:pt>
          <cx:pt idx="52958">5</cx:pt>
          <cx:pt idx="52959">3</cx:pt>
          <cx:pt idx="52960">3</cx:pt>
          <cx:pt idx="52961">3</cx:pt>
          <cx:pt idx="52962">5</cx:pt>
          <cx:pt idx="52963">4</cx:pt>
          <cx:pt idx="52964">4</cx:pt>
          <cx:pt idx="52965">4</cx:pt>
          <cx:pt idx="52966">5</cx:pt>
          <cx:pt idx="52967">3</cx:pt>
          <cx:pt idx="52968">1</cx:pt>
          <cx:pt idx="52969">3</cx:pt>
          <cx:pt idx="52970">5</cx:pt>
          <cx:pt idx="52971">4</cx:pt>
          <cx:pt idx="52972">3</cx:pt>
          <cx:pt idx="52973">3</cx:pt>
          <cx:pt idx="52974">5</cx:pt>
          <cx:pt idx="52975">4</cx:pt>
          <cx:pt idx="52976">3</cx:pt>
          <cx:pt idx="52977">5</cx:pt>
          <cx:pt idx="52978">2</cx:pt>
          <cx:pt idx="52979">4</cx:pt>
          <cx:pt idx="52980">1</cx:pt>
          <cx:pt idx="52981">2</cx:pt>
          <cx:pt idx="52982">3</cx:pt>
          <cx:pt idx="52983">5</cx:pt>
          <cx:pt idx="52984">5</cx:pt>
          <cx:pt idx="52985">5</cx:pt>
          <cx:pt idx="52986">4</cx:pt>
          <cx:pt idx="52987">1</cx:pt>
          <cx:pt idx="52988">4</cx:pt>
          <cx:pt idx="52989">5</cx:pt>
          <cx:pt idx="52990">5</cx:pt>
          <cx:pt idx="52991">4</cx:pt>
          <cx:pt idx="52992">1</cx:pt>
          <cx:pt idx="52993">3</cx:pt>
          <cx:pt idx="52994">4</cx:pt>
          <cx:pt idx="52995">3</cx:pt>
          <cx:pt idx="52996">3</cx:pt>
          <cx:pt idx="52997">2</cx:pt>
          <cx:pt idx="52998">5</cx:pt>
          <cx:pt idx="52999">1</cx:pt>
          <cx:pt idx="53000">5</cx:pt>
          <cx:pt idx="53001">4</cx:pt>
          <cx:pt idx="53002">2</cx:pt>
          <cx:pt idx="53003">2</cx:pt>
          <cx:pt idx="53004">5</cx:pt>
          <cx:pt idx="53005">3</cx:pt>
          <cx:pt idx="53006">3</cx:pt>
          <cx:pt idx="53007">5</cx:pt>
          <cx:pt idx="53008">2</cx:pt>
          <cx:pt idx="53009">1</cx:pt>
          <cx:pt idx="53010">4</cx:pt>
          <cx:pt idx="53011">3</cx:pt>
          <cx:pt idx="53012">4</cx:pt>
          <cx:pt idx="53013">5</cx:pt>
          <cx:pt idx="53014">2</cx:pt>
          <cx:pt idx="53015">5</cx:pt>
          <cx:pt idx="53016">4</cx:pt>
          <cx:pt idx="53017">5</cx:pt>
          <cx:pt idx="53018">3</cx:pt>
          <cx:pt idx="53019">4</cx:pt>
          <cx:pt idx="53020">4</cx:pt>
          <cx:pt idx="53021">5</cx:pt>
          <cx:pt idx="53022">4</cx:pt>
          <cx:pt idx="53023">2</cx:pt>
          <cx:pt idx="53024">4</cx:pt>
          <cx:pt idx="53025">2</cx:pt>
          <cx:pt idx="53026">5</cx:pt>
          <cx:pt idx="53027">5</cx:pt>
          <cx:pt idx="53028">1</cx:pt>
          <cx:pt idx="53029">1</cx:pt>
          <cx:pt idx="53030">1</cx:pt>
          <cx:pt idx="53031">2</cx:pt>
          <cx:pt idx="53032">5</cx:pt>
          <cx:pt idx="53033">4</cx:pt>
          <cx:pt idx="53034">5</cx:pt>
          <cx:pt idx="53035">3</cx:pt>
          <cx:pt idx="53036">4</cx:pt>
          <cx:pt idx="53037">3</cx:pt>
          <cx:pt idx="53038">3</cx:pt>
          <cx:pt idx="53039">1</cx:pt>
          <cx:pt idx="53040">5</cx:pt>
          <cx:pt idx="53041">4</cx:pt>
          <cx:pt idx="53042">3</cx:pt>
          <cx:pt idx="53043">4</cx:pt>
          <cx:pt idx="53044">1</cx:pt>
          <cx:pt idx="53045">5</cx:pt>
          <cx:pt idx="53046">4</cx:pt>
          <cx:pt idx="53047">3</cx:pt>
          <cx:pt idx="53048">3</cx:pt>
          <cx:pt idx="53049">5</cx:pt>
          <cx:pt idx="53050">2</cx:pt>
          <cx:pt idx="53051">4</cx:pt>
          <cx:pt idx="53052">5</cx:pt>
          <cx:pt idx="53053">5</cx:pt>
          <cx:pt idx="53054">4</cx:pt>
          <cx:pt idx="53055">4</cx:pt>
          <cx:pt idx="53056">4</cx:pt>
          <cx:pt idx="53057">1</cx:pt>
          <cx:pt idx="53058">4</cx:pt>
          <cx:pt idx="53059">3</cx:pt>
          <cx:pt idx="53060">5</cx:pt>
          <cx:pt idx="53061">5</cx:pt>
          <cx:pt idx="53062">4</cx:pt>
          <cx:pt idx="53063">1</cx:pt>
          <cx:pt idx="53064">5</cx:pt>
          <cx:pt idx="53065">4</cx:pt>
          <cx:pt idx="53066">4</cx:pt>
          <cx:pt idx="53067">4</cx:pt>
          <cx:pt idx="53068">5</cx:pt>
          <cx:pt idx="53069">5</cx:pt>
          <cx:pt idx="53070">4</cx:pt>
          <cx:pt idx="53071">1</cx:pt>
          <cx:pt idx="53072">2</cx:pt>
          <cx:pt idx="53073">2</cx:pt>
          <cx:pt idx="53074">5</cx:pt>
          <cx:pt idx="53075">4</cx:pt>
          <cx:pt idx="53076">1</cx:pt>
          <cx:pt idx="53077">2</cx:pt>
          <cx:pt idx="53078">5</cx:pt>
          <cx:pt idx="53079">5</cx:pt>
          <cx:pt idx="53080">2</cx:pt>
          <cx:pt idx="53081">3</cx:pt>
          <cx:pt idx="53082">2</cx:pt>
          <cx:pt idx="53083">4</cx:pt>
          <cx:pt idx="53084">1</cx:pt>
          <cx:pt idx="53085">4</cx:pt>
          <cx:pt idx="53086">5</cx:pt>
          <cx:pt idx="53087">2</cx:pt>
          <cx:pt idx="53088">5</cx:pt>
          <cx:pt idx="53089">4</cx:pt>
          <cx:pt idx="53090">4</cx:pt>
          <cx:pt idx="53091">4</cx:pt>
          <cx:pt idx="53092">3</cx:pt>
          <cx:pt idx="53093">2</cx:pt>
          <cx:pt idx="53094">3</cx:pt>
          <cx:pt idx="53095">3</cx:pt>
          <cx:pt idx="53096">2</cx:pt>
          <cx:pt idx="53097">4</cx:pt>
          <cx:pt idx="53098">1</cx:pt>
          <cx:pt idx="53099">5</cx:pt>
          <cx:pt idx="53100">2</cx:pt>
          <cx:pt idx="53101">2</cx:pt>
          <cx:pt idx="53102">2</cx:pt>
          <cx:pt idx="53103">5</cx:pt>
          <cx:pt idx="53104">5</cx:pt>
          <cx:pt idx="53105">4</cx:pt>
          <cx:pt idx="53106">5</cx:pt>
          <cx:pt idx="53107">4</cx:pt>
          <cx:pt idx="53108">4</cx:pt>
          <cx:pt idx="53109">4</cx:pt>
          <cx:pt idx="53110">5</cx:pt>
          <cx:pt idx="53111">4</cx:pt>
          <cx:pt idx="53112">4</cx:pt>
          <cx:pt idx="53113">3</cx:pt>
          <cx:pt idx="53114">2</cx:pt>
          <cx:pt idx="53115">2</cx:pt>
          <cx:pt idx="53116">5</cx:pt>
          <cx:pt idx="53117">1</cx:pt>
          <cx:pt idx="53118">5</cx:pt>
          <cx:pt idx="53119">5</cx:pt>
          <cx:pt idx="53120">5</cx:pt>
          <cx:pt idx="53121">5</cx:pt>
          <cx:pt idx="53122">2</cx:pt>
          <cx:pt idx="53123">1</cx:pt>
          <cx:pt idx="53124">5</cx:pt>
          <cx:pt idx="53125">4</cx:pt>
          <cx:pt idx="53126">4</cx:pt>
          <cx:pt idx="53127">2</cx:pt>
          <cx:pt idx="53128">2</cx:pt>
          <cx:pt idx="53129">5</cx:pt>
          <cx:pt idx="53130">4</cx:pt>
          <cx:pt idx="53131">5</cx:pt>
          <cx:pt idx="53132">5</cx:pt>
          <cx:pt idx="53133">4</cx:pt>
          <cx:pt idx="53134">4</cx:pt>
          <cx:pt idx="53135">4</cx:pt>
          <cx:pt idx="53136">4</cx:pt>
          <cx:pt idx="53137">5</cx:pt>
          <cx:pt idx="53138">5</cx:pt>
          <cx:pt idx="53139">5</cx:pt>
          <cx:pt idx="53140">5</cx:pt>
          <cx:pt idx="53141">5</cx:pt>
          <cx:pt idx="53142">3</cx:pt>
          <cx:pt idx="53143">4</cx:pt>
          <cx:pt idx="53144">1</cx:pt>
          <cx:pt idx="53145">5</cx:pt>
          <cx:pt idx="53146">5</cx:pt>
          <cx:pt idx="53147">2</cx:pt>
          <cx:pt idx="53148">2</cx:pt>
          <cx:pt idx="53149">5</cx:pt>
          <cx:pt idx="53150">4</cx:pt>
          <cx:pt idx="53151">4</cx:pt>
          <cx:pt idx="53152">3</cx:pt>
          <cx:pt idx="53153">3</cx:pt>
          <cx:pt idx="53154">3</cx:pt>
          <cx:pt idx="53155">5</cx:pt>
          <cx:pt idx="53156">3</cx:pt>
          <cx:pt idx="53157">5</cx:pt>
          <cx:pt idx="53158">3</cx:pt>
          <cx:pt idx="53159">1</cx:pt>
          <cx:pt idx="53160">4</cx:pt>
          <cx:pt idx="53161">5</cx:pt>
          <cx:pt idx="53162">1</cx:pt>
          <cx:pt idx="53163">5</cx:pt>
          <cx:pt idx="53164">4</cx:pt>
          <cx:pt idx="53165">4</cx:pt>
          <cx:pt idx="53166">5</cx:pt>
          <cx:pt idx="53167">3</cx:pt>
          <cx:pt idx="53168">5</cx:pt>
          <cx:pt idx="53169">4</cx:pt>
          <cx:pt idx="53170">2</cx:pt>
          <cx:pt idx="53171">5</cx:pt>
          <cx:pt idx="53172">3</cx:pt>
          <cx:pt idx="53173">5</cx:pt>
          <cx:pt idx="53174">4</cx:pt>
          <cx:pt idx="53175">4</cx:pt>
          <cx:pt idx="53176">5</cx:pt>
          <cx:pt idx="53177">5</cx:pt>
          <cx:pt idx="53178">4</cx:pt>
          <cx:pt idx="53179">4</cx:pt>
          <cx:pt idx="53180">2</cx:pt>
          <cx:pt idx="53181">4</cx:pt>
          <cx:pt idx="53182">4</cx:pt>
          <cx:pt idx="53183">2</cx:pt>
          <cx:pt idx="53184">3</cx:pt>
          <cx:pt idx="53185">4</cx:pt>
          <cx:pt idx="53186">3</cx:pt>
          <cx:pt idx="53187">1</cx:pt>
          <cx:pt idx="53188">4</cx:pt>
          <cx:pt idx="53189">5</cx:pt>
          <cx:pt idx="53190">1</cx:pt>
          <cx:pt idx="53191">5</cx:pt>
          <cx:pt idx="53192">1</cx:pt>
          <cx:pt idx="53193">3</cx:pt>
          <cx:pt idx="53194">5</cx:pt>
          <cx:pt idx="53195">4</cx:pt>
          <cx:pt idx="53196">5</cx:pt>
          <cx:pt idx="53197">4</cx:pt>
          <cx:pt idx="53198">1</cx:pt>
          <cx:pt idx="53199">5</cx:pt>
          <cx:pt idx="53200">1</cx:pt>
          <cx:pt idx="53201">1</cx:pt>
          <cx:pt idx="53202">5</cx:pt>
          <cx:pt idx="53203">1</cx:pt>
          <cx:pt idx="53204">1</cx:pt>
          <cx:pt idx="53205">5</cx:pt>
          <cx:pt idx="53206">5</cx:pt>
          <cx:pt idx="53207">3</cx:pt>
          <cx:pt idx="53208">5</cx:pt>
          <cx:pt idx="53209">4</cx:pt>
          <cx:pt idx="53210">5</cx:pt>
          <cx:pt idx="53211">2</cx:pt>
          <cx:pt idx="53212">2</cx:pt>
          <cx:pt idx="53213">5</cx:pt>
          <cx:pt idx="53214">4</cx:pt>
          <cx:pt idx="53215">4</cx:pt>
          <cx:pt idx="53216">1</cx:pt>
          <cx:pt idx="53217">4</cx:pt>
          <cx:pt idx="53218">1</cx:pt>
          <cx:pt idx="53219">3</cx:pt>
          <cx:pt idx="53220">3</cx:pt>
          <cx:pt idx="53221">4</cx:pt>
          <cx:pt idx="53222">1</cx:pt>
          <cx:pt idx="53223">4</cx:pt>
          <cx:pt idx="53224">5</cx:pt>
          <cx:pt idx="53225">5</cx:pt>
          <cx:pt idx="53226">5</cx:pt>
          <cx:pt idx="53227">2</cx:pt>
          <cx:pt idx="53228">3</cx:pt>
          <cx:pt idx="53229">3</cx:pt>
          <cx:pt idx="53230">1</cx:pt>
          <cx:pt idx="53231">5</cx:pt>
          <cx:pt idx="53232">5</cx:pt>
          <cx:pt idx="53233">1</cx:pt>
          <cx:pt idx="53234">4</cx:pt>
          <cx:pt idx="53235">4</cx:pt>
          <cx:pt idx="53236">4</cx:pt>
          <cx:pt idx="53237">5</cx:pt>
          <cx:pt idx="53238">4</cx:pt>
          <cx:pt idx="53239">4</cx:pt>
          <cx:pt idx="53240">5</cx:pt>
          <cx:pt idx="53241">5</cx:pt>
          <cx:pt idx="53242">2</cx:pt>
          <cx:pt idx="53243">3</cx:pt>
          <cx:pt idx="53244">2</cx:pt>
          <cx:pt idx="53245">4</cx:pt>
          <cx:pt idx="53246">5</cx:pt>
          <cx:pt idx="53247">4</cx:pt>
          <cx:pt idx="53248">5</cx:pt>
          <cx:pt idx="53249">1</cx:pt>
          <cx:pt idx="53250">4</cx:pt>
          <cx:pt idx="53251">5</cx:pt>
          <cx:pt idx="53252">1</cx:pt>
          <cx:pt idx="53253">3</cx:pt>
          <cx:pt idx="53254">3</cx:pt>
          <cx:pt idx="53255">5</cx:pt>
          <cx:pt idx="53256">2</cx:pt>
          <cx:pt idx="53257">5</cx:pt>
          <cx:pt idx="53258">4</cx:pt>
          <cx:pt idx="53259">3</cx:pt>
          <cx:pt idx="53260">1</cx:pt>
          <cx:pt idx="53261">3</cx:pt>
          <cx:pt idx="53262">1</cx:pt>
          <cx:pt idx="53263">3</cx:pt>
          <cx:pt idx="53264">5</cx:pt>
          <cx:pt idx="53265">5</cx:pt>
          <cx:pt idx="53266">4</cx:pt>
          <cx:pt idx="53267">5</cx:pt>
          <cx:pt idx="53268">2</cx:pt>
          <cx:pt idx="53269">2</cx:pt>
          <cx:pt idx="53270">4</cx:pt>
          <cx:pt idx="53271">3</cx:pt>
          <cx:pt idx="53272">1</cx:pt>
          <cx:pt idx="53273">3</cx:pt>
          <cx:pt idx="53274">5</cx:pt>
          <cx:pt idx="53275">2</cx:pt>
          <cx:pt idx="53276">4</cx:pt>
          <cx:pt idx="53277">3</cx:pt>
          <cx:pt idx="53278">2</cx:pt>
          <cx:pt idx="53279">2</cx:pt>
          <cx:pt idx="53280">4</cx:pt>
          <cx:pt idx="53281">5</cx:pt>
          <cx:pt idx="53282">3</cx:pt>
          <cx:pt idx="53283">4</cx:pt>
          <cx:pt idx="53284">2</cx:pt>
          <cx:pt idx="53285">2</cx:pt>
          <cx:pt idx="53286">5</cx:pt>
          <cx:pt idx="53287">5</cx:pt>
          <cx:pt idx="53288">2</cx:pt>
          <cx:pt idx="53289">3</cx:pt>
          <cx:pt idx="53290">5</cx:pt>
          <cx:pt idx="53291">5</cx:pt>
          <cx:pt idx="53292">1</cx:pt>
          <cx:pt idx="53293">3</cx:pt>
          <cx:pt idx="53294">4</cx:pt>
          <cx:pt idx="53295">4</cx:pt>
          <cx:pt idx="53296">4</cx:pt>
          <cx:pt idx="53297">3</cx:pt>
          <cx:pt idx="53298">4</cx:pt>
          <cx:pt idx="53299">4</cx:pt>
          <cx:pt idx="53300">1</cx:pt>
          <cx:pt idx="53301">1</cx:pt>
          <cx:pt idx="53302">4</cx:pt>
          <cx:pt idx="53303">2</cx:pt>
          <cx:pt idx="53304">2</cx:pt>
          <cx:pt idx="53305">2</cx:pt>
          <cx:pt idx="53306">1</cx:pt>
          <cx:pt idx="53307">5</cx:pt>
          <cx:pt idx="53308">5</cx:pt>
          <cx:pt idx="53309">4</cx:pt>
          <cx:pt idx="53310">4</cx:pt>
          <cx:pt idx="53311">4</cx:pt>
          <cx:pt idx="53312">5</cx:pt>
          <cx:pt idx="53313">4</cx:pt>
          <cx:pt idx="53314">1</cx:pt>
          <cx:pt idx="53315">5</cx:pt>
          <cx:pt idx="53316">4</cx:pt>
          <cx:pt idx="53317">2</cx:pt>
          <cx:pt idx="53318">1</cx:pt>
          <cx:pt idx="53319">2</cx:pt>
          <cx:pt idx="53320">4</cx:pt>
          <cx:pt idx="53321">5</cx:pt>
          <cx:pt idx="53322">5</cx:pt>
          <cx:pt idx="53323">4</cx:pt>
          <cx:pt idx="53324">4</cx:pt>
          <cx:pt idx="53325">4</cx:pt>
          <cx:pt idx="53326">5</cx:pt>
          <cx:pt idx="53327">4</cx:pt>
          <cx:pt idx="53328">2</cx:pt>
          <cx:pt idx="53329">4</cx:pt>
          <cx:pt idx="53330">3</cx:pt>
          <cx:pt idx="53331">4</cx:pt>
          <cx:pt idx="53332">4</cx:pt>
          <cx:pt idx="53333">1</cx:pt>
          <cx:pt idx="53334">4</cx:pt>
          <cx:pt idx="53335">1</cx:pt>
          <cx:pt idx="53336">1</cx:pt>
          <cx:pt idx="53337">2</cx:pt>
          <cx:pt idx="53338">5</cx:pt>
          <cx:pt idx="53339">5</cx:pt>
          <cx:pt idx="53340">5</cx:pt>
          <cx:pt idx="53341">4</cx:pt>
          <cx:pt idx="53342">5</cx:pt>
          <cx:pt idx="53343">5</cx:pt>
          <cx:pt idx="53344">4</cx:pt>
          <cx:pt idx="53345">4</cx:pt>
          <cx:pt idx="53346">4</cx:pt>
          <cx:pt idx="53347">4</cx:pt>
          <cx:pt idx="53348">1</cx:pt>
          <cx:pt idx="53349">1</cx:pt>
          <cx:pt idx="53350">5</cx:pt>
          <cx:pt idx="53351">5</cx:pt>
          <cx:pt idx="53352">2</cx:pt>
          <cx:pt idx="53353">4</cx:pt>
          <cx:pt idx="53354">1</cx:pt>
          <cx:pt idx="53355">4</cx:pt>
          <cx:pt idx="53356">4</cx:pt>
          <cx:pt idx="53357">3</cx:pt>
          <cx:pt idx="53358">4</cx:pt>
          <cx:pt idx="53359">3</cx:pt>
          <cx:pt idx="53360">4</cx:pt>
          <cx:pt idx="53361">4</cx:pt>
          <cx:pt idx="53362">1</cx:pt>
          <cx:pt idx="53363">5</cx:pt>
          <cx:pt idx="53364">4</cx:pt>
          <cx:pt idx="53365">1</cx:pt>
          <cx:pt idx="53366">3</cx:pt>
          <cx:pt idx="53367">4</cx:pt>
          <cx:pt idx="53368">1</cx:pt>
          <cx:pt idx="53369">4</cx:pt>
          <cx:pt idx="53370">4</cx:pt>
          <cx:pt idx="53371">1</cx:pt>
          <cx:pt idx="53372">1</cx:pt>
          <cx:pt idx="53373">1</cx:pt>
          <cx:pt idx="53374">5</cx:pt>
          <cx:pt idx="53375">5</cx:pt>
          <cx:pt idx="53376">3</cx:pt>
          <cx:pt idx="53377">2</cx:pt>
          <cx:pt idx="53378">5</cx:pt>
          <cx:pt idx="53379">1</cx:pt>
          <cx:pt idx="53380">3</cx:pt>
          <cx:pt idx="53381">1</cx:pt>
          <cx:pt idx="53382">3</cx:pt>
          <cx:pt idx="53383">5</cx:pt>
          <cx:pt idx="53384">3</cx:pt>
          <cx:pt idx="53385">3</cx:pt>
          <cx:pt idx="53386">4</cx:pt>
          <cx:pt idx="53387">3</cx:pt>
          <cx:pt idx="53388">3</cx:pt>
          <cx:pt idx="53389">3</cx:pt>
          <cx:pt idx="53390">1</cx:pt>
          <cx:pt idx="53391">5</cx:pt>
          <cx:pt idx="53392">2</cx:pt>
          <cx:pt idx="53393">2</cx:pt>
          <cx:pt idx="53394">5</cx:pt>
          <cx:pt idx="53395">5</cx:pt>
          <cx:pt idx="53396">3</cx:pt>
          <cx:pt idx="53397">1</cx:pt>
          <cx:pt idx="53398">4</cx:pt>
          <cx:pt idx="53399">2</cx:pt>
          <cx:pt idx="53400">1</cx:pt>
          <cx:pt idx="53401">5</cx:pt>
          <cx:pt idx="53402">4</cx:pt>
          <cx:pt idx="53403">2</cx:pt>
          <cx:pt idx="53404">4</cx:pt>
          <cx:pt idx="53405">4</cx:pt>
          <cx:pt idx="53406">5</cx:pt>
          <cx:pt idx="53407">3</cx:pt>
          <cx:pt idx="53408">4</cx:pt>
          <cx:pt idx="53409">2</cx:pt>
          <cx:pt idx="53410">5</cx:pt>
          <cx:pt idx="53411">2</cx:pt>
          <cx:pt idx="53412">3</cx:pt>
          <cx:pt idx="53413">4</cx:pt>
          <cx:pt idx="53414">2</cx:pt>
          <cx:pt idx="53415">5</cx:pt>
          <cx:pt idx="53416">5</cx:pt>
          <cx:pt idx="53417">3</cx:pt>
          <cx:pt idx="53418">2</cx:pt>
          <cx:pt idx="53419">3</cx:pt>
          <cx:pt idx="53420">4</cx:pt>
          <cx:pt idx="53421">4</cx:pt>
          <cx:pt idx="53422">4</cx:pt>
          <cx:pt idx="53423">2</cx:pt>
          <cx:pt idx="53424">1</cx:pt>
          <cx:pt idx="53425">1</cx:pt>
          <cx:pt idx="53426">5</cx:pt>
          <cx:pt idx="53427">2</cx:pt>
          <cx:pt idx="53428">4</cx:pt>
          <cx:pt idx="53429">2</cx:pt>
          <cx:pt idx="53430">2</cx:pt>
          <cx:pt idx="53431">5</cx:pt>
          <cx:pt idx="53432">3</cx:pt>
          <cx:pt idx="53433">5</cx:pt>
          <cx:pt idx="53434">4</cx:pt>
          <cx:pt idx="53435">4</cx:pt>
          <cx:pt idx="53436">4</cx:pt>
          <cx:pt idx="53437">2</cx:pt>
          <cx:pt idx="53438">5</cx:pt>
          <cx:pt idx="53439">4</cx:pt>
          <cx:pt idx="53440">4</cx:pt>
          <cx:pt idx="53441">3</cx:pt>
          <cx:pt idx="53442">4</cx:pt>
          <cx:pt idx="53443">5</cx:pt>
          <cx:pt idx="53444">5</cx:pt>
          <cx:pt idx="53445">2</cx:pt>
          <cx:pt idx="53446">5</cx:pt>
          <cx:pt idx="53447">5</cx:pt>
          <cx:pt idx="53448">5</cx:pt>
          <cx:pt idx="53449">4</cx:pt>
          <cx:pt idx="53450">4</cx:pt>
          <cx:pt idx="53451">4</cx:pt>
          <cx:pt idx="53452">5</cx:pt>
          <cx:pt idx="53453">1</cx:pt>
          <cx:pt idx="53454">2</cx:pt>
          <cx:pt idx="53455">5</cx:pt>
          <cx:pt idx="53456">5</cx:pt>
          <cx:pt idx="53457">4</cx:pt>
          <cx:pt idx="53458">3</cx:pt>
          <cx:pt idx="53459">3</cx:pt>
          <cx:pt idx="53460">4</cx:pt>
          <cx:pt idx="53461">4</cx:pt>
          <cx:pt idx="53462">4</cx:pt>
          <cx:pt idx="53463">3</cx:pt>
          <cx:pt idx="53464">3</cx:pt>
          <cx:pt idx="53465">4</cx:pt>
          <cx:pt idx="53466">1</cx:pt>
          <cx:pt idx="53467">2</cx:pt>
          <cx:pt idx="53468">4</cx:pt>
          <cx:pt idx="53469">2</cx:pt>
          <cx:pt idx="53470">4</cx:pt>
          <cx:pt idx="53471">5</cx:pt>
          <cx:pt idx="53472">4</cx:pt>
          <cx:pt idx="53473">2</cx:pt>
          <cx:pt idx="53474">5</cx:pt>
          <cx:pt idx="53475">5</cx:pt>
          <cx:pt idx="53476">3</cx:pt>
          <cx:pt idx="53477">3</cx:pt>
          <cx:pt idx="53478">2</cx:pt>
          <cx:pt idx="53479">5</cx:pt>
          <cx:pt idx="53480">3</cx:pt>
          <cx:pt idx="53481">4</cx:pt>
          <cx:pt idx="53482">4</cx:pt>
          <cx:pt idx="53483">3</cx:pt>
          <cx:pt idx="53484">4</cx:pt>
          <cx:pt idx="53485">2</cx:pt>
          <cx:pt idx="53486">5</cx:pt>
          <cx:pt idx="53487">2</cx:pt>
          <cx:pt idx="53488">5</cx:pt>
          <cx:pt idx="53489">5</cx:pt>
          <cx:pt idx="53490">4</cx:pt>
          <cx:pt idx="53491">1</cx:pt>
          <cx:pt idx="53492">2</cx:pt>
          <cx:pt idx="53493">3</cx:pt>
          <cx:pt idx="53494">4</cx:pt>
          <cx:pt idx="53495">3</cx:pt>
          <cx:pt idx="53496">1</cx:pt>
          <cx:pt idx="53497">4</cx:pt>
          <cx:pt idx="53498">5</cx:pt>
          <cx:pt idx="53499">3</cx:pt>
          <cx:pt idx="53500">5</cx:pt>
          <cx:pt idx="53501">5</cx:pt>
          <cx:pt idx="53502">2</cx:pt>
          <cx:pt idx="53503">4</cx:pt>
          <cx:pt idx="53504">5</cx:pt>
          <cx:pt idx="53505">2</cx:pt>
          <cx:pt idx="53506">4</cx:pt>
          <cx:pt idx="53507">5</cx:pt>
          <cx:pt idx="53508">4</cx:pt>
          <cx:pt idx="53509">5</cx:pt>
          <cx:pt idx="53510">4</cx:pt>
          <cx:pt idx="53511">4</cx:pt>
          <cx:pt idx="53512">5</cx:pt>
          <cx:pt idx="53513">3</cx:pt>
          <cx:pt idx="53514">5</cx:pt>
          <cx:pt idx="53515">5</cx:pt>
          <cx:pt idx="53516">5</cx:pt>
          <cx:pt idx="53517">2</cx:pt>
          <cx:pt idx="53518">5</cx:pt>
          <cx:pt idx="53519">4</cx:pt>
          <cx:pt idx="53520">4</cx:pt>
          <cx:pt idx="53521">3</cx:pt>
          <cx:pt idx="53522">5</cx:pt>
          <cx:pt idx="53523">3</cx:pt>
          <cx:pt idx="53524">3</cx:pt>
          <cx:pt idx="53525">5</cx:pt>
          <cx:pt idx="53526">5</cx:pt>
          <cx:pt idx="53527">4</cx:pt>
          <cx:pt idx="53528">4</cx:pt>
          <cx:pt idx="53529">3</cx:pt>
          <cx:pt idx="53530">3</cx:pt>
          <cx:pt idx="53531">5</cx:pt>
          <cx:pt idx="53532">1</cx:pt>
          <cx:pt idx="53533">4</cx:pt>
          <cx:pt idx="53534">3</cx:pt>
          <cx:pt idx="53535">1</cx:pt>
          <cx:pt idx="53536">4</cx:pt>
          <cx:pt idx="53537">4</cx:pt>
          <cx:pt idx="53538">3</cx:pt>
          <cx:pt idx="53539">5</cx:pt>
          <cx:pt idx="53540">1</cx:pt>
          <cx:pt idx="53541">2</cx:pt>
          <cx:pt idx="53542">3</cx:pt>
          <cx:pt idx="53543">3</cx:pt>
          <cx:pt idx="53544">3</cx:pt>
          <cx:pt idx="53545">2</cx:pt>
          <cx:pt idx="53546">5</cx:pt>
          <cx:pt idx="53547">5</cx:pt>
          <cx:pt idx="53548">4</cx:pt>
          <cx:pt idx="53549">4</cx:pt>
          <cx:pt idx="53550">1</cx:pt>
          <cx:pt idx="53551">1</cx:pt>
          <cx:pt idx="53552">4</cx:pt>
          <cx:pt idx="53553">5</cx:pt>
          <cx:pt idx="53554">4</cx:pt>
          <cx:pt idx="53555">5</cx:pt>
          <cx:pt idx="53556">4</cx:pt>
          <cx:pt idx="53557">2</cx:pt>
          <cx:pt idx="53558">5</cx:pt>
          <cx:pt idx="53559">3</cx:pt>
          <cx:pt idx="53560">1</cx:pt>
          <cx:pt idx="53561">5</cx:pt>
          <cx:pt idx="53562">5</cx:pt>
          <cx:pt idx="53563">5</cx:pt>
          <cx:pt idx="53564">2</cx:pt>
          <cx:pt idx="53565">4</cx:pt>
          <cx:pt idx="53566">2</cx:pt>
          <cx:pt idx="53567">2</cx:pt>
          <cx:pt idx="53568">4</cx:pt>
          <cx:pt idx="53569">2</cx:pt>
          <cx:pt idx="53570">1</cx:pt>
          <cx:pt idx="53571">5</cx:pt>
          <cx:pt idx="53572">3</cx:pt>
          <cx:pt idx="53573">5</cx:pt>
          <cx:pt idx="53574">2</cx:pt>
          <cx:pt idx="53575">3</cx:pt>
          <cx:pt idx="53576">5</cx:pt>
          <cx:pt idx="53577">2</cx:pt>
          <cx:pt idx="53578">2</cx:pt>
          <cx:pt idx="53579">2</cx:pt>
          <cx:pt idx="53580">2</cx:pt>
          <cx:pt idx="53581">3</cx:pt>
          <cx:pt idx="53582">4</cx:pt>
          <cx:pt idx="53583">5</cx:pt>
          <cx:pt idx="53584">2</cx:pt>
          <cx:pt idx="53585">4</cx:pt>
          <cx:pt idx="53586">2</cx:pt>
          <cx:pt idx="53587">5</cx:pt>
          <cx:pt idx="53588">4</cx:pt>
          <cx:pt idx="53589">3</cx:pt>
          <cx:pt idx="53590">3</cx:pt>
          <cx:pt idx="53591">1</cx:pt>
          <cx:pt idx="53592">5</cx:pt>
          <cx:pt idx="53593">4</cx:pt>
          <cx:pt idx="53594">4</cx:pt>
          <cx:pt idx="53595">5</cx:pt>
          <cx:pt idx="53596">4</cx:pt>
          <cx:pt idx="53597">5</cx:pt>
          <cx:pt idx="53598">4</cx:pt>
          <cx:pt idx="53599">5</cx:pt>
          <cx:pt idx="53600">4</cx:pt>
          <cx:pt idx="53601">4</cx:pt>
          <cx:pt idx="53602">2</cx:pt>
          <cx:pt idx="53603">2</cx:pt>
          <cx:pt idx="53604">4</cx:pt>
          <cx:pt idx="53605">4</cx:pt>
          <cx:pt idx="53606">4</cx:pt>
          <cx:pt idx="53607">3</cx:pt>
          <cx:pt idx="53608">4</cx:pt>
          <cx:pt idx="53609">4</cx:pt>
          <cx:pt idx="53610">5</cx:pt>
          <cx:pt idx="53611">2</cx:pt>
          <cx:pt idx="53612">2</cx:pt>
          <cx:pt idx="53613">4</cx:pt>
          <cx:pt idx="53614">1</cx:pt>
          <cx:pt idx="53615">5</cx:pt>
          <cx:pt idx="53616">3</cx:pt>
          <cx:pt idx="53617">4</cx:pt>
          <cx:pt idx="53618">3</cx:pt>
          <cx:pt idx="53619">3</cx:pt>
          <cx:pt idx="53620">5</cx:pt>
          <cx:pt idx="53621">4</cx:pt>
          <cx:pt idx="53622">2</cx:pt>
          <cx:pt idx="53623">3</cx:pt>
          <cx:pt idx="53624">3</cx:pt>
          <cx:pt idx="53625">1</cx:pt>
          <cx:pt idx="53626">5</cx:pt>
          <cx:pt idx="53627">3</cx:pt>
          <cx:pt idx="53628">5</cx:pt>
          <cx:pt idx="53629">2</cx:pt>
          <cx:pt idx="53630">4</cx:pt>
          <cx:pt idx="53631">4</cx:pt>
          <cx:pt idx="53632">3</cx:pt>
          <cx:pt idx="53633">1</cx:pt>
          <cx:pt idx="53634">5</cx:pt>
          <cx:pt idx="53635">4</cx:pt>
          <cx:pt idx="53636">1</cx:pt>
          <cx:pt idx="53637">3</cx:pt>
          <cx:pt idx="53638">1</cx:pt>
          <cx:pt idx="53639">4</cx:pt>
          <cx:pt idx="53640">4</cx:pt>
          <cx:pt idx="53641">5</cx:pt>
          <cx:pt idx="53642">5</cx:pt>
          <cx:pt idx="53643">3</cx:pt>
          <cx:pt idx="53644">5</cx:pt>
          <cx:pt idx="53645">5</cx:pt>
          <cx:pt idx="53646">5</cx:pt>
          <cx:pt idx="53647">3</cx:pt>
          <cx:pt idx="53648">5</cx:pt>
          <cx:pt idx="53649">4</cx:pt>
          <cx:pt idx="53650">1</cx:pt>
          <cx:pt idx="53651">4</cx:pt>
          <cx:pt idx="53652">5</cx:pt>
          <cx:pt idx="53653">2</cx:pt>
          <cx:pt idx="53654">5</cx:pt>
          <cx:pt idx="53655">4</cx:pt>
          <cx:pt idx="53656">3</cx:pt>
          <cx:pt idx="53657">4</cx:pt>
          <cx:pt idx="53658">4</cx:pt>
          <cx:pt idx="53659">3</cx:pt>
          <cx:pt idx="53660">4</cx:pt>
          <cx:pt idx="53661">4</cx:pt>
          <cx:pt idx="53662">4</cx:pt>
          <cx:pt idx="53663">2</cx:pt>
          <cx:pt idx="53664">5</cx:pt>
          <cx:pt idx="53665">4</cx:pt>
          <cx:pt idx="53666">4</cx:pt>
          <cx:pt idx="53667">5</cx:pt>
          <cx:pt idx="53668">5</cx:pt>
          <cx:pt idx="53669">5</cx:pt>
          <cx:pt idx="53670">3</cx:pt>
          <cx:pt idx="53671">5</cx:pt>
          <cx:pt idx="53672">4</cx:pt>
          <cx:pt idx="53673">2</cx:pt>
          <cx:pt idx="53674">2</cx:pt>
          <cx:pt idx="53675">5</cx:pt>
          <cx:pt idx="53676">1</cx:pt>
          <cx:pt idx="53677">1</cx:pt>
          <cx:pt idx="53678">2</cx:pt>
          <cx:pt idx="53679">5</cx:pt>
          <cx:pt idx="53680">5</cx:pt>
          <cx:pt idx="53681">3</cx:pt>
          <cx:pt idx="53682">2</cx:pt>
          <cx:pt idx="53683">2</cx:pt>
          <cx:pt idx="53684">4</cx:pt>
          <cx:pt idx="53685">4</cx:pt>
          <cx:pt idx="53686">5</cx:pt>
          <cx:pt idx="53687">5</cx:pt>
          <cx:pt idx="53688">3</cx:pt>
          <cx:pt idx="53689">5</cx:pt>
          <cx:pt idx="53690">2</cx:pt>
          <cx:pt idx="53691">4</cx:pt>
          <cx:pt idx="53692">5</cx:pt>
          <cx:pt idx="53693">1</cx:pt>
          <cx:pt idx="53694">3</cx:pt>
          <cx:pt idx="53695">1</cx:pt>
          <cx:pt idx="53696">5</cx:pt>
          <cx:pt idx="53697">4</cx:pt>
          <cx:pt idx="53698">4</cx:pt>
          <cx:pt idx="53699">3</cx:pt>
          <cx:pt idx="53700">4</cx:pt>
          <cx:pt idx="53701">2</cx:pt>
          <cx:pt idx="53702">5</cx:pt>
          <cx:pt idx="53703">4</cx:pt>
          <cx:pt idx="53704">5</cx:pt>
          <cx:pt idx="53705">3</cx:pt>
          <cx:pt idx="53706">1</cx:pt>
          <cx:pt idx="53707">4</cx:pt>
          <cx:pt idx="53708">3</cx:pt>
          <cx:pt idx="53709">5</cx:pt>
          <cx:pt idx="53710">5</cx:pt>
          <cx:pt idx="53711">1</cx:pt>
          <cx:pt idx="53712">3</cx:pt>
          <cx:pt idx="53713">3</cx:pt>
          <cx:pt idx="53714">3</cx:pt>
          <cx:pt idx="53715">1</cx:pt>
          <cx:pt idx="53716">4</cx:pt>
          <cx:pt idx="53717">3</cx:pt>
          <cx:pt idx="53718">5</cx:pt>
          <cx:pt idx="53719">5</cx:pt>
          <cx:pt idx="53720">4</cx:pt>
          <cx:pt idx="53721">2</cx:pt>
          <cx:pt idx="53722">5</cx:pt>
          <cx:pt idx="53723">3</cx:pt>
          <cx:pt idx="53724">1</cx:pt>
          <cx:pt idx="53725">4</cx:pt>
          <cx:pt idx="53726">4</cx:pt>
          <cx:pt idx="53727">1</cx:pt>
          <cx:pt idx="53728">3</cx:pt>
          <cx:pt idx="53729">4</cx:pt>
          <cx:pt idx="53730">3</cx:pt>
          <cx:pt idx="53731">3</cx:pt>
          <cx:pt idx="53732">1</cx:pt>
          <cx:pt idx="53733">5</cx:pt>
          <cx:pt idx="53734">1</cx:pt>
          <cx:pt idx="53735">1</cx:pt>
          <cx:pt idx="53736">5</cx:pt>
          <cx:pt idx="53737">4</cx:pt>
          <cx:pt idx="53738">2</cx:pt>
          <cx:pt idx="53739">3</cx:pt>
          <cx:pt idx="53740">2</cx:pt>
          <cx:pt idx="53741">1</cx:pt>
          <cx:pt idx="53742">1</cx:pt>
          <cx:pt idx="53743">1</cx:pt>
          <cx:pt idx="53744">1</cx:pt>
          <cx:pt idx="53745">3</cx:pt>
          <cx:pt idx="53746">5</cx:pt>
          <cx:pt idx="53747">4</cx:pt>
          <cx:pt idx="53748">3</cx:pt>
          <cx:pt idx="53749">4</cx:pt>
          <cx:pt idx="53750">2</cx:pt>
          <cx:pt idx="53751">3</cx:pt>
          <cx:pt idx="53752">5</cx:pt>
          <cx:pt idx="53753">5</cx:pt>
          <cx:pt idx="53754">2</cx:pt>
          <cx:pt idx="53755">4</cx:pt>
          <cx:pt idx="53756">5</cx:pt>
          <cx:pt idx="53757">1</cx:pt>
          <cx:pt idx="53758">5</cx:pt>
          <cx:pt idx="53759">3</cx:pt>
          <cx:pt idx="53760">3</cx:pt>
          <cx:pt idx="53761">4</cx:pt>
          <cx:pt idx="53762">4</cx:pt>
          <cx:pt idx="53763">2</cx:pt>
          <cx:pt idx="53764">1</cx:pt>
          <cx:pt idx="53765">4</cx:pt>
          <cx:pt idx="53766">4</cx:pt>
          <cx:pt idx="53767">2</cx:pt>
          <cx:pt idx="53768">5</cx:pt>
          <cx:pt idx="53769">4</cx:pt>
          <cx:pt idx="53770">3</cx:pt>
          <cx:pt idx="53771">1</cx:pt>
          <cx:pt idx="53772">5</cx:pt>
          <cx:pt idx="53773">5</cx:pt>
          <cx:pt idx="53774">4</cx:pt>
          <cx:pt idx="53775">2</cx:pt>
          <cx:pt idx="53776">4</cx:pt>
          <cx:pt idx="53777">2</cx:pt>
          <cx:pt idx="53778">4</cx:pt>
          <cx:pt idx="53779">5</cx:pt>
          <cx:pt idx="53780">5</cx:pt>
          <cx:pt idx="53781">4</cx:pt>
          <cx:pt idx="53782">4</cx:pt>
          <cx:pt idx="53783">2</cx:pt>
          <cx:pt idx="53784">4</cx:pt>
          <cx:pt idx="53785">4</cx:pt>
          <cx:pt idx="53786">4</cx:pt>
          <cx:pt idx="53787">4</cx:pt>
          <cx:pt idx="53788">3</cx:pt>
          <cx:pt idx="53789">4</cx:pt>
          <cx:pt idx="53790">3</cx:pt>
          <cx:pt idx="53791">1</cx:pt>
          <cx:pt idx="53792">1</cx:pt>
          <cx:pt idx="53793">3</cx:pt>
          <cx:pt idx="53794">3</cx:pt>
          <cx:pt idx="53795">3</cx:pt>
          <cx:pt idx="53796">5</cx:pt>
          <cx:pt idx="53797">5</cx:pt>
          <cx:pt idx="53798">5</cx:pt>
          <cx:pt idx="53799">4</cx:pt>
          <cx:pt idx="53800">4</cx:pt>
          <cx:pt idx="53801">4</cx:pt>
          <cx:pt idx="53802">5</cx:pt>
          <cx:pt idx="53803">2</cx:pt>
          <cx:pt idx="53804">3</cx:pt>
          <cx:pt idx="53805">2</cx:pt>
          <cx:pt idx="53806">4</cx:pt>
          <cx:pt idx="53807">3</cx:pt>
          <cx:pt idx="53808">3</cx:pt>
          <cx:pt idx="53809">4</cx:pt>
          <cx:pt idx="53810">2</cx:pt>
          <cx:pt idx="53811">5</cx:pt>
          <cx:pt idx="53812">2</cx:pt>
          <cx:pt idx="53813">2</cx:pt>
          <cx:pt idx="53814">5</cx:pt>
          <cx:pt idx="53815">5</cx:pt>
          <cx:pt idx="53816">3</cx:pt>
          <cx:pt idx="53817">4</cx:pt>
          <cx:pt idx="53818">2</cx:pt>
          <cx:pt idx="53819">1</cx:pt>
          <cx:pt idx="53820">2</cx:pt>
          <cx:pt idx="53821">1</cx:pt>
          <cx:pt idx="53822">4</cx:pt>
          <cx:pt idx="53823">4</cx:pt>
          <cx:pt idx="53824">5</cx:pt>
          <cx:pt idx="53825">4</cx:pt>
          <cx:pt idx="53826">3</cx:pt>
          <cx:pt idx="53827">3</cx:pt>
          <cx:pt idx="53828">2</cx:pt>
          <cx:pt idx="53829">1</cx:pt>
          <cx:pt idx="53830">3</cx:pt>
          <cx:pt idx="53831">1</cx:pt>
          <cx:pt idx="53832">2</cx:pt>
          <cx:pt idx="53833">5</cx:pt>
          <cx:pt idx="53834">5</cx:pt>
          <cx:pt idx="53835">5</cx:pt>
          <cx:pt idx="53836">3</cx:pt>
          <cx:pt idx="53837">3</cx:pt>
          <cx:pt idx="53838">4</cx:pt>
          <cx:pt idx="53839">5</cx:pt>
          <cx:pt idx="53840">1</cx:pt>
          <cx:pt idx="53841">4</cx:pt>
          <cx:pt idx="53842">5</cx:pt>
          <cx:pt idx="53843">4</cx:pt>
          <cx:pt idx="53844">1</cx:pt>
          <cx:pt idx="53845">2</cx:pt>
          <cx:pt idx="53846">3</cx:pt>
          <cx:pt idx="53847">1</cx:pt>
          <cx:pt idx="53848">5</cx:pt>
          <cx:pt idx="53849">2</cx:pt>
          <cx:pt idx="53850">3</cx:pt>
          <cx:pt idx="53851">4</cx:pt>
          <cx:pt idx="53852">4</cx:pt>
          <cx:pt idx="53853">4</cx:pt>
          <cx:pt idx="53854">1</cx:pt>
          <cx:pt idx="53855">2</cx:pt>
          <cx:pt idx="53856">5</cx:pt>
          <cx:pt idx="53857">4</cx:pt>
          <cx:pt idx="53858">2</cx:pt>
          <cx:pt idx="53859">4</cx:pt>
          <cx:pt idx="53860">3</cx:pt>
          <cx:pt idx="53861">3</cx:pt>
          <cx:pt idx="53862">1</cx:pt>
          <cx:pt idx="53863">5</cx:pt>
          <cx:pt idx="53864">2</cx:pt>
          <cx:pt idx="53865">3</cx:pt>
          <cx:pt idx="53866">4</cx:pt>
          <cx:pt idx="53867">3</cx:pt>
          <cx:pt idx="53868">4</cx:pt>
          <cx:pt idx="53869">4</cx:pt>
          <cx:pt idx="53870">3</cx:pt>
          <cx:pt idx="53871">3</cx:pt>
          <cx:pt idx="53872">2</cx:pt>
          <cx:pt idx="53873">5</cx:pt>
          <cx:pt idx="53874">5</cx:pt>
          <cx:pt idx="53875">5</cx:pt>
          <cx:pt idx="53876">4</cx:pt>
          <cx:pt idx="53877">3</cx:pt>
          <cx:pt idx="53878">4</cx:pt>
          <cx:pt idx="53879">5</cx:pt>
          <cx:pt idx="53880">4</cx:pt>
          <cx:pt idx="53881">1</cx:pt>
          <cx:pt idx="53882">1</cx:pt>
          <cx:pt idx="53883">1</cx:pt>
          <cx:pt idx="53884">1</cx:pt>
          <cx:pt idx="53885">4</cx:pt>
          <cx:pt idx="53886">5</cx:pt>
          <cx:pt idx="53887">5</cx:pt>
          <cx:pt idx="53888">4</cx:pt>
          <cx:pt idx="53889">4</cx:pt>
          <cx:pt idx="53890">1</cx:pt>
          <cx:pt idx="53891">2</cx:pt>
          <cx:pt idx="53892">3</cx:pt>
          <cx:pt idx="53893">5</cx:pt>
          <cx:pt idx="53894">2</cx:pt>
          <cx:pt idx="53895">1</cx:pt>
          <cx:pt idx="53896">1</cx:pt>
          <cx:pt idx="53897">4</cx:pt>
          <cx:pt idx="53898">3</cx:pt>
          <cx:pt idx="53899">5</cx:pt>
          <cx:pt idx="53900">4</cx:pt>
          <cx:pt idx="53901">5</cx:pt>
          <cx:pt idx="53902">4</cx:pt>
          <cx:pt idx="53903">3</cx:pt>
          <cx:pt idx="53904">3</cx:pt>
          <cx:pt idx="53905">1</cx:pt>
          <cx:pt idx="53906">5</cx:pt>
          <cx:pt idx="53907">5</cx:pt>
          <cx:pt idx="53908">4</cx:pt>
          <cx:pt idx="53909">4</cx:pt>
          <cx:pt idx="53910">4</cx:pt>
          <cx:pt idx="53911">3</cx:pt>
          <cx:pt idx="53912">3</cx:pt>
          <cx:pt idx="53913">3</cx:pt>
          <cx:pt idx="53914">2</cx:pt>
          <cx:pt idx="53915">5</cx:pt>
          <cx:pt idx="53916">5</cx:pt>
          <cx:pt idx="53917">4</cx:pt>
          <cx:pt idx="53918">4</cx:pt>
          <cx:pt idx="53919">3</cx:pt>
          <cx:pt idx="53920">1</cx:pt>
          <cx:pt idx="53921">1</cx:pt>
          <cx:pt idx="53922">4</cx:pt>
          <cx:pt idx="53923">5</cx:pt>
          <cx:pt idx="53924">3</cx:pt>
          <cx:pt idx="53925">4</cx:pt>
          <cx:pt idx="53926">4</cx:pt>
          <cx:pt idx="53927">3</cx:pt>
          <cx:pt idx="53928">4</cx:pt>
          <cx:pt idx="53929">3</cx:pt>
          <cx:pt idx="53930">4</cx:pt>
          <cx:pt idx="53931">4</cx:pt>
          <cx:pt idx="53932">2</cx:pt>
          <cx:pt idx="53933">3</cx:pt>
          <cx:pt idx="53934">4</cx:pt>
          <cx:pt idx="53935">4</cx:pt>
          <cx:pt idx="53936">4</cx:pt>
          <cx:pt idx="53937">5</cx:pt>
          <cx:pt idx="53938">1</cx:pt>
          <cx:pt idx="53939">4</cx:pt>
          <cx:pt idx="53940">5</cx:pt>
          <cx:pt idx="53941">3</cx:pt>
          <cx:pt idx="53942">3</cx:pt>
          <cx:pt idx="53943">2</cx:pt>
          <cx:pt idx="53944">4</cx:pt>
          <cx:pt idx="53945">5</cx:pt>
          <cx:pt idx="53946">5</cx:pt>
          <cx:pt idx="53947">4</cx:pt>
          <cx:pt idx="53948">2</cx:pt>
          <cx:pt idx="53949">3</cx:pt>
          <cx:pt idx="53950">3</cx:pt>
          <cx:pt idx="53951">4</cx:pt>
          <cx:pt idx="53952">1</cx:pt>
          <cx:pt idx="53953">5</cx:pt>
          <cx:pt idx="53954">4</cx:pt>
          <cx:pt idx="53955">5</cx:pt>
          <cx:pt idx="53956">5</cx:pt>
          <cx:pt idx="53957">3</cx:pt>
          <cx:pt idx="53958">5</cx:pt>
          <cx:pt idx="53959">5</cx:pt>
          <cx:pt idx="53960">4</cx:pt>
          <cx:pt idx="53961">3</cx:pt>
          <cx:pt idx="53962">4</cx:pt>
          <cx:pt idx="53963">1</cx:pt>
          <cx:pt idx="53964">5</cx:pt>
          <cx:pt idx="53965">4</cx:pt>
          <cx:pt idx="53966">4</cx:pt>
          <cx:pt idx="53967">3</cx:pt>
          <cx:pt idx="53968">3</cx:pt>
          <cx:pt idx="53969">2</cx:pt>
          <cx:pt idx="53970">4</cx:pt>
          <cx:pt idx="53971">2</cx:pt>
          <cx:pt idx="53972">4</cx:pt>
          <cx:pt idx="53973">5</cx:pt>
          <cx:pt idx="53974">5</cx:pt>
          <cx:pt idx="53975">5</cx:pt>
          <cx:pt idx="53976">4</cx:pt>
          <cx:pt idx="53977">5</cx:pt>
          <cx:pt idx="53978">4</cx:pt>
          <cx:pt idx="53979">4</cx:pt>
          <cx:pt idx="53980">2</cx:pt>
          <cx:pt idx="53981">2</cx:pt>
          <cx:pt idx="53982">2</cx:pt>
          <cx:pt idx="53983">4</cx:pt>
          <cx:pt idx="53984">2</cx:pt>
          <cx:pt idx="53985">5</cx:pt>
          <cx:pt idx="53986">5</cx:pt>
          <cx:pt idx="53987">2</cx:pt>
          <cx:pt idx="53988">2</cx:pt>
          <cx:pt idx="53989">5</cx:pt>
          <cx:pt idx="53990">5</cx:pt>
          <cx:pt idx="53991">2</cx:pt>
          <cx:pt idx="53992">5</cx:pt>
          <cx:pt idx="53993">3</cx:pt>
          <cx:pt idx="53994">5</cx:pt>
          <cx:pt idx="53995">5</cx:pt>
          <cx:pt idx="53996">3</cx:pt>
          <cx:pt idx="53997">5</cx:pt>
          <cx:pt idx="53998">4</cx:pt>
          <cx:pt idx="53999">3</cx:pt>
          <cx:pt idx="54000">5</cx:pt>
          <cx:pt idx="54001">4</cx:pt>
          <cx:pt idx="54002">4</cx:pt>
          <cx:pt idx="54003">4</cx:pt>
          <cx:pt idx="54004">3</cx:pt>
          <cx:pt idx="54005">3</cx:pt>
          <cx:pt idx="54006">2</cx:pt>
          <cx:pt idx="54007">5</cx:pt>
          <cx:pt idx="54008">4</cx:pt>
          <cx:pt idx="54009">5</cx:pt>
          <cx:pt idx="54010">3</cx:pt>
          <cx:pt idx="54011">1</cx:pt>
          <cx:pt idx="54012">5</cx:pt>
          <cx:pt idx="54013">4</cx:pt>
          <cx:pt idx="54014">4</cx:pt>
          <cx:pt idx="54015">4</cx:pt>
          <cx:pt idx="54016">5</cx:pt>
          <cx:pt idx="54017">5</cx:pt>
          <cx:pt idx="54018">2</cx:pt>
          <cx:pt idx="54019">4</cx:pt>
          <cx:pt idx="54020">4</cx:pt>
          <cx:pt idx="54021">4</cx:pt>
          <cx:pt idx="54022">3</cx:pt>
          <cx:pt idx="54023">4</cx:pt>
          <cx:pt idx="54024">4</cx:pt>
          <cx:pt idx="54025">1</cx:pt>
          <cx:pt idx="54026">2</cx:pt>
          <cx:pt idx="54027">5</cx:pt>
          <cx:pt idx="54028">1</cx:pt>
          <cx:pt idx="54029">2</cx:pt>
          <cx:pt idx="54030">1</cx:pt>
          <cx:pt idx="54031">4</cx:pt>
          <cx:pt idx="54032">1</cx:pt>
          <cx:pt idx="54033">5</cx:pt>
          <cx:pt idx="54034">5</cx:pt>
          <cx:pt idx="54035">4</cx:pt>
          <cx:pt idx="54036">3</cx:pt>
          <cx:pt idx="54037">4</cx:pt>
          <cx:pt idx="54038">5</cx:pt>
          <cx:pt idx="54039">1</cx:pt>
          <cx:pt idx="54040">3</cx:pt>
          <cx:pt idx="54041">5</cx:pt>
          <cx:pt idx="54042">4</cx:pt>
          <cx:pt idx="54043">5</cx:pt>
          <cx:pt idx="54044">1</cx:pt>
          <cx:pt idx="54045">5</cx:pt>
          <cx:pt idx="54046">5</cx:pt>
          <cx:pt idx="54047">4</cx:pt>
          <cx:pt idx="54048">4</cx:pt>
          <cx:pt idx="54049">5</cx:pt>
          <cx:pt idx="54050">2</cx:pt>
          <cx:pt idx="54051">1</cx:pt>
          <cx:pt idx="54052">1</cx:pt>
          <cx:pt idx="54053">5</cx:pt>
          <cx:pt idx="54054">4</cx:pt>
          <cx:pt idx="54055">2</cx:pt>
          <cx:pt idx="54056">5</cx:pt>
          <cx:pt idx="54057">3</cx:pt>
          <cx:pt idx="54058">4</cx:pt>
          <cx:pt idx="54059">5</cx:pt>
          <cx:pt idx="54060">4</cx:pt>
          <cx:pt idx="54061">4</cx:pt>
          <cx:pt idx="54062">4</cx:pt>
          <cx:pt idx="54063">1</cx:pt>
          <cx:pt idx="54064">3</cx:pt>
          <cx:pt idx="54065">4</cx:pt>
          <cx:pt idx="54066">4</cx:pt>
          <cx:pt idx="54067">4</cx:pt>
          <cx:pt idx="54068">5</cx:pt>
          <cx:pt idx="54069">3</cx:pt>
          <cx:pt idx="54070">1</cx:pt>
          <cx:pt idx="54071">1</cx:pt>
          <cx:pt idx="54072">5</cx:pt>
          <cx:pt idx="54073">2</cx:pt>
          <cx:pt idx="54074">1</cx:pt>
          <cx:pt idx="54075">5</cx:pt>
          <cx:pt idx="54076">4</cx:pt>
          <cx:pt idx="54077">3</cx:pt>
          <cx:pt idx="54078">2</cx:pt>
          <cx:pt idx="54079">1</cx:pt>
          <cx:pt idx="54080">2</cx:pt>
          <cx:pt idx="54081">4</cx:pt>
          <cx:pt idx="54082">3</cx:pt>
          <cx:pt idx="54083">3</cx:pt>
          <cx:pt idx="54084">5</cx:pt>
          <cx:pt idx="54085">2</cx:pt>
          <cx:pt idx="54086">2</cx:pt>
          <cx:pt idx="54087">4</cx:pt>
          <cx:pt idx="54088">4</cx:pt>
          <cx:pt idx="54089">4</cx:pt>
          <cx:pt idx="54090">1</cx:pt>
          <cx:pt idx="54091">1</cx:pt>
          <cx:pt idx="54092">2</cx:pt>
          <cx:pt idx="54093">5</cx:pt>
          <cx:pt idx="54094">3</cx:pt>
          <cx:pt idx="54095">2</cx:pt>
          <cx:pt idx="54096">5</cx:pt>
          <cx:pt idx="54097">4</cx:pt>
          <cx:pt idx="54098">5</cx:pt>
          <cx:pt idx="54099">4</cx:pt>
          <cx:pt idx="54100">4</cx:pt>
          <cx:pt idx="54101">4</cx:pt>
          <cx:pt idx="54102">5</cx:pt>
          <cx:pt idx="54103">1</cx:pt>
          <cx:pt idx="54104">4</cx:pt>
          <cx:pt idx="54105">3</cx:pt>
          <cx:pt idx="54106">4</cx:pt>
          <cx:pt idx="54107">4</cx:pt>
          <cx:pt idx="54108">4</cx:pt>
          <cx:pt idx="54109">5</cx:pt>
          <cx:pt idx="54110">5</cx:pt>
          <cx:pt idx="54111">5</cx:pt>
          <cx:pt idx="54112">4</cx:pt>
          <cx:pt idx="54113">4</cx:pt>
          <cx:pt idx="54114">5</cx:pt>
          <cx:pt idx="54115">4</cx:pt>
          <cx:pt idx="54116">1</cx:pt>
          <cx:pt idx="54117">3</cx:pt>
          <cx:pt idx="54118">4</cx:pt>
          <cx:pt idx="54119">5</cx:pt>
          <cx:pt idx="54120">2</cx:pt>
          <cx:pt idx="54121">1</cx:pt>
          <cx:pt idx="54122">5</cx:pt>
          <cx:pt idx="54123">1</cx:pt>
          <cx:pt idx="54124">3</cx:pt>
          <cx:pt idx="54125">2</cx:pt>
          <cx:pt idx="54126">3</cx:pt>
          <cx:pt idx="54127">2</cx:pt>
          <cx:pt idx="54128">4</cx:pt>
          <cx:pt idx="54129">4</cx:pt>
          <cx:pt idx="54130">2</cx:pt>
          <cx:pt idx="54131">5</cx:pt>
          <cx:pt idx="54132">5</cx:pt>
          <cx:pt idx="54133">2</cx:pt>
          <cx:pt idx="54134">2</cx:pt>
          <cx:pt idx="54135">4</cx:pt>
          <cx:pt idx="54136">5</cx:pt>
          <cx:pt idx="54137">2</cx:pt>
          <cx:pt idx="54138">4</cx:pt>
          <cx:pt idx="54139">3</cx:pt>
          <cx:pt idx="54140">1</cx:pt>
          <cx:pt idx="54141">5</cx:pt>
          <cx:pt idx="54142">4</cx:pt>
          <cx:pt idx="54143">4</cx:pt>
          <cx:pt idx="54144">5</cx:pt>
          <cx:pt idx="54145">3</cx:pt>
          <cx:pt idx="54146">2</cx:pt>
          <cx:pt idx="54147">5</cx:pt>
          <cx:pt idx="54148">4</cx:pt>
          <cx:pt idx="54149">4</cx:pt>
          <cx:pt idx="54150">4</cx:pt>
          <cx:pt idx="54151">2</cx:pt>
          <cx:pt idx="54152">3</cx:pt>
          <cx:pt idx="54153">4</cx:pt>
          <cx:pt idx="54154">1</cx:pt>
          <cx:pt idx="54155">2</cx:pt>
          <cx:pt idx="54156">1</cx:pt>
          <cx:pt idx="54157">2</cx:pt>
          <cx:pt idx="54158">1</cx:pt>
          <cx:pt idx="54159">4</cx:pt>
          <cx:pt idx="54160">1</cx:pt>
          <cx:pt idx="54161">5</cx:pt>
          <cx:pt idx="54162">3</cx:pt>
          <cx:pt idx="54163">5</cx:pt>
          <cx:pt idx="54164">3</cx:pt>
          <cx:pt idx="54165">5</cx:pt>
          <cx:pt idx="54166">4</cx:pt>
          <cx:pt idx="54167">1</cx:pt>
          <cx:pt idx="54168">4</cx:pt>
          <cx:pt idx="54169">2</cx:pt>
          <cx:pt idx="54170">4</cx:pt>
          <cx:pt idx="54171">5</cx:pt>
          <cx:pt idx="54172">4</cx:pt>
          <cx:pt idx="54173">1</cx:pt>
          <cx:pt idx="54174">2</cx:pt>
          <cx:pt idx="54175">5</cx:pt>
          <cx:pt idx="54176">4</cx:pt>
          <cx:pt idx="54177">5</cx:pt>
          <cx:pt idx="54178">3</cx:pt>
          <cx:pt idx="54179">4</cx:pt>
          <cx:pt idx="54180">2</cx:pt>
          <cx:pt idx="54181">3</cx:pt>
          <cx:pt idx="54182">2</cx:pt>
          <cx:pt idx="54183">4</cx:pt>
          <cx:pt idx="54184">5</cx:pt>
          <cx:pt idx="54185">2</cx:pt>
          <cx:pt idx="54186">5</cx:pt>
          <cx:pt idx="54187">5</cx:pt>
          <cx:pt idx="54188">2</cx:pt>
          <cx:pt idx="54189">3</cx:pt>
          <cx:pt idx="54190">5</cx:pt>
          <cx:pt idx="54191">4</cx:pt>
          <cx:pt idx="54192">5</cx:pt>
          <cx:pt idx="54193">4</cx:pt>
          <cx:pt idx="54194">5</cx:pt>
          <cx:pt idx="54195">2</cx:pt>
          <cx:pt idx="54196">1</cx:pt>
          <cx:pt idx="54197">3</cx:pt>
          <cx:pt idx="54198">5</cx:pt>
          <cx:pt idx="54199">4</cx:pt>
          <cx:pt idx="54200">4</cx:pt>
          <cx:pt idx="54201">4</cx:pt>
          <cx:pt idx="54202">2</cx:pt>
          <cx:pt idx="54203">2</cx:pt>
          <cx:pt idx="54204">4</cx:pt>
          <cx:pt idx="54205">2</cx:pt>
          <cx:pt idx="54206">3</cx:pt>
          <cx:pt idx="54207">3</cx:pt>
          <cx:pt idx="54208">3</cx:pt>
          <cx:pt idx="54209">1</cx:pt>
          <cx:pt idx="54210">5</cx:pt>
          <cx:pt idx="54211">3</cx:pt>
          <cx:pt idx="54212">5</cx:pt>
          <cx:pt idx="54213">3</cx:pt>
          <cx:pt idx="54214">5</cx:pt>
          <cx:pt idx="54215">3</cx:pt>
          <cx:pt idx="54216">4</cx:pt>
          <cx:pt idx="54217">4</cx:pt>
          <cx:pt idx="54218">4</cx:pt>
          <cx:pt idx="54219">5</cx:pt>
          <cx:pt idx="54220">4</cx:pt>
          <cx:pt idx="54221">4</cx:pt>
          <cx:pt idx="54222">4</cx:pt>
          <cx:pt idx="54223">1</cx:pt>
          <cx:pt idx="54224">5</cx:pt>
          <cx:pt idx="54225">1</cx:pt>
          <cx:pt idx="54226">1</cx:pt>
          <cx:pt idx="54227">5</cx:pt>
          <cx:pt idx="54228">4</cx:pt>
          <cx:pt idx="54229">3</cx:pt>
          <cx:pt idx="54230">4</cx:pt>
          <cx:pt idx="54231">4</cx:pt>
          <cx:pt idx="54232">2</cx:pt>
          <cx:pt idx="54233">1</cx:pt>
          <cx:pt idx="54234">4</cx:pt>
          <cx:pt idx="54235">4</cx:pt>
          <cx:pt idx="54236">4</cx:pt>
          <cx:pt idx="54237">5</cx:pt>
          <cx:pt idx="54238">4</cx:pt>
          <cx:pt idx="54239">5</cx:pt>
          <cx:pt idx="54240">4</cx:pt>
          <cx:pt idx="54241">4</cx:pt>
          <cx:pt idx="54242">3</cx:pt>
          <cx:pt idx="54243">5</cx:pt>
          <cx:pt idx="54244">4</cx:pt>
          <cx:pt idx="54245">4</cx:pt>
          <cx:pt idx="54246">2</cx:pt>
          <cx:pt idx="54247">3</cx:pt>
          <cx:pt idx="54248">3</cx:pt>
          <cx:pt idx="54249">4</cx:pt>
          <cx:pt idx="54250">2</cx:pt>
          <cx:pt idx="54251">1</cx:pt>
          <cx:pt idx="54252">3</cx:pt>
          <cx:pt idx="54253">3</cx:pt>
          <cx:pt idx="54254">5</cx:pt>
          <cx:pt idx="54255">3</cx:pt>
          <cx:pt idx="54256">2</cx:pt>
          <cx:pt idx="54257">5</cx:pt>
          <cx:pt idx="54258">5</cx:pt>
          <cx:pt idx="54259">4</cx:pt>
          <cx:pt idx="54260">4</cx:pt>
          <cx:pt idx="54261">3</cx:pt>
          <cx:pt idx="54262">1</cx:pt>
          <cx:pt idx="54263">4</cx:pt>
          <cx:pt idx="54264">3</cx:pt>
          <cx:pt idx="54265">4</cx:pt>
          <cx:pt idx="54266">4</cx:pt>
          <cx:pt idx="54267">4</cx:pt>
          <cx:pt idx="54268">4</cx:pt>
          <cx:pt idx="54269">4</cx:pt>
          <cx:pt idx="54270">5</cx:pt>
          <cx:pt idx="54271">5</cx:pt>
          <cx:pt idx="54272">5</cx:pt>
          <cx:pt idx="54273">3</cx:pt>
          <cx:pt idx="54274">2</cx:pt>
          <cx:pt idx="54275">5</cx:pt>
          <cx:pt idx="54276">5</cx:pt>
          <cx:pt idx="54277">3</cx:pt>
          <cx:pt idx="54278">4</cx:pt>
          <cx:pt idx="54279">3</cx:pt>
          <cx:pt idx="54280">3</cx:pt>
          <cx:pt idx="54281">3</cx:pt>
          <cx:pt idx="54282">5</cx:pt>
          <cx:pt idx="54283">3</cx:pt>
          <cx:pt idx="54284">3</cx:pt>
          <cx:pt idx="54285">4</cx:pt>
          <cx:pt idx="54286">1</cx:pt>
          <cx:pt idx="54287">3</cx:pt>
          <cx:pt idx="54288">5</cx:pt>
          <cx:pt idx="54289">4</cx:pt>
          <cx:pt idx="54290">3</cx:pt>
          <cx:pt idx="54291">5</cx:pt>
          <cx:pt idx="54292">1</cx:pt>
          <cx:pt idx="54293">4</cx:pt>
          <cx:pt idx="54294">4</cx:pt>
          <cx:pt idx="54295">2</cx:pt>
          <cx:pt idx="54296">3</cx:pt>
          <cx:pt idx="54297">2</cx:pt>
          <cx:pt idx="54298">4</cx:pt>
          <cx:pt idx="54299">3</cx:pt>
          <cx:pt idx="54300">2</cx:pt>
          <cx:pt idx="54301">2</cx:pt>
          <cx:pt idx="54302">4</cx:pt>
          <cx:pt idx="54303">1</cx:pt>
          <cx:pt idx="54304">5</cx:pt>
          <cx:pt idx="54305">1</cx:pt>
          <cx:pt idx="54306">4</cx:pt>
          <cx:pt idx="54307">1</cx:pt>
          <cx:pt idx="54308">4</cx:pt>
          <cx:pt idx="54309">3</cx:pt>
          <cx:pt idx="54310">5</cx:pt>
          <cx:pt idx="54311">4</cx:pt>
          <cx:pt idx="54312">5</cx:pt>
          <cx:pt idx="54313">2</cx:pt>
          <cx:pt idx="54314">4</cx:pt>
          <cx:pt idx="54315">4</cx:pt>
          <cx:pt idx="54316">5</cx:pt>
          <cx:pt idx="54317">4</cx:pt>
          <cx:pt idx="54318">3</cx:pt>
          <cx:pt idx="54319">5</cx:pt>
          <cx:pt idx="54320">5</cx:pt>
          <cx:pt idx="54321">3</cx:pt>
          <cx:pt idx="54322">2</cx:pt>
          <cx:pt idx="54323">5</cx:pt>
          <cx:pt idx="54324">4</cx:pt>
          <cx:pt idx="54325">3</cx:pt>
          <cx:pt idx="54326">5</cx:pt>
          <cx:pt idx="54327">1</cx:pt>
          <cx:pt idx="54328">3</cx:pt>
          <cx:pt idx="54329">4</cx:pt>
          <cx:pt idx="54330">3</cx:pt>
          <cx:pt idx="54331">5</cx:pt>
          <cx:pt idx="54332">4</cx:pt>
          <cx:pt idx="54333">4</cx:pt>
          <cx:pt idx="54334">3</cx:pt>
          <cx:pt idx="54335">1</cx:pt>
          <cx:pt idx="54336">2</cx:pt>
          <cx:pt idx="54337">3</cx:pt>
          <cx:pt idx="54338">5</cx:pt>
          <cx:pt idx="54339">5</cx:pt>
          <cx:pt idx="54340">3</cx:pt>
          <cx:pt idx="54341">2</cx:pt>
          <cx:pt idx="54342">5</cx:pt>
          <cx:pt idx="54343">4</cx:pt>
          <cx:pt idx="54344">3</cx:pt>
          <cx:pt idx="54345">4</cx:pt>
          <cx:pt idx="54346">3</cx:pt>
          <cx:pt idx="54347">1</cx:pt>
          <cx:pt idx="54348">2</cx:pt>
          <cx:pt idx="54349">4</cx:pt>
          <cx:pt idx="54350">3</cx:pt>
          <cx:pt idx="54351">3</cx:pt>
          <cx:pt idx="54352">3</cx:pt>
          <cx:pt idx="54353">4</cx:pt>
          <cx:pt idx="54354">5</cx:pt>
          <cx:pt idx="54355">2</cx:pt>
          <cx:pt idx="54356">4</cx:pt>
          <cx:pt idx="54357">1</cx:pt>
          <cx:pt idx="54358">3</cx:pt>
          <cx:pt idx="54359">3</cx:pt>
          <cx:pt idx="54360">5</cx:pt>
          <cx:pt idx="54361">2</cx:pt>
          <cx:pt idx="54362">3</cx:pt>
          <cx:pt idx="54363">5</cx:pt>
          <cx:pt idx="54364">5</cx:pt>
          <cx:pt idx="54365">3</cx:pt>
          <cx:pt idx="54366">3</cx:pt>
          <cx:pt idx="54367">2</cx:pt>
          <cx:pt idx="54368">5</cx:pt>
          <cx:pt idx="54369">5</cx:pt>
          <cx:pt idx="54370">5</cx:pt>
          <cx:pt idx="54371">3</cx:pt>
          <cx:pt idx="54372">1</cx:pt>
          <cx:pt idx="54373">4</cx:pt>
          <cx:pt idx="54374">5</cx:pt>
          <cx:pt idx="54375">3</cx:pt>
          <cx:pt idx="54376">5</cx:pt>
          <cx:pt idx="54377">5</cx:pt>
          <cx:pt idx="54378">5</cx:pt>
          <cx:pt idx="54379">5</cx:pt>
          <cx:pt idx="54380">4</cx:pt>
          <cx:pt idx="54381">4</cx:pt>
          <cx:pt idx="54382">4</cx:pt>
          <cx:pt idx="54383">5</cx:pt>
          <cx:pt idx="54384">5</cx:pt>
          <cx:pt idx="54385">1</cx:pt>
          <cx:pt idx="54386">5</cx:pt>
          <cx:pt idx="54387">1</cx:pt>
          <cx:pt idx="54388">5</cx:pt>
          <cx:pt idx="54389">3</cx:pt>
          <cx:pt idx="54390">1</cx:pt>
          <cx:pt idx="54391">1</cx:pt>
          <cx:pt idx="54392">4</cx:pt>
          <cx:pt idx="54393">1</cx:pt>
          <cx:pt idx="54394">2</cx:pt>
          <cx:pt idx="54395">3</cx:pt>
          <cx:pt idx="54396">1</cx:pt>
          <cx:pt idx="54397">3</cx:pt>
          <cx:pt idx="54398">4</cx:pt>
          <cx:pt idx="54399">4</cx:pt>
          <cx:pt idx="54400">4</cx:pt>
          <cx:pt idx="54401">3</cx:pt>
          <cx:pt idx="54402">5</cx:pt>
          <cx:pt idx="54403">4</cx:pt>
          <cx:pt idx="54404">3</cx:pt>
          <cx:pt idx="54405">2</cx:pt>
          <cx:pt idx="54406">1</cx:pt>
          <cx:pt idx="54407">1</cx:pt>
          <cx:pt idx="54408">2</cx:pt>
          <cx:pt idx="54409">1</cx:pt>
          <cx:pt idx="54410">4</cx:pt>
          <cx:pt idx="54411">2</cx:pt>
          <cx:pt idx="54412">4</cx:pt>
          <cx:pt idx="54413">4</cx:pt>
          <cx:pt idx="54414">4</cx:pt>
          <cx:pt idx="54415">2</cx:pt>
          <cx:pt idx="54416">1</cx:pt>
          <cx:pt idx="54417">5</cx:pt>
          <cx:pt idx="54418">4</cx:pt>
          <cx:pt idx="54419">4</cx:pt>
          <cx:pt idx="54420">4</cx:pt>
          <cx:pt idx="54421">1</cx:pt>
          <cx:pt idx="54422">3</cx:pt>
          <cx:pt idx="54423">2</cx:pt>
          <cx:pt idx="54424">3</cx:pt>
          <cx:pt idx="54425">2</cx:pt>
          <cx:pt idx="54426">5</cx:pt>
          <cx:pt idx="54427">5</cx:pt>
          <cx:pt idx="54428">2</cx:pt>
          <cx:pt idx="54429">1</cx:pt>
          <cx:pt idx="54430">5</cx:pt>
          <cx:pt idx="54431">5</cx:pt>
          <cx:pt idx="54432">4</cx:pt>
          <cx:pt idx="54433">2</cx:pt>
          <cx:pt idx="54434">1</cx:pt>
          <cx:pt idx="54435">5</cx:pt>
          <cx:pt idx="54436">4</cx:pt>
          <cx:pt idx="54437">5</cx:pt>
          <cx:pt idx="54438">5</cx:pt>
          <cx:pt idx="54439">5</cx:pt>
          <cx:pt idx="54440">4</cx:pt>
          <cx:pt idx="54441">2</cx:pt>
          <cx:pt idx="54442">3</cx:pt>
          <cx:pt idx="54443">3</cx:pt>
          <cx:pt idx="54444">5</cx:pt>
          <cx:pt idx="54445">2</cx:pt>
          <cx:pt idx="54446">5</cx:pt>
          <cx:pt idx="54447">3</cx:pt>
          <cx:pt idx="54448">4</cx:pt>
          <cx:pt idx="54449">1</cx:pt>
          <cx:pt idx="54450">5</cx:pt>
          <cx:pt idx="54451">2</cx:pt>
          <cx:pt idx="54452">1</cx:pt>
          <cx:pt idx="54453">4</cx:pt>
          <cx:pt idx="54454">4</cx:pt>
          <cx:pt idx="54455">5</cx:pt>
          <cx:pt idx="54456">3</cx:pt>
          <cx:pt idx="54457">1</cx:pt>
          <cx:pt idx="54458">5</cx:pt>
          <cx:pt idx="54459">1</cx:pt>
          <cx:pt idx="54460">4</cx:pt>
          <cx:pt idx="54461">1</cx:pt>
          <cx:pt idx="54462">5</cx:pt>
          <cx:pt idx="54463">3</cx:pt>
          <cx:pt idx="54464">4</cx:pt>
          <cx:pt idx="54465">1</cx:pt>
          <cx:pt idx="54466">2</cx:pt>
          <cx:pt idx="54467">4</cx:pt>
          <cx:pt idx="54468">4</cx:pt>
          <cx:pt idx="54469">5</cx:pt>
          <cx:pt idx="54470">4</cx:pt>
          <cx:pt idx="54471">4</cx:pt>
          <cx:pt idx="54472">5</cx:pt>
          <cx:pt idx="54473">1</cx:pt>
          <cx:pt idx="54474">4</cx:pt>
          <cx:pt idx="54475">4</cx:pt>
          <cx:pt idx="54476">4</cx:pt>
          <cx:pt idx="54477">4</cx:pt>
          <cx:pt idx="54478">3</cx:pt>
          <cx:pt idx="54479">4</cx:pt>
          <cx:pt idx="54480">1</cx:pt>
          <cx:pt idx="54481">3</cx:pt>
          <cx:pt idx="54482">5</cx:pt>
          <cx:pt idx="54483">4</cx:pt>
          <cx:pt idx="54484">4</cx:pt>
          <cx:pt idx="54485">5</cx:pt>
          <cx:pt idx="54486">4</cx:pt>
          <cx:pt idx="54487">2</cx:pt>
          <cx:pt idx="54488">5</cx:pt>
          <cx:pt idx="54489">3</cx:pt>
          <cx:pt idx="54490">4</cx:pt>
          <cx:pt idx="54491">4</cx:pt>
          <cx:pt idx="54492">4</cx:pt>
          <cx:pt idx="54493">2</cx:pt>
          <cx:pt idx="54494">4</cx:pt>
          <cx:pt idx="54495">5</cx:pt>
          <cx:pt idx="54496">3</cx:pt>
          <cx:pt idx="54497">4</cx:pt>
          <cx:pt idx="54498">4</cx:pt>
          <cx:pt idx="54499">4</cx:pt>
          <cx:pt idx="54500">5</cx:pt>
          <cx:pt idx="54501">2</cx:pt>
          <cx:pt idx="54502">5</cx:pt>
          <cx:pt idx="54503">1</cx:pt>
          <cx:pt idx="54504">1</cx:pt>
          <cx:pt idx="54505">4</cx:pt>
          <cx:pt idx="54506">2</cx:pt>
          <cx:pt idx="54507">2</cx:pt>
          <cx:pt idx="54508">5</cx:pt>
          <cx:pt idx="54509">1</cx:pt>
          <cx:pt idx="54510">5</cx:pt>
          <cx:pt idx="54511">4</cx:pt>
          <cx:pt idx="54512">2</cx:pt>
          <cx:pt idx="54513">4</cx:pt>
          <cx:pt idx="54514">4</cx:pt>
          <cx:pt idx="54515">3</cx:pt>
          <cx:pt idx="54516">5</cx:pt>
          <cx:pt idx="54517">4</cx:pt>
          <cx:pt idx="54518">3</cx:pt>
          <cx:pt idx="54519">3</cx:pt>
          <cx:pt idx="54520">4</cx:pt>
          <cx:pt idx="54521">5</cx:pt>
          <cx:pt idx="54522">5</cx:pt>
          <cx:pt idx="54523">2</cx:pt>
          <cx:pt idx="54524">3</cx:pt>
          <cx:pt idx="54525">3</cx:pt>
          <cx:pt idx="54526">2</cx:pt>
          <cx:pt idx="54527">4</cx:pt>
          <cx:pt idx="54528">4</cx:pt>
          <cx:pt idx="54529">2</cx:pt>
          <cx:pt idx="54530">4</cx:pt>
          <cx:pt idx="54531">3</cx:pt>
          <cx:pt idx="54532">5</cx:pt>
          <cx:pt idx="54533">2</cx:pt>
          <cx:pt idx="54534">3</cx:pt>
          <cx:pt idx="54535">3</cx:pt>
          <cx:pt idx="54536">1</cx:pt>
          <cx:pt idx="54537">4</cx:pt>
          <cx:pt idx="54538">4</cx:pt>
          <cx:pt idx="54539">2</cx:pt>
          <cx:pt idx="54540">4</cx:pt>
          <cx:pt idx="54541">3</cx:pt>
          <cx:pt idx="54542">1</cx:pt>
          <cx:pt idx="54543">4</cx:pt>
          <cx:pt idx="54544">4</cx:pt>
          <cx:pt idx="54545">4</cx:pt>
          <cx:pt idx="54546">3</cx:pt>
          <cx:pt idx="54547">4</cx:pt>
          <cx:pt idx="54548">5</cx:pt>
          <cx:pt idx="54549">3</cx:pt>
          <cx:pt idx="54550">4</cx:pt>
          <cx:pt idx="54551">4</cx:pt>
          <cx:pt idx="54552">5</cx:pt>
          <cx:pt idx="54553">5</cx:pt>
          <cx:pt idx="54554">1</cx:pt>
          <cx:pt idx="54555">2</cx:pt>
          <cx:pt idx="54556">2</cx:pt>
          <cx:pt idx="54557">5</cx:pt>
          <cx:pt idx="54558">5</cx:pt>
          <cx:pt idx="54559">4</cx:pt>
          <cx:pt idx="54560">1</cx:pt>
          <cx:pt idx="54561">3</cx:pt>
          <cx:pt idx="54562">3</cx:pt>
          <cx:pt idx="54563">4</cx:pt>
          <cx:pt idx="54564">4</cx:pt>
          <cx:pt idx="54565">4</cx:pt>
          <cx:pt idx="54566">5</cx:pt>
          <cx:pt idx="54567">4</cx:pt>
          <cx:pt idx="54568">4</cx:pt>
          <cx:pt idx="54569">4</cx:pt>
          <cx:pt idx="54570">3</cx:pt>
          <cx:pt idx="54571">5</cx:pt>
          <cx:pt idx="54572">3</cx:pt>
          <cx:pt idx="54573">2</cx:pt>
          <cx:pt idx="54574">4</cx:pt>
          <cx:pt idx="54575">5</cx:pt>
          <cx:pt idx="54576">4</cx:pt>
          <cx:pt idx="54577">5</cx:pt>
          <cx:pt idx="54578">2</cx:pt>
          <cx:pt idx="54579">3</cx:pt>
          <cx:pt idx="54580">4</cx:pt>
          <cx:pt idx="54581">5</cx:pt>
          <cx:pt idx="54582">5</cx:pt>
          <cx:pt idx="54583">4</cx:pt>
          <cx:pt idx="54584">5</cx:pt>
          <cx:pt idx="54585">4</cx:pt>
          <cx:pt idx="54586">2</cx:pt>
          <cx:pt idx="54587">1</cx:pt>
          <cx:pt idx="54588">3</cx:pt>
          <cx:pt idx="54589">3</cx:pt>
          <cx:pt idx="54590">4</cx:pt>
          <cx:pt idx="54591">5</cx:pt>
          <cx:pt idx="54592">2</cx:pt>
          <cx:pt idx="54593">3</cx:pt>
          <cx:pt idx="54594">2</cx:pt>
          <cx:pt idx="54595">2</cx:pt>
          <cx:pt idx="54596">4</cx:pt>
          <cx:pt idx="54597">3</cx:pt>
          <cx:pt idx="54598">5</cx:pt>
          <cx:pt idx="54599">5</cx:pt>
          <cx:pt idx="54600">3</cx:pt>
          <cx:pt idx="54601">4</cx:pt>
          <cx:pt idx="54602">5</cx:pt>
          <cx:pt idx="54603">1</cx:pt>
          <cx:pt idx="54604">4</cx:pt>
          <cx:pt idx="54605">3</cx:pt>
          <cx:pt idx="54606">4</cx:pt>
          <cx:pt idx="54607">1</cx:pt>
          <cx:pt idx="54608">5</cx:pt>
          <cx:pt idx="54609">2</cx:pt>
          <cx:pt idx="54610">1</cx:pt>
          <cx:pt idx="54611">4</cx:pt>
          <cx:pt idx="54612">5</cx:pt>
          <cx:pt idx="54613">5</cx:pt>
          <cx:pt idx="54614">3</cx:pt>
          <cx:pt idx="54615">4</cx:pt>
          <cx:pt idx="54616">3</cx:pt>
          <cx:pt idx="54617">5</cx:pt>
          <cx:pt idx="54618">5</cx:pt>
          <cx:pt idx="54619">1</cx:pt>
          <cx:pt idx="54620">5</cx:pt>
          <cx:pt idx="54621">4</cx:pt>
          <cx:pt idx="54622">5</cx:pt>
          <cx:pt idx="54623">3</cx:pt>
          <cx:pt idx="54624">5</cx:pt>
          <cx:pt idx="54625">4</cx:pt>
          <cx:pt idx="54626">4</cx:pt>
          <cx:pt idx="54627">4</cx:pt>
          <cx:pt idx="54628">4</cx:pt>
          <cx:pt idx="54629">3</cx:pt>
          <cx:pt idx="54630">5</cx:pt>
          <cx:pt idx="54631">5</cx:pt>
          <cx:pt idx="54632">5</cx:pt>
          <cx:pt idx="54633">3</cx:pt>
          <cx:pt idx="54634">5</cx:pt>
          <cx:pt idx="54635">4</cx:pt>
          <cx:pt idx="54636">5</cx:pt>
          <cx:pt idx="54637">5</cx:pt>
          <cx:pt idx="54638">4</cx:pt>
          <cx:pt idx="54639">4</cx:pt>
          <cx:pt idx="54640">3</cx:pt>
          <cx:pt idx="54641">1</cx:pt>
          <cx:pt idx="54642">4</cx:pt>
          <cx:pt idx="54643">1</cx:pt>
          <cx:pt idx="54644">5</cx:pt>
          <cx:pt idx="54645">4</cx:pt>
          <cx:pt idx="54646">5</cx:pt>
          <cx:pt idx="54647">2</cx:pt>
          <cx:pt idx="54648">2</cx:pt>
          <cx:pt idx="54649">5</cx:pt>
          <cx:pt idx="54650">3</cx:pt>
          <cx:pt idx="54651">5</cx:pt>
          <cx:pt idx="54652">5</cx:pt>
          <cx:pt idx="54653">1</cx:pt>
          <cx:pt idx="54654">4</cx:pt>
          <cx:pt idx="54655">3</cx:pt>
          <cx:pt idx="54656">1</cx:pt>
          <cx:pt idx="54657">2</cx:pt>
          <cx:pt idx="54658">2</cx:pt>
          <cx:pt idx="54659">2</cx:pt>
          <cx:pt idx="54660">4</cx:pt>
          <cx:pt idx="54661">1</cx:pt>
          <cx:pt idx="54662">3</cx:pt>
          <cx:pt idx="54663">5</cx:pt>
          <cx:pt idx="54664">3</cx:pt>
          <cx:pt idx="54665">5</cx:pt>
          <cx:pt idx="54666">5</cx:pt>
          <cx:pt idx="54667">1</cx:pt>
          <cx:pt idx="54668">5</cx:pt>
          <cx:pt idx="54669">2</cx:pt>
          <cx:pt idx="54670">4</cx:pt>
          <cx:pt idx="54671">1</cx:pt>
          <cx:pt idx="54672">5</cx:pt>
          <cx:pt idx="54673">4</cx:pt>
          <cx:pt idx="54674">1</cx:pt>
          <cx:pt idx="54675">4</cx:pt>
          <cx:pt idx="54676">5</cx:pt>
          <cx:pt idx="54677">3</cx:pt>
          <cx:pt idx="54678">2</cx:pt>
          <cx:pt idx="54679">4</cx:pt>
          <cx:pt idx="54680">4</cx:pt>
          <cx:pt idx="54681">2</cx:pt>
          <cx:pt idx="54682">5</cx:pt>
          <cx:pt idx="54683">2</cx:pt>
          <cx:pt idx="54684">3</cx:pt>
          <cx:pt idx="54685">4</cx:pt>
          <cx:pt idx="54686">4</cx:pt>
          <cx:pt idx="54687">4</cx:pt>
          <cx:pt idx="54688">5</cx:pt>
          <cx:pt idx="54689">5</cx:pt>
          <cx:pt idx="54690">2</cx:pt>
          <cx:pt idx="54691">2</cx:pt>
          <cx:pt idx="54692">5</cx:pt>
          <cx:pt idx="54693">2</cx:pt>
          <cx:pt idx="54694">4</cx:pt>
          <cx:pt idx="54695">5</cx:pt>
          <cx:pt idx="54696">2</cx:pt>
          <cx:pt idx="54697">2</cx:pt>
          <cx:pt idx="54698">4</cx:pt>
          <cx:pt idx="54699">1</cx:pt>
          <cx:pt idx="54700">5</cx:pt>
          <cx:pt idx="54701">3</cx:pt>
          <cx:pt idx="54702">2</cx:pt>
          <cx:pt idx="54703">3</cx:pt>
          <cx:pt idx="54704">5</cx:pt>
          <cx:pt idx="54705">4</cx:pt>
          <cx:pt idx="54706">5</cx:pt>
          <cx:pt idx="54707">4</cx:pt>
          <cx:pt idx="54708">4</cx:pt>
          <cx:pt idx="54709">5</cx:pt>
          <cx:pt idx="54710">3</cx:pt>
          <cx:pt idx="54711">4</cx:pt>
          <cx:pt idx="54712">4</cx:pt>
          <cx:pt idx="54713">3</cx:pt>
          <cx:pt idx="54714">3</cx:pt>
          <cx:pt idx="54715">5</cx:pt>
          <cx:pt idx="54716">5</cx:pt>
          <cx:pt idx="54717">4</cx:pt>
          <cx:pt idx="54718">3</cx:pt>
          <cx:pt idx="54719">5</cx:pt>
          <cx:pt idx="54720">2</cx:pt>
          <cx:pt idx="54721">4</cx:pt>
          <cx:pt idx="54722">3</cx:pt>
          <cx:pt idx="54723">5</cx:pt>
          <cx:pt idx="54724">5</cx:pt>
          <cx:pt idx="54725">4</cx:pt>
          <cx:pt idx="54726">5</cx:pt>
          <cx:pt idx="54727">5</cx:pt>
          <cx:pt idx="54728">3</cx:pt>
          <cx:pt idx="54729">1</cx:pt>
          <cx:pt idx="54730">1</cx:pt>
          <cx:pt idx="54731">4</cx:pt>
          <cx:pt idx="54732">4</cx:pt>
          <cx:pt idx="54733">3</cx:pt>
          <cx:pt idx="54734">4</cx:pt>
          <cx:pt idx="54735">4</cx:pt>
          <cx:pt idx="54736">5</cx:pt>
          <cx:pt idx="54737">2</cx:pt>
          <cx:pt idx="54738">4</cx:pt>
          <cx:pt idx="54739">4</cx:pt>
          <cx:pt idx="54740">1</cx:pt>
          <cx:pt idx="54741">5</cx:pt>
          <cx:pt idx="54742">4</cx:pt>
          <cx:pt idx="54743">4</cx:pt>
          <cx:pt idx="54744">5</cx:pt>
          <cx:pt idx="54745">5</cx:pt>
          <cx:pt idx="54746">2</cx:pt>
          <cx:pt idx="54747">1</cx:pt>
          <cx:pt idx="54748">1</cx:pt>
          <cx:pt idx="54749">4</cx:pt>
          <cx:pt idx="54750">5</cx:pt>
          <cx:pt idx="54751">2</cx:pt>
          <cx:pt idx="54752">4</cx:pt>
          <cx:pt idx="54753">5</cx:pt>
          <cx:pt idx="54754">4</cx:pt>
          <cx:pt idx="54755">4</cx:pt>
          <cx:pt idx="54756">3</cx:pt>
          <cx:pt idx="54757">2</cx:pt>
          <cx:pt idx="54758">5</cx:pt>
          <cx:pt idx="54759">4</cx:pt>
          <cx:pt idx="54760">5</cx:pt>
          <cx:pt idx="54761">3</cx:pt>
          <cx:pt idx="54762">1</cx:pt>
          <cx:pt idx="54763">4</cx:pt>
          <cx:pt idx="54764">4</cx:pt>
          <cx:pt idx="54765">3</cx:pt>
          <cx:pt idx="54766">4</cx:pt>
          <cx:pt idx="54767">4</cx:pt>
          <cx:pt idx="54768">3</cx:pt>
          <cx:pt idx="54769">2</cx:pt>
          <cx:pt idx="54770">5</cx:pt>
          <cx:pt idx="54771">3</cx:pt>
          <cx:pt idx="54772">4</cx:pt>
          <cx:pt idx="54773">4</cx:pt>
          <cx:pt idx="54774">5</cx:pt>
          <cx:pt idx="54775">4</cx:pt>
          <cx:pt idx="54776">3</cx:pt>
          <cx:pt idx="54777">3</cx:pt>
          <cx:pt idx="54778">5</cx:pt>
          <cx:pt idx="54779">3</cx:pt>
          <cx:pt idx="54780">5</cx:pt>
          <cx:pt idx="54781">3</cx:pt>
          <cx:pt idx="54782">2</cx:pt>
          <cx:pt idx="54783">1</cx:pt>
          <cx:pt idx="54784">5</cx:pt>
          <cx:pt idx="54785">4</cx:pt>
          <cx:pt idx="54786">3</cx:pt>
          <cx:pt idx="54787">5</cx:pt>
          <cx:pt idx="54788">2</cx:pt>
          <cx:pt idx="54789">1</cx:pt>
          <cx:pt idx="54790">3</cx:pt>
          <cx:pt idx="54791">2</cx:pt>
          <cx:pt idx="54792">4</cx:pt>
          <cx:pt idx="54793">5</cx:pt>
          <cx:pt idx="54794">1</cx:pt>
          <cx:pt idx="54795">4</cx:pt>
          <cx:pt idx="54796">4</cx:pt>
          <cx:pt idx="54797">5</cx:pt>
          <cx:pt idx="54798">4</cx:pt>
          <cx:pt idx="54799">5</cx:pt>
          <cx:pt idx="54800">5</cx:pt>
          <cx:pt idx="54801">4</cx:pt>
          <cx:pt idx="54802">5</cx:pt>
          <cx:pt idx="54803">3</cx:pt>
          <cx:pt idx="54804">4</cx:pt>
          <cx:pt idx="54805">4</cx:pt>
          <cx:pt idx="54806">5</cx:pt>
          <cx:pt idx="54807">1</cx:pt>
          <cx:pt idx="54808">5</cx:pt>
          <cx:pt idx="54809">3</cx:pt>
          <cx:pt idx="54810">1</cx:pt>
          <cx:pt idx="54811">2</cx:pt>
          <cx:pt idx="54812">5</cx:pt>
          <cx:pt idx="54813">2</cx:pt>
          <cx:pt idx="54814">3</cx:pt>
          <cx:pt idx="54815">4</cx:pt>
          <cx:pt idx="54816">2</cx:pt>
          <cx:pt idx="54817">2</cx:pt>
          <cx:pt idx="54818">5</cx:pt>
          <cx:pt idx="54819">4</cx:pt>
          <cx:pt idx="54820">4</cx:pt>
          <cx:pt idx="54821">2</cx:pt>
          <cx:pt idx="54822">4</cx:pt>
          <cx:pt idx="54823">2</cx:pt>
          <cx:pt idx="54824">4</cx:pt>
          <cx:pt idx="54825">5</cx:pt>
          <cx:pt idx="54826">4</cx:pt>
          <cx:pt idx="54827">3</cx:pt>
          <cx:pt idx="54828">4</cx:pt>
          <cx:pt idx="54829">5</cx:pt>
          <cx:pt idx="54830">4</cx:pt>
          <cx:pt idx="54831">4</cx:pt>
          <cx:pt idx="54832">3</cx:pt>
          <cx:pt idx="54833">4</cx:pt>
          <cx:pt idx="54834">4</cx:pt>
          <cx:pt idx="54835">4</cx:pt>
          <cx:pt idx="54836">3</cx:pt>
          <cx:pt idx="54837">2</cx:pt>
          <cx:pt idx="54838">5</cx:pt>
          <cx:pt idx="54839">2</cx:pt>
          <cx:pt idx="54840">3</cx:pt>
          <cx:pt idx="54841">3</cx:pt>
          <cx:pt idx="54842">2</cx:pt>
          <cx:pt idx="54843">1</cx:pt>
          <cx:pt idx="54844">4</cx:pt>
          <cx:pt idx="54845">1</cx:pt>
          <cx:pt idx="54846">1</cx:pt>
          <cx:pt idx="54847">1</cx:pt>
          <cx:pt idx="54848">2</cx:pt>
          <cx:pt idx="54849">2</cx:pt>
          <cx:pt idx="54850">4</cx:pt>
          <cx:pt idx="54851">5</cx:pt>
          <cx:pt idx="54852">2</cx:pt>
          <cx:pt idx="54853">4</cx:pt>
          <cx:pt idx="54854">1</cx:pt>
          <cx:pt idx="54855">2</cx:pt>
          <cx:pt idx="54856">2</cx:pt>
          <cx:pt idx="54857">2</cx:pt>
          <cx:pt idx="54858">2</cx:pt>
          <cx:pt idx="54859">4</cx:pt>
          <cx:pt idx="54860">1</cx:pt>
          <cx:pt idx="54861">3</cx:pt>
          <cx:pt idx="54862">1</cx:pt>
          <cx:pt idx="54863">3</cx:pt>
          <cx:pt idx="54864">4</cx:pt>
          <cx:pt idx="54865">5</cx:pt>
          <cx:pt idx="54866">2</cx:pt>
          <cx:pt idx="54867">1</cx:pt>
          <cx:pt idx="54868">1</cx:pt>
          <cx:pt idx="54869">2</cx:pt>
          <cx:pt idx="54870">4</cx:pt>
          <cx:pt idx="54871">5</cx:pt>
          <cx:pt idx="54872">3</cx:pt>
          <cx:pt idx="54873">5</cx:pt>
          <cx:pt idx="54874">1</cx:pt>
          <cx:pt idx="54875">4</cx:pt>
          <cx:pt idx="54876">1</cx:pt>
          <cx:pt idx="54877">4</cx:pt>
          <cx:pt idx="54878">5</cx:pt>
          <cx:pt idx="54879">4</cx:pt>
          <cx:pt idx="54880">3</cx:pt>
          <cx:pt idx="54881">5</cx:pt>
          <cx:pt idx="54882">3</cx:pt>
          <cx:pt idx="54883">1</cx:pt>
          <cx:pt idx="54884">4</cx:pt>
          <cx:pt idx="54885">5</cx:pt>
          <cx:pt idx="54886">3</cx:pt>
          <cx:pt idx="54887">4</cx:pt>
          <cx:pt idx="54888">3</cx:pt>
          <cx:pt idx="54889">1</cx:pt>
          <cx:pt idx="54890">4</cx:pt>
          <cx:pt idx="54891">5</cx:pt>
          <cx:pt idx="54892">5</cx:pt>
          <cx:pt idx="54893">4</cx:pt>
          <cx:pt idx="54894">5</cx:pt>
          <cx:pt idx="54895">4</cx:pt>
          <cx:pt idx="54896">3</cx:pt>
          <cx:pt idx="54897">1</cx:pt>
          <cx:pt idx="54898">1</cx:pt>
          <cx:pt idx="54899">5</cx:pt>
          <cx:pt idx="54900">4</cx:pt>
          <cx:pt idx="54901">4</cx:pt>
          <cx:pt idx="54902">2</cx:pt>
          <cx:pt idx="54903">3</cx:pt>
          <cx:pt idx="54904">1</cx:pt>
          <cx:pt idx="54905">3</cx:pt>
          <cx:pt idx="54906">4</cx:pt>
          <cx:pt idx="54907">5</cx:pt>
          <cx:pt idx="54908">5</cx:pt>
          <cx:pt idx="54909">2</cx:pt>
          <cx:pt idx="54910">4</cx:pt>
          <cx:pt idx="54911">2</cx:pt>
          <cx:pt idx="54912">1</cx:pt>
          <cx:pt idx="54913">4</cx:pt>
          <cx:pt idx="54914">4</cx:pt>
          <cx:pt idx="54915">1</cx:pt>
          <cx:pt idx="54916">4</cx:pt>
          <cx:pt idx="54917">4</cx:pt>
          <cx:pt idx="54918">4</cx:pt>
          <cx:pt idx="54919">4</cx:pt>
          <cx:pt idx="54920">4</cx:pt>
          <cx:pt idx="54921">4</cx:pt>
          <cx:pt idx="54922">3</cx:pt>
          <cx:pt idx="54923">1</cx:pt>
          <cx:pt idx="54924">5</cx:pt>
          <cx:pt idx="54925">4</cx:pt>
          <cx:pt idx="54926">1</cx:pt>
          <cx:pt idx="54927">2</cx:pt>
          <cx:pt idx="54928">5</cx:pt>
          <cx:pt idx="54929">5</cx:pt>
          <cx:pt idx="54930">4</cx:pt>
          <cx:pt idx="54931">3</cx:pt>
          <cx:pt idx="54932">1</cx:pt>
          <cx:pt idx="54933">2</cx:pt>
          <cx:pt idx="54934">1</cx:pt>
          <cx:pt idx="54935">1</cx:pt>
          <cx:pt idx="54936">4</cx:pt>
          <cx:pt idx="54937">5</cx:pt>
          <cx:pt idx="54938">1</cx:pt>
          <cx:pt idx="54939">3</cx:pt>
          <cx:pt idx="54940">5</cx:pt>
          <cx:pt idx="54941">5</cx:pt>
          <cx:pt idx="54942">4</cx:pt>
          <cx:pt idx="54943">1</cx:pt>
          <cx:pt idx="54944">4</cx:pt>
          <cx:pt idx="54945">4</cx:pt>
          <cx:pt idx="54946">5</cx:pt>
          <cx:pt idx="54947">2</cx:pt>
          <cx:pt idx="54948">2</cx:pt>
          <cx:pt idx="54949">4</cx:pt>
          <cx:pt idx="54950">5</cx:pt>
          <cx:pt idx="54951">2</cx:pt>
          <cx:pt idx="54952">5</cx:pt>
          <cx:pt idx="54953">5</cx:pt>
          <cx:pt idx="54954">5</cx:pt>
          <cx:pt idx="54955">4</cx:pt>
          <cx:pt idx="54956">5</cx:pt>
          <cx:pt idx="54957">4</cx:pt>
          <cx:pt idx="54958">4</cx:pt>
          <cx:pt idx="54959">5</cx:pt>
          <cx:pt idx="54960">4</cx:pt>
          <cx:pt idx="54961">5</cx:pt>
          <cx:pt idx="54962">2</cx:pt>
          <cx:pt idx="54963">5</cx:pt>
          <cx:pt idx="54964">4</cx:pt>
          <cx:pt idx="54965">2</cx:pt>
          <cx:pt idx="54966">4</cx:pt>
          <cx:pt idx="54967">1</cx:pt>
          <cx:pt idx="54968">5</cx:pt>
          <cx:pt idx="54969">4</cx:pt>
          <cx:pt idx="54970">5</cx:pt>
          <cx:pt idx="54971">3</cx:pt>
          <cx:pt idx="54972">4</cx:pt>
          <cx:pt idx="54973">3</cx:pt>
          <cx:pt idx="54974">2</cx:pt>
          <cx:pt idx="54975">4</cx:pt>
          <cx:pt idx="54976">3</cx:pt>
          <cx:pt idx="54977">3</cx:pt>
          <cx:pt idx="54978">1</cx:pt>
          <cx:pt idx="54979">2</cx:pt>
          <cx:pt idx="54980">2</cx:pt>
          <cx:pt idx="54981">4</cx:pt>
          <cx:pt idx="54982">5</cx:pt>
          <cx:pt idx="54983">5</cx:pt>
          <cx:pt idx="54984">4</cx:pt>
          <cx:pt idx="54985">1</cx:pt>
          <cx:pt idx="54986">3</cx:pt>
          <cx:pt idx="54987">1</cx:pt>
          <cx:pt idx="54988">4</cx:pt>
          <cx:pt idx="54989">5</cx:pt>
          <cx:pt idx="54990">4</cx:pt>
          <cx:pt idx="54991">5</cx:pt>
          <cx:pt idx="54992">2</cx:pt>
          <cx:pt idx="54993">1</cx:pt>
          <cx:pt idx="54994">4</cx:pt>
          <cx:pt idx="54995">3</cx:pt>
          <cx:pt idx="54996">4</cx:pt>
          <cx:pt idx="54997">1</cx:pt>
          <cx:pt idx="54998">4</cx:pt>
          <cx:pt idx="54999">4</cx:pt>
          <cx:pt idx="55000">1</cx:pt>
          <cx:pt idx="55001">2</cx:pt>
          <cx:pt idx="55002">1</cx:pt>
          <cx:pt idx="55003">5</cx:pt>
          <cx:pt idx="55004">5</cx:pt>
          <cx:pt idx="55005">1</cx:pt>
          <cx:pt idx="55006">4</cx:pt>
          <cx:pt idx="55007">5</cx:pt>
          <cx:pt idx="55008">2</cx:pt>
          <cx:pt idx="55009">1</cx:pt>
          <cx:pt idx="55010">5</cx:pt>
          <cx:pt idx="55011">4</cx:pt>
          <cx:pt idx="55012">5</cx:pt>
          <cx:pt idx="55013">2</cx:pt>
          <cx:pt idx="55014">1</cx:pt>
          <cx:pt idx="55015">1</cx:pt>
          <cx:pt idx="55016">3</cx:pt>
          <cx:pt idx="55017">3</cx:pt>
          <cx:pt idx="55018">5</cx:pt>
          <cx:pt idx="55019">5</cx:pt>
          <cx:pt idx="55020">4</cx:pt>
          <cx:pt idx="55021">4</cx:pt>
          <cx:pt idx="55022">5</cx:pt>
          <cx:pt idx="55023">5</cx:pt>
          <cx:pt idx="55024">4</cx:pt>
          <cx:pt idx="55025">3</cx:pt>
          <cx:pt idx="55026">4</cx:pt>
          <cx:pt idx="55027">2</cx:pt>
          <cx:pt idx="55028">1</cx:pt>
          <cx:pt idx="55029">5</cx:pt>
          <cx:pt idx="55030">3</cx:pt>
          <cx:pt idx="55031">3</cx:pt>
          <cx:pt idx="55032">5</cx:pt>
          <cx:pt idx="55033">4</cx:pt>
          <cx:pt idx="55034">3</cx:pt>
          <cx:pt idx="55035">5</cx:pt>
          <cx:pt idx="55036">4</cx:pt>
          <cx:pt idx="55037">4</cx:pt>
          <cx:pt idx="55038">1</cx:pt>
          <cx:pt idx="55039">3</cx:pt>
          <cx:pt idx="55040">4</cx:pt>
          <cx:pt idx="55041">5</cx:pt>
          <cx:pt idx="55042">1</cx:pt>
          <cx:pt idx="55043">5</cx:pt>
          <cx:pt idx="55044">5</cx:pt>
          <cx:pt idx="55045">3</cx:pt>
          <cx:pt idx="55046">4</cx:pt>
          <cx:pt idx="55047">5</cx:pt>
          <cx:pt idx="55048">4</cx:pt>
          <cx:pt idx="55049">4</cx:pt>
          <cx:pt idx="55050">5</cx:pt>
          <cx:pt idx="55051">2</cx:pt>
          <cx:pt idx="55052">3</cx:pt>
          <cx:pt idx="55053">5</cx:pt>
          <cx:pt idx="55054">4</cx:pt>
          <cx:pt idx="55055">4</cx:pt>
          <cx:pt idx="55056">3</cx:pt>
          <cx:pt idx="55057">5</cx:pt>
          <cx:pt idx="55058">5</cx:pt>
          <cx:pt idx="55059">4</cx:pt>
          <cx:pt idx="55060">3</cx:pt>
          <cx:pt idx="55061">5</cx:pt>
          <cx:pt idx="55062">1</cx:pt>
          <cx:pt idx="55063">5</cx:pt>
          <cx:pt idx="55064">1</cx:pt>
          <cx:pt idx="55065">5</cx:pt>
          <cx:pt idx="55066">1</cx:pt>
          <cx:pt idx="55067">5</cx:pt>
          <cx:pt idx="55068">5</cx:pt>
          <cx:pt idx="55069">4</cx:pt>
          <cx:pt idx="55070">4</cx:pt>
          <cx:pt idx="55071">5</cx:pt>
          <cx:pt idx="55072">4</cx:pt>
          <cx:pt idx="55073">3</cx:pt>
          <cx:pt idx="55074">4</cx:pt>
          <cx:pt idx="55075">3</cx:pt>
          <cx:pt idx="55076">4</cx:pt>
          <cx:pt idx="55077">2</cx:pt>
          <cx:pt idx="55078">4</cx:pt>
          <cx:pt idx="55079">3</cx:pt>
          <cx:pt idx="55080">5</cx:pt>
          <cx:pt idx="55081">2</cx:pt>
          <cx:pt idx="55082">4</cx:pt>
          <cx:pt idx="55083">4</cx:pt>
          <cx:pt idx="55084">5</cx:pt>
          <cx:pt idx="55085">5</cx:pt>
          <cx:pt idx="55086">4</cx:pt>
          <cx:pt idx="55087">3</cx:pt>
          <cx:pt idx="55088">4</cx:pt>
          <cx:pt idx="55089">1</cx:pt>
          <cx:pt idx="55090">3</cx:pt>
          <cx:pt idx="55091">4</cx:pt>
          <cx:pt idx="55092">4</cx:pt>
          <cx:pt idx="55093">3</cx:pt>
          <cx:pt idx="55094">2</cx:pt>
          <cx:pt idx="55095">4</cx:pt>
          <cx:pt idx="55096">3</cx:pt>
          <cx:pt idx="55097">5</cx:pt>
          <cx:pt idx="55098">4</cx:pt>
          <cx:pt idx="55099">1</cx:pt>
          <cx:pt idx="55100">3</cx:pt>
          <cx:pt idx="55101">4</cx:pt>
          <cx:pt idx="55102">2</cx:pt>
          <cx:pt idx="55103">4</cx:pt>
          <cx:pt idx="55104">3</cx:pt>
          <cx:pt idx="55105">3</cx:pt>
          <cx:pt idx="55106">4</cx:pt>
          <cx:pt idx="55107">4</cx:pt>
          <cx:pt idx="55108">4</cx:pt>
          <cx:pt idx="55109">3</cx:pt>
          <cx:pt idx="55110">1</cx:pt>
          <cx:pt idx="55111">4</cx:pt>
          <cx:pt idx="55112">3</cx:pt>
          <cx:pt idx="55113">4</cx:pt>
          <cx:pt idx="55114">4</cx:pt>
          <cx:pt idx="55115">4</cx:pt>
          <cx:pt idx="55116">5</cx:pt>
          <cx:pt idx="55117">2</cx:pt>
          <cx:pt idx="55118">4</cx:pt>
          <cx:pt idx="55119">1</cx:pt>
          <cx:pt idx="55120">5</cx:pt>
          <cx:pt idx="55121">4</cx:pt>
          <cx:pt idx="55122">4</cx:pt>
          <cx:pt idx="55123">5</cx:pt>
          <cx:pt idx="55124">4</cx:pt>
          <cx:pt idx="55125">5</cx:pt>
          <cx:pt idx="55126">4</cx:pt>
          <cx:pt idx="55127">3</cx:pt>
          <cx:pt idx="55128">4</cx:pt>
          <cx:pt idx="55129">4</cx:pt>
          <cx:pt idx="55130">3</cx:pt>
          <cx:pt idx="55131">3</cx:pt>
          <cx:pt idx="55132">4</cx:pt>
          <cx:pt idx="55133">4</cx:pt>
          <cx:pt idx="55134">4</cx:pt>
          <cx:pt idx="55135">3</cx:pt>
          <cx:pt idx="55136">2</cx:pt>
          <cx:pt idx="55137">1</cx:pt>
          <cx:pt idx="55138">3</cx:pt>
          <cx:pt idx="55139">4</cx:pt>
          <cx:pt idx="55140">4</cx:pt>
          <cx:pt idx="55141">1</cx:pt>
          <cx:pt idx="55142">1</cx:pt>
          <cx:pt idx="55143">1</cx:pt>
          <cx:pt idx="55144">4</cx:pt>
          <cx:pt idx="55145">5</cx:pt>
          <cx:pt idx="55146">3</cx:pt>
          <cx:pt idx="55147">2</cx:pt>
          <cx:pt idx="55148">3</cx:pt>
          <cx:pt idx="55149">3</cx:pt>
          <cx:pt idx="55150">4</cx:pt>
          <cx:pt idx="55151">4</cx:pt>
          <cx:pt idx="55152">1</cx:pt>
          <cx:pt idx="55153">4</cx:pt>
          <cx:pt idx="55154">5</cx:pt>
          <cx:pt idx="55155">5</cx:pt>
          <cx:pt idx="55156">3</cx:pt>
          <cx:pt idx="55157">1</cx:pt>
          <cx:pt idx="55158">5</cx:pt>
          <cx:pt idx="55159">2</cx:pt>
          <cx:pt idx="55160">2</cx:pt>
          <cx:pt idx="55161">5</cx:pt>
          <cx:pt idx="55162">5</cx:pt>
          <cx:pt idx="55163">5</cx:pt>
          <cx:pt idx="55164">5</cx:pt>
          <cx:pt idx="55165">5</cx:pt>
          <cx:pt idx="55166">3</cx:pt>
          <cx:pt idx="55167">1</cx:pt>
          <cx:pt idx="55168">4</cx:pt>
          <cx:pt idx="55169">2</cx:pt>
          <cx:pt idx="55170">4</cx:pt>
          <cx:pt idx="55171">4</cx:pt>
          <cx:pt idx="55172">1</cx:pt>
          <cx:pt idx="55173">4</cx:pt>
          <cx:pt idx="55174">4</cx:pt>
          <cx:pt idx="55175">2</cx:pt>
          <cx:pt idx="55176">5</cx:pt>
          <cx:pt idx="55177">1</cx:pt>
          <cx:pt idx="55178">3</cx:pt>
          <cx:pt idx="55179">4</cx:pt>
          <cx:pt idx="55180">2</cx:pt>
          <cx:pt idx="55181">3</cx:pt>
          <cx:pt idx="55182">3</cx:pt>
          <cx:pt idx="55183">4</cx:pt>
          <cx:pt idx="55184">4</cx:pt>
          <cx:pt idx="55185">2</cx:pt>
          <cx:pt idx="55186">4</cx:pt>
          <cx:pt idx="55187">4</cx:pt>
          <cx:pt idx="55188">3</cx:pt>
          <cx:pt idx="55189">1</cx:pt>
          <cx:pt idx="55190">2</cx:pt>
          <cx:pt idx="55191">3</cx:pt>
          <cx:pt idx="55192">4</cx:pt>
          <cx:pt idx="55193">1</cx:pt>
          <cx:pt idx="55194">5</cx:pt>
          <cx:pt idx="55195">1</cx:pt>
          <cx:pt idx="55196">3</cx:pt>
          <cx:pt idx="55197">5</cx:pt>
          <cx:pt idx="55198">4</cx:pt>
          <cx:pt idx="55199">2</cx:pt>
          <cx:pt idx="55200">4</cx:pt>
          <cx:pt idx="55201">4</cx:pt>
          <cx:pt idx="55202">2</cx:pt>
          <cx:pt idx="55203">1</cx:pt>
          <cx:pt idx="55204">5</cx:pt>
          <cx:pt idx="55205">3</cx:pt>
          <cx:pt idx="55206">5</cx:pt>
          <cx:pt idx="55207">1</cx:pt>
          <cx:pt idx="55208">2</cx:pt>
          <cx:pt idx="55209">4</cx:pt>
          <cx:pt idx="55210">2</cx:pt>
          <cx:pt idx="55211">1</cx:pt>
          <cx:pt idx="55212">5</cx:pt>
          <cx:pt idx="55213">4</cx:pt>
          <cx:pt idx="55214">4</cx:pt>
          <cx:pt idx="55215">3</cx:pt>
          <cx:pt idx="55216">5</cx:pt>
          <cx:pt idx="55217">5</cx:pt>
          <cx:pt idx="55218">4</cx:pt>
          <cx:pt idx="55219">5</cx:pt>
          <cx:pt idx="55220">4</cx:pt>
          <cx:pt idx="55221">4</cx:pt>
          <cx:pt idx="55222">4</cx:pt>
          <cx:pt idx="55223">1</cx:pt>
          <cx:pt idx="55224">1</cx:pt>
          <cx:pt idx="55225">4</cx:pt>
          <cx:pt idx="55226">4</cx:pt>
          <cx:pt idx="55227">4</cx:pt>
          <cx:pt idx="55228">4</cx:pt>
          <cx:pt idx="55229">5</cx:pt>
          <cx:pt idx="55230">5</cx:pt>
          <cx:pt idx="55231">3</cx:pt>
          <cx:pt idx="55232">5</cx:pt>
          <cx:pt idx="55233">4</cx:pt>
          <cx:pt idx="55234">5</cx:pt>
          <cx:pt idx="55235">5</cx:pt>
          <cx:pt idx="55236">5</cx:pt>
          <cx:pt idx="55237">5</cx:pt>
          <cx:pt idx="55238">5</cx:pt>
          <cx:pt idx="55239">1</cx:pt>
          <cx:pt idx="55240">5</cx:pt>
          <cx:pt idx="55241">1</cx:pt>
          <cx:pt idx="55242">4</cx:pt>
          <cx:pt idx="55243">1</cx:pt>
          <cx:pt idx="55244">3</cx:pt>
          <cx:pt idx="55245">1</cx:pt>
          <cx:pt idx="55246">2</cx:pt>
          <cx:pt idx="55247">3</cx:pt>
          <cx:pt idx="55248">1</cx:pt>
          <cx:pt idx="55249">2</cx:pt>
          <cx:pt idx="55250">2</cx:pt>
          <cx:pt idx="55251">1</cx:pt>
          <cx:pt idx="55252">4</cx:pt>
          <cx:pt idx="55253">1</cx:pt>
          <cx:pt idx="55254">4</cx:pt>
          <cx:pt idx="55255">3</cx:pt>
          <cx:pt idx="55256">5</cx:pt>
          <cx:pt idx="55257">5</cx:pt>
          <cx:pt idx="55258">2</cx:pt>
          <cx:pt idx="55259">5</cx:pt>
          <cx:pt idx="55260">5</cx:pt>
          <cx:pt idx="55261">2</cx:pt>
          <cx:pt idx="55262">5</cx:pt>
          <cx:pt idx="55263">4</cx:pt>
          <cx:pt idx="55264">5</cx:pt>
          <cx:pt idx="55265">4</cx:pt>
          <cx:pt idx="55266">3</cx:pt>
          <cx:pt idx="55267">3</cx:pt>
          <cx:pt idx="55268">2</cx:pt>
          <cx:pt idx="55269">3</cx:pt>
          <cx:pt idx="55270">4</cx:pt>
          <cx:pt idx="55271">2</cx:pt>
          <cx:pt idx="55272">2</cx:pt>
          <cx:pt idx="55273">5</cx:pt>
          <cx:pt idx="55274">2</cx:pt>
          <cx:pt idx="55275">3</cx:pt>
          <cx:pt idx="55276">5</cx:pt>
          <cx:pt idx="55277">5</cx:pt>
          <cx:pt idx="55278">4</cx:pt>
          <cx:pt idx="55279">5</cx:pt>
          <cx:pt idx="55280">3</cx:pt>
          <cx:pt idx="55281">4</cx:pt>
          <cx:pt idx="55282">2</cx:pt>
          <cx:pt idx="55283">4</cx:pt>
          <cx:pt idx="55284">4</cx:pt>
          <cx:pt idx="55285">5</cx:pt>
          <cx:pt idx="55286">1</cx:pt>
          <cx:pt idx="55287">3</cx:pt>
          <cx:pt idx="55288">5</cx:pt>
          <cx:pt idx="55289">1</cx:pt>
          <cx:pt idx="55290">4</cx:pt>
          <cx:pt idx="55291">2</cx:pt>
          <cx:pt idx="55292">5</cx:pt>
          <cx:pt idx="55293">4</cx:pt>
          <cx:pt idx="55294">3</cx:pt>
          <cx:pt idx="55295">1</cx:pt>
          <cx:pt idx="55296">1</cx:pt>
          <cx:pt idx="55297">5</cx:pt>
          <cx:pt idx="55298">2</cx:pt>
          <cx:pt idx="55299">3</cx:pt>
          <cx:pt idx="55300">1</cx:pt>
          <cx:pt idx="55301">5</cx:pt>
          <cx:pt idx="55302">5</cx:pt>
          <cx:pt idx="55303">3</cx:pt>
          <cx:pt idx="55304">3</cx:pt>
          <cx:pt idx="55305">5</cx:pt>
          <cx:pt idx="55306">5</cx:pt>
          <cx:pt idx="55307">2</cx:pt>
          <cx:pt idx="55308">1</cx:pt>
          <cx:pt idx="55309">5</cx:pt>
          <cx:pt idx="55310">5</cx:pt>
          <cx:pt idx="55311">3</cx:pt>
          <cx:pt idx="55312">3</cx:pt>
          <cx:pt idx="55313">5</cx:pt>
          <cx:pt idx="55314">5</cx:pt>
          <cx:pt idx="55315">5</cx:pt>
          <cx:pt idx="55316">1</cx:pt>
          <cx:pt idx="55317">2</cx:pt>
          <cx:pt idx="55318">5</cx:pt>
          <cx:pt idx="55319">4</cx:pt>
          <cx:pt idx="55320">1</cx:pt>
          <cx:pt idx="55321">4</cx:pt>
          <cx:pt idx="55322">4</cx:pt>
          <cx:pt idx="55323">4</cx:pt>
          <cx:pt idx="55324">2</cx:pt>
          <cx:pt idx="55325">4</cx:pt>
          <cx:pt idx="55326">4</cx:pt>
          <cx:pt idx="55327">4</cx:pt>
          <cx:pt idx="55328">4</cx:pt>
          <cx:pt idx="55329">5</cx:pt>
          <cx:pt idx="55330">5</cx:pt>
          <cx:pt idx="55331">4</cx:pt>
          <cx:pt idx="55332">3</cx:pt>
          <cx:pt idx="55333">2</cx:pt>
          <cx:pt idx="55334">4</cx:pt>
          <cx:pt idx="55335">5</cx:pt>
          <cx:pt idx="55336">5</cx:pt>
          <cx:pt idx="55337">2</cx:pt>
          <cx:pt idx="55338">4</cx:pt>
          <cx:pt idx="55339">1</cx:pt>
          <cx:pt idx="55340">3</cx:pt>
          <cx:pt idx="55341">4</cx:pt>
          <cx:pt idx="55342">3</cx:pt>
          <cx:pt idx="55343">2</cx:pt>
          <cx:pt idx="55344">2</cx:pt>
          <cx:pt idx="55345">5</cx:pt>
          <cx:pt idx="55346">2</cx:pt>
          <cx:pt idx="55347">4</cx:pt>
          <cx:pt idx="55348">1</cx:pt>
          <cx:pt idx="55349">4</cx:pt>
          <cx:pt idx="55350">2</cx:pt>
          <cx:pt idx="55351">5</cx:pt>
          <cx:pt idx="55352">2</cx:pt>
          <cx:pt idx="55353">4</cx:pt>
          <cx:pt idx="55354">1</cx:pt>
          <cx:pt idx="55355">3</cx:pt>
          <cx:pt idx="55356">3</cx:pt>
          <cx:pt idx="55357">5</cx:pt>
          <cx:pt idx="55358">3</cx:pt>
          <cx:pt idx="55359">1</cx:pt>
          <cx:pt idx="55360">4</cx:pt>
          <cx:pt idx="55361">5</cx:pt>
          <cx:pt idx="55362">4</cx:pt>
          <cx:pt idx="55363">2</cx:pt>
          <cx:pt idx="55364">4</cx:pt>
          <cx:pt idx="55365">5</cx:pt>
          <cx:pt idx="55366">3</cx:pt>
          <cx:pt idx="55367">3</cx:pt>
          <cx:pt idx="55368">4</cx:pt>
          <cx:pt idx="55369">5</cx:pt>
          <cx:pt idx="55370">2</cx:pt>
          <cx:pt idx="55371">2</cx:pt>
          <cx:pt idx="55372">3</cx:pt>
          <cx:pt idx="55373">4</cx:pt>
          <cx:pt idx="55374">2</cx:pt>
          <cx:pt idx="55375">4</cx:pt>
          <cx:pt idx="55376">3</cx:pt>
          <cx:pt idx="55377">4</cx:pt>
          <cx:pt idx="55378">1</cx:pt>
          <cx:pt idx="55379">5</cx:pt>
          <cx:pt idx="55380">4</cx:pt>
          <cx:pt idx="55381">5</cx:pt>
          <cx:pt idx="55382">1</cx:pt>
          <cx:pt idx="55383">5</cx:pt>
          <cx:pt idx="55384">4</cx:pt>
          <cx:pt idx="55385">1</cx:pt>
          <cx:pt idx="55386">3</cx:pt>
          <cx:pt idx="55387">1</cx:pt>
          <cx:pt idx="55388">3</cx:pt>
          <cx:pt idx="55389">4</cx:pt>
          <cx:pt idx="55390">3</cx:pt>
          <cx:pt idx="55391">3</cx:pt>
          <cx:pt idx="55392">5</cx:pt>
          <cx:pt idx="55393">3</cx:pt>
          <cx:pt idx="55394">5</cx:pt>
          <cx:pt idx="55395">2</cx:pt>
          <cx:pt idx="55396">4</cx:pt>
          <cx:pt idx="55397">5</cx:pt>
          <cx:pt idx="55398">4</cx:pt>
          <cx:pt idx="55399">2</cx:pt>
          <cx:pt idx="55400">5</cx:pt>
          <cx:pt idx="55401">3</cx:pt>
          <cx:pt idx="55402">1</cx:pt>
          <cx:pt idx="55403">2</cx:pt>
          <cx:pt idx="55404">4</cx:pt>
          <cx:pt idx="55405">3</cx:pt>
          <cx:pt idx="55406">4</cx:pt>
          <cx:pt idx="55407">3</cx:pt>
          <cx:pt idx="55408">1</cx:pt>
          <cx:pt idx="55409">4</cx:pt>
          <cx:pt idx="55410">4</cx:pt>
          <cx:pt idx="55411">5</cx:pt>
          <cx:pt idx="55412">2</cx:pt>
          <cx:pt idx="55413">4</cx:pt>
          <cx:pt idx="55414">5</cx:pt>
          <cx:pt idx="55415">2</cx:pt>
          <cx:pt idx="55416">4</cx:pt>
          <cx:pt idx="55417">2</cx:pt>
          <cx:pt idx="55418">4</cx:pt>
          <cx:pt idx="55419">4</cx:pt>
          <cx:pt idx="55420">1</cx:pt>
          <cx:pt idx="55421">5</cx:pt>
          <cx:pt idx="55422">3</cx:pt>
          <cx:pt idx="55423">3</cx:pt>
          <cx:pt idx="55424">3</cx:pt>
          <cx:pt idx="55425">4</cx:pt>
          <cx:pt idx="55426">4</cx:pt>
          <cx:pt idx="55427">5</cx:pt>
          <cx:pt idx="55428">2</cx:pt>
          <cx:pt idx="55429">4</cx:pt>
          <cx:pt idx="55430">3</cx:pt>
          <cx:pt idx="55431">3</cx:pt>
          <cx:pt idx="55432">1</cx:pt>
          <cx:pt idx="55433">2</cx:pt>
          <cx:pt idx="55434">2</cx:pt>
          <cx:pt idx="55435">5</cx:pt>
          <cx:pt idx="55436">4</cx:pt>
          <cx:pt idx="55437">2</cx:pt>
          <cx:pt idx="55438">1</cx:pt>
          <cx:pt idx="55439">5</cx:pt>
          <cx:pt idx="55440">4</cx:pt>
          <cx:pt idx="55441">4</cx:pt>
          <cx:pt idx="55442">2</cx:pt>
          <cx:pt idx="55443">3</cx:pt>
          <cx:pt idx="55444">3</cx:pt>
          <cx:pt idx="55445">1</cx:pt>
          <cx:pt idx="55446">4</cx:pt>
          <cx:pt idx="55447">1</cx:pt>
          <cx:pt idx="55448">5</cx:pt>
          <cx:pt idx="55449">4</cx:pt>
          <cx:pt idx="55450">5</cx:pt>
          <cx:pt idx="55451">3</cx:pt>
          <cx:pt idx="55452">3</cx:pt>
          <cx:pt idx="55453">3</cx:pt>
          <cx:pt idx="55454">5</cx:pt>
          <cx:pt idx="55455">4</cx:pt>
          <cx:pt idx="55456">5</cx:pt>
          <cx:pt idx="55457">3</cx:pt>
          <cx:pt idx="55458">5</cx:pt>
          <cx:pt idx="55459">2</cx:pt>
          <cx:pt idx="55460">4</cx:pt>
          <cx:pt idx="55461">5</cx:pt>
          <cx:pt idx="55462">4</cx:pt>
          <cx:pt idx="55463">4</cx:pt>
          <cx:pt idx="55464">4</cx:pt>
          <cx:pt idx="55465">5</cx:pt>
          <cx:pt idx="55466">5</cx:pt>
          <cx:pt idx="55467">3</cx:pt>
          <cx:pt idx="55468">4</cx:pt>
          <cx:pt idx="55469">5</cx:pt>
          <cx:pt idx="55470">2</cx:pt>
          <cx:pt idx="55471">5</cx:pt>
          <cx:pt idx="55472">3</cx:pt>
          <cx:pt idx="55473">1</cx:pt>
          <cx:pt idx="55474">2</cx:pt>
          <cx:pt idx="55475">2</cx:pt>
          <cx:pt idx="55476">5</cx:pt>
          <cx:pt idx="55477">5</cx:pt>
          <cx:pt idx="55478">2</cx:pt>
          <cx:pt idx="55479">4</cx:pt>
          <cx:pt idx="55480">1</cx:pt>
          <cx:pt idx="55481">1</cx:pt>
          <cx:pt idx="55482">5</cx:pt>
          <cx:pt idx="55483">3</cx:pt>
          <cx:pt idx="55484">4</cx:pt>
          <cx:pt idx="55485">4</cx:pt>
          <cx:pt idx="55486">3</cx:pt>
          <cx:pt idx="55487">4</cx:pt>
          <cx:pt idx="55488">4</cx:pt>
          <cx:pt idx="55489">3</cx:pt>
          <cx:pt idx="55490">2</cx:pt>
          <cx:pt idx="55491">4</cx:pt>
          <cx:pt idx="55492">1</cx:pt>
          <cx:pt idx="55493">4</cx:pt>
          <cx:pt idx="55494">3</cx:pt>
          <cx:pt idx="55495">5</cx:pt>
          <cx:pt idx="55496">3</cx:pt>
          <cx:pt idx="55497">4</cx:pt>
          <cx:pt idx="55498">5</cx:pt>
          <cx:pt idx="55499">3</cx:pt>
          <cx:pt idx="55500">4</cx:pt>
          <cx:pt idx="55501">2</cx:pt>
          <cx:pt idx="55502">4</cx:pt>
          <cx:pt idx="55503">4</cx:pt>
          <cx:pt idx="55504">3</cx:pt>
          <cx:pt idx="55505">1</cx:pt>
          <cx:pt idx="55506">4</cx:pt>
          <cx:pt idx="55507">4</cx:pt>
          <cx:pt idx="55508">2</cx:pt>
          <cx:pt idx="55509">1</cx:pt>
          <cx:pt idx="55510">5</cx:pt>
          <cx:pt idx="55511">4</cx:pt>
          <cx:pt idx="55512">4</cx:pt>
          <cx:pt idx="55513">2</cx:pt>
          <cx:pt idx="55514">4</cx:pt>
          <cx:pt idx="55515">2</cx:pt>
          <cx:pt idx="55516">5</cx:pt>
          <cx:pt idx="55517">5</cx:pt>
          <cx:pt idx="55518">5</cx:pt>
          <cx:pt idx="55519">4</cx:pt>
          <cx:pt idx="55520">5</cx:pt>
          <cx:pt idx="55521">2</cx:pt>
          <cx:pt idx="55522">2</cx:pt>
          <cx:pt idx="55523">1</cx:pt>
          <cx:pt idx="55524">5</cx:pt>
          <cx:pt idx="55525">4</cx:pt>
          <cx:pt idx="55526">2</cx:pt>
          <cx:pt idx="55527">4</cx:pt>
          <cx:pt idx="55528">5</cx:pt>
          <cx:pt idx="55529">5</cx:pt>
          <cx:pt idx="55530">5</cx:pt>
          <cx:pt idx="55531">2</cx:pt>
          <cx:pt idx="55532">5</cx:pt>
          <cx:pt idx="55533">1</cx:pt>
          <cx:pt idx="55534">5</cx:pt>
          <cx:pt idx="55535">3</cx:pt>
          <cx:pt idx="55536">4</cx:pt>
          <cx:pt idx="55537">3</cx:pt>
          <cx:pt idx="55538">3</cx:pt>
          <cx:pt idx="55539">2</cx:pt>
          <cx:pt idx="55540">3</cx:pt>
          <cx:pt idx="55541">1</cx:pt>
          <cx:pt idx="55542">1</cx:pt>
          <cx:pt idx="55543">3</cx:pt>
          <cx:pt idx="55544">4</cx:pt>
          <cx:pt idx="55545">1</cx:pt>
          <cx:pt idx="55546">5</cx:pt>
          <cx:pt idx="55547">1</cx:pt>
          <cx:pt idx="55548">2</cx:pt>
          <cx:pt idx="55549">3</cx:pt>
          <cx:pt idx="55550">5</cx:pt>
          <cx:pt idx="55551">3</cx:pt>
          <cx:pt idx="55552">4</cx:pt>
          <cx:pt idx="55553">4</cx:pt>
          <cx:pt idx="55554">2</cx:pt>
          <cx:pt idx="55555">5</cx:pt>
          <cx:pt idx="55556">1</cx:pt>
          <cx:pt idx="55557">2</cx:pt>
          <cx:pt idx="55558">1</cx:pt>
          <cx:pt idx="55559">5</cx:pt>
          <cx:pt idx="55560">2</cx:pt>
          <cx:pt idx="55561">5</cx:pt>
          <cx:pt idx="55562">4</cx:pt>
          <cx:pt idx="55563">4</cx:pt>
          <cx:pt idx="55564">5</cx:pt>
          <cx:pt idx="55565">5</cx:pt>
          <cx:pt idx="55566">5</cx:pt>
          <cx:pt idx="55567">1</cx:pt>
          <cx:pt idx="55568">5</cx:pt>
          <cx:pt idx="55569">4</cx:pt>
          <cx:pt idx="55570">5</cx:pt>
          <cx:pt idx="55571">3</cx:pt>
          <cx:pt idx="55572">5</cx:pt>
          <cx:pt idx="55573">4</cx:pt>
          <cx:pt idx="55574">4</cx:pt>
          <cx:pt idx="55575">4</cx:pt>
          <cx:pt idx="55576">3</cx:pt>
          <cx:pt idx="55577">4</cx:pt>
          <cx:pt idx="55578">4</cx:pt>
          <cx:pt idx="55579">2</cx:pt>
          <cx:pt idx="55580">2</cx:pt>
          <cx:pt idx="55581">1</cx:pt>
          <cx:pt idx="55582">2</cx:pt>
          <cx:pt idx="55583">3</cx:pt>
          <cx:pt idx="55584">3</cx:pt>
          <cx:pt idx="55585">4</cx:pt>
          <cx:pt idx="55586">1</cx:pt>
          <cx:pt idx="55587">5</cx:pt>
          <cx:pt idx="55588">4</cx:pt>
          <cx:pt idx="55589">2</cx:pt>
          <cx:pt idx="55590">1</cx:pt>
          <cx:pt idx="55591">5</cx:pt>
          <cx:pt idx="55592">2</cx:pt>
          <cx:pt idx="55593">3</cx:pt>
          <cx:pt idx="55594">2</cx:pt>
          <cx:pt idx="55595">2</cx:pt>
          <cx:pt idx="55596">2</cx:pt>
          <cx:pt idx="55597">5</cx:pt>
          <cx:pt idx="55598">3</cx:pt>
          <cx:pt idx="55599">1</cx:pt>
          <cx:pt idx="55600">4</cx:pt>
          <cx:pt idx="55601">5</cx:pt>
          <cx:pt idx="55602">1</cx:pt>
          <cx:pt idx="55603">3</cx:pt>
          <cx:pt idx="55604">5</cx:pt>
          <cx:pt idx="55605">5</cx:pt>
          <cx:pt idx="55606">1</cx:pt>
          <cx:pt idx="55607">2</cx:pt>
          <cx:pt idx="55608">5</cx:pt>
          <cx:pt idx="55609">1</cx:pt>
          <cx:pt idx="55610">4</cx:pt>
          <cx:pt idx="55611">1</cx:pt>
          <cx:pt idx="55612">4</cx:pt>
          <cx:pt idx="55613">5</cx:pt>
          <cx:pt idx="55614">5</cx:pt>
          <cx:pt idx="55615">4</cx:pt>
          <cx:pt idx="55616">4</cx:pt>
          <cx:pt idx="55617">2</cx:pt>
          <cx:pt idx="55618">5</cx:pt>
          <cx:pt idx="55619">3</cx:pt>
          <cx:pt idx="55620">4</cx:pt>
          <cx:pt idx="55621">5</cx:pt>
          <cx:pt idx="55622">4</cx:pt>
          <cx:pt idx="55623">2</cx:pt>
          <cx:pt idx="55624">1</cx:pt>
          <cx:pt idx="55625">2</cx:pt>
          <cx:pt idx="55626">2</cx:pt>
          <cx:pt idx="55627">5</cx:pt>
          <cx:pt idx="55628">3</cx:pt>
          <cx:pt idx="55629">4</cx:pt>
          <cx:pt idx="55630">3</cx:pt>
          <cx:pt idx="55631">3</cx:pt>
          <cx:pt idx="55632">5</cx:pt>
          <cx:pt idx="55633">2</cx:pt>
          <cx:pt idx="55634">5</cx:pt>
          <cx:pt idx="55635">5</cx:pt>
          <cx:pt idx="55636">5</cx:pt>
          <cx:pt idx="55637">3</cx:pt>
          <cx:pt idx="55638">2</cx:pt>
          <cx:pt idx="55639">2</cx:pt>
          <cx:pt idx="55640">5</cx:pt>
          <cx:pt idx="55641">1</cx:pt>
          <cx:pt idx="55642">5</cx:pt>
          <cx:pt idx="55643">4</cx:pt>
          <cx:pt idx="55644">3</cx:pt>
          <cx:pt idx="55645">5</cx:pt>
          <cx:pt idx="55646">4</cx:pt>
          <cx:pt idx="55647">3</cx:pt>
          <cx:pt idx="55648">4</cx:pt>
          <cx:pt idx="55649">3</cx:pt>
          <cx:pt idx="55650">5</cx:pt>
          <cx:pt idx="55651">2</cx:pt>
          <cx:pt idx="55652">5</cx:pt>
          <cx:pt idx="55653">3</cx:pt>
          <cx:pt idx="55654">4</cx:pt>
          <cx:pt idx="55655">5</cx:pt>
          <cx:pt idx="55656">5</cx:pt>
          <cx:pt idx="55657">2</cx:pt>
          <cx:pt idx="55658">1</cx:pt>
          <cx:pt idx="55659">4</cx:pt>
          <cx:pt idx="55660">2</cx:pt>
          <cx:pt idx="55661">3</cx:pt>
          <cx:pt idx="55662">4</cx:pt>
          <cx:pt idx="55663">4</cx:pt>
          <cx:pt idx="55664">3</cx:pt>
          <cx:pt idx="55665">4</cx:pt>
          <cx:pt idx="55666">5</cx:pt>
          <cx:pt idx="55667">5</cx:pt>
          <cx:pt idx="55668">4</cx:pt>
          <cx:pt idx="55669">5</cx:pt>
          <cx:pt idx="55670">1</cx:pt>
          <cx:pt idx="55671">4</cx:pt>
          <cx:pt idx="55672">4</cx:pt>
          <cx:pt idx="55673">5</cx:pt>
          <cx:pt idx="55674">5</cx:pt>
          <cx:pt idx="55675">2</cx:pt>
          <cx:pt idx="55676">2</cx:pt>
          <cx:pt idx="55677">4</cx:pt>
          <cx:pt idx="55678">5</cx:pt>
          <cx:pt idx="55679">4</cx:pt>
          <cx:pt idx="55680">5</cx:pt>
          <cx:pt idx="55681">5</cx:pt>
          <cx:pt idx="55682">5</cx:pt>
          <cx:pt idx="55683">5</cx:pt>
          <cx:pt idx="55684">2</cx:pt>
          <cx:pt idx="55685">3</cx:pt>
          <cx:pt idx="55686">1</cx:pt>
          <cx:pt idx="55687">3</cx:pt>
          <cx:pt idx="55688">4</cx:pt>
          <cx:pt idx="55689">4</cx:pt>
          <cx:pt idx="55690">2</cx:pt>
          <cx:pt idx="55691">3</cx:pt>
          <cx:pt idx="55692">5</cx:pt>
          <cx:pt idx="55693">1</cx:pt>
          <cx:pt idx="55694">3</cx:pt>
          <cx:pt idx="55695">4</cx:pt>
          <cx:pt idx="55696">3</cx:pt>
          <cx:pt idx="55697">5</cx:pt>
          <cx:pt idx="55698">2</cx:pt>
          <cx:pt idx="55699">4</cx:pt>
          <cx:pt idx="55700">3</cx:pt>
          <cx:pt idx="55701">4</cx:pt>
          <cx:pt idx="55702">1</cx:pt>
          <cx:pt idx="55703">4</cx:pt>
          <cx:pt idx="55704">5</cx:pt>
          <cx:pt idx="55705">1</cx:pt>
          <cx:pt idx="55706">3</cx:pt>
          <cx:pt idx="55707">1</cx:pt>
          <cx:pt idx="55708">4</cx:pt>
          <cx:pt idx="55709">3</cx:pt>
          <cx:pt idx="55710">4</cx:pt>
          <cx:pt idx="55711">4</cx:pt>
          <cx:pt idx="55712">5</cx:pt>
          <cx:pt idx="55713">2</cx:pt>
          <cx:pt idx="55714">5</cx:pt>
          <cx:pt idx="55715">3</cx:pt>
          <cx:pt idx="55716">2</cx:pt>
          <cx:pt idx="55717">5</cx:pt>
          <cx:pt idx="55718">3</cx:pt>
          <cx:pt idx="55719">5</cx:pt>
          <cx:pt idx="55720">4</cx:pt>
          <cx:pt idx="55721">3</cx:pt>
          <cx:pt idx="55722">1</cx:pt>
          <cx:pt idx="55723">3</cx:pt>
          <cx:pt idx="55724">2</cx:pt>
          <cx:pt idx="55725">2</cx:pt>
          <cx:pt idx="55726">2</cx:pt>
          <cx:pt idx="55727">4</cx:pt>
          <cx:pt idx="55728">3</cx:pt>
          <cx:pt idx="55729">3</cx:pt>
          <cx:pt idx="55730">3</cx:pt>
          <cx:pt idx="55731">3</cx:pt>
          <cx:pt idx="55732">5</cx:pt>
          <cx:pt idx="55733">3</cx:pt>
          <cx:pt idx="55734">2</cx:pt>
          <cx:pt idx="55735">4</cx:pt>
          <cx:pt idx="55736">4</cx:pt>
          <cx:pt idx="55737">2</cx:pt>
          <cx:pt idx="55738">4</cx:pt>
          <cx:pt idx="55739">4</cx:pt>
          <cx:pt idx="55740">5</cx:pt>
          <cx:pt idx="55741">1</cx:pt>
          <cx:pt idx="55742">5</cx:pt>
          <cx:pt idx="55743">5</cx:pt>
          <cx:pt idx="55744">3</cx:pt>
          <cx:pt idx="55745">4</cx:pt>
          <cx:pt idx="55746">1</cx:pt>
          <cx:pt idx="55747">2</cx:pt>
          <cx:pt idx="55748">3</cx:pt>
          <cx:pt idx="55749">2</cx:pt>
          <cx:pt idx="55750">1</cx:pt>
          <cx:pt idx="55751">2</cx:pt>
          <cx:pt idx="55752">4</cx:pt>
          <cx:pt idx="55753">3</cx:pt>
          <cx:pt idx="55754">2</cx:pt>
          <cx:pt idx="55755">3</cx:pt>
          <cx:pt idx="55756">5</cx:pt>
          <cx:pt idx="55757">4</cx:pt>
          <cx:pt idx="55758">2</cx:pt>
          <cx:pt idx="55759">5</cx:pt>
          <cx:pt idx="55760">5</cx:pt>
          <cx:pt idx="55761">5</cx:pt>
          <cx:pt idx="55762">3</cx:pt>
          <cx:pt idx="55763">1</cx:pt>
          <cx:pt idx="55764">4</cx:pt>
          <cx:pt idx="55765">1</cx:pt>
          <cx:pt idx="55766">1</cx:pt>
          <cx:pt idx="55767">4</cx:pt>
          <cx:pt idx="55768">4</cx:pt>
          <cx:pt idx="55769">4</cx:pt>
          <cx:pt idx="55770">2</cx:pt>
          <cx:pt idx="55771">2</cx:pt>
          <cx:pt idx="55772">5</cx:pt>
          <cx:pt idx="55773">4</cx:pt>
          <cx:pt idx="55774">4</cx:pt>
          <cx:pt idx="55775">3</cx:pt>
          <cx:pt idx="55776">5</cx:pt>
          <cx:pt idx="55777">4</cx:pt>
          <cx:pt idx="55778">4</cx:pt>
          <cx:pt idx="55779">1</cx:pt>
          <cx:pt idx="55780">5</cx:pt>
          <cx:pt idx="55781">2</cx:pt>
          <cx:pt idx="55782">5</cx:pt>
          <cx:pt idx="55783">3</cx:pt>
          <cx:pt idx="55784">3</cx:pt>
          <cx:pt idx="55785">5</cx:pt>
          <cx:pt idx="55786">4</cx:pt>
          <cx:pt idx="55787">4</cx:pt>
          <cx:pt idx="55788">1</cx:pt>
          <cx:pt idx="55789">4</cx:pt>
          <cx:pt idx="55790">4</cx:pt>
          <cx:pt idx="55791">2</cx:pt>
          <cx:pt idx="55792">5</cx:pt>
          <cx:pt idx="55793">4</cx:pt>
          <cx:pt idx="55794">3</cx:pt>
          <cx:pt idx="55795">2</cx:pt>
          <cx:pt idx="55796">3</cx:pt>
          <cx:pt idx="55797">5</cx:pt>
          <cx:pt idx="55798">4</cx:pt>
          <cx:pt idx="55799">4</cx:pt>
          <cx:pt idx="55800">4</cx:pt>
          <cx:pt idx="55801">2</cx:pt>
          <cx:pt idx="55802">5</cx:pt>
          <cx:pt idx="55803">1</cx:pt>
          <cx:pt idx="55804">2</cx:pt>
          <cx:pt idx="55805">2</cx:pt>
          <cx:pt idx="55806">5</cx:pt>
          <cx:pt idx="55807">3</cx:pt>
          <cx:pt idx="55808">3</cx:pt>
          <cx:pt idx="55809">2</cx:pt>
          <cx:pt idx="55810">5</cx:pt>
          <cx:pt idx="55811">3</cx:pt>
          <cx:pt idx="55812">1</cx:pt>
          <cx:pt idx="55813">4</cx:pt>
          <cx:pt idx="55814">5</cx:pt>
          <cx:pt idx="55815">2</cx:pt>
          <cx:pt idx="55816">5</cx:pt>
          <cx:pt idx="55817">3</cx:pt>
          <cx:pt idx="55818">5</cx:pt>
          <cx:pt idx="55819">4</cx:pt>
          <cx:pt idx="55820">2</cx:pt>
          <cx:pt idx="55821">3</cx:pt>
          <cx:pt idx="55822">4</cx:pt>
          <cx:pt idx="55823">3</cx:pt>
          <cx:pt idx="55824">2</cx:pt>
          <cx:pt idx="55825">4</cx:pt>
          <cx:pt idx="55826">4</cx:pt>
          <cx:pt idx="55827">4</cx:pt>
          <cx:pt idx="55828">3</cx:pt>
          <cx:pt idx="55829">1</cx:pt>
          <cx:pt idx="55830">5</cx:pt>
          <cx:pt idx="55831">1</cx:pt>
          <cx:pt idx="55832">4</cx:pt>
          <cx:pt idx="55833">3</cx:pt>
          <cx:pt idx="55834">2</cx:pt>
          <cx:pt idx="55835">3</cx:pt>
          <cx:pt idx="55836">3</cx:pt>
          <cx:pt idx="55837">1</cx:pt>
          <cx:pt idx="55838">2</cx:pt>
          <cx:pt idx="55839">2</cx:pt>
          <cx:pt idx="55840">2</cx:pt>
          <cx:pt idx="55841">4</cx:pt>
          <cx:pt idx="55842">5</cx:pt>
          <cx:pt idx="55843">5</cx:pt>
          <cx:pt idx="55844">3</cx:pt>
          <cx:pt idx="55845">4</cx:pt>
          <cx:pt idx="55846">3</cx:pt>
          <cx:pt idx="55847">2</cx:pt>
          <cx:pt idx="55848">4</cx:pt>
          <cx:pt idx="55849">5</cx:pt>
          <cx:pt idx="55850">5</cx:pt>
          <cx:pt idx="55851">5</cx:pt>
          <cx:pt idx="55852">5</cx:pt>
          <cx:pt idx="55853">1</cx:pt>
          <cx:pt idx="55854">4</cx:pt>
          <cx:pt idx="55855">2</cx:pt>
          <cx:pt idx="55856">5</cx:pt>
          <cx:pt idx="55857">5</cx:pt>
          <cx:pt idx="55858">4</cx:pt>
          <cx:pt idx="55859">2</cx:pt>
          <cx:pt idx="55860">3</cx:pt>
          <cx:pt idx="55861">4</cx:pt>
          <cx:pt idx="55862">2</cx:pt>
          <cx:pt idx="55863">5</cx:pt>
          <cx:pt idx="55864">4</cx:pt>
          <cx:pt idx="55865">4</cx:pt>
          <cx:pt idx="55866">1</cx:pt>
          <cx:pt idx="55867">5</cx:pt>
          <cx:pt idx="55868">2</cx:pt>
          <cx:pt idx="55869">5</cx:pt>
          <cx:pt idx="55870">3</cx:pt>
          <cx:pt idx="55871">4</cx:pt>
          <cx:pt idx="55872">4</cx:pt>
          <cx:pt idx="55873">4</cx:pt>
          <cx:pt idx="55874">5</cx:pt>
          <cx:pt idx="55875">5</cx:pt>
          <cx:pt idx="55876">4</cx:pt>
          <cx:pt idx="55877">2</cx:pt>
          <cx:pt idx="55878">5</cx:pt>
          <cx:pt idx="55879">3</cx:pt>
          <cx:pt idx="55880">2</cx:pt>
          <cx:pt idx="55881">5</cx:pt>
          <cx:pt idx="55882">5</cx:pt>
          <cx:pt idx="55883">1</cx:pt>
          <cx:pt idx="55884">4</cx:pt>
          <cx:pt idx="55885">1</cx:pt>
          <cx:pt idx="55886">2</cx:pt>
          <cx:pt idx="55887">1</cx:pt>
          <cx:pt idx="55888">4</cx:pt>
          <cx:pt idx="55889">4</cx:pt>
          <cx:pt idx="55890">4</cx:pt>
          <cx:pt idx="55891">3</cx:pt>
          <cx:pt idx="55892">4</cx:pt>
          <cx:pt idx="55893">5</cx:pt>
          <cx:pt idx="55894">5</cx:pt>
          <cx:pt idx="55895">2</cx:pt>
          <cx:pt idx="55896">4</cx:pt>
          <cx:pt idx="55897">5</cx:pt>
          <cx:pt idx="55898">4</cx:pt>
          <cx:pt idx="55899">5</cx:pt>
          <cx:pt idx="55900">3</cx:pt>
          <cx:pt idx="55901">2</cx:pt>
          <cx:pt idx="55902">3</cx:pt>
          <cx:pt idx="55903">1</cx:pt>
          <cx:pt idx="55904">3</cx:pt>
          <cx:pt idx="55905">2</cx:pt>
          <cx:pt idx="55906">4</cx:pt>
          <cx:pt idx="55907">5</cx:pt>
          <cx:pt idx="55908">4</cx:pt>
          <cx:pt idx="55909">3</cx:pt>
          <cx:pt idx="55910">5</cx:pt>
          <cx:pt idx="55911">5</cx:pt>
          <cx:pt idx="55912">1</cx:pt>
          <cx:pt idx="55913">3</cx:pt>
          <cx:pt idx="55914">4</cx:pt>
          <cx:pt idx="55915">5</cx:pt>
          <cx:pt idx="55916">5</cx:pt>
          <cx:pt idx="55917">1</cx:pt>
          <cx:pt idx="55918">3</cx:pt>
          <cx:pt idx="55919">1</cx:pt>
          <cx:pt idx="55920">5</cx:pt>
          <cx:pt idx="55921">1</cx:pt>
          <cx:pt idx="55922">1</cx:pt>
          <cx:pt idx="55923">3</cx:pt>
          <cx:pt idx="55924">3</cx:pt>
          <cx:pt idx="55925">4</cx:pt>
          <cx:pt idx="55926">3</cx:pt>
          <cx:pt idx="55927">1</cx:pt>
          <cx:pt idx="55928">4</cx:pt>
          <cx:pt idx="55929">1</cx:pt>
          <cx:pt idx="55930">4</cx:pt>
          <cx:pt idx="55931">1</cx:pt>
          <cx:pt idx="55932">2</cx:pt>
          <cx:pt idx="55933">2</cx:pt>
          <cx:pt idx="55934">2</cx:pt>
          <cx:pt idx="55935">5</cx:pt>
          <cx:pt idx="55936">3</cx:pt>
          <cx:pt idx="55937">3</cx:pt>
          <cx:pt idx="55938">4</cx:pt>
          <cx:pt idx="55939">2</cx:pt>
          <cx:pt idx="55940">1</cx:pt>
          <cx:pt idx="55941">4</cx:pt>
          <cx:pt idx="55942">4</cx:pt>
          <cx:pt idx="55943">5</cx:pt>
          <cx:pt idx="55944">1</cx:pt>
          <cx:pt idx="55945">5</cx:pt>
          <cx:pt idx="55946">3</cx:pt>
          <cx:pt idx="55947">4</cx:pt>
          <cx:pt idx="55948">1</cx:pt>
          <cx:pt idx="55949">5</cx:pt>
          <cx:pt idx="55950">4</cx:pt>
          <cx:pt idx="55951">5</cx:pt>
          <cx:pt idx="55952">4</cx:pt>
          <cx:pt idx="55953">4</cx:pt>
          <cx:pt idx="55954">4</cx:pt>
          <cx:pt idx="55955">2</cx:pt>
          <cx:pt idx="55956">4</cx:pt>
          <cx:pt idx="55957">4</cx:pt>
          <cx:pt idx="55958">3</cx:pt>
          <cx:pt idx="55959">2</cx:pt>
          <cx:pt idx="55960">2</cx:pt>
          <cx:pt idx="55961">5</cx:pt>
          <cx:pt idx="55962">1</cx:pt>
          <cx:pt idx="55963">3</cx:pt>
          <cx:pt idx="55964">1</cx:pt>
          <cx:pt idx="55965">5</cx:pt>
          <cx:pt idx="55966">5</cx:pt>
          <cx:pt idx="55967">2</cx:pt>
          <cx:pt idx="55968">4</cx:pt>
          <cx:pt idx="55969">4</cx:pt>
          <cx:pt idx="55970">1</cx:pt>
          <cx:pt idx="55971">2</cx:pt>
          <cx:pt idx="55972">5</cx:pt>
          <cx:pt idx="55973">4</cx:pt>
          <cx:pt idx="55974">5</cx:pt>
          <cx:pt idx="55975">5</cx:pt>
          <cx:pt idx="55976">4</cx:pt>
          <cx:pt idx="55977">4</cx:pt>
          <cx:pt idx="55978">3</cx:pt>
          <cx:pt idx="55979">2</cx:pt>
          <cx:pt idx="55980">4</cx:pt>
          <cx:pt idx="55981">2</cx:pt>
          <cx:pt idx="55982">4</cx:pt>
          <cx:pt idx="55983">1</cx:pt>
          <cx:pt idx="55984">5</cx:pt>
          <cx:pt idx="55985">3</cx:pt>
          <cx:pt idx="55986">4</cx:pt>
          <cx:pt idx="55987">4</cx:pt>
          <cx:pt idx="55988">1</cx:pt>
          <cx:pt idx="55989">5</cx:pt>
          <cx:pt idx="55990">4</cx:pt>
          <cx:pt idx="55991">3</cx:pt>
          <cx:pt idx="55992">4</cx:pt>
          <cx:pt idx="55993">4</cx:pt>
          <cx:pt idx="55994">1</cx:pt>
          <cx:pt idx="55995">5</cx:pt>
          <cx:pt idx="55996">5</cx:pt>
          <cx:pt idx="55997">4</cx:pt>
          <cx:pt idx="55998">3</cx:pt>
          <cx:pt idx="55999">4</cx:pt>
          <cx:pt idx="56000">1</cx:pt>
          <cx:pt idx="56001">2</cx:pt>
          <cx:pt idx="56002">5</cx:pt>
          <cx:pt idx="56003">4</cx:pt>
          <cx:pt idx="56004">3</cx:pt>
          <cx:pt idx="56005">5</cx:pt>
          <cx:pt idx="56006">3</cx:pt>
          <cx:pt idx="56007">3</cx:pt>
          <cx:pt idx="56008">5</cx:pt>
          <cx:pt idx="56009">4</cx:pt>
          <cx:pt idx="56010">4</cx:pt>
          <cx:pt idx="56011">4</cx:pt>
          <cx:pt idx="56012">2</cx:pt>
          <cx:pt idx="56013">2</cx:pt>
          <cx:pt idx="56014">2</cx:pt>
          <cx:pt idx="56015">4</cx:pt>
          <cx:pt idx="56016">5</cx:pt>
          <cx:pt idx="56017">1</cx:pt>
          <cx:pt idx="56018">5</cx:pt>
          <cx:pt idx="56019">3</cx:pt>
          <cx:pt idx="56020">4</cx:pt>
          <cx:pt idx="56021">4</cx:pt>
          <cx:pt idx="56022">4</cx:pt>
          <cx:pt idx="56023">4</cx:pt>
          <cx:pt idx="56024">3</cx:pt>
          <cx:pt idx="56025">4</cx:pt>
          <cx:pt idx="56026">3</cx:pt>
          <cx:pt idx="56027">5</cx:pt>
          <cx:pt idx="56028">4</cx:pt>
          <cx:pt idx="56029">4</cx:pt>
          <cx:pt idx="56030">2</cx:pt>
          <cx:pt idx="56031">1</cx:pt>
          <cx:pt idx="56032">3</cx:pt>
          <cx:pt idx="56033">5</cx:pt>
          <cx:pt idx="56034">5</cx:pt>
          <cx:pt idx="56035">5</cx:pt>
          <cx:pt idx="56036">3</cx:pt>
          <cx:pt idx="56037">1</cx:pt>
          <cx:pt idx="56038">5</cx:pt>
          <cx:pt idx="56039">5</cx:pt>
          <cx:pt idx="56040">3</cx:pt>
          <cx:pt idx="56041">3</cx:pt>
          <cx:pt idx="56042">2</cx:pt>
          <cx:pt idx="56043">2</cx:pt>
          <cx:pt idx="56044">5</cx:pt>
          <cx:pt idx="56045">2</cx:pt>
          <cx:pt idx="56046">3</cx:pt>
          <cx:pt idx="56047">3</cx:pt>
          <cx:pt idx="56048">4</cx:pt>
          <cx:pt idx="56049">3</cx:pt>
          <cx:pt idx="56050">3</cx:pt>
          <cx:pt idx="56051">5</cx:pt>
          <cx:pt idx="56052">2</cx:pt>
          <cx:pt idx="56053">5</cx:pt>
          <cx:pt idx="56054">1</cx:pt>
          <cx:pt idx="56055">3</cx:pt>
          <cx:pt idx="56056">2</cx:pt>
          <cx:pt idx="56057">4</cx:pt>
          <cx:pt idx="56058">3</cx:pt>
          <cx:pt idx="56059">2</cx:pt>
          <cx:pt idx="56060">4</cx:pt>
          <cx:pt idx="56061">4</cx:pt>
          <cx:pt idx="56062">3</cx:pt>
          <cx:pt idx="56063">3</cx:pt>
          <cx:pt idx="56064">3</cx:pt>
          <cx:pt idx="56065">3</cx:pt>
          <cx:pt idx="56066">3</cx:pt>
          <cx:pt idx="56067">2</cx:pt>
          <cx:pt idx="56068">1</cx:pt>
          <cx:pt idx="56069">3</cx:pt>
          <cx:pt idx="56070">4</cx:pt>
          <cx:pt idx="56071">1</cx:pt>
          <cx:pt idx="56072">5</cx:pt>
          <cx:pt idx="56073">4</cx:pt>
          <cx:pt idx="56074">1</cx:pt>
          <cx:pt idx="56075">5</cx:pt>
          <cx:pt idx="56076">5</cx:pt>
          <cx:pt idx="56077">3</cx:pt>
          <cx:pt idx="56078">4</cx:pt>
          <cx:pt idx="56079">5</cx:pt>
          <cx:pt idx="56080">3</cx:pt>
          <cx:pt idx="56081">5</cx:pt>
          <cx:pt idx="56082">4</cx:pt>
          <cx:pt idx="56083">2</cx:pt>
          <cx:pt idx="56084">5</cx:pt>
          <cx:pt idx="56085">5</cx:pt>
          <cx:pt idx="56086">4</cx:pt>
          <cx:pt idx="56087">2</cx:pt>
          <cx:pt idx="56088">4</cx:pt>
          <cx:pt idx="56089">4</cx:pt>
          <cx:pt idx="56090">4</cx:pt>
          <cx:pt idx="56091">5</cx:pt>
          <cx:pt idx="56092">5</cx:pt>
          <cx:pt idx="56093">3</cx:pt>
          <cx:pt idx="56094">3</cx:pt>
          <cx:pt idx="56095">1</cx:pt>
          <cx:pt idx="56096">2</cx:pt>
          <cx:pt idx="56097">4</cx:pt>
          <cx:pt idx="56098">3</cx:pt>
          <cx:pt idx="56099">4</cx:pt>
          <cx:pt idx="56100">1</cx:pt>
          <cx:pt idx="56101">5</cx:pt>
          <cx:pt idx="56102">5</cx:pt>
          <cx:pt idx="56103">5</cx:pt>
          <cx:pt idx="56104">5</cx:pt>
          <cx:pt idx="56105">5</cx:pt>
          <cx:pt idx="56106">2</cx:pt>
          <cx:pt idx="56107">4</cx:pt>
          <cx:pt idx="56108">5</cx:pt>
          <cx:pt idx="56109">2</cx:pt>
          <cx:pt idx="56110">1</cx:pt>
          <cx:pt idx="56111">5</cx:pt>
          <cx:pt idx="56112">4</cx:pt>
          <cx:pt idx="56113">5</cx:pt>
          <cx:pt idx="56114">4</cx:pt>
          <cx:pt idx="56115">4</cx:pt>
          <cx:pt idx="56116">5</cx:pt>
          <cx:pt idx="56117">5</cx:pt>
          <cx:pt idx="56118">5</cx:pt>
          <cx:pt idx="56119">4</cx:pt>
          <cx:pt idx="56120">5</cx:pt>
          <cx:pt idx="56121">1</cx:pt>
          <cx:pt idx="56122">1</cx:pt>
          <cx:pt idx="56123">4</cx:pt>
          <cx:pt idx="56124">5</cx:pt>
          <cx:pt idx="56125">1</cx:pt>
          <cx:pt idx="56126">2</cx:pt>
          <cx:pt idx="56127">5</cx:pt>
          <cx:pt idx="56128">2</cx:pt>
          <cx:pt idx="56129">3</cx:pt>
          <cx:pt idx="56130">3</cx:pt>
          <cx:pt idx="56131">3</cx:pt>
          <cx:pt idx="56132">5</cx:pt>
          <cx:pt idx="56133">1</cx:pt>
          <cx:pt idx="56134">4</cx:pt>
          <cx:pt idx="56135">3</cx:pt>
          <cx:pt idx="56136">5</cx:pt>
          <cx:pt idx="56137">4</cx:pt>
          <cx:pt idx="56138">4</cx:pt>
          <cx:pt idx="56139">5</cx:pt>
          <cx:pt idx="56140">1</cx:pt>
          <cx:pt idx="56141">1</cx:pt>
          <cx:pt idx="56142">2</cx:pt>
          <cx:pt idx="56143">1</cx:pt>
          <cx:pt idx="56144">3</cx:pt>
          <cx:pt idx="56145">5</cx:pt>
          <cx:pt idx="56146">3</cx:pt>
          <cx:pt idx="56147">4</cx:pt>
          <cx:pt idx="56148">3</cx:pt>
          <cx:pt idx="56149">5</cx:pt>
          <cx:pt idx="56150">3</cx:pt>
          <cx:pt idx="56151">4</cx:pt>
          <cx:pt idx="56152">5</cx:pt>
          <cx:pt idx="56153">1</cx:pt>
          <cx:pt idx="56154">4</cx:pt>
          <cx:pt idx="56155">5</cx:pt>
          <cx:pt idx="56156">2</cx:pt>
          <cx:pt idx="56157">4</cx:pt>
          <cx:pt idx="56158">3</cx:pt>
          <cx:pt idx="56159">5</cx:pt>
          <cx:pt idx="56160">5</cx:pt>
          <cx:pt idx="56161">4</cx:pt>
          <cx:pt idx="56162">4</cx:pt>
          <cx:pt idx="56163">3</cx:pt>
          <cx:pt idx="56164">1</cx:pt>
          <cx:pt idx="56165">1</cx:pt>
          <cx:pt idx="56166">5</cx:pt>
          <cx:pt idx="56167">5</cx:pt>
          <cx:pt idx="56168">2</cx:pt>
          <cx:pt idx="56169">3</cx:pt>
          <cx:pt idx="56170">4</cx:pt>
          <cx:pt idx="56171">4</cx:pt>
          <cx:pt idx="56172">2</cx:pt>
          <cx:pt idx="56173">5</cx:pt>
          <cx:pt idx="56174">4</cx:pt>
          <cx:pt idx="56175">1</cx:pt>
          <cx:pt idx="56176">4</cx:pt>
          <cx:pt idx="56177">5</cx:pt>
          <cx:pt idx="56178">4</cx:pt>
          <cx:pt idx="56179">5</cx:pt>
          <cx:pt idx="56180">3</cx:pt>
          <cx:pt idx="56181">3</cx:pt>
          <cx:pt idx="56182">4</cx:pt>
          <cx:pt idx="56183">4</cx:pt>
          <cx:pt idx="56184">5</cx:pt>
          <cx:pt idx="56185">5</cx:pt>
          <cx:pt idx="56186">3</cx:pt>
          <cx:pt idx="56187">4</cx:pt>
          <cx:pt idx="56188">4</cx:pt>
          <cx:pt idx="56189">1</cx:pt>
          <cx:pt idx="56190">5</cx:pt>
          <cx:pt idx="56191">4</cx:pt>
          <cx:pt idx="56192">4</cx:pt>
          <cx:pt idx="56193">4</cx:pt>
          <cx:pt idx="56194">4</cx:pt>
          <cx:pt idx="56195">4</cx:pt>
          <cx:pt idx="56196">1</cx:pt>
          <cx:pt idx="56197">2</cx:pt>
          <cx:pt idx="56198">5</cx:pt>
          <cx:pt idx="56199">1</cx:pt>
          <cx:pt idx="56200">5</cx:pt>
          <cx:pt idx="56201">4</cx:pt>
          <cx:pt idx="56202">3</cx:pt>
          <cx:pt idx="56203">3</cx:pt>
          <cx:pt idx="56204">1</cx:pt>
          <cx:pt idx="56205">2</cx:pt>
          <cx:pt idx="56206">4</cx:pt>
          <cx:pt idx="56207">1</cx:pt>
          <cx:pt idx="56208">4</cx:pt>
          <cx:pt idx="56209">5</cx:pt>
          <cx:pt idx="56210">4</cx:pt>
          <cx:pt idx="56211">3</cx:pt>
          <cx:pt idx="56212">1</cx:pt>
          <cx:pt idx="56213">2</cx:pt>
          <cx:pt idx="56214">5</cx:pt>
          <cx:pt idx="56215">5</cx:pt>
          <cx:pt idx="56216">5</cx:pt>
          <cx:pt idx="56217">3</cx:pt>
          <cx:pt idx="56218">4</cx:pt>
          <cx:pt idx="56219">2</cx:pt>
          <cx:pt idx="56220">4</cx:pt>
          <cx:pt idx="56221">1</cx:pt>
          <cx:pt idx="56222">3</cx:pt>
          <cx:pt idx="56223">5</cx:pt>
          <cx:pt idx="56224">3</cx:pt>
          <cx:pt idx="56225">2</cx:pt>
          <cx:pt idx="56226">1</cx:pt>
          <cx:pt idx="56227">4</cx:pt>
          <cx:pt idx="56228">2</cx:pt>
          <cx:pt idx="56229">5</cx:pt>
          <cx:pt idx="56230">5</cx:pt>
          <cx:pt idx="56231">5</cx:pt>
          <cx:pt idx="56232">1</cx:pt>
          <cx:pt idx="56233">2</cx:pt>
          <cx:pt idx="56234">3</cx:pt>
          <cx:pt idx="56235">3</cx:pt>
          <cx:pt idx="56236">1</cx:pt>
          <cx:pt idx="56237">5</cx:pt>
          <cx:pt idx="56238">4</cx:pt>
          <cx:pt idx="56239">3</cx:pt>
          <cx:pt idx="56240">4</cx:pt>
          <cx:pt idx="56241">4</cx:pt>
          <cx:pt idx="56242">3</cx:pt>
          <cx:pt idx="56243">4</cx:pt>
          <cx:pt idx="56244">2</cx:pt>
          <cx:pt idx="56245">2</cx:pt>
          <cx:pt idx="56246">4</cx:pt>
          <cx:pt idx="56247">2</cx:pt>
          <cx:pt idx="56248">5</cx:pt>
          <cx:pt idx="56249">2</cx:pt>
          <cx:pt idx="56250">4</cx:pt>
          <cx:pt idx="56251">5</cx:pt>
          <cx:pt idx="56252">1</cx:pt>
          <cx:pt idx="56253">3</cx:pt>
          <cx:pt idx="56254">1</cx:pt>
          <cx:pt idx="56255">5</cx:pt>
          <cx:pt idx="56256">1</cx:pt>
          <cx:pt idx="56257">4</cx:pt>
          <cx:pt idx="56258">2</cx:pt>
          <cx:pt idx="56259">2</cx:pt>
          <cx:pt idx="56260">3</cx:pt>
          <cx:pt idx="56261">4</cx:pt>
          <cx:pt idx="56262">5</cx:pt>
          <cx:pt idx="56263">5</cx:pt>
          <cx:pt idx="56264">4</cx:pt>
          <cx:pt idx="56265">3</cx:pt>
          <cx:pt idx="56266">5</cx:pt>
          <cx:pt idx="56267">2</cx:pt>
          <cx:pt idx="56268">4</cx:pt>
          <cx:pt idx="56269">5</cx:pt>
          <cx:pt idx="56270">2</cx:pt>
          <cx:pt idx="56271">4</cx:pt>
          <cx:pt idx="56272">1</cx:pt>
          <cx:pt idx="56273">4</cx:pt>
          <cx:pt idx="56274">4</cx:pt>
          <cx:pt idx="56275">4</cx:pt>
          <cx:pt idx="56276">4</cx:pt>
          <cx:pt idx="56277">1</cx:pt>
          <cx:pt idx="56278">5</cx:pt>
          <cx:pt idx="56279">2</cx:pt>
          <cx:pt idx="56280">4</cx:pt>
          <cx:pt idx="56281">4</cx:pt>
          <cx:pt idx="56282">1</cx:pt>
          <cx:pt idx="56283">3</cx:pt>
          <cx:pt idx="56284">4</cx:pt>
          <cx:pt idx="56285">1</cx:pt>
          <cx:pt idx="56286">4</cx:pt>
          <cx:pt idx="56287">5</cx:pt>
          <cx:pt idx="56288">3</cx:pt>
          <cx:pt idx="56289">1</cx:pt>
          <cx:pt idx="56290">3</cx:pt>
          <cx:pt idx="56291">4</cx:pt>
          <cx:pt idx="56292">4</cx:pt>
          <cx:pt idx="56293">2</cx:pt>
          <cx:pt idx="56294">5</cx:pt>
          <cx:pt idx="56295">5</cx:pt>
          <cx:pt idx="56296">3</cx:pt>
          <cx:pt idx="56297">4</cx:pt>
          <cx:pt idx="56298">5</cx:pt>
          <cx:pt idx="56299">2</cx:pt>
          <cx:pt idx="56300">2</cx:pt>
          <cx:pt idx="56301">5</cx:pt>
          <cx:pt idx="56302">3</cx:pt>
          <cx:pt idx="56303">5</cx:pt>
          <cx:pt idx="56304">4</cx:pt>
          <cx:pt idx="56305">5</cx:pt>
          <cx:pt idx="56306">4</cx:pt>
          <cx:pt idx="56307">4</cx:pt>
          <cx:pt idx="56308">4</cx:pt>
          <cx:pt idx="56309">4</cx:pt>
          <cx:pt idx="56310">1</cx:pt>
          <cx:pt idx="56311">2</cx:pt>
          <cx:pt idx="56312">3</cx:pt>
          <cx:pt idx="56313">3</cx:pt>
          <cx:pt idx="56314">5</cx:pt>
          <cx:pt idx="56315">4</cx:pt>
          <cx:pt idx="56316">4</cx:pt>
          <cx:pt idx="56317">2</cx:pt>
          <cx:pt idx="56318">5</cx:pt>
          <cx:pt idx="56319">3</cx:pt>
          <cx:pt idx="56320">3</cx:pt>
          <cx:pt idx="56321">4</cx:pt>
          <cx:pt idx="56322">2</cx:pt>
          <cx:pt idx="56323">5</cx:pt>
          <cx:pt idx="56324">4</cx:pt>
          <cx:pt idx="56325">4</cx:pt>
          <cx:pt idx="56326">1</cx:pt>
          <cx:pt idx="56327">5</cx:pt>
          <cx:pt idx="56328">5</cx:pt>
          <cx:pt idx="56329">5</cx:pt>
          <cx:pt idx="56330">2</cx:pt>
          <cx:pt idx="56331">1</cx:pt>
          <cx:pt idx="56332">3</cx:pt>
          <cx:pt idx="56333">5</cx:pt>
          <cx:pt idx="56334">2</cx:pt>
          <cx:pt idx="56335">4</cx:pt>
          <cx:pt idx="56336">1</cx:pt>
          <cx:pt idx="56337">5</cx:pt>
          <cx:pt idx="56338">5</cx:pt>
          <cx:pt idx="56339">1</cx:pt>
          <cx:pt idx="56340">5</cx:pt>
          <cx:pt idx="56341">4</cx:pt>
          <cx:pt idx="56342">3</cx:pt>
          <cx:pt idx="56343">1</cx:pt>
          <cx:pt idx="56344">4</cx:pt>
          <cx:pt idx="56345">4</cx:pt>
          <cx:pt idx="56346">1</cx:pt>
          <cx:pt idx="56347">2</cx:pt>
          <cx:pt idx="56348">4</cx:pt>
          <cx:pt idx="56349">2</cx:pt>
          <cx:pt idx="56350">4</cx:pt>
          <cx:pt idx="56351">4</cx:pt>
          <cx:pt idx="56352">5</cx:pt>
          <cx:pt idx="56353">4</cx:pt>
          <cx:pt idx="56354">3</cx:pt>
          <cx:pt idx="56355">1</cx:pt>
          <cx:pt idx="56356">5</cx:pt>
          <cx:pt idx="56357">5</cx:pt>
          <cx:pt idx="56358">4</cx:pt>
          <cx:pt idx="56359">2</cx:pt>
          <cx:pt idx="56360">4</cx:pt>
          <cx:pt idx="56361">3</cx:pt>
          <cx:pt idx="56362">2</cx:pt>
          <cx:pt idx="56363">5</cx:pt>
          <cx:pt idx="56364">5</cx:pt>
          <cx:pt idx="56365">2</cx:pt>
          <cx:pt idx="56366">4</cx:pt>
          <cx:pt idx="56367">4</cx:pt>
          <cx:pt idx="56368">4</cx:pt>
          <cx:pt idx="56369">1</cx:pt>
          <cx:pt idx="56370">5</cx:pt>
          <cx:pt idx="56371">4</cx:pt>
          <cx:pt idx="56372">2</cx:pt>
          <cx:pt idx="56373">5</cx:pt>
          <cx:pt idx="56374">4</cx:pt>
          <cx:pt idx="56375">5</cx:pt>
          <cx:pt idx="56376">3</cx:pt>
          <cx:pt idx="56377">2</cx:pt>
          <cx:pt idx="56378">4</cx:pt>
          <cx:pt idx="56379">3</cx:pt>
          <cx:pt idx="56380">1</cx:pt>
          <cx:pt idx="56381">2</cx:pt>
          <cx:pt idx="56382">5</cx:pt>
          <cx:pt idx="56383">5</cx:pt>
          <cx:pt idx="56384">4</cx:pt>
          <cx:pt idx="56385">3</cx:pt>
          <cx:pt idx="56386">5</cx:pt>
          <cx:pt idx="56387">3</cx:pt>
          <cx:pt idx="56388">3</cx:pt>
          <cx:pt idx="56389">2</cx:pt>
          <cx:pt idx="56390">4</cx:pt>
          <cx:pt idx="56391">2</cx:pt>
          <cx:pt idx="56392">2</cx:pt>
          <cx:pt idx="56393">4</cx:pt>
          <cx:pt idx="56394">4</cx:pt>
          <cx:pt idx="56395">3</cx:pt>
          <cx:pt idx="56396">2</cx:pt>
          <cx:pt idx="56397">3</cx:pt>
          <cx:pt idx="56398">3</cx:pt>
          <cx:pt idx="56399">4</cx:pt>
          <cx:pt idx="56400">4</cx:pt>
          <cx:pt idx="56401">4</cx:pt>
          <cx:pt idx="56402">5</cx:pt>
          <cx:pt idx="56403">4</cx:pt>
          <cx:pt idx="56404">3</cx:pt>
          <cx:pt idx="56405">4</cx:pt>
          <cx:pt idx="56406">2</cx:pt>
          <cx:pt idx="56407">5</cx:pt>
          <cx:pt idx="56408">3</cx:pt>
          <cx:pt idx="56409">1</cx:pt>
          <cx:pt idx="56410">1</cx:pt>
          <cx:pt idx="56411">1</cx:pt>
          <cx:pt idx="56412">4</cx:pt>
          <cx:pt idx="56413">3</cx:pt>
          <cx:pt idx="56414">4</cx:pt>
          <cx:pt idx="56415">2</cx:pt>
          <cx:pt idx="56416">3</cx:pt>
          <cx:pt idx="56417">4</cx:pt>
          <cx:pt idx="56418">1</cx:pt>
          <cx:pt idx="56419">3</cx:pt>
          <cx:pt idx="56420">3</cx:pt>
          <cx:pt idx="56421">2</cx:pt>
          <cx:pt idx="56422">2</cx:pt>
          <cx:pt idx="56423">5</cx:pt>
          <cx:pt idx="56424">2</cx:pt>
          <cx:pt idx="56425">2</cx:pt>
          <cx:pt idx="56426">3</cx:pt>
          <cx:pt idx="56427">4</cx:pt>
          <cx:pt idx="56428">4</cx:pt>
          <cx:pt idx="56429">5</cx:pt>
          <cx:pt idx="56430">3</cx:pt>
          <cx:pt idx="56431">5</cx:pt>
          <cx:pt idx="56432">4</cx:pt>
          <cx:pt idx="56433">2</cx:pt>
          <cx:pt idx="56434">5</cx:pt>
          <cx:pt idx="56435">5</cx:pt>
          <cx:pt idx="56436">4</cx:pt>
          <cx:pt idx="56437">4</cx:pt>
          <cx:pt idx="56438">2</cx:pt>
          <cx:pt idx="56439">2</cx:pt>
          <cx:pt idx="56440">2</cx:pt>
          <cx:pt idx="56441">4</cx:pt>
          <cx:pt idx="56442">2</cx:pt>
          <cx:pt idx="56443">5</cx:pt>
          <cx:pt idx="56444">5</cx:pt>
          <cx:pt idx="56445">5</cx:pt>
          <cx:pt idx="56446">1</cx:pt>
          <cx:pt idx="56447">1</cx:pt>
          <cx:pt idx="56448">5</cx:pt>
          <cx:pt idx="56449">5</cx:pt>
          <cx:pt idx="56450">3</cx:pt>
          <cx:pt idx="56451">5</cx:pt>
          <cx:pt idx="56452">3</cx:pt>
          <cx:pt idx="56453">4</cx:pt>
          <cx:pt idx="56454">5</cx:pt>
          <cx:pt idx="56455">4</cx:pt>
          <cx:pt idx="56456">5</cx:pt>
          <cx:pt idx="56457">1</cx:pt>
          <cx:pt idx="56458">4</cx:pt>
          <cx:pt idx="56459">5</cx:pt>
          <cx:pt idx="56460">4</cx:pt>
          <cx:pt idx="56461">5</cx:pt>
          <cx:pt idx="56462">5</cx:pt>
          <cx:pt idx="56463">1</cx:pt>
          <cx:pt idx="56464">2</cx:pt>
          <cx:pt idx="56465">3</cx:pt>
          <cx:pt idx="56466">4</cx:pt>
          <cx:pt idx="56467">4</cx:pt>
          <cx:pt idx="56468">3</cx:pt>
          <cx:pt idx="56469">3</cx:pt>
          <cx:pt idx="56470">2</cx:pt>
          <cx:pt idx="56471">1</cx:pt>
          <cx:pt idx="56472">4</cx:pt>
          <cx:pt idx="56473">2</cx:pt>
          <cx:pt idx="56474">4</cx:pt>
          <cx:pt idx="56475">3</cx:pt>
          <cx:pt idx="56476">4</cx:pt>
          <cx:pt idx="56477">5</cx:pt>
          <cx:pt idx="56478">1</cx:pt>
          <cx:pt idx="56479">4</cx:pt>
          <cx:pt idx="56480">3</cx:pt>
          <cx:pt idx="56481">1</cx:pt>
          <cx:pt idx="56482">4</cx:pt>
          <cx:pt idx="56483">4</cx:pt>
          <cx:pt idx="56484">5</cx:pt>
          <cx:pt idx="56485">4</cx:pt>
          <cx:pt idx="56486">3</cx:pt>
          <cx:pt idx="56487">3</cx:pt>
          <cx:pt idx="56488">4</cx:pt>
          <cx:pt idx="56489">4</cx:pt>
          <cx:pt idx="56490">4</cx:pt>
          <cx:pt idx="56491">2</cx:pt>
          <cx:pt idx="56492">3</cx:pt>
          <cx:pt idx="56493">1</cx:pt>
          <cx:pt idx="56494">4</cx:pt>
          <cx:pt idx="56495">5</cx:pt>
          <cx:pt idx="56496">5</cx:pt>
          <cx:pt idx="56497">3</cx:pt>
          <cx:pt idx="56498">3</cx:pt>
          <cx:pt idx="56499">4</cx:pt>
          <cx:pt idx="56500">5</cx:pt>
          <cx:pt idx="56501">4</cx:pt>
          <cx:pt idx="56502">3</cx:pt>
          <cx:pt idx="56503">5</cx:pt>
          <cx:pt idx="56504">5</cx:pt>
          <cx:pt idx="56505">5</cx:pt>
          <cx:pt idx="56506">4</cx:pt>
          <cx:pt idx="56507">3</cx:pt>
          <cx:pt idx="56508">4</cx:pt>
          <cx:pt idx="56509">3</cx:pt>
          <cx:pt idx="56510">4</cx:pt>
          <cx:pt idx="56511">3</cx:pt>
          <cx:pt idx="56512">5</cx:pt>
          <cx:pt idx="56513">4</cx:pt>
          <cx:pt idx="56514">1</cx:pt>
          <cx:pt idx="56515">2</cx:pt>
          <cx:pt idx="56516">5</cx:pt>
          <cx:pt idx="56517">4</cx:pt>
          <cx:pt idx="56518">5</cx:pt>
          <cx:pt idx="56519">5</cx:pt>
          <cx:pt idx="56520">3</cx:pt>
          <cx:pt idx="56521">4</cx:pt>
          <cx:pt idx="56522">1</cx:pt>
          <cx:pt idx="56523">5</cx:pt>
          <cx:pt idx="56524">5</cx:pt>
          <cx:pt idx="56525">5</cx:pt>
          <cx:pt idx="56526">4</cx:pt>
          <cx:pt idx="56527">4</cx:pt>
          <cx:pt idx="56528">1</cx:pt>
          <cx:pt idx="56529">2</cx:pt>
          <cx:pt idx="56530">4</cx:pt>
          <cx:pt idx="56531">2</cx:pt>
          <cx:pt idx="56532">1</cx:pt>
          <cx:pt idx="56533">3</cx:pt>
          <cx:pt idx="56534">5</cx:pt>
          <cx:pt idx="56535">5</cx:pt>
          <cx:pt idx="56536">2</cx:pt>
          <cx:pt idx="56537">1</cx:pt>
          <cx:pt idx="56538">4</cx:pt>
          <cx:pt idx="56539">3</cx:pt>
          <cx:pt idx="56540">4</cx:pt>
          <cx:pt idx="56541">4</cx:pt>
          <cx:pt idx="56542">4</cx:pt>
          <cx:pt idx="56543">2</cx:pt>
          <cx:pt idx="56544">4</cx:pt>
          <cx:pt idx="56545">1</cx:pt>
          <cx:pt idx="56546">5</cx:pt>
          <cx:pt idx="56547">5</cx:pt>
          <cx:pt idx="56548">4</cx:pt>
          <cx:pt idx="56549">4</cx:pt>
          <cx:pt idx="56550">5</cx:pt>
          <cx:pt idx="56551">1</cx:pt>
          <cx:pt idx="56552">4</cx:pt>
          <cx:pt idx="56553">5</cx:pt>
          <cx:pt idx="56554">5</cx:pt>
          <cx:pt idx="56555">1</cx:pt>
          <cx:pt idx="56556">4</cx:pt>
          <cx:pt idx="56557">2</cx:pt>
          <cx:pt idx="56558">2</cx:pt>
          <cx:pt idx="56559">4</cx:pt>
          <cx:pt idx="56560">4</cx:pt>
          <cx:pt idx="56561">5</cx:pt>
          <cx:pt idx="56562">3</cx:pt>
          <cx:pt idx="56563">4</cx:pt>
          <cx:pt idx="56564">4</cx:pt>
          <cx:pt idx="56565">4</cx:pt>
          <cx:pt idx="56566">4</cx:pt>
          <cx:pt idx="56567">3</cx:pt>
          <cx:pt idx="56568">5</cx:pt>
          <cx:pt idx="56569">1</cx:pt>
          <cx:pt idx="56570">4</cx:pt>
          <cx:pt idx="56571">5</cx:pt>
          <cx:pt idx="56572">4</cx:pt>
          <cx:pt idx="56573">4</cx:pt>
          <cx:pt idx="56574">4</cx:pt>
          <cx:pt idx="56575">4</cx:pt>
          <cx:pt idx="56576">1</cx:pt>
          <cx:pt idx="56577">4</cx:pt>
          <cx:pt idx="56578">5</cx:pt>
          <cx:pt idx="56579">3</cx:pt>
          <cx:pt idx="56580">2</cx:pt>
          <cx:pt idx="56581">3</cx:pt>
          <cx:pt idx="56582">1</cx:pt>
          <cx:pt idx="56583">4</cx:pt>
          <cx:pt idx="56584">5</cx:pt>
          <cx:pt idx="56585">3</cx:pt>
          <cx:pt idx="56586">4</cx:pt>
          <cx:pt idx="56587">2</cx:pt>
          <cx:pt idx="56588">4</cx:pt>
          <cx:pt idx="56589">4</cx:pt>
          <cx:pt idx="56590">5</cx:pt>
          <cx:pt idx="56591">5</cx:pt>
          <cx:pt idx="56592">1</cx:pt>
          <cx:pt idx="56593">5</cx:pt>
          <cx:pt idx="56594">4</cx:pt>
          <cx:pt idx="56595">4</cx:pt>
          <cx:pt idx="56596">3</cx:pt>
          <cx:pt idx="56597">3</cx:pt>
          <cx:pt idx="56598">4</cx:pt>
          <cx:pt idx="56599">3</cx:pt>
          <cx:pt idx="56600">5</cx:pt>
          <cx:pt idx="56601">1</cx:pt>
          <cx:pt idx="56602">5</cx:pt>
          <cx:pt idx="56603">4</cx:pt>
          <cx:pt idx="56604">4</cx:pt>
          <cx:pt idx="56605">1</cx:pt>
          <cx:pt idx="56606">5</cx:pt>
          <cx:pt idx="56607">2</cx:pt>
          <cx:pt idx="56608">1</cx:pt>
          <cx:pt idx="56609">5</cx:pt>
          <cx:pt idx="56610">1</cx:pt>
          <cx:pt idx="56611">1</cx:pt>
          <cx:pt idx="56612">4</cx:pt>
          <cx:pt idx="56613">5</cx:pt>
          <cx:pt idx="56614">5</cx:pt>
          <cx:pt idx="56615">4</cx:pt>
          <cx:pt idx="56616">5</cx:pt>
          <cx:pt idx="56617">5</cx:pt>
          <cx:pt idx="56618">3</cx:pt>
          <cx:pt idx="56619">4</cx:pt>
          <cx:pt idx="56620">3</cx:pt>
          <cx:pt idx="56621">1</cx:pt>
          <cx:pt idx="56622">4</cx:pt>
          <cx:pt idx="56623">2</cx:pt>
          <cx:pt idx="56624">2</cx:pt>
          <cx:pt idx="56625">5</cx:pt>
          <cx:pt idx="56626">4</cx:pt>
          <cx:pt idx="56627">5</cx:pt>
          <cx:pt idx="56628">5</cx:pt>
          <cx:pt idx="56629">4</cx:pt>
          <cx:pt idx="56630">5</cx:pt>
          <cx:pt idx="56631">4</cx:pt>
          <cx:pt idx="56632">5</cx:pt>
          <cx:pt idx="56633">5</cx:pt>
          <cx:pt idx="56634">4</cx:pt>
          <cx:pt idx="56635">3</cx:pt>
          <cx:pt idx="56636">5</cx:pt>
          <cx:pt idx="56637">4</cx:pt>
          <cx:pt idx="56638">4</cx:pt>
          <cx:pt idx="56639">3</cx:pt>
          <cx:pt idx="56640">5</cx:pt>
          <cx:pt idx="56641">1</cx:pt>
          <cx:pt idx="56642">4</cx:pt>
          <cx:pt idx="56643">4</cx:pt>
          <cx:pt idx="56644">1</cx:pt>
          <cx:pt idx="56645">3</cx:pt>
          <cx:pt idx="56646">4</cx:pt>
          <cx:pt idx="56647">4</cx:pt>
          <cx:pt idx="56648">1</cx:pt>
          <cx:pt idx="56649">4</cx:pt>
          <cx:pt idx="56650">3</cx:pt>
          <cx:pt idx="56651">4</cx:pt>
          <cx:pt idx="56652">4</cx:pt>
          <cx:pt idx="56653">2</cx:pt>
          <cx:pt idx="56654">3</cx:pt>
          <cx:pt idx="56655">5</cx:pt>
          <cx:pt idx="56656">4</cx:pt>
          <cx:pt idx="56657">1</cx:pt>
          <cx:pt idx="56658">4</cx:pt>
          <cx:pt idx="56659">3</cx:pt>
          <cx:pt idx="56660">4</cx:pt>
          <cx:pt idx="56661">2</cx:pt>
          <cx:pt idx="56662">4</cx:pt>
          <cx:pt idx="56663">1</cx:pt>
          <cx:pt idx="56664">2</cx:pt>
          <cx:pt idx="56665">5</cx:pt>
          <cx:pt idx="56666">5</cx:pt>
          <cx:pt idx="56667">4</cx:pt>
          <cx:pt idx="56668">4</cx:pt>
          <cx:pt idx="56669">3</cx:pt>
          <cx:pt idx="56670">3</cx:pt>
          <cx:pt idx="56671">2</cx:pt>
          <cx:pt idx="56672">2</cx:pt>
          <cx:pt idx="56673">3</cx:pt>
          <cx:pt idx="56674">5</cx:pt>
          <cx:pt idx="56675">1</cx:pt>
          <cx:pt idx="56676">1</cx:pt>
          <cx:pt idx="56677">1</cx:pt>
          <cx:pt idx="56678">5</cx:pt>
          <cx:pt idx="56679">5</cx:pt>
          <cx:pt idx="56680">4</cx:pt>
          <cx:pt idx="56681">4</cx:pt>
          <cx:pt idx="56682">3</cx:pt>
          <cx:pt idx="56683">5</cx:pt>
          <cx:pt idx="56684">3</cx:pt>
          <cx:pt idx="56685">3</cx:pt>
          <cx:pt idx="56686">1</cx:pt>
          <cx:pt idx="56687">4</cx:pt>
          <cx:pt idx="56688">3</cx:pt>
          <cx:pt idx="56689">5</cx:pt>
          <cx:pt idx="56690">5</cx:pt>
          <cx:pt idx="56691">1</cx:pt>
          <cx:pt idx="56692">4</cx:pt>
          <cx:pt idx="56693">5</cx:pt>
          <cx:pt idx="56694">3</cx:pt>
          <cx:pt idx="56695">4</cx:pt>
          <cx:pt idx="56696">4</cx:pt>
          <cx:pt idx="56697">3</cx:pt>
          <cx:pt idx="56698">2</cx:pt>
          <cx:pt idx="56699">5</cx:pt>
          <cx:pt idx="56700">3</cx:pt>
          <cx:pt idx="56701">5</cx:pt>
          <cx:pt idx="56702">5</cx:pt>
          <cx:pt idx="56703">4</cx:pt>
          <cx:pt idx="56704">1</cx:pt>
          <cx:pt idx="56705">5</cx:pt>
          <cx:pt idx="56706">2</cx:pt>
          <cx:pt idx="56707">4</cx:pt>
          <cx:pt idx="56708">3</cx:pt>
          <cx:pt idx="56709">4</cx:pt>
          <cx:pt idx="56710">5</cx:pt>
          <cx:pt idx="56711">2</cx:pt>
          <cx:pt idx="56712">4</cx:pt>
          <cx:pt idx="56713">4</cx:pt>
          <cx:pt idx="56714">5</cx:pt>
          <cx:pt idx="56715">5</cx:pt>
          <cx:pt idx="56716">3</cx:pt>
          <cx:pt idx="56717">1</cx:pt>
          <cx:pt idx="56718">3</cx:pt>
          <cx:pt idx="56719">2</cx:pt>
          <cx:pt idx="56720">1</cx:pt>
          <cx:pt idx="56721">5</cx:pt>
          <cx:pt idx="56722">2</cx:pt>
          <cx:pt idx="56723">4</cx:pt>
          <cx:pt idx="56724">1</cx:pt>
          <cx:pt idx="56725">5</cx:pt>
          <cx:pt idx="56726">5</cx:pt>
          <cx:pt idx="56727">4</cx:pt>
          <cx:pt idx="56728">5</cx:pt>
          <cx:pt idx="56729">1</cx:pt>
          <cx:pt idx="56730">3</cx:pt>
          <cx:pt idx="56731">1</cx:pt>
          <cx:pt idx="56732">2</cx:pt>
          <cx:pt idx="56733">3</cx:pt>
          <cx:pt idx="56734">5</cx:pt>
          <cx:pt idx="56735">5</cx:pt>
          <cx:pt idx="56736">4</cx:pt>
          <cx:pt idx="56737">5</cx:pt>
          <cx:pt idx="56738">4</cx:pt>
          <cx:pt idx="56739">5</cx:pt>
          <cx:pt idx="56740">4</cx:pt>
          <cx:pt idx="56741">4</cx:pt>
          <cx:pt idx="56742">2</cx:pt>
          <cx:pt idx="56743">4</cx:pt>
          <cx:pt idx="56744">1</cx:pt>
          <cx:pt idx="56745">4</cx:pt>
          <cx:pt idx="56746">1</cx:pt>
          <cx:pt idx="56747">5</cx:pt>
          <cx:pt idx="56748">2</cx:pt>
          <cx:pt idx="56749">2</cx:pt>
          <cx:pt idx="56750">4</cx:pt>
          <cx:pt idx="56751">2</cx:pt>
          <cx:pt idx="56752">4</cx:pt>
          <cx:pt idx="56753">5</cx:pt>
          <cx:pt idx="56754">3</cx:pt>
          <cx:pt idx="56755">3</cx:pt>
          <cx:pt idx="56756">2</cx:pt>
          <cx:pt idx="56757">4</cx:pt>
          <cx:pt idx="56758">5</cx:pt>
          <cx:pt idx="56759">2</cx:pt>
          <cx:pt idx="56760">5</cx:pt>
          <cx:pt idx="56761">3</cx:pt>
          <cx:pt idx="56762">4</cx:pt>
          <cx:pt idx="56763">2</cx:pt>
          <cx:pt idx="56764">4</cx:pt>
          <cx:pt idx="56765">5</cx:pt>
          <cx:pt idx="56766">5</cx:pt>
          <cx:pt idx="56767">3</cx:pt>
          <cx:pt idx="56768">5</cx:pt>
          <cx:pt idx="56769">2</cx:pt>
          <cx:pt idx="56770">5</cx:pt>
          <cx:pt idx="56771">1</cx:pt>
          <cx:pt idx="56772">2</cx:pt>
          <cx:pt idx="56773">4</cx:pt>
          <cx:pt idx="56774">2</cx:pt>
          <cx:pt idx="56775">4</cx:pt>
          <cx:pt idx="56776">4</cx:pt>
          <cx:pt idx="56777">3</cx:pt>
          <cx:pt idx="56778">4</cx:pt>
          <cx:pt idx="56779">5</cx:pt>
          <cx:pt idx="56780">4</cx:pt>
          <cx:pt idx="56781">2</cx:pt>
          <cx:pt idx="56782">4</cx:pt>
          <cx:pt idx="56783">5</cx:pt>
          <cx:pt idx="56784">2</cx:pt>
          <cx:pt idx="56785">4</cx:pt>
          <cx:pt idx="56786">5</cx:pt>
          <cx:pt idx="56787">4</cx:pt>
          <cx:pt idx="56788">5</cx:pt>
          <cx:pt idx="56789">4</cx:pt>
          <cx:pt idx="56790">5</cx:pt>
          <cx:pt idx="56791">3</cx:pt>
          <cx:pt idx="56792">5</cx:pt>
          <cx:pt idx="56793">4</cx:pt>
          <cx:pt idx="56794">5</cx:pt>
          <cx:pt idx="56795">4</cx:pt>
          <cx:pt idx="56796">4</cx:pt>
          <cx:pt idx="56797">4</cx:pt>
          <cx:pt idx="56798">2</cx:pt>
          <cx:pt idx="56799">2</cx:pt>
          <cx:pt idx="56800">4</cx:pt>
          <cx:pt idx="56801">4</cx:pt>
          <cx:pt idx="56802">4</cx:pt>
          <cx:pt idx="56803">4</cx:pt>
          <cx:pt idx="56804">2</cx:pt>
          <cx:pt idx="56805">4</cx:pt>
          <cx:pt idx="56806">5</cx:pt>
          <cx:pt idx="56807">5</cx:pt>
          <cx:pt idx="56808">2</cx:pt>
          <cx:pt idx="56809">5</cx:pt>
          <cx:pt idx="56810">4</cx:pt>
          <cx:pt idx="56811">3</cx:pt>
          <cx:pt idx="56812">1</cx:pt>
          <cx:pt idx="56813">5</cx:pt>
          <cx:pt idx="56814">1</cx:pt>
          <cx:pt idx="56815">2</cx:pt>
          <cx:pt idx="56816">4</cx:pt>
          <cx:pt idx="56817">1</cx:pt>
          <cx:pt idx="56818">3</cx:pt>
          <cx:pt idx="56819">3</cx:pt>
          <cx:pt idx="56820">4</cx:pt>
          <cx:pt idx="56821">4</cx:pt>
          <cx:pt idx="56822">1</cx:pt>
          <cx:pt idx="56823">2</cx:pt>
          <cx:pt idx="56824">3</cx:pt>
          <cx:pt idx="56825">3</cx:pt>
          <cx:pt idx="56826">4</cx:pt>
          <cx:pt idx="56827">4</cx:pt>
          <cx:pt idx="56828">4</cx:pt>
          <cx:pt idx="56829">4</cx:pt>
          <cx:pt idx="56830">1</cx:pt>
          <cx:pt idx="56831">2</cx:pt>
          <cx:pt idx="56832">5</cx:pt>
          <cx:pt idx="56833">5</cx:pt>
          <cx:pt idx="56834">5</cx:pt>
          <cx:pt idx="56835">3</cx:pt>
          <cx:pt idx="56836">5</cx:pt>
          <cx:pt idx="56837">5</cx:pt>
          <cx:pt idx="56838">1</cx:pt>
          <cx:pt idx="56839">3</cx:pt>
          <cx:pt idx="56840">2</cx:pt>
          <cx:pt idx="56841">3</cx:pt>
          <cx:pt idx="56842">3</cx:pt>
          <cx:pt idx="56843">4</cx:pt>
          <cx:pt idx="56844">2</cx:pt>
          <cx:pt idx="56845">2</cx:pt>
          <cx:pt idx="56846">4</cx:pt>
          <cx:pt idx="56847">5</cx:pt>
          <cx:pt idx="56848">5</cx:pt>
          <cx:pt idx="56849">3</cx:pt>
          <cx:pt idx="56850">2</cx:pt>
          <cx:pt idx="56851">5</cx:pt>
          <cx:pt idx="56852">2</cx:pt>
          <cx:pt idx="56853">1</cx:pt>
          <cx:pt idx="56854">3</cx:pt>
          <cx:pt idx="56855">4</cx:pt>
          <cx:pt idx="56856">3</cx:pt>
          <cx:pt idx="56857">2</cx:pt>
          <cx:pt idx="56858">5</cx:pt>
          <cx:pt idx="56859">5</cx:pt>
          <cx:pt idx="56860">5</cx:pt>
          <cx:pt idx="56861">5</cx:pt>
          <cx:pt idx="56862">3</cx:pt>
          <cx:pt idx="56863">2</cx:pt>
          <cx:pt idx="56864">2</cx:pt>
          <cx:pt idx="56865">1</cx:pt>
          <cx:pt idx="56866">5</cx:pt>
          <cx:pt idx="56867">5</cx:pt>
          <cx:pt idx="56868">4</cx:pt>
          <cx:pt idx="56869">5</cx:pt>
          <cx:pt idx="56870">1</cx:pt>
          <cx:pt idx="56871">4</cx:pt>
          <cx:pt idx="56872">2</cx:pt>
          <cx:pt idx="56873">5</cx:pt>
          <cx:pt idx="56874">1</cx:pt>
          <cx:pt idx="56875">5</cx:pt>
          <cx:pt idx="56876">4</cx:pt>
          <cx:pt idx="56877">5</cx:pt>
          <cx:pt idx="56878">5</cx:pt>
          <cx:pt idx="56879">3</cx:pt>
          <cx:pt idx="56880">3</cx:pt>
          <cx:pt idx="56881">1</cx:pt>
          <cx:pt idx="56882">4</cx:pt>
          <cx:pt idx="56883">4</cx:pt>
          <cx:pt idx="56884">5</cx:pt>
          <cx:pt idx="56885">5</cx:pt>
          <cx:pt idx="56886">3</cx:pt>
          <cx:pt idx="56887">4</cx:pt>
          <cx:pt idx="56888">5</cx:pt>
          <cx:pt idx="56889">5</cx:pt>
          <cx:pt idx="56890">4</cx:pt>
          <cx:pt idx="56891">4</cx:pt>
          <cx:pt idx="56892">2</cx:pt>
          <cx:pt idx="56893">5</cx:pt>
          <cx:pt idx="56894">2</cx:pt>
          <cx:pt idx="56895">1</cx:pt>
          <cx:pt idx="56896">3</cx:pt>
          <cx:pt idx="56897">4</cx:pt>
          <cx:pt idx="56898">3</cx:pt>
          <cx:pt idx="56899">5</cx:pt>
          <cx:pt idx="56900">5</cx:pt>
          <cx:pt idx="56901">4</cx:pt>
          <cx:pt idx="56902">4</cx:pt>
          <cx:pt idx="56903">4</cx:pt>
          <cx:pt idx="56904">1</cx:pt>
          <cx:pt idx="56905">1</cx:pt>
          <cx:pt idx="56906">3</cx:pt>
          <cx:pt idx="56907">1</cx:pt>
          <cx:pt idx="56908">5</cx:pt>
          <cx:pt idx="56909">4</cx:pt>
          <cx:pt idx="56910">2</cx:pt>
          <cx:pt idx="56911">2</cx:pt>
          <cx:pt idx="56912">5</cx:pt>
          <cx:pt idx="56913">5</cx:pt>
          <cx:pt idx="56914">4</cx:pt>
          <cx:pt idx="56915">3</cx:pt>
          <cx:pt idx="56916">2</cx:pt>
          <cx:pt idx="56917">3</cx:pt>
          <cx:pt idx="56918">4</cx:pt>
          <cx:pt idx="56919">2</cx:pt>
          <cx:pt idx="56920">5</cx:pt>
          <cx:pt idx="56921">2</cx:pt>
          <cx:pt idx="56922">4</cx:pt>
          <cx:pt idx="56923">2</cx:pt>
          <cx:pt idx="56924">5</cx:pt>
          <cx:pt idx="56925">4</cx:pt>
          <cx:pt idx="56926">1</cx:pt>
          <cx:pt idx="56927">3</cx:pt>
          <cx:pt idx="56928">1</cx:pt>
          <cx:pt idx="56929">3</cx:pt>
          <cx:pt idx="56930">5</cx:pt>
          <cx:pt idx="56931">3</cx:pt>
          <cx:pt idx="56932">2</cx:pt>
          <cx:pt idx="56933">2</cx:pt>
          <cx:pt idx="56934">4</cx:pt>
          <cx:pt idx="56935">3</cx:pt>
          <cx:pt idx="56936">1</cx:pt>
          <cx:pt idx="56937">2</cx:pt>
          <cx:pt idx="56938">4</cx:pt>
          <cx:pt idx="56939">4</cx:pt>
          <cx:pt idx="56940">3</cx:pt>
          <cx:pt idx="56941">1</cx:pt>
          <cx:pt idx="56942">3</cx:pt>
          <cx:pt idx="56943">3</cx:pt>
          <cx:pt idx="56944">3</cx:pt>
          <cx:pt idx="56945">4</cx:pt>
          <cx:pt idx="56946">4</cx:pt>
          <cx:pt idx="56947">5</cx:pt>
          <cx:pt idx="56948">1</cx:pt>
          <cx:pt idx="56949">5</cx:pt>
          <cx:pt idx="56950">3</cx:pt>
          <cx:pt idx="56951">3</cx:pt>
          <cx:pt idx="56952">4</cx:pt>
          <cx:pt idx="56953">4</cx:pt>
          <cx:pt idx="56954">1</cx:pt>
          <cx:pt idx="56955">4</cx:pt>
          <cx:pt idx="56956">5</cx:pt>
          <cx:pt idx="56957">4</cx:pt>
          <cx:pt idx="56958">1</cx:pt>
          <cx:pt idx="56959">4</cx:pt>
          <cx:pt idx="56960">3</cx:pt>
          <cx:pt idx="56961">5</cx:pt>
          <cx:pt idx="56962">4</cx:pt>
          <cx:pt idx="56963">2</cx:pt>
          <cx:pt idx="56964">2</cx:pt>
          <cx:pt idx="56965">5</cx:pt>
          <cx:pt idx="56966">4</cx:pt>
          <cx:pt idx="56967">2</cx:pt>
          <cx:pt idx="56968">4</cx:pt>
          <cx:pt idx="56969">4</cx:pt>
          <cx:pt idx="56970">3</cx:pt>
          <cx:pt idx="56971">3</cx:pt>
          <cx:pt idx="56972">4</cx:pt>
          <cx:pt idx="56973">3</cx:pt>
          <cx:pt idx="56974">5</cx:pt>
          <cx:pt idx="56975">4</cx:pt>
          <cx:pt idx="56976">3</cx:pt>
          <cx:pt idx="56977">4</cx:pt>
          <cx:pt idx="56978">1</cx:pt>
          <cx:pt idx="56979">2</cx:pt>
          <cx:pt idx="56980">5</cx:pt>
          <cx:pt idx="56981">3</cx:pt>
          <cx:pt idx="56982">1</cx:pt>
          <cx:pt idx="56983">3</cx:pt>
          <cx:pt idx="56984">3</cx:pt>
          <cx:pt idx="56985">4</cx:pt>
          <cx:pt idx="56986">3</cx:pt>
          <cx:pt idx="56987">2</cx:pt>
          <cx:pt idx="56988">5</cx:pt>
          <cx:pt idx="56989">4</cx:pt>
          <cx:pt idx="56990">3</cx:pt>
          <cx:pt idx="56991">3</cx:pt>
          <cx:pt idx="56992">5</cx:pt>
          <cx:pt idx="56993">2</cx:pt>
          <cx:pt idx="56994">2</cx:pt>
          <cx:pt idx="56995">5</cx:pt>
          <cx:pt idx="56996">5</cx:pt>
          <cx:pt idx="56997">4</cx:pt>
          <cx:pt idx="56998">5</cx:pt>
          <cx:pt idx="56999">2</cx:pt>
          <cx:pt idx="57000">1</cx:pt>
          <cx:pt idx="57001">2</cx:pt>
          <cx:pt idx="57002">2</cx:pt>
          <cx:pt idx="57003">4</cx:pt>
          <cx:pt idx="57004">3</cx:pt>
          <cx:pt idx="57005">5</cx:pt>
          <cx:pt idx="57006">5</cx:pt>
          <cx:pt idx="57007">3</cx:pt>
          <cx:pt idx="57008">4</cx:pt>
          <cx:pt idx="57009">3</cx:pt>
          <cx:pt idx="57010">3</cx:pt>
          <cx:pt idx="57011">1</cx:pt>
          <cx:pt idx="57012">2</cx:pt>
          <cx:pt idx="57013">4</cx:pt>
          <cx:pt idx="57014">5</cx:pt>
          <cx:pt idx="57015">1</cx:pt>
          <cx:pt idx="57016">5</cx:pt>
          <cx:pt idx="57017">3</cx:pt>
          <cx:pt idx="57018">2</cx:pt>
          <cx:pt idx="57019">4</cx:pt>
          <cx:pt idx="57020">2</cx:pt>
          <cx:pt idx="57021">4</cx:pt>
          <cx:pt idx="57022">3</cx:pt>
          <cx:pt idx="57023">1</cx:pt>
          <cx:pt idx="57024">3</cx:pt>
          <cx:pt idx="57025">2</cx:pt>
          <cx:pt idx="57026">5</cx:pt>
          <cx:pt idx="57027">1</cx:pt>
          <cx:pt idx="57028">2</cx:pt>
          <cx:pt idx="57029">2</cx:pt>
          <cx:pt idx="57030">4</cx:pt>
          <cx:pt idx="57031">4</cx:pt>
          <cx:pt idx="57032">4</cx:pt>
          <cx:pt idx="57033">3</cx:pt>
          <cx:pt idx="57034">4</cx:pt>
          <cx:pt idx="57035">4</cx:pt>
          <cx:pt idx="57036">1</cx:pt>
          <cx:pt idx="57037">2</cx:pt>
          <cx:pt idx="57038">5</cx:pt>
          <cx:pt idx="57039">2</cx:pt>
          <cx:pt idx="57040">3</cx:pt>
          <cx:pt idx="57041">5</cx:pt>
          <cx:pt idx="57042">5</cx:pt>
          <cx:pt idx="57043">4</cx:pt>
          <cx:pt idx="57044">4</cx:pt>
          <cx:pt idx="57045">3</cx:pt>
          <cx:pt idx="57046">3</cx:pt>
          <cx:pt idx="57047">5</cx:pt>
          <cx:pt idx="57048">5</cx:pt>
          <cx:pt idx="57049">5</cx:pt>
          <cx:pt idx="57050">3</cx:pt>
          <cx:pt idx="57051">4</cx:pt>
          <cx:pt idx="57052">3</cx:pt>
          <cx:pt idx="57053">4</cx:pt>
          <cx:pt idx="57054">5</cx:pt>
          <cx:pt idx="57055">5</cx:pt>
          <cx:pt idx="57056">4</cx:pt>
          <cx:pt idx="57057">5</cx:pt>
          <cx:pt idx="57058">5</cx:pt>
          <cx:pt idx="57059">2</cx:pt>
          <cx:pt idx="57060">4</cx:pt>
          <cx:pt idx="57061">3</cx:pt>
          <cx:pt idx="57062">1</cx:pt>
          <cx:pt idx="57063">5</cx:pt>
          <cx:pt idx="57064">3</cx:pt>
          <cx:pt idx="57065">4</cx:pt>
          <cx:pt idx="57066">5</cx:pt>
          <cx:pt idx="57067">5</cx:pt>
          <cx:pt idx="57068">2</cx:pt>
          <cx:pt idx="57069">2</cx:pt>
          <cx:pt idx="57070">4</cx:pt>
          <cx:pt idx="57071">4</cx:pt>
          <cx:pt idx="57072">1</cx:pt>
          <cx:pt idx="57073">4</cx:pt>
          <cx:pt idx="57074">2</cx:pt>
          <cx:pt idx="57075">5</cx:pt>
          <cx:pt idx="57076">1</cx:pt>
          <cx:pt idx="57077">5</cx:pt>
          <cx:pt idx="57078">4</cx:pt>
          <cx:pt idx="57079">2</cx:pt>
          <cx:pt idx="57080">5</cx:pt>
          <cx:pt idx="57081">3</cx:pt>
          <cx:pt idx="57082">3</cx:pt>
          <cx:pt idx="57083">2</cx:pt>
          <cx:pt idx="57084">5</cx:pt>
          <cx:pt idx="57085">2</cx:pt>
          <cx:pt idx="57086">2</cx:pt>
          <cx:pt idx="57087">4</cx:pt>
          <cx:pt idx="57088">2</cx:pt>
          <cx:pt idx="57089">4</cx:pt>
          <cx:pt idx="57090">3</cx:pt>
          <cx:pt idx="57091">5</cx:pt>
          <cx:pt idx="57092">3</cx:pt>
          <cx:pt idx="57093">2</cx:pt>
          <cx:pt idx="57094">4</cx:pt>
          <cx:pt idx="57095">4</cx:pt>
          <cx:pt idx="57096">5</cx:pt>
          <cx:pt idx="57097">4</cx:pt>
          <cx:pt idx="57098">2</cx:pt>
          <cx:pt idx="57099">4</cx:pt>
          <cx:pt idx="57100">4</cx:pt>
          <cx:pt idx="57101">4</cx:pt>
          <cx:pt idx="57102">4</cx:pt>
          <cx:pt idx="57103">3</cx:pt>
          <cx:pt idx="57104">4</cx:pt>
          <cx:pt idx="57105">3</cx:pt>
          <cx:pt idx="57106">4</cx:pt>
          <cx:pt idx="57107">3</cx:pt>
          <cx:pt idx="57108">5</cx:pt>
          <cx:pt idx="57109">3</cx:pt>
          <cx:pt idx="57110">2</cx:pt>
          <cx:pt idx="57111">3</cx:pt>
          <cx:pt idx="57112">3</cx:pt>
          <cx:pt idx="57113">2</cx:pt>
          <cx:pt idx="57114">4</cx:pt>
          <cx:pt idx="57115">3</cx:pt>
          <cx:pt idx="57116">5</cx:pt>
          <cx:pt idx="57117">4</cx:pt>
          <cx:pt idx="57118">3</cx:pt>
          <cx:pt idx="57119">5</cx:pt>
          <cx:pt idx="57120">4</cx:pt>
          <cx:pt idx="57121">2</cx:pt>
          <cx:pt idx="57122">2</cx:pt>
          <cx:pt idx="57123">5</cx:pt>
          <cx:pt idx="57124">4</cx:pt>
          <cx:pt idx="57125">2</cx:pt>
          <cx:pt idx="57126">2</cx:pt>
          <cx:pt idx="57127">5</cx:pt>
          <cx:pt idx="57128">5</cx:pt>
          <cx:pt idx="57129">2</cx:pt>
          <cx:pt idx="57130">4</cx:pt>
          <cx:pt idx="57131">5</cx:pt>
          <cx:pt idx="57132">4</cx:pt>
          <cx:pt idx="57133">4</cx:pt>
          <cx:pt idx="57134">5</cx:pt>
          <cx:pt idx="57135">5</cx:pt>
          <cx:pt idx="57136">1</cx:pt>
          <cx:pt idx="57137">3</cx:pt>
          <cx:pt idx="57138">2</cx:pt>
          <cx:pt idx="57139">3</cx:pt>
          <cx:pt idx="57140">5</cx:pt>
          <cx:pt idx="57141">1</cx:pt>
          <cx:pt idx="57142">2</cx:pt>
          <cx:pt idx="57143">5</cx:pt>
          <cx:pt idx="57144">4</cx:pt>
          <cx:pt idx="57145">3</cx:pt>
          <cx:pt idx="57146">4</cx:pt>
          <cx:pt idx="57147">2</cx:pt>
          <cx:pt idx="57148">4</cx:pt>
          <cx:pt idx="57149">2</cx:pt>
          <cx:pt idx="57150">2</cx:pt>
          <cx:pt idx="57151">1</cx:pt>
          <cx:pt idx="57152">1</cx:pt>
          <cx:pt idx="57153">1</cx:pt>
          <cx:pt idx="57154">5</cx:pt>
          <cx:pt idx="57155">3</cx:pt>
          <cx:pt idx="57156">3</cx:pt>
          <cx:pt idx="57157">5</cx:pt>
          <cx:pt idx="57158">4</cx:pt>
          <cx:pt idx="57159">4</cx:pt>
          <cx:pt idx="57160">1</cx:pt>
          <cx:pt idx="57161">5</cx:pt>
          <cx:pt idx="57162">4</cx:pt>
          <cx:pt idx="57163">4</cx:pt>
          <cx:pt idx="57164">4</cx:pt>
          <cx:pt idx="57165">5</cx:pt>
          <cx:pt idx="57166">5</cx:pt>
          <cx:pt idx="57167">3</cx:pt>
          <cx:pt idx="57168">4</cx:pt>
          <cx:pt idx="57169">5</cx:pt>
          <cx:pt idx="57170">5</cx:pt>
          <cx:pt idx="57171">1</cx:pt>
          <cx:pt idx="57172">4</cx:pt>
          <cx:pt idx="57173">1</cx:pt>
          <cx:pt idx="57174">4</cx:pt>
          <cx:pt idx="57175">3</cx:pt>
          <cx:pt idx="57176">4</cx:pt>
          <cx:pt idx="57177">4</cx:pt>
          <cx:pt idx="57178">4</cx:pt>
          <cx:pt idx="57179">3</cx:pt>
          <cx:pt idx="57180">3</cx:pt>
          <cx:pt idx="57181">1</cx:pt>
          <cx:pt idx="57182">4</cx:pt>
          <cx:pt idx="57183">3</cx:pt>
          <cx:pt idx="57184">4</cx:pt>
          <cx:pt idx="57185">4</cx:pt>
          <cx:pt idx="57186">1</cx:pt>
          <cx:pt idx="57187">4</cx:pt>
          <cx:pt idx="57188">2</cx:pt>
          <cx:pt idx="57189">4</cx:pt>
          <cx:pt idx="57190">1</cx:pt>
          <cx:pt idx="57191">5</cx:pt>
          <cx:pt idx="57192">5</cx:pt>
          <cx:pt idx="57193">4</cx:pt>
          <cx:pt idx="57194">2</cx:pt>
          <cx:pt idx="57195">3</cx:pt>
          <cx:pt idx="57196">2</cx:pt>
          <cx:pt idx="57197">3</cx:pt>
          <cx:pt idx="57198">5</cx:pt>
          <cx:pt idx="57199">4</cx:pt>
          <cx:pt idx="57200">3</cx:pt>
          <cx:pt idx="57201">5</cx:pt>
          <cx:pt idx="57202">4</cx:pt>
          <cx:pt idx="57203">2</cx:pt>
          <cx:pt idx="57204">5</cx:pt>
          <cx:pt idx="57205">1</cx:pt>
          <cx:pt idx="57206">1</cx:pt>
          <cx:pt idx="57207">4</cx:pt>
          <cx:pt idx="57208">1</cx:pt>
          <cx:pt idx="57209">5</cx:pt>
          <cx:pt idx="57210">2</cx:pt>
          <cx:pt idx="57211">5</cx:pt>
          <cx:pt idx="57212">2</cx:pt>
          <cx:pt idx="57213">5</cx:pt>
          <cx:pt idx="57214">2</cx:pt>
          <cx:pt idx="57215">4</cx:pt>
          <cx:pt idx="57216">4</cx:pt>
          <cx:pt idx="57217">1</cx:pt>
          <cx:pt idx="57218">4</cx:pt>
          <cx:pt idx="57219">5</cx:pt>
          <cx:pt idx="57220">3</cx:pt>
          <cx:pt idx="57221">5</cx:pt>
          <cx:pt idx="57222">3</cx:pt>
          <cx:pt idx="57223">4</cx:pt>
          <cx:pt idx="57224">1</cx:pt>
          <cx:pt idx="57225">4</cx:pt>
          <cx:pt idx="57226">4</cx:pt>
          <cx:pt idx="57227">5</cx:pt>
          <cx:pt idx="57228">4</cx:pt>
          <cx:pt idx="57229">1</cx:pt>
          <cx:pt idx="57230">3</cx:pt>
          <cx:pt idx="57231">5</cx:pt>
          <cx:pt idx="57232">3</cx:pt>
          <cx:pt idx="57233">5</cx:pt>
          <cx:pt idx="57234">5</cx:pt>
          <cx:pt idx="57235">3</cx:pt>
          <cx:pt idx="57236">4</cx:pt>
          <cx:pt idx="57237">2</cx:pt>
          <cx:pt idx="57238">5</cx:pt>
          <cx:pt idx="57239">2</cx:pt>
          <cx:pt idx="57240">1</cx:pt>
          <cx:pt idx="57241">5</cx:pt>
          <cx:pt idx="57242">1</cx:pt>
          <cx:pt idx="57243">4</cx:pt>
          <cx:pt idx="57244">5</cx:pt>
          <cx:pt idx="57245">3</cx:pt>
          <cx:pt idx="57246">5</cx:pt>
          <cx:pt idx="57247">4</cx:pt>
          <cx:pt idx="57248">2</cx:pt>
          <cx:pt idx="57249">4</cx:pt>
          <cx:pt idx="57250">4</cx:pt>
          <cx:pt idx="57251">5</cx:pt>
          <cx:pt idx="57252">2</cx:pt>
          <cx:pt idx="57253">5</cx:pt>
          <cx:pt idx="57254">4</cx:pt>
          <cx:pt idx="57255">1</cx:pt>
          <cx:pt idx="57256">2</cx:pt>
          <cx:pt idx="57257">5</cx:pt>
          <cx:pt idx="57258">4</cx:pt>
          <cx:pt idx="57259">2</cx:pt>
          <cx:pt idx="57260">4</cx:pt>
          <cx:pt idx="57261">5</cx:pt>
          <cx:pt idx="57262">1</cx:pt>
          <cx:pt idx="57263">2</cx:pt>
          <cx:pt idx="57264">4</cx:pt>
          <cx:pt idx="57265">5</cx:pt>
          <cx:pt idx="57266">2</cx:pt>
          <cx:pt idx="57267">4</cx:pt>
          <cx:pt idx="57268">1</cx:pt>
          <cx:pt idx="57269">1</cx:pt>
          <cx:pt idx="57270">3</cx:pt>
          <cx:pt idx="57271">4</cx:pt>
          <cx:pt idx="57272">2</cx:pt>
          <cx:pt idx="57273">2</cx:pt>
          <cx:pt idx="57274">5</cx:pt>
          <cx:pt idx="57275">4</cx:pt>
          <cx:pt idx="57276">1</cx:pt>
          <cx:pt idx="57277">3</cx:pt>
          <cx:pt idx="57278">5</cx:pt>
          <cx:pt idx="57279">4</cx:pt>
          <cx:pt idx="57280">5</cx:pt>
          <cx:pt idx="57281">2</cx:pt>
          <cx:pt idx="57282">4</cx:pt>
          <cx:pt idx="57283">2</cx:pt>
          <cx:pt idx="57284">1</cx:pt>
          <cx:pt idx="57285">4</cx:pt>
          <cx:pt idx="57286">4</cx:pt>
          <cx:pt idx="57287">4</cx:pt>
          <cx:pt idx="57288">4</cx:pt>
          <cx:pt idx="57289">1</cx:pt>
          <cx:pt idx="57290">4</cx:pt>
          <cx:pt idx="57291">4</cx:pt>
          <cx:pt idx="57292">3</cx:pt>
          <cx:pt idx="57293">4</cx:pt>
          <cx:pt idx="57294">3</cx:pt>
          <cx:pt idx="57295">4</cx:pt>
          <cx:pt idx="57296">2</cx:pt>
          <cx:pt idx="57297">2</cx:pt>
          <cx:pt idx="57298">5</cx:pt>
          <cx:pt idx="57299">2</cx:pt>
          <cx:pt idx="57300">2</cx:pt>
          <cx:pt idx="57301">4</cx:pt>
          <cx:pt idx="57302">3</cx:pt>
          <cx:pt idx="57303">4</cx:pt>
          <cx:pt idx="57304">2</cx:pt>
          <cx:pt idx="57305">3</cx:pt>
          <cx:pt idx="57306">4</cx:pt>
          <cx:pt idx="57307">5</cx:pt>
          <cx:pt idx="57308">5</cx:pt>
          <cx:pt idx="57309">3</cx:pt>
          <cx:pt idx="57310">4</cx:pt>
          <cx:pt idx="57311">3</cx:pt>
          <cx:pt idx="57312">4</cx:pt>
          <cx:pt idx="57313">5</cx:pt>
          <cx:pt idx="57314">2</cx:pt>
          <cx:pt idx="57315">2</cx:pt>
          <cx:pt idx="57316">5</cx:pt>
          <cx:pt idx="57317">3</cx:pt>
          <cx:pt idx="57318">5</cx:pt>
          <cx:pt idx="57319">5</cx:pt>
          <cx:pt idx="57320">3</cx:pt>
          <cx:pt idx="57321">5</cx:pt>
          <cx:pt idx="57322">1</cx:pt>
          <cx:pt idx="57323">2</cx:pt>
          <cx:pt idx="57324">4</cx:pt>
          <cx:pt idx="57325">4</cx:pt>
          <cx:pt idx="57326">5</cx:pt>
          <cx:pt idx="57327">4</cx:pt>
          <cx:pt idx="57328">5</cx:pt>
          <cx:pt idx="57329">3</cx:pt>
          <cx:pt idx="57330">5</cx:pt>
          <cx:pt idx="57331">4</cx:pt>
          <cx:pt idx="57332">1</cx:pt>
          <cx:pt idx="57333">5</cx:pt>
          <cx:pt idx="57334">5</cx:pt>
          <cx:pt idx="57335">3</cx:pt>
          <cx:pt idx="57336">5</cx:pt>
          <cx:pt idx="57337">1</cx:pt>
          <cx:pt idx="57338">4</cx:pt>
          <cx:pt idx="57339">4</cx:pt>
          <cx:pt idx="57340">5</cx:pt>
          <cx:pt idx="57341">5</cx:pt>
          <cx:pt idx="57342">4</cx:pt>
          <cx:pt idx="57343">4</cx:pt>
          <cx:pt idx="57344">1</cx:pt>
          <cx:pt idx="57345">2</cx:pt>
          <cx:pt idx="57346">4</cx:pt>
          <cx:pt idx="57347">2</cx:pt>
          <cx:pt idx="57348">4</cx:pt>
          <cx:pt idx="57349">5</cx:pt>
          <cx:pt idx="57350">1</cx:pt>
          <cx:pt idx="57351">4</cx:pt>
          <cx:pt idx="57352">4</cx:pt>
          <cx:pt idx="57353">4</cx:pt>
          <cx:pt idx="57354">4</cx:pt>
          <cx:pt idx="57355">4</cx:pt>
          <cx:pt idx="57356">4</cx:pt>
          <cx:pt idx="57357">5</cx:pt>
          <cx:pt idx="57358">1</cx:pt>
          <cx:pt idx="57359">5</cx:pt>
          <cx:pt idx="57360">3</cx:pt>
          <cx:pt idx="57361">3</cx:pt>
          <cx:pt idx="57362">4</cx:pt>
          <cx:pt idx="57363">5</cx:pt>
          <cx:pt idx="57364">4</cx:pt>
          <cx:pt idx="57365">1</cx:pt>
          <cx:pt idx="57366">5</cx:pt>
          <cx:pt idx="57367">5</cx:pt>
          <cx:pt idx="57368">4</cx:pt>
          <cx:pt idx="57369">5</cx:pt>
          <cx:pt idx="57370">3</cx:pt>
          <cx:pt idx="57371">2</cx:pt>
          <cx:pt idx="57372">4</cx:pt>
          <cx:pt idx="57373">3</cx:pt>
          <cx:pt idx="57374">1</cx:pt>
          <cx:pt idx="57375">4</cx:pt>
          <cx:pt idx="57376">3</cx:pt>
          <cx:pt idx="57377">4</cx:pt>
          <cx:pt idx="57378">1</cx:pt>
          <cx:pt idx="57379">2</cx:pt>
          <cx:pt idx="57380">1</cx:pt>
          <cx:pt idx="57381">4</cx:pt>
          <cx:pt idx="57382">4</cx:pt>
          <cx:pt idx="57383">3</cx:pt>
          <cx:pt idx="57384">4</cx:pt>
          <cx:pt idx="57385">5</cx:pt>
          <cx:pt idx="57386">5</cx:pt>
          <cx:pt idx="57387">5</cx:pt>
          <cx:pt idx="57388">2</cx:pt>
          <cx:pt idx="57389">2</cx:pt>
          <cx:pt idx="57390">3</cx:pt>
          <cx:pt idx="57391">3</cx:pt>
          <cx:pt idx="57392">2</cx:pt>
          <cx:pt idx="57393">5</cx:pt>
          <cx:pt idx="57394">3</cx:pt>
          <cx:pt idx="57395">4</cx:pt>
          <cx:pt idx="57396">5</cx:pt>
          <cx:pt idx="57397">4</cx:pt>
          <cx:pt idx="57398">5</cx:pt>
          <cx:pt idx="57399">3</cx:pt>
          <cx:pt idx="57400">4</cx:pt>
          <cx:pt idx="57401">4</cx:pt>
          <cx:pt idx="57402">3</cx:pt>
          <cx:pt idx="57403">1</cx:pt>
          <cx:pt idx="57404">5</cx:pt>
          <cx:pt idx="57405">2</cx:pt>
          <cx:pt idx="57406">5</cx:pt>
          <cx:pt idx="57407">4</cx:pt>
          <cx:pt idx="57408">4</cx:pt>
          <cx:pt idx="57409">4</cx:pt>
          <cx:pt idx="57410">5</cx:pt>
          <cx:pt idx="57411">5</cx:pt>
          <cx:pt idx="57412">1</cx:pt>
          <cx:pt idx="57413">3</cx:pt>
          <cx:pt idx="57414">5</cx:pt>
          <cx:pt idx="57415">2</cx:pt>
          <cx:pt idx="57416">4</cx:pt>
          <cx:pt idx="57417">1</cx:pt>
          <cx:pt idx="57418">1</cx:pt>
          <cx:pt idx="57419">5</cx:pt>
          <cx:pt idx="57420">4</cx:pt>
          <cx:pt idx="57421">4</cx:pt>
          <cx:pt idx="57422">4</cx:pt>
          <cx:pt idx="57423">5</cx:pt>
          <cx:pt idx="57424">2</cx:pt>
          <cx:pt idx="57425">5</cx:pt>
          <cx:pt idx="57426">4</cx:pt>
          <cx:pt idx="57427">4</cx:pt>
          <cx:pt idx="57428">1</cx:pt>
          <cx:pt idx="57429">3</cx:pt>
          <cx:pt idx="57430">2</cx:pt>
          <cx:pt idx="57431">2</cx:pt>
          <cx:pt idx="57432">1</cx:pt>
          <cx:pt idx="57433">2</cx:pt>
          <cx:pt idx="57434">3</cx:pt>
          <cx:pt idx="57435">1</cx:pt>
          <cx:pt idx="57436">4</cx:pt>
          <cx:pt idx="57437">5</cx:pt>
          <cx:pt idx="57438">4</cx:pt>
          <cx:pt idx="57439">4</cx:pt>
          <cx:pt idx="57440">4</cx:pt>
          <cx:pt idx="57441">5</cx:pt>
          <cx:pt idx="57442">4</cx:pt>
          <cx:pt idx="57443">4</cx:pt>
          <cx:pt idx="57444">4</cx:pt>
          <cx:pt idx="57445">5</cx:pt>
          <cx:pt idx="57446">4</cx:pt>
          <cx:pt idx="57447">5</cx:pt>
          <cx:pt idx="57448">4</cx:pt>
          <cx:pt idx="57449">3</cx:pt>
          <cx:pt idx="57450">1</cx:pt>
          <cx:pt idx="57451">5</cx:pt>
          <cx:pt idx="57452">4</cx:pt>
          <cx:pt idx="57453">3</cx:pt>
          <cx:pt idx="57454">3</cx:pt>
          <cx:pt idx="57455">5</cx:pt>
          <cx:pt idx="57456">1</cx:pt>
          <cx:pt idx="57457">2</cx:pt>
          <cx:pt idx="57458">4</cx:pt>
          <cx:pt idx="57459">4</cx:pt>
          <cx:pt idx="57460">1</cx:pt>
          <cx:pt idx="57461">2</cx:pt>
          <cx:pt idx="57462">4</cx:pt>
          <cx:pt idx="57463">1</cx:pt>
          <cx:pt idx="57464">3</cx:pt>
          <cx:pt idx="57465">4</cx:pt>
          <cx:pt idx="57466">1</cx:pt>
          <cx:pt idx="57467">1</cx:pt>
          <cx:pt idx="57468">2</cx:pt>
          <cx:pt idx="57469">4</cx:pt>
          <cx:pt idx="57470">2</cx:pt>
          <cx:pt idx="57471">4</cx:pt>
          <cx:pt idx="57472">3</cx:pt>
          <cx:pt idx="57473">4</cx:pt>
          <cx:pt idx="57474">4</cx:pt>
          <cx:pt idx="57475">3</cx:pt>
          <cx:pt idx="57476">4</cx:pt>
          <cx:pt idx="57477">3</cx:pt>
          <cx:pt idx="57478">2</cx:pt>
          <cx:pt idx="57479">4</cx:pt>
          <cx:pt idx="57480">1</cx:pt>
          <cx:pt idx="57481">2</cx:pt>
          <cx:pt idx="57482">2</cx:pt>
          <cx:pt idx="57483">5</cx:pt>
          <cx:pt idx="57484">3</cx:pt>
          <cx:pt idx="57485">3</cx:pt>
          <cx:pt idx="57486">4</cx:pt>
          <cx:pt idx="57487">3</cx:pt>
          <cx:pt idx="57488">4</cx:pt>
          <cx:pt idx="57489">4</cx:pt>
          <cx:pt idx="57490">3</cx:pt>
          <cx:pt idx="57491">5</cx:pt>
          <cx:pt idx="57492">4</cx:pt>
          <cx:pt idx="57493">2</cx:pt>
          <cx:pt idx="57494">1</cx:pt>
          <cx:pt idx="57495">5</cx:pt>
          <cx:pt idx="57496">2</cx:pt>
          <cx:pt idx="57497">5</cx:pt>
          <cx:pt idx="57498">1</cx:pt>
          <cx:pt idx="57499">1</cx:pt>
          <cx:pt idx="57500">3</cx:pt>
          <cx:pt idx="57501">5</cx:pt>
          <cx:pt idx="57502">5</cx:pt>
          <cx:pt idx="57503">4</cx:pt>
          <cx:pt idx="57504">3</cx:pt>
          <cx:pt idx="57505">3</cx:pt>
          <cx:pt idx="57506">5</cx:pt>
          <cx:pt idx="57507">5</cx:pt>
          <cx:pt idx="57508">2</cx:pt>
          <cx:pt idx="57509">5</cx:pt>
          <cx:pt idx="57510">2</cx:pt>
          <cx:pt idx="57511">5</cx:pt>
          <cx:pt idx="57512">5</cx:pt>
          <cx:pt idx="57513">4</cx:pt>
          <cx:pt idx="57514">3</cx:pt>
          <cx:pt idx="57515">2</cx:pt>
          <cx:pt idx="57516">4</cx:pt>
          <cx:pt idx="57517">4</cx:pt>
          <cx:pt idx="57518">2</cx:pt>
          <cx:pt idx="57519">3</cx:pt>
          <cx:pt idx="57520">3</cx:pt>
          <cx:pt idx="57521">5</cx:pt>
          <cx:pt idx="57522">4</cx:pt>
          <cx:pt idx="57523">4</cx:pt>
          <cx:pt idx="57524">4</cx:pt>
          <cx:pt idx="57525">4</cx:pt>
          <cx:pt idx="57526">2</cx:pt>
          <cx:pt idx="57527">3</cx:pt>
          <cx:pt idx="57528">1</cx:pt>
          <cx:pt idx="57529">4</cx:pt>
          <cx:pt idx="57530">4</cx:pt>
          <cx:pt idx="57531">3</cx:pt>
          <cx:pt idx="57532">5</cx:pt>
          <cx:pt idx="57533">3</cx:pt>
          <cx:pt idx="57534">5</cx:pt>
          <cx:pt idx="57535">1</cx:pt>
          <cx:pt idx="57536">3</cx:pt>
          <cx:pt idx="57537">4</cx:pt>
          <cx:pt idx="57538">2</cx:pt>
          <cx:pt idx="57539">5</cx:pt>
          <cx:pt idx="57540">4</cx:pt>
          <cx:pt idx="57541">4</cx:pt>
          <cx:pt idx="57542">4</cx:pt>
          <cx:pt idx="57543">5</cx:pt>
          <cx:pt idx="57544">3</cx:pt>
          <cx:pt idx="57545">3</cx:pt>
          <cx:pt idx="57546">5</cx:pt>
          <cx:pt idx="57547">4</cx:pt>
          <cx:pt idx="57548">3</cx:pt>
          <cx:pt idx="57549">3</cx:pt>
          <cx:pt idx="57550">4</cx:pt>
          <cx:pt idx="57551">5</cx:pt>
          <cx:pt idx="57552">1</cx:pt>
          <cx:pt idx="57553">5</cx:pt>
          <cx:pt idx="57554">1</cx:pt>
          <cx:pt idx="57555">5</cx:pt>
          <cx:pt idx="57556">5</cx:pt>
          <cx:pt idx="57557">4</cx:pt>
          <cx:pt idx="57558">1</cx:pt>
          <cx:pt idx="57559">4</cx:pt>
          <cx:pt idx="57560">3</cx:pt>
          <cx:pt idx="57561">4</cx:pt>
          <cx:pt idx="57562">3</cx:pt>
          <cx:pt idx="57563">5</cx:pt>
          <cx:pt idx="57564">4</cx:pt>
          <cx:pt idx="57565">5</cx:pt>
          <cx:pt idx="57566">5</cx:pt>
          <cx:pt idx="57567">4</cx:pt>
          <cx:pt idx="57568">1</cx:pt>
          <cx:pt idx="57569">4</cx:pt>
          <cx:pt idx="57570">4</cx:pt>
          <cx:pt idx="57571">1</cx:pt>
          <cx:pt idx="57572">1</cx:pt>
          <cx:pt idx="57573">5</cx:pt>
          <cx:pt idx="57574">5</cx:pt>
          <cx:pt idx="57575">5</cx:pt>
          <cx:pt idx="57576">5</cx:pt>
          <cx:pt idx="57577">5</cx:pt>
          <cx:pt idx="57578">3</cx:pt>
          <cx:pt idx="57579">2</cx:pt>
          <cx:pt idx="57580">2</cx:pt>
          <cx:pt idx="57581">4</cx:pt>
          <cx:pt idx="57582">5</cx:pt>
          <cx:pt idx="57583">1</cx:pt>
          <cx:pt idx="57584">4</cx:pt>
          <cx:pt idx="57585">4</cx:pt>
          <cx:pt idx="57586">4</cx:pt>
          <cx:pt idx="57587">5</cx:pt>
          <cx:pt idx="57588">2</cx:pt>
          <cx:pt idx="57589">3</cx:pt>
          <cx:pt idx="57590">5</cx:pt>
          <cx:pt idx="57591">1</cx:pt>
          <cx:pt idx="57592">4</cx:pt>
          <cx:pt idx="57593">2</cx:pt>
          <cx:pt idx="57594">5</cx:pt>
          <cx:pt idx="57595">4</cx:pt>
          <cx:pt idx="57596">5</cx:pt>
          <cx:pt idx="57597">3</cx:pt>
          <cx:pt idx="57598">5</cx:pt>
          <cx:pt idx="57599">2</cx:pt>
          <cx:pt idx="57600">3</cx:pt>
          <cx:pt idx="57601">5</cx:pt>
          <cx:pt idx="57602">5</cx:pt>
          <cx:pt idx="57603">4</cx:pt>
          <cx:pt idx="57604">4</cx:pt>
          <cx:pt idx="57605">4</cx:pt>
          <cx:pt idx="57606">3</cx:pt>
          <cx:pt idx="57607">5</cx:pt>
          <cx:pt idx="57608">3</cx:pt>
          <cx:pt idx="57609">3</cx:pt>
          <cx:pt idx="57610">4</cx:pt>
          <cx:pt idx="57611">5</cx:pt>
          <cx:pt idx="57612">5</cx:pt>
          <cx:pt idx="57613">1</cx:pt>
          <cx:pt idx="57614">2</cx:pt>
          <cx:pt idx="57615">5</cx:pt>
          <cx:pt idx="57616">4</cx:pt>
          <cx:pt idx="57617">3</cx:pt>
          <cx:pt idx="57618">4</cx:pt>
          <cx:pt idx="57619">4</cx:pt>
          <cx:pt idx="57620">4</cx:pt>
          <cx:pt idx="57621">1</cx:pt>
          <cx:pt idx="57622">4</cx:pt>
          <cx:pt idx="57623">5</cx:pt>
          <cx:pt idx="57624">4</cx:pt>
          <cx:pt idx="57625">5</cx:pt>
          <cx:pt idx="57626">4</cx:pt>
          <cx:pt idx="57627">5</cx:pt>
          <cx:pt idx="57628">3</cx:pt>
          <cx:pt idx="57629">4</cx:pt>
          <cx:pt idx="57630">4</cx:pt>
          <cx:pt idx="57631">5</cx:pt>
          <cx:pt idx="57632">4</cx:pt>
          <cx:pt idx="57633">5</cx:pt>
          <cx:pt idx="57634">5</cx:pt>
          <cx:pt idx="57635">1</cx:pt>
          <cx:pt idx="57636">1</cx:pt>
          <cx:pt idx="57637">5</cx:pt>
          <cx:pt idx="57638">3</cx:pt>
          <cx:pt idx="57639">5</cx:pt>
          <cx:pt idx="57640">4</cx:pt>
          <cx:pt idx="57641">4</cx:pt>
          <cx:pt idx="57642">3</cx:pt>
          <cx:pt idx="57643">1</cx:pt>
          <cx:pt idx="57644">4</cx:pt>
          <cx:pt idx="57645">1</cx:pt>
          <cx:pt idx="57646">5</cx:pt>
          <cx:pt idx="57647">2</cx:pt>
          <cx:pt idx="57648">5</cx:pt>
          <cx:pt idx="57649">5</cx:pt>
          <cx:pt idx="57650">3</cx:pt>
          <cx:pt idx="57651">5</cx:pt>
          <cx:pt idx="57652">4</cx:pt>
          <cx:pt idx="57653">3</cx:pt>
          <cx:pt idx="57654">5</cx:pt>
          <cx:pt idx="57655">4</cx:pt>
          <cx:pt idx="57656">4</cx:pt>
          <cx:pt idx="57657">5</cx:pt>
          <cx:pt idx="57658">2</cx:pt>
          <cx:pt idx="57659">5</cx:pt>
          <cx:pt idx="57660">4</cx:pt>
          <cx:pt idx="57661">3</cx:pt>
          <cx:pt idx="57662">2</cx:pt>
          <cx:pt idx="57663">2</cx:pt>
          <cx:pt idx="57664">2</cx:pt>
          <cx:pt idx="57665">2</cx:pt>
          <cx:pt idx="57666">2</cx:pt>
          <cx:pt idx="57667">5</cx:pt>
          <cx:pt idx="57668">3</cx:pt>
          <cx:pt idx="57669">4</cx:pt>
          <cx:pt idx="57670">4</cx:pt>
          <cx:pt idx="57671">2</cx:pt>
          <cx:pt idx="57672">5</cx:pt>
          <cx:pt idx="57673">4</cx:pt>
          <cx:pt idx="57674">5</cx:pt>
          <cx:pt idx="57675">4</cx:pt>
          <cx:pt idx="57676">2</cx:pt>
          <cx:pt idx="57677">1</cx:pt>
          <cx:pt idx="57678">4</cx:pt>
          <cx:pt idx="57679">4</cx:pt>
          <cx:pt idx="57680">5</cx:pt>
          <cx:pt idx="57681">5</cx:pt>
          <cx:pt idx="57682">2</cx:pt>
          <cx:pt idx="57683">4</cx:pt>
          <cx:pt idx="57684">5</cx:pt>
          <cx:pt idx="57685">5</cx:pt>
          <cx:pt idx="57686">4</cx:pt>
          <cx:pt idx="57687">2</cx:pt>
          <cx:pt idx="57688">5</cx:pt>
          <cx:pt idx="57689">4</cx:pt>
          <cx:pt idx="57690">5</cx:pt>
          <cx:pt idx="57691">1</cx:pt>
          <cx:pt idx="57692">5</cx:pt>
          <cx:pt idx="57693">2</cx:pt>
          <cx:pt idx="57694">1</cx:pt>
          <cx:pt idx="57695">3</cx:pt>
          <cx:pt idx="57696">3</cx:pt>
          <cx:pt idx="57697">3</cx:pt>
          <cx:pt idx="57698">3</cx:pt>
          <cx:pt idx="57699">2</cx:pt>
          <cx:pt idx="57700">5</cx:pt>
          <cx:pt idx="57701">5</cx:pt>
          <cx:pt idx="57702">4</cx:pt>
          <cx:pt idx="57703">3</cx:pt>
          <cx:pt idx="57704">4</cx:pt>
          <cx:pt idx="57705">5</cx:pt>
          <cx:pt idx="57706">5</cx:pt>
          <cx:pt idx="57707">4</cx:pt>
          <cx:pt idx="57708">2</cx:pt>
          <cx:pt idx="57709">3</cx:pt>
          <cx:pt idx="57710">2</cx:pt>
          <cx:pt idx="57711">5</cx:pt>
          <cx:pt idx="57712">5</cx:pt>
          <cx:pt idx="57713">1</cx:pt>
          <cx:pt idx="57714">4</cx:pt>
          <cx:pt idx="57715">5</cx:pt>
          <cx:pt idx="57716">5</cx:pt>
          <cx:pt idx="57717">4</cx:pt>
          <cx:pt idx="57718">3</cx:pt>
          <cx:pt idx="57719">5</cx:pt>
          <cx:pt idx="57720">5</cx:pt>
          <cx:pt idx="57721">4</cx:pt>
          <cx:pt idx="57722">4</cx:pt>
          <cx:pt idx="57723">5</cx:pt>
          <cx:pt idx="57724">5</cx:pt>
          <cx:pt idx="57725">3</cx:pt>
          <cx:pt idx="57726">4</cx:pt>
          <cx:pt idx="57727">4</cx:pt>
          <cx:pt idx="57728">3</cx:pt>
          <cx:pt idx="57729">2</cx:pt>
          <cx:pt idx="57730">5</cx:pt>
          <cx:pt idx="57731">2</cx:pt>
          <cx:pt idx="57732">5</cx:pt>
          <cx:pt idx="57733">5</cx:pt>
          <cx:pt idx="57734">5</cx:pt>
          <cx:pt idx="57735">5</cx:pt>
          <cx:pt idx="57736">3</cx:pt>
          <cx:pt idx="57737">5</cx:pt>
          <cx:pt idx="57738">4</cx:pt>
          <cx:pt idx="57739">4</cx:pt>
          <cx:pt idx="57740">3</cx:pt>
          <cx:pt idx="57741">3</cx:pt>
          <cx:pt idx="57742">5</cx:pt>
          <cx:pt idx="57743">5</cx:pt>
          <cx:pt idx="57744">3</cx:pt>
          <cx:pt idx="57745">3</cx:pt>
          <cx:pt idx="57746">4</cx:pt>
          <cx:pt idx="57747">4</cx:pt>
          <cx:pt idx="57748">4</cx:pt>
          <cx:pt idx="57749">4</cx:pt>
          <cx:pt idx="57750">5</cx:pt>
          <cx:pt idx="57751">3</cx:pt>
          <cx:pt idx="57752">1</cx:pt>
          <cx:pt idx="57753">5</cx:pt>
          <cx:pt idx="57754">4</cx:pt>
          <cx:pt idx="57755">4</cx:pt>
          <cx:pt idx="57756">1</cx:pt>
          <cx:pt idx="57757">2</cx:pt>
          <cx:pt idx="57758">1</cx:pt>
          <cx:pt idx="57759">1</cx:pt>
          <cx:pt idx="57760">4</cx:pt>
          <cx:pt idx="57761">4</cx:pt>
          <cx:pt idx="57762">3</cx:pt>
          <cx:pt idx="57763">2</cx:pt>
          <cx:pt idx="57764">3</cx:pt>
          <cx:pt idx="57765">4</cx:pt>
          <cx:pt idx="57766">1</cx:pt>
          <cx:pt idx="57767">4</cx:pt>
          <cx:pt idx="57768">1</cx:pt>
          <cx:pt idx="57769">3</cx:pt>
          <cx:pt idx="57770">3</cx:pt>
          <cx:pt idx="57771">3</cx:pt>
          <cx:pt idx="57772">4</cx:pt>
          <cx:pt idx="57773">1</cx:pt>
          <cx:pt idx="57774">3</cx:pt>
          <cx:pt idx="57775">4</cx:pt>
          <cx:pt idx="57776">2</cx:pt>
          <cx:pt idx="57777">4</cx:pt>
          <cx:pt idx="57778">4</cx:pt>
          <cx:pt idx="57779">2</cx:pt>
          <cx:pt idx="57780">3</cx:pt>
          <cx:pt idx="57781">5</cx:pt>
          <cx:pt idx="57782">2</cx:pt>
          <cx:pt idx="57783">1</cx:pt>
          <cx:pt idx="57784">1</cx:pt>
          <cx:pt idx="57785">3</cx:pt>
          <cx:pt idx="57786">5</cx:pt>
          <cx:pt idx="57787">5</cx:pt>
          <cx:pt idx="57788">3</cx:pt>
          <cx:pt idx="57789">3</cx:pt>
          <cx:pt idx="57790">2</cx:pt>
          <cx:pt idx="57791">5</cx:pt>
          <cx:pt idx="57792">3</cx:pt>
          <cx:pt idx="57793">5</cx:pt>
          <cx:pt idx="57794">2</cx:pt>
          <cx:pt idx="57795">3</cx:pt>
          <cx:pt idx="57796">5</cx:pt>
          <cx:pt idx="57797">2</cx:pt>
          <cx:pt idx="57798">2</cx:pt>
          <cx:pt idx="57799">1</cx:pt>
          <cx:pt idx="57800">5</cx:pt>
          <cx:pt idx="57801">5</cx:pt>
          <cx:pt idx="57802">4</cx:pt>
          <cx:pt idx="57803">4</cx:pt>
          <cx:pt idx="57804">4</cx:pt>
          <cx:pt idx="57805">2</cx:pt>
          <cx:pt idx="57806">4</cx:pt>
          <cx:pt idx="57807">4</cx:pt>
          <cx:pt idx="57808">4</cx:pt>
          <cx:pt idx="57809">1</cx:pt>
          <cx:pt idx="57810">4</cx:pt>
          <cx:pt idx="57811">5</cx:pt>
          <cx:pt idx="57812">3</cx:pt>
          <cx:pt idx="57813">4</cx:pt>
          <cx:pt idx="57814">5</cx:pt>
          <cx:pt idx="57815">2</cx:pt>
          <cx:pt idx="57816">5</cx:pt>
          <cx:pt idx="57817">5</cx:pt>
          <cx:pt idx="57818">1</cx:pt>
          <cx:pt idx="57819">3</cx:pt>
          <cx:pt idx="57820">4</cx:pt>
          <cx:pt idx="57821">2</cx:pt>
          <cx:pt idx="57822">5</cx:pt>
          <cx:pt idx="57823">4</cx:pt>
          <cx:pt idx="57824">5</cx:pt>
          <cx:pt idx="57825">3</cx:pt>
          <cx:pt idx="57826">4</cx:pt>
          <cx:pt idx="57827">4</cx:pt>
          <cx:pt idx="57828">2</cx:pt>
          <cx:pt idx="57829">2</cx:pt>
          <cx:pt idx="57830">1</cx:pt>
          <cx:pt idx="57831">3</cx:pt>
          <cx:pt idx="57832">5</cx:pt>
          <cx:pt idx="57833">5</cx:pt>
          <cx:pt idx="57834">4</cx:pt>
          <cx:pt idx="57835">3</cx:pt>
          <cx:pt idx="57836">5</cx:pt>
          <cx:pt idx="57837">4</cx:pt>
          <cx:pt idx="57838">4</cx:pt>
          <cx:pt idx="57839">4</cx:pt>
          <cx:pt idx="57840">1</cx:pt>
          <cx:pt idx="57841">4</cx:pt>
          <cx:pt idx="57842">2</cx:pt>
          <cx:pt idx="57843">3</cx:pt>
          <cx:pt idx="57844">1</cx:pt>
          <cx:pt idx="57845">1</cx:pt>
          <cx:pt idx="57846">5</cx:pt>
          <cx:pt idx="57847">4</cx:pt>
          <cx:pt idx="57848">1</cx:pt>
          <cx:pt idx="57849">1</cx:pt>
          <cx:pt idx="57850">5</cx:pt>
          <cx:pt idx="57851">3</cx:pt>
          <cx:pt idx="57852">4</cx:pt>
          <cx:pt idx="57853">1</cx:pt>
          <cx:pt idx="57854">3</cx:pt>
          <cx:pt idx="57855">5</cx:pt>
          <cx:pt idx="57856">1</cx:pt>
          <cx:pt idx="57857">3</cx:pt>
          <cx:pt idx="57858">1</cx:pt>
          <cx:pt idx="57859">2</cx:pt>
          <cx:pt idx="57860">2</cx:pt>
          <cx:pt idx="57861">5</cx:pt>
          <cx:pt idx="57862">3</cx:pt>
          <cx:pt idx="57863">1</cx:pt>
          <cx:pt idx="57864">3</cx:pt>
          <cx:pt idx="57865">3</cx:pt>
          <cx:pt idx="57866">3</cx:pt>
          <cx:pt idx="57867">4</cx:pt>
          <cx:pt idx="57868">3</cx:pt>
          <cx:pt idx="57869">4</cx:pt>
          <cx:pt idx="57870">3</cx:pt>
          <cx:pt idx="57871">3</cx:pt>
          <cx:pt idx="57872">4</cx:pt>
          <cx:pt idx="57873">5</cx:pt>
          <cx:pt idx="57874">5</cx:pt>
          <cx:pt idx="57875">5</cx:pt>
          <cx:pt idx="57876">5</cx:pt>
          <cx:pt idx="57877">5</cx:pt>
          <cx:pt idx="57878">1</cx:pt>
          <cx:pt idx="57879">4</cx:pt>
          <cx:pt idx="57880">3</cx:pt>
          <cx:pt idx="57881">2</cx:pt>
          <cx:pt idx="57882">4</cx:pt>
          <cx:pt idx="57883">3</cx:pt>
          <cx:pt idx="57884">4</cx:pt>
          <cx:pt idx="57885">3</cx:pt>
          <cx:pt idx="57886">2</cx:pt>
          <cx:pt idx="57887">4</cx:pt>
          <cx:pt idx="57888">3</cx:pt>
          <cx:pt idx="57889">4</cx:pt>
          <cx:pt idx="57890">4</cx:pt>
          <cx:pt idx="57891">4</cx:pt>
          <cx:pt idx="57892">5</cx:pt>
          <cx:pt idx="57893">5</cx:pt>
          <cx:pt idx="57894">2</cx:pt>
          <cx:pt idx="57895">4</cx:pt>
          <cx:pt idx="57896">2</cx:pt>
          <cx:pt idx="57897">4</cx:pt>
          <cx:pt idx="57898">4</cx:pt>
          <cx:pt idx="57899">2</cx:pt>
          <cx:pt idx="57900">3</cx:pt>
          <cx:pt idx="57901">5</cx:pt>
          <cx:pt idx="57902">3</cx:pt>
          <cx:pt idx="57903">4</cx:pt>
          <cx:pt idx="57904">3</cx:pt>
          <cx:pt idx="57905">5</cx:pt>
          <cx:pt idx="57906">1</cx:pt>
          <cx:pt idx="57907">1</cx:pt>
          <cx:pt idx="57908">5</cx:pt>
          <cx:pt idx="57909">3</cx:pt>
          <cx:pt idx="57910">2</cx:pt>
          <cx:pt idx="57911">5</cx:pt>
          <cx:pt idx="57912">4</cx:pt>
          <cx:pt idx="57913">5</cx:pt>
          <cx:pt idx="57914">3</cx:pt>
          <cx:pt idx="57915">4</cx:pt>
          <cx:pt idx="57916">5</cx:pt>
          <cx:pt idx="57917">3</cx:pt>
          <cx:pt idx="57918">4</cx:pt>
          <cx:pt idx="57919">5</cx:pt>
          <cx:pt idx="57920">4</cx:pt>
          <cx:pt idx="57921">4</cx:pt>
          <cx:pt idx="57922">3</cx:pt>
          <cx:pt idx="57923">5</cx:pt>
          <cx:pt idx="57924">1</cx:pt>
          <cx:pt idx="57925">4</cx:pt>
          <cx:pt idx="57926">5</cx:pt>
          <cx:pt idx="57927">1</cx:pt>
          <cx:pt idx="57928">4</cx:pt>
          <cx:pt idx="57929">1</cx:pt>
          <cx:pt idx="57930">2</cx:pt>
          <cx:pt idx="57931">1</cx:pt>
          <cx:pt idx="57932">2</cx:pt>
          <cx:pt idx="57933">2</cx:pt>
          <cx:pt idx="57934">2</cx:pt>
          <cx:pt idx="57935">1</cx:pt>
          <cx:pt idx="57936">3</cx:pt>
          <cx:pt idx="57937">3</cx:pt>
          <cx:pt idx="57938">3</cx:pt>
          <cx:pt idx="57939">4</cx:pt>
          <cx:pt idx="57940">5</cx:pt>
          <cx:pt idx="57941">4</cx:pt>
          <cx:pt idx="57942">2</cx:pt>
          <cx:pt idx="57943">2</cx:pt>
          <cx:pt idx="57944">4</cx:pt>
          <cx:pt idx="57945">5</cx:pt>
          <cx:pt idx="57946">3</cx:pt>
          <cx:pt idx="57947">2</cx:pt>
          <cx:pt idx="57948">5</cx:pt>
          <cx:pt idx="57949">5</cx:pt>
          <cx:pt idx="57950">5</cx:pt>
          <cx:pt idx="57951">1</cx:pt>
          <cx:pt idx="57952">5</cx:pt>
          <cx:pt idx="57953">5</cx:pt>
          <cx:pt idx="57954">4</cx:pt>
          <cx:pt idx="57955">3</cx:pt>
          <cx:pt idx="57956">4</cx:pt>
          <cx:pt idx="57957">5</cx:pt>
          <cx:pt idx="57958">1</cx:pt>
          <cx:pt idx="57959">3</cx:pt>
          <cx:pt idx="57960">3</cx:pt>
          <cx:pt idx="57961">3</cx:pt>
          <cx:pt idx="57962">5</cx:pt>
          <cx:pt idx="57963">1</cx:pt>
          <cx:pt idx="57964">4</cx:pt>
          <cx:pt idx="57965">1</cx:pt>
          <cx:pt idx="57966">1</cx:pt>
          <cx:pt idx="57967">4</cx:pt>
          <cx:pt idx="57968">5</cx:pt>
          <cx:pt idx="57969">3</cx:pt>
          <cx:pt idx="57970">5</cx:pt>
          <cx:pt idx="57971">1</cx:pt>
          <cx:pt idx="57972">4</cx:pt>
          <cx:pt idx="57973">5</cx:pt>
          <cx:pt idx="57974">3</cx:pt>
          <cx:pt idx="57975">5</cx:pt>
          <cx:pt idx="57976">2</cx:pt>
          <cx:pt idx="57977">2</cx:pt>
          <cx:pt idx="57978">2</cx:pt>
          <cx:pt idx="57979">4</cx:pt>
          <cx:pt idx="57980">1</cx:pt>
          <cx:pt idx="57981">4</cx:pt>
          <cx:pt idx="57982">4</cx:pt>
          <cx:pt idx="57983">1</cx:pt>
          <cx:pt idx="57984">4</cx:pt>
          <cx:pt idx="57985">2</cx:pt>
          <cx:pt idx="57986">4</cx:pt>
          <cx:pt idx="57987">3</cx:pt>
          <cx:pt idx="57988">4</cx:pt>
          <cx:pt idx="57989">4</cx:pt>
          <cx:pt idx="57990">4</cx:pt>
          <cx:pt idx="57991">5</cx:pt>
          <cx:pt idx="57992">4</cx:pt>
          <cx:pt idx="57993">4</cx:pt>
          <cx:pt idx="57994">4</cx:pt>
          <cx:pt idx="57995">4</cx:pt>
          <cx:pt idx="57996">4</cx:pt>
          <cx:pt idx="57997">5</cx:pt>
          <cx:pt idx="57998">5</cx:pt>
          <cx:pt idx="57999">1</cx:pt>
          <cx:pt idx="58000">1</cx:pt>
          <cx:pt idx="58001">1</cx:pt>
          <cx:pt idx="58002">3</cx:pt>
          <cx:pt idx="58003">4</cx:pt>
          <cx:pt idx="58004">5</cx:pt>
          <cx:pt idx="58005">5</cx:pt>
          <cx:pt idx="58006">5</cx:pt>
          <cx:pt idx="58007">4</cx:pt>
          <cx:pt idx="58008">2</cx:pt>
          <cx:pt idx="58009">5</cx:pt>
          <cx:pt idx="58010">5</cx:pt>
          <cx:pt idx="58011">5</cx:pt>
          <cx:pt idx="58012">3</cx:pt>
          <cx:pt idx="58013">3</cx:pt>
          <cx:pt idx="58014">4</cx:pt>
          <cx:pt idx="58015">3</cx:pt>
          <cx:pt idx="58016">5</cx:pt>
          <cx:pt idx="58017">5</cx:pt>
          <cx:pt idx="58018">4</cx:pt>
          <cx:pt idx="58019">4</cx:pt>
          <cx:pt idx="58020">5</cx:pt>
          <cx:pt idx="58021">3</cx:pt>
          <cx:pt idx="58022">3</cx:pt>
          <cx:pt idx="58023">5</cx:pt>
          <cx:pt idx="58024">3</cx:pt>
          <cx:pt idx="58025">5</cx:pt>
          <cx:pt idx="58026">3</cx:pt>
          <cx:pt idx="58027">5</cx:pt>
          <cx:pt idx="58028">3</cx:pt>
          <cx:pt idx="58029">1</cx:pt>
          <cx:pt idx="58030">5</cx:pt>
          <cx:pt idx="58031">4</cx:pt>
          <cx:pt idx="58032">3</cx:pt>
          <cx:pt idx="58033">4</cx:pt>
          <cx:pt idx="58034">5</cx:pt>
          <cx:pt idx="58035">5</cx:pt>
          <cx:pt idx="58036">5</cx:pt>
          <cx:pt idx="58037">3</cx:pt>
          <cx:pt idx="58038">4</cx:pt>
          <cx:pt idx="58039">1</cx:pt>
          <cx:pt idx="58040">2</cx:pt>
          <cx:pt idx="58041">5</cx:pt>
          <cx:pt idx="58042">4</cx:pt>
          <cx:pt idx="58043">5</cx:pt>
          <cx:pt idx="58044">5</cx:pt>
          <cx:pt idx="58045">5</cx:pt>
          <cx:pt idx="58046">4</cx:pt>
          <cx:pt idx="58047">2</cx:pt>
          <cx:pt idx="58048">4</cx:pt>
          <cx:pt idx="58049">2</cx:pt>
          <cx:pt idx="58050">2</cx:pt>
          <cx:pt idx="58051">4</cx:pt>
          <cx:pt idx="58052">3</cx:pt>
          <cx:pt idx="58053">3</cx:pt>
          <cx:pt idx="58054">2</cx:pt>
          <cx:pt idx="58055">1</cx:pt>
          <cx:pt idx="58056">1</cx:pt>
          <cx:pt idx="58057">2</cx:pt>
          <cx:pt idx="58058">4</cx:pt>
          <cx:pt idx="58059">2</cx:pt>
          <cx:pt idx="58060">3</cx:pt>
          <cx:pt idx="58061">5</cx:pt>
          <cx:pt idx="58062">5</cx:pt>
          <cx:pt idx="58063">4</cx:pt>
          <cx:pt idx="58064">4</cx:pt>
          <cx:pt idx="58065">3</cx:pt>
          <cx:pt idx="58066">4</cx:pt>
          <cx:pt idx="58067">3</cx:pt>
          <cx:pt idx="58068">4</cx:pt>
          <cx:pt idx="58069">2</cx:pt>
          <cx:pt idx="58070">4</cx:pt>
          <cx:pt idx="58071">4</cx:pt>
          <cx:pt idx="58072">5</cx:pt>
          <cx:pt idx="58073">5</cx:pt>
          <cx:pt idx="58074">2</cx:pt>
          <cx:pt idx="58075">5</cx:pt>
          <cx:pt idx="58076">4</cx:pt>
          <cx:pt idx="58077">2</cx:pt>
          <cx:pt idx="58078">4</cx:pt>
          <cx:pt idx="58079">5</cx:pt>
          <cx:pt idx="58080">4</cx:pt>
          <cx:pt idx="58081">2</cx:pt>
          <cx:pt idx="58082">4</cx:pt>
          <cx:pt idx="58083">4</cx:pt>
          <cx:pt idx="58084">3</cx:pt>
          <cx:pt idx="58085">5</cx:pt>
          <cx:pt idx="58086">2</cx:pt>
          <cx:pt idx="58087">4</cx:pt>
          <cx:pt idx="58088">4</cx:pt>
          <cx:pt idx="58089">4</cx:pt>
          <cx:pt idx="58090">1</cx:pt>
          <cx:pt idx="58091">4</cx:pt>
          <cx:pt idx="58092">4</cx:pt>
          <cx:pt idx="58093">4</cx:pt>
          <cx:pt idx="58094">2</cx:pt>
          <cx:pt idx="58095">5</cx:pt>
          <cx:pt idx="58096">3</cx:pt>
          <cx:pt idx="58097">3</cx:pt>
          <cx:pt idx="58098">2</cx:pt>
          <cx:pt idx="58099">3</cx:pt>
          <cx:pt idx="58100">4</cx:pt>
          <cx:pt idx="58101">3</cx:pt>
          <cx:pt idx="58102">5</cx:pt>
          <cx:pt idx="58103">4</cx:pt>
          <cx:pt idx="58104">1</cx:pt>
          <cx:pt idx="58105">5</cx:pt>
          <cx:pt idx="58106">3</cx:pt>
          <cx:pt idx="58107">3</cx:pt>
          <cx:pt idx="58108">5</cx:pt>
          <cx:pt idx="58109">4</cx:pt>
          <cx:pt idx="58110">3</cx:pt>
          <cx:pt idx="58111">5</cx:pt>
          <cx:pt idx="58112">2</cx:pt>
          <cx:pt idx="58113">4</cx:pt>
          <cx:pt idx="58114">5</cx:pt>
          <cx:pt idx="58115">3</cx:pt>
          <cx:pt idx="58116">2</cx:pt>
          <cx:pt idx="58117">4</cx:pt>
          <cx:pt idx="58118">5</cx:pt>
          <cx:pt idx="58119">5</cx:pt>
          <cx:pt idx="58120">2</cx:pt>
          <cx:pt idx="58121">4</cx:pt>
          <cx:pt idx="58122">3</cx:pt>
          <cx:pt idx="58123">3</cx:pt>
          <cx:pt idx="58124">5</cx:pt>
          <cx:pt idx="58125">3</cx:pt>
          <cx:pt idx="58126">5</cx:pt>
          <cx:pt idx="58127">5</cx:pt>
          <cx:pt idx="58128">4</cx:pt>
          <cx:pt idx="58129">3</cx:pt>
          <cx:pt idx="58130">3</cx:pt>
          <cx:pt idx="58131">5</cx:pt>
          <cx:pt idx="58132">1</cx:pt>
          <cx:pt idx="58133">3</cx:pt>
          <cx:pt idx="58134">3</cx:pt>
          <cx:pt idx="58135">2</cx:pt>
          <cx:pt idx="58136">3</cx:pt>
          <cx:pt idx="58137">4</cx:pt>
          <cx:pt idx="58138">4</cx:pt>
          <cx:pt idx="58139">4</cx:pt>
          <cx:pt idx="58140">3</cx:pt>
          <cx:pt idx="58141">2</cx:pt>
          <cx:pt idx="58142">5</cx:pt>
          <cx:pt idx="58143">4</cx:pt>
          <cx:pt idx="58144">5</cx:pt>
          <cx:pt idx="58145">1</cx:pt>
          <cx:pt idx="58146">1</cx:pt>
          <cx:pt idx="58147">3</cx:pt>
          <cx:pt idx="58148">3</cx:pt>
          <cx:pt idx="58149">5</cx:pt>
          <cx:pt idx="58150">4</cx:pt>
          <cx:pt idx="58151">2</cx:pt>
          <cx:pt idx="58152">1</cx:pt>
          <cx:pt idx="58153">1</cx:pt>
          <cx:pt idx="58154">5</cx:pt>
          <cx:pt idx="58155">5</cx:pt>
          <cx:pt idx="58156">2</cx:pt>
          <cx:pt idx="58157">2</cx:pt>
          <cx:pt idx="58158">5</cx:pt>
          <cx:pt idx="58159">2</cx:pt>
          <cx:pt idx="58160">4</cx:pt>
          <cx:pt idx="58161">2</cx:pt>
          <cx:pt idx="58162">5</cx:pt>
          <cx:pt idx="58163">5</cx:pt>
          <cx:pt idx="58164">5</cx:pt>
          <cx:pt idx="58165">1</cx:pt>
          <cx:pt idx="58166">5</cx:pt>
          <cx:pt idx="58167">4</cx:pt>
          <cx:pt idx="58168">4</cx:pt>
          <cx:pt idx="58169">4</cx:pt>
          <cx:pt idx="58170">2</cx:pt>
          <cx:pt idx="58171">3</cx:pt>
          <cx:pt idx="58172">3</cx:pt>
          <cx:pt idx="58173">4</cx:pt>
          <cx:pt idx="58174">3</cx:pt>
          <cx:pt idx="58175">3</cx:pt>
          <cx:pt idx="58176">4</cx:pt>
          <cx:pt idx="58177">5</cx:pt>
          <cx:pt idx="58178">4</cx:pt>
          <cx:pt idx="58179">4</cx:pt>
          <cx:pt idx="58180">2</cx:pt>
          <cx:pt idx="58181">4</cx:pt>
          <cx:pt idx="58182">5</cx:pt>
          <cx:pt idx="58183">5</cx:pt>
          <cx:pt idx="58184">3</cx:pt>
          <cx:pt idx="58185">2</cx:pt>
          <cx:pt idx="58186">3</cx:pt>
          <cx:pt idx="58187">3</cx:pt>
          <cx:pt idx="58188">1</cx:pt>
          <cx:pt idx="58189">2</cx:pt>
          <cx:pt idx="58190">4</cx:pt>
          <cx:pt idx="58191">4</cx:pt>
          <cx:pt idx="58192">5</cx:pt>
          <cx:pt idx="58193">1</cx:pt>
          <cx:pt idx="58194">5</cx:pt>
          <cx:pt idx="58195">4</cx:pt>
          <cx:pt idx="58196">4</cx:pt>
          <cx:pt idx="58197">4</cx:pt>
          <cx:pt idx="58198">4</cx:pt>
          <cx:pt idx="58199">4</cx:pt>
          <cx:pt idx="58200">4</cx:pt>
          <cx:pt idx="58201">4</cx:pt>
          <cx:pt idx="58202">2</cx:pt>
          <cx:pt idx="58203">4</cx:pt>
          <cx:pt idx="58204">5</cx:pt>
          <cx:pt idx="58205">1</cx:pt>
          <cx:pt idx="58206">3</cx:pt>
          <cx:pt idx="58207">5</cx:pt>
          <cx:pt idx="58208">4</cx:pt>
          <cx:pt idx="58209">2</cx:pt>
          <cx:pt idx="58210">4</cx:pt>
          <cx:pt idx="58211">5</cx:pt>
          <cx:pt idx="58212">4</cx:pt>
          <cx:pt idx="58213">5</cx:pt>
          <cx:pt idx="58214">4</cx:pt>
          <cx:pt idx="58215">2</cx:pt>
          <cx:pt idx="58216">5</cx:pt>
          <cx:pt idx="58217">5</cx:pt>
          <cx:pt idx="58218">3</cx:pt>
          <cx:pt idx="58219">4</cx:pt>
          <cx:pt idx="58220">3</cx:pt>
          <cx:pt idx="58221">1</cx:pt>
          <cx:pt idx="58222">4</cx:pt>
          <cx:pt idx="58223">3</cx:pt>
          <cx:pt idx="58224">3</cx:pt>
          <cx:pt idx="58225">5</cx:pt>
          <cx:pt idx="58226">4</cx:pt>
          <cx:pt idx="58227">1</cx:pt>
          <cx:pt idx="58228">2</cx:pt>
          <cx:pt idx="58229">3</cx:pt>
          <cx:pt idx="58230">5</cx:pt>
          <cx:pt idx="58231">4</cx:pt>
          <cx:pt idx="58232">5</cx:pt>
          <cx:pt idx="58233">3</cx:pt>
          <cx:pt idx="58234">3</cx:pt>
          <cx:pt idx="58235">4</cx:pt>
          <cx:pt idx="58236">4</cx:pt>
          <cx:pt idx="58237">4</cx:pt>
          <cx:pt idx="58238">5</cx:pt>
          <cx:pt idx="58239">1</cx:pt>
          <cx:pt idx="58240">4</cx:pt>
          <cx:pt idx="58241">3</cx:pt>
          <cx:pt idx="58242">4</cx:pt>
          <cx:pt idx="58243">4</cx:pt>
          <cx:pt idx="58244">5</cx:pt>
          <cx:pt idx="58245">4</cx:pt>
          <cx:pt idx="58246">5</cx:pt>
          <cx:pt idx="58247">5</cx:pt>
          <cx:pt idx="58248">5</cx:pt>
          <cx:pt idx="58249">1</cx:pt>
          <cx:pt idx="58250">4</cx:pt>
          <cx:pt idx="58251">4</cx:pt>
          <cx:pt idx="58252">5</cx:pt>
          <cx:pt idx="58253">2</cx:pt>
          <cx:pt idx="58254">5</cx:pt>
          <cx:pt idx="58255">5</cx:pt>
          <cx:pt idx="58256">2</cx:pt>
          <cx:pt idx="58257">5</cx:pt>
          <cx:pt idx="58258">5</cx:pt>
          <cx:pt idx="58259">5</cx:pt>
          <cx:pt idx="58260">4</cx:pt>
          <cx:pt idx="58261">5</cx:pt>
          <cx:pt idx="58262">3</cx:pt>
          <cx:pt idx="58263">3</cx:pt>
          <cx:pt idx="58264">1</cx:pt>
          <cx:pt idx="58265">5</cx:pt>
          <cx:pt idx="58266">5</cx:pt>
          <cx:pt idx="58267">5</cx:pt>
          <cx:pt idx="58268">4</cx:pt>
          <cx:pt idx="58269">3</cx:pt>
          <cx:pt idx="58270">4</cx:pt>
          <cx:pt idx="58271">5</cx:pt>
          <cx:pt idx="58272">1</cx:pt>
          <cx:pt idx="58273">5</cx:pt>
          <cx:pt idx="58274">1</cx:pt>
          <cx:pt idx="58275">4</cx:pt>
          <cx:pt idx="58276">3</cx:pt>
          <cx:pt idx="58277">4</cx:pt>
          <cx:pt idx="58278">2</cx:pt>
          <cx:pt idx="58279">3</cx:pt>
          <cx:pt idx="58280">4</cx:pt>
          <cx:pt idx="58281">4</cx:pt>
          <cx:pt idx="58282">4</cx:pt>
          <cx:pt idx="58283">4</cx:pt>
          <cx:pt idx="58284">4</cx:pt>
          <cx:pt idx="58285">2</cx:pt>
          <cx:pt idx="58286">1</cx:pt>
          <cx:pt idx="58287">3</cx:pt>
          <cx:pt idx="58288">2</cx:pt>
          <cx:pt idx="58289">5</cx:pt>
          <cx:pt idx="58290">5</cx:pt>
          <cx:pt idx="58291">1</cx:pt>
          <cx:pt idx="58292">4</cx:pt>
          <cx:pt idx="58293">1</cx:pt>
          <cx:pt idx="58294">5</cx:pt>
          <cx:pt idx="58295">3</cx:pt>
          <cx:pt idx="58296">5</cx:pt>
          <cx:pt idx="58297">3</cx:pt>
          <cx:pt idx="58298">2</cx:pt>
          <cx:pt idx="58299">5</cx:pt>
          <cx:pt idx="58300">1</cx:pt>
          <cx:pt idx="58301">4</cx:pt>
          <cx:pt idx="58302">5</cx:pt>
          <cx:pt idx="58303">5</cx:pt>
          <cx:pt idx="58304">5</cx:pt>
          <cx:pt idx="58305">3</cx:pt>
          <cx:pt idx="58306">4</cx:pt>
          <cx:pt idx="58307">4</cx:pt>
          <cx:pt idx="58308">3</cx:pt>
          <cx:pt idx="58309">2</cx:pt>
          <cx:pt idx="58310">3</cx:pt>
          <cx:pt idx="58311">4</cx:pt>
          <cx:pt idx="58312">2</cx:pt>
          <cx:pt idx="58313">4</cx:pt>
          <cx:pt idx="58314">4</cx:pt>
          <cx:pt idx="58315">5</cx:pt>
          <cx:pt idx="58316">5</cx:pt>
          <cx:pt idx="58317">3</cx:pt>
          <cx:pt idx="58318">4</cx:pt>
          <cx:pt idx="58319">5</cx:pt>
          <cx:pt idx="58320">1</cx:pt>
          <cx:pt idx="58321">3</cx:pt>
          <cx:pt idx="58322">2</cx:pt>
          <cx:pt idx="58323">2</cx:pt>
          <cx:pt idx="58324">4</cx:pt>
          <cx:pt idx="58325">2</cx:pt>
          <cx:pt idx="58326">5</cx:pt>
          <cx:pt idx="58327">4</cx:pt>
          <cx:pt idx="58328">5</cx:pt>
          <cx:pt idx="58329">5</cx:pt>
          <cx:pt idx="58330">3</cx:pt>
          <cx:pt idx="58331">5</cx:pt>
          <cx:pt idx="58332">1</cx:pt>
          <cx:pt idx="58333">3</cx:pt>
          <cx:pt idx="58334">5</cx:pt>
          <cx:pt idx="58335">5</cx:pt>
          <cx:pt idx="58336">4</cx:pt>
          <cx:pt idx="58337">4</cx:pt>
          <cx:pt idx="58338">3</cx:pt>
          <cx:pt idx="58339">5</cx:pt>
          <cx:pt idx="58340">1</cx:pt>
          <cx:pt idx="58341">3</cx:pt>
          <cx:pt idx="58342">2</cx:pt>
          <cx:pt idx="58343">4</cx:pt>
          <cx:pt idx="58344">5</cx:pt>
          <cx:pt idx="58345">3</cx:pt>
          <cx:pt idx="58346">4</cx:pt>
          <cx:pt idx="58347">2</cx:pt>
          <cx:pt idx="58348">3</cx:pt>
          <cx:pt idx="58349">4</cx:pt>
          <cx:pt idx="58350">4</cx:pt>
          <cx:pt idx="58351">1</cx:pt>
          <cx:pt idx="58352">2</cx:pt>
          <cx:pt idx="58353">4</cx:pt>
          <cx:pt idx="58354">3</cx:pt>
          <cx:pt idx="58355">4</cx:pt>
          <cx:pt idx="58356">2</cx:pt>
          <cx:pt idx="58357">1</cx:pt>
          <cx:pt idx="58358">5</cx:pt>
          <cx:pt idx="58359">5</cx:pt>
          <cx:pt idx="58360">3</cx:pt>
          <cx:pt idx="58361">4</cx:pt>
          <cx:pt idx="58362">5</cx:pt>
          <cx:pt idx="58363">1</cx:pt>
          <cx:pt idx="58364">5</cx:pt>
          <cx:pt idx="58365">4</cx:pt>
          <cx:pt idx="58366">5</cx:pt>
          <cx:pt idx="58367">4</cx:pt>
          <cx:pt idx="58368">5</cx:pt>
          <cx:pt idx="58369">2</cx:pt>
          <cx:pt idx="58370">4</cx:pt>
          <cx:pt idx="58371">4</cx:pt>
          <cx:pt idx="58372">4</cx:pt>
          <cx:pt idx="58373">4</cx:pt>
          <cx:pt idx="58374">5</cx:pt>
          <cx:pt idx="58375">4</cx:pt>
          <cx:pt idx="58376">2</cx:pt>
          <cx:pt idx="58377">3</cx:pt>
          <cx:pt idx="58378">5</cx:pt>
          <cx:pt idx="58379">3</cx:pt>
          <cx:pt idx="58380">4</cx:pt>
          <cx:pt idx="58381">1</cx:pt>
          <cx:pt idx="58382">2</cx:pt>
          <cx:pt idx="58383">3</cx:pt>
          <cx:pt idx="58384">5</cx:pt>
          <cx:pt idx="58385">3</cx:pt>
          <cx:pt idx="58386">4</cx:pt>
          <cx:pt idx="58387">3</cx:pt>
          <cx:pt idx="58388">1</cx:pt>
          <cx:pt idx="58389">1</cx:pt>
          <cx:pt idx="58390">5</cx:pt>
          <cx:pt idx="58391">3</cx:pt>
          <cx:pt idx="58392">3</cx:pt>
          <cx:pt idx="58393">4</cx:pt>
          <cx:pt idx="58394">4</cx:pt>
          <cx:pt idx="58395">2</cx:pt>
          <cx:pt idx="58396">1</cx:pt>
          <cx:pt idx="58397">4</cx:pt>
          <cx:pt idx="58398">4</cx:pt>
          <cx:pt idx="58399">5</cx:pt>
          <cx:pt idx="58400">5</cx:pt>
          <cx:pt idx="58401">4</cx:pt>
          <cx:pt idx="58402">3</cx:pt>
          <cx:pt idx="58403">2</cx:pt>
          <cx:pt idx="58404">4</cx:pt>
          <cx:pt idx="58405">5</cx:pt>
          <cx:pt idx="58406">5</cx:pt>
          <cx:pt idx="58407">5</cx:pt>
          <cx:pt idx="58408">2</cx:pt>
          <cx:pt idx="58409">4</cx:pt>
          <cx:pt idx="58410">5</cx:pt>
          <cx:pt idx="58411">5</cx:pt>
          <cx:pt idx="58412">3</cx:pt>
          <cx:pt idx="58413">3</cx:pt>
          <cx:pt idx="58414">4</cx:pt>
          <cx:pt idx="58415">2</cx:pt>
          <cx:pt idx="58416">3</cx:pt>
          <cx:pt idx="58417">5</cx:pt>
          <cx:pt idx="58418">4</cx:pt>
          <cx:pt idx="58419">5</cx:pt>
          <cx:pt idx="58420">3</cx:pt>
          <cx:pt idx="58421">5</cx:pt>
          <cx:pt idx="58422">5</cx:pt>
          <cx:pt idx="58423">4</cx:pt>
          <cx:pt idx="58424">4</cx:pt>
          <cx:pt idx="58425">4</cx:pt>
          <cx:pt idx="58426">2</cx:pt>
          <cx:pt idx="58427">5</cx:pt>
          <cx:pt idx="58428">4</cx:pt>
          <cx:pt idx="58429">2</cx:pt>
          <cx:pt idx="58430">3</cx:pt>
          <cx:pt idx="58431">4</cx:pt>
          <cx:pt idx="58432">1</cx:pt>
          <cx:pt idx="58433">5</cx:pt>
          <cx:pt idx="58434">1</cx:pt>
          <cx:pt idx="58435">4</cx:pt>
          <cx:pt idx="58436">4</cx:pt>
          <cx:pt idx="58437">4</cx:pt>
          <cx:pt idx="58438">2</cx:pt>
          <cx:pt idx="58439">5</cx:pt>
          <cx:pt idx="58440">5</cx:pt>
          <cx:pt idx="58441">4</cx:pt>
          <cx:pt idx="58442">2</cx:pt>
          <cx:pt idx="58443">5</cx:pt>
          <cx:pt idx="58444">4</cx:pt>
          <cx:pt idx="58445">5</cx:pt>
          <cx:pt idx="58446">4</cx:pt>
          <cx:pt idx="58447">3</cx:pt>
          <cx:pt idx="58448">4</cx:pt>
          <cx:pt idx="58449">1</cx:pt>
          <cx:pt idx="58450">3</cx:pt>
          <cx:pt idx="58451">5</cx:pt>
          <cx:pt idx="58452">5</cx:pt>
          <cx:pt idx="58453">1</cx:pt>
          <cx:pt idx="58454">4</cx:pt>
          <cx:pt idx="58455">3</cx:pt>
          <cx:pt idx="58456">5</cx:pt>
          <cx:pt idx="58457">5</cx:pt>
          <cx:pt idx="58458">5</cx:pt>
          <cx:pt idx="58459">5</cx:pt>
          <cx:pt idx="58460">4</cx:pt>
          <cx:pt idx="58461">5</cx:pt>
          <cx:pt idx="58462">4</cx:pt>
          <cx:pt idx="58463">5</cx:pt>
          <cx:pt idx="58464">3</cx:pt>
          <cx:pt idx="58465">5</cx:pt>
          <cx:pt idx="58466">4</cx:pt>
          <cx:pt idx="58467">3</cx:pt>
          <cx:pt idx="58468">2</cx:pt>
          <cx:pt idx="58469">3</cx:pt>
          <cx:pt idx="58470">3</cx:pt>
          <cx:pt idx="58471">5</cx:pt>
          <cx:pt idx="58472">3</cx:pt>
          <cx:pt idx="58473">1</cx:pt>
          <cx:pt idx="58474">4</cx:pt>
          <cx:pt idx="58475">4</cx:pt>
          <cx:pt idx="58476">2</cx:pt>
          <cx:pt idx="58477">4</cx:pt>
          <cx:pt idx="58478">5</cx:pt>
          <cx:pt idx="58479">1</cx:pt>
          <cx:pt idx="58480">5</cx:pt>
          <cx:pt idx="58481">3</cx:pt>
          <cx:pt idx="58482">5</cx:pt>
          <cx:pt idx="58483">2</cx:pt>
          <cx:pt idx="58484">4</cx:pt>
          <cx:pt idx="58485">4</cx:pt>
          <cx:pt idx="58486">2</cx:pt>
          <cx:pt idx="58487">4</cx:pt>
          <cx:pt idx="58488">1</cx:pt>
          <cx:pt idx="58489">1</cx:pt>
          <cx:pt idx="58490">3</cx:pt>
          <cx:pt idx="58491">2</cx:pt>
          <cx:pt idx="58492">5</cx:pt>
          <cx:pt idx="58493">3</cx:pt>
          <cx:pt idx="58494">2</cx:pt>
          <cx:pt idx="58495">4</cx:pt>
          <cx:pt idx="58496">4</cx:pt>
          <cx:pt idx="58497">3</cx:pt>
          <cx:pt idx="58498">4</cx:pt>
          <cx:pt idx="58499">5</cx:pt>
          <cx:pt idx="58500">5</cx:pt>
          <cx:pt idx="58501">5</cx:pt>
          <cx:pt idx="58502">1</cx:pt>
          <cx:pt idx="58503">4</cx:pt>
          <cx:pt idx="58504">2</cx:pt>
          <cx:pt idx="58505">2</cx:pt>
          <cx:pt idx="58506">4</cx:pt>
          <cx:pt idx="58507">5</cx:pt>
          <cx:pt idx="58508">2</cx:pt>
          <cx:pt idx="58509">3</cx:pt>
          <cx:pt idx="58510">5</cx:pt>
          <cx:pt idx="58511">4</cx:pt>
          <cx:pt idx="58512">4</cx:pt>
          <cx:pt idx="58513">4</cx:pt>
          <cx:pt idx="58514">5</cx:pt>
          <cx:pt idx="58515">4</cx:pt>
          <cx:pt idx="58516">3</cx:pt>
          <cx:pt idx="58517">2</cx:pt>
          <cx:pt idx="58518">5</cx:pt>
          <cx:pt idx="58519">1</cx:pt>
          <cx:pt idx="58520">5</cx:pt>
          <cx:pt idx="58521">4</cx:pt>
          <cx:pt idx="58522">5</cx:pt>
          <cx:pt idx="58523">5</cx:pt>
          <cx:pt idx="58524">4</cx:pt>
          <cx:pt idx="58525">2</cx:pt>
          <cx:pt idx="58526">5</cx:pt>
          <cx:pt idx="58527">1</cx:pt>
          <cx:pt idx="58528">4</cx:pt>
          <cx:pt idx="58529">3</cx:pt>
          <cx:pt idx="58530">2</cx:pt>
          <cx:pt idx="58531">5</cx:pt>
          <cx:pt idx="58532">5</cx:pt>
          <cx:pt idx="58533">4</cx:pt>
          <cx:pt idx="58534">4</cx:pt>
          <cx:pt idx="58535">4</cx:pt>
          <cx:pt idx="58536">5</cx:pt>
          <cx:pt idx="58537">5</cx:pt>
          <cx:pt idx="58538">4</cx:pt>
          <cx:pt idx="58539">5</cx:pt>
          <cx:pt idx="58540">4</cx:pt>
          <cx:pt idx="58541">1</cx:pt>
          <cx:pt idx="58542">5</cx:pt>
          <cx:pt idx="58543">3</cx:pt>
          <cx:pt idx="58544">5</cx:pt>
          <cx:pt idx="58545">4</cx:pt>
          <cx:pt idx="58546">4</cx:pt>
          <cx:pt idx="58547">4</cx:pt>
          <cx:pt idx="58548">5</cx:pt>
          <cx:pt idx="58549">4</cx:pt>
          <cx:pt idx="58550">4</cx:pt>
          <cx:pt idx="58551">1</cx:pt>
          <cx:pt idx="58552">5</cx:pt>
          <cx:pt idx="58553">1</cx:pt>
          <cx:pt idx="58554">4</cx:pt>
          <cx:pt idx="58555">1</cx:pt>
          <cx:pt idx="58556">3</cx:pt>
          <cx:pt idx="58557">1</cx:pt>
          <cx:pt idx="58558">4</cx:pt>
          <cx:pt idx="58559">1</cx:pt>
          <cx:pt idx="58560">2</cx:pt>
          <cx:pt idx="58561">4</cx:pt>
          <cx:pt idx="58562">5</cx:pt>
          <cx:pt idx="58563">4</cx:pt>
          <cx:pt idx="58564">2</cx:pt>
          <cx:pt idx="58565">5</cx:pt>
          <cx:pt idx="58566">5</cx:pt>
          <cx:pt idx="58567">4</cx:pt>
          <cx:pt idx="58568">4</cx:pt>
          <cx:pt idx="58569">1</cx:pt>
          <cx:pt idx="58570">5</cx:pt>
          <cx:pt idx="58571">4</cx:pt>
          <cx:pt idx="58572">3</cx:pt>
          <cx:pt idx="58573">4</cx:pt>
          <cx:pt idx="58574">4</cx:pt>
          <cx:pt idx="58575">5</cx:pt>
          <cx:pt idx="58576">3</cx:pt>
          <cx:pt idx="58577">4</cx:pt>
          <cx:pt idx="58578">5</cx:pt>
          <cx:pt idx="58579">2</cx:pt>
          <cx:pt idx="58580">5</cx:pt>
          <cx:pt idx="58581">4</cx:pt>
          <cx:pt idx="58582">5</cx:pt>
          <cx:pt idx="58583">5</cx:pt>
          <cx:pt idx="58584">5</cx:pt>
          <cx:pt idx="58585">1</cx:pt>
          <cx:pt idx="58586">2</cx:pt>
          <cx:pt idx="58587">4</cx:pt>
          <cx:pt idx="58588">4</cx:pt>
          <cx:pt idx="58589">5</cx:pt>
          <cx:pt idx="58590">5</cx:pt>
          <cx:pt idx="58591">4</cx:pt>
          <cx:pt idx="58592">5</cx:pt>
          <cx:pt idx="58593">4</cx:pt>
          <cx:pt idx="58594">4</cx:pt>
          <cx:pt idx="58595">5</cx:pt>
          <cx:pt idx="58596">4</cx:pt>
          <cx:pt idx="58597">2</cx:pt>
          <cx:pt idx="58598">1</cx:pt>
          <cx:pt idx="58599">3</cx:pt>
          <cx:pt idx="58600">1</cx:pt>
          <cx:pt idx="58601">4</cx:pt>
          <cx:pt idx="58602">1</cx:pt>
          <cx:pt idx="58603">1</cx:pt>
          <cx:pt idx="58604">4</cx:pt>
          <cx:pt idx="58605">2</cx:pt>
          <cx:pt idx="58606">3</cx:pt>
          <cx:pt idx="58607">3</cx:pt>
          <cx:pt idx="58608">5</cx:pt>
          <cx:pt idx="58609">5</cx:pt>
          <cx:pt idx="58610">4</cx:pt>
          <cx:pt idx="58611">2</cx:pt>
          <cx:pt idx="58612">2</cx:pt>
          <cx:pt idx="58613">3</cx:pt>
          <cx:pt idx="58614">2</cx:pt>
          <cx:pt idx="58615">5</cx:pt>
          <cx:pt idx="58616">5</cx:pt>
          <cx:pt idx="58617">5</cx:pt>
          <cx:pt idx="58618">1</cx:pt>
          <cx:pt idx="58619">1</cx:pt>
          <cx:pt idx="58620">4</cx:pt>
          <cx:pt idx="58621">4</cx:pt>
          <cx:pt idx="58622">5</cx:pt>
          <cx:pt idx="58623">3</cx:pt>
          <cx:pt idx="58624">3</cx:pt>
          <cx:pt idx="58625">5</cx:pt>
          <cx:pt idx="58626">2</cx:pt>
          <cx:pt idx="58627">4</cx:pt>
          <cx:pt idx="58628">5</cx:pt>
          <cx:pt idx="58629">4</cx:pt>
          <cx:pt idx="58630">1</cx:pt>
          <cx:pt idx="58631">4</cx:pt>
          <cx:pt idx="58632">2</cx:pt>
          <cx:pt idx="58633">5</cx:pt>
          <cx:pt idx="58634">3</cx:pt>
          <cx:pt idx="58635">5</cx:pt>
          <cx:pt idx="58636">2</cx:pt>
          <cx:pt idx="58637">2</cx:pt>
          <cx:pt idx="58638">1</cx:pt>
          <cx:pt idx="58639">2</cx:pt>
          <cx:pt idx="58640">2</cx:pt>
          <cx:pt idx="58641">1</cx:pt>
          <cx:pt idx="58642">1</cx:pt>
          <cx:pt idx="58643">2</cx:pt>
          <cx:pt idx="58644">3</cx:pt>
          <cx:pt idx="58645">4</cx:pt>
          <cx:pt idx="58646">3</cx:pt>
          <cx:pt idx="58647">1</cx:pt>
          <cx:pt idx="58648">4</cx:pt>
          <cx:pt idx="58649">2</cx:pt>
          <cx:pt idx="58650">5</cx:pt>
          <cx:pt idx="58651">4</cx:pt>
          <cx:pt idx="58652">3</cx:pt>
          <cx:pt idx="58653">4</cx:pt>
          <cx:pt idx="58654">5</cx:pt>
          <cx:pt idx="58655">5</cx:pt>
          <cx:pt idx="58656">3</cx:pt>
          <cx:pt idx="58657">1</cx:pt>
          <cx:pt idx="58658">5</cx:pt>
          <cx:pt idx="58659">5</cx:pt>
          <cx:pt idx="58660">5</cx:pt>
          <cx:pt idx="58661">3</cx:pt>
          <cx:pt idx="58662">4</cx:pt>
          <cx:pt idx="58663">5</cx:pt>
          <cx:pt idx="58664">4</cx:pt>
          <cx:pt idx="58665">5</cx:pt>
          <cx:pt idx="58666">5</cx:pt>
          <cx:pt idx="58667">4</cx:pt>
          <cx:pt idx="58668">2</cx:pt>
          <cx:pt idx="58669">1</cx:pt>
          <cx:pt idx="58670">4</cx:pt>
          <cx:pt idx="58671">2</cx:pt>
          <cx:pt idx="58672">3</cx:pt>
          <cx:pt idx="58673">5</cx:pt>
          <cx:pt idx="58674">3</cx:pt>
          <cx:pt idx="58675">4</cx:pt>
          <cx:pt idx="58676">1</cx:pt>
          <cx:pt idx="58677">1</cx:pt>
          <cx:pt idx="58678">5</cx:pt>
          <cx:pt idx="58679">3</cx:pt>
          <cx:pt idx="58680">2</cx:pt>
          <cx:pt idx="58681">5</cx:pt>
          <cx:pt idx="58682">5</cx:pt>
          <cx:pt idx="58683">3</cx:pt>
          <cx:pt idx="58684">4</cx:pt>
          <cx:pt idx="58685">4</cx:pt>
          <cx:pt idx="58686">1</cx:pt>
          <cx:pt idx="58687">4</cx:pt>
          <cx:pt idx="58688">4</cx:pt>
          <cx:pt idx="58689">3</cx:pt>
          <cx:pt idx="58690">3</cx:pt>
          <cx:pt idx="58691">5</cx:pt>
          <cx:pt idx="58692">2</cx:pt>
          <cx:pt idx="58693">2</cx:pt>
          <cx:pt idx="58694">5</cx:pt>
          <cx:pt idx="58695">4</cx:pt>
          <cx:pt idx="58696">2</cx:pt>
          <cx:pt idx="58697">4</cx:pt>
          <cx:pt idx="58698">4</cx:pt>
          <cx:pt idx="58699">3</cx:pt>
          <cx:pt idx="58700">4</cx:pt>
          <cx:pt idx="58701">5</cx:pt>
          <cx:pt idx="58702">3</cx:pt>
          <cx:pt idx="58703">4</cx:pt>
          <cx:pt idx="58704">3</cx:pt>
          <cx:pt idx="58705">5</cx:pt>
          <cx:pt idx="58706">3</cx:pt>
          <cx:pt idx="58707">1</cx:pt>
          <cx:pt idx="58708">2</cx:pt>
          <cx:pt idx="58709">2</cx:pt>
          <cx:pt idx="58710">3</cx:pt>
          <cx:pt idx="58711">5</cx:pt>
          <cx:pt idx="58712">1</cx:pt>
          <cx:pt idx="58713">3</cx:pt>
          <cx:pt idx="58714">1</cx:pt>
          <cx:pt idx="58715">5</cx:pt>
          <cx:pt idx="58716">4</cx:pt>
          <cx:pt idx="58717">5</cx:pt>
          <cx:pt idx="58718">3</cx:pt>
          <cx:pt idx="58719">4</cx:pt>
          <cx:pt idx="58720">4</cx:pt>
          <cx:pt idx="58721">5</cx:pt>
          <cx:pt idx="58722">4</cx:pt>
          <cx:pt idx="58723">3</cx:pt>
          <cx:pt idx="58724">4</cx:pt>
          <cx:pt idx="58725">3</cx:pt>
          <cx:pt idx="58726">2</cx:pt>
          <cx:pt idx="58727">5</cx:pt>
          <cx:pt idx="58728">3</cx:pt>
          <cx:pt idx="58729">4</cx:pt>
          <cx:pt idx="58730">4</cx:pt>
          <cx:pt idx="58731">4</cx:pt>
          <cx:pt idx="58732">1</cx:pt>
          <cx:pt idx="58733">4</cx:pt>
          <cx:pt idx="58734">1</cx:pt>
          <cx:pt idx="58735">3</cx:pt>
          <cx:pt idx="58736">2</cx:pt>
          <cx:pt idx="58737">5</cx:pt>
          <cx:pt idx="58738">4</cx:pt>
          <cx:pt idx="58739">5</cx:pt>
          <cx:pt idx="58740">2</cx:pt>
          <cx:pt idx="58741">5</cx:pt>
          <cx:pt idx="58742">4</cx:pt>
          <cx:pt idx="58743">5</cx:pt>
          <cx:pt idx="58744">5</cx:pt>
          <cx:pt idx="58745">1</cx:pt>
          <cx:pt idx="58746">4</cx:pt>
          <cx:pt idx="58747">4</cx:pt>
          <cx:pt idx="58748">2</cx:pt>
          <cx:pt idx="58749">5</cx:pt>
          <cx:pt idx="58750">2</cx:pt>
          <cx:pt idx="58751">2</cx:pt>
          <cx:pt idx="58752">2</cx:pt>
          <cx:pt idx="58753">4</cx:pt>
          <cx:pt idx="58754">4</cx:pt>
          <cx:pt idx="58755">2</cx:pt>
          <cx:pt idx="58756">4</cx:pt>
          <cx:pt idx="58757">4</cx:pt>
          <cx:pt idx="58758">4</cx:pt>
          <cx:pt idx="58759">1</cx:pt>
          <cx:pt idx="58760">5</cx:pt>
          <cx:pt idx="58761">5</cx:pt>
          <cx:pt idx="58762">4</cx:pt>
          <cx:pt idx="58763">3</cx:pt>
          <cx:pt idx="58764">4</cx:pt>
          <cx:pt idx="58765">4</cx:pt>
          <cx:pt idx="58766">2</cx:pt>
          <cx:pt idx="58767">2</cx:pt>
          <cx:pt idx="58768">5</cx:pt>
          <cx:pt idx="58769">5</cx:pt>
          <cx:pt idx="58770">1</cx:pt>
          <cx:pt idx="58771">2</cx:pt>
          <cx:pt idx="58772">1</cx:pt>
          <cx:pt idx="58773">3</cx:pt>
          <cx:pt idx="58774">3</cx:pt>
          <cx:pt idx="58775">2</cx:pt>
          <cx:pt idx="58776">5</cx:pt>
          <cx:pt idx="58777">4</cx:pt>
          <cx:pt idx="58778">4</cx:pt>
          <cx:pt idx="58779">4</cx:pt>
          <cx:pt idx="58780">5</cx:pt>
          <cx:pt idx="58781">4</cx:pt>
          <cx:pt idx="58782">5</cx:pt>
          <cx:pt idx="58783">5</cx:pt>
          <cx:pt idx="58784">1</cx:pt>
          <cx:pt idx="58785">4</cx:pt>
          <cx:pt idx="58786">5</cx:pt>
          <cx:pt idx="58787">1</cx:pt>
          <cx:pt idx="58788">1</cx:pt>
          <cx:pt idx="58789">4</cx:pt>
          <cx:pt idx="58790">4</cx:pt>
          <cx:pt idx="58791">1</cx:pt>
          <cx:pt idx="58792">4</cx:pt>
          <cx:pt idx="58793">1</cx:pt>
          <cx:pt idx="58794">2</cx:pt>
          <cx:pt idx="58795">5</cx:pt>
          <cx:pt idx="58796">5</cx:pt>
          <cx:pt idx="58797">5</cx:pt>
          <cx:pt idx="58798">4</cx:pt>
          <cx:pt idx="58799">3</cx:pt>
          <cx:pt idx="58800">3</cx:pt>
          <cx:pt idx="58801">3</cx:pt>
          <cx:pt idx="58802">2</cx:pt>
          <cx:pt idx="58803">5</cx:pt>
          <cx:pt idx="58804">1</cx:pt>
          <cx:pt idx="58805">1</cx:pt>
          <cx:pt idx="58806">5</cx:pt>
          <cx:pt idx="58807">5</cx:pt>
          <cx:pt idx="58808">5</cx:pt>
          <cx:pt idx="58809">2</cx:pt>
          <cx:pt idx="58810">1</cx:pt>
          <cx:pt idx="58811">1</cx:pt>
          <cx:pt idx="58812">5</cx:pt>
          <cx:pt idx="58813">3</cx:pt>
          <cx:pt idx="58814">4</cx:pt>
          <cx:pt idx="58815">3</cx:pt>
          <cx:pt idx="58816">4</cx:pt>
          <cx:pt idx="58817">4</cx:pt>
          <cx:pt idx="58818">2</cx:pt>
          <cx:pt idx="58819">4</cx:pt>
          <cx:pt idx="58820">4</cx:pt>
          <cx:pt idx="58821">4</cx:pt>
          <cx:pt idx="58822">4</cx:pt>
          <cx:pt idx="58823">1</cx:pt>
          <cx:pt idx="58824">5</cx:pt>
          <cx:pt idx="58825">4</cx:pt>
          <cx:pt idx="58826">5</cx:pt>
          <cx:pt idx="58827">1</cx:pt>
          <cx:pt idx="58828">5</cx:pt>
          <cx:pt idx="58829">4</cx:pt>
          <cx:pt idx="58830">3</cx:pt>
          <cx:pt idx="58831">5</cx:pt>
          <cx:pt idx="58832">3</cx:pt>
          <cx:pt idx="58833">4</cx:pt>
          <cx:pt idx="58834">1</cx:pt>
          <cx:pt idx="58835">5</cx:pt>
          <cx:pt idx="58836">1</cx:pt>
          <cx:pt idx="58837">1</cx:pt>
          <cx:pt idx="58838">2</cx:pt>
          <cx:pt idx="58839">5</cx:pt>
          <cx:pt idx="58840">3</cx:pt>
          <cx:pt idx="58841">3</cx:pt>
          <cx:pt idx="58842">4</cx:pt>
          <cx:pt idx="58843">4</cx:pt>
          <cx:pt idx="58844">1</cx:pt>
          <cx:pt idx="58845">1</cx:pt>
          <cx:pt idx="58846">5</cx:pt>
          <cx:pt idx="58847">4</cx:pt>
          <cx:pt idx="58848">2</cx:pt>
          <cx:pt idx="58849">5</cx:pt>
          <cx:pt idx="58850">1</cx:pt>
          <cx:pt idx="58851">5</cx:pt>
          <cx:pt idx="58852">4</cx:pt>
          <cx:pt idx="58853">4</cx:pt>
          <cx:pt idx="58854">5</cx:pt>
          <cx:pt idx="58855">2</cx:pt>
          <cx:pt idx="58856">4</cx:pt>
          <cx:pt idx="58857">1</cx:pt>
          <cx:pt idx="58858">4</cx:pt>
          <cx:pt idx="58859">4</cx:pt>
          <cx:pt idx="58860">1</cx:pt>
          <cx:pt idx="58861">4</cx:pt>
          <cx:pt idx="58862">2</cx:pt>
          <cx:pt idx="58863">4</cx:pt>
          <cx:pt idx="58864">5</cx:pt>
          <cx:pt idx="58865">5</cx:pt>
          <cx:pt idx="58866">1</cx:pt>
          <cx:pt idx="58867">1</cx:pt>
          <cx:pt idx="58868">5</cx:pt>
          <cx:pt idx="58869">4</cx:pt>
          <cx:pt idx="58870">5</cx:pt>
          <cx:pt idx="58871">1</cx:pt>
          <cx:pt idx="58872">3</cx:pt>
          <cx:pt idx="58873">3</cx:pt>
          <cx:pt idx="58874">5</cx:pt>
          <cx:pt idx="58875">3</cx:pt>
          <cx:pt idx="58876">4</cx:pt>
          <cx:pt idx="58877">4</cx:pt>
          <cx:pt idx="58878">2</cx:pt>
          <cx:pt idx="58879">3</cx:pt>
          <cx:pt idx="58880">1</cx:pt>
          <cx:pt idx="58881">3</cx:pt>
          <cx:pt idx="58882">5</cx:pt>
          <cx:pt idx="58883">4</cx:pt>
          <cx:pt idx="58884">3</cx:pt>
          <cx:pt idx="58885">1</cx:pt>
          <cx:pt idx="58886">3</cx:pt>
          <cx:pt idx="58887">1</cx:pt>
          <cx:pt idx="58888">4</cx:pt>
          <cx:pt idx="58889">5</cx:pt>
          <cx:pt idx="58890">4</cx:pt>
          <cx:pt idx="58891">4</cx:pt>
          <cx:pt idx="58892">4</cx:pt>
          <cx:pt idx="58893">4</cx:pt>
          <cx:pt idx="58894">3</cx:pt>
          <cx:pt idx="58895">4</cx:pt>
          <cx:pt idx="58896">4</cx:pt>
          <cx:pt idx="58897">4</cx:pt>
          <cx:pt idx="58898">3</cx:pt>
          <cx:pt idx="58899">1</cx:pt>
          <cx:pt idx="58900">5</cx:pt>
          <cx:pt idx="58901">1</cx:pt>
          <cx:pt idx="58902">4</cx:pt>
          <cx:pt idx="58903">5</cx:pt>
          <cx:pt idx="58904">3</cx:pt>
          <cx:pt idx="58905">1</cx:pt>
          <cx:pt idx="58906">1</cx:pt>
          <cx:pt idx="58907">2</cx:pt>
          <cx:pt idx="58908">5</cx:pt>
          <cx:pt idx="58909">4</cx:pt>
          <cx:pt idx="58910">3</cx:pt>
          <cx:pt idx="58911">4</cx:pt>
          <cx:pt idx="58912">3</cx:pt>
          <cx:pt idx="58913">5</cx:pt>
          <cx:pt idx="58914">4</cx:pt>
          <cx:pt idx="58915">3</cx:pt>
          <cx:pt idx="58916">5</cx:pt>
          <cx:pt idx="58917">5</cx:pt>
          <cx:pt idx="58918">5</cx:pt>
          <cx:pt idx="58919">4</cx:pt>
          <cx:pt idx="58920">4</cx:pt>
          <cx:pt idx="58921">5</cx:pt>
          <cx:pt idx="58922">1</cx:pt>
          <cx:pt idx="58923">2</cx:pt>
          <cx:pt idx="58924">5</cx:pt>
          <cx:pt idx="58925">4</cx:pt>
          <cx:pt idx="58926">5</cx:pt>
          <cx:pt idx="58927">2</cx:pt>
          <cx:pt idx="58928">4</cx:pt>
          <cx:pt idx="58929">1</cx:pt>
          <cx:pt idx="58930">1</cx:pt>
          <cx:pt idx="58931">4</cx:pt>
          <cx:pt idx="58932">1</cx:pt>
          <cx:pt idx="58933">1</cx:pt>
          <cx:pt idx="58934">3</cx:pt>
          <cx:pt idx="58935">1</cx:pt>
          <cx:pt idx="58936">2</cx:pt>
          <cx:pt idx="58937">4</cx:pt>
          <cx:pt idx="58938">3</cx:pt>
          <cx:pt idx="58939">1</cx:pt>
          <cx:pt idx="58940">5</cx:pt>
          <cx:pt idx="58941">3</cx:pt>
          <cx:pt idx="58942">5</cx:pt>
          <cx:pt idx="58943">3</cx:pt>
          <cx:pt idx="58944">4</cx:pt>
          <cx:pt idx="58945">1</cx:pt>
          <cx:pt idx="58946">2</cx:pt>
          <cx:pt idx="58947">4</cx:pt>
          <cx:pt idx="58948">1</cx:pt>
          <cx:pt idx="58949">4</cx:pt>
          <cx:pt idx="58950">1</cx:pt>
          <cx:pt idx="58951">3</cx:pt>
          <cx:pt idx="58952">4</cx:pt>
          <cx:pt idx="58953">2</cx:pt>
          <cx:pt idx="58954">4</cx:pt>
          <cx:pt idx="58955">4</cx:pt>
          <cx:pt idx="58956">5</cx:pt>
          <cx:pt idx="58957">5</cx:pt>
          <cx:pt idx="58958">2</cx:pt>
          <cx:pt idx="58959">4</cx:pt>
          <cx:pt idx="58960">3</cx:pt>
          <cx:pt idx="58961">3</cx:pt>
          <cx:pt idx="58962">5</cx:pt>
          <cx:pt idx="58963">5</cx:pt>
          <cx:pt idx="58964">4</cx:pt>
          <cx:pt idx="58965">4</cx:pt>
          <cx:pt idx="58966">4</cx:pt>
          <cx:pt idx="58967">4</cx:pt>
          <cx:pt idx="58968">3</cx:pt>
          <cx:pt idx="58969">3</cx:pt>
          <cx:pt idx="58970">1</cx:pt>
          <cx:pt idx="58971">4</cx:pt>
          <cx:pt idx="58972">5</cx:pt>
          <cx:pt idx="58973">3</cx:pt>
          <cx:pt idx="58974">3</cx:pt>
          <cx:pt idx="58975">5</cx:pt>
          <cx:pt idx="58976">4</cx:pt>
          <cx:pt idx="58977">3</cx:pt>
          <cx:pt idx="58978">2</cx:pt>
          <cx:pt idx="58979">5</cx:pt>
          <cx:pt idx="58980">5</cx:pt>
          <cx:pt idx="58981">5</cx:pt>
          <cx:pt idx="58982">3</cx:pt>
          <cx:pt idx="58983">4</cx:pt>
          <cx:pt idx="58984">1</cx:pt>
          <cx:pt idx="58985">5</cx:pt>
          <cx:pt idx="58986">1</cx:pt>
          <cx:pt idx="58987">2</cx:pt>
          <cx:pt idx="58988">1</cx:pt>
          <cx:pt idx="58989">3</cx:pt>
          <cx:pt idx="58990">1</cx:pt>
          <cx:pt idx="58991">5</cx:pt>
          <cx:pt idx="58992">5</cx:pt>
          <cx:pt idx="58993">3</cx:pt>
          <cx:pt idx="58994">1</cx:pt>
          <cx:pt idx="58995">5</cx:pt>
          <cx:pt idx="58996">3</cx:pt>
          <cx:pt idx="58997">3</cx:pt>
          <cx:pt idx="58998">5</cx:pt>
          <cx:pt idx="58999">5</cx:pt>
          <cx:pt idx="59000">5</cx:pt>
          <cx:pt idx="59001">2</cx:pt>
          <cx:pt idx="59002">5</cx:pt>
          <cx:pt idx="59003">5</cx:pt>
          <cx:pt idx="59004">2</cx:pt>
          <cx:pt idx="59005">2</cx:pt>
          <cx:pt idx="59006">1</cx:pt>
          <cx:pt idx="59007">5</cx:pt>
          <cx:pt idx="59008">5</cx:pt>
          <cx:pt idx="59009">5</cx:pt>
          <cx:pt idx="59010">2</cx:pt>
          <cx:pt idx="59011">5</cx:pt>
          <cx:pt idx="59012">5</cx:pt>
          <cx:pt idx="59013">2</cx:pt>
          <cx:pt idx="59014">4</cx:pt>
          <cx:pt idx="59015">2</cx:pt>
          <cx:pt idx="59016">4</cx:pt>
          <cx:pt idx="59017">1</cx:pt>
          <cx:pt idx="59018">5</cx:pt>
          <cx:pt idx="59019">5</cx:pt>
          <cx:pt idx="59020">4</cx:pt>
          <cx:pt idx="59021">5</cx:pt>
          <cx:pt idx="59022">2</cx:pt>
          <cx:pt idx="59023">3</cx:pt>
          <cx:pt idx="59024">4</cx:pt>
          <cx:pt idx="59025">1</cx:pt>
          <cx:pt idx="59026">5</cx:pt>
          <cx:pt idx="59027">5</cx:pt>
          <cx:pt idx="59028">4</cx:pt>
          <cx:pt idx="59029">3</cx:pt>
          <cx:pt idx="59030">4</cx:pt>
          <cx:pt idx="59031">5</cx:pt>
          <cx:pt idx="59032">5</cx:pt>
          <cx:pt idx="59033">5</cx:pt>
          <cx:pt idx="59034">4</cx:pt>
          <cx:pt idx="59035">4</cx:pt>
          <cx:pt idx="59036">1</cx:pt>
          <cx:pt idx="59037">3</cx:pt>
          <cx:pt idx="59038">2</cx:pt>
          <cx:pt idx="59039">1</cx:pt>
          <cx:pt idx="59040">4</cx:pt>
          <cx:pt idx="59041">3</cx:pt>
          <cx:pt idx="59042">2</cx:pt>
          <cx:pt idx="59043">2</cx:pt>
          <cx:pt idx="59044">1</cx:pt>
          <cx:pt idx="59045">4</cx:pt>
          <cx:pt idx="59046">4</cx:pt>
          <cx:pt idx="59047">2</cx:pt>
          <cx:pt idx="59048">5</cx:pt>
          <cx:pt idx="59049">3</cx:pt>
          <cx:pt idx="59050">4</cx:pt>
          <cx:pt idx="59051">4</cx:pt>
          <cx:pt idx="59052">4</cx:pt>
          <cx:pt idx="59053">5</cx:pt>
          <cx:pt idx="59054">1</cx:pt>
          <cx:pt idx="59055">5</cx:pt>
          <cx:pt idx="59056">3</cx:pt>
          <cx:pt idx="59057">4</cx:pt>
          <cx:pt idx="59058">4</cx:pt>
          <cx:pt idx="59059">1</cx:pt>
          <cx:pt idx="59060">4</cx:pt>
          <cx:pt idx="59061">4</cx:pt>
          <cx:pt idx="59062">5</cx:pt>
          <cx:pt idx="59063">4</cx:pt>
          <cx:pt idx="59064">1</cx:pt>
          <cx:pt idx="59065">4</cx:pt>
          <cx:pt idx="59066">4</cx:pt>
          <cx:pt idx="59067">5</cx:pt>
          <cx:pt idx="59068">1</cx:pt>
          <cx:pt idx="59069">2</cx:pt>
          <cx:pt idx="59070">5</cx:pt>
          <cx:pt idx="59071">1</cx:pt>
          <cx:pt idx="59072">4</cx:pt>
          <cx:pt idx="59073">3</cx:pt>
          <cx:pt idx="59074">2</cx:pt>
          <cx:pt idx="59075">1</cx:pt>
          <cx:pt idx="59076">2</cx:pt>
          <cx:pt idx="59077">1</cx:pt>
          <cx:pt idx="59078">4</cx:pt>
          <cx:pt idx="59079">4</cx:pt>
          <cx:pt idx="59080">5</cx:pt>
          <cx:pt idx="59081">5</cx:pt>
          <cx:pt idx="59082">3</cx:pt>
          <cx:pt idx="59083">5</cx:pt>
          <cx:pt idx="59084">4</cx:pt>
          <cx:pt idx="59085">4</cx:pt>
          <cx:pt idx="59086">4</cx:pt>
          <cx:pt idx="59087">3</cx:pt>
          <cx:pt idx="59088">3</cx:pt>
          <cx:pt idx="59089">5</cx:pt>
          <cx:pt idx="59090">5</cx:pt>
          <cx:pt idx="59091">5</cx:pt>
          <cx:pt idx="59092">3</cx:pt>
          <cx:pt idx="59093">2</cx:pt>
          <cx:pt idx="59094">5</cx:pt>
          <cx:pt idx="59095">2</cx:pt>
          <cx:pt idx="59096">4</cx:pt>
          <cx:pt idx="59097">5</cx:pt>
          <cx:pt idx="59098">4</cx:pt>
          <cx:pt idx="59099">2</cx:pt>
          <cx:pt idx="59100">1</cx:pt>
          <cx:pt idx="59101">4</cx:pt>
          <cx:pt idx="59102">5</cx:pt>
          <cx:pt idx="59103">2</cx:pt>
          <cx:pt idx="59104">4</cx:pt>
          <cx:pt idx="59105">5</cx:pt>
          <cx:pt idx="59106">1</cx:pt>
          <cx:pt idx="59107">4</cx:pt>
          <cx:pt idx="59108">4</cx:pt>
          <cx:pt idx="59109">1</cx:pt>
          <cx:pt idx="59110">4</cx:pt>
          <cx:pt idx="59111">5</cx:pt>
          <cx:pt idx="59112">4</cx:pt>
          <cx:pt idx="59113">1</cx:pt>
          <cx:pt idx="59114">5</cx:pt>
          <cx:pt idx="59115">4</cx:pt>
          <cx:pt idx="59116">5</cx:pt>
          <cx:pt idx="59117">4</cx:pt>
          <cx:pt idx="59118">1</cx:pt>
          <cx:pt idx="59119">1</cx:pt>
          <cx:pt idx="59120">1</cx:pt>
          <cx:pt idx="59121">3</cx:pt>
          <cx:pt idx="59122">3</cx:pt>
          <cx:pt idx="59123">3</cx:pt>
          <cx:pt idx="59124">5</cx:pt>
          <cx:pt idx="59125">2</cx:pt>
          <cx:pt idx="59126">5</cx:pt>
          <cx:pt idx="59127">2</cx:pt>
          <cx:pt idx="59128">1</cx:pt>
          <cx:pt idx="59129">4</cx:pt>
          <cx:pt idx="59130">5</cx:pt>
          <cx:pt idx="59131">5</cx:pt>
          <cx:pt idx="59132">2</cx:pt>
          <cx:pt idx="59133">4</cx:pt>
          <cx:pt idx="59134">1</cx:pt>
          <cx:pt idx="59135">5</cx:pt>
          <cx:pt idx="59136">4</cx:pt>
          <cx:pt idx="59137">5</cx:pt>
          <cx:pt idx="59138">4</cx:pt>
          <cx:pt idx="59139">5</cx:pt>
          <cx:pt idx="59140">4</cx:pt>
          <cx:pt idx="59141">4</cx:pt>
          <cx:pt idx="59142">5</cx:pt>
          <cx:pt idx="59143">3</cx:pt>
          <cx:pt idx="59144">5</cx:pt>
          <cx:pt idx="59145">1</cx:pt>
          <cx:pt idx="59146">1</cx:pt>
          <cx:pt idx="59147">3</cx:pt>
          <cx:pt idx="59148">4</cx:pt>
          <cx:pt idx="59149">1</cx:pt>
          <cx:pt idx="59150">5</cx:pt>
          <cx:pt idx="59151">1</cx:pt>
          <cx:pt idx="59152">4</cx:pt>
          <cx:pt idx="59153">5</cx:pt>
          <cx:pt idx="59154">4</cx:pt>
          <cx:pt idx="59155">2</cx:pt>
          <cx:pt idx="59156">3</cx:pt>
          <cx:pt idx="59157">3</cx:pt>
          <cx:pt idx="59158">1</cx:pt>
          <cx:pt idx="59159">4</cx:pt>
          <cx:pt idx="59160">2</cx:pt>
          <cx:pt idx="59161">2</cx:pt>
          <cx:pt idx="59162">5</cx:pt>
          <cx:pt idx="59163">2</cx:pt>
          <cx:pt idx="59164">5</cx:pt>
          <cx:pt idx="59165">3</cx:pt>
          <cx:pt idx="59166">4</cx:pt>
          <cx:pt idx="59167">4</cx:pt>
          <cx:pt idx="59168">1</cx:pt>
          <cx:pt idx="59169">3</cx:pt>
          <cx:pt idx="59170">5</cx:pt>
          <cx:pt idx="59171">3</cx:pt>
          <cx:pt idx="59172">4</cx:pt>
          <cx:pt idx="59173">4</cx:pt>
          <cx:pt idx="59174">3</cx:pt>
          <cx:pt idx="59175">2</cx:pt>
          <cx:pt idx="59176">5</cx:pt>
          <cx:pt idx="59177">3</cx:pt>
          <cx:pt idx="59178">3</cx:pt>
          <cx:pt idx="59179">2</cx:pt>
          <cx:pt idx="59180">5</cx:pt>
          <cx:pt idx="59181">3</cx:pt>
          <cx:pt idx="59182">4</cx:pt>
          <cx:pt idx="59183">2</cx:pt>
          <cx:pt idx="59184">5</cx:pt>
          <cx:pt idx="59185">5</cx:pt>
          <cx:pt idx="59186">4</cx:pt>
          <cx:pt idx="59187">3</cx:pt>
          <cx:pt idx="59188">1</cx:pt>
          <cx:pt idx="59189">1</cx:pt>
          <cx:pt idx="59190">4</cx:pt>
          <cx:pt idx="59191">4</cx:pt>
          <cx:pt idx="59192">4</cx:pt>
          <cx:pt idx="59193">5</cx:pt>
          <cx:pt idx="59194">4</cx:pt>
          <cx:pt idx="59195">4</cx:pt>
          <cx:pt idx="59196">5</cx:pt>
          <cx:pt idx="59197">4</cx:pt>
          <cx:pt idx="59198">3</cx:pt>
          <cx:pt idx="59199">4</cx:pt>
          <cx:pt idx="59200">1</cx:pt>
          <cx:pt idx="59201">4</cx:pt>
          <cx:pt idx="59202">4</cx:pt>
          <cx:pt idx="59203">3</cx:pt>
          <cx:pt idx="59204">2</cx:pt>
          <cx:pt idx="59205">3</cx:pt>
          <cx:pt idx="59206">4</cx:pt>
          <cx:pt idx="59207">4</cx:pt>
          <cx:pt idx="59208">3</cx:pt>
          <cx:pt idx="59209">4</cx:pt>
          <cx:pt idx="59210">2</cx:pt>
          <cx:pt idx="59211">5</cx:pt>
          <cx:pt idx="59212">4</cx:pt>
          <cx:pt idx="59213">5</cx:pt>
          <cx:pt idx="59214">3</cx:pt>
          <cx:pt idx="59215">5</cx:pt>
          <cx:pt idx="59216">4</cx:pt>
          <cx:pt idx="59217">3</cx:pt>
          <cx:pt idx="59218">4</cx:pt>
          <cx:pt idx="59219">3</cx:pt>
          <cx:pt idx="59220">4</cx:pt>
          <cx:pt idx="59221">5</cx:pt>
          <cx:pt idx="59222">3</cx:pt>
          <cx:pt idx="59223">3</cx:pt>
          <cx:pt idx="59224">1</cx:pt>
          <cx:pt idx="59225">3</cx:pt>
          <cx:pt idx="59226">1</cx:pt>
          <cx:pt idx="59227">3</cx:pt>
          <cx:pt idx="59228">5</cx:pt>
          <cx:pt idx="59229">5</cx:pt>
          <cx:pt idx="59230">3</cx:pt>
          <cx:pt idx="59231">4</cx:pt>
          <cx:pt idx="59232">4</cx:pt>
          <cx:pt idx="59233">1</cx:pt>
          <cx:pt idx="59234">5</cx:pt>
          <cx:pt idx="59235">4</cx:pt>
          <cx:pt idx="59236">4</cx:pt>
          <cx:pt idx="59237">2</cx:pt>
          <cx:pt idx="59238">1</cx:pt>
          <cx:pt idx="59239">2</cx:pt>
          <cx:pt idx="59240">3</cx:pt>
          <cx:pt idx="59241">5</cx:pt>
          <cx:pt idx="59242">5</cx:pt>
          <cx:pt idx="59243">5</cx:pt>
          <cx:pt idx="59244">4</cx:pt>
          <cx:pt idx="59245">5</cx:pt>
          <cx:pt idx="59246">5</cx:pt>
          <cx:pt idx="59247">4</cx:pt>
          <cx:pt idx="59248">3</cx:pt>
          <cx:pt idx="59249">5</cx:pt>
          <cx:pt idx="59250">2</cx:pt>
          <cx:pt idx="59251">2</cx:pt>
          <cx:pt idx="59252">1</cx:pt>
          <cx:pt idx="59253">2</cx:pt>
          <cx:pt idx="59254">5</cx:pt>
          <cx:pt idx="59255">3</cx:pt>
          <cx:pt idx="59256">5</cx:pt>
          <cx:pt idx="59257">5</cx:pt>
          <cx:pt idx="59258">5</cx:pt>
          <cx:pt idx="59259">2</cx:pt>
          <cx:pt idx="59260">5</cx:pt>
          <cx:pt idx="59261">4</cx:pt>
          <cx:pt idx="59262">5</cx:pt>
          <cx:pt idx="59263">5</cx:pt>
          <cx:pt idx="59264">2</cx:pt>
          <cx:pt idx="59265">3</cx:pt>
          <cx:pt idx="59266">4</cx:pt>
          <cx:pt idx="59267">4</cx:pt>
          <cx:pt idx="59268">1</cx:pt>
          <cx:pt idx="59269">5</cx:pt>
          <cx:pt idx="59270">2</cx:pt>
          <cx:pt idx="59271">3</cx:pt>
          <cx:pt idx="59272">2</cx:pt>
          <cx:pt idx="59273">4</cx:pt>
          <cx:pt idx="59274">5</cx:pt>
          <cx:pt idx="59275">3</cx:pt>
          <cx:pt idx="59276">4</cx:pt>
          <cx:pt idx="59277">4</cx:pt>
          <cx:pt idx="59278">4</cx:pt>
          <cx:pt idx="59279">4</cx:pt>
          <cx:pt idx="59280">4</cx:pt>
          <cx:pt idx="59281">5</cx:pt>
          <cx:pt idx="59282">3</cx:pt>
          <cx:pt idx="59283">3</cx:pt>
          <cx:pt idx="59284">2</cx:pt>
          <cx:pt idx="59285">5</cx:pt>
          <cx:pt idx="59286">1</cx:pt>
          <cx:pt idx="59287">5</cx:pt>
          <cx:pt idx="59288">4</cx:pt>
          <cx:pt idx="59289">2</cx:pt>
          <cx:pt idx="59290">5</cx:pt>
          <cx:pt idx="59291">2</cx:pt>
          <cx:pt idx="59292">5</cx:pt>
          <cx:pt idx="59293">5</cx:pt>
          <cx:pt idx="59294">1</cx:pt>
          <cx:pt idx="59295">3</cx:pt>
          <cx:pt idx="59296">4</cx:pt>
          <cx:pt idx="59297">1</cx:pt>
          <cx:pt idx="59298">4</cx:pt>
          <cx:pt idx="59299">5</cx:pt>
          <cx:pt idx="59300">3</cx:pt>
          <cx:pt idx="59301">2</cx:pt>
          <cx:pt idx="59302">2</cx:pt>
          <cx:pt idx="59303">4</cx:pt>
          <cx:pt idx="59304">3</cx:pt>
          <cx:pt idx="59305">1</cx:pt>
          <cx:pt idx="59306">5</cx:pt>
          <cx:pt idx="59307">3</cx:pt>
          <cx:pt idx="59308">4</cx:pt>
          <cx:pt idx="59309">4</cx:pt>
          <cx:pt idx="59310">2</cx:pt>
          <cx:pt idx="59311">5</cx:pt>
          <cx:pt idx="59312">5</cx:pt>
          <cx:pt idx="59313">5</cx:pt>
          <cx:pt idx="59314">5</cx:pt>
          <cx:pt idx="59315">5</cx:pt>
          <cx:pt idx="59316">4</cx:pt>
          <cx:pt idx="59317">4</cx:pt>
          <cx:pt idx="59318">5</cx:pt>
          <cx:pt idx="59319">1</cx:pt>
          <cx:pt idx="59320">3</cx:pt>
          <cx:pt idx="59321">5</cx:pt>
          <cx:pt idx="59322">4</cx:pt>
          <cx:pt idx="59323">2</cx:pt>
          <cx:pt idx="59324">4</cx:pt>
          <cx:pt idx="59325">1</cx:pt>
          <cx:pt idx="59326">1</cx:pt>
          <cx:pt idx="59327">5</cx:pt>
          <cx:pt idx="59328">1</cx:pt>
          <cx:pt idx="59329">4</cx:pt>
          <cx:pt idx="59330">4</cx:pt>
          <cx:pt idx="59331">4</cx:pt>
          <cx:pt idx="59332">4</cx:pt>
          <cx:pt idx="59333">4</cx:pt>
          <cx:pt idx="59334">2</cx:pt>
          <cx:pt idx="59335">3</cx:pt>
          <cx:pt idx="59336">5</cx:pt>
          <cx:pt idx="59337">4</cx:pt>
          <cx:pt idx="59338">5</cx:pt>
          <cx:pt idx="59339">2</cx:pt>
          <cx:pt idx="59340">2</cx:pt>
          <cx:pt idx="59341">5</cx:pt>
          <cx:pt idx="59342">4</cx:pt>
          <cx:pt idx="59343">3</cx:pt>
          <cx:pt idx="59344">5</cx:pt>
          <cx:pt idx="59345">4</cx:pt>
          <cx:pt idx="59346">3</cx:pt>
          <cx:pt idx="59347">1</cx:pt>
          <cx:pt idx="59348">3</cx:pt>
          <cx:pt idx="59349">5</cx:pt>
          <cx:pt idx="59350">5</cx:pt>
          <cx:pt idx="59351">1</cx:pt>
          <cx:pt idx="59352">4</cx:pt>
          <cx:pt idx="59353">5</cx:pt>
          <cx:pt idx="59354">4</cx:pt>
          <cx:pt idx="59355">4</cx:pt>
          <cx:pt idx="59356">4</cx:pt>
          <cx:pt idx="59357">4</cx:pt>
          <cx:pt idx="59358">5</cx:pt>
          <cx:pt idx="59359">5</cx:pt>
          <cx:pt idx="59360">1</cx:pt>
          <cx:pt idx="59361">5</cx:pt>
          <cx:pt idx="59362">5</cx:pt>
          <cx:pt idx="59363">1</cx:pt>
          <cx:pt idx="59364">1</cx:pt>
          <cx:pt idx="59365">4</cx:pt>
          <cx:pt idx="59366">4</cx:pt>
          <cx:pt idx="59367">5</cx:pt>
          <cx:pt idx="59368">4</cx:pt>
          <cx:pt idx="59369">2</cx:pt>
          <cx:pt idx="59370">5</cx:pt>
          <cx:pt idx="59371">1</cx:pt>
          <cx:pt idx="59372">3</cx:pt>
          <cx:pt idx="59373">4</cx:pt>
          <cx:pt idx="59374">5</cx:pt>
          <cx:pt idx="59375">4</cx:pt>
          <cx:pt idx="59376">4</cx:pt>
          <cx:pt idx="59377">4</cx:pt>
          <cx:pt idx="59378">1</cx:pt>
          <cx:pt idx="59379">4</cx:pt>
          <cx:pt idx="59380">1</cx:pt>
          <cx:pt idx="59381">4</cx:pt>
          <cx:pt idx="59382">5</cx:pt>
          <cx:pt idx="59383">3</cx:pt>
          <cx:pt idx="59384">2</cx:pt>
          <cx:pt idx="59385">5</cx:pt>
          <cx:pt idx="59386">4</cx:pt>
          <cx:pt idx="59387">4</cx:pt>
          <cx:pt idx="59388">2</cx:pt>
          <cx:pt idx="59389">1</cx:pt>
          <cx:pt idx="59390">2</cx:pt>
          <cx:pt idx="59391">4</cx:pt>
          <cx:pt idx="59392">3</cx:pt>
          <cx:pt idx="59393">3</cx:pt>
          <cx:pt idx="59394">5</cx:pt>
          <cx:pt idx="59395">2</cx:pt>
          <cx:pt idx="59396">5</cx:pt>
          <cx:pt idx="59397">4</cx:pt>
          <cx:pt idx="59398">5</cx:pt>
          <cx:pt idx="59399">1</cx:pt>
          <cx:pt idx="59400">1</cx:pt>
          <cx:pt idx="59401">5</cx:pt>
          <cx:pt idx="59402">4</cx:pt>
          <cx:pt idx="59403">5</cx:pt>
          <cx:pt idx="59404">5</cx:pt>
          <cx:pt idx="59405">2</cx:pt>
          <cx:pt idx="59406">1</cx:pt>
          <cx:pt idx="59407">5</cx:pt>
          <cx:pt idx="59408">5</cx:pt>
          <cx:pt idx="59409">3</cx:pt>
          <cx:pt idx="59410">4</cx:pt>
          <cx:pt idx="59411">4</cx:pt>
          <cx:pt idx="59412">3</cx:pt>
          <cx:pt idx="59413">2</cx:pt>
          <cx:pt idx="59414">5</cx:pt>
          <cx:pt idx="59415">2</cx:pt>
          <cx:pt idx="59416">2</cx:pt>
          <cx:pt idx="59417">5</cx:pt>
          <cx:pt idx="59418">4</cx:pt>
          <cx:pt idx="59419">1</cx:pt>
          <cx:pt idx="59420">3</cx:pt>
          <cx:pt idx="59421">4</cx:pt>
          <cx:pt idx="59422">5</cx:pt>
          <cx:pt idx="59423">2</cx:pt>
          <cx:pt idx="59424">1</cx:pt>
          <cx:pt idx="59425">3</cx:pt>
          <cx:pt idx="59426">5</cx:pt>
          <cx:pt idx="59427">3</cx:pt>
          <cx:pt idx="59428">4</cx:pt>
          <cx:pt idx="59429">4</cx:pt>
          <cx:pt idx="59430">5</cx:pt>
          <cx:pt idx="59431">5</cx:pt>
          <cx:pt idx="59432">2</cx:pt>
          <cx:pt idx="59433">4</cx:pt>
          <cx:pt idx="59434">4</cx:pt>
          <cx:pt idx="59435">5</cx:pt>
          <cx:pt idx="59436">4</cx:pt>
          <cx:pt idx="59437">3</cx:pt>
          <cx:pt idx="59438">4</cx:pt>
          <cx:pt idx="59439">1</cx:pt>
          <cx:pt idx="59440">5</cx:pt>
          <cx:pt idx="59441">4</cx:pt>
          <cx:pt idx="59442">4</cx:pt>
          <cx:pt idx="59443">3</cx:pt>
          <cx:pt idx="59444">1</cx:pt>
          <cx:pt idx="59445">5</cx:pt>
          <cx:pt idx="59446">5</cx:pt>
          <cx:pt idx="59447">4</cx:pt>
          <cx:pt idx="59448">4</cx:pt>
          <cx:pt idx="59449">3</cx:pt>
          <cx:pt idx="59450">5</cx:pt>
          <cx:pt idx="59451">3</cx:pt>
          <cx:pt idx="59452">3</cx:pt>
          <cx:pt idx="59453">3</cx:pt>
          <cx:pt idx="59454">4</cx:pt>
          <cx:pt idx="59455">5</cx:pt>
          <cx:pt idx="59456">5</cx:pt>
          <cx:pt idx="59457">5</cx:pt>
          <cx:pt idx="59458">4</cx:pt>
          <cx:pt idx="59459">5</cx:pt>
          <cx:pt idx="59460">3</cx:pt>
          <cx:pt idx="59461">2</cx:pt>
          <cx:pt idx="59462">1</cx:pt>
          <cx:pt idx="59463">4</cx:pt>
          <cx:pt idx="59464">1</cx:pt>
          <cx:pt idx="59465">5</cx:pt>
          <cx:pt idx="59466">3</cx:pt>
          <cx:pt idx="59467">5</cx:pt>
          <cx:pt idx="59468">5</cx:pt>
          <cx:pt idx="59469">3</cx:pt>
          <cx:pt idx="59470">5</cx:pt>
          <cx:pt idx="59471">4</cx:pt>
          <cx:pt idx="59472">4</cx:pt>
          <cx:pt idx="59473">3</cx:pt>
          <cx:pt idx="59474">5</cx:pt>
          <cx:pt idx="59475">5</cx:pt>
          <cx:pt idx="59476">5</cx:pt>
          <cx:pt idx="59477">4</cx:pt>
          <cx:pt idx="59478">2</cx:pt>
          <cx:pt idx="59479">1</cx:pt>
          <cx:pt idx="59480">2</cx:pt>
          <cx:pt idx="59481">1</cx:pt>
          <cx:pt idx="59482">4</cx:pt>
          <cx:pt idx="59483">3</cx:pt>
          <cx:pt idx="59484">3</cx:pt>
          <cx:pt idx="59485">2</cx:pt>
          <cx:pt idx="59486">2</cx:pt>
          <cx:pt idx="59487">3</cx:pt>
          <cx:pt idx="59488">4</cx:pt>
          <cx:pt idx="59489">2</cx:pt>
          <cx:pt idx="59490">2</cx:pt>
          <cx:pt idx="59491">5</cx:pt>
          <cx:pt idx="59492">4</cx:pt>
          <cx:pt idx="59493">4</cx:pt>
          <cx:pt idx="59494">4</cx:pt>
          <cx:pt idx="59495">4</cx:pt>
          <cx:pt idx="59496">1</cx:pt>
          <cx:pt idx="59497">1</cx:pt>
          <cx:pt idx="59498">4</cx:pt>
          <cx:pt idx="59499">5</cx:pt>
          <cx:pt idx="59500">3</cx:pt>
          <cx:pt idx="59501">3</cx:pt>
          <cx:pt idx="59502">2</cx:pt>
          <cx:pt idx="59503">3</cx:pt>
          <cx:pt idx="59504">5</cx:pt>
          <cx:pt idx="59505">5</cx:pt>
          <cx:pt idx="59506">1</cx:pt>
          <cx:pt idx="59507">3</cx:pt>
          <cx:pt idx="59508">1</cx:pt>
          <cx:pt idx="59509">2</cx:pt>
          <cx:pt idx="59510">3</cx:pt>
          <cx:pt idx="59511">2</cx:pt>
          <cx:pt idx="59512">1</cx:pt>
          <cx:pt idx="59513">4</cx:pt>
          <cx:pt idx="59514">4</cx:pt>
          <cx:pt idx="59515">3</cx:pt>
          <cx:pt idx="59516">2</cx:pt>
          <cx:pt idx="59517">4</cx:pt>
          <cx:pt idx="59518">3</cx:pt>
          <cx:pt idx="59519">4</cx:pt>
          <cx:pt idx="59520">3</cx:pt>
          <cx:pt idx="59521">2</cx:pt>
          <cx:pt idx="59522">4</cx:pt>
          <cx:pt idx="59523">5</cx:pt>
          <cx:pt idx="59524">2</cx:pt>
          <cx:pt idx="59525">3</cx:pt>
          <cx:pt idx="59526">4</cx:pt>
          <cx:pt idx="59527">5</cx:pt>
          <cx:pt idx="59528">2</cx:pt>
          <cx:pt idx="59529">4</cx:pt>
          <cx:pt idx="59530">4</cx:pt>
          <cx:pt idx="59531">4</cx:pt>
          <cx:pt idx="59532">2</cx:pt>
          <cx:pt idx="59533">3</cx:pt>
          <cx:pt idx="59534">1</cx:pt>
          <cx:pt idx="59535">5</cx:pt>
          <cx:pt idx="59536">4</cx:pt>
          <cx:pt idx="59537">2</cx:pt>
          <cx:pt idx="59538">5</cx:pt>
          <cx:pt idx="59539">3</cx:pt>
          <cx:pt idx="59540">2</cx:pt>
          <cx:pt idx="59541">4</cx:pt>
          <cx:pt idx="59542">5</cx:pt>
          <cx:pt idx="59543">3</cx:pt>
          <cx:pt idx="59544">5</cx:pt>
          <cx:pt idx="59545">5</cx:pt>
          <cx:pt idx="59546">2</cx:pt>
          <cx:pt idx="59547">2</cx:pt>
          <cx:pt idx="59548">2</cx:pt>
          <cx:pt idx="59549">3</cx:pt>
          <cx:pt idx="59550">5</cx:pt>
          <cx:pt idx="59551">5</cx:pt>
          <cx:pt idx="59552">1</cx:pt>
          <cx:pt idx="59553">1</cx:pt>
          <cx:pt idx="59554">5</cx:pt>
          <cx:pt idx="59555">3</cx:pt>
          <cx:pt idx="59556">3</cx:pt>
          <cx:pt idx="59557">4</cx:pt>
          <cx:pt idx="59558">4</cx:pt>
          <cx:pt idx="59559">4</cx:pt>
          <cx:pt idx="59560">5</cx:pt>
          <cx:pt idx="59561">5</cx:pt>
          <cx:pt idx="59562">3</cx:pt>
          <cx:pt idx="59563">3</cx:pt>
          <cx:pt idx="59564">5</cx:pt>
          <cx:pt idx="59565">3</cx:pt>
          <cx:pt idx="59566">3</cx:pt>
          <cx:pt idx="59567">5</cx:pt>
          <cx:pt idx="59568">5</cx:pt>
          <cx:pt idx="59569">4</cx:pt>
          <cx:pt idx="59570">4</cx:pt>
          <cx:pt idx="59571">4</cx:pt>
          <cx:pt idx="59572">2</cx:pt>
          <cx:pt idx="59573">4</cx:pt>
          <cx:pt idx="59574">5</cx:pt>
          <cx:pt idx="59575">2</cx:pt>
          <cx:pt idx="59576">1</cx:pt>
          <cx:pt idx="59577">5</cx:pt>
          <cx:pt idx="59578">1</cx:pt>
          <cx:pt idx="59579">5</cx:pt>
          <cx:pt idx="59580">3</cx:pt>
          <cx:pt idx="59581">4</cx:pt>
          <cx:pt idx="59582">4</cx:pt>
          <cx:pt idx="59583">5</cx:pt>
          <cx:pt idx="59584">4</cx:pt>
          <cx:pt idx="59585">5</cx:pt>
          <cx:pt idx="59586">5</cx:pt>
          <cx:pt idx="59587">3</cx:pt>
          <cx:pt idx="59588">1</cx:pt>
          <cx:pt idx="59589">3</cx:pt>
          <cx:pt idx="59590">2</cx:pt>
          <cx:pt idx="59591">2</cx:pt>
          <cx:pt idx="59592">4</cx:pt>
          <cx:pt idx="59593">4</cx:pt>
          <cx:pt idx="59594">4</cx:pt>
          <cx:pt idx="59595">5</cx:pt>
          <cx:pt idx="59596">5</cx:pt>
          <cx:pt idx="59597">4</cx:pt>
          <cx:pt idx="59598">5</cx:pt>
          <cx:pt idx="59599">2</cx:pt>
          <cx:pt idx="59600">4</cx:pt>
          <cx:pt idx="59601">4</cx:pt>
          <cx:pt idx="59602">2</cx:pt>
          <cx:pt idx="59603">4</cx:pt>
          <cx:pt idx="59604">2</cx:pt>
          <cx:pt idx="59605">1</cx:pt>
          <cx:pt idx="59606">2</cx:pt>
          <cx:pt idx="59607">3</cx:pt>
          <cx:pt idx="59608">5</cx:pt>
          <cx:pt idx="59609">5</cx:pt>
          <cx:pt idx="59610">5</cx:pt>
          <cx:pt idx="59611">3</cx:pt>
          <cx:pt idx="59612">3</cx:pt>
          <cx:pt idx="59613">2</cx:pt>
          <cx:pt idx="59614">3</cx:pt>
          <cx:pt idx="59615">5</cx:pt>
          <cx:pt idx="59616">2</cx:pt>
          <cx:pt idx="59617">4</cx:pt>
          <cx:pt idx="59618">4</cx:pt>
          <cx:pt idx="59619">5</cx:pt>
          <cx:pt idx="59620">2</cx:pt>
          <cx:pt idx="59621">4</cx:pt>
          <cx:pt idx="59622">4</cx:pt>
          <cx:pt idx="59623">4</cx:pt>
          <cx:pt idx="59624">5</cx:pt>
          <cx:pt idx="59625">5</cx:pt>
          <cx:pt idx="59626">4</cx:pt>
          <cx:pt idx="59627">4</cx:pt>
          <cx:pt idx="59628">5</cx:pt>
          <cx:pt idx="59629">5</cx:pt>
          <cx:pt idx="59630">3</cx:pt>
          <cx:pt idx="59631">3</cx:pt>
          <cx:pt idx="59632">1</cx:pt>
          <cx:pt idx="59633">2</cx:pt>
          <cx:pt idx="59634">4</cx:pt>
          <cx:pt idx="59635">5</cx:pt>
          <cx:pt idx="59636">2</cx:pt>
          <cx:pt idx="59637">3</cx:pt>
          <cx:pt idx="59638">4</cx:pt>
          <cx:pt idx="59639">4</cx:pt>
          <cx:pt idx="59640">5</cx:pt>
          <cx:pt idx="59641">4</cx:pt>
          <cx:pt idx="59642">4</cx:pt>
          <cx:pt idx="59643">1</cx:pt>
          <cx:pt idx="59644">5</cx:pt>
          <cx:pt idx="59645">2</cx:pt>
          <cx:pt idx="59646">5</cx:pt>
          <cx:pt idx="59647">3</cx:pt>
          <cx:pt idx="59648">3</cx:pt>
          <cx:pt idx="59649">5</cx:pt>
          <cx:pt idx="59650">5</cx:pt>
          <cx:pt idx="59651">4</cx:pt>
          <cx:pt idx="59652">5</cx:pt>
          <cx:pt idx="59653">4</cx:pt>
          <cx:pt idx="59654">4</cx:pt>
          <cx:pt idx="59655">2</cx:pt>
          <cx:pt idx="59656">2</cx:pt>
          <cx:pt idx="59657">2</cx:pt>
          <cx:pt idx="59658">3</cx:pt>
          <cx:pt idx="59659">5</cx:pt>
          <cx:pt idx="59660">4</cx:pt>
          <cx:pt idx="59661">3</cx:pt>
          <cx:pt idx="59662">2</cx:pt>
          <cx:pt idx="59663">3</cx:pt>
          <cx:pt idx="59664">3</cx:pt>
          <cx:pt idx="59665">2</cx:pt>
          <cx:pt idx="59666">4</cx:pt>
          <cx:pt idx="59667">1</cx:pt>
          <cx:pt idx="59668">3</cx:pt>
          <cx:pt idx="59669">1</cx:pt>
          <cx:pt idx="59670">5</cx:pt>
          <cx:pt idx="59671">4</cx:pt>
          <cx:pt idx="59672">5</cx:pt>
          <cx:pt idx="59673">4</cx:pt>
          <cx:pt idx="59674">1</cx:pt>
          <cx:pt idx="59675">4</cx:pt>
          <cx:pt idx="59676">5</cx:pt>
          <cx:pt idx="59677">5</cx:pt>
          <cx:pt idx="59678">4</cx:pt>
          <cx:pt idx="59679">5</cx:pt>
          <cx:pt idx="59680">5</cx:pt>
          <cx:pt idx="59681">5</cx:pt>
          <cx:pt idx="59682">3</cx:pt>
          <cx:pt idx="59683">2</cx:pt>
          <cx:pt idx="59684">5</cx:pt>
          <cx:pt idx="59685">4</cx:pt>
          <cx:pt idx="59686">3</cx:pt>
          <cx:pt idx="59687">3</cx:pt>
          <cx:pt idx="59688">3</cx:pt>
          <cx:pt idx="59689">4</cx:pt>
          <cx:pt idx="59690">3</cx:pt>
          <cx:pt idx="59691">4</cx:pt>
          <cx:pt idx="59692">5</cx:pt>
          <cx:pt idx="59693">4</cx:pt>
          <cx:pt idx="59694">1</cx:pt>
          <cx:pt idx="59695">4</cx:pt>
          <cx:pt idx="59696">3</cx:pt>
          <cx:pt idx="59697">2</cx:pt>
          <cx:pt idx="59698">3</cx:pt>
          <cx:pt idx="59699">4</cx:pt>
          <cx:pt idx="59700">4</cx:pt>
          <cx:pt idx="59701">4</cx:pt>
          <cx:pt idx="59702">3</cx:pt>
          <cx:pt idx="59703">5</cx:pt>
          <cx:pt idx="59704">2</cx:pt>
          <cx:pt idx="59705">3</cx:pt>
          <cx:pt idx="59706">5</cx:pt>
          <cx:pt idx="59707">2</cx:pt>
          <cx:pt idx="59708">1</cx:pt>
          <cx:pt idx="59709">5</cx:pt>
          <cx:pt idx="59710">5</cx:pt>
          <cx:pt idx="59711">1</cx:pt>
          <cx:pt idx="59712">4</cx:pt>
          <cx:pt idx="59713">3</cx:pt>
          <cx:pt idx="59714">5</cx:pt>
          <cx:pt idx="59715">5</cx:pt>
          <cx:pt idx="59716">4</cx:pt>
          <cx:pt idx="59717">3</cx:pt>
          <cx:pt idx="59718">2</cx:pt>
          <cx:pt idx="59719">3</cx:pt>
          <cx:pt idx="59720">4</cx:pt>
          <cx:pt idx="59721">2</cx:pt>
          <cx:pt idx="59722">5</cx:pt>
          <cx:pt idx="59723">4</cx:pt>
          <cx:pt idx="59724">1</cx:pt>
          <cx:pt idx="59725">5</cx:pt>
          <cx:pt idx="59726">5</cx:pt>
          <cx:pt idx="59727">3</cx:pt>
          <cx:pt idx="59728">4</cx:pt>
          <cx:pt idx="59729">2</cx:pt>
          <cx:pt idx="59730">5</cx:pt>
          <cx:pt idx="59731">4</cx:pt>
          <cx:pt idx="59732">3</cx:pt>
          <cx:pt idx="59733">5</cx:pt>
          <cx:pt idx="59734">4</cx:pt>
          <cx:pt idx="59735">5</cx:pt>
          <cx:pt idx="59736">3</cx:pt>
          <cx:pt idx="59737">3</cx:pt>
          <cx:pt idx="59738">3</cx:pt>
          <cx:pt idx="59739">4</cx:pt>
          <cx:pt idx="59740">5</cx:pt>
          <cx:pt idx="59741">4</cx:pt>
          <cx:pt idx="59742">5</cx:pt>
          <cx:pt idx="59743">4</cx:pt>
          <cx:pt idx="59744">3</cx:pt>
          <cx:pt idx="59745">5</cx:pt>
          <cx:pt idx="59746">5</cx:pt>
          <cx:pt idx="59747">4</cx:pt>
          <cx:pt idx="59748">4</cx:pt>
          <cx:pt idx="59749">4</cx:pt>
          <cx:pt idx="59750">5</cx:pt>
          <cx:pt idx="59751">4</cx:pt>
          <cx:pt idx="59752">5</cx:pt>
          <cx:pt idx="59753">4</cx:pt>
          <cx:pt idx="59754">3</cx:pt>
          <cx:pt idx="59755">5</cx:pt>
          <cx:pt idx="59756">1</cx:pt>
          <cx:pt idx="59757">2</cx:pt>
          <cx:pt idx="59758">3</cx:pt>
          <cx:pt idx="59759">1</cx:pt>
          <cx:pt idx="59760">5</cx:pt>
          <cx:pt idx="59761">1</cx:pt>
          <cx:pt idx="59762">4</cx:pt>
          <cx:pt idx="59763">5</cx:pt>
          <cx:pt idx="59764">2</cx:pt>
          <cx:pt idx="59765">5</cx:pt>
          <cx:pt idx="59766">4</cx:pt>
          <cx:pt idx="59767">5</cx:pt>
          <cx:pt idx="59768">5</cx:pt>
          <cx:pt idx="59769">4</cx:pt>
          <cx:pt idx="59770">3</cx:pt>
          <cx:pt idx="59771">5</cx:pt>
          <cx:pt idx="59772">3</cx:pt>
          <cx:pt idx="59773">3</cx:pt>
          <cx:pt idx="59774">4</cx:pt>
          <cx:pt idx="59775">5</cx:pt>
          <cx:pt idx="59776">4</cx:pt>
          <cx:pt idx="59777">5</cx:pt>
          <cx:pt idx="59778">5</cx:pt>
          <cx:pt idx="59779">2</cx:pt>
          <cx:pt idx="59780">5</cx:pt>
          <cx:pt idx="59781">5</cx:pt>
          <cx:pt idx="59782">2</cx:pt>
          <cx:pt idx="59783">5</cx:pt>
          <cx:pt idx="59784">5</cx:pt>
          <cx:pt idx="59785">5</cx:pt>
          <cx:pt idx="59786">4</cx:pt>
          <cx:pt idx="59787">1</cx:pt>
          <cx:pt idx="59788">4</cx:pt>
          <cx:pt idx="59789">2</cx:pt>
          <cx:pt idx="59790">2</cx:pt>
          <cx:pt idx="59791">5</cx:pt>
          <cx:pt idx="59792">3</cx:pt>
          <cx:pt idx="59793">2</cx:pt>
          <cx:pt idx="59794">4</cx:pt>
          <cx:pt idx="59795">2</cx:pt>
          <cx:pt idx="59796">4</cx:pt>
          <cx:pt idx="59797">4</cx:pt>
          <cx:pt idx="59798">5</cx:pt>
          <cx:pt idx="59799">1</cx:pt>
          <cx:pt idx="59800">3</cx:pt>
          <cx:pt idx="59801">5</cx:pt>
          <cx:pt idx="59802">5</cx:pt>
          <cx:pt idx="59803">3</cx:pt>
          <cx:pt idx="59804">5</cx:pt>
          <cx:pt idx="59805">1</cx:pt>
          <cx:pt idx="59806">4</cx:pt>
          <cx:pt idx="59807">5</cx:pt>
          <cx:pt idx="59808">5</cx:pt>
          <cx:pt idx="59809">1</cx:pt>
          <cx:pt idx="59810">5</cx:pt>
          <cx:pt idx="59811">4</cx:pt>
          <cx:pt idx="59812">3</cx:pt>
          <cx:pt idx="59813">2</cx:pt>
          <cx:pt idx="59814">3</cx:pt>
          <cx:pt idx="59815">4</cx:pt>
          <cx:pt idx="59816">5</cx:pt>
          <cx:pt idx="59817">5</cx:pt>
          <cx:pt idx="59818">1</cx:pt>
          <cx:pt idx="59819">3</cx:pt>
          <cx:pt idx="59820">5</cx:pt>
          <cx:pt idx="59821">3</cx:pt>
          <cx:pt idx="59822">3</cx:pt>
          <cx:pt idx="59823">5</cx:pt>
          <cx:pt idx="59824">5</cx:pt>
          <cx:pt idx="59825">5</cx:pt>
          <cx:pt idx="59826">5</cx:pt>
          <cx:pt idx="59827">4</cx:pt>
          <cx:pt idx="59828">4</cx:pt>
          <cx:pt idx="59829">1</cx:pt>
          <cx:pt idx="59830">4</cx:pt>
          <cx:pt idx="59831">5</cx:pt>
          <cx:pt idx="59832">5</cx:pt>
          <cx:pt idx="59833">4</cx:pt>
          <cx:pt idx="59834">4</cx:pt>
          <cx:pt idx="59835">3</cx:pt>
          <cx:pt idx="59836">2</cx:pt>
          <cx:pt idx="59837">3</cx:pt>
          <cx:pt idx="59838">4</cx:pt>
          <cx:pt idx="59839">4</cx:pt>
          <cx:pt idx="59840">4</cx:pt>
          <cx:pt idx="59841">2</cx:pt>
          <cx:pt idx="59842">4</cx:pt>
          <cx:pt idx="59843">1</cx:pt>
          <cx:pt idx="59844">3</cx:pt>
          <cx:pt idx="59845">1</cx:pt>
          <cx:pt idx="59846">3</cx:pt>
          <cx:pt idx="59847">4</cx:pt>
          <cx:pt idx="59848">3</cx:pt>
          <cx:pt idx="59849">3</cx:pt>
          <cx:pt idx="59850">4</cx:pt>
          <cx:pt idx="59851">1</cx:pt>
          <cx:pt idx="59852">1</cx:pt>
          <cx:pt idx="59853">4</cx:pt>
          <cx:pt idx="59854">4</cx:pt>
          <cx:pt idx="59855">1</cx:pt>
          <cx:pt idx="59856">4</cx:pt>
          <cx:pt idx="59857">5</cx:pt>
          <cx:pt idx="59858">3</cx:pt>
          <cx:pt idx="59859">4</cx:pt>
          <cx:pt idx="59860">5</cx:pt>
          <cx:pt idx="59861">2</cx:pt>
          <cx:pt idx="59862">4</cx:pt>
          <cx:pt idx="59863">4</cx:pt>
          <cx:pt idx="59864">1</cx:pt>
          <cx:pt idx="59865">5</cx:pt>
          <cx:pt idx="59866">2</cx:pt>
          <cx:pt idx="59867">5</cx:pt>
          <cx:pt idx="59868">5</cx:pt>
          <cx:pt idx="59869">4</cx:pt>
          <cx:pt idx="59870">2</cx:pt>
          <cx:pt idx="59871">3</cx:pt>
          <cx:pt idx="59872">3</cx:pt>
          <cx:pt idx="59873">1</cx:pt>
          <cx:pt idx="59874">3</cx:pt>
          <cx:pt idx="59875">5</cx:pt>
          <cx:pt idx="59876">5</cx:pt>
          <cx:pt idx="59877">4</cx:pt>
          <cx:pt idx="59878">5</cx:pt>
          <cx:pt idx="59879">4</cx:pt>
          <cx:pt idx="59880">3</cx:pt>
          <cx:pt idx="59881">3</cx:pt>
          <cx:pt idx="59882">1</cx:pt>
          <cx:pt idx="59883">2</cx:pt>
          <cx:pt idx="59884">3</cx:pt>
          <cx:pt idx="59885">4</cx:pt>
          <cx:pt idx="59886">1</cx:pt>
          <cx:pt idx="59887">4</cx:pt>
          <cx:pt idx="59888">4</cx:pt>
          <cx:pt idx="59889">3</cx:pt>
          <cx:pt idx="59890">4</cx:pt>
          <cx:pt idx="59891">5</cx:pt>
          <cx:pt idx="59892">3</cx:pt>
          <cx:pt idx="59893">2</cx:pt>
          <cx:pt idx="59894">5</cx:pt>
          <cx:pt idx="59895">2</cx:pt>
          <cx:pt idx="59896">4</cx:pt>
          <cx:pt idx="59897">4</cx:pt>
          <cx:pt idx="59898">4</cx:pt>
          <cx:pt idx="59899">3</cx:pt>
          <cx:pt idx="59900">4</cx:pt>
          <cx:pt idx="59901">4</cx:pt>
          <cx:pt idx="59902">5</cx:pt>
          <cx:pt idx="59903">2</cx:pt>
          <cx:pt idx="59904">5</cx:pt>
          <cx:pt idx="59905">4</cx:pt>
          <cx:pt idx="59906">5</cx:pt>
          <cx:pt idx="59907">4</cx:pt>
          <cx:pt idx="59908">3</cx:pt>
          <cx:pt idx="59909">4</cx:pt>
          <cx:pt idx="59910">5</cx:pt>
          <cx:pt idx="59911">4</cx:pt>
          <cx:pt idx="59912">4</cx:pt>
          <cx:pt idx="59913">4</cx:pt>
          <cx:pt idx="59914">5</cx:pt>
          <cx:pt idx="59915">5</cx:pt>
          <cx:pt idx="59916">5</cx:pt>
          <cx:pt idx="59917">5</cx:pt>
          <cx:pt idx="59918">3</cx:pt>
          <cx:pt idx="59919">2</cx:pt>
          <cx:pt idx="59920">5</cx:pt>
          <cx:pt idx="59921">5</cx:pt>
          <cx:pt idx="59922">3</cx:pt>
          <cx:pt idx="59923">2</cx:pt>
          <cx:pt idx="59924">4</cx:pt>
          <cx:pt idx="59925">5</cx:pt>
          <cx:pt idx="59926">5</cx:pt>
          <cx:pt idx="59927">2</cx:pt>
          <cx:pt idx="59928">5</cx:pt>
          <cx:pt idx="59929">4</cx:pt>
          <cx:pt idx="59930">3</cx:pt>
          <cx:pt idx="59931">1</cx:pt>
          <cx:pt idx="59932">3</cx:pt>
          <cx:pt idx="59933">4</cx:pt>
          <cx:pt idx="59934">1</cx:pt>
          <cx:pt idx="59935">4</cx:pt>
          <cx:pt idx="59936">4</cx:pt>
          <cx:pt idx="59937">5</cx:pt>
          <cx:pt idx="59938">5</cx:pt>
          <cx:pt idx="59939">3</cx:pt>
          <cx:pt idx="59940">4</cx:pt>
          <cx:pt idx="59941">4</cx:pt>
          <cx:pt idx="59942">4</cx:pt>
          <cx:pt idx="59943">4</cx:pt>
          <cx:pt idx="59944">4</cx:pt>
          <cx:pt idx="59945">4</cx:pt>
          <cx:pt idx="59946">4</cx:pt>
          <cx:pt idx="59947">4</cx:pt>
          <cx:pt idx="59948">4</cx:pt>
          <cx:pt idx="59949">4</cx:pt>
          <cx:pt idx="59950">1</cx:pt>
          <cx:pt idx="59951">2</cx:pt>
          <cx:pt idx="59952">5</cx:pt>
          <cx:pt idx="59953">3</cx:pt>
          <cx:pt idx="59954">5</cx:pt>
          <cx:pt idx="59955">5</cx:pt>
          <cx:pt idx="59956">3</cx:pt>
          <cx:pt idx="59957">4</cx:pt>
          <cx:pt idx="59958">4</cx:pt>
          <cx:pt idx="59959">3</cx:pt>
          <cx:pt idx="59960">5</cx:pt>
          <cx:pt idx="59961">3</cx:pt>
          <cx:pt idx="59962">4</cx:pt>
          <cx:pt idx="59963">5</cx:pt>
          <cx:pt idx="59964">4</cx:pt>
          <cx:pt idx="59965">1</cx:pt>
          <cx:pt idx="59966">4</cx:pt>
          <cx:pt idx="59967">4</cx:pt>
          <cx:pt idx="59968">5</cx:pt>
          <cx:pt idx="59969">5</cx:pt>
          <cx:pt idx="59970">4</cx:pt>
          <cx:pt idx="59971">5</cx:pt>
          <cx:pt idx="59972">5</cx:pt>
          <cx:pt idx="59973">4</cx:pt>
          <cx:pt idx="59974">4</cx:pt>
          <cx:pt idx="59975">5</cx:pt>
          <cx:pt idx="59976">4</cx:pt>
          <cx:pt idx="59977">4</cx:pt>
          <cx:pt idx="59978">4</cx:pt>
          <cx:pt idx="59979">4</cx:pt>
          <cx:pt idx="59980">5</cx:pt>
          <cx:pt idx="59981">3</cx:pt>
          <cx:pt idx="59982">3</cx:pt>
          <cx:pt idx="59983">2</cx:pt>
          <cx:pt idx="59984">4</cx:pt>
          <cx:pt idx="59985">3</cx:pt>
          <cx:pt idx="59986">5</cx:pt>
          <cx:pt idx="59987">5</cx:pt>
          <cx:pt idx="59988">2</cx:pt>
          <cx:pt idx="59989">4</cx:pt>
          <cx:pt idx="59990">1</cx:pt>
          <cx:pt idx="59991">3</cx:pt>
          <cx:pt idx="59992">4</cx:pt>
          <cx:pt idx="59993">3</cx:pt>
          <cx:pt idx="59994">5</cx:pt>
          <cx:pt idx="59995">1</cx:pt>
          <cx:pt idx="59996">5</cx:pt>
          <cx:pt idx="59997">2</cx:pt>
          <cx:pt idx="59998">4</cx:pt>
          <cx:pt idx="59999">3</cx:pt>
          <cx:pt idx="60000">5</cx:pt>
          <cx:pt idx="60001">5</cx:pt>
          <cx:pt idx="60002">2</cx:pt>
          <cx:pt idx="60003">5</cx:pt>
          <cx:pt idx="60004">5</cx:pt>
          <cx:pt idx="60005">5</cx:pt>
          <cx:pt idx="60006">1</cx:pt>
          <cx:pt idx="60007">4</cx:pt>
          <cx:pt idx="60008">4</cx:pt>
          <cx:pt idx="60009">4</cx:pt>
          <cx:pt idx="60010">4</cx:pt>
          <cx:pt idx="60011">4</cx:pt>
          <cx:pt idx="60012">5</cx:pt>
          <cx:pt idx="60013">5</cx:pt>
          <cx:pt idx="60014">5</cx:pt>
          <cx:pt idx="60015">3</cx:pt>
          <cx:pt idx="60016">3</cx:pt>
          <cx:pt idx="60017">1</cx:pt>
          <cx:pt idx="60018">1</cx:pt>
          <cx:pt idx="60019">5</cx:pt>
          <cx:pt idx="60020">4</cx:pt>
          <cx:pt idx="60021">3</cx:pt>
          <cx:pt idx="60022">5</cx:pt>
          <cx:pt idx="60023">5</cx:pt>
          <cx:pt idx="60024">5</cx:pt>
          <cx:pt idx="60025">5</cx:pt>
          <cx:pt idx="60026">5</cx:pt>
          <cx:pt idx="60027">2</cx:pt>
          <cx:pt idx="60028">3</cx:pt>
          <cx:pt idx="60029">5</cx:pt>
          <cx:pt idx="60030">4</cx:pt>
          <cx:pt idx="60031">1</cx:pt>
          <cx:pt idx="60032">2</cx:pt>
          <cx:pt idx="60033">3</cx:pt>
          <cx:pt idx="60034">4</cx:pt>
          <cx:pt idx="60035">4</cx:pt>
          <cx:pt idx="60036">3</cx:pt>
          <cx:pt idx="60037">3</cx:pt>
          <cx:pt idx="60038">3</cx:pt>
          <cx:pt idx="60039">3</cx:pt>
          <cx:pt idx="60040">1</cx:pt>
          <cx:pt idx="60041">4</cx:pt>
          <cx:pt idx="60042">4</cx:pt>
          <cx:pt idx="60043">3</cx:pt>
          <cx:pt idx="60044">2</cx:pt>
          <cx:pt idx="60045">2</cx:pt>
          <cx:pt idx="60046">4</cx:pt>
          <cx:pt idx="60047">1</cx:pt>
          <cx:pt idx="60048">1</cx:pt>
          <cx:pt idx="60049">3</cx:pt>
          <cx:pt idx="60050">4</cx:pt>
          <cx:pt idx="60051">3</cx:pt>
          <cx:pt idx="60052">4</cx:pt>
          <cx:pt idx="60053">5</cx:pt>
          <cx:pt idx="60054">4</cx:pt>
          <cx:pt idx="60055">2</cx:pt>
          <cx:pt idx="60056">5</cx:pt>
          <cx:pt idx="60057">3</cx:pt>
          <cx:pt idx="60058">2</cx:pt>
          <cx:pt idx="60059">5</cx:pt>
          <cx:pt idx="60060">3</cx:pt>
          <cx:pt idx="60061">5</cx:pt>
          <cx:pt idx="60062">4</cx:pt>
          <cx:pt idx="60063">3</cx:pt>
          <cx:pt idx="60064">5</cx:pt>
          <cx:pt idx="60065">1</cx:pt>
          <cx:pt idx="60066">3</cx:pt>
          <cx:pt idx="60067">4</cx:pt>
          <cx:pt idx="60068">4</cx:pt>
          <cx:pt idx="60069">1</cx:pt>
          <cx:pt idx="60070">4</cx:pt>
          <cx:pt idx="60071">2</cx:pt>
          <cx:pt idx="60072">1</cx:pt>
          <cx:pt idx="60073">4</cx:pt>
          <cx:pt idx="60074">5</cx:pt>
          <cx:pt idx="60075">1</cx:pt>
          <cx:pt idx="60076">4</cx:pt>
          <cx:pt idx="60077">3</cx:pt>
          <cx:pt idx="60078">2</cx:pt>
          <cx:pt idx="60079">4</cx:pt>
          <cx:pt idx="60080">5</cx:pt>
          <cx:pt idx="60081">2</cx:pt>
          <cx:pt idx="60082">5</cx:pt>
          <cx:pt idx="60083">5</cx:pt>
          <cx:pt idx="60084">2</cx:pt>
          <cx:pt idx="60085">4</cx:pt>
          <cx:pt idx="60086">4</cx:pt>
          <cx:pt idx="60087">2</cx:pt>
          <cx:pt idx="60088">2</cx:pt>
          <cx:pt idx="60089">3</cx:pt>
          <cx:pt idx="60090">5</cx:pt>
          <cx:pt idx="60091">4</cx:pt>
          <cx:pt idx="60092">3</cx:pt>
          <cx:pt idx="60093">3</cx:pt>
          <cx:pt idx="60094">4</cx:pt>
          <cx:pt idx="60095">5</cx:pt>
          <cx:pt idx="60096">5</cx:pt>
          <cx:pt idx="60097">1</cx:pt>
          <cx:pt idx="60098">5</cx:pt>
          <cx:pt idx="60099">3</cx:pt>
          <cx:pt idx="60100">1</cx:pt>
          <cx:pt idx="60101">5</cx:pt>
          <cx:pt idx="60102">5</cx:pt>
          <cx:pt idx="60103">3</cx:pt>
          <cx:pt idx="60104">5</cx:pt>
          <cx:pt idx="60105">4</cx:pt>
          <cx:pt idx="60106">3</cx:pt>
          <cx:pt idx="60107">5</cx:pt>
          <cx:pt idx="60108">3</cx:pt>
          <cx:pt idx="60109">3</cx:pt>
          <cx:pt idx="60110">4</cx:pt>
          <cx:pt idx="60111">2</cx:pt>
          <cx:pt idx="60112">4</cx:pt>
          <cx:pt idx="60113">1</cx:pt>
          <cx:pt idx="60114">1</cx:pt>
          <cx:pt idx="60115">4</cx:pt>
          <cx:pt idx="60116">5</cx:pt>
          <cx:pt idx="60117">2</cx:pt>
          <cx:pt idx="60118">2</cx:pt>
          <cx:pt idx="60119">5</cx:pt>
          <cx:pt idx="60120">3</cx:pt>
          <cx:pt idx="60121">4</cx:pt>
          <cx:pt idx="60122">4</cx:pt>
          <cx:pt idx="60123">1</cx:pt>
          <cx:pt idx="60124">1</cx:pt>
          <cx:pt idx="60125">4</cx:pt>
          <cx:pt idx="60126">4</cx:pt>
          <cx:pt idx="60127">4</cx:pt>
          <cx:pt idx="60128">2</cx:pt>
          <cx:pt idx="60129">2</cx:pt>
          <cx:pt idx="60130">1</cx:pt>
          <cx:pt idx="60131">3</cx:pt>
          <cx:pt idx="60132">2</cx:pt>
          <cx:pt idx="60133">3</cx:pt>
          <cx:pt idx="60134">1</cx:pt>
          <cx:pt idx="60135">1</cx:pt>
          <cx:pt idx="60136">1</cx:pt>
          <cx:pt idx="60137">4</cx:pt>
          <cx:pt idx="60138">4</cx:pt>
          <cx:pt idx="60139">4</cx:pt>
          <cx:pt idx="60140">5</cx:pt>
          <cx:pt idx="60141">4</cx:pt>
          <cx:pt idx="60142">1</cx:pt>
          <cx:pt idx="60143">4</cx:pt>
          <cx:pt idx="60144">4</cx:pt>
          <cx:pt idx="60145">1</cx:pt>
          <cx:pt idx="60146">3</cx:pt>
          <cx:pt idx="60147">4</cx:pt>
          <cx:pt idx="60148">4</cx:pt>
          <cx:pt idx="60149">4</cx:pt>
          <cx:pt idx="60150">3</cx:pt>
          <cx:pt idx="60151">2</cx:pt>
          <cx:pt idx="60152">4</cx:pt>
          <cx:pt idx="60153">4</cx:pt>
          <cx:pt idx="60154">5</cx:pt>
          <cx:pt idx="60155">4</cx:pt>
          <cx:pt idx="60156">3</cx:pt>
          <cx:pt idx="60157">5</cx:pt>
          <cx:pt idx="60158">2</cx:pt>
          <cx:pt idx="60159">3</cx:pt>
          <cx:pt idx="60160">5</cx:pt>
          <cx:pt idx="60161">5</cx:pt>
          <cx:pt idx="60162">4</cx:pt>
          <cx:pt idx="60163">2</cx:pt>
          <cx:pt idx="60164">2</cx:pt>
          <cx:pt idx="60165">5</cx:pt>
          <cx:pt idx="60166">4</cx:pt>
          <cx:pt idx="60167">4</cx:pt>
          <cx:pt idx="60168">4</cx:pt>
          <cx:pt idx="60169">1</cx:pt>
          <cx:pt idx="60170">2</cx:pt>
          <cx:pt idx="60171">2</cx:pt>
          <cx:pt idx="60172">1</cx:pt>
          <cx:pt idx="60173">3</cx:pt>
          <cx:pt idx="60174">1</cx:pt>
          <cx:pt idx="60175">3</cx:pt>
          <cx:pt idx="60176">5</cx:pt>
          <cx:pt idx="60177">4</cx:pt>
          <cx:pt idx="60178">5</cx:pt>
          <cx:pt idx="60179">1</cx:pt>
          <cx:pt idx="60180">2</cx:pt>
          <cx:pt idx="60181">4</cx:pt>
          <cx:pt idx="60182">4</cx:pt>
          <cx:pt idx="60183">2</cx:pt>
          <cx:pt idx="60184">4</cx:pt>
          <cx:pt idx="60185">5</cx:pt>
          <cx:pt idx="60186">2</cx:pt>
          <cx:pt idx="60187">2</cx:pt>
          <cx:pt idx="60188">1</cx:pt>
          <cx:pt idx="60189">2</cx:pt>
          <cx:pt idx="60190">5</cx:pt>
          <cx:pt idx="60191">4</cx:pt>
          <cx:pt idx="60192">1</cx:pt>
          <cx:pt idx="60193">3</cx:pt>
          <cx:pt idx="60194">4</cx:pt>
          <cx:pt idx="60195">5</cx:pt>
          <cx:pt idx="60196">1</cx:pt>
          <cx:pt idx="60197">4</cx:pt>
          <cx:pt idx="60198">1</cx:pt>
          <cx:pt idx="60199">4</cx:pt>
          <cx:pt idx="60200">3</cx:pt>
          <cx:pt idx="60201">4</cx:pt>
          <cx:pt idx="60202">3</cx:pt>
          <cx:pt idx="60203">5</cx:pt>
          <cx:pt idx="60204">5</cx:pt>
          <cx:pt idx="60205">4</cx:pt>
          <cx:pt idx="60206">2</cx:pt>
          <cx:pt idx="60207">4</cx:pt>
          <cx:pt idx="60208">4</cx:pt>
          <cx:pt idx="60209">2</cx:pt>
          <cx:pt idx="60210">5</cx:pt>
          <cx:pt idx="60211">4</cx:pt>
          <cx:pt idx="60212">5</cx:pt>
          <cx:pt idx="60213">1</cx:pt>
          <cx:pt idx="60214">4</cx:pt>
          <cx:pt idx="60215">4</cx:pt>
          <cx:pt idx="60216">4</cx:pt>
          <cx:pt idx="60217">4</cx:pt>
          <cx:pt idx="60218">5</cx:pt>
          <cx:pt idx="60219">5</cx:pt>
          <cx:pt idx="60220">5</cx:pt>
          <cx:pt idx="60221">2</cx:pt>
          <cx:pt idx="60222">3</cx:pt>
          <cx:pt idx="60223">4</cx:pt>
          <cx:pt idx="60224">4</cx:pt>
          <cx:pt idx="60225">4</cx:pt>
          <cx:pt idx="60226">4</cx:pt>
          <cx:pt idx="60227">5</cx:pt>
          <cx:pt idx="60228">4</cx:pt>
          <cx:pt idx="60229">5</cx:pt>
          <cx:pt idx="60230">4</cx:pt>
          <cx:pt idx="60231">2</cx:pt>
          <cx:pt idx="60232">3</cx:pt>
          <cx:pt idx="60233">5</cx:pt>
          <cx:pt idx="60234">4</cx:pt>
          <cx:pt idx="60235">2</cx:pt>
          <cx:pt idx="60236">4</cx:pt>
          <cx:pt idx="60237">4</cx:pt>
          <cx:pt idx="60238">3</cx:pt>
          <cx:pt idx="60239">1</cx:pt>
          <cx:pt idx="60240">5</cx:pt>
          <cx:pt idx="60241">4</cx:pt>
          <cx:pt idx="60242">5</cx:pt>
          <cx:pt idx="60243">4</cx:pt>
          <cx:pt idx="60244">4</cx:pt>
          <cx:pt idx="60245">2</cx:pt>
          <cx:pt idx="60246">4</cx:pt>
          <cx:pt idx="60247">3</cx:pt>
          <cx:pt idx="60248">5</cx:pt>
          <cx:pt idx="60249">5</cx:pt>
          <cx:pt idx="60250">5</cx:pt>
          <cx:pt idx="60251">3</cx:pt>
          <cx:pt idx="60252">4</cx:pt>
          <cx:pt idx="60253">4</cx:pt>
          <cx:pt idx="60254">3</cx:pt>
          <cx:pt idx="60255">4</cx:pt>
          <cx:pt idx="60256">2</cx:pt>
          <cx:pt idx="60257">3</cx:pt>
          <cx:pt idx="60258">2</cx:pt>
          <cx:pt idx="60259">5</cx:pt>
          <cx:pt idx="60260">3</cx:pt>
          <cx:pt idx="60261">4</cx:pt>
          <cx:pt idx="60262">3</cx:pt>
          <cx:pt idx="60263">4</cx:pt>
          <cx:pt idx="60264">4</cx:pt>
          <cx:pt idx="60265">5</cx:pt>
          <cx:pt idx="60266">3</cx:pt>
          <cx:pt idx="60267">3</cx:pt>
          <cx:pt idx="60268">3</cx:pt>
          <cx:pt idx="60269">2</cx:pt>
          <cx:pt idx="60270">5</cx:pt>
          <cx:pt idx="60271">1</cx:pt>
          <cx:pt idx="60272">5</cx:pt>
          <cx:pt idx="60273">4</cx:pt>
          <cx:pt idx="60274">5</cx:pt>
          <cx:pt idx="60275">5</cx:pt>
          <cx:pt idx="60276">4</cx:pt>
          <cx:pt idx="60277">5</cx:pt>
          <cx:pt idx="60278">5</cx:pt>
          <cx:pt idx="60279">4</cx:pt>
          <cx:pt idx="60280">1</cx:pt>
          <cx:pt idx="60281">1</cx:pt>
          <cx:pt idx="60282">4</cx:pt>
          <cx:pt idx="60283">2</cx:pt>
          <cx:pt idx="60284">3</cx:pt>
          <cx:pt idx="60285">3</cx:pt>
          <cx:pt idx="60286">1</cx:pt>
          <cx:pt idx="60287">2</cx:pt>
          <cx:pt idx="60288">4</cx:pt>
          <cx:pt idx="60289">4</cx:pt>
          <cx:pt idx="60290">5</cx:pt>
          <cx:pt idx="60291">3</cx:pt>
          <cx:pt idx="60292">3</cx:pt>
          <cx:pt idx="60293">5</cx:pt>
          <cx:pt idx="60294">5</cx:pt>
          <cx:pt idx="60295">1</cx:pt>
          <cx:pt idx="60296">4</cx:pt>
          <cx:pt idx="60297">5</cx:pt>
          <cx:pt idx="60298">4</cx:pt>
          <cx:pt idx="60299">3</cx:pt>
          <cx:pt idx="60300">3</cx:pt>
          <cx:pt idx="60301">5</cx:pt>
          <cx:pt idx="60302">5</cx:pt>
          <cx:pt idx="60303">5</cx:pt>
          <cx:pt idx="60304">2</cx:pt>
          <cx:pt idx="60305">5</cx:pt>
          <cx:pt idx="60306">4</cx:pt>
          <cx:pt idx="60307">1</cx:pt>
          <cx:pt idx="60308">5</cx:pt>
          <cx:pt idx="60309">4</cx:pt>
          <cx:pt idx="60310">2</cx:pt>
          <cx:pt idx="60311">2</cx:pt>
          <cx:pt idx="60312">2</cx:pt>
          <cx:pt idx="60313">1</cx:pt>
          <cx:pt idx="60314">2</cx:pt>
          <cx:pt idx="60315">4</cx:pt>
          <cx:pt idx="60316">3</cx:pt>
          <cx:pt idx="60317">2</cx:pt>
          <cx:pt idx="60318">4</cx:pt>
          <cx:pt idx="60319">3</cx:pt>
          <cx:pt idx="60320">2</cx:pt>
          <cx:pt idx="60321">1</cx:pt>
          <cx:pt idx="60322">3</cx:pt>
          <cx:pt idx="60323">4</cx:pt>
          <cx:pt idx="60324">1</cx:pt>
          <cx:pt idx="60325">2</cx:pt>
          <cx:pt idx="60326">5</cx:pt>
          <cx:pt idx="60327">3</cx:pt>
          <cx:pt idx="60328">3</cx:pt>
          <cx:pt idx="60329">5</cx:pt>
          <cx:pt idx="60330">4</cx:pt>
          <cx:pt idx="60331">5</cx:pt>
          <cx:pt idx="60332">3</cx:pt>
          <cx:pt idx="60333">3</cx:pt>
          <cx:pt idx="60334">4</cx:pt>
          <cx:pt idx="60335">4</cx:pt>
          <cx:pt idx="60336">2</cx:pt>
          <cx:pt idx="60337">5</cx:pt>
          <cx:pt idx="60338">5</cx:pt>
          <cx:pt idx="60339">2</cx:pt>
          <cx:pt idx="60340">5</cx:pt>
          <cx:pt idx="60341">5</cx:pt>
          <cx:pt idx="60342">3</cx:pt>
          <cx:pt idx="60343">5</cx:pt>
          <cx:pt idx="60344">3</cx:pt>
          <cx:pt idx="60345">2</cx:pt>
          <cx:pt idx="60346">3</cx:pt>
          <cx:pt idx="60347">1</cx:pt>
          <cx:pt idx="60348">3</cx:pt>
          <cx:pt idx="60349">2</cx:pt>
          <cx:pt idx="60350">4</cx:pt>
          <cx:pt idx="60351">4</cx:pt>
          <cx:pt idx="60352">2</cx:pt>
          <cx:pt idx="60353">5</cx:pt>
          <cx:pt idx="60354">4</cx:pt>
          <cx:pt idx="60355">4</cx:pt>
          <cx:pt idx="60356">2</cx:pt>
          <cx:pt idx="60357">1</cx:pt>
          <cx:pt idx="60358">3</cx:pt>
          <cx:pt idx="60359">4</cx:pt>
          <cx:pt idx="60360">4</cx:pt>
          <cx:pt idx="60361">4</cx:pt>
          <cx:pt idx="60362">4</cx:pt>
          <cx:pt idx="60363">1</cx:pt>
          <cx:pt idx="60364">3</cx:pt>
          <cx:pt idx="60365">3</cx:pt>
          <cx:pt idx="60366">2</cx:pt>
          <cx:pt idx="60367">2</cx:pt>
          <cx:pt idx="60368">5</cx:pt>
          <cx:pt idx="60369">5</cx:pt>
          <cx:pt idx="60370">4</cx:pt>
          <cx:pt idx="60371">5</cx:pt>
          <cx:pt idx="60372">5</cx:pt>
          <cx:pt idx="60373">3</cx:pt>
          <cx:pt idx="60374">3</cx:pt>
          <cx:pt idx="60375">4</cx:pt>
          <cx:pt idx="60376">3</cx:pt>
          <cx:pt idx="60377">2</cx:pt>
          <cx:pt idx="60378">1</cx:pt>
          <cx:pt idx="60379">4</cx:pt>
          <cx:pt idx="60380">4</cx:pt>
          <cx:pt idx="60381">2</cx:pt>
          <cx:pt idx="60382">4</cx:pt>
          <cx:pt idx="60383">5</cx:pt>
          <cx:pt idx="60384">5</cx:pt>
          <cx:pt idx="60385">1</cx:pt>
          <cx:pt idx="60386">4</cx:pt>
          <cx:pt idx="60387">4</cx:pt>
          <cx:pt idx="60388">5</cx:pt>
          <cx:pt idx="60389">1</cx:pt>
          <cx:pt idx="60390">5</cx:pt>
          <cx:pt idx="60391">4</cx:pt>
          <cx:pt idx="60392">4</cx:pt>
          <cx:pt idx="60393">3</cx:pt>
          <cx:pt idx="60394">3</cx:pt>
          <cx:pt idx="60395">5</cx:pt>
          <cx:pt idx="60396">1</cx:pt>
          <cx:pt idx="60397">3</cx:pt>
          <cx:pt idx="60398">3</cx:pt>
          <cx:pt idx="60399">5</cx:pt>
          <cx:pt idx="60400">5</cx:pt>
          <cx:pt idx="60401">4</cx:pt>
          <cx:pt idx="60402">2</cx:pt>
          <cx:pt idx="60403">4</cx:pt>
          <cx:pt idx="60404">2</cx:pt>
          <cx:pt idx="60405">4</cx:pt>
          <cx:pt idx="60406">4</cx:pt>
          <cx:pt idx="60407">5</cx:pt>
          <cx:pt idx="60408">3</cx:pt>
          <cx:pt idx="60409">4</cx:pt>
          <cx:pt idx="60410">5</cx:pt>
          <cx:pt idx="60411">4</cx:pt>
          <cx:pt idx="60412">1</cx:pt>
          <cx:pt idx="60413">4</cx:pt>
          <cx:pt idx="60414">4</cx:pt>
          <cx:pt idx="60415">1</cx:pt>
          <cx:pt idx="60416">4</cx:pt>
          <cx:pt idx="60417">3</cx:pt>
          <cx:pt idx="60418">5</cx:pt>
          <cx:pt idx="60419">5</cx:pt>
          <cx:pt idx="60420">1</cx:pt>
          <cx:pt idx="60421">5</cx:pt>
          <cx:pt idx="60422">4</cx:pt>
          <cx:pt idx="60423">3</cx:pt>
          <cx:pt idx="60424">5</cx:pt>
          <cx:pt idx="60425">2</cx:pt>
          <cx:pt idx="60426">3</cx:pt>
          <cx:pt idx="60427">2</cx:pt>
          <cx:pt idx="60428">1</cx:pt>
          <cx:pt idx="60429">1</cx:pt>
          <cx:pt idx="60430">4</cx:pt>
          <cx:pt idx="60431">3</cx:pt>
          <cx:pt idx="60432">2</cx:pt>
          <cx:pt idx="60433">3</cx:pt>
          <cx:pt idx="60434">1</cx:pt>
          <cx:pt idx="60435">4</cx:pt>
          <cx:pt idx="60436">4</cx:pt>
          <cx:pt idx="60437">3</cx:pt>
          <cx:pt idx="60438">2</cx:pt>
          <cx:pt idx="60439">2</cx:pt>
          <cx:pt idx="60440">4</cx:pt>
          <cx:pt idx="60441">3</cx:pt>
          <cx:pt idx="60442">1</cx:pt>
          <cx:pt idx="60443">5</cx:pt>
          <cx:pt idx="60444">1</cx:pt>
          <cx:pt idx="60445">4</cx:pt>
          <cx:pt idx="60446">2</cx:pt>
          <cx:pt idx="60447">4</cx:pt>
          <cx:pt idx="60448">2</cx:pt>
          <cx:pt idx="60449">5</cx:pt>
          <cx:pt idx="60450">5</cx:pt>
          <cx:pt idx="60451">4</cx:pt>
          <cx:pt idx="60452">3</cx:pt>
          <cx:pt idx="60453">1</cx:pt>
          <cx:pt idx="60454">5</cx:pt>
          <cx:pt idx="60455">5</cx:pt>
          <cx:pt idx="60456">5</cx:pt>
          <cx:pt idx="60457">4</cx:pt>
          <cx:pt idx="60458">3</cx:pt>
          <cx:pt idx="60459">2</cx:pt>
          <cx:pt idx="60460">2</cx:pt>
          <cx:pt idx="60461">1</cx:pt>
          <cx:pt idx="60462">4</cx:pt>
          <cx:pt idx="60463">4</cx:pt>
          <cx:pt idx="60464">4</cx:pt>
          <cx:pt idx="60465">1</cx:pt>
          <cx:pt idx="60466">5</cx:pt>
          <cx:pt idx="60467">5</cx:pt>
          <cx:pt idx="60468">4</cx:pt>
          <cx:pt idx="60469">5</cx:pt>
          <cx:pt idx="60470">4</cx:pt>
          <cx:pt idx="60471">5</cx:pt>
          <cx:pt idx="60472">1</cx:pt>
          <cx:pt idx="60473">1</cx:pt>
          <cx:pt idx="60474">5</cx:pt>
          <cx:pt idx="60475">2</cx:pt>
          <cx:pt idx="60476">5</cx:pt>
          <cx:pt idx="60477">2</cx:pt>
          <cx:pt idx="60478">4</cx:pt>
          <cx:pt idx="60479">4</cx:pt>
          <cx:pt idx="60480">1</cx:pt>
          <cx:pt idx="60481">3</cx:pt>
          <cx:pt idx="60482">5</cx:pt>
          <cx:pt idx="60483">5</cx:pt>
          <cx:pt idx="60484">2</cx:pt>
          <cx:pt idx="60485">3</cx:pt>
          <cx:pt idx="60486">1</cx:pt>
          <cx:pt idx="60487">1</cx:pt>
          <cx:pt idx="60488">3</cx:pt>
          <cx:pt idx="60489">5</cx:pt>
          <cx:pt idx="60490">4</cx:pt>
          <cx:pt idx="60491">3</cx:pt>
          <cx:pt idx="60492">3</cx:pt>
          <cx:pt idx="60493">1</cx:pt>
          <cx:pt idx="60494">1</cx:pt>
          <cx:pt idx="60495">2</cx:pt>
          <cx:pt idx="60496">1</cx:pt>
          <cx:pt idx="60497">3</cx:pt>
          <cx:pt idx="60498">3</cx:pt>
          <cx:pt idx="60499">2</cx:pt>
          <cx:pt idx="60500">1</cx:pt>
          <cx:pt idx="60501">5</cx:pt>
          <cx:pt idx="60502">5</cx:pt>
          <cx:pt idx="60503">4</cx:pt>
          <cx:pt idx="60504">3</cx:pt>
          <cx:pt idx="60505">5</cx:pt>
          <cx:pt idx="60506">2</cx:pt>
          <cx:pt idx="60507">4</cx:pt>
          <cx:pt idx="60508">2</cx:pt>
          <cx:pt idx="60509">5</cx:pt>
          <cx:pt idx="60510">5</cx:pt>
          <cx:pt idx="60511">2</cx:pt>
          <cx:pt idx="60512">2</cx:pt>
          <cx:pt idx="60513">4</cx:pt>
          <cx:pt idx="60514">5</cx:pt>
          <cx:pt idx="60515">1</cx:pt>
          <cx:pt idx="60516">5</cx:pt>
          <cx:pt idx="60517">5</cx:pt>
          <cx:pt idx="60518">5</cx:pt>
          <cx:pt idx="60519">1</cx:pt>
          <cx:pt idx="60520">3</cx:pt>
          <cx:pt idx="60521">2</cx:pt>
          <cx:pt idx="60522">1</cx:pt>
          <cx:pt idx="60523">4</cx:pt>
          <cx:pt idx="60524">5</cx:pt>
          <cx:pt idx="60525">5</cx:pt>
          <cx:pt idx="60526">2</cx:pt>
          <cx:pt idx="60527">1</cx:pt>
          <cx:pt idx="60528">5</cx:pt>
          <cx:pt idx="60529">5</cx:pt>
          <cx:pt idx="60530">4</cx:pt>
          <cx:pt idx="60531">1</cx:pt>
          <cx:pt idx="60532">2</cx:pt>
          <cx:pt idx="60533">3</cx:pt>
          <cx:pt idx="60534">3</cx:pt>
          <cx:pt idx="60535">5</cx:pt>
          <cx:pt idx="60536">5</cx:pt>
          <cx:pt idx="60537">5</cx:pt>
          <cx:pt idx="60538">5</cx:pt>
          <cx:pt idx="60539">4</cx:pt>
          <cx:pt idx="60540">2</cx:pt>
          <cx:pt idx="60541">5</cx:pt>
          <cx:pt idx="60542">5</cx:pt>
          <cx:pt idx="60543">2</cx:pt>
          <cx:pt idx="60544">4</cx:pt>
          <cx:pt idx="60545">4</cx:pt>
          <cx:pt idx="60546">2</cx:pt>
          <cx:pt idx="60547">5</cx:pt>
          <cx:pt idx="60548">2</cx:pt>
          <cx:pt idx="60549">3</cx:pt>
          <cx:pt idx="60550">3</cx:pt>
          <cx:pt idx="60551">1</cx:pt>
          <cx:pt idx="60552">5</cx:pt>
          <cx:pt idx="60553">3</cx:pt>
          <cx:pt idx="60554">5</cx:pt>
          <cx:pt idx="60555">2</cx:pt>
          <cx:pt idx="60556">4</cx:pt>
          <cx:pt idx="60557">4</cx:pt>
          <cx:pt idx="60558">2</cx:pt>
          <cx:pt idx="60559">4</cx:pt>
          <cx:pt idx="60560">2</cx:pt>
          <cx:pt idx="60561">3</cx:pt>
          <cx:pt idx="60562">4</cx:pt>
          <cx:pt idx="60563">2</cx:pt>
          <cx:pt idx="60564">5</cx:pt>
          <cx:pt idx="60565">3</cx:pt>
          <cx:pt idx="60566">2</cx:pt>
          <cx:pt idx="60567">5</cx:pt>
          <cx:pt idx="60568">3</cx:pt>
          <cx:pt idx="60569">5</cx:pt>
          <cx:pt idx="60570">4</cx:pt>
          <cx:pt idx="60571">4</cx:pt>
          <cx:pt idx="60572">5</cx:pt>
          <cx:pt idx="60573">4</cx:pt>
          <cx:pt idx="60574">4</cx:pt>
          <cx:pt idx="60575">2</cx:pt>
          <cx:pt idx="60576">4</cx:pt>
          <cx:pt idx="60577">4</cx:pt>
          <cx:pt idx="60578">2</cx:pt>
          <cx:pt idx="60579">4</cx:pt>
          <cx:pt idx="60580">4</cx:pt>
          <cx:pt idx="60581">2</cx:pt>
          <cx:pt idx="60582">4</cx:pt>
          <cx:pt idx="60583">2</cx:pt>
          <cx:pt idx="60584">4</cx:pt>
          <cx:pt idx="60585">4</cx:pt>
          <cx:pt idx="60586">4</cx:pt>
          <cx:pt idx="60587">3</cx:pt>
          <cx:pt idx="60588">5</cx:pt>
          <cx:pt idx="60589">3</cx:pt>
          <cx:pt idx="60590">5</cx:pt>
          <cx:pt idx="60591">2</cx:pt>
          <cx:pt idx="60592">5</cx:pt>
          <cx:pt idx="60593">4</cx:pt>
          <cx:pt idx="60594">1</cx:pt>
          <cx:pt idx="60595">1</cx:pt>
          <cx:pt idx="60596">5</cx:pt>
          <cx:pt idx="60597">5</cx:pt>
          <cx:pt idx="60598">1</cx:pt>
          <cx:pt idx="60599">5</cx:pt>
          <cx:pt idx="60600">4</cx:pt>
          <cx:pt idx="60601">3</cx:pt>
          <cx:pt idx="60602">4</cx:pt>
          <cx:pt idx="60603">2</cx:pt>
          <cx:pt idx="60604">1</cx:pt>
          <cx:pt idx="60605">2</cx:pt>
          <cx:pt idx="60606">2</cx:pt>
          <cx:pt idx="60607">3</cx:pt>
          <cx:pt idx="60608">1</cx:pt>
          <cx:pt idx="60609">4</cx:pt>
          <cx:pt idx="60610">2</cx:pt>
          <cx:pt idx="60611">4</cx:pt>
          <cx:pt idx="60612">5</cx:pt>
          <cx:pt idx="60613">4</cx:pt>
          <cx:pt idx="60614">4</cx:pt>
          <cx:pt idx="60615">1</cx:pt>
          <cx:pt idx="60616">1</cx:pt>
          <cx:pt idx="60617">2</cx:pt>
          <cx:pt idx="60618">5</cx:pt>
          <cx:pt idx="60619">1</cx:pt>
          <cx:pt idx="60620">3</cx:pt>
          <cx:pt idx="60621">1</cx:pt>
          <cx:pt idx="60622">5</cx:pt>
          <cx:pt idx="60623">4</cx:pt>
          <cx:pt idx="60624">4</cx:pt>
          <cx:pt idx="60625">4</cx:pt>
          <cx:pt idx="60626">3</cx:pt>
          <cx:pt idx="60627">4</cx:pt>
          <cx:pt idx="60628">2</cx:pt>
          <cx:pt idx="60629">1</cx:pt>
          <cx:pt idx="60630">4</cx:pt>
          <cx:pt idx="60631">4</cx:pt>
          <cx:pt idx="60632">5</cx:pt>
          <cx:pt idx="60633">2</cx:pt>
          <cx:pt idx="60634">2</cx:pt>
          <cx:pt idx="60635">4</cx:pt>
          <cx:pt idx="60636">5</cx:pt>
          <cx:pt idx="60637">3</cx:pt>
          <cx:pt idx="60638">3</cx:pt>
          <cx:pt idx="60639">5</cx:pt>
          <cx:pt idx="60640">5</cx:pt>
          <cx:pt idx="60641">4</cx:pt>
          <cx:pt idx="60642">3</cx:pt>
          <cx:pt idx="60643">3</cx:pt>
          <cx:pt idx="60644">2</cx:pt>
          <cx:pt idx="60645">3</cx:pt>
          <cx:pt idx="60646">1</cx:pt>
          <cx:pt idx="60647">5</cx:pt>
          <cx:pt idx="60648">4</cx:pt>
          <cx:pt idx="60649">5</cx:pt>
          <cx:pt idx="60650">2</cx:pt>
          <cx:pt idx="60651">4</cx:pt>
          <cx:pt idx="60652">5</cx:pt>
          <cx:pt idx="60653">5</cx:pt>
          <cx:pt idx="60654">3</cx:pt>
          <cx:pt idx="60655">1</cx:pt>
          <cx:pt idx="60656">5</cx:pt>
          <cx:pt idx="60657">3</cx:pt>
          <cx:pt idx="60658">4</cx:pt>
          <cx:pt idx="60659">4</cx:pt>
          <cx:pt idx="60660">3</cx:pt>
          <cx:pt idx="60661">4</cx:pt>
          <cx:pt idx="60662">4</cx:pt>
          <cx:pt idx="60663">3</cx:pt>
          <cx:pt idx="60664">2</cx:pt>
          <cx:pt idx="60665">5</cx:pt>
          <cx:pt idx="60666">2</cx:pt>
          <cx:pt idx="60667">1</cx:pt>
          <cx:pt idx="60668">3</cx:pt>
          <cx:pt idx="60669">4</cx:pt>
          <cx:pt idx="60670">3</cx:pt>
          <cx:pt idx="60671">2</cx:pt>
          <cx:pt idx="60672">4</cx:pt>
          <cx:pt idx="60673">3</cx:pt>
          <cx:pt idx="60674">1</cx:pt>
          <cx:pt idx="60675">5</cx:pt>
          <cx:pt idx="60676">2</cx:pt>
          <cx:pt idx="60677">3</cx:pt>
          <cx:pt idx="60678">5</cx:pt>
          <cx:pt idx="60679">4</cx:pt>
          <cx:pt idx="60680">2</cx:pt>
          <cx:pt idx="60681">5</cx:pt>
          <cx:pt idx="60682">1</cx:pt>
          <cx:pt idx="60683">3</cx:pt>
          <cx:pt idx="60684">4</cx:pt>
          <cx:pt idx="60685">5</cx:pt>
          <cx:pt idx="60686">5</cx:pt>
          <cx:pt idx="60687">3</cx:pt>
          <cx:pt idx="60688">1</cx:pt>
          <cx:pt idx="60689">2</cx:pt>
          <cx:pt idx="60690">2</cx:pt>
          <cx:pt idx="60691">3</cx:pt>
          <cx:pt idx="60692">4</cx:pt>
          <cx:pt idx="60693">5</cx:pt>
          <cx:pt idx="60694">1</cx:pt>
          <cx:pt idx="60695">3</cx:pt>
          <cx:pt idx="60696">4</cx:pt>
          <cx:pt idx="60697">1</cx:pt>
          <cx:pt idx="60698">5</cx:pt>
          <cx:pt idx="60699">4</cx:pt>
          <cx:pt idx="60700">3</cx:pt>
          <cx:pt idx="60701">4</cx:pt>
          <cx:pt idx="60702">2</cx:pt>
          <cx:pt idx="60703">1</cx:pt>
          <cx:pt idx="60704">4</cx:pt>
          <cx:pt idx="60705">2</cx:pt>
          <cx:pt idx="60706">4</cx:pt>
          <cx:pt idx="60707">3</cx:pt>
          <cx:pt idx="60708">4</cx:pt>
          <cx:pt idx="60709">4</cx:pt>
          <cx:pt idx="60710">4</cx:pt>
          <cx:pt idx="60711">3</cx:pt>
          <cx:pt idx="60712">5</cx:pt>
          <cx:pt idx="60713">3</cx:pt>
          <cx:pt idx="60714">3</cx:pt>
          <cx:pt idx="60715">1</cx:pt>
          <cx:pt idx="60716">4</cx:pt>
          <cx:pt idx="60717">5</cx:pt>
          <cx:pt idx="60718">2</cx:pt>
          <cx:pt idx="60719">4</cx:pt>
          <cx:pt idx="60720">3</cx:pt>
          <cx:pt idx="60721">2</cx:pt>
          <cx:pt idx="60722">3</cx:pt>
          <cx:pt idx="60723">3</cx:pt>
          <cx:pt idx="60724">5</cx:pt>
          <cx:pt idx="60725">4</cx:pt>
          <cx:pt idx="60726">4</cx:pt>
          <cx:pt idx="60727">5</cx:pt>
          <cx:pt idx="60728">5</cx:pt>
          <cx:pt idx="60729">3</cx:pt>
          <cx:pt idx="60730">1</cx:pt>
          <cx:pt idx="60731">5</cx:pt>
          <cx:pt idx="60732">5</cx:pt>
          <cx:pt idx="60733">4</cx:pt>
          <cx:pt idx="60734">1</cx:pt>
          <cx:pt idx="60735">3</cx:pt>
          <cx:pt idx="60736">1</cx:pt>
          <cx:pt idx="60737">3</cx:pt>
          <cx:pt idx="60738">4</cx:pt>
          <cx:pt idx="60739">3</cx:pt>
          <cx:pt idx="60740">2</cx:pt>
          <cx:pt idx="60741">4</cx:pt>
          <cx:pt idx="60742">5</cx:pt>
          <cx:pt idx="60743">1</cx:pt>
          <cx:pt idx="60744">5</cx:pt>
          <cx:pt idx="60745">2</cx:pt>
          <cx:pt idx="60746">3</cx:pt>
          <cx:pt idx="60747">1</cx:pt>
          <cx:pt idx="60748">5</cx:pt>
          <cx:pt idx="60749">4</cx:pt>
          <cx:pt idx="60750">4</cx:pt>
          <cx:pt idx="60751">5</cx:pt>
          <cx:pt idx="60752">4</cx:pt>
          <cx:pt idx="60753">5</cx:pt>
          <cx:pt idx="60754">2</cx:pt>
          <cx:pt idx="60755">4</cx:pt>
          <cx:pt idx="60756">4</cx:pt>
          <cx:pt idx="60757">4</cx:pt>
          <cx:pt idx="60758">5</cx:pt>
          <cx:pt idx="60759">5</cx:pt>
          <cx:pt idx="60760">4</cx:pt>
          <cx:pt idx="60761">1</cx:pt>
          <cx:pt idx="60762">3</cx:pt>
          <cx:pt idx="60763">4</cx:pt>
          <cx:pt idx="60764">5</cx:pt>
          <cx:pt idx="60765">5</cx:pt>
          <cx:pt idx="60766">3</cx:pt>
          <cx:pt idx="60767">5</cx:pt>
          <cx:pt idx="60768">1</cx:pt>
          <cx:pt idx="60769">3</cx:pt>
          <cx:pt idx="60770">1</cx:pt>
          <cx:pt idx="60771">4</cx:pt>
          <cx:pt idx="60772">4</cx:pt>
          <cx:pt idx="60773">4</cx:pt>
          <cx:pt idx="60774">2</cx:pt>
          <cx:pt idx="60775">2</cx:pt>
          <cx:pt idx="60776">5</cx:pt>
          <cx:pt idx="60777">5</cx:pt>
          <cx:pt idx="60778">4</cx:pt>
          <cx:pt idx="60779">4</cx:pt>
          <cx:pt idx="60780">5</cx:pt>
          <cx:pt idx="60781">5</cx:pt>
          <cx:pt idx="60782">5</cx:pt>
          <cx:pt idx="60783">4</cx:pt>
          <cx:pt idx="60784">4</cx:pt>
          <cx:pt idx="60785">5</cx:pt>
          <cx:pt idx="60786">3</cx:pt>
          <cx:pt idx="60787">3</cx:pt>
          <cx:pt idx="60788">5</cx:pt>
          <cx:pt idx="60789">1</cx:pt>
          <cx:pt idx="60790">3</cx:pt>
          <cx:pt idx="60791">4</cx:pt>
          <cx:pt idx="60792">3</cx:pt>
          <cx:pt idx="60793">4</cx:pt>
          <cx:pt idx="60794">4</cx:pt>
          <cx:pt idx="60795">1</cx:pt>
          <cx:pt idx="60796">3</cx:pt>
          <cx:pt idx="60797">2</cx:pt>
          <cx:pt idx="60798">5</cx:pt>
          <cx:pt idx="60799">3</cx:pt>
          <cx:pt idx="60800">1</cx:pt>
          <cx:pt idx="60801">4</cx:pt>
          <cx:pt idx="60802">1</cx:pt>
          <cx:pt idx="60803">5</cx:pt>
          <cx:pt idx="60804">1</cx:pt>
          <cx:pt idx="60805">2</cx:pt>
          <cx:pt idx="60806">4</cx:pt>
          <cx:pt idx="60807">1</cx:pt>
          <cx:pt idx="60808">1</cx:pt>
          <cx:pt idx="60809">5</cx:pt>
          <cx:pt idx="60810">3</cx:pt>
          <cx:pt idx="60811">3</cx:pt>
          <cx:pt idx="60812">3</cx:pt>
          <cx:pt idx="60813">3</cx:pt>
          <cx:pt idx="60814">4</cx:pt>
          <cx:pt idx="60815">4</cx:pt>
          <cx:pt idx="60816">4</cx:pt>
          <cx:pt idx="60817">5</cx:pt>
          <cx:pt idx="60818">3</cx:pt>
          <cx:pt idx="60819">2</cx:pt>
          <cx:pt idx="60820">4</cx:pt>
          <cx:pt idx="60821">3</cx:pt>
          <cx:pt idx="60822">5</cx:pt>
          <cx:pt idx="60823">4</cx:pt>
          <cx:pt idx="60824">4</cx:pt>
          <cx:pt idx="60825">4</cx:pt>
          <cx:pt idx="60826">4</cx:pt>
          <cx:pt idx="60827">4</cx:pt>
          <cx:pt idx="60828">2</cx:pt>
          <cx:pt idx="60829">1</cx:pt>
          <cx:pt idx="60830">4</cx:pt>
          <cx:pt idx="60831">3</cx:pt>
          <cx:pt idx="60832">5</cx:pt>
          <cx:pt idx="60833">4</cx:pt>
          <cx:pt idx="60834">5</cx:pt>
          <cx:pt idx="60835">3</cx:pt>
          <cx:pt idx="60836">2</cx:pt>
          <cx:pt idx="60837">5</cx:pt>
          <cx:pt idx="60838">2</cx:pt>
          <cx:pt idx="60839">4</cx:pt>
          <cx:pt idx="60840">4</cx:pt>
          <cx:pt idx="60841">3</cx:pt>
          <cx:pt idx="60842">4</cx:pt>
          <cx:pt idx="60843">5</cx:pt>
          <cx:pt idx="60844">4</cx:pt>
          <cx:pt idx="60845">3</cx:pt>
          <cx:pt idx="60846">3</cx:pt>
          <cx:pt idx="60847">5</cx:pt>
          <cx:pt idx="60848">5</cx:pt>
          <cx:pt idx="60849">1</cx:pt>
          <cx:pt idx="60850">4</cx:pt>
          <cx:pt idx="60851">2</cx:pt>
          <cx:pt idx="60852">5</cx:pt>
          <cx:pt idx="60853">4</cx:pt>
          <cx:pt idx="60854">3</cx:pt>
          <cx:pt idx="60855">3</cx:pt>
          <cx:pt idx="60856">4</cx:pt>
          <cx:pt idx="60857">1</cx:pt>
          <cx:pt idx="60858">4</cx:pt>
          <cx:pt idx="60859">5</cx:pt>
          <cx:pt idx="60860">2</cx:pt>
          <cx:pt idx="60861">3</cx:pt>
          <cx:pt idx="60862">4</cx:pt>
          <cx:pt idx="60863">3</cx:pt>
          <cx:pt idx="60864">4</cx:pt>
          <cx:pt idx="60865">1</cx:pt>
          <cx:pt idx="60866">2</cx:pt>
          <cx:pt idx="60867">4</cx:pt>
          <cx:pt idx="60868">1</cx:pt>
          <cx:pt idx="60869">3</cx:pt>
          <cx:pt idx="60870">4</cx:pt>
          <cx:pt idx="60871">4</cx:pt>
          <cx:pt idx="60872">1</cx:pt>
          <cx:pt idx="60873">4</cx:pt>
          <cx:pt idx="60874">5</cx:pt>
          <cx:pt idx="60875">5</cx:pt>
          <cx:pt idx="60876">3</cx:pt>
          <cx:pt idx="60877">3</cx:pt>
          <cx:pt idx="60878">5</cx:pt>
          <cx:pt idx="60879">3</cx:pt>
          <cx:pt idx="60880">4</cx:pt>
          <cx:pt idx="60881">3</cx:pt>
          <cx:pt idx="60882">3</cx:pt>
          <cx:pt idx="60883">4</cx:pt>
          <cx:pt idx="60884">4</cx:pt>
          <cx:pt idx="60885">2</cx:pt>
          <cx:pt idx="60886">3</cx:pt>
          <cx:pt idx="60887">2</cx:pt>
          <cx:pt idx="60888">3</cx:pt>
          <cx:pt idx="60889">4</cx:pt>
          <cx:pt idx="60890">4</cx:pt>
          <cx:pt idx="60891">2</cx:pt>
          <cx:pt idx="60892">1</cx:pt>
          <cx:pt idx="60893">5</cx:pt>
          <cx:pt idx="60894">2</cx:pt>
          <cx:pt idx="60895">3</cx:pt>
          <cx:pt idx="60896">1</cx:pt>
          <cx:pt idx="60897">4</cx:pt>
          <cx:pt idx="60898">4</cx:pt>
          <cx:pt idx="60899">2</cx:pt>
          <cx:pt idx="60900">3</cx:pt>
          <cx:pt idx="60901">1</cx:pt>
          <cx:pt idx="60902">5</cx:pt>
          <cx:pt idx="60903">4</cx:pt>
          <cx:pt idx="60904">1</cx:pt>
          <cx:pt idx="60905">3</cx:pt>
          <cx:pt idx="60906">2</cx:pt>
          <cx:pt idx="60907">4</cx:pt>
          <cx:pt idx="60908">4</cx:pt>
          <cx:pt idx="60909">2</cx:pt>
          <cx:pt idx="60910">5</cx:pt>
          <cx:pt idx="60911">5</cx:pt>
          <cx:pt idx="60912">5</cx:pt>
          <cx:pt idx="60913">4</cx:pt>
          <cx:pt idx="60914">3</cx:pt>
          <cx:pt idx="60915">4</cx:pt>
          <cx:pt idx="60916">1</cx:pt>
          <cx:pt idx="60917">3</cx:pt>
          <cx:pt idx="60918">4</cx:pt>
          <cx:pt idx="60919">4</cx:pt>
          <cx:pt idx="60920">3</cx:pt>
          <cx:pt idx="60921">5</cx:pt>
          <cx:pt idx="60922">2</cx:pt>
          <cx:pt idx="60923">5</cx:pt>
          <cx:pt idx="60924">5</cx:pt>
          <cx:pt idx="60925">3</cx:pt>
          <cx:pt idx="60926">1</cx:pt>
          <cx:pt idx="60927">5</cx:pt>
          <cx:pt idx="60928">2</cx:pt>
          <cx:pt idx="60929">4</cx:pt>
          <cx:pt idx="60930">5</cx:pt>
          <cx:pt idx="60931">4</cx:pt>
          <cx:pt idx="60932">3</cx:pt>
          <cx:pt idx="60933">4</cx:pt>
          <cx:pt idx="60934">5</cx:pt>
          <cx:pt idx="60935">4</cx:pt>
          <cx:pt idx="60936">4</cx:pt>
          <cx:pt idx="60937">5</cx:pt>
          <cx:pt idx="60938">2</cx:pt>
          <cx:pt idx="60939">4</cx:pt>
          <cx:pt idx="60940">4</cx:pt>
          <cx:pt idx="60941">2</cx:pt>
          <cx:pt idx="60942">1</cx:pt>
          <cx:pt idx="60943">4</cx:pt>
          <cx:pt idx="60944">2</cx:pt>
          <cx:pt idx="60945">4</cx:pt>
          <cx:pt idx="60946">4</cx:pt>
          <cx:pt idx="60947">5</cx:pt>
          <cx:pt idx="60948">5</cx:pt>
          <cx:pt idx="60949">3</cx:pt>
          <cx:pt idx="60950">1</cx:pt>
          <cx:pt idx="60951">5</cx:pt>
          <cx:pt idx="60952">5</cx:pt>
          <cx:pt idx="60953">4</cx:pt>
          <cx:pt idx="60954">5</cx:pt>
          <cx:pt idx="60955">1</cx:pt>
          <cx:pt idx="60956">5</cx:pt>
          <cx:pt idx="60957">3</cx:pt>
          <cx:pt idx="60958">5</cx:pt>
          <cx:pt idx="60959">4</cx:pt>
          <cx:pt idx="60960">2</cx:pt>
          <cx:pt idx="60961">2</cx:pt>
          <cx:pt idx="60962">3</cx:pt>
          <cx:pt idx="60963">4</cx:pt>
          <cx:pt idx="60964">4</cx:pt>
          <cx:pt idx="60965">3</cx:pt>
          <cx:pt idx="60966">5</cx:pt>
          <cx:pt idx="60967">4</cx:pt>
          <cx:pt idx="60968">5</cx:pt>
          <cx:pt idx="60969">2</cx:pt>
          <cx:pt idx="60970">4</cx:pt>
          <cx:pt idx="60971">4</cx:pt>
          <cx:pt idx="60972">4</cx:pt>
          <cx:pt idx="60973">3</cx:pt>
          <cx:pt idx="60974">3</cx:pt>
          <cx:pt idx="60975">5</cx:pt>
          <cx:pt idx="60976">5</cx:pt>
          <cx:pt idx="60977">4</cx:pt>
          <cx:pt idx="60978">4</cx:pt>
          <cx:pt idx="60979">5</cx:pt>
          <cx:pt idx="60980">3</cx:pt>
          <cx:pt idx="60981">3</cx:pt>
          <cx:pt idx="60982">2</cx:pt>
          <cx:pt idx="60983">3</cx:pt>
          <cx:pt idx="60984">3</cx:pt>
          <cx:pt idx="60985">4</cx:pt>
          <cx:pt idx="60986">1</cx:pt>
          <cx:pt idx="60987">3</cx:pt>
          <cx:pt idx="60988">4</cx:pt>
          <cx:pt idx="60989">4</cx:pt>
          <cx:pt idx="60990">4</cx:pt>
          <cx:pt idx="60991">4</cx:pt>
          <cx:pt idx="60992">1</cx:pt>
          <cx:pt idx="60993">5</cx:pt>
          <cx:pt idx="60994">4</cx:pt>
          <cx:pt idx="60995">3</cx:pt>
          <cx:pt idx="60996">5</cx:pt>
          <cx:pt idx="60997">2</cx:pt>
          <cx:pt idx="60998">1</cx:pt>
          <cx:pt idx="60999">5</cx:pt>
          <cx:pt idx="61000">5</cx:pt>
          <cx:pt idx="61001">2</cx:pt>
          <cx:pt idx="61002">3</cx:pt>
          <cx:pt idx="61003">5</cx:pt>
          <cx:pt idx="61004">4</cx:pt>
          <cx:pt idx="61005">2</cx:pt>
          <cx:pt idx="61006">5</cx:pt>
          <cx:pt idx="61007">3</cx:pt>
          <cx:pt idx="61008">1</cx:pt>
          <cx:pt idx="61009">4</cx:pt>
          <cx:pt idx="61010">5</cx:pt>
          <cx:pt idx="61011">4</cx:pt>
          <cx:pt idx="61012">2</cx:pt>
          <cx:pt idx="61013">3</cx:pt>
          <cx:pt idx="61014">2</cx:pt>
          <cx:pt idx="61015">5</cx:pt>
          <cx:pt idx="61016">2</cx:pt>
          <cx:pt idx="61017">4</cx:pt>
          <cx:pt idx="61018">5</cx:pt>
          <cx:pt idx="61019">5</cx:pt>
          <cx:pt idx="61020">2</cx:pt>
          <cx:pt idx="61021">4</cx:pt>
          <cx:pt idx="61022">1</cx:pt>
          <cx:pt idx="61023">4</cx:pt>
          <cx:pt idx="61024">4</cx:pt>
          <cx:pt idx="61025">4</cx:pt>
          <cx:pt idx="61026">5</cx:pt>
          <cx:pt idx="61027">2</cx:pt>
          <cx:pt idx="61028">5</cx:pt>
          <cx:pt idx="61029">4</cx:pt>
          <cx:pt idx="61030">5</cx:pt>
          <cx:pt idx="61031">2</cx:pt>
          <cx:pt idx="61032">1</cx:pt>
          <cx:pt idx="61033">3</cx:pt>
          <cx:pt idx="61034">4</cx:pt>
          <cx:pt idx="61035">3</cx:pt>
          <cx:pt idx="61036">3</cx:pt>
          <cx:pt idx="61037">3</cx:pt>
          <cx:pt idx="61038">4</cx:pt>
          <cx:pt idx="61039">4</cx:pt>
          <cx:pt idx="61040">3</cx:pt>
          <cx:pt idx="61041">3</cx:pt>
          <cx:pt idx="61042">1</cx:pt>
          <cx:pt idx="61043">4</cx:pt>
          <cx:pt idx="61044">4</cx:pt>
          <cx:pt idx="61045">4</cx:pt>
          <cx:pt idx="61046">3</cx:pt>
          <cx:pt idx="61047">4</cx:pt>
          <cx:pt idx="61048">4</cx:pt>
          <cx:pt idx="61049">5</cx:pt>
          <cx:pt idx="61050">3</cx:pt>
          <cx:pt idx="61051">2</cx:pt>
          <cx:pt idx="61052">4</cx:pt>
          <cx:pt idx="61053">4</cx:pt>
          <cx:pt idx="61054">3</cx:pt>
          <cx:pt idx="61055">1</cx:pt>
          <cx:pt idx="61056">5</cx:pt>
          <cx:pt idx="61057">4</cx:pt>
          <cx:pt idx="61058">4</cx:pt>
          <cx:pt idx="61059">5</cx:pt>
          <cx:pt idx="61060">5</cx:pt>
          <cx:pt idx="61061">4</cx:pt>
          <cx:pt idx="61062">2</cx:pt>
          <cx:pt idx="61063">4</cx:pt>
          <cx:pt idx="61064">2</cx:pt>
          <cx:pt idx="61065">5</cx:pt>
          <cx:pt idx="61066">5</cx:pt>
          <cx:pt idx="61067">4</cx:pt>
          <cx:pt idx="61068">5</cx:pt>
          <cx:pt idx="61069">1</cx:pt>
          <cx:pt idx="61070">4</cx:pt>
          <cx:pt idx="61071">2</cx:pt>
          <cx:pt idx="61072">4</cx:pt>
          <cx:pt idx="61073">2</cx:pt>
          <cx:pt idx="61074">3</cx:pt>
          <cx:pt idx="61075">4</cx:pt>
          <cx:pt idx="61076">2</cx:pt>
          <cx:pt idx="61077">3</cx:pt>
          <cx:pt idx="61078">5</cx:pt>
          <cx:pt idx="61079">1</cx:pt>
          <cx:pt idx="61080">2</cx:pt>
          <cx:pt idx="61081">3</cx:pt>
          <cx:pt idx="61082">1</cx:pt>
          <cx:pt idx="61083">5</cx:pt>
          <cx:pt idx="61084">4</cx:pt>
          <cx:pt idx="61085">5</cx:pt>
          <cx:pt idx="61086">3</cx:pt>
          <cx:pt idx="61087">4</cx:pt>
          <cx:pt idx="61088">2</cx:pt>
          <cx:pt idx="61089">1</cx:pt>
          <cx:pt idx="61090">5</cx:pt>
          <cx:pt idx="61091">5</cx:pt>
          <cx:pt idx="61092">2</cx:pt>
          <cx:pt idx="61093">2</cx:pt>
          <cx:pt idx="61094">5</cx:pt>
          <cx:pt idx="61095">3</cx:pt>
          <cx:pt idx="61096">4</cx:pt>
          <cx:pt idx="61097">4</cx:pt>
          <cx:pt idx="61098">5</cx:pt>
          <cx:pt idx="61099">3</cx:pt>
          <cx:pt idx="61100">4</cx:pt>
          <cx:pt idx="61101">2</cx:pt>
          <cx:pt idx="61102">2</cx:pt>
          <cx:pt idx="61103">2</cx:pt>
          <cx:pt idx="61104">5</cx:pt>
          <cx:pt idx="61105">1</cx:pt>
          <cx:pt idx="61106">5</cx:pt>
          <cx:pt idx="61107">3</cx:pt>
          <cx:pt idx="61108">1</cx:pt>
          <cx:pt idx="61109">5</cx:pt>
          <cx:pt idx="61110">4</cx:pt>
          <cx:pt idx="61111">3</cx:pt>
          <cx:pt idx="61112">3</cx:pt>
          <cx:pt idx="61113">5</cx:pt>
          <cx:pt idx="61114">3</cx:pt>
          <cx:pt idx="61115">4</cx:pt>
          <cx:pt idx="61116">2</cx:pt>
          <cx:pt idx="61117">1</cx:pt>
          <cx:pt idx="61118">3</cx:pt>
          <cx:pt idx="61119">2</cx:pt>
          <cx:pt idx="61120">1</cx:pt>
          <cx:pt idx="61121">3</cx:pt>
          <cx:pt idx="61122">1</cx:pt>
          <cx:pt idx="61123">3</cx:pt>
          <cx:pt idx="61124">3</cx:pt>
          <cx:pt idx="61125">3</cx:pt>
          <cx:pt idx="61126">4</cx:pt>
          <cx:pt idx="61127">2</cx:pt>
          <cx:pt idx="61128">4</cx:pt>
          <cx:pt idx="61129">4</cx:pt>
          <cx:pt idx="61130">2</cx:pt>
          <cx:pt idx="61131">3</cx:pt>
          <cx:pt idx="61132">2</cx:pt>
          <cx:pt idx="61133">2</cx:pt>
          <cx:pt idx="61134">1</cx:pt>
          <cx:pt idx="61135">3</cx:pt>
          <cx:pt idx="61136">4</cx:pt>
          <cx:pt idx="61137">3</cx:pt>
          <cx:pt idx="61138">5</cx:pt>
          <cx:pt idx="61139">2</cx:pt>
          <cx:pt idx="61140">1</cx:pt>
          <cx:pt idx="61141">3</cx:pt>
          <cx:pt idx="61142">4</cx:pt>
          <cx:pt idx="61143">2</cx:pt>
          <cx:pt idx="61144">5</cx:pt>
          <cx:pt idx="61145">3</cx:pt>
          <cx:pt idx="61146">4</cx:pt>
          <cx:pt idx="61147">3</cx:pt>
          <cx:pt idx="61148">4</cx:pt>
          <cx:pt idx="61149">3</cx:pt>
          <cx:pt idx="61150">1</cx:pt>
          <cx:pt idx="61151">5</cx:pt>
          <cx:pt idx="61152">2</cx:pt>
          <cx:pt idx="61153">3</cx:pt>
          <cx:pt idx="61154">1</cx:pt>
          <cx:pt idx="61155">2</cx:pt>
          <cx:pt idx="61156">1</cx:pt>
          <cx:pt idx="61157">2</cx:pt>
          <cx:pt idx="61158">3</cx:pt>
          <cx:pt idx="61159">2</cx:pt>
          <cx:pt idx="61160">4</cx:pt>
          <cx:pt idx="61161">3</cx:pt>
          <cx:pt idx="61162">5</cx:pt>
          <cx:pt idx="61163">4</cx:pt>
          <cx:pt idx="61164">1</cx:pt>
          <cx:pt idx="61165">5</cx:pt>
          <cx:pt idx="61166">3</cx:pt>
          <cx:pt idx="61167">5</cx:pt>
          <cx:pt idx="61168">4</cx:pt>
          <cx:pt idx="61169">4</cx:pt>
          <cx:pt idx="61170">4</cx:pt>
          <cx:pt idx="61171">4</cx:pt>
          <cx:pt idx="61172">3</cx:pt>
          <cx:pt idx="61173">4</cx:pt>
          <cx:pt idx="61174">5</cx:pt>
          <cx:pt idx="61175">4</cx:pt>
          <cx:pt idx="61176">4</cx:pt>
          <cx:pt idx="61177">2</cx:pt>
          <cx:pt idx="61178">2</cx:pt>
          <cx:pt idx="61179">1</cx:pt>
          <cx:pt idx="61180">2</cx:pt>
          <cx:pt idx="61181">5</cx:pt>
          <cx:pt idx="61182">2</cx:pt>
          <cx:pt idx="61183">4</cx:pt>
          <cx:pt idx="61184">2</cx:pt>
          <cx:pt idx="61185">4</cx:pt>
          <cx:pt idx="61186">5</cx:pt>
          <cx:pt idx="61187">1</cx:pt>
          <cx:pt idx="61188">5</cx:pt>
          <cx:pt idx="61189">4</cx:pt>
          <cx:pt idx="61190">2</cx:pt>
          <cx:pt idx="61191">2</cx:pt>
          <cx:pt idx="61192">2</cx:pt>
          <cx:pt idx="61193">2</cx:pt>
          <cx:pt idx="61194">3</cx:pt>
          <cx:pt idx="61195">2</cx:pt>
          <cx:pt idx="61196">3</cx:pt>
          <cx:pt idx="61197">3</cx:pt>
          <cx:pt idx="61198">3</cx:pt>
          <cx:pt idx="61199">2</cx:pt>
          <cx:pt idx="61200">4</cx:pt>
          <cx:pt idx="61201">1</cx:pt>
          <cx:pt idx="61202">4</cx:pt>
          <cx:pt idx="61203">4</cx:pt>
          <cx:pt idx="61204">5</cx:pt>
          <cx:pt idx="61205">2</cx:pt>
          <cx:pt idx="61206">5</cx:pt>
          <cx:pt idx="61207">2</cx:pt>
          <cx:pt idx="61208">5</cx:pt>
          <cx:pt idx="61209">1</cx:pt>
          <cx:pt idx="61210">2</cx:pt>
          <cx:pt idx="61211">4</cx:pt>
          <cx:pt idx="61212">2</cx:pt>
          <cx:pt idx="61213">5</cx:pt>
          <cx:pt idx="61214">2</cx:pt>
          <cx:pt idx="61215">3</cx:pt>
          <cx:pt idx="61216">2</cx:pt>
          <cx:pt idx="61217">4</cx:pt>
          <cx:pt idx="61218">3</cx:pt>
          <cx:pt idx="61219">4</cx:pt>
          <cx:pt idx="61220">2</cx:pt>
          <cx:pt idx="61221">5</cx:pt>
          <cx:pt idx="61222">4</cx:pt>
          <cx:pt idx="61223">5</cx:pt>
          <cx:pt idx="61224">4</cx:pt>
          <cx:pt idx="61225">1</cx:pt>
          <cx:pt idx="61226">3</cx:pt>
          <cx:pt idx="61227">3</cx:pt>
          <cx:pt idx="61228">4</cx:pt>
          <cx:pt idx="61229">1</cx:pt>
          <cx:pt idx="61230">4</cx:pt>
          <cx:pt idx="61231">3</cx:pt>
          <cx:pt idx="61232">5</cx:pt>
          <cx:pt idx="61233">5</cx:pt>
          <cx:pt idx="61234">5</cx:pt>
          <cx:pt idx="61235">1</cx:pt>
          <cx:pt idx="61236">5</cx:pt>
          <cx:pt idx="61237">5</cx:pt>
          <cx:pt idx="61238">2</cx:pt>
          <cx:pt idx="61239">5</cx:pt>
          <cx:pt idx="61240">2</cx:pt>
          <cx:pt idx="61241">2</cx:pt>
          <cx:pt idx="61242">1</cx:pt>
          <cx:pt idx="61243">2</cx:pt>
          <cx:pt idx="61244">5</cx:pt>
          <cx:pt idx="61245">1</cx:pt>
          <cx:pt idx="61246">2</cx:pt>
          <cx:pt idx="61247">5</cx:pt>
          <cx:pt idx="61248">2</cx:pt>
          <cx:pt idx="61249">5</cx:pt>
          <cx:pt idx="61250">4</cx:pt>
          <cx:pt idx="61251">2</cx:pt>
          <cx:pt idx="61252">4</cx:pt>
          <cx:pt idx="61253">3</cx:pt>
          <cx:pt idx="61254">4</cx:pt>
          <cx:pt idx="61255">4</cx:pt>
          <cx:pt idx="61256">3</cx:pt>
          <cx:pt idx="61257">4</cx:pt>
          <cx:pt idx="61258">1</cx:pt>
          <cx:pt idx="61259">4</cx:pt>
          <cx:pt idx="61260">3</cx:pt>
          <cx:pt idx="61261">2</cx:pt>
          <cx:pt idx="61262">3</cx:pt>
          <cx:pt idx="61263">3</cx:pt>
          <cx:pt idx="61264">1</cx:pt>
          <cx:pt idx="61265">3</cx:pt>
          <cx:pt idx="61266">3</cx:pt>
          <cx:pt idx="61267">5</cx:pt>
          <cx:pt idx="61268">1</cx:pt>
          <cx:pt idx="61269">3</cx:pt>
          <cx:pt idx="61270">3</cx:pt>
          <cx:pt idx="61271">5</cx:pt>
          <cx:pt idx="61272">4</cx:pt>
          <cx:pt idx="61273">2</cx:pt>
          <cx:pt idx="61274">3</cx:pt>
          <cx:pt idx="61275">1</cx:pt>
          <cx:pt idx="61276">5</cx:pt>
          <cx:pt idx="61277">3</cx:pt>
          <cx:pt idx="61278">1</cx:pt>
          <cx:pt idx="61279">2</cx:pt>
          <cx:pt idx="61280">5</cx:pt>
          <cx:pt idx="61281">5</cx:pt>
          <cx:pt idx="61282">5</cx:pt>
          <cx:pt idx="61283">5</cx:pt>
          <cx:pt idx="61284">1</cx:pt>
          <cx:pt idx="61285">3</cx:pt>
          <cx:pt idx="61286">3</cx:pt>
          <cx:pt idx="61287">3</cx:pt>
          <cx:pt idx="61288">2</cx:pt>
          <cx:pt idx="61289">4</cx:pt>
          <cx:pt idx="61290">2</cx:pt>
          <cx:pt idx="61291">5</cx:pt>
          <cx:pt idx="61292">1</cx:pt>
          <cx:pt idx="61293">4</cx:pt>
          <cx:pt idx="61294">4</cx:pt>
          <cx:pt idx="61295">5</cx:pt>
          <cx:pt idx="61296">4</cx:pt>
          <cx:pt idx="61297">5</cx:pt>
          <cx:pt idx="61298">4</cx:pt>
          <cx:pt idx="61299">5</cx:pt>
          <cx:pt idx="61300">5</cx:pt>
          <cx:pt idx="61301">5</cx:pt>
          <cx:pt idx="61302">5</cx:pt>
          <cx:pt idx="61303">2</cx:pt>
          <cx:pt idx="61304">3</cx:pt>
          <cx:pt idx="61305">5</cx:pt>
          <cx:pt idx="61306">4</cx:pt>
          <cx:pt idx="61307">4</cx:pt>
          <cx:pt idx="61308">4</cx:pt>
          <cx:pt idx="61309">4</cx:pt>
          <cx:pt idx="61310">4</cx:pt>
          <cx:pt idx="61311">5</cx:pt>
          <cx:pt idx="61312">4</cx:pt>
          <cx:pt idx="61313">4</cx:pt>
          <cx:pt idx="61314">2</cx:pt>
          <cx:pt idx="61315">5</cx:pt>
          <cx:pt idx="61316">4</cx:pt>
          <cx:pt idx="61317">2</cx:pt>
          <cx:pt idx="61318">3</cx:pt>
          <cx:pt idx="61319">2</cx:pt>
          <cx:pt idx="61320">2</cx:pt>
          <cx:pt idx="61321">3</cx:pt>
          <cx:pt idx="61322">5</cx:pt>
          <cx:pt idx="61323">3</cx:pt>
          <cx:pt idx="61324">2</cx:pt>
          <cx:pt idx="61325">3</cx:pt>
          <cx:pt idx="61326">3</cx:pt>
          <cx:pt idx="61327">1</cx:pt>
          <cx:pt idx="61328">1</cx:pt>
          <cx:pt idx="61329">5</cx:pt>
          <cx:pt idx="61330">5</cx:pt>
          <cx:pt idx="61331">5</cx:pt>
          <cx:pt idx="61332">5</cx:pt>
          <cx:pt idx="61333">5</cx:pt>
          <cx:pt idx="61334">4</cx:pt>
          <cx:pt idx="61335">5</cx:pt>
          <cx:pt idx="61336">4</cx:pt>
          <cx:pt idx="61337">4</cx:pt>
          <cx:pt idx="61338">3</cx:pt>
          <cx:pt idx="61339">4</cx:pt>
          <cx:pt idx="61340">5</cx:pt>
          <cx:pt idx="61341">4</cx:pt>
          <cx:pt idx="61342">4</cx:pt>
          <cx:pt idx="61343">2</cx:pt>
          <cx:pt idx="61344">3</cx:pt>
          <cx:pt idx="61345">2</cx:pt>
          <cx:pt idx="61346">5</cx:pt>
          <cx:pt idx="61347">5</cx:pt>
          <cx:pt idx="61348">5</cx:pt>
          <cx:pt idx="61349">4</cx:pt>
          <cx:pt idx="61350">3</cx:pt>
          <cx:pt idx="61351">1</cx:pt>
          <cx:pt idx="61352">2</cx:pt>
          <cx:pt idx="61353">3</cx:pt>
          <cx:pt idx="61354">5</cx:pt>
          <cx:pt idx="61355">5</cx:pt>
          <cx:pt idx="61356">4</cx:pt>
          <cx:pt idx="61357">5</cx:pt>
          <cx:pt idx="61358">2</cx:pt>
          <cx:pt idx="61359">4</cx:pt>
          <cx:pt idx="61360">4</cx:pt>
          <cx:pt idx="61361">3</cx:pt>
          <cx:pt idx="61362">5</cx:pt>
          <cx:pt idx="61363">5</cx:pt>
          <cx:pt idx="61364">1</cx:pt>
          <cx:pt idx="61365">5</cx:pt>
          <cx:pt idx="61366">5</cx:pt>
          <cx:pt idx="61367">4</cx:pt>
          <cx:pt idx="61368">5</cx:pt>
          <cx:pt idx="61369">5</cx:pt>
          <cx:pt idx="61370">4</cx:pt>
          <cx:pt idx="61371">4</cx:pt>
          <cx:pt idx="61372">4</cx:pt>
          <cx:pt idx="61373">3</cx:pt>
          <cx:pt idx="61374">2</cx:pt>
          <cx:pt idx="61375">1</cx:pt>
          <cx:pt idx="61376">4</cx:pt>
          <cx:pt idx="61377">1</cx:pt>
          <cx:pt idx="61378">3</cx:pt>
          <cx:pt idx="61379">4</cx:pt>
          <cx:pt idx="61380">2</cx:pt>
          <cx:pt idx="61381">5</cx:pt>
          <cx:pt idx="61382">4</cx:pt>
          <cx:pt idx="61383">1</cx:pt>
          <cx:pt idx="61384">1</cx:pt>
          <cx:pt idx="61385">4</cx:pt>
          <cx:pt idx="61386">2</cx:pt>
          <cx:pt idx="61387">2</cx:pt>
          <cx:pt idx="61388">2</cx:pt>
          <cx:pt idx="61389">4</cx:pt>
          <cx:pt idx="61390">4</cx:pt>
          <cx:pt idx="61391">3</cx:pt>
          <cx:pt idx="61392">4</cx:pt>
          <cx:pt idx="61393">5</cx:pt>
          <cx:pt idx="61394">4</cx:pt>
          <cx:pt idx="61395">5</cx:pt>
          <cx:pt idx="61396">5</cx:pt>
          <cx:pt idx="61397">4</cx:pt>
          <cx:pt idx="61398">2</cx:pt>
          <cx:pt idx="61399">4</cx:pt>
          <cx:pt idx="61400">4</cx:pt>
          <cx:pt idx="61401">4</cx:pt>
          <cx:pt idx="61402">3</cx:pt>
          <cx:pt idx="61403">2</cx:pt>
          <cx:pt idx="61404">5</cx:pt>
          <cx:pt idx="61405">4</cx:pt>
          <cx:pt idx="61406">1</cx:pt>
          <cx:pt idx="61407">3</cx:pt>
          <cx:pt idx="61408">3</cx:pt>
          <cx:pt idx="61409">5</cx:pt>
          <cx:pt idx="61410">5</cx:pt>
          <cx:pt idx="61411">4</cx:pt>
          <cx:pt idx="61412">1</cx:pt>
          <cx:pt idx="61413">5</cx:pt>
          <cx:pt idx="61414">4</cx:pt>
          <cx:pt idx="61415">2</cx:pt>
          <cx:pt idx="61416">3</cx:pt>
          <cx:pt idx="61417">4</cx:pt>
          <cx:pt idx="61418">4</cx:pt>
          <cx:pt idx="61419">5</cx:pt>
          <cx:pt idx="61420">2</cx:pt>
          <cx:pt idx="61421">2</cx:pt>
          <cx:pt idx="61422">5</cx:pt>
          <cx:pt idx="61423">5</cx:pt>
          <cx:pt idx="61424">1</cx:pt>
          <cx:pt idx="61425">1</cx:pt>
          <cx:pt idx="61426">2</cx:pt>
          <cx:pt idx="61427">3</cx:pt>
          <cx:pt idx="61428">1</cx:pt>
          <cx:pt idx="61429">5</cx:pt>
          <cx:pt idx="61430">4</cx:pt>
          <cx:pt idx="61431">5</cx:pt>
          <cx:pt idx="61432">4</cx:pt>
          <cx:pt idx="61433">5</cx:pt>
          <cx:pt idx="61434">4</cx:pt>
          <cx:pt idx="61435">4</cx:pt>
          <cx:pt idx="61436">5</cx:pt>
          <cx:pt idx="61437">1</cx:pt>
          <cx:pt idx="61438">1</cx:pt>
          <cx:pt idx="61439">5</cx:pt>
          <cx:pt idx="61440">4</cx:pt>
          <cx:pt idx="61441">5</cx:pt>
          <cx:pt idx="61442">4</cx:pt>
          <cx:pt idx="61443">4</cx:pt>
          <cx:pt idx="61444">2</cx:pt>
          <cx:pt idx="61445">2</cx:pt>
          <cx:pt idx="61446">1</cx:pt>
          <cx:pt idx="61447">3</cx:pt>
          <cx:pt idx="61448">4</cx:pt>
          <cx:pt idx="61449">5</cx:pt>
          <cx:pt idx="61450">3</cx:pt>
          <cx:pt idx="61451">4</cx:pt>
          <cx:pt idx="61452">2</cx:pt>
          <cx:pt idx="61453">4</cx:pt>
          <cx:pt idx="61454">4</cx:pt>
          <cx:pt idx="61455">5</cx:pt>
          <cx:pt idx="61456">1</cx:pt>
          <cx:pt idx="61457">4</cx:pt>
          <cx:pt idx="61458">3</cx:pt>
          <cx:pt idx="61459">5</cx:pt>
          <cx:pt idx="61460">3</cx:pt>
          <cx:pt idx="61461">5</cx:pt>
          <cx:pt idx="61462">4</cx:pt>
          <cx:pt idx="61463">4</cx:pt>
          <cx:pt idx="61464">3</cx:pt>
          <cx:pt idx="61465">3</cx:pt>
          <cx:pt idx="61466">4</cx:pt>
          <cx:pt idx="61467">5</cx:pt>
          <cx:pt idx="61468">4</cx:pt>
          <cx:pt idx="61469">1</cx:pt>
          <cx:pt idx="61470">4</cx:pt>
          <cx:pt idx="61471">3</cx:pt>
          <cx:pt idx="61472">4</cx:pt>
          <cx:pt idx="61473">4</cx:pt>
          <cx:pt idx="61474">3</cx:pt>
          <cx:pt idx="61475">2</cx:pt>
          <cx:pt idx="61476">5</cx:pt>
          <cx:pt idx="61477">3</cx:pt>
          <cx:pt idx="61478">4</cx:pt>
          <cx:pt idx="61479">1</cx:pt>
          <cx:pt idx="61480">3</cx:pt>
          <cx:pt idx="61481">3</cx:pt>
          <cx:pt idx="61482">4</cx:pt>
          <cx:pt idx="61483">1</cx:pt>
          <cx:pt idx="61484">2</cx:pt>
          <cx:pt idx="61485">3</cx:pt>
          <cx:pt idx="61486">4</cx:pt>
          <cx:pt idx="61487">2</cx:pt>
          <cx:pt idx="61488">4</cx:pt>
          <cx:pt idx="61489">4</cx:pt>
          <cx:pt idx="61490">5</cx:pt>
          <cx:pt idx="61491">5</cx:pt>
          <cx:pt idx="61492">2</cx:pt>
          <cx:pt idx="61493">5</cx:pt>
          <cx:pt idx="61494">3</cx:pt>
          <cx:pt idx="61495">4</cx:pt>
          <cx:pt idx="61496">5</cx:pt>
          <cx:pt idx="61497">4</cx:pt>
          <cx:pt idx="61498">4</cx:pt>
          <cx:pt idx="61499">4</cx:pt>
          <cx:pt idx="61500">4</cx:pt>
          <cx:pt idx="61501">2</cx:pt>
          <cx:pt idx="61502">2</cx:pt>
          <cx:pt idx="61503">4</cx:pt>
          <cx:pt idx="61504">2</cx:pt>
          <cx:pt idx="61505">5</cx:pt>
          <cx:pt idx="61506">2</cx:pt>
          <cx:pt idx="61507">3</cx:pt>
          <cx:pt idx="61508">4</cx:pt>
          <cx:pt idx="61509">4</cx:pt>
          <cx:pt idx="61510">4</cx:pt>
          <cx:pt idx="61511">4</cx:pt>
          <cx:pt idx="61512">2</cx:pt>
          <cx:pt idx="61513">4</cx:pt>
          <cx:pt idx="61514">4</cx:pt>
          <cx:pt idx="61515">4</cx:pt>
          <cx:pt idx="61516">5</cx:pt>
          <cx:pt idx="61517">1</cx:pt>
          <cx:pt idx="61518">2</cx:pt>
          <cx:pt idx="61519">1</cx:pt>
          <cx:pt idx="61520">5</cx:pt>
          <cx:pt idx="61521">2</cx:pt>
          <cx:pt idx="61522">5</cx:pt>
          <cx:pt idx="61523">1</cx:pt>
          <cx:pt idx="61524">3</cx:pt>
          <cx:pt idx="61525">3</cx:pt>
          <cx:pt idx="61526">3</cx:pt>
          <cx:pt idx="61527">1</cx:pt>
          <cx:pt idx="61528">5</cx:pt>
          <cx:pt idx="61529">3</cx:pt>
          <cx:pt idx="61530">2</cx:pt>
          <cx:pt idx="61531">3</cx:pt>
          <cx:pt idx="61532">5</cx:pt>
          <cx:pt idx="61533">3</cx:pt>
          <cx:pt idx="61534">1</cx:pt>
          <cx:pt idx="61535">4</cx:pt>
          <cx:pt idx="61536">3</cx:pt>
          <cx:pt idx="61537">5</cx:pt>
          <cx:pt idx="61538">3</cx:pt>
          <cx:pt idx="61539">1</cx:pt>
          <cx:pt idx="61540">5</cx:pt>
          <cx:pt idx="61541">2</cx:pt>
          <cx:pt idx="61542">3</cx:pt>
          <cx:pt idx="61543">5</cx:pt>
          <cx:pt idx="61544">4</cx:pt>
          <cx:pt idx="61545">4</cx:pt>
          <cx:pt idx="61546">5</cx:pt>
          <cx:pt idx="61547">5</cx:pt>
          <cx:pt idx="61548">5</cx:pt>
          <cx:pt idx="61549">5</cx:pt>
          <cx:pt idx="61550">2</cx:pt>
          <cx:pt idx="61551">5</cx:pt>
          <cx:pt idx="61552">3</cx:pt>
          <cx:pt idx="61553">5</cx:pt>
          <cx:pt idx="61554">5</cx:pt>
          <cx:pt idx="61555">3</cx:pt>
          <cx:pt idx="61556">1</cx:pt>
          <cx:pt idx="61557">4</cx:pt>
          <cx:pt idx="61558">1</cx:pt>
          <cx:pt idx="61559">4</cx:pt>
          <cx:pt idx="61560">3</cx:pt>
          <cx:pt idx="61561">2</cx:pt>
          <cx:pt idx="61562">1</cx:pt>
          <cx:pt idx="61563">5</cx:pt>
          <cx:pt idx="61564">3</cx:pt>
          <cx:pt idx="61565">3</cx:pt>
          <cx:pt idx="61566">4</cx:pt>
          <cx:pt idx="61567">4</cx:pt>
          <cx:pt idx="61568">1</cx:pt>
          <cx:pt idx="61569">5</cx:pt>
          <cx:pt idx="61570">4</cx:pt>
          <cx:pt idx="61571">5</cx:pt>
          <cx:pt idx="61572">5</cx:pt>
          <cx:pt idx="61573">4</cx:pt>
          <cx:pt idx="61574">1</cx:pt>
          <cx:pt idx="61575">3</cx:pt>
          <cx:pt idx="61576">5</cx:pt>
          <cx:pt idx="61577">5</cx:pt>
          <cx:pt idx="61578">1</cx:pt>
          <cx:pt idx="61579">2</cx:pt>
          <cx:pt idx="61580">2</cx:pt>
          <cx:pt idx="61581">4</cx:pt>
          <cx:pt idx="61582">4</cx:pt>
          <cx:pt idx="61583">5</cx:pt>
          <cx:pt idx="61584">4</cx:pt>
          <cx:pt idx="61585">3</cx:pt>
          <cx:pt idx="61586">3</cx:pt>
          <cx:pt idx="61587">2</cx:pt>
          <cx:pt idx="61588">4</cx:pt>
          <cx:pt idx="61589">4</cx:pt>
          <cx:pt idx="61590">4</cx:pt>
          <cx:pt idx="61591">4</cx:pt>
          <cx:pt idx="61592">4</cx:pt>
          <cx:pt idx="61593">4</cx:pt>
          <cx:pt idx="61594">3</cx:pt>
          <cx:pt idx="61595">3</cx:pt>
          <cx:pt idx="61596">3</cx:pt>
          <cx:pt idx="61597">5</cx:pt>
          <cx:pt idx="61598">2</cx:pt>
          <cx:pt idx="61599">4</cx:pt>
          <cx:pt idx="61600">4</cx:pt>
          <cx:pt idx="61601">4</cx:pt>
          <cx:pt idx="61602">3</cx:pt>
          <cx:pt idx="61603">3</cx:pt>
          <cx:pt idx="61604">5</cx:pt>
          <cx:pt idx="61605">1</cx:pt>
          <cx:pt idx="61606">4</cx:pt>
          <cx:pt idx="61607">5</cx:pt>
          <cx:pt idx="61608">3</cx:pt>
          <cx:pt idx="61609">3</cx:pt>
          <cx:pt idx="61610">5</cx:pt>
          <cx:pt idx="61611">5</cx:pt>
          <cx:pt idx="61612">4</cx:pt>
          <cx:pt idx="61613">4</cx:pt>
          <cx:pt idx="61614">1</cx:pt>
          <cx:pt idx="61615">2</cx:pt>
          <cx:pt idx="61616">5</cx:pt>
          <cx:pt idx="61617">1</cx:pt>
          <cx:pt idx="61618">4</cx:pt>
          <cx:pt idx="61619">4</cx:pt>
          <cx:pt idx="61620">4</cx:pt>
          <cx:pt idx="61621">3</cx:pt>
          <cx:pt idx="61622">4</cx:pt>
          <cx:pt idx="61623">4</cx:pt>
          <cx:pt idx="61624">4</cx:pt>
          <cx:pt idx="61625">1</cx:pt>
          <cx:pt idx="61626">4</cx:pt>
          <cx:pt idx="61627">3</cx:pt>
          <cx:pt idx="61628">5</cx:pt>
          <cx:pt idx="61629">4</cx:pt>
          <cx:pt idx="61630">3</cx:pt>
          <cx:pt idx="61631">1</cx:pt>
          <cx:pt idx="61632">4</cx:pt>
          <cx:pt idx="61633">5</cx:pt>
          <cx:pt idx="61634">4</cx:pt>
          <cx:pt idx="61635">4</cx:pt>
          <cx:pt idx="61636">3</cx:pt>
          <cx:pt idx="61637">3</cx:pt>
          <cx:pt idx="61638">3</cx:pt>
          <cx:pt idx="61639">3</cx:pt>
          <cx:pt idx="61640">5</cx:pt>
          <cx:pt idx="61641">4</cx:pt>
          <cx:pt idx="61642">1</cx:pt>
          <cx:pt idx="61643">5</cx:pt>
          <cx:pt idx="61644">4</cx:pt>
          <cx:pt idx="61645">3</cx:pt>
          <cx:pt idx="61646">5</cx:pt>
          <cx:pt idx="61647">3</cx:pt>
          <cx:pt idx="61648">4</cx:pt>
          <cx:pt idx="61649">4</cx:pt>
          <cx:pt idx="61650">4</cx:pt>
          <cx:pt idx="61651">2</cx:pt>
          <cx:pt idx="61652">1</cx:pt>
          <cx:pt idx="61653">4</cx:pt>
          <cx:pt idx="61654">5</cx:pt>
          <cx:pt idx="61655">3</cx:pt>
          <cx:pt idx="61656">4</cx:pt>
          <cx:pt idx="61657">4</cx:pt>
          <cx:pt idx="61658">5</cx:pt>
          <cx:pt idx="61659">3</cx:pt>
          <cx:pt idx="61660">3</cx:pt>
          <cx:pt idx="61661">4</cx:pt>
          <cx:pt idx="61662">4</cx:pt>
          <cx:pt idx="61663">1</cx:pt>
          <cx:pt idx="61664">2</cx:pt>
          <cx:pt idx="61665">5</cx:pt>
          <cx:pt idx="61666">3</cx:pt>
          <cx:pt idx="61667">4</cx:pt>
          <cx:pt idx="61668">3</cx:pt>
          <cx:pt idx="61669">5</cx:pt>
          <cx:pt idx="61670">5</cx:pt>
          <cx:pt idx="61671">2</cx:pt>
          <cx:pt idx="61672">5</cx:pt>
          <cx:pt idx="61673">5</cx:pt>
          <cx:pt idx="61674">4</cx:pt>
          <cx:pt idx="61675">3</cx:pt>
          <cx:pt idx="61676">3</cx:pt>
          <cx:pt idx="61677">2</cx:pt>
          <cx:pt idx="61678">1</cx:pt>
          <cx:pt idx="61679">5</cx:pt>
          <cx:pt idx="61680">3</cx:pt>
          <cx:pt idx="61681">5</cx:pt>
          <cx:pt idx="61682">1</cx:pt>
          <cx:pt idx="61683">4</cx:pt>
          <cx:pt idx="61684">5</cx:pt>
          <cx:pt idx="61685">3</cx:pt>
          <cx:pt idx="61686">5</cx:pt>
          <cx:pt idx="61687">3</cx:pt>
          <cx:pt idx="61688">4</cx:pt>
          <cx:pt idx="61689">3</cx:pt>
          <cx:pt idx="61690">3</cx:pt>
          <cx:pt idx="61691">3</cx:pt>
          <cx:pt idx="61692">4</cx:pt>
          <cx:pt idx="61693">2</cx:pt>
          <cx:pt idx="61694">1</cx:pt>
          <cx:pt idx="61695">4</cx:pt>
          <cx:pt idx="61696">3</cx:pt>
          <cx:pt idx="61697">5</cx:pt>
          <cx:pt idx="61698">4</cx:pt>
          <cx:pt idx="61699">4</cx:pt>
          <cx:pt idx="61700">4</cx:pt>
          <cx:pt idx="61701">1</cx:pt>
          <cx:pt idx="61702">4</cx:pt>
          <cx:pt idx="61703">5</cx:pt>
          <cx:pt idx="61704">3</cx:pt>
          <cx:pt idx="61705">1</cx:pt>
          <cx:pt idx="61706">4</cx:pt>
          <cx:pt idx="61707">5</cx:pt>
          <cx:pt idx="61708">5</cx:pt>
          <cx:pt idx="61709">3</cx:pt>
          <cx:pt idx="61710">5</cx:pt>
          <cx:pt idx="61711">3</cx:pt>
          <cx:pt idx="61712">5</cx:pt>
          <cx:pt idx="61713">5</cx:pt>
          <cx:pt idx="61714">3</cx:pt>
          <cx:pt idx="61715">2</cx:pt>
          <cx:pt idx="61716">3</cx:pt>
          <cx:pt idx="61717">3</cx:pt>
          <cx:pt idx="61718">3</cx:pt>
          <cx:pt idx="61719">4</cx:pt>
          <cx:pt idx="61720">5</cx:pt>
          <cx:pt idx="61721">3</cx:pt>
          <cx:pt idx="61722">5</cx:pt>
          <cx:pt idx="61723">5</cx:pt>
          <cx:pt idx="61724">5</cx:pt>
          <cx:pt idx="61725">4</cx:pt>
          <cx:pt idx="61726">3</cx:pt>
          <cx:pt idx="61727">2</cx:pt>
          <cx:pt idx="61728">3</cx:pt>
          <cx:pt idx="61729">3</cx:pt>
          <cx:pt idx="61730">3</cx:pt>
          <cx:pt idx="61731">2</cx:pt>
          <cx:pt idx="61732">3</cx:pt>
          <cx:pt idx="61733">5</cx:pt>
          <cx:pt idx="61734">4</cx:pt>
          <cx:pt idx="61735">3</cx:pt>
          <cx:pt idx="61736">2</cx:pt>
          <cx:pt idx="61737">2</cx:pt>
          <cx:pt idx="61738">5</cx:pt>
          <cx:pt idx="61739">1</cx:pt>
          <cx:pt idx="61740">4</cx:pt>
          <cx:pt idx="61741">5</cx:pt>
          <cx:pt idx="61742">3</cx:pt>
          <cx:pt idx="61743">4</cx:pt>
          <cx:pt idx="61744">2</cx:pt>
          <cx:pt idx="61745">2</cx:pt>
          <cx:pt idx="61746">3</cx:pt>
          <cx:pt idx="61747">5</cx:pt>
          <cx:pt idx="61748">3</cx:pt>
          <cx:pt idx="61749">4</cx:pt>
          <cx:pt idx="61750">3</cx:pt>
          <cx:pt idx="61751">3</cx:pt>
          <cx:pt idx="61752">2</cx:pt>
          <cx:pt idx="61753">3</cx:pt>
          <cx:pt idx="61754">1</cx:pt>
          <cx:pt idx="61755">2</cx:pt>
          <cx:pt idx="61756">2</cx:pt>
          <cx:pt idx="61757">3</cx:pt>
          <cx:pt idx="61758">2</cx:pt>
          <cx:pt idx="61759">5</cx:pt>
          <cx:pt idx="61760">5</cx:pt>
          <cx:pt idx="61761">5</cx:pt>
          <cx:pt idx="61762">2</cx:pt>
          <cx:pt idx="61763">2</cx:pt>
          <cx:pt idx="61764">4</cx:pt>
          <cx:pt idx="61765">5</cx:pt>
          <cx:pt idx="61766">5</cx:pt>
          <cx:pt idx="61767">2</cx:pt>
          <cx:pt idx="61768">3</cx:pt>
          <cx:pt idx="61769">4</cx:pt>
          <cx:pt idx="61770">5</cx:pt>
          <cx:pt idx="61771">2</cx:pt>
          <cx:pt idx="61772">4</cx:pt>
          <cx:pt idx="61773">4</cx:pt>
          <cx:pt idx="61774">5</cx:pt>
          <cx:pt idx="61775">5</cx:pt>
          <cx:pt idx="61776">4</cx:pt>
          <cx:pt idx="61777">1</cx:pt>
          <cx:pt idx="61778">3</cx:pt>
          <cx:pt idx="61779">5</cx:pt>
          <cx:pt idx="61780">3</cx:pt>
          <cx:pt idx="61781">3</cx:pt>
          <cx:pt idx="61782">4</cx:pt>
          <cx:pt idx="61783">1</cx:pt>
          <cx:pt idx="61784">1</cx:pt>
          <cx:pt idx="61785">5</cx:pt>
          <cx:pt idx="61786">5</cx:pt>
          <cx:pt idx="61787">5</cx:pt>
          <cx:pt idx="61788">1</cx:pt>
          <cx:pt idx="61789">3</cx:pt>
          <cx:pt idx="61790">3</cx:pt>
          <cx:pt idx="61791">4</cx:pt>
          <cx:pt idx="61792">4</cx:pt>
          <cx:pt idx="61793">4</cx:pt>
          <cx:pt idx="61794">3</cx:pt>
          <cx:pt idx="61795">5</cx:pt>
          <cx:pt idx="61796">4</cx:pt>
          <cx:pt idx="61797">4</cx:pt>
          <cx:pt idx="61798">5</cx:pt>
          <cx:pt idx="61799">5</cx:pt>
          <cx:pt idx="61800">4</cx:pt>
          <cx:pt idx="61801">4</cx:pt>
          <cx:pt idx="61802">5</cx:pt>
          <cx:pt idx="61803">5</cx:pt>
          <cx:pt idx="61804">4</cx:pt>
          <cx:pt idx="61805">2</cx:pt>
          <cx:pt idx="61806">5</cx:pt>
          <cx:pt idx="61807">4</cx:pt>
          <cx:pt idx="61808">4</cx:pt>
          <cx:pt idx="61809">2</cx:pt>
          <cx:pt idx="61810">4</cx:pt>
          <cx:pt idx="61811">5</cx:pt>
          <cx:pt idx="61812">5</cx:pt>
          <cx:pt idx="61813">5</cx:pt>
          <cx:pt idx="61814">2</cx:pt>
          <cx:pt idx="61815">5</cx:pt>
          <cx:pt idx="61816">5</cx:pt>
          <cx:pt idx="61817">4</cx:pt>
          <cx:pt idx="61818">5</cx:pt>
          <cx:pt idx="61819">3</cx:pt>
          <cx:pt idx="61820">3</cx:pt>
          <cx:pt idx="61821">5</cx:pt>
          <cx:pt idx="61822">3</cx:pt>
          <cx:pt idx="61823">4</cx:pt>
          <cx:pt idx="61824">3</cx:pt>
          <cx:pt idx="61825">1</cx:pt>
          <cx:pt idx="61826">4</cx:pt>
          <cx:pt idx="61827">3</cx:pt>
          <cx:pt idx="61828">5</cx:pt>
          <cx:pt idx="61829">3</cx:pt>
          <cx:pt idx="61830">3</cx:pt>
          <cx:pt idx="61831">5</cx:pt>
          <cx:pt idx="61832">2</cx:pt>
          <cx:pt idx="61833">5</cx:pt>
          <cx:pt idx="61834">1</cx:pt>
          <cx:pt idx="61835">5</cx:pt>
          <cx:pt idx="61836">1</cx:pt>
          <cx:pt idx="61837">5</cx:pt>
          <cx:pt idx="61838">3</cx:pt>
          <cx:pt idx="61839">1</cx:pt>
          <cx:pt idx="61840">4</cx:pt>
          <cx:pt idx="61841">4</cx:pt>
          <cx:pt idx="61842">5</cx:pt>
          <cx:pt idx="61843">2</cx:pt>
          <cx:pt idx="61844">3</cx:pt>
          <cx:pt idx="61845">5</cx:pt>
          <cx:pt idx="61846">3</cx:pt>
          <cx:pt idx="61847">4</cx:pt>
          <cx:pt idx="61848">3</cx:pt>
          <cx:pt idx="61849">5</cx:pt>
          <cx:pt idx="61850">3</cx:pt>
          <cx:pt idx="61851">5</cx:pt>
          <cx:pt idx="61852">4</cx:pt>
          <cx:pt idx="61853">3</cx:pt>
          <cx:pt idx="61854">5</cx:pt>
          <cx:pt idx="61855">5</cx:pt>
          <cx:pt idx="61856">2</cx:pt>
          <cx:pt idx="61857">5</cx:pt>
          <cx:pt idx="61858">4</cx:pt>
          <cx:pt idx="61859">4</cx:pt>
          <cx:pt idx="61860">2</cx:pt>
          <cx:pt idx="61861">5</cx:pt>
          <cx:pt idx="61862">4</cx:pt>
          <cx:pt idx="61863">4</cx:pt>
          <cx:pt idx="61864">5</cx:pt>
          <cx:pt idx="61865">3</cx:pt>
          <cx:pt idx="61866">2</cx:pt>
          <cx:pt idx="61867">1</cx:pt>
          <cx:pt idx="61868">2</cx:pt>
          <cx:pt idx="61869">2</cx:pt>
          <cx:pt idx="61870">2</cx:pt>
          <cx:pt idx="61871">4</cx:pt>
          <cx:pt idx="61872">5</cx:pt>
          <cx:pt idx="61873">2</cx:pt>
          <cx:pt idx="61874">5</cx:pt>
          <cx:pt idx="61875">3</cx:pt>
          <cx:pt idx="61876">4</cx:pt>
          <cx:pt idx="61877">3</cx:pt>
          <cx:pt idx="61878">4</cx:pt>
          <cx:pt idx="61879">4</cx:pt>
          <cx:pt idx="61880">2</cx:pt>
          <cx:pt idx="61881">5</cx:pt>
          <cx:pt idx="61882">4</cx:pt>
          <cx:pt idx="61883">2</cx:pt>
          <cx:pt idx="61884">4</cx:pt>
          <cx:pt idx="61885">2</cx:pt>
          <cx:pt idx="61886">1</cx:pt>
          <cx:pt idx="61887">4</cx:pt>
          <cx:pt idx="61888">2</cx:pt>
          <cx:pt idx="61889">5</cx:pt>
          <cx:pt idx="61890">5</cx:pt>
          <cx:pt idx="61891">5</cx:pt>
          <cx:pt idx="61892">2</cx:pt>
          <cx:pt idx="61893">2</cx:pt>
          <cx:pt idx="61894">1</cx:pt>
          <cx:pt idx="61895">4</cx:pt>
          <cx:pt idx="61896">4</cx:pt>
          <cx:pt idx="61897">5</cx:pt>
          <cx:pt idx="61898">1</cx:pt>
          <cx:pt idx="61899">3</cx:pt>
          <cx:pt idx="61900">3</cx:pt>
          <cx:pt idx="61901">5</cx:pt>
          <cx:pt idx="61902">1</cx:pt>
          <cx:pt idx="61903">2</cx:pt>
          <cx:pt idx="61904">3</cx:pt>
          <cx:pt idx="61905">2</cx:pt>
          <cx:pt idx="61906">5</cx:pt>
          <cx:pt idx="61907">1</cx:pt>
          <cx:pt idx="61908">3</cx:pt>
          <cx:pt idx="61909">2</cx:pt>
          <cx:pt idx="61910">5</cx:pt>
          <cx:pt idx="61911">3</cx:pt>
          <cx:pt idx="61912">3</cx:pt>
          <cx:pt idx="61913">5</cx:pt>
          <cx:pt idx="61914">4</cx:pt>
          <cx:pt idx="61915">5</cx:pt>
          <cx:pt idx="61916">4</cx:pt>
          <cx:pt idx="61917">4</cx:pt>
          <cx:pt idx="61918">2</cx:pt>
          <cx:pt idx="61919">4</cx:pt>
          <cx:pt idx="61920">4</cx:pt>
          <cx:pt idx="61921">4</cx:pt>
          <cx:pt idx="61922">2</cx:pt>
          <cx:pt idx="61923">4</cx:pt>
          <cx:pt idx="61924">5</cx:pt>
          <cx:pt idx="61925">4</cx:pt>
          <cx:pt idx="61926">5</cx:pt>
          <cx:pt idx="61927">5</cx:pt>
          <cx:pt idx="61928">4</cx:pt>
          <cx:pt idx="61929">5</cx:pt>
          <cx:pt idx="61930">4</cx:pt>
          <cx:pt idx="61931">4</cx:pt>
          <cx:pt idx="61932">4</cx:pt>
          <cx:pt idx="61933">1</cx:pt>
          <cx:pt idx="61934">1</cx:pt>
          <cx:pt idx="61935">5</cx:pt>
          <cx:pt idx="61936">5</cx:pt>
          <cx:pt idx="61937">4</cx:pt>
          <cx:pt idx="61938">1</cx:pt>
          <cx:pt idx="61939">1</cx:pt>
          <cx:pt idx="61940">4</cx:pt>
          <cx:pt idx="61941">3</cx:pt>
          <cx:pt idx="61942">1</cx:pt>
          <cx:pt idx="61943">5</cx:pt>
          <cx:pt idx="61944">2</cx:pt>
          <cx:pt idx="61945">2</cx:pt>
          <cx:pt idx="61946">3</cx:pt>
          <cx:pt idx="61947">3</cx:pt>
          <cx:pt idx="61948">5</cx:pt>
          <cx:pt idx="61949">3</cx:pt>
          <cx:pt idx="61950">3</cx:pt>
          <cx:pt idx="61951">1</cx:pt>
          <cx:pt idx="61952">4</cx:pt>
          <cx:pt idx="61953">3</cx:pt>
          <cx:pt idx="61954">2</cx:pt>
          <cx:pt idx="61955">4</cx:pt>
          <cx:pt idx="61956">1</cx:pt>
          <cx:pt idx="61957">4</cx:pt>
          <cx:pt idx="61958">3</cx:pt>
          <cx:pt idx="61959">1</cx:pt>
          <cx:pt idx="61960">4</cx:pt>
          <cx:pt idx="61961">4</cx:pt>
          <cx:pt idx="61962">3</cx:pt>
          <cx:pt idx="61963">3</cx:pt>
          <cx:pt idx="61964">2</cx:pt>
          <cx:pt idx="61965">4</cx:pt>
          <cx:pt idx="61966">5</cx:pt>
          <cx:pt idx="61967">3</cx:pt>
          <cx:pt idx="61968">3</cx:pt>
          <cx:pt idx="61969">5</cx:pt>
          <cx:pt idx="61970">4</cx:pt>
          <cx:pt idx="61971">1</cx:pt>
          <cx:pt idx="61972">5</cx:pt>
          <cx:pt idx="61973">4</cx:pt>
          <cx:pt idx="61974">5</cx:pt>
          <cx:pt idx="61975">4</cx:pt>
          <cx:pt idx="61976">4</cx:pt>
          <cx:pt idx="61977">1</cx:pt>
          <cx:pt idx="61978">4</cx:pt>
          <cx:pt idx="61979">2</cx:pt>
          <cx:pt idx="61980">1</cx:pt>
          <cx:pt idx="61981">4</cx:pt>
          <cx:pt idx="61982">3</cx:pt>
          <cx:pt idx="61983">5</cx:pt>
          <cx:pt idx="61984">2</cx:pt>
          <cx:pt idx="61985">5</cx:pt>
          <cx:pt idx="61986">3</cx:pt>
          <cx:pt idx="61987">4</cx:pt>
          <cx:pt idx="61988">3</cx:pt>
          <cx:pt idx="61989">3</cx:pt>
          <cx:pt idx="61990">3</cx:pt>
          <cx:pt idx="61991">3</cx:pt>
          <cx:pt idx="61992">3</cx:pt>
          <cx:pt idx="61993">5</cx:pt>
          <cx:pt idx="61994">5</cx:pt>
          <cx:pt idx="61995">2</cx:pt>
          <cx:pt idx="61996">4</cx:pt>
          <cx:pt idx="61997">5</cx:pt>
          <cx:pt idx="61998">5</cx:pt>
          <cx:pt idx="61999">5</cx:pt>
          <cx:pt idx="62000">3</cx:pt>
          <cx:pt idx="62001">3</cx:pt>
          <cx:pt idx="62002">3</cx:pt>
          <cx:pt idx="62003">5</cx:pt>
          <cx:pt idx="62004">4</cx:pt>
          <cx:pt idx="62005">2</cx:pt>
          <cx:pt idx="62006">1</cx:pt>
          <cx:pt idx="62007">5</cx:pt>
          <cx:pt idx="62008">3</cx:pt>
          <cx:pt idx="62009">3</cx:pt>
          <cx:pt idx="62010">5</cx:pt>
          <cx:pt idx="62011">4</cx:pt>
          <cx:pt idx="62012">3</cx:pt>
          <cx:pt idx="62013">2</cx:pt>
          <cx:pt idx="62014">1</cx:pt>
          <cx:pt idx="62015">5</cx:pt>
          <cx:pt idx="62016">3</cx:pt>
          <cx:pt idx="62017">5</cx:pt>
          <cx:pt idx="62018">3</cx:pt>
          <cx:pt idx="62019">2</cx:pt>
          <cx:pt idx="62020">4</cx:pt>
          <cx:pt idx="62021">5</cx:pt>
          <cx:pt idx="62022">2</cx:pt>
          <cx:pt idx="62023">4</cx:pt>
          <cx:pt idx="62024">4</cx:pt>
          <cx:pt idx="62025">2</cx:pt>
          <cx:pt idx="62026">3</cx:pt>
          <cx:pt idx="62027">4</cx:pt>
          <cx:pt idx="62028">5</cx:pt>
          <cx:pt idx="62029">4</cx:pt>
          <cx:pt idx="62030">2</cx:pt>
          <cx:pt idx="62031">4</cx:pt>
          <cx:pt idx="62032">4</cx:pt>
          <cx:pt idx="62033">4</cx:pt>
          <cx:pt idx="62034">2</cx:pt>
          <cx:pt idx="62035">4</cx:pt>
          <cx:pt idx="62036">5</cx:pt>
          <cx:pt idx="62037">2</cx:pt>
          <cx:pt idx="62038">5</cx:pt>
          <cx:pt idx="62039">4</cx:pt>
          <cx:pt idx="62040">3</cx:pt>
          <cx:pt idx="62041">1</cx:pt>
          <cx:pt idx="62042">2</cx:pt>
          <cx:pt idx="62043">5</cx:pt>
          <cx:pt idx="62044">3</cx:pt>
          <cx:pt idx="62045">2</cx:pt>
          <cx:pt idx="62046">4</cx:pt>
          <cx:pt idx="62047">2</cx:pt>
          <cx:pt idx="62048">5</cx:pt>
          <cx:pt idx="62049">2</cx:pt>
          <cx:pt idx="62050">1</cx:pt>
          <cx:pt idx="62051">3</cx:pt>
          <cx:pt idx="62052">5</cx:pt>
          <cx:pt idx="62053">4</cx:pt>
          <cx:pt idx="62054">4</cx:pt>
          <cx:pt idx="62055">2</cx:pt>
          <cx:pt idx="62056">1</cx:pt>
          <cx:pt idx="62057">1</cx:pt>
          <cx:pt idx="62058">1</cx:pt>
          <cx:pt idx="62059">5</cx:pt>
          <cx:pt idx="62060">1</cx:pt>
          <cx:pt idx="62061">4</cx:pt>
          <cx:pt idx="62062">4</cx:pt>
          <cx:pt idx="62063">3</cx:pt>
          <cx:pt idx="62064">4</cx:pt>
          <cx:pt idx="62065">3</cx:pt>
          <cx:pt idx="62066">3</cx:pt>
          <cx:pt idx="62067">5</cx:pt>
          <cx:pt idx="62068">5</cx:pt>
          <cx:pt idx="62069">1</cx:pt>
          <cx:pt idx="62070">5</cx:pt>
          <cx:pt idx="62071">3</cx:pt>
          <cx:pt idx="62072">1</cx:pt>
          <cx:pt idx="62073">3</cx:pt>
          <cx:pt idx="62074">4</cx:pt>
          <cx:pt idx="62075">5</cx:pt>
          <cx:pt idx="62076">3</cx:pt>
          <cx:pt idx="62077">3</cx:pt>
          <cx:pt idx="62078">2</cx:pt>
          <cx:pt idx="62079">3</cx:pt>
          <cx:pt idx="62080">5</cx:pt>
          <cx:pt idx="62081">3</cx:pt>
          <cx:pt idx="62082">2</cx:pt>
          <cx:pt idx="62083">4</cx:pt>
          <cx:pt idx="62084">1</cx:pt>
          <cx:pt idx="62085">4</cx:pt>
          <cx:pt idx="62086">5</cx:pt>
          <cx:pt idx="62087">4</cx:pt>
          <cx:pt idx="62088">2</cx:pt>
          <cx:pt idx="62089">2</cx:pt>
          <cx:pt idx="62090">5</cx:pt>
          <cx:pt idx="62091">5</cx:pt>
          <cx:pt idx="62092">5</cx:pt>
          <cx:pt idx="62093">4</cx:pt>
          <cx:pt idx="62094">1</cx:pt>
          <cx:pt idx="62095">2</cx:pt>
          <cx:pt idx="62096">3</cx:pt>
          <cx:pt idx="62097">4</cx:pt>
          <cx:pt idx="62098">2</cx:pt>
          <cx:pt idx="62099">4</cx:pt>
          <cx:pt idx="62100">1</cx:pt>
          <cx:pt idx="62101">5</cx:pt>
          <cx:pt idx="62102">1</cx:pt>
          <cx:pt idx="62103">1</cx:pt>
          <cx:pt idx="62104">4</cx:pt>
          <cx:pt idx="62105">5</cx:pt>
          <cx:pt idx="62106">1</cx:pt>
          <cx:pt idx="62107">2</cx:pt>
          <cx:pt idx="62108">1</cx:pt>
          <cx:pt idx="62109">1</cx:pt>
          <cx:pt idx="62110">5</cx:pt>
          <cx:pt idx="62111">4</cx:pt>
          <cx:pt idx="62112">4</cx:pt>
          <cx:pt idx="62113">1</cx:pt>
          <cx:pt idx="62114">4</cx:pt>
          <cx:pt idx="62115">2</cx:pt>
          <cx:pt idx="62116">4</cx:pt>
          <cx:pt idx="62117">2</cx:pt>
          <cx:pt idx="62118">3</cx:pt>
          <cx:pt idx="62119">1</cx:pt>
          <cx:pt idx="62120">4</cx:pt>
          <cx:pt idx="62121">2</cx:pt>
          <cx:pt idx="62122">5</cx:pt>
          <cx:pt idx="62123">5</cx:pt>
          <cx:pt idx="62124">5</cx:pt>
          <cx:pt idx="62125">4</cx:pt>
          <cx:pt idx="62126">1</cx:pt>
          <cx:pt idx="62127">4</cx:pt>
          <cx:pt idx="62128">2</cx:pt>
          <cx:pt idx="62129">5</cx:pt>
          <cx:pt idx="62130">4</cx:pt>
          <cx:pt idx="62131">4</cx:pt>
          <cx:pt idx="62132">5</cx:pt>
          <cx:pt idx="62133">4</cx:pt>
          <cx:pt idx="62134">2</cx:pt>
          <cx:pt idx="62135">1</cx:pt>
          <cx:pt idx="62136">2</cx:pt>
          <cx:pt idx="62137">3</cx:pt>
          <cx:pt idx="62138">3</cx:pt>
          <cx:pt idx="62139">5</cx:pt>
          <cx:pt idx="62140">3</cx:pt>
          <cx:pt idx="62141">5</cx:pt>
          <cx:pt idx="62142">5</cx:pt>
          <cx:pt idx="62143">4</cx:pt>
          <cx:pt idx="62144">1</cx:pt>
          <cx:pt idx="62145">4</cx:pt>
          <cx:pt idx="62146">4</cx:pt>
          <cx:pt idx="62147">3</cx:pt>
          <cx:pt idx="62148">4</cx:pt>
          <cx:pt idx="62149">4</cx:pt>
          <cx:pt idx="62150">5</cx:pt>
          <cx:pt idx="62151">2</cx:pt>
          <cx:pt idx="62152">3</cx:pt>
          <cx:pt idx="62153">3</cx:pt>
          <cx:pt idx="62154">4</cx:pt>
          <cx:pt idx="62155">3</cx:pt>
          <cx:pt idx="62156">1</cx:pt>
          <cx:pt idx="62157">4</cx:pt>
          <cx:pt idx="62158">3</cx:pt>
          <cx:pt idx="62159">3</cx:pt>
          <cx:pt idx="62160">4</cx:pt>
          <cx:pt idx="62161">4</cx:pt>
          <cx:pt idx="62162">4</cx:pt>
          <cx:pt idx="62163">4</cx:pt>
          <cx:pt idx="62164">5</cx:pt>
          <cx:pt idx="62165">2</cx:pt>
          <cx:pt idx="62166">5</cx:pt>
          <cx:pt idx="62167">4</cx:pt>
          <cx:pt idx="62168">5</cx:pt>
          <cx:pt idx="62169">4</cx:pt>
          <cx:pt idx="62170">4</cx:pt>
          <cx:pt idx="62171">4</cx:pt>
          <cx:pt idx="62172">2</cx:pt>
          <cx:pt idx="62173">2</cx:pt>
          <cx:pt idx="62174">3</cx:pt>
          <cx:pt idx="62175">3</cx:pt>
          <cx:pt idx="62176">4</cx:pt>
          <cx:pt idx="62177">2</cx:pt>
          <cx:pt idx="62178">4</cx:pt>
          <cx:pt idx="62179">3</cx:pt>
          <cx:pt idx="62180">4</cx:pt>
          <cx:pt idx="62181">5</cx:pt>
          <cx:pt idx="62182">5</cx:pt>
          <cx:pt idx="62183">1</cx:pt>
          <cx:pt idx="62184">4</cx:pt>
          <cx:pt idx="62185">2</cx:pt>
          <cx:pt idx="62186">2</cx:pt>
          <cx:pt idx="62187">2</cx:pt>
          <cx:pt idx="62188">3</cx:pt>
          <cx:pt idx="62189">5</cx:pt>
          <cx:pt idx="62190">4</cx:pt>
          <cx:pt idx="62191">2</cx:pt>
          <cx:pt idx="62192">4</cx:pt>
          <cx:pt idx="62193">4</cx:pt>
          <cx:pt idx="62194">3</cx:pt>
          <cx:pt idx="62195">5</cx:pt>
          <cx:pt idx="62196">4</cx:pt>
          <cx:pt idx="62197">4</cx:pt>
          <cx:pt idx="62198">2</cx:pt>
          <cx:pt idx="62199">2</cx:pt>
          <cx:pt idx="62200">5</cx:pt>
          <cx:pt idx="62201">1</cx:pt>
          <cx:pt idx="62202">1</cx:pt>
          <cx:pt idx="62203">4</cx:pt>
          <cx:pt idx="62204">5</cx:pt>
          <cx:pt idx="62205">4</cx:pt>
          <cx:pt idx="62206">3</cx:pt>
          <cx:pt idx="62207">4</cx:pt>
          <cx:pt idx="62208">5</cx:pt>
          <cx:pt idx="62209">3</cx:pt>
          <cx:pt idx="62210">5</cx:pt>
          <cx:pt idx="62211">3</cx:pt>
          <cx:pt idx="62212">4</cx:pt>
          <cx:pt idx="62213">4</cx:pt>
          <cx:pt idx="62214">5</cx:pt>
          <cx:pt idx="62215">2</cx:pt>
          <cx:pt idx="62216">4</cx:pt>
          <cx:pt idx="62217">5</cx:pt>
          <cx:pt idx="62218">5</cx:pt>
          <cx:pt idx="62219">2</cx:pt>
          <cx:pt idx="62220">1</cx:pt>
          <cx:pt idx="62221">1</cx:pt>
          <cx:pt idx="62222">2</cx:pt>
          <cx:pt idx="62223">4</cx:pt>
          <cx:pt idx="62224">4</cx:pt>
          <cx:pt idx="62225">4</cx:pt>
          <cx:pt idx="62226">4</cx:pt>
          <cx:pt idx="62227">5</cx:pt>
          <cx:pt idx="62228">3</cx:pt>
          <cx:pt idx="62229">5</cx:pt>
          <cx:pt idx="62230">1</cx:pt>
          <cx:pt idx="62231">5</cx:pt>
          <cx:pt idx="62232">1</cx:pt>
          <cx:pt idx="62233">4</cx:pt>
          <cx:pt idx="62234">1</cx:pt>
          <cx:pt idx="62235">2</cx:pt>
          <cx:pt idx="62236">5</cx:pt>
          <cx:pt idx="62237">1</cx:pt>
          <cx:pt idx="62238">5</cx:pt>
          <cx:pt idx="62239">4</cx:pt>
          <cx:pt idx="62240">1</cx:pt>
          <cx:pt idx="62241">4</cx:pt>
          <cx:pt idx="62242">4</cx:pt>
          <cx:pt idx="62243">2</cx:pt>
          <cx:pt idx="62244">3</cx:pt>
          <cx:pt idx="62245">3</cx:pt>
          <cx:pt idx="62246">1</cx:pt>
          <cx:pt idx="62247">4</cx:pt>
          <cx:pt idx="62248">4</cx:pt>
          <cx:pt idx="62249">4</cx:pt>
          <cx:pt idx="62250">2</cx:pt>
          <cx:pt idx="62251">1</cx:pt>
          <cx:pt idx="62252">5</cx:pt>
          <cx:pt idx="62253">4</cx:pt>
          <cx:pt idx="62254">1</cx:pt>
          <cx:pt idx="62255">4</cx:pt>
          <cx:pt idx="62256">4</cx:pt>
          <cx:pt idx="62257">2</cx:pt>
          <cx:pt idx="62258">3</cx:pt>
          <cx:pt idx="62259">4</cx:pt>
          <cx:pt idx="62260">2</cx:pt>
          <cx:pt idx="62261">4</cx:pt>
          <cx:pt idx="62262">5</cx:pt>
          <cx:pt idx="62263">4</cx:pt>
          <cx:pt idx="62264">4</cx:pt>
          <cx:pt idx="62265">5</cx:pt>
          <cx:pt idx="62266">1</cx:pt>
          <cx:pt idx="62267">4</cx:pt>
          <cx:pt idx="62268">2</cx:pt>
          <cx:pt idx="62269">4</cx:pt>
          <cx:pt idx="62270">5</cx:pt>
          <cx:pt idx="62271">4</cx:pt>
          <cx:pt idx="62272">4</cx:pt>
          <cx:pt idx="62273">2</cx:pt>
          <cx:pt idx="62274">3</cx:pt>
          <cx:pt idx="62275">3</cx:pt>
          <cx:pt idx="62276">5</cx:pt>
          <cx:pt idx="62277">3</cx:pt>
          <cx:pt idx="62278">4</cx:pt>
          <cx:pt idx="62279">4</cx:pt>
          <cx:pt idx="62280">4</cx:pt>
          <cx:pt idx="62281">5</cx:pt>
          <cx:pt idx="62282">3</cx:pt>
          <cx:pt idx="62283">4</cx:pt>
          <cx:pt idx="62284">2</cx:pt>
          <cx:pt idx="62285">5</cx:pt>
          <cx:pt idx="62286">4</cx:pt>
          <cx:pt idx="62287">1</cx:pt>
          <cx:pt idx="62288">4</cx:pt>
          <cx:pt idx="62289">5</cx:pt>
          <cx:pt idx="62290">4</cx:pt>
          <cx:pt idx="62291">2</cx:pt>
          <cx:pt idx="62292">3</cx:pt>
          <cx:pt idx="62293">5</cx:pt>
          <cx:pt idx="62294">4</cx:pt>
          <cx:pt idx="62295">3</cx:pt>
          <cx:pt idx="62296">5</cx:pt>
          <cx:pt idx="62297">5</cx:pt>
          <cx:pt idx="62298">3</cx:pt>
          <cx:pt idx="62299">2</cx:pt>
          <cx:pt idx="62300">4</cx:pt>
          <cx:pt idx="62301">4</cx:pt>
          <cx:pt idx="62302">4</cx:pt>
          <cx:pt idx="62303">4</cx:pt>
          <cx:pt idx="62304">4</cx:pt>
          <cx:pt idx="62305">4</cx:pt>
          <cx:pt idx="62306">3</cx:pt>
          <cx:pt idx="62307">5</cx:pt>
          <cx:pt idx="62308">4</cx:pt>
          <cx:pt idx="62309">3</cx:pt>
          <cx:pt idx="62310">4</cx:pt>
          <cx:pt idx="62311">1</cx:pt>
          <cx:pt idx="62312">3</cx:pt>
          <cx:pt idx="62313">3</cx:pt>
          <cx:pt idx="62314">5</cx:pt>
          <cx:pt idx="62315">3</cx:pt>
          <cx:pt idx="62316">4</cx:pt>
          <cx:pt idx="62317">4</cx:pt>
          <cx:pt idx="62318">1</cx:pt>
          <cx:pt idx="62319">4</cx:pt>
          <cx:pt idx="62320">3</cx:pt>
          <cx:pt idx="62321">5</cx:pt>
          <cx:pt idx="62322">3</cx:pt>
          <cx:pt idx="62323">2</cx:pt>
          <cx:pt idx="62324">4</cx:pt>
          <cx:pt idx="62325">4</cx:pt>
          <cx:pt idx="62326">3</cx:pt>
          <cx:pt idx="62327">5</cx:pt>
          <cx:pt idx="62328">2</cx:pt>
          <cx:pt idx="62329">2</cx:pt>
          <cx:pt idx="62330">1</cx:pt>
          <cx:pt idx="62331">1</cx:pt>
          <cx:pt idx="62332">3</cx:pt>
          <cx:pt idx="62333">5</cx:pt>
          <cx:pt idx="62334">5</cx:pt>
          <cx:pt idx="62335">3</cx:pt>
          <cx:pt idx="62336">3</cx:pt>
          <cx:pt idx="62337">2</cx:pt>
          <cx:pt idx="62338">3</cx:pt>
          <cx:pt idx="62339">1</cx:pt>
          <cx:pt idx="62340">3</cx:pt>
          <cx:pt idx="62341">3</cx:pt>
          <cx:pt idx="62342">3</cx:pt>
          <cx:pt idx="62343">2</cx:pt>
          <cx:pt idx="62344">4</cx:pt>
          <cx:pt idx="62345">1</cx:pt>
          <cx:pt idx="62346">3</cx:pt>
          <cx:pt idx="62347">5</cx:pt>
          <cx:pt idx="62348">4</cx:pt>
          <cx:pt idx="62349">5</cx:pt>
          <cx:pt idx="62350">4</cx:pt>
          <cx:pt idx="62351">5</cx:pt>
          <cx:pt idx="62352">5</cx:pt>
          <cx:pt idx="62353">2</cx:pt>
          <cx:pt idx="62354">1</cx:pt>
          <cx:pt idx="62355">1</cx:pt>
          <cx:pt idx="62356">1</cx:pt>
          <cx:pt idx="62357">4</cx:pt>
          <cx:pt idx="62358">5</cx:pt>
          <cx:pt idx="62359">5</cx:pt>
          <cx:pt idx="62360">4</cx:pt>
          <cx:pt idx="62361">1</cx:pt>
          <cx:pt idx="62362">5</cx:pt>
          <cx:pt idx="62363">4</cx:pt>
          <cx:pt idx="62364">4</cx:pt>
          <cx:pt idx="62365">2</cx:pt>
          <cx:pt idx="62366">4</cx:pt>
          <cx:pt idx="62367">3</cx:pt>
          <cx:pt idx="62368">3</cx:pt>
          <cx:pt idx="62369">4</cx:pt>
          <cx:pt idx="62370">2</cx:pt>
          <cx:pt idx="62371">4</cx:pt>
          <cx:pt idx="62372">5</cx:pt>
          <cx:pt idx="62373">4</cx:pt>
          <cx:pt idx="62374">4</cx:pt>
          <cx:pt idx="62375">4</cx:pt>
          <cx:pt idx="62376">5</cx:pt>
          <cx:pt idx="62377">3</cx:pt>
          <cx:pt idx="62378">3</cx:pt>
          <cx:pt idx="62379">4</cx:pt>
          <cx:pt idx="62380">3</cx:pt>
          <cx:pt idx="62381">2</cx:pt>
          <cx:pt idx="62382">4</cx:pt>
          <cx:pt idx="62383">3</cx:pt>
          <cx:pt idx="62384">4</cx:pt>
          <cx:pt idx="62385">5</cx:pt>
          <cx:pt idx="62386">5</cx:pt>
          <cx:pt idx="62387">5</cx:pt>
          <cx:pt idx="62388">3</cx:pt>
          <cx:pt idx="62389">1</cx:pt>
          <cx:pt idx="62390">3</cx:pt>
          <cx:pt idx="62391">3</cx:pt>
          <cx:pt idx="62392">5</cx:pt>
          <cx:pt idx="62393">4</cx:pt>
          <cx:pt idx="62394">5</cx:pt>
          <cx:pt idx="62395">5</cx:pt>
          <cx:pt idx="62396">4</cx:pt>
          <cx:pt idx="62397">5</cx:pt>
          <cx:pt idx="62398">3</cx:pt>
          <cx:pt idx="62399">4</cx:pt>
          <cx:pt idx="62400">2</cx:pt>
          <cx:pt idx="62401">3</cx:pt>
          <cx:pt idx="62402">3</cx:pt>
          <cx:pt idx="62403">5</cx:pt>
          <cx:pt idx="62404">4</cx:pt>
          <cx:pt idx="62405">5</cx:pt>
          <cx:pt idx="62406">4</cx:pt>
          <cx:pt idx="62407">1</cx:pt>
          <cx:pt idx="62408">4</cx:pt>
          <cx:pt idx="62409">5</cx:pt>
          <cx:pt idx="62410">4</cx:pt>
          <cx:pt idx="62411">4</cx:pt>
          <cx:pt idx="62412">4</cx:pt>
          <cx:pt idx="62413">5</cx:pt>
          <cx:pt idx="62414">4</cx:pt>
          <cx:pt idx="62415">3</cx:pt>
          <cx:pt idx="62416">4</cx:pt>
          <cx:pt idx="62417">4</cx:pt>
          <cx:pt idx="62418">5</cx:pt>
          <cx:pt idx="62419">3</cx:pt>
          <cx:pt idx="62420">4</cx:pt>
          <cx:pt idx="62421">3</cx:pt>
          <cx:pt idx="62422">5</cx:pt>
          <cx:pt idx="62423">2</cx:pt>
          <cx:pt idx="62424">3</cx:pt>
          <cx:pt idx="62425">4</cx:pt>
          <cx:pt idx="62426">4</cx:pt>
          <cx:pt idx="62427">4</cx:pt>
          <cx:pt idx="62428">1</cx:pt>
          <cx:pt idx="62429">4</cx:pt>
          <cx:pt idx="62430">4</cx:pt>
          <cx:pt idx="62431">1</cx:pt>
          <cx:pt idx="62432">3</cx:pt>
          <cx:pt idx="62433">4</cx:pt>
          <cx:pt idx="62434">1</cx:pt>
          <cx:pt idx="62435">4</cx:pt>
          <cx:pt idx="62436">1</cx:pt>
          <cx:pt idx="62437">3</cx:pt>
          <cx:pt idx="62438">2</cx:pt>
          <cx:pt idx="62439">5</cx:pt>
          <cx:pt idx="62440">2</cx:pt>
          <cx:pt idx="62441">4</cx:pt>
          <cx:pt idx="62442">5</cx:pt>
          <cx:pt idx="62443">4</cx:pt>
          <cx:pt idx="62444">1</cx:pt>
          <cx:pt idx="62445">2</cx:pt>
          <cx:pt idx="62446">5</cx:pt>
          <cx:pt idx="62447">2</cx:pt>
          <cx:pt idx="62448">4</cx:pt>
          <cx:pt idx="62449">4</cx:pt>
          <cx:pt idx="62450">5</cx:pt>
          <cx:pt idx="62451">4</cx:pt>
          <cx:pt idx="62452">3</cx:pt>
          <cx:pt idx="62453">4</cx:pt>
          <cx:pt idx="62454">5</cx:pt>
          <cx:pt idx="62455">1</cx:pt>
          <cx:pt idx="62456">2</cx:pt>
          <cx:pt idx="62457">4</cx:pt>
          <cx:pt idx="62458">4</cx:pt>
          <cx:pt idx="62459">3</cx:pt>
          <cx:pt idx="62460">1</cx:pt>
          <cx:pt idx="62461">3</cx:pt>
          <cx:pt idx="62462">4</cx:pt>
          <cx:pt idx="62463">5</cx:pt>
          <cx:pt idx="62464">5</cx:pt>
          <cx:pt idx="62465">2</cx:pt>
          <cx:pt idx="62466">1</cx:pt>
          <cx:pt idx="62467">2</cx:pt>
          <cx:pt idx="62468">5</cx:pt>
          <cx:pt idx="62469">5</cx:pt>
          <cx:pt idx="62470">5</cx:pt>
          <cx:pt idx="62471">2</cx:pt>
          <cx:pt idx="62472">4</cx:pt>
          <cx:pt idx="62473">2</cx:pt>
          <cx:pt idx="62474">5</cx:pt>
          <cx:pt idx="62475">2</cx:pt>
          <cx:pt idx="62476">4</cx:pt>
          <cx:pt idx="62477">5</cx:pt>
          <cx:pt idx="62478">4</cx:pt>
          <cx:pt idx="62479">5</cx:pt>
          <cx:pt idx="62480">5</cx:pt>
          <cx:pt idx="62481">4</cx:pt>
          <cx:pt idx="62482">5</cx:pt>
          <cx:pt idx="62483">2</cx:pt>
          <cx:pt idx="62484">5</cx:pt>
          <cx:pt idx="62485">5</cx:pt>
          <cx:pt idx="62486">2</cx:pt>
          <cx:pt idx="62487">4</cx:pt>
          <cx:pt idx="62488">5</cx:pt>
          <cx:pt idx="62489">5</cx:pt>
          <cx:pt idx="62490">5</cx:pt>
          <cx:pt idx="62491">4</cx:pt>
          <cx:pt idx="62492">4</cx:pt>
          <cx:pt idx="62493">1</cx:pt>
          <cx:pt idx="62494">4</cx:pt>
          <cx:pt idx="62495">5</cx:pt>
          <cx:pt idx="62496">3</cx:pt>
          <cx:pt idx="62497">4</cx:pt>
          <cx:pt idx="62498">5</cx:pt>
          <cx:pt idx="62499">2</cx:pt>
          <cx:pt idx="62500">4</cx:pt>
          <cx:pt idx="62501">3</cx:pt>
          <cx:pt idx="62502">4</cx:pt>
          <cx:pt idx="62503">1</cx:pt>
          <cx:pt idx="62504">4</cx:pt>
          <cx:pt idx="62505">3</cx:pt>
          <cx:pt idx="62506">1</cx:pt>
          <cx:pt idx="62507">1</cx:pt>
          <cx:pt idx="62508">1</cx:pt>
          <cx:pt idx="62509">5</cx:pt>
          <cx:pt idx="62510">5</cx:pt>
          <cx:pt idx="62511">4</cx:pt>
          <cx:pt idx="62512">3</cx:pt>
          <cx:pt idx="62513">5</cx:pt>
          <cx:pt idx="62514">3</cx:pt>
          <cx:pt idx="62515">5</cx:pt>
          <cx:pt idx="62516">4</cx:pt>
          <cx:pt idx="62517">5</cx:pt>
          <cx:pt idx="62518">4</cx:pt>
          <cx:pt idx="62519">4</cx:pt>
          <cx:pt idx="62520">2</cx:pt>
          <cx:pt idx="62521">1</cx:pt>
          <cx:pt idx="62522">4</cx:pt>
          <cx:pt idx="62523">4</cx:pt>
          <cx:pt idx="62524">2</cx:pt>
          <cx:pt idx="62525">5</cx:pt>
          <cx:pt idx="62526">5</cx:pt>
          <cx:pt idx="62527">4</cx:pt>
          <cx:pt idx="62528">2</cx:pt>
          <cx:pt idx="62529">1</cx:pt>
          <cx:pt idx="62530">2</cx:pt>
          <cx:pt idx="62531">5</cx:pt>
          <cx:pt idx="62532">3</cx:pt>
          <cx:pt idx="62533">4</cx:pt>
          <cx:pt idx="62534">3</cx:pt>
          <cx:pt idx="62535">3</cx:pt>
          <cx:pt idx="62536">4</cx:pt>
          <cx:pt idx="62537">1</cx:pt>
          <cx:pt idx="62538">5</cx:pt>
          <cx:pt idx="62539">1</cx:pt>
          <cx:pt idx="62540">2</cx:pt>
          <cx:pt idx="62541">3</cx:pt>
          <cx:pt idx="62542">1</cx:pt>
          <cx:pt idx="62543">3</cx:pt>
          <cx:pt idx="62544">3</cx:pt>
          <cx:pt idx="62545">1</cx:pt>
          <cx:pt idx="62546">4</cx:pt>
          <cx:pt idx="62547">1</cx:pt>
          <cx:pt idx="62548">2</cx:pt>
          <cx:pt idx="62549">2</cx:pt>
          <cx:pt idx="62550">3</cx:pt>
          <cx:pt idx="62551">4</cx:pt>
          <cx:pt idx="62552">1</cx:pt>
          <cx:pt idx="62553">1</cx:pt>
          <cx:pt idx="62554">5</cx:pt>
          <cx:pt idx="62555">1</cx:pt>
          <cx:pt idx="62556">4</cx:pt>
          <cx:pt idx="62557">1</cx:pt>
          <cx:pt idx="62558">5</cx:pt>
          <cx:pt idx="62559">5</cx:pt>
          <cx:pt idx="62560">3</cx:pt>
          <cx:pt idx="62561">4</cx:pt>
          <cx:pt idx="62562">5</cx:pt>
          <cx:pt idx="62563">4</cx:pt>
          <cx:pt idx="62564">2</cx:pt>
          <cx:pt idx="62565">5</cx:pt>
          <cx:pt idx="62566">4</cx:pt>
          <cx:pt idx="62567">4</cx:pt>
          <cx:pt idx="62568">3</cx:pt>
          <cx:pt idx="62569">4</cx:pt>
          <cx:pt idx="62570">3</cx:pt>
          <cx:pt idx="62571">5</cx:pt>
          <cx:pt idx="62572">5</cx:pt>
          <cx:pt idx="62573">3</cx:pt>
          <cx:pt idx="62574">5</cx:pt>
          <cx:pt idx="62575">3</cx:pt>
          <cx:pt idx="62576">4</cx:pt>
          <cx:pt idx="62577">1</cx:pt>
          <cx:pt idx="62578">1</cx:pt>
          <cx:pt idx="62579">4</cx:pt>
          <cx:pt idx="62580">5</cx:pt>
          <cx:pt idx="62581">2</cx:pt>
          <cx:pt idx="62582">5</cx:pt>
          <cx:pt idx="62583">5</cx:pt>
          <cx:pt idx="62584">5</cx:pt>
          <cx:pt idx="62585">2</cx:pt>
          <cx:pt idx="62586">5</cx:pt>
          <cx:pt idx="62587">4</cx:pt>
          <cx:pt idx="62588">4</cx:pt>
          <cx:pt idx="62589">2</cx:pt>
          <cx:pt idx="62590">4</cx:pt>
          <cx:pt idx="62591">3</cx:pt>
          <cx:pt idx="62592">1</cx:pt>
          <cx:pt idx="62593">1</cx:pt>
          <cx:pt idx="62594">3</cx:pt>
          <cx:pt idx="62595">5</cx:pt>
          <cx:pt idx="62596">4</cx:pt>
          <cx:pt idx="62597">4</cx:pt>
          <cx:pt idx="62598">4</cx:pt>
          <cx:pt idx="62599">5</cx:pt>
          <cx:pt idx="62600">3</cx:pt>
          <cx:pt idx="62601">5</cx:pt>
          <cx:pt idx="62602">1</cx:pt>
          <cx:pt idx="62603">5</cx:pt>
          <cx:pt idx="62604">5</cx:pt>
          <cx:pt idx="62605">2</cx:pt>
          <cx:pt idx="62606">4</cx:pt>
          <cx:pt idx="62607">4</cx:pt>
          <cx:pt idx="62608">5</cx:pt>
          <cx:pt idx="62609">4</cx:pt>
          <cx:pt idx="62610">2</cx:pt>
          <cx:pt idx="62611">1</cx:pt>
          <cx:pt idx="62612">5</cx:pt>
          <cx:pt idx="62613">5</cx:pt>
          <cx:pt idx="62614">4</cx:pt>
          <cx:pt idx="62615">5</cx:pt>
          <cx:pt idx="62616">5</cx:pt>
          <cx:pt idx="62617">1</cx:pt>
          <cx:pt idx="62618">4</cx:pt>
          <cx:pt idx="62619">3</cx:pt>
          <cx:pt idx="62620">4</cx:pt>
          <cx:pt idx="62621">4</cx:pt>
          <cx:pt idx="62622">5</cx:pt>
          <cx:pt idx="62623">5</cx:pt>
          <cx:pt idx="62624">3</cx:pt>
          <cx:pt idx="62625">5</cx:pt>
          <cx:pt idx="62626">5</cx:pt>
          <cx:pt idx="62627">2</cx:pt>
          <cx:pt idx="62628">5</cx:pt>
          <cx:pt idx="62629">4</cx:pt>
          <cx:pt idx="62630">5</cx:pt>
          <cx:pt idx="62631">4</cx:pt>
          <cx:pt idx="62632">1</cx:pt>
          <cx:pt idx="62633">4</cx:pt>
          <cx:pt idx="62634">4</cx:pt>
          <cx:pt idx="62635">4</cx:pt>
          <cx:pt idx="62636">4</cx:pt>
          <cx:pt idx="62637">1</cx:pt>
          <cx:pt idx="62638">5</cx:pt>
          <cx:pt idx="62639">4</cx:pt>
          <cx:pt idx="62640">1</cx:pt>
          <cx:pt idx="62641">3</cx:pt>
          <cx:pt idx="62642">5</cx:pt>
          <cx:pt idx="62643">4</cx:pt>
          <cx:pt idx="62644">5</cx:pt>
          <cx:pt idx="62645">1</cx:pt>
          <cx:pt idx="62646">4</cx:pt>
          <cx:pt idx="62647">3</cx:pt>
          <cx:pt idx="62648">5</cx:pt>
          <cx:pt idx="62649">2</cx:pt>
          <cx:pt idx="62650">1</cx:pt>
          <cx:pt idx="62651">4</cx:pt>
          <cx:pt idx="62652">4</cx:pt>
          <cx:pt idx="62653">2</cx:pt>
          <cx:pt idx="62654">2</cx:pt>
          <cx:pt idx="62655">5</cx:pt>
          <cx:pt idx="62656">4</cx:pt>
          <cx:pt idx="62657">4</cx:pt>
          <cx:pt idx="62658">3</cx:pt>
          <cx:pt idx="62659">3</cx:pt>
          <cx:pt idx="62660">4</cx:pt>
          <cx:pt idx="62661">4</cx:pt>
          <cx:pt idx="62662">5</cx:pt>
          <cx:pt idx="62663">5</cx:pt>
          <cx:pt idx="62664">2</cx:pt>
          <cx:pt idx="62665">5</cx:pt>
          <cx:pt idx="62666">2</cx:pt>
          <cx:pt idx="62667">5</cx:pt>
          <cx:pt idx="62668">3</cx:pt>
          <cx:pt idx="62669">2</cx:pt>
          <cx:pt idx="62670">4</cx:pt>
          <cx:pt idx="62671">2</cx:pt>
          <cx:pt idx="62672">3</cx:pt>
          <cx:pt idx="62673">4</cx:pt>
          <cx:pt idx="62674">5</cx:pt>
          <cx:pt idx="62675">4</cx:pt>
          <cx:pt idx="62676">4</cx:pt>
          <cx:pt idx="62677">1</cx:pt>
          <cx:pt idx="62678">2</cx:pt>
          <cx:pt idx="62679">2</cx:pt>
          <cx:pt idx="62680">5</cx:pt>
          <cx:pt idx="62681">4</cx:pt>
          <cx:pt idx="62682">1</cx:pt>
          <cx:pt idx="62683">3</cx:pt>
          <cx:pt idx="62684">5</cx:pt>
          <cx:pt idx="62685">5</cx:pt>
          <cx:pt idx="62686">5</cx:pt>
          <cx:pt idx="62687">2</cx:pt>
          <cx:pt idx="62688">4</cx:pt>
          <cx:pt idx="62689">5</cx:pt>
          <cx:pt idx="62690">5</cx:pt>
          <cx:pt idx="62691">2</cx:pt>
          <cx:pt idx="62692">3</cx:pt>
          <cx:pt idx="62693">5</cx:pt>
          <cx:pt idx="62694">1</cx:pt>
          <cx:pt idx="62695">3</cx:pt>
          <cx:pt idx="62696">2</cx:pt>
          <cx:pt idx="62697">3</cx:pt>
          <cx:pt idx="62698">4</cx:pt>
          <cx:pt idx="62699">5</cx:pt>
          <cx:pt idx="62700">5</cx:pt>
          <cx:pt idx="62701">3</cx:pt>
          <cx:pt idx="62702">5</cx:pt>
          <cx:pt idx="62703">3</cx:pt>
          <cx:pt idx="62704">4</cx:pt>
          <cx:pt idx="62705">1</cx:pt>
          <cx:pt idx="62706">5</cx:pt>
          <cx:pt idx="62707">2</cx:pt>
          <cx:pt idx="62708">3</cx:pt>
          <cx:pt idx="62709">4</cx:pt>
          <cx:pt idx="62710">2</cx:pt>
          <cx:pt idx="62711">5</cx:pt>
          <cx:pt idx="62712">5</cx:pt>
          <cx:pt idx="62713">5</cx:pt>
          <cx:pt idx="62714">2</cx:pt>
          <cx:pt idx="62715">5</cx:pt>
          <cx:pt idx="62716">4</cx:pt>
          <cx:pt idx="62717">5</cx:pt>
          <cx:pt idx="62718">4</cx:pt>
          <cx:pt idx="62719">5</cx:pt>
          <cx:pt idx="62720">5</cx:pt>
          <cx:pt idx="62721">3</cx:pt>
          <cx:pt idx="62722">1</cx:pt>
          <cx:pt idx="62723">5</cx:pt>
          <cx:pt idx="62724">5</cx:pt>
          <cx:pt idx="62725">5</cx:pt>
          <cx:pt idx="62726">5</cx:pt>
          <cx:pt idx="62727">3</cx:pt>
          <cx:pt idx="62728">4</cx:pt>
          <cx:pt idx="62729">4</cx:pt>
          <cx:pt idx="62730">2</cx:pt>
          <cx:pt idx="62731">4</cx:pt>
          <cx:pt idx="62732">4</cx:pt>
          <cx:pt idx="62733">3</cx:pt>
          <cx:pt idx="62734">5</cx:pt>
          <cx:pt idx="62735">4</cx:pt>
          <cx:pt idx="62736">5</cx:pt>
          <cx:pt idx="62737">5</cx:pt>
          <cx:pt idx="62738">4</cx:pt>
          <cx:pt idx="62739">5</cx:pt>
          <cx:pt idx="62740">1</cx:pt>
          <cx:pt idx="62741">4</cx:pt>
          <cx:pt idx="62742">4</cx:pt>
          <cx:pt idx="62743">4</cx:pt>
          <cx:pt idx="62744">5</cx:pt>
          <cx:pt idx="62745">5</cx:pt>
          <cx:pt idx="62746">5</cx:pt>
          <cx:pt idx="62747">4</cx:pt>
          <cx:pt idx="62748">4</cx:pt>
          <cx:pt idx="62749">1</cx:pt>
          <cx:pt idx="62750">5</cx:pt>
          <cx:pt idx="62751">3</cx:pt>
          <cx:pt idx="62752">4</cx:pt>
          <cx:pt idx="62753">3</cx:pt>
          <cx:pt idx="62754">3</cx:pt>
          <cx:pt idx="62755">5</cx:pt>
          <cx:pt idx="62756">4</cx:pt>
          <cx:pt idx="62757">5</cx:pt>
          <cx:pt idx="62758">1</cx:pt>
          <cx:pt idx="62759">4</cx:pt>
          <cx:pt idx="62760">4</cx:pt>
          <cx:pt idx="62761">4</cx:pt>
          <cx:pt idx="62762">2</cx:pt>
          <cx:pt idx="62763">1</cx:pt>
          <cx:pt idx="62764">2</cx:pt>
          <cx:pt idx="62765">2</cx:pt>
          <cx:pt idx="62766">5</cx:pt>
          <cx:pt idx="62767">5</cx:pt>
          <cx:pt idx="62768">1</cx:pt>
          <cx:pt idx="62769">5</cx:pt>
          <cx:pt idx="62770">4</cx:pt>
          <cx:pt idx="62771">1</cx:pt>
          <cx:pt idx="62772">5</cx:pt>
          <cx:pt idx="62773">5</cx:pt>
          <cx:pt idx="62774">4</cx:pt>
          <cx:pt idx="62775">1</cx:pt>
          <cx:pt idx="62776">4</cx:pt>
          <cx:pt idx="62777">2</cx:pt>
          <cx:pt idx="62778">4</cx:pt>
          <cx:pt idx="62779">1</cx:pt>
          <cx:pt idx="62780">2</cx:pt>
          <cx:pt idx="62781">2</cx:pt>
          <cx:pt idx="62782">4</cx:pt>
          <cx:pt idx="62783">5</cx:pt>
          <cx:pt idx="62784">3</cx:pt>
          <cx:pt idx="62785">2</cx:pt>
          <cx:pt idx="62786">4</cx:pt>
          <cx:pt idx="62787">1</cx:pt>
          <cx:pt idx="62788">3</cx:pt>
          <cx:pt idx="62789">4</cx:pt>
          <cx:pt idx="62790">4</cx:pt>
          <cx:pt idx="62791">3</cx:pt>
          <cx:pt idx="62792">1</cx:pt>
          <cx:pt idx="62793">1</cx:pt>
          <cx:pt idx="62794">4</cx:pt>
          <cx:pt idx="62795">3</cx:pt>
          <cx:pt idx="62796">4</cx:pt>
          <cx:pt idx="62797">3</cx:pt>
          <cx:pt idx="62798">5</cx:pt>
          <cx:pt idx="62799">3</cx:pt>
          <cx:pt idx="62800">3</cx:pt>
          <cx:pt idx="62801">5</cx:pt>
          <cx:pt idx="62802">3</cx:pt>
          <cx:pt idx="62803">5</cx:pt>
          <cx:pt idx="62804">4</cx:pt>
          <cx:pt idx="62805">1</cx:pt>
          <cx:pt idx="62806">4</cx:pt>
          <cx:pt idx="62807">2</cx:pt>
          <cx:pt idx="62808">5</cx:pt>
          <cx:pt idx="62809">4</cx:pt>
          <cx:pt idx="62810">2</cx:pt>
          <cx:pt idx="62811">1</cx:pt>
          <cx:pt idx="62812">4</cx:pt>
          <cx:pt idx="62813">1</cx:pt>
          <cx:pt idx="62814">4</cx:pt>
          <cx:pt idx="62815">3</cx:pt>
          <cx:pt idx="62816">1</cx:pt>
          <cx:pt idx="62817">3</cx:pt>
          <cx:pt idx="62818">3</cx:pt>
          <cx:pt idx="62819">4</cx:pt>
          <cx:pt idx="62820">4</cx:pt>
          <cx:pt idx="62821">4</cx:pt>
          <cx:pt idx="62822">2</cx:pt>
          <cx:pt idx="62823">5</cx:pt>
          <cx:pt idx="62824">5</cx:pt>
          <cx:pt idx="62825">2</cx:pt>
          <cx:pt idx="62826">5</cx:pt>
          <cx:pt idx="62827">3</cx:pt>
          <cx:pt idx="62828">2</cx:pt>
          <cx:pt idx="62829">5</cx:pt>
          <cx:pt idx="62830">3</cx:pt>
          <cx:pt idx="62831">5</cx:pt>
          <cx:pt idx="62832">1</cx:pt>
          <cx:pt idx="62833">1</cx:pt>
          <cx:pt idx="62834">4</cx:pt>
          <cx:pt idx="62835">5</cx:pt>
          <cx:pt idx="62836">2</cx:pt>
          <cx:pt idx="62837">1</cx:pt>
          <cx:pt idx="62838">5</cx:pt>
          <cx:pt idx="62839">4</cx:pt>
          <cx:pt idx="62840">4</cx:pt>
          <cx:pt idx="62841">5</cx:pt>
          <cx:pt idx="62842">2</cx:pt>
          <cx:pt idx="62843">3</cx:pt>
          <cx:pt idx="62844">2</cx:pt>
          <cx:pt idx="62845">1</cx:pt>
          <cx:pt idx="62846">3</cx:pt>
          <cx:pt idx="62847">2</cx:pt>
          <cx:pt idx="62848">1</cx:pt>
          <cx:pt idx="62849">1</cx:pt>
          <cx:pt idx="62850">1</cx:pt>
          <cx:pt idx="62851">4</cx:pt>
          <cx:pt idx="62852">4</cx:pt>
          <cx:pt idx="62853">5</cx:pt>
          <cx:pt idx="62854">3</cx:pt>
          <cx:pt idx="62855">2</cx:pt>
          <cx:pt idx="62856">5</cx:pt>
          <cx:pt idx="62857">3</cx:pt>
          <cx:pt idx="62858">2</cx:pt>
          <cx:pt idx="62859">5</cx:pt>
          <cx:pt idx="62860">3</cx:pt>
          <cx:pt idx="62861">3</cx:pt>
          <cx:pt idx="62862">1</cx:pt>
          <cx:pt idx="62863">1</cx:pt>
          <cx:pt idx="62864">4</cx:pt>
          <cx:pt idx="62865">2</cx:pt>
          <cx:pt idx="62866">5</cx:pt>
          <cx:pt idx="62867">5</cx:pt>
          <cx:pt idx="62868">4</cx:pt>
          <cx:pt idx="62869">5</cx:pt>
          <cx:pt idx="62870">5</cx:pt>
          <cx:pt idx="62871">3</cx:pt>
          <cx:pt idx="62872">4</cx:pt>
          <cx:pt idx="62873">4</cx:pt>
          <cx:pt idx="62874">5</cx:pt>
          <cx:pt idx="62875">4</cx:pt>
          <cx:pt idx="62876">5</cx:pt>
          <cx:pt idx="62877">2</cx:pt>
          <cx:pt idx="62878">5</cx:pt>
          <cx:pt idx="62879">4</cx:pt>
          <cx:pt idx="62880">5</cx:pt>
          <cx:pt idx="62881">5</cx:pt>
          <cx:pt idx="62882">1</cx:pt>
          <cx:pt idx="62883">4</cx:pt>
          <cx:pt idx="62884">5</cx:pt>
          <cx:pt idx="62885">3</cx:pt>
          <cx:pt idx="62886">4</cx:pt>
          <cx:pt idx="62887">5</cx:pt>
          <cx:pt idx="62888">3</cx:pt>
          <cx:pt idx="62889">3</cx:pt>
          <cx:pt idx="62890">5</cx:pt>
          <cx:pt idx="62891">1</cx:pt>
          <cx:pt idx="62892">3</cx:pt>
          <cx:pt idx="62893">4</cx:pt>
          <cx:pt idx="62894">5</cx:pt>
          <cx:pt idx="62895">3</cx:pt>
          <cx:pt idx="62896">1</cx:pt>
          <cx:pt idx="62897">2</cx:pt>
          <cx:pt idx="62898">4</cx:pt>
          <cx:pt idx="62899">3</cx:pt>
          <cx:pt idx="62900">2</cx:pt>
          <cx:pt idx="62901">5</cx:pt>
          <cx:pt idx="62902">5</cx:pt>
          <cx:pt idx="62903">1</cx:pt>
          <cx:pt idx="62904">4</cx:pt>
          <cx:pt idx="62905">4</cx:pt>
          <cx:pt idx="62906">4</cx:pt>
          <cx:pt idx="62907">2</cx:pt>
          <cx:pt idx="62908">3</cx:pt>
          <cx:pt idx="62909">1</cx:pt>
          <cx:pt idx="62910">5</cx:pt>
          <cx:pt idx="62911">4</cx:pt>
          <cx:pt idx="62912">5</cx:pt>
          <cx:pt idx="62913">4</cx:pt>
          <cx:pt idx="62914">1</cx:pt>
          <cx:pt idx="62915">3</cx:pt>
          <cx:pt idx="62916">4</cx:pt>
          <cx:pt idx="62917">3</cx:pt>
          <cx:pt idx="62918">5</cx:pt>
          <cx:pt idx="62919">2</cx:pt>
          <cx:pt idx="62920">2</cx:pt>
          <cx:pt idx="62921">1</cx:pt>
          <cx:pt idx="62922">4</cx:pt>
          <cx:pt idx="62923">1</cx:pt>
          <cx:pt idx="62924">4</cx:pt>
          <cx:pt idx="62925">5</cx:pt>
          <cx:pt idx="62926">4</cx:pt>
          <cx:pt idx="62927">4</cx:pt>
          <cx:pt idx="62928">2</cx:pt>
          <cx:pt idx="62929">3</cx:pt>
          <cx:pt idx="62930">4</cx:pt>
          <cx:pt idx="62931">3</cx:pt>
          <cx:pt idx="62932">5</cx:pt>
          <cx:pt idx="62933">4</cx:pt>
          <cx:pt idx="62934">2</cx:pt>
          <cx:pt idx="62935">3</cx:pt>
          <cx:pt idx="62936">1</cx:pt>
          <cx:pt idx="62937">4</cx:pt>
          <cx:pt idx="62938">5</cx:pt>
          <cx:pt idx="62939">3</cx:pt>
          <cx:pt idx="62940">3</cx:pt>
          <cx:pt idx="62941">4</cx:pt>
          <cx:pt idx="62942">5</cx:pt>
          <cx:pt idx="62943">3</cx:pt>
          <cx:pt idx="62944">3</cx:pt>
          <cx:pt idx="62945">3</cx:pt>
          <cx:pt idx="62946">5</cx:pt>
          <cx:pt idx="62947">4</cx:pt>
          <cx:pt idx="62948">4</cx:pt>
          <cx:pt idx="62949">1</cx:pt>
          <cx:pt idx="62950">5</cx:pt>
          <cx:pt idx="62951">4</cx:pt>
          <cx:pt idx="62952">3</cx:pt>
          <cx:pt idx="62953">1</cx:pt>
          <cx:pt idx="62954">2</cx:pt>
          <cx:pt idx="62955">2</cx:pt>
          <cx:pt idx="62956">4</cx:pt>
          <cx:pt idx="62957">1</cx:pt>
          <cx:pt idx="62958">5</cx:pt>
          <cx:pt idx="62959">4</cx:pt>
          <cx:pt idx="62960">1</cx:pt>
          <cx:pt idx="62961">3</cx:pt>
          <cx:pt idx="62962">4</cx:pt>
          <cx:pt idx="62963">4</cx:pt>
          <cx:pt idx="62964">2</cx:pt>
          <cx:pt idx="62965">2</cx:pt>
          <cx:pt idx="62966">5</cx:pt>
          <cx:pt idx="62967">5</cx:pt>
          <cx:pt idx="62968">4</cx:pt>
          <cx:pt idx="62969">1</cx:pt>
          <cx:pt idx="62970">5</cx:pt>
          <cx:pt idx="62971">5</cx:pt>
          <cx:pt idx="62972">4</cx:pt>
          <cx:pt idx="62973">3</cx:pt>
          <cx:pt idx="62974">5</cx:pt>
          <cx:pt idx="62975">5</cx:pt>
          <cx:pt idx="62976">5</cx:pt>
          <cx:pt idx="62977">1</cx:pt>
          <cx:pt idx="62978">4</cx:pt>
          <cx:pt idx="62979">2</cx:pt>
          <cx:pt idx="62980">5</cx:pt>
          <cx:pt idx="62981">4</cx:pt>
          <cx:pt idx="62982">5</cx:pt>
          <cx:pt idx="62983">4</cx:pt>
          <cx:pt idx="62984">5</cx:pt>
          <cx:pt idx="62985">5</cx:pt>
          <cx:pt idx="62986">3</cx:pt>
          <cx:pt idx="62987">1</cx:pt>
          <cx:pt idx="62988">4</cx:pt>
          <cx:pt idx="62989">2</cx:pt>
          <cx:pt idx="62990">3</cx:pt>
          <cx:pt idx="62991">2</cx:pt>
          <cx:pt idx="62992">2</cx:pt>
          <cx:pt idx="62993">4</cx:pt>
          <cx:pt idx="62994">4</cx:pt>
          <cx:pt idx="62995">4</cx:pt>
          <cx:pt idx="62996">4</cx:pt>
          <cx:pt idx="62997">2</cx:pt>
          <cx:pt idx="62998">5</cx:pt>
          <cx:pt idx="62999">2</cx:pt>
          <cx:pt idx="63000">2</cx:pt>
          <cx:pt idx="63001">5</cx:pt>
          <cx:pt idx="63002">5</cx:pt>
          <cx:pt idx="63003">4</cx:pt>
          <cx:pt idx="63004">3</cx:pt>
          <cx:pt idx="63005">4</cx:pt>
          <cx:pt idx="63006">2</cx:pt>
          <cx:pt idx="63007">2</cx:pt>
          <cx:pt idx="63008">4</cx:pt>
          <cx:pt idx="63009">5</cx:pt>
          <cx:pt idx="63010">4</cx:pt>
          <cx:pt idx="63011">3</cx:pt>
          <cx:pt idx="63012">4</cx:pt>
          <cx:pt idx="63013">2</cx:pt>
          <cx:pt idx="63014">4</cx:pt>
          <cx:pt idx="63015">3</cx:pt>
          <cx:pt idx="63016">5</cx:pt>
          <cx:pt idx="63017">5</cx:pt>
          <cx:pt idx="63018">5</cx:pt>
          <cx:pt idx="63019">3</cx:pt>
          <cx:pt idx="63020">5</cx:pt>
          <cx:pt idx="63021">3</cx:pt>
          <cx:pt idx="63022">5</cx:pt>
          <cx:pt idx="63023">5</cx:pt>
          <cx:pt idx="63024">3</cx:pt>
          <cx:pt idx="63025">2</cx:pt>
          <cx:pt idx="63026">3</cx:pt>
          <cx:pt idx="63027">3</cx:pt>
          <cx:pt idx="63028">2</cx:pt>
          <cx:pt idx="63029">4</cx:pt>
          <cx:pt idx="63030">5</cx:pt>
          <cx:pt idx="63031">5</cx:pt>
          <cx:pt idx="63032">1</cx:pt>
          <cx:pt idx="63033">5</cx:pt>
          <cx:pt idx="63034">5</cx:pt>
          <cx:pt idx="63035">4</cx:pt>
          <cx:pt idx="63036">5</cx:pt>
          <cx:pt idx="63037">4</cx:pt>
          <cx:pt idx="63038">5</cx:pt>
          <cx:pt idx="63039">3</cx:pt>
          <cx:pt idx="63040">4</cx:pt>
          <cx:pt idx="63041">3</cx:pt>
          <cx:pt idx="63042">4</cx:pt>
          <cx:pt idx="63043">3</cx:pt>
          <cx:pt idx="63044">4</cx:pt>
          <cx:pt idx="63045">5</cx:pt>
          <cx:pt idx="63046">5</cx:pt>
          <cx:pt idx="63047">5</cx:pt>
          <cx:pt idx="63048">1</cx:pt>
          <cx:pt idx="63049">4</cx:pt>
          <cx:pt idx="63050">4</cx:pt>
          <cx:pt idx="63051">4</cx:pt>
          <cx:pt idx="63052">4</cx:pt>
          <cx:pt idx="63053">4</cx:pt>
          <cx:pt idx="63054">5</cx:pt>
          <cx:pt idx="63055">3</cx:pt>
          <cx:pt idx="63056">1</cx:pt>
          <cx:pt idx="63057">4</cx:pt>
          <cx:pt idx="63058">5</cx:pt>
          <cx:pt idx="63059">3</cx:pt>
          <cx:pt idx="63060">5</cx:pt>
          <cx:pt idx="63061">3</cx:pt>
          <cx:pt idx="63062">4</cx:pt>
          <cx:pt idx="63063">5</cx:pt>
          <cx:pt idx="63064">4</cx:pt>
          <cx:pt idx="63065">4</cx:pt>
          <cx:pt idx="63066">5</cx:pt>
          <cx:pt idx="63067">5</cx:pt>
          <cx:pt idx="63068">2</cx:pt>
          <cx:pt idx="63069">2</cx:pt>
          <cx:pt idx="63070">5</cx:pt>
          <cx:pt idx="63071">4</cx:pt>
          <cx:pt idx="63072">5</cx:pt>
          <cx:pt idx="63073">5</cx:pt>
          <cx:pt idx="63074">5</cx:pt>
          <cx:pt idx="63075">5</cx:pt>
          <cx:pt idx="63076">4</cx:pt>
          <cx:pt idx="63077">5</cx:pt>
          <cx:pt idx="63078">3</cx:pt>
          <cx:pt idx="63079">1</cx:pt>
          <cx:pt idx="63080">3</cx:pt>
          <cx:pt idx="63081">1</cx:pt>
          <cx:pt idx="63082">5</cx:pt>
          <cx:pt idx="63083">2</cx:pt>
          <cx:pt idx="63084">5</cx:pt>
          <cx:pt idx="63085">2</cx:pt>
          <cx:pt idx="63086">2</cx:pt>
          <cx:pt idx="63087">3</cx:pt>
          <cx:pt idx="63088">4</cx:pt>
          <cx:pt idx="63089">3</cx:pt>
          <cx:pt idx="63090">4</cx:pt>
          <cx:pt idx="63091">5</cx:pt>
          <cx:pt idx="63092">4</cx:pt>
          <cx:pt idx="63093">5</cx:pt>
          <cx:pt idx="63094">3</cx:pt>
          <cx:pt idx="63095">4</cx:pt>
          <cx:pt idx="63096">4</cx:pt>
          <cx:pt idx="63097">3</cx:pt>
          <cx:pt idx="63098">5</cx:pt>
          <cx:pt idx="63099">4</cx:pt>
          <cx:pt idx="63100">3</cx:pt>
          <cx:pt idx="63101">4</cx:pt>
          <cx:pt idx="63102">1</cx:pt>
          <cx:pt idx="63103">1</cx:pt>
          <cx:pt idx="63104">5</cx:pt>
          <cx:pt idx="63105">1</cx:pt>
          <cx:pt idx="63106">3</cx:pt>
          <cx:pt idx="63107">5</cx:pt>
          <cx:pt idx="63108">4</cx:pt>
          <cx:pt idx="63109">4</cx:pt>
          <cx:pt idx="63110">5</cx:pt>
          <cx:pt idx="63111">5</cx:pt>
          <cx:pt idx="63112">5</cx:pt>
          <cx:pt idx="63113">5</cx:pt>
          <cx:pt idx="63114">3</cx:pt>
          <cx:pt idx="63115">3</cx:pt>
          <cx:pt idx="63116">4</cx:pt>
          <cx:pt idx="63117">5</cx:pt>
          <cx:pt idx="63118">2</cx:pt>
          <cx:pt idx="63119">2</cx:pt>
          <cx:pt idx="63120">3</cx:pt>
          <cx:pt idx="63121">2</cx:pt>
          <cx:pt idx="63122">3</cx:pt>
          <cx:pt idx="63123">4</cx:pt>
          <cx:pt idx="63124">5</cx:pt>
          <cx:pt idx="63125">3</cx:pt>
          <cx:pt idx="63126">2</cx:pt>
          <cx:pt idx="63127">2</cx:pt>
          <cx:pt idx="63128">4</cx:pt>
          <cx:pt idx="63129">5</cx:pt>
          <cx:pt idx="63130">4</cx:pt>
          <cx:pt idx="63131">3</cx:pt>
          <cx:pt idx="63132">5</cx:pt>
          <cx:pt idx="63133">5</cx:pt>
          <cx:pt idx="63134">3</cx:pt>
          <cx:pt idx="63135">1</cx:pt>
          <cx:pt idx="63136">5</cx:pt>
          <cx:pt idx="63137">5</cx:pt>
          <cx:pt idx="63138">4</cx:pt>
          <cx:pt idx="63139">3</cx:pt>
          <cx:pt idx="63140">4</cx:pt>
          <cx:pt idx="63141">4</cx:pt>
          <cx:pt idx="63142">2</cx:pt>
          <cx:pt idx="63143">2</cx:pt>
          <cx:pt idx="63144">1</cx:pt>
          <cx:pt idx="63145">4</cx:pt>
          <cx:pt idx="63146">3</cx:pt>
          <cx:pt idx="63147">2</cx:pt>
          <cx:pt idx="63148">4</cx:pt>
          <cx:pt idx="63149">5</cx:pt>
          <cx:pt idx="63150">1</cx:pt>
          <cx:pt idx="63151">5</cx:pt>
          <cx:pt idx="63152">3</cx:pt>
          <cx:pt idx="63153">3</cx:pt>
          <cx:pt idx="63154">4</cx:pt>
          <cx:pt idx="63155">3</cx:pt>
          <cx:pt idx="63156">3</cx:pt>
          <cx:pt idx="63157">4</cx:pt>
          <cx:pt idx="63158">1</cx:pt>
          <cx:pt idx="63159">5</cx:pt>
          <cx:pt idx="63160">3</cx:pt>
          <cx:pt idx="63161">4</cx:pt>
          <cx:pt idx="63162">5</cx:pt>
          <cx:pt idx="63163">5</cx:pt>
          <cx:pt idx="63164">5</cx:pt>
          <cx:pt idx="63165">3</cx:pt>
          <cx:pt idx="63166">5</cx:pt>
          <cx:pt idx="63167">3</cx:pt>
          <cx:pt idx="63168">2</cx:pt>
          <cx:pt idx="63169">4</cx:pt>
          <cx:pt idx="63170">3</cx:pt>
          <cx:pt idx="63171">2</cx:pt>
          <cx:pt idx="63172">4</cx:pt>
          <cx:pt idx="63173">4</cx:pt>
          <cx:pt idx="63174">3</cx:pt>
          <cx:pt idx="63175">5</cx:pt>
          <cx:pt idx="63176">4</cx:pt>
          <cx:pt idx="63177">5</cx:pt>
          <cx:pt idx="63178">4</cx:pt>
          <cx:pt idx="63179">1</cx:pt>
          <cx:pt idx="63180">1</cx:pt>
          <cx:pt idx="63181">2</cx:pt>
          <cx:pt idx="63182">1</cx:pt>
          <cx:pt idx="63183">2</cx:pt>
          <cx:pt idx="63184">4</cx:pt>
          <cx:pt idx="63185">3</cx:pt>
          <cx:pt idx="63186">3</cx:pt>
          <cx:pt idx="63187">3</cx:pt>
          <cx:pt idx="63188">4</cx:pt>
          <cx:pt idx="63189">5</cx:pt>
          <cx:pt idx="63190">5</cx:pt>
          <cx:pt idx="63191">3</cx:pt>
          <cx:pt idx="63192">5</cx:pt>
          <cx:pt idx="63193">3</cx:pt>
          <cx:pt idx="63194">4</cx:pt>
          <cx:pt idx="63195">4</cx:pt>
          <cx:pt idx="63196">2</cx:pt>
          <cx:pt idx="63197">1</cx:pt>
          <cx:pt idx="63198">3</cx:pt>
          <cx:pt idx="63199">5</cx:pt>
          <cx:pt idx="63200">1</cx:pt>
          <cx:pt idx="63201">5</cx:pt>
          <cx:pt idx="63202">5</cx:pt>
          <cx:pt idx="63203">2</cx:pt>
          <cx:pt idx="63204">5</cx:pt>
          <cx:pt idx="63205">5</cx:pt>
          <cx:pt idx="63206">5</cx:pt>
          <cx:pt idx="63207">5</cx:pt>
          <cx:pt idx="63208">2</cx:pt>
          <cx:pt idx="63209">3</cx:pt>
          <cx:pt idx="63210">2</cx:pt>
          <cx:pt idx="63211">2</cx:pt>
          <cx:pt idx="63212">4</cx:pt>
          <cx:pt idx="63213">5</cx:pt>
          <cx:pt idx="63214">5</cx:pt>
          <cx:pt idx="63215">2</cx:pt>
          <cx:pt idx="63216">5</cx:pt>
          <cx:pt idx="63217">2</cx:pt>
          <cx:pt idx="63218">3</cx:pt>
          <cx:pt idx="63219">4</cx:pt>
          <cx:pt idx="63220">1</cx:pt>
          <cx:pt idx="63221">3</cx:pt>
          <cx:pt idx="63222">4</cx:pt>
          <cx:pt idx="63223">2</cx:pt>
          <cx:pt idx="63224">1</cx:pt>
          <cx:pt idx="63225">4</cx:pt>
          <cx:pt idx="63226">2</cx:pt>
          <cx:pt idx="63227">4</cx:pt>
          <cx:pt idx="63228">4</cx:pt>
          <cx:pt idx="63229">1</cx:pt>
          <cx:pt idx="63230">5</cx:pt>
          <cx:pt idx="63231">1</cx:pt>
          <cx:pt idx="63232">4</cx:pt>
          <cx:pt idx="63233">5</cx:pt>
          <cx:pt idx="63234">1</cx:pt>
          <cx:pt idx="63235">5</cx:pt>
          <cx:pt idx="63236">4</cx:pt>
          <cx:pt idx="63237">2</cx:pt>
          <cx:pt idx="63238">1</cx:pt>
          <cx:pt idx="63239">1</cx:pt>
          <cx:pt idx="63240">4</cx:pt>
          <cx:pt idx="63241">3</cx:pt>
          <cx:pt idx="63242">1</cx:pt>
          <cx:pt idx="63243">1</cx:pt>
          <cx:pt idx="63244">3</cx:pt>
          <cx:pt idx="63245">5</cx:pt>
          <cx:pt idx="63246">4</cx:pt>
          <cx:pt idx="63247">3</cx:pt>
          <cx:pt idx="63248">1</cx:pt>
          <cx:pt idx="63249">4</cx:pt>
          <cx:pt idx="63250">2</cx:pt>
          <cx:pt idx="63251">3</cx:pt>
          <cx:pt idx="63252">5</cx:pt>
          <cx:pt idx="63253">1</cx:pt>
          <cx:pt idx="63254">5</cx:pt>
          <cx:pt idx="63255">1</cx:pt>
          <cx:pt idx="63256">3</cx:pt>
          <cx:pt idx="63257">3</cx:pt>
          <cx:pt idx="63258">2</cx:pt>
          <cx:pt idx="63259">5</cx:pt>
          <cx:pt idx="63260">3</cx:pt>
          <cx:pt idx="63261">1</cx:pt>
          <cx:pt idx="63262">3</cx:pt>
          <cx:pt idx="63263">4</cx:pt>
          <cx:pt idx="63264">1</cx:pt>
          <cx:pt idx="63265">5</cx:pt>
          <cx:pt idx="63266">3</cx:pt>
          <cx:pt idx="63267">4</cx:pt>
          <cx:pt idx="63268">3</cx:pt>
          <cx:pt idx="63269">5</cx:pt>
          <cx:pt idx="63270">3</cx:pt>
          <cx:pt idx="63271">2</cx:pt>
          <cx:pt idx="63272">2</cx:pt>
          <cx:pt idx="63273">4</cx:pt>
          <cx:pt idx="63274">4</cx:pt>
          <cx:pt idx="63275">2</cx:pt>
          <cx:pt idx="63276">4</cx:pt>
          <cx:pt idx="63277">4</cx:pt>
          <cx:pt idx="63278">5</cx:pt>
          <cx:pt idx="63279">4</cx:pt>
          <cx:pt idx="63280">1</cx:pt>
          <cx:pt idx="63281">3</cx:pt>
          <cx:pt idx="63282">4</cx:pt>
          <cx:pt idx="63283">4</cx:pt>
          <cx:pt idx="63284">4</cx:pt>
          <cx:pt idx="63285">3</cx:pt>
          <cx:pt idx="63286">3</cx:pt>
          <cx:pt idx="63287">1</cx:pt>
          <cx:pt idx="63288">4</cx:pt>
          <cx:pt idx="63289">5</cx:pt>
          <cx:pt idx="63290">3</cx:pt>
          <cx:pt idx="63291">1</cx:pt>
          <cx:pt idx="63292">3</cx:pt>
          <cx:pt idx="63293">2</cx:pt>
          <cx:pt idx="63294">5</cx:pt>
          <cx:pt idx="63295">4</cx:pt>
          <cx:pt idx="63296">2</cx:pt>
          <cx:pt idx="63297">2</cx:pt>
          <cx:pt idx="63298">2</cx:pt>
          <cx:pt idx="63299">1</cx:pt>
          <cx:pt idx="63300">3</cx:pt>
          <cx:pt idx="63301">4</cx:pt>
          <cx:pt idx="63302">2</cx:pt>
          <cx:pt idx="63303">4</cx:pt>
          <cx:pt idx="63304">3</cx:pt>
          <cx:pt idx="63305">3</cx:pt>
          <cx:pt idx="63306">5</cx:pt>
          <cx:pt idx="63307">3</cx:pt>
          <cx:pt idx="63308">4</cx:pt>
          <cx:pt idx="63309">5</cx:pt>
          <cx:pt idx="63310">2</cx:pt>
          <cx:pt idx="63311">2</cx:pt>
          <cx:pt idx="63312">4</cx:pt>
          <cx:pt idx="63313">3</cx:pt>
          <cx:pt idx="63314">5</cx:pt>
          <cx:pt idx="63315">4</cx:pt>
          <cx:pt idx="63316">3</cx:pt>
          <cx:pt idx="63317">3</cx:pt>
          <cx:pt idx="63318">3</cx:pt>
          <cx:pt idx="63319">4</cx:pt>
          <cx:pt idx="63320">5</cx:pt>
          <cx:pt idx="63321">4</cx:pt>
          <cx:pt idx="63322">5</cx:pt>
          <cx:pt idx="63323">1</cx:pt>
          <cx:pt idx="63324">5</cx:pt>
          <cx:pt idx="63325">5</cx:pt>
          <cx:pt idx="63326">5</cx:pt>
          <cx:pt idx="63327">3</cx:pt>
          <cx:pt idx="63328">4</cx:pt>
          <cx:pt idx="63329">1</cx:pt>
          <cx:pt idx="63330">5</cx:pt>
          <cx:pt idx="63331">1</cx:pt>
          <cx:pt idx="63332">5</cx:pt>
          <cx:pt idx="63333">1</cx:pt>
          <cx:pt idx="63334">4</cx:pt>
          <cx:pt idx="63335">3</cx:pt>
          <cx:pt idx="63336">5</cx:pt>
          <cx:pt idx="63337">2</cx:pt>
          <cx:pt idx="63338">4</cx:pt>
          <cx:pt idx="63339">1</cx:pt>
          <cx:pt idx="63340">5</cx:pt>
          <cx:pt idx="63341">5</cx:pt>
          <cx:pt idx="63342">5</cx:pt>
          <cx:pt idx="63343">3</cx:pt>
          <cx:pt idx="63344">4</cx:pt>
          <cx:pt idx="63345">1</cx:pt>
          <cx:pt idx="63346">4</cx:pt>
          <cx:pt idx="63347">2</cx:pt>
          <cx:pt idx="63348">5</cx:pt>
          <cx:pt idx="63349">5</cx:pt>
          <cx:pt idx="63350">5</cx:pt>
          <cx:pt idx="63351">1</cx:pt>
          <cx:pt idx="63352">3</cx:pt>
          <cx:pt idx="63353">3</cx:pt>
          <cx:pt idx="63354">5</cx:pt>
          <cx:pt idx="63355">4</cx:pt>
          <cx:pt idx="63356">2</cx:pt>
          <cx:pt idx="63357">5</cx:pt>
          <cx:pt idx="63358">2</cx:pt>
          <cx:pt idx="63359">5</cx:pt>
          <cx:pt idx="63360">2</cx:pt>
          <cx:pt idx="63361">5</cx:pt>
          <cx:pt idx="63362">4</cx:pt>
          <cx:pt idx="63363">3</cx:pt>
          <cx:pt idx="63364">5</cx:pt>
          <cx:pt idx="63365">2</cx:pt>
          <cx:pt idx="63366">1</cx:pt>
          <cx:pt idx="63367">2</cx:pt>
          <cx:pt idx="63368">1</cx:pt>
          <cx:pt idx="63369">1</cx:pt>
          <cx:pt idx="63370">4</cx:pt>
          <cx:pt idx="63371">2</cx:pt>
          <cx:pt idx="63372">2</cx:pt>
          <cx:pt idx="63373">4</cx:pt>
          <cx:pt idx="63374">4</cx:pt>
          <cx:pt idx="63375">1</cx:pt>
          <cx:pt idx="63376">1</cx:pt>
          <cx:pt idx="63377">5</cx:pt>
          <cx:pt idx="63378">3</cx:pt>
          <cx:pt idx="63379">5</cx:pt>
          <cx:pt idx="63380">5</cx:pt>
          <cx:pt idx="63381">5</cx:pt>
          <cx:pt idx="63382">2</cx:pt>
          <cx:pt idx="63383">5</cx:pt>
          <cx:pt idx="63384">5</cx:pt>
          <cx:pt idx="63385">2</cx:pt>
          <cx:pt idx="63386">1</cx:pt>
          <cx:pt idx="63387">4</cx:pt>
          <cx:pt idx="63388">2</cx:pt>
          <cx:pt idx="63389">4</cx:pt>
          <cx:pt idx="63390">2</cx:pt>
          <cx:pt idx="63391">4</cx:pt>
          <cx:pt idx="63392">4</cx:pt>
          <cx:pt idx="63393">2</cx:pt>
          <cx:pt idx="63394">2</cx:pt>
          <cx:pt idx="63395">2</cx:pt>
          <cx:pt idx="63396">5</cx:pt>
          <cx:pt idx="63397">5</cx:pt>
          <cx:pt idx="63398">2</cx:pt>
          <cx:pt idx="63399">2</cx:pt>
          <cx:pt idx="63400">3</cx:pt>
          <cx:pt idx="63401">4</cx:pt>
          <cx:pt idx="63402">4</cx:pt>
          <cx:pt idx="63403">4</cx:pt>
          <cx:pt idx="63404">5</cx:pt>
          <cx:pt idx="63405">1</cx:pt>
          <cx:pt idx="63406">1</cx:pt>
          <cx:pt idx="63407">4</cx:pt>
          <cx:pt idx="63408">3</cx:pt>
          <cx:pt idx="63409">2</cx:pt>
          <cx:pt idx="63410">3</cx:pt>
          <cx:pt idx="63411">4</cx:pt>
          <cx:pt idx="63412">5</cx:pt>
          <cx:pt idx="63413">3</cx:pt>
          <cx:pt idx="63414">4</cx:pt>
          <cx:pt idx="63415">5</cx:pt>
          <cx:pt idx="63416">5</cx:pt>
          <cx:pt idx="63417">5</cx:pt>
          <cx:pt idx="63418">5</cx:pt>
          <cx:pt idx="63419">4</cx:pt>
          <cx:pt idx="63420">5</cx:pt>
          <cx:pt idx="63421">5</cx:pt>
          <cx:pt idx="63422">5</cx:pt>
          <cx:pt idx="63423">1</cx:pt>
          <cx:pt idx="63424">4</cx:pt>
          <cx:pt idx="63425">5</cx:pt>
          <cx:pt idx="63426">4</cx:pt>
          <cx:pt idx="63427">2</cx:pt>
          <cx:pt idx="63428">3</cx:pt>
          <cx:pt idx="63429">4</cx:pt>
          <cx:pt idx="63430">2</cx:pt>
          <cx:pt idx="63431">4</cx:pt>
          <cx:pt idx="63432">4</cx:pt>
          <cx:pt idx="63433">2</cx:pt>
          <cx:pt idx="63434">4</cx:pt>
          <cx:pt idx="63435">5</cx:pt>
          <cx:pt idx="63436">5</cx:pt>
          <cx:pt idx="63437">3</cx:pt>
          <cx:pt idx="63438">3</cx:pt>
          <cx:pt idx="63439">1</cx:pt>
          <cx:pt idx="63440">2</cx:pt>
          <cx:pt idx="63441">5</cx:pt>
          <cx:pt idx="63442">3</cx:pt>
          <cx:pt idx="63443">4</cx:pt>
          <cx:pt idx="63444">3</cx:pt>
          <cx:pt idx="63445">4</cx:pt>
          <cx:pt idx="63446">2</cx:pt>
          <cx:pt idx="63447">5</cx:pt>
          <cx:pt idx="63448">1</cx:pt>
          <cx:pt idx="63449">4</cx:pt>
          <cx:pt idx="63450">4</cx:pt>
          <cx:pt idx="63451">1</cx:pt>
          <cx:pt idx="63452">4</cx:pt>
          <cx:pt idx="63453">3</cx:pt>
          <cx:pt idx="63454">4</cx:pt>
          <cx:pt idx="63455">2</cx:pt>
          <cx:pt idx="63456">4</cx:pt>
          <cx:pt idx="63457">3</cx:pt>
          <cx:pt idx="63458">5</cx:pt>
          <cx:pt idx="63459">1</cx:pt>
          <cx:pt idx="63460">2</cx:pt>
          <cx:pt idx="63461">5</cx:pt>
          <cx:pt idx="63462">5</cx:pt>
          <cx:pt idx="63463">5</cx:pt>
          <cx:pt idx="63464">3</cx:pt>
          <cx:pt idx="63465">5</cx:pt>
          <cx:pt idx="63466">4</cx:pt>
          <cx:pt idx="63467">4</cx:pt>
          <cx:pt idx="63468">2</cx:pt>
          <cx:pt idx="63469">1</cx:pt>
          <cx:pt idx="63470">5</cx:pt>
          <cx:pt idx="63471">4</cx:pt>
          <cx:pt idx="63472">5</cx:pt>
          <cx:pt idx="63473">5</cx:pt>
          <cx:pt idx="63474">5</cx:pt>
          <cx:pt idx="63475">2</cx:pt>
          <cx:pt idx="63476">4</cx:pt>
          <cx:pt idx="63477">5</cx:pt>
          <cx:pt idx="63478">1</cx:pt>
          <cx:pt idx="63479">4</cx:pt>
          <cx:pt idx="63480">5</cx:pt>
          <cx:pt idx="63481">4</cx:pt>
          <cx:pt idx="63482">4</cx:pt>
          <cx:pt idx="63483">1</cx:pt>
          <cx:pt idx="63484">2</cx:pt>
          <cx:pt idx="63485">3</cx:pt>
          <cx:pt idx="63486">5</cx:pt>
          <cx:pt idx="63487">3</cx:pt>
          <cx:pt idx="63488">5</cx:pt>
          <cx:pt idx="63489">2</cx:pt>
          <cx:pt idx="63490">4</cx:pt>
          <cx:pt idx="63491">5</cx:pt>
          <cx:pt idx="63492">4</cx:pt>
          <cx:pt idx="63493">3</cx:pt>
          <cx:pt idx="63494">4</cx:pt>
          <cx:pt idx="63495">4</cx:pt>
          <cx:pt idx="63496">4</cx:pt>
          <cx:pt idx="63497">5</cx:pt>
          <cx:pt idx="63498">5</cx:pt>
          <cx:pt idx="63499">1</cx:pt>
          <cx:pt idx="63500">3</cx:pt>
          <cx:pt idx="63501">1</cx:pt>
          <cx:pt idx="63502">4</cx:pt>
          <cx:pt idx="63503">5</cx:pt>
          <cx:pt idx="63504">3</cx:pt>
          <cx:pt idx="63505">3</cx:pt>
          <cx:pt idx="63506">2</cx:pt>
          <cx:pt idx="63507">4</cx:pt>
          <cx:pt idx="63508">5</cx:pt>
          <cx:pt idx="63509">1</cx:pt>
          <cx:pt idx="63510">2</cx:pt>
          <cx:pt idx="63511">4</cx:pt>
          <cx:pt idx="63512">3</cx:pt>
          <cx:pt idx="63513">4</cx:pt>
          <cx:pt idx="63514">2</cx:pt>
          <cx:pt idx="63515">3</cx:pt>
          <cx:pt idx="63516">2</cx:pt>
          <cx:pt idx="63517">4</cx:pt>
          <cx:pt idx="63518">5</cx:pt>
          <cx:pt idx="63519">3</cx:pt>
          <cx:pt idx="63520">3</cx:pt>
          <cx:pt idx="63521">1</cx:pt>
          <cx:pt idx="63522">4</cx:pt>
          <cx:pt idx="63523">2</cx:pt>
          <cx:pt idx="63524">3</cx:pt>
          <cx:pt idx="63525">4</cx:pt>
          <cx:pt idx="63526">1</cx:pt>
          <cx:pt idx="63527">4</cx:pt>
          <cx:pt idx="63528">4</cx:pt>
          <cx:pt idx="63529">4</cx:pt>
          <cx:pt idx="63530">3</cx:pt>
          <cx:pt idx="63531">2</cx:pt>
          <cx:pt idx="63532">1</cx:pt>
          <cx:pt idx="63533">2</cx:pt>
          <cx:pt idx="63534">3</cx:pt>
          <cx:pt idx="63535">2</cx:pt>
          <cx:pt idx="63536">5</cx:pt>
          <cx:pt idx="63537">3</cx:pt>
          <cx:pt idx="63538">4</cx:pt>
          <cx:pt idx="63539">5</cx:pt>
          <cx:pt idx="63540">3</cx:pt>
          <cx:pt idx="63541">1</cx:pt>
          <cx:pt idx="63542">2</cx:pt>
          <cx:pt idx="63543">3</cx:pt>
          <cx:pt idx="63544">2</cx:pt>
          <cx:pt idx="63545">4</cx:pt>
          <cx:pt idx="63546">1</cx:pt>
          <cx:pt idx="63547">3</cx:pt>
          <cx:pt idx="63548">2</cx:pt>
          <cx:pt idx="63549">5</cx:pt>
          <cx:pt idx="63550">3</cx:pt>
          <cx:pt idx="63551">3</cx:pt>
          <cx:pt idx="63552">4</cx:pt>
          <cx:pt idx="63553">4</cx:pt>
          <cx:pt idx="63554">4</cx:pt>
          <cx:pt idx="63555">4</cx:pt>
          <cx:pt idx="63556">4</cx:pt>
          <cx:pt idx="63557">4</cx:pt>
          <cx:pt idx="63558">4</cx:pt>
          <cx:pt idx="63559">5</cx:pt>
          <cx:pt idx="63560">1</cx:pt>
          <cx:pt idx="63561">1</cx:pt>
          <cx:pt idx="63562">1</cx:pt>
          <cx:pt idx="63563">1</cx:pt>
          <cx:pt idx="63564">4</cx:pt>
          <cx:pt idx="63565">4</cx:pt>
          <cx:pt idx="63566">5</cx:pt>
          <cx:pt idx="63567">3</cx:pt>
          <cx:pt idx="63568">2</cx:pt>
          <cx:pt idx="63569">5</cx:pt>
          <cx:pt idx="63570">1</cx:pt>
          <cx:pt idx="63571">4</cx:pt>
          <cx:pt idx="63572">5</cx:pt>
          <cx:pt idx="63573">2</cx:pt>
          <cx:pt idx="63574">5</cx:pt>
          <cx:pt idx="63575">2</cx:pt>
          <cx:pt idx="63576">2</cx:pt>
          <cx:pt idx="63577">3</cx:pt>
          <cx:pt idx="63578">5</cx:pt>
          <cx:pt idx="63579">1</cx:pt>
          <cx:pt idx="63580">3</cx:pt>
          <cx:pt idx="63581">2</cx:pt>
          <cx:pt idx="63582">4</cx:pt>
          <cx:pt idx="63583">4</cx:pt>
          <cx:pt idx="63584">3</cx:pt>
          <cx:pt idx="63585">1</cx:pt>
          <cx:pt idx="63586">1</cx:pt>
          <cx:pt idx="63587">4</cx:pt>
          <cx:pt idx="63588">5</cx:pt>
          <cx:pt idx="63589">5</cx:pt>
          <cx:pt idx="63590">5</cx:pt>
          <cx:pt idx="63591">3</cx:pt>
          <cx:pt idx="63592">5</cx:pt>
          <cx:pt idx="63593">1</cx:pt>
          <cx:pt idx="63594">5</cx:pt>
          <cx:pt idx="63595">3</cx:pt>
          <cx:pt idx="63596">2</cx:pt>
          <cx:pt idx="63597">2</cx:pt>
          <cx:pt idx="63598">2</cx:pt>
          <cx:pt idx="63599">2</cx:pt>
          <cx:pt idx="63600">1</cx:pt>
          <cx:pt idx="63601">5</cx:pt>
          <cx:pt idx="63602">4</cx:pt>
          <cx:pt idx="63603">4</cx:pt>
          <cx:pt idx="63604">5</cx:pt>
          <cx:pt idx="63605">2</cx:pt>
          <cx:pt idx="63606">5</cx:pt>
          <cx:pt idx="63607">4</cx:pt>
          <cx:pt idx="63608">3</cx:pt>
          <cx:pt idx="63609">4</cx:pt>
          <cx:pt idx="63610">2</cx:pt>
          <cx:pt idx="63611">1</cx:pt>
          <cx:pt idx="63612">5</cx:pt>
          <cx:pt idx="63613">4</cx:pt>
          <cx:pt idx="63614">2</cx:pt>
          <cx:pt idx="63615">4</cx:pt>
          <cx:pt idx="63616">5</cx:pt>
          <cx:pt idx="63617">1</cx:pt>
          <cx:pt idx="63618">5</cx:pt>
          <cx:pt idx="63619">2</cx:pt>
          <cx:pt idx="63620">4</cx:pt>
          <cx:pt idx="63621">4</cx:pt>
          <cx:pt idx="63622">3</cx:pt>
          <cx:pt idx="63623">3</cx:pt>
          <cx:pt idx="63624">5</cx:pt>
          <cx:pt idx="63625">5</cx:pt>
          <cx:pt idx="63626">4</cx:pt>
          <cx:pt idx="63627">5</cx:pt>
          <cx:pt idx="63628">1</cx:pt>
          <cx:pt idx="63629">3</cx:pt>
          <cx:pt idx="63630">2</cx:pt>
          <cx:pt idx="63631">1</cx:pt>
          <cx:pt idx="63632">3</cx:pt>
          <cx:pt idx="63633">2</cx:pt>
          <cx:pt idx="63634">4</cx:pt>
          <cx:pt idx="63635">3</cx:pt>
          <cx:pt idx="63636">3</cx:pt>
          <cx:pt idx="63637">5</cx:pt>
          <cx:pt idx="63638">4</cx:pt>
          <cx:pt idx="63639">5</cx:pt>
          <cx:pt idx="63640">3</cx:pt>
          <cx:pt idx="63641">1</cx:pt>
          <cx:pt idx="63642">5</cx:pt>
          <cx:pt idx="63643">4</cx:pt>
          <cx:pt idx="63644">1</cx:pt>
          <cx:pt idx="63645">3</cx:pt>
          <cx:pt idx="63646">5</cx:pt>
          <cx:pt idx="63647">4</cx:pt>
          <cx:pt idx="63648">1</cx:pt>
          <cx:pt idx="63649">1</cx:pt>
          <cx:pt idx="63650">2</cx:pt>
          <cx:pt idx="63651">4</cx:pt>
          <cx:pt idx="63652">5</cx:pt>
          <cx:pt idx="63653">5</cx:pt>
          <cx:pt idx="63654">1</cx:pt>
          <cx:pt idx="63655">1</cx:pt>
          <cx:pt idx="63656">3</cx:pt>
          <cx:pt idx="63657">4</cx:pt>
          <cx:pt idx="63658">2</cx:pt>
          <cx:pt idx="63659">5</cx:pt>
          <cx:pt idx="63660">1</cx:pt>
          <cx:pt idx="63661">5</cx:pt>
          <cx:pt idx="63662">4</cx:pt>
          <cx:pt idx="63663">5</cx:pt>
          <cx:pt idx="63664">4</cx:pt>
          <cx:pt idx="63665">5</cx:pt>
          <cx:pt idx="63666">5</cx:pt>
          <cx:pt idx="63667">3</cx:pt>
          <cx:pt idx="63668">3</cx:pt>
          <cx:pt idx="63669">5</cx:pt>
          <cx:pt idx="63670">5</cx:pt>
          <cx:pt idx="63671">4</cx:pt>
          <cx:pt idx="63672">5</cx:pt>
          <cx:pt idx="63673">5</cx:pt>
          <cx:pt idx="63674">3</cx:pt>
          <cx:pt idx="63675">5</cx:pt>
          <cx:pt idx="63676">4</cx:pt>
          <cx:pt idx="63677">3</cx:pt>
          <cx:pt idx="63678">3</cx:pt>
          <cx:pt idx="63679">2</cx:pt>
          <cx:pt idx="63680">5</cx:pt>
          <cx:pt idx="63681">4</cx:pt>
          <cx:pt idx="63682">5</cx:pt>
          <cx:pt idx="63683">2</cx:pt>
          <cx:pt idx="63684">3</cx:pt>
          <cx:pt idx="63685">5</cx:pt>
          <cx:pt idx="63686">5</cx:pt>
          <cx:pt idx="63687">4</cx:pt>
          <cx:pt idx="63688">4</cx:pt>
          <cx:pt idx="63689">4</cx:pt>
          <cx:pt idx="63690">3</cx:pt>
          <cx:pt idx="63691">4</cx:pt>
          <cx:pt idx="63692">1</cx:pt>
          <cx:pt idx="63693">1</cx:pt>
          <cx:pt idx="63694">3</cx:pt>
          <cx:pt idx="63695">3</cx:pt>
          <cx:pt idx="63696">3</cx:pt>
          <cx:pt idx="63697">1</cx:pt>
          <cx:pt idx="63698">4</cx:pt>
          <cx:pt idx="63699">5</cx:pt>
          <cx:pt idx="63700">5</cx:pt>
          <cx:pt idx="63701">5</cx:pt>
          <cx:pt idx="63702">4</cx:pt>
          <cx:pt idx="63703">2</cx:pt>
          <cx:pt idx="63704">1</cx:pt>
          <cx:pt idx="63705">5</cx:pt>
          <cx:pt idx="63706">3</cx:pt>
          <cx:pt idx="63707">3</cx:pt>
          <cx:pt idx="63708">1</cx:pt>
          <cx:pt idx="63709">2</cx:pt>
          <cx:pt idx="63710">5</cx:pt>
          <cx:pt idx="63711">5</cx:pt>
          <cx:pt idx="63712">4</cx:pt>
          <cx:pt idx="63713">4</cx:pt>
          <cx:pt idx="63714">4</cx:pt>
          <cx:pt idx="63715">4</cx:pt>
          <cx:pt idx="63716">5</cx:pt>
          <cx:pt idx="63717">4</cx:pt>
          <cx:pt idx="63718">3</cx:pt>
          <cx:pt idx="63719">5</cx:pt>
          <cx:pt idx="63720">3</cx:pt>
          <cx:pt idx="63721">5</cx:pt>
          <cx:pt idx="63722">5</cx:pt>
          <cx:pt idx="63723">4</cx:pt>
          <cx:pt idx="63724">3</cx:pt>
          <cx:pt idx="63725">3</cx:pt>
          <cx:pt idx="63726">2</cx:pt>
          <cx:pt idx="63727">5</cx:pt>
          <cx:pt idx="63728">4</cx:pt>
          <cx:pt idx="63729">2</cx:pt>
          <cx:pt idx="63730">3</cx:pt>
          <cx:pt idx="63731">5</cx:pt>
          <cx:pt idx="63732">1</cx:pt>
          <cx:pt idx="63733">4</cx:pt>
          <cx:pt idx="63734">2</cx:pt>
          <cx:pt idx="63735">1</cx:pt>
          <cx:pt idx="63736">5</cx:pt>
          <cx:pt idx="63737">1</cx:pt>
          <cx:pt idx="63738">4</cx:pt>
          <cx:pt idx="63739">4</cx:pt>
          <cx:pt idx="63740">5</cx:pt>
          <cx:pt idx="63741">5</cx:pt>
          <cx:pt idx="63742">5</cx:pt>
          <cx:pt idx="63743">4</cx:pt>
          <cx:pt idx="63744">3</cx:pt>
          <cx:pt idx="63745">5</cx:pt>
          <cx:pt idx="63746">5</cx:pt>
          <cx:pt idx="63747">4</cx:pt>
          <cx:pt idx="63748">1</cx:pt>
          <cx:pt idx="63749">4</cx:pt>
          <cx:pt idx="63750">1</cx:pt>
          <cx:pt idx="63751">4</cx:pt>
          <cx:pt idx="63752">2</cx:pt>
          <cx:pt idx="63753">4</cx:pt>
          <cx:pt idx="63754">1</cx:pt>
          <cx:pt idx="63755">1</cx:pt>
          <cx:pt idx="63756">4</cx:pt>
          <cx:pt idx="63757">1</cx:pt>
          <cx:pt idx="63758">1</cx:pt>
          <cx:pt idx="63759">4</cx:pt>
          <cx:pt idx="63760">5</cx:pt>
          <cx:pt idx="63761">4</cx:pt>
          <cx:pt idx="63762">5</cx:pt>
          <cx:pt idx="63763">4</cx:pt>
          <cx:pt idx="63764">2</cx:pt>
          <cx:pt idx="63765">1</cx:pt>
          <cx:pt idx="63766">4</cx:pt>
          <cx:pt idx="63767">5</cx:pt>
          <cx:pt idx="63768">5</cx:pt>
          <cx:pt idx="63769">2</cx:pt>
          <cx:pt idx="63770">4</cx:pt>
          <cx:pt idx="63771">4</cx:pt>
          <cx:pt idx="63772">3</cx:pt>
          <cx:pt idx="63773">1</cx:pt>
          <cx:pt idx="63774">5</cx:pt>
          <cx:pt idx="63775">3</cx:pt>
          <cx:pt idx="63776">5</cx:pt>
          <cx:pt idx="63777">4</cx:pt>
          <cx:pt idx="63778">3</cx:pt>
          <cx:pt idx="63779">2</cx:pt>
          <cx:pt idx="63780">2</cx:pt>
          <cx:pt idx="63781">1</cx:pt>
          <cx:pt idx="63782">5</cx:pt>
          <cx:pt idx="63783">4</cx:pt>
          <cx:pt idx="63784">5</cx:pt>
          <cx:pt idx="63785">3</cx:pt>
          <cx:pt idx="63786">4</cx:pt>
          <cx:pt idx="63787">1</cx:pt>
          <cx:pt idx="63788">1</cx:pt>
          <cx:pt idx="63789">5</cx:pt>
          <cx:pt idx="63790">1</cx:pt>
          <cx:pt idx="63791">5</cx:pt>
          <cx:pt idx="63792">4</cx:pt>
          <cx:pt idx="63793">3</cx:pt>
          <cx:pt idx="63794">5</cx:pt>
          <cx:pt idx="63795">5</cx:pt>
          <cx:pt idx="63796">2</cx:pt>
          <cx:pt idx="63797">5</cx:pt>
          <cx:pt idx="63798">4</cx:pt>
          <cx:pt idx="63799">4</cx:pt>
          <cx:pt idx="63800">3</cx:pt>
          <cx:pt idx="63801">1</cx:pt>
          <cx:pt idx="63802">5</cx:pt>
          <cx:pt idx="63803">1</cx:pt>
          <cx:pt idx="63804">1</cx:pt>
          <cx:pt idx="63805">3</cx:pt>
          <cx:pt idx="63806">1</cx:pt>
          <cx:pt idx="63807">5</cx:pt>
          <cx:pt idx="63808">4</cx:pt>
          <cx:pt idx="63809">2</cx:pt>
          <cx:pt idx="63810">1</cx:pt>
          <cx:pt idx="63811">3</cx:pt>
          <cx:pt idx="63812">4</cx:pt>
          <cx:pt idx="63813">5</cx:pt>
          <cx:pt idx="63814">5</cx:pt>
          <cx:pt idx="63815">4</cx:pt>
          <cx:pt idx="63816">2</cx:pt>
          <cx:pt idx="63817">2</cx:pt>
          <cx:pt idx="63818">4</cx:pt>
          <cx:pt idx="63819">3</cx:pt>
          <cx:pt idx="63820">1</cx:pt>
          <cx:pt idx="63821">5</cx:pt>
          <cx:pt idx="63822">3</cx:pt>
          <cx:pt idx="63823">1</cx:pt>
          <cx:pt idx="63824">3</cx:pt>
          <cx:pt idx="63825">2</cx:pt>
          <cx:pt idx="63826">4</cx:pt>
          <cx:pt idx="63827">3</cx:pt>
          <cx:pt idx="63828">5</cx:pt>
          <cx:pt idx="63829">4</cx:pt>
          <cx:pt idx="63830">5</cx:pt>
          <cx:pt idx="63831">5</cx:pt>
          <cx:pt idx="63832">2</cx:pt>
          <cx:pt idx="63833">4</cx:pt>
          <cx:pt idx="63834">3</cx:pt>
          <cx:pt idx="63835">4</cx:pt>
          <cx:pt idx="63836">4</cx:pt>
          <cx:pt idx="63837">4</cx:pt>
          <cx:pt idx="63838">4</cx:pt>
          <cx:pt idx="63839">1</cx:pt>
          <cx:pt idx="63840">4</cx:pt>
          <cx:pt idx="63841">3</cx:pt>
          <cx:pt idx="63842">2</cx:pt>
          <cx:pt idx="63843">5</cx:pt>
          <cx:pt idx="63844">4</cx:pt>
          <cx:pt idx="63845">3</cx:pt>
          <cx:pt idx="63846">5</cx:pt>
          <cx:pt idx="63847">5</cx:pt>
          <cx:pt idx="63848">5</cx:pt>
          <cx:pt idx="63849">4</cx:pt>
          <cx:pt idx="63850">1</cx:pt>
          <cx:pt idx="63851">4</cx:pt>
          <cx:pt idx="63852">3</cx:pt>
          <cx:pt idx="63853">2</cx:pt>
          <cx:pt idx="63854">5</cx:pt>
          <cx:pt idx="63855">4</cx:pt>
          <cx:pt idx="63856">1</cx:pt>
          <cx:pt idx="63857">3</cx:pt>
          <cx:pt idx="63858">4</cx:pt>
          <cx:pt idx="63859">4</cx:pt>
          <cx:pt idx="63860">2</cx:pt>
          <cx:pt idx="63861">4</cx:pt>
          <cx:pt idx="63862">2</cx:pt>
          <cx:pt idx="63863">4</cx:pt>
          <cx:pt idx="63864">3</cx:pt>
          <cx:pt idx="63865">2</cx:pt>
          <cx:pt idx="63866">3</cx:pt>
          <cx:pt idx="63867">4</cx:pt>
          <cx:pt idx="63868">5</cx:pt>
          <cx:pt idx="63869">1</cx:pt>
          <cx:pt idx="63870">1</cx:pt>
          <cx:pt idx="63871">4</cx:pt>
          <cx:pt idx="63872">2</cx:pt>
          <cx:pt idx="63873">3</cx:pt>
          <cx:pt idx="63874">4</cx:pt>
          <cx:pt idx="63875">3</cx:pt>
          <cx:pt idx="63876">4</cx:pt>
          <cx:pt idx="63877">2</cx:pt>
          <cx:pt idx="63878">2</cx:pt>
          <cx:pt idx="63879">4</cx:pt>
          <cx:pt idx="63880">4</cx:pt>
          <cx:pt idx="63881">4</cx:pt>
          <cx:pt idx="63882">2</cx:pt>
          <cx:pt idx="63883">5</cx:pt>
          <cx:pt idx="63884">4</cx:pt>
          <cx:pt idx="63885">4</cx:pt>
          <cx:pt idx="63886">4</cx:pt>
          <cx:pt idx="63887">4</cx:pt>
          <cx:pt idx="63888">4</cx:pt>
          <cx:pt idx="63889">5</cx:pt>
          <cx:pt idx="63890">2</cx:pt>
          <cx:pt idx="63891">1</cx:pt>
          <cx:pt idx="63892">3</cx:pt>
          <cx:pt idx="63893">4</cx:pt>
          <cx:pt idx="63894">5</cx:pt>
          <cx:pt idx="63895">2</cx:pt>
          <cx:pt idx="63896">1</cx:pt>
          <cx:pt idx="63897">5</cx:pt>
          <cx:pt idx="63898">5</cx:pt>
          <cx:pt idx="63899">4</cx:pt>
          <cx:pt idx="63900">5</cx:pt>
          <cx:pt idx="63901">4</cx:pt>
          <cx:pt idx="63902">5</cx:pt>
          <cx:pt idx="63903">3</cx:pt>
          <cx:pt idx="63904">1</cx:pt>
          <cx:pt idx="63905">5</cx:pt>
          <cx:pt idx="63906">4</cx:pt>
          <cx:pt idx="63907">2</cx:pt>
          <cx:pt idx="63908">5</cx:pt>
          <cx:pt idx="63909">4</cx:pt>
          <cx:pt idx="63910">5</cx:pt>
          <cx:pt idx="63911">5</cx:pt>
          <cx:pt idx="63912">4</cx:pt>
          <cx:pt idx="63913">5</cx:pt>
          <cx:pt idx="63914">3</cx:pt>
          <cx:pt idx="63915">4</cx:pt>
          <cx:pt idx="63916">4</cx:pt>
          <cx:pt idx="63917">5</cx:pt>
          <cx:pt idx="63918">3</cx:pt>
          <cx:pt idx="63919">2</cx:pt>
          <cx:pt idx="63920">5</cx:pt>
          <cx:pt idx="63921">5</cx:pt>
          <cx:pt idx="63922">4</cx:pt>
          <cx:pt idx="63923">2</cx:pt>
          <cx:pt idx="63924">5</cx:pt>
          <cx:pt idx="63925">5</cx:pt>
          <cx:pt idx="63926">5</cx:pt>
          <cx:pt idx="63927">3</cx:pt>
          <cx:pt idx="63928">4</cx:pt>
          <cx:pt idx="63929">2</cx:pt>
          <cx:pt idx="63930">5</cx:pt>
          <cx:pt idx="63931">1</cx:pt>
          <cx:pt idx="63932">4</cx:pt>
          <cx:pt idx="63933">5</cx:pt>
          <cx:pt idx="63934">5</cx:pt>
          <cx:pt idx="63935">4</cx:pt>
          <cx:pt idx="63936">4</cx:pt>
          <cx:pt idx="63937">4</cx:pt>
          <cx:pt idx="63938">4</cx:pt>
          <cx:pt idx="63939">2</cx:pt>
          <cx:pt idx="63940">5</cx:pt>
          <cx:pt idx="63941">4</cx:pt>
          <cx:pt idx="63942">2</cx:pt>
          <cx:pt idx="63943">4</cx:pt>
          <cx:pt idx="63944">5</cx:pt>
          <cx:pt idx="63945">5</cx:pt>
          <cx:pt idx="63946">3</cx:pt>
          <cx:pt idx="63947">2</cx:pt>
          <cx:pt idx="63948">4</cx:pt>
          <cx:pt idx="63949">5</cx:pt>
          <cx:pt idx="63950">2</cx:pt>
          <cx:pt idx="63951">4</cx:pt>
          <cx:pt idx="63952">3</cx:pt>
          <cx:pt idx="63953">3</cx:pt>
          <cx:pt idx="63954">4</cx:pt>
          <cx:pt idx="63955">2</cx:pt>
          <cx:pt idx="63956">5</cx:pt>
          <cx:pt idx="63957">4</cx:pt>
          <cx:pt idx="63958">3</cx:pt>
          <cx:pt idx="63959">4</cx:pt>
          <cx:pt idx="63960">5</cx:pt>
          <cx:pt idx="63961">3</cx:pt>
          <cx:pt idx="63962">3</cx:pt>
          <cx:pt idx="63963">3</cx:pt>
          <cx:pt idx="63964">5</cx:pt>
          <cx:pt idx="63965">5</cx:pt>
          <cx:pt idx="63966">4</cx:pt>
          <cx:pt idx="63967">3</cx:pt>
          <cx:pt idx="63968">5</cx:pt>
          <cx:pt idx="63969">5</cx:pt>
          <cx:pt idx="63970">5</cx:pt>
          <cx:pt idx="63971">4</cx:pt>
          <cx:pt idx="63972">3</cx:pt>
          <cx:pt idx="63973">5</cx:pt>
          <cx:pt idx="63974">4</cx:pt>
          <cx:pt idx="63975">5</cx:pt>
          <cx:pt idx="63976">1</cx:pt>
          <cx:pt idx="63977">2</cx:pt>
          <cx:pt idx="63978">1</cx:pt>
          <cx:pt idx="63979">2</cx:pt>
          <cx:pt idx="63980">3</cx:pt>
          <cx:pt idx="63981">5</cx:pt>
          <cx:pt idx="63982">5</cx:pt>
          <cx:pt idx="63983">4</cx:pt>
          <cx:pt idx="63984">2</cx:pt>
          <cx:pt idx="63985">4</cx:pt>
          <cx:pt idx="63986">1</cx:pt>
          <cx:pt idx="63987">5</cx:pt>
          <cx:pt idx="63988">4</cx:pt>
          <cx:pt idx="63989">3</cx:pt>
          <cx:pt idx="63990">2</cx:pt>
          <cx:pt idx="63991">1</cx:pt>
          <cx:pt idx="63992">5</cx:pt>
          <cx:pt idx="63993">5</cx:pt>
          <cx:pt idx="63994">4</cx:pt>
          <cx:pt idx="63995">2</cx:pt>
          <cx:pt idx="63996">2</cx:pt>
          <cx:pt idx="63997">5</cx:pt>
          <cx:pt idx="63998">1</cx:pt>
          <cx:pt idx="63999">4</cx:pt>
          <cx:pt idx="64000">5</cx:pt>
          <cx:pt idx="64001">3</cx:pt>
          <cx:pt idx="64002">4</cx:pt>
          <cx:pt idx="64003">2</cx:pt>
          <cx:pt idx="64004">5</cx:pt>
          <cx:pt idx="64005">3</cx:pt>
          <cx:pt idx="64006">5</cx:pt>
          <cx:pt idx="64007">5</cx:pt>
          <cx:pt idx="64008">2</cx:pt>
          <cx:pt idx="64009">4</cx:pt>
          <cx:pt idx="64010">4</cx:pt>
          <cx:pt idx="64011">2</cx:pt>
          <cx:pt idx="64012">4</cx:pt>
          <cx:pt idx="64013">4</cx:pt>
          <cx:pt idx="64014">5</cx:pt>
          <cx:pt idx="64015">3</cx:pt>
          <cx:pt idx="64016">3</cx:pt>
          <cx:pt idx="64017">3</cx:pt>
          <cx:pt idx="64018">4</cx:pt>
          <cx:pt idx="64019">1</cx:pt>
          <cx:pt idx="64020">4</cx:pt>
          <cx:pt idx="64021">4</cx:pt>
          <cx:pt idx="64022">4</cx:pt>
          <cx:pt idx="64023">4</cx:pt>
          <cx:pt idx="64024">5</cx:pt>
          <cx:pt idx="64025">5</cx:pt>
          <cx:pt idx="64026">4</cx:pt>
          <cx:pt idx="64027">1</cx:pt>
          <cx:pt idx="64028">4</cx:pt>
          <cx:pt idx="64029">5</cx:pt>
          <cx:pt idx="64030">3</cx:pt>
          <cx:pt idx="64031">2</cx:pt>
          <cx:pt idx="64032">5</cx:pt>
          <cx:pt idx="64033">3</cx:pt>
          <cx:pt idx="64034">4</cx:pt>
          <cx:pt idx="64035">3</cx:pt>
          <cx:pt idx="64036">5</cx:pt>
          <cx:pt idx="64037">3</cx:pt>
          <cx:pt idx="64038">4</cx:pt>
          <cx:pt idx="64039">2</cx:pt>
          <cx:pt idx="64040">2</cx:pt>
          <cx:pt idx="64041">1</cx:pt>
          <cx:pt idx="64042">3</cx:pt>
          <cx:pt idx="64043">5</cx:pt>
          <cx:pt idx="64044">4</cx:pt>
          <cx:pt idx="64045">5</cx:pt>
          <cx:pt idx="64046">4</cx:pt>
          <cx:pt idx="64047">2</cx:pt>
          <cx:pt idx="64048">2</cx:pt>
          <cx:pt idx="64049">1</cx:pt>
          <cx:pt idx="64050">2</cx:pt>
          <cx:pt idx="64051">5</cx:pt>
          <cx:pt idx="64052">5</cx:pt>
          <cx:pt idx="64053">1</cx:pt>
          <cx:pt idx="64054">1</cx:pt>
          <cx:pt idx="64055">4</cx:pt>
          <cx:pt idx="64056">4</cx:pt>
          <cx:pt idx="64057">2</cx:pt>
          <cx:pt idx="64058">5</cx:pt>
          <cx:pt idx="64059">5</cx:pt>
          <cx:pt idx="64060">5</cx:pt>
          <cx:pt idx="64061">2</cx:pt>
          <cx:pt idx="64062">1</cx:pt>
          <cx:pt idx="64063">1</cx:pt>
          <cx:pt idx="64064">1</cx:pt>
          <cx:pt idx="64065">4</cx:pt>
          <cx:pt idx="64066">4</cx:pt>
          <cx:pt idx="64067">3</cx:pt>
          <cx:pt idx="64068">1</cx:pt>
          <cx:pt idx="64069">3</cx:pt>
          <cx:pt idx="64070">5</cx:pt>
          <cx:pt idx="64071">3</cx:pt>
          <cx:pt idx="64072">4</cx:pt>
          <cx:pt idx="64073">1</cx:pt>
          <cx:pt idx="64074">5</cx:pt>
          <cx:pt idx="64075">4</cx:pt>
          <cx:pt idx="64076">1</cx:pt>
          <cx:pt idx="64077">4</cx:pt>
          <cx:pt idx="64078">5</cx:pt>
          <cx:pt idx="64079">4</cx:pt>
          <cx:pt idx="64080">5</cx:pt>
          <cx:pt idx="64081">5</cx:pt>
          <cx:pt idx="64082">3</cx:pt>
          <cx:pt idx="64083">5</cx:pt>
          <cx:pt idx="64084">1</cx:pt>
          <cx:pt idx="64085">5</cx:pt>
          <cx:pt idx="64086">5</cx:pt>
          <cx:pt idx="64087">5</cx:pt>
          <cx:pt idx="64088">2</cx:pt>
          <cx:pt idx="64089">4</cx:pt>
          <cx:pt idx="64090">5</cx:pt>
          <cx:pt idx="64091">5</cx:pt>
          <cx:pt idx="64092">1</cx:pt>
          <cx:pt idx="64093">4</cx:pt>
          <cx:pt idx="64094">3</cx:pt>
          <cx:pt idx="64095">5</cx:pt>
          <cx:pt idx="64096">4</cx:pt>
          <cx:pt idx="64097">3</cx:pt>
          <cx:pt idx="64098">5</cx:pt>
          <cx:pt idx="64099">4</cx:pt>
          <cx:pt idx="64100">5</cx:pt>
          <cx:pt idx="64101">5</cx:pt>
          <cx:pt idx="64102">2</cx:pt>
          <cx:pt idx="64103">4</cx:pt>
          <cx:pt idx="64104">5</cx:pt>
          <cx:pt idx="64105">4</cx:pt>
          <cx:pt idx="64106">2</cx:pt>
          <cx:pt idx="64107">4</cx:pt>
          <cx:pt idx="64108">5</cx:pt>
          <cx:pt idx="64109">3</cx:pt>
          <cx:pt idx="64110">2</cx:pt>
          <cx:pt idx="64111">4</cx:pt>
          <cx:pt idx="64112">1</cx:pt>
          <cx:pt idx="64113">5</cx:pt>
          <cx:pt idx="64114">2</cx:pt>
          <cx:pt idx="64115">3</cx:pt>
          <cx:pt idx="64116">5</cx:pt>
          <cx:pt idx="64117">2</cx:pt>
          <cx:pt idx="64118">5</cx:pt>
          <cx:pt idx="64119">4</cx:pt>
          <cx:pt idx="64120">1</cx:pt>
          <cx:pt idx="64121">4</cx:pt>
          <cx:pt idx="64122">5</cx:pt>
          <cx:pt idx="64123">5</cx:pt>
          <cx:pt idx="64124">1</cx:pt>
          <cx:pt idx="64125">3</cx:pt>
          <cx:pt idx="64126">5</cx:pt>
          <cx:pt idx="64127">2</cx:pt>
          <cx:pt idx="64128">4</cx:pt>
          <cx:pt idx="64129">1</cx:pt>
          <cx:pt idx="64130">4</cx:pt>
          <cx:pt idx="64131">4</cx:pt>
          <cx:pt idx="64132">4</cx:pt>
          <cx:pt idx="64133">1</cx:pt>
          <cx:pt idx="64134">4</cx:pt>
          <cx:pt idx="64135">5</cx:pt>
          <cx:pt idx="64136">2</cx:pt>
          <cx:pt idx="64137">5</cx:pt>
          <cx:pt idx="64138">2</cx:pt>
          <cx:pt idx="64139">5</cx:pt>
          <cx:pt idx="64140">2</cx:pt>
          <cx:pt idx="64141">3</cx:pt>
          <cx:pt idx="64142">3</cx:pt>
          <cx:pt idx="64143">2</cx:pt>
          <cx:pt idx="64144">4</cx:pt>
          <cx:pt idx="64145">2</cx:pt>
          <cx:pt idx="64146">5</cx:pt>
          <cx:pt idx="64147">3</cx:pt>
          <cx:pt idx="64148">2</cx:pt>
          <cx:pt idx="64149">2</cx:pt>
          <cx:pt idx="64150">1</cx:pt>
          <cx:pt idx="64151">3</cx:pt>
          <cx:pt idx="64152">4</cx:pt>
          <cx:pt idx="64153">5</cx:pt>
          <cx:pt idx="64154">1</cx:pt>
          <cx:pt idx="64155">2</cx:pt>
          <cx:pt idx="64156">5</cx:pt>
          <cx:pt idx="64157">1</cx:pt>
          <cx:pt idx="64158">1</cx:pt>
          <cx:pt idx="64159">5</cx:pt>
          <cx:pt idx="64160">1</cx:pt>
          <cx:pt idx="64161">5</cx:pt>
          <cx:pt idx="64162">4</cx:pt>
          <cx:pt idx="64163">2</cx:pt>
          <cx:pt idx="64164">2</cx:pt>
          <cx:pt idx="64165">3</cx:pt>
          <cx:pt idx="64166">4</cx:pt>
          <cx:pt idx="64167">4</cx:pt>
          <cx:pt idx="64168">4</cx:pt>
          <cx:pt idx="64169">5</cx:pt>
          <cx:pt idx="64170">3</cx:pt>
          <cx:pt idx="64171">3</cx:pt>
          <cx:pt idx="64172">3</cx:pt>
          <cx:pt idx="64173">3</cx:pt>
          <cx:pt idx="64174">5</cx:pt>
          <cx:pt idx="64175">2</cx:pt>
          <cx:pt idx="64176">5</cx:pt>
          <cx:pt idx="64177">4</cx:pt>
          <cx:pt idx="64178">5</cx:pt>
          <cx:pt idx="64179">2</cx:pt>
          <cx:pt idx="64180">5</cx:pt>
          <cx:pt idx="64181">5</cx:pt>
          <cx:pt idx="64182">5</cx:pt>
          <cx:pt idx="64183">2</cx:pt>
          <cx:pt idx="64184">3</cx:pt>
          <cx:pt idx="64185">4</cx:pt>
          <cx:pt idx="64186">3</cx:pt>
          <cx:pt idx="64187">3</cx:pt>
          <cx:pt idx="64188">1</cx:pt>
          <cx:pt idx="64189">5</cx:pt>
          <cx:pt idx="64190">4</cx:pt>
          <cx:pt idx="64191">5</cx:pt>
          <cx:pt idx="64192">5</cx:pt>
          <cx:pt idx="64193">4</cx:pt>
          <cx:pt idx="64194">3</cx:pt>
          <cx:pt idx="64195">1</cx:pt>
          <cx:pt idx="64196">1</cx:pt>
          <cx:pt idx="64197">4</cx:pt>
          <cx:pt idx="64198">4</cx:pt>
          <cx:pt idx="64199">3</cx:pt>
          <cx:pt idx="64200">3</cx:pt>
          <cx:pt idx="64201">4</cx:pt>
          <cx:pt idx="64202">4</cx:pt>
          <cx:pt idx="64203">4</cx:pt>
          <cx:pt idx="64204">2</cx:pt>
          <cx:pt idx="64205">4</cx:pt>
          <cx:pt idx="64206">5</cx:pt>
          <cx:pt idx="64207">5</cx:pt>
          <cx:pt idx="64208">3</cx:pt>
          <cx:pt idx="64209">2</cx:pt>
          <cx:pt idx="64210">5</cx:pt>
          <cx:pt idx="64211">2</cx:pt>
          <cx:pt idx="64212">2</cx:pt>
          <cx:pt idx="64213">5</cx:pt>
          <cx:pt idx="64214">4</cx:pt>
          <cx:pt idx="64215">4</cx:pt>
          <cx:pt idx="64216">5</cx:pt>
          <cx:pt idx="64217">3</cx:pt>
          <cx:pt idx="64218">5</cx:pt>
          <cx:pt idx="64219">3</cx:pt>
          <cx:pt idx="64220">5</cx:pt>
          <cx:pt idx="64221">4</cx:pt>
          <cx:pt idx="64222">4</cx:pt>
          <cx:pt idx="64223">4</cx:pt>
          <cx:pt idx="64224">2</cx:pt>
          <cx:pt idx="64225">3</cx:pt>
          <cx:pt idx="64226">1</cx:pt>
          <cx:pt idx="64227">4</cx:pt>
          <cx:pt idx="64228">4</cx:pt>
          <cx:pt idx="64229">5</cx:pt>
          <cx:pt idx="64230">5</cx:pt>
          <cx:pt idx="64231">3</cx:pt>
          <cx:pt idx="64232">5</cx:pt>
          <cx:pt idx="64233">5</cx:pt>
          <cx:pt idx="64234">5</cx:pt>
          <cx:pt idx="64235">1</cx:pt>
          <cx:pt idx="64236">4</cx:pt>
          <cx:pt idx="64237">3</cx:pt>
          <cx:pt idx="64238">5</cx:pt>
          <cx:pt idx="64239">4</cx:pt>
          <cx:pt idx="64240">1</cx:pt>
          <cx:pt idx="64241">5</cx:pt>
          <cx:pt idx="64242">4</cx:pt>
          <cx:pt idx="64243">4</cx:pt>
          <cx:pt idx="64244">4</cx:pt>
          <cx:pt idx="64245">5</cx:pt>
          <cx:pt idx="64246">1</cx:pt>
          <cx:pt idx="64247">1</cx:pt>
          <cx:pt idx="64248">5</cx:pt>
          <cx:pt idx="64249">1</cx:pt>
          <cx:pt idx="64250">5</cx:pt>
          <cx:pt idx="64251">4</cx:pt>
          <cx:pt idx="64252">2</cx:pt>
          <cx:pt idx="64253">4</cx:pt>
          <cx:pt idx="64254">4</cx:pt>
          <cx:pt idx="64255">4</cx:pt>
          <cx:pt idx="64256">4</cx:pt>
          <cx:pt idx="64257">5</cx:pt>
          <cx:pt idx="64258">5</cx:pt>
          <cx:pt idx="64259">5</cx:pt>
          <cx:pt idx="64260">5</cx:pt>
          <cx:pt idx="64261">3</cx:pt>
          <cx:pt idx="64262">2</cx:pt>
          <cx:pt idx="64263">4</cx:pt>
          <cx:pt idx="64264">4</cx:pt>
          <cx:pt idx="64265">5</cx:pt>
          <cx:pt idx="64266">3</cx:pt>
          <cx:pt idx="64267">5</cx:pt>
          <cx:pt idx="64268">4</cx:pt>
          <cx:pt idx="64269">4</cx:pt>
          <cx:pt idx="64270">1</cx:pt>
          <cx:pt idx="64271">3</cx:pt>
          <cx:pt idx="64272">5</cx:pt>
          <cx:pt idx="64273">3</cx:pt>
          <cx:pt idx="64274">1</cx:pt>
          <cx:pt idx="64275">4</cx:pt>
          <cx:pt idx="64276">2</cx:pt>
          <cx:pt idx="64277">4</cx:pt>
          <cx:pt idx="64278">3</cx:pt>
          <cx:pt idx="64279">4</cx:pt>
          <cx:pt idx="64280">3</cx:pt>
          <cx:pt idx="64281">1</cx:pt>
          <cx:pt idx="64282">4</cx:pt>
          <cx:pt idx="64283">4</cx:pt>
          <cx:pt idx="64284">5</cx:pt>
          <cx:pt idx="64285">4</cx:pt>
          <cx:pt idx="64286">5</cx:pt>
          <cx:pt idx="64287">3</cx:pt>
          <cx:pt idx="64288">5</cx:pt>
          <cx:pt idx="64289">5</cx:pt>
          <cx:pt idx="64290">3</cx:pt>
          <cx:pt idx="64291">4</cx:pt>
          <cx:pt idx="64292">5</cx:pt>
          <cx:pt idx="64293">5</cx:pt>
          <cx:pt idx="64294">3</cx:pt>
          <cx:pt idx="64295">4</cx:pt>
          <cx:pt idx="64296">4</cx:pt>
          <cx:pt idx="64297">3</cx:pt>
          <cx:pt idx="64298">2</cx:pt>
          <cx:pt idx="64299">4</cx:pt>
          <cx:pt idx="64300">4</cx:pt>
          <cx:pt idx="64301">4</cx:pt>
          <cx:pt idx="64302">4</cx:pt>
          <cx:pt idx="64303">1</cx:pt>
          <cx:pt idx="64304">3</cx:pt>
          <cx:pt idx="64305">1</cx:pt>
          <cx:pt idx="64306">2</cx:pt>
          <cx:pt idx="64307">2</cx:pt>
          <cx:pt idx="64308">5</cx:pt>
          <cx:pt idx="64309">2</cx:pt>
          <cx:pt idx="64310">4</cx:pt>
          <cx:pt idx="64311">1</cx:pt>
          <cx:pt idx="64312">5</cx:pt>
          <cx:pt idx="64313">4</cx:pt>
          <cx:pt idx="64314">4</cx:pt>
          <cx:pt idx="64315">2</cx:pt>
          <cx:pt idx="64316">1</cx:pt>
          <cx:pt idx="64317">4</cx:pt>
          <cx:pt idx="64318">2</cx:pt>
          <cx:pt idx="64319">5</cx:pt>
          <cx:pt idx="64320">4</cx:pt>
          <cx:pt idx="64321">2</cx:pt>
          <cx:pt idx="64322">2</cx:pt>
          <cx:pt idx="64323">4</cx:pt>
          <cx:pt idx="64324">5</cx:pt>
          <cx:pt idx="64325">4</cx:pt>
          <cx:pt idx="64326">2</cx:pt>
          <cx:pt idx="64327">5</cx:pt>
          <cx:pt idx="64328">5</cx:pt>
          <cx:pt idx="64329">4</cx:pt>
          <cx:pt idx="64330">4</cx:pt>
          <cx:pt idx="64331">5</cx:pt>
          <cx:pt idx="64332">5</cx:pt>
          <cx:pt idx="64333">4</cx:pt>
          <cx:pt idx="64334">5</cx:pt>
          <cx:pt idx="64335">4</cx:pt>
          <cx:pt idx="64336">2</cx:pt>
          <cx:pt idx="64337">5</cx:pt>
          <cx:pt idx="64338">4</cx:pt>
          <cx:pt idx="64339">2</cx:pt>
          <cx:pt idx="64340">3</cx:pt>
          <cx:pt idx="64341">5</cx:pt>
          <cx:pt idx="64342">5</cx:pt>
          <cx:pt idx="64343">2</cx:pt>
          <cx:pt idx="64344">5</cx:pt>
          <cx:pt idx="64345">4</cx:pt>
          <cx:pt idx="64346">5</cx:pt>
          <cx:pt idx="64347">2</cx:pt>
          <cx:pt idx="64348">5</cx:pt>
          <cx:pt idx="64349">3</cx:pt>
          <cx:pt idx="64350">2</cx:pt>
          <cx:pt idx="64351">4</cx:pt>
          <cx:pt idx="64352">3</cx:pt>
          <cx:pt idx="64353">1</cx:pt>
          <cx:pt idx="64354">4</cx:pt>
          <cx:pt idx="64355">5</cx:pt>
          <cx:pt idx="64356">4</cx:pt>
          <cx:pt idx="64357">5</cx:pt>
          <cx:pt idx="64358">4</cx:pt>
          <cx:pt idx="64359">4</cx:pt>
          <cx:pt idx="64360">3</cx:pt>
          <cx:pt idx="64361">4</cx:pt>
          <cx:pt idx="64362">2</cx:pt>
          <cx:pt idx="64363">4</cx:pt>
          <cx:pt idx="64364">4</cx:pt>
          <cx:pt idx="64365">5</cx:pt>
          <cx:pt idx="64366">5</cx:pt>
          <cx:pt idx="64367">3</cx:pt>
          <cx:pt idx="64368">5</cx:pt>
          <cx:pt idx="64369">5</cx:pt>
          <cx:pt idx="64370">2</cx:pt>
          <cx:pt idx="64371">1</cx:pt>
          <cx:pt idx="64372">5</cx:pt>
          <cx:pt idx="64373">5</cx:pt>
          <cx:pt idx="64374">3</cx:pt>
          <cx:pt idx="64375">5</cx:pt>
          <cx:pt idx="64376">4</cx:pt>
          <cx:pt idx="64377">5</cx:pt>
          <cx:pt idx="64378">5</cx:pt>
          <cx:pt idx="64379">2</cx:pt>
          <cx:pt idx="64380">4</cx:pt>
          <cx:pt idx="64381">3</cx:pt>
          <cx:pt idx="64382">3</cx:pt>
          <cx:pt idx="64383">4</cx:pt>
          <cx:pt idx="64384">2</cx:pt>
          <cx:pt idx="64385">3</cx:pt>
          <cx:pt idx="64386">3</cx:pt>
          <cx:pt idx="64387">4</cx:pt>
          <cx:pt idx="64388">2</cx:pt>
          <cx:pt idx="64389">3</cx:pt>
          <cx:pt idx="64390">4</cx:pt>
          <cx:pt idx="64391">4</cx:pt>
          <cx:pt idx="64392">4</cx:pt>
          <cx:pt idx="64393">4</cx:pt>
          <cx:pt idx="64394">3</cx:pt>
          <cx:pt idx="64395">2</cx:pt>
          <cx:pt idx="64396">5</cx:pt>
          <cx:pt idx="64397">3</cx:pt>
          <cx:pt idx="64398">3</cx:pt>
          <cx:pt idx="64399">4</cx:pt>
          <cx:pt idx="64400">5</cx:pt>
          <cx:pt idx="64401">3</cx:pt>
          <cx:pt idx="64402">4</cx:pt>
          <cx:pt idx="64403">5</cx:pt>
          <cx:pt idx="64404">2</cx:pt>
          <cx:pt idx="64405">3</cx:pt>
          <cx:pt idx="64406">4</cx:pt>
          <cx:pt idx="64407">5</cx:pt>
          <cx:pt idx="64408">5</cx:pt>
          <cx:pt idx="64409">3</cx:pt>
          <cx:pt idx="64410">2</cx:pt>
          <cx:pt idx="64411">4</cx:pt>
          <cx:pt idx="64412">1</cx:pt>
          <cx:pt idx="64413">5</cx:pt>
          <cx:pt idx="64414">5</cx:pt>
          <cx:pt idx="64415">5</cx:pt>
          <cx:pt idx="64416">4</cx:pt>
          <cx:pt idx="64417">3</cx:pt>
          <cx:pt idx="64418">4</cx:pt>
          <cx:pt idx="64419">4</cx:pt>
          <cx:pt idx="64420">5</cx:pt>
          <cx:pt idx="64421">5</cx:pt>
          <cx:pt idx="64422">2</cx:pt>
          <cx:pt idx="64423">4</cx:pt>
          <cx:pt idx="64424">4</cx:pt>
          <cx:pt idx="64425">5</cx:pt>
          <cx:pt idx="64426">4</cx:pt>
          <cx:pt idx="64427">5</cx:pt>
          <cx:pt idx="64428">5</cx:pt>
          <cx:pt idx="64429">5</cx:pt>
          <cx:pt idx="64430">5</cx:pt>
          <cx:pt idx="64431">3</cx:pt>
          <cx:pt idx="64432">4</cx:pt>
          <cx:pt idx="64433">4</cx:pt>
          <cx:pt idx="64434">5</cx:pt>
          <cx:pt idx="64435">5</cx:pt>
          <cx:pt idx="64436">1</cx:pt>
          <cx:pt idx="64437">4</cx:pt>
          <cx:pt idx="64438">5</cx:pt>
          <cx:pt idx="64439">4</cx:pt>
          <cx:pt idx="64440">1</cx:pt>
          <cx:pt idx="64441">4</cx:pt>
          <cx:pt idx="64442">5</cx:pt>
          <cx:pt idx="64443">5</cx:pt>
          <cx:pt idx="64444">5</cx:pt>
          <cx:pt idx="64445">3</cx:pt>
          <cx:pt idx="64446">1</cx:pt>
          <cx:pt idx="64447">3</cx:pt>
          <cx:pt idx="64448">4</cx:pt>
          <cx:pt idx="64449">5</cx:pt>
          <cx:pt idx="64450">2</cx:pt>
          <cx:pt idx="64451">5</cx:pt>
          <cx:pt idx="64452">5</cx:pt>
          <cx:pt idx="64453">4</cx:pt>
          <cx:pt idx="64454">4</cx:pt>
          <cx:pt idx="64455">5</cx:pt>
          <cx:pt idx="64456">5</cx:pt>
          <cx:pt idx="64457">3</cx:pt>
          <cx:pt idx="64458">3</cx:pt>
          <cx:pt idx="64459">4</cx:pt>
          <cx:pt idx="64460">5</cx:pt>
          <cx:pt idx="64461">5</cx:pt>
          <cx:pt idx="64462">5</cx:pt>
          <cx:pt idx="64463">5</cx:pt>
          <cx:pt idx="64464">4</cx:pt>
          <cx:pt idx="64465">2</cx:pt>
          <cx:pt idx="64466">4</cx:pt>
          <cx:pt idx="64467">4</cx:pt>
          <cx:pt idx="64468">5</cx:pt>
          <cx:pt idx="64469">4</cx:pt>
          <cx:pt idx="64470">5</cx:pt>
          <cx:pt idx="64471">4</cx:pt>
          <cx:pt idx="64472">5</cx:pt>
          <cx:pt idx="64473">5</cx:pt>
          <cx:pt idx="64474">2</cx:pt>
          <cx:pt idx="64475">4</cx:pt>
          <cx:pt idx="64476">5</cx:pt>
          <cx:pt idx="64477">2</cx:pt>
          <cx:pt idx="64478">5</cx:pt>
          <cx:pt idx="64479">5</cx:pt>
          <cx:pt idx="64480">3</cx:pt>
          <cx:pt idx="64481">2</cx:pt>
          <cx:pt idx="64482">4</cx:pt>
          <cx:pt idx="64483">5</cx:pt>
          <cx:pt idx="64484">5</cx:pt>
          <cx:pt idx="64485">5</cx:pt>
          <cx:pt idx="64486">2</cx:pt>
          <cx:pt idx="64487">5</cx:pt>
          <cx:pt idx="64488">2</cx:pt>
          <cx:pt idx="64489">1</cx:pt>
          <cx:pt idx="64490">5</cx:pt>
          <cx:pt idx="64491">5</cx:pt>
          <cx:pt idx="64492">4</cx:pt>
          <cx:pt idx="64493">4</cx:pt>
          <cx:pt idx="64494">5</cx:pt>
          <cx:pt idx="64495">5</cx:pt>
          <cx:pt idx="64496">4</cx:pt>
          <cx:pt idx="64497">4</cx:pt>
          <cx:pt idx="64498">2</cx:pt>
          <cx:pt idx="64499">5</cx:pt>
          <cx:pt idx="64500">5</cx:pt>
          <cx:pt idx="64501">5</cx:pt>
          <cx:pt idx="64502">3</cx:pt>
          <cx:pt idx="64503">4</cx:pt>
          <cx:pt idx="64504">3</cx:pt>
          <cx:pt idx="64505">1</cx:pt>
          <cx:pt idx="64506">3</cx:pt>
          <cx:pt idx="64507">4</cx:pt>
          <cx:pt idx="64508">1</cx:pt>
          <cx:pt idx="64509">4</cx:pt>
          <cx:pt idx="64510">3</cx:pt>
          <cx:pt idx="64511">5</cx:pt>
          <cx:pt idx="64512">4</cx:pt>
          <cx:pt idx="64513">4</cx:pt>
          <cx:pt idx="64514">4</cx:pt>
          <cx:pt idx="64515">5</cx:pt>
          <cx:pt idx="64516">3</cx:pt>
          <cx:pt idx="64517">5</cx:pt>
          <cx:pt idx="64518">4</cx:pt>
          <cx:pt idx="64519">4</cx:pt>
          <cx:pt idx="64520">5</cx:pt>
          <cx:pt idx="64521">1</cx:pt>
          <cx:pt idx="64522">3</cx:pt>
          <cx:pt idx="64523">4</cx:pt>
          <cx:pt idx="64524">3</cx:pt>
          <cx:pt idx="64525">5</cx:pt>
          <cx:pt idx="64526">4</cx:pt>
          <cx:pt idx="64527">3</cx:pt>
          <cx:pt idx="64528">5</cx:pt>
          <cx:pt idx="64529">4</cx:pt>
          <cx:pt idx="64530">5</cx:pt>
          <cx:pt idx="64531">3</cx:pt>
          <cx:pt idx="64532">3</cx:pt>
          <cx:pt idx="64533">3</cx:pt>
          <cx:pt idx="64534">4</cx:pt>
          <cx:pt idx="64535">5</cx:pt>
          <cx:pt idx="64536">3</cx:pt>
          <cx:pt idx="64537">3</cx:pt>
          <cx:pt idx="64538">5</cx:pt>
          <cx:pt idx="64539">4</cx:pt>
          <cx:pt idx="64540">4</cx:pt>
          <cx:pt idx="64541">4</cx:pt>
          <cx:pt idx="64542">2</cx:pt>
          <cx:pt idx="64543">3</cx:pt>
          <cx:pt idx="64544">1</cx:pt>
          <cx:pt idx="64545">2</cx:pt>
          <cx:pt idx="64546">3</cx:pt>
          <cx:pt idx="64547">4</cx:pt>
          <cx:pt idx="64548">4</cx:pt>
          <cx:pt idx="64549">5</cx:pt>
          <cx:pt idx="64550">5</cx:pt>
          <cx:pt idx="64551">1</cx:pt>
          <cx:pt idx="64552">1</cx:pt>
          <cx:pt idx="64553">4</cx:pt>
          <cx:pt idx="64554">4</cx:pt>
          <cx:pt idx="64555">2</cx:pt>
          <cx:pt idx="64556">4</cx:pt>
          <cx:pt idx="64557">2</cx:pt>
          <cx:pt idx="64558">2</cx:pt>
          <cx:pt idx="64559">4</cx:pt>
          <cx:pt idx="64560">1</cx:pt>
          <cx:pt idx="64561">5</cx:pt>
          <cx:pt idx="64562">1</cx:pt>
          <cx:pt idx="64563">4</cx:pt>
          <cx:pt idx="64564">4</cx:pt>
          <cx:pt idx="64565">5</cx:pt>
          <cx:pt idx="64566">4</cx:pt>
          <cx:pt idx="64567">3</cx:pt>
          <cx:pt idx="64568">1</cx:pt>
          <cx:pt idx="64569">2</cx:pt>
          <cx:pt idx="64570">4</cx:pt>
          <cx:pt idx="64571">4</cx:pt>
          <cx:pt idx="64572">3</cx:pt>
          <cx:pt idx="64573">1</cx:pt>
          <cx:pt idx="64574">4</cx:pt>
          <cx:pt idx="64575">4</cx:pt>
          <cx:pt idx="64576">5</cx:pt>
          <cx:pt idx="64577">2</cx:pt>
          <cx:pt idx="64578">3</cx:pt>
          <cx:pt idx="64579">1</cx:pt>
          <cx:pt idx="64580">4</cx:pt>
          <cx:pt idx="64581">4</cx:pt>
          <cx:pt idx="64582">5</cx:pt>
          <cx:pt idx="64583">4</cx:pt>
          <cx:pt idx="64584">2</cx:pt>
          <cx:pt idx="64585">4</cx:pt>
          <cx:pt idx="64586">1</cx:pt>
          <cx:pt idx="64587">4</cx:pt>
          <cx:pt idx="64588">1</cx:pt>
          <cx:pt idx="64589">3</cx:pt>
          <cx:pt idx="64590">4</cx:pt>
          <cx:pt idx="64591">4</cx:pt>
          <cx:pt idx="64592">3</cx:pt>
          <cx:pt idx="64593">1</cx:pt>
          <cx:pt idx="64594">5</cx:pt>
          <cx:pt idx="64595">4</cx:pt>
          <cx:pt idx="64596">4</cx:pt>
          <cx:pt idx="64597">3</cx:pt>
          <cx:pt idx="64598">4</cx:pt>
          <cx:pt idx="64599">3</cx:pt>
          <cx:pt idx="64600">5</cx:pt>
          <cx:pt idx="64601">5</cx:pt>
          <cx:pt idx="64602">1</cx:pt>
          <cx:pt idx="64603">1</cx:pt>
          <cx:pt idx="64604">3</cx:pt>
          <cx:pt idx="64605">1</cx:pt>
          <cx:pt idx="64606">5</cx:pt>
          <cx:pt idx="64607">5</cx:pt>
          <cx:pt idx="64608">3</cx:pt>
          <cx:pt idx="64609">2</cx:pt>
          <cx:pt idx="64610">5</cx:pt>
          <cx:pt idx="64611">5</cx:pt>
          <cx:pt idx="64612">3</cx:pt>
          <cx:pt idx="64613">4</cx:pt>
          <cx:pt idx="64614">5</cx:pt>
          <cx:pt idx="64615">3</cx:pt>
          <cx:pt idx="64616">2</cx:pt>
          <cx:pt idx="64617">4</cx:pt>
          <cx:pt idx="64618">3</cx:pt>
          <cx:pt idx="64619">2</cx:pt>
          <cx:pt idx="64620">5</cx:pt>
          <cx:pt idx="64621">1</cx:pt>
          <cx:pt idx="64622">3</cx:pt>
          <cx:pt idx="64623">2</cx:pt>
          <cx:pt idx="64624">4</cx:pt>
          <cx:pt idx="64625">5</cx:pt>
          <cx:pt idx="64626">4</cx:pt>
          <cx:pt idx="64627">3</cx:pt>
          <cx:pt idx="64628">5</cx:pt>
          <cx:pt idx="64629">2</cx:pt>
          <cx:pt idx="64630">3</cx:pt>
          <cx:pt idx="64631">3</cx:pt>
          <cx:pt idx="64632">5</cx:pt>
          <cx:pt idx="64633">4</cx:pt>
          <cx:pt idx="64634">2</cx:pt>
          <cx:pt idx="64635">5</cx:pt>
          <cx:pt idx="64636">4</cx:pt>
          <cx:pt idx="64637">3</cx:pt>
          <cx:pt idx="64638">2</cx:pt>
          <cx:pt idx="64639">4</cx:pt>
          <cx:pt idx="64640">5</cx:pt>
          <cx:pt idx="64641">4</cx:pt>
          <cx:pt idx="64642">1</cx:pt>
          <cx:pt idx="64643">3</cx:pt>
          <cx:pt idx="64644">4</cx:pt>
          <cx:pt idx="64645">3</cx:pt>
          <cx:pt idx="64646">2</cx:pt>
          <cx:pt idx="64647">5</cx:pt>
          <cx:pt idx="64648">2</cx:pt>
          <cx:pt idx="64649">4</cx:pt>
          <cx:pt idx="64650">4</cx:pt>
          <cx:pt idx="64651">4</cx:pt>
          <cx:pt idx="64652">4</cx:pt>
          <cx:pt idx="64653">4</cx:pt>
          <cx:pt idx="64654">1</cx:pt>
          <cx:pt idx="64655">3</cx:pt>
          <cx:pt idx="64656">5</cx:pt>
          <cx:pt idx="64657">4</cx:pt>
          <cx:pt idx="64658">5</cx:pt>
          <cx:pt idx="64659">1</cx:pt>
          <cx:pt idx="64660">5</cx:pt>
          <cx:pt idx="64661">5</cx:pt>
          <cx:pt idx="64662">4</cx:pt>
          <cx:pt idx="64663">4</cx:pt>
          <cx:pt idx="64664">4</cx:pt>
          <cx:pt idx="64665">5</cx:pt>
          <cx:pt idx="64666">4</cx:pt>
          <cx:pt idx="64667">4</cx:pt>
          <cx:pt idx="64668">2</cx:pt>
          <cx:pt idx="64669">2</cx:pt>
          <cx:pt idx="64670">3</cx:pt>
          <cx:pt idx="64671">4</cx:pt>
          <cx:pt idx="64672">3</cx:pt>
          <cx:pt idx="64673">4</cx:pt>
          <cx:pt idx="64674">1</cx:pt>
          <cx:pt idx="64675">5</cx:pt>
          <cx:pt idx="64676">4</cx:pt>
          <cx:pt idx="64677">3</cx:pt>
          <cx:pt idx="64678">2</cx:pt>
          <cx:pt idx="64679">1</cx:pt>
          <cx:pt idx="64680">4</cx:pt>
          <cx:pt idx="64681">4</cx:pt>
          <cx:pt idx="64682">5</cx:pt>
          <cx:pt idx="64683">2</cx:pt>
          <cx:pt idx="64684">4</cx:pt>
          <cx:pt idx="64685">4</cx:pt>
          <cx:pt idx="64686">5</cx:pt>
          <cx:pt idx="64687">2</cx:pt>
          <cx:pt idx="64688">3</cx:pt>
          <cx:pt idx="64689">4</cx:pt>
          <cx:pt idx="64690">4</cx:pt>
          <cx:pt idx="64691">4</cx:pt>
          <cx:pt idx="64692">2</cx:pt>
          <cx:pt idx="64693">5</cx:pt>
          <cx:pt idx="64694">5</cx:pt>
          <cx:pt idx="64695">4</cx:pt>
          <cx:pt idx="64696">5</cx:pt>
          <cx:pt idx="64697">1</cx:pt>
          <cx:pt idx="64698">2</cx:pt>
          <cx:pt idx="64699">4</cx:pt>
          <cx:pt idx="64700">3</cx:pt>
          <cx:pt idx="64701">4</cx:pt>
          <cx:pt idx="64702">3</cx:pt>
          <cx:pt idx="64703">5</cx:pt>
          <cx:pt idx="64704">5</cx:pt>
          <cx:pt idx="64705">3</cx:pt>
          <cx:pt idx="64706">4</cx:pt>
          <cx:pt idx="64707">4</cx:pt>
          <cx:pt idx="64708">2</cx:pt>
          <cx:pt idx="64709">5</cx:pt>
          <cx:pt idx="64710">5</cx:pt>
          <cx:pt idx="64711">1</cx:pt>
          <cx:pt idx="64712">4</cx:pt>
          <cx:pt idx="64713">1</cx:pt>
          <cx:pt idx="64714">5</cx:pt>
          <cx:pt idx="64715">4</cx:pt>
          <cx:pt idx="64716">4</cx:pt>
          <cx:pt idx="64717">3</cx:pt>
          <cx:pt idx="64718">4</cx:pt>
          <cx:pt idx="64719">5</cx:pt>
          <cx:pt idx="64720">3</cx:pt>
          <cx:pt idx="64721">5</cx:pt>
          <cx:pt idx="64722">4</cx:pt>
          <cx:pt idx="64723">5</cx:pt>
          <cx:pt idx="64724">5</cx:pt>
          <cx:pt idx="64725">1</cx:pt>
          <cx:pt idx="64726">3</cx:pt>
          <cx:pt idx="64727">4</cx:pt>
          <cx:pt idx="64728">4</cx:pt>
          <cx:pt idx="64729">5</cx:pt>
          <cx:pt idx="64730">2</cx:pt>
          <cx:pt idx="64731">4</cx:pt>
          <cx:pt idx="64732">2</cx:pt>
          <cx:pt idx="64733">3</cx:pt>
          <cx:pt idx="64734">3</cx:pt>
          <cx:pt idx="64735">3</cx:pt>
          <cx:pt idx="64736">2</cx:pt>
          <cx:pt idx="64737">4</cx:pt>
          <cx:pt idx="64738">5</cx:pt>
          <cx:pt idx="64739">4</cx:pt>
          <cx:pt idx="64740">4</cx:pt>
          <cx:pt idx="64741">3</cx:pt>
          <cx:pt idx="64742">4</cx:pt>
          <cx:pt idx="64743">3</cx:pt>
          <cx:pt idx="64744">5</cx:pt>
          <cx:pt idx="64745">2</cx:pt>
          <cx:pt idx="64746">4</cx:pt>
          <cx:pt idx="64747">5</cx:pt>
          <cx:pt idx="64748">4</cx:pt>
          <cx:pt idx="64749">4</cx:pt>
          <cx:pt idx="64750">5</cx:pt>
          <cx:pt idx="64751">4</cx:pt>
          <cx:pt idx="64752">2</cx:pt>
          <cx:pt idx="64753">4</cx:pt>
          <cx:pt idx="64754">5</cx:pt>
          <cx:pt idx="64755">2</cx:pt>
          <cx:pt idx="64756">5</cx:pt>
          <cx:pt idx="64757">2</cx:pt>
          <cx:pt idx="64758">4</cx:pt>
          <cx:pt idx="64759">4</cx:pt>
          <cx:pt idx="64760">4</cx:pt>
          <cx:pt idx="64761">5</cx:pt>
          <cx:pt idx="64762">5</cx:pt>
          <cx:pt idx="64763">5</cx:pt>
          <cx:pt idx="64764">5</cx:pt>
          <cx:pt idx="64765">5</cx:pt>
          <cx:pt idx="64766">3</cx:pt>
          <cx:pt idx="64767">5</cx:pt>
          <cx:pt idx="64768">4</cx:pt>
          <cx:pt idx="64769">3</cx:pt>
          <cx:pt idx="64770">1</cx:pt>
          <cx:pt idx="64771">5</cx:pt>
          <cx:pt idx="64772">4</cx:pt>
          <cx:pt idx="64773">2</cx:pt>
          <cx:pt idx="64774">4</cx:pt>
          <cx:pt idx="64775">1</cx:pt>
          <cx:pt idx="64776">4</cx:pt>
          <cx:pt idx="64777">3</cx:pt>
          <cx:pt idx="64778">2</cx:pt>
          <cx:pt idx="64779">5</cx:pt>
          <cx:pt idx="64780">4</cx:pt>
          <cx:pt idx="64781">5</cx:pt>
          <cx:pt idx="64782">3</cx:pt>
          <cx:pt idx="64783">5</cx:pt>
          <cx:pt idx="64784">5</cx:pt>
          <cx:pt idx="64785">1</cx:pt>
          <cx:pt idx="64786">1</cx:pt>
          <cx:pt idx="64787">5</cx:pt>
          <cx:pt idx="64788">4</cx:pt>
          <cx:pt idx="64789">4</cx:pt>
          <cx:pt idx="64790">4</cx:pt>
          <cx:pt idx="64791">4</cx:pt>
          <cx:pt idx="64792">4</cx:pt>
          <cx:pt idx="64793">1</cx:pt>
          <cx:pt idx="64794">2</cx:pt>
          <cx:pt idx="64795">4</cx:pt>
          <cx:pt idx="64796">5</cx:pt>
          <cx:pt idx="64797">3</cx:pt>
          <cx:pt idx="64798">5</cx:pt>
          <cx:pt idx="64799">4</cx:pt>
          <cx:pt idx="64800">4</cx:pt>
          <cx:pt idx="64801">3</cx:pt>
          <cx:pt idx="64802">3</cx:pt>
          <cx:pt idx="64803">5</cx:pt>
          <cx:pt idx="64804">5</cx:pt>
          <cx:pt idx="64805">4</cx:pt>
          <cx:pt idx="64806">2</cx:pt>
          <cx:pt idx="64807">2</cx:pt>
          <cx:pt idx="64808">4</cx:pt>
          <cx:pt idx="64809">4</cx:pt>
          <cx:pt idx="64810">4</cx:pt>
          <cx:pt idx="64811">4</cx:pt>
          <cx:pt idx="64812">2</cx:pt>
          <cx:pt idx="64813">5</cx:pt>
          <cx:pt idx="64814">5</cx:pt>
          <cx:pt idx="64815">3</cx:pt>
          <cx:pt idx="64816">5</cx:pt>
          <cx:pt idx="64817">4</cx:pt>
          <cx:pt idx="64818">3</cx:pt>
          <cx:pt idx="64819">3</cx:pt>
          <cx:pt idx="64820">5</cx:pt>
          <cx:pt idx="64821">4</cx:pt>
          <cx:pt idx="64822">5</cx:pt>
          <cx:pt idx="64823">5</cx:pt>
          <cx:pt idx="64824">4</cx:pt>
          <cx:pt idx="64825">1</cx:pt>
          <cx:pt idx="64826">1</cx:pt>
          <cx:pt idx="64827">4</cx:pt>
          <cx:pt idx="64828">5</cx:pt>
          <cx:pt idx="64829">2</cx:pt>
          <cx:pt idx="64830">4</cx:pt>
          <cx:pt idx="64831">1</cx:pt>
          <cx:pt idx="64832">5</cx:pt>
          <cx:pt idx="64833">2</cx:pt>
          <cx:pt idx="64834">5</cx:pt>
          <cx:pt idx="64835">4</cx:pt>
          <cx:pt idx="64836">4</cx:pt>
          <cx:pt idx="64837">5</cx:pt>
          <cx:pt idx="64838">3</cx:pt>
          <cx:pt idx="64839">3</cx:pt>
          <cx:pt idx="64840">4</cx:pt>
          <cx:pt idx="64841">5</cx:pt>
          <cx:pt idx="64842">2</cx:pt>
          <cx:pt idx="64843">1</cx:pt>
          <cx:pt idx="64844">3</cx:pt>
          <cx:pt idx="64845">5</cx:pt>
          <cx:pt idx="64846">4</cx:pt>
          <cx:pt idx="64847">4</cx:pt>
          <cx:pt idx="64848">3</cx:pt>
          <cx:pt idx="64849">4</cx:pt>
          <cx:pt idx="64850">2</cx:pt>
          <cx:pt idx="64851">4</cx:pt>
          <cx:pt idx="64852">4</cx:pt>
          <cx:pt idx="64853">4</cx:pt>
          <cx:pt idx="64854">1</cx:pt>
          <cx:pt idx="64855">2</cx:pt>
          <cx:pt idx="64856">4</cx:pt>
          <cx:pt idx="64857">4</cx:pt>
          <cx:pt idx="64858">3</cx:pt>
          <cx:pt idx="64859">3</cx:pt>
          <cx:pt idx="64860">5</cx:pt>
          <cx:pt idx="64861">1</cx:pt>
          <cx:pt idx="64862">4</cx:pt>
          <cx:pt idx="64863">4</cx:pt>
          <cx:pt idx="64864">4</cx:pt>
          <cx:pt idx="64865">4</cx:pt>
          <cx:pt idx="64866">4</cx:pt>
          <cx:pt idx="64867">5</cx:pt>
          <cx:pt idx="64868">1</cx:pt>
          <cx:pt idx="64869">5</cx:pt>
          <cx:pt idx="64870">3</cx:pt>
          <cx:pt idx="64871">4</cx:pt>
          <cx:pt idx="64872">1</cx:pt>
          <cx:pt idx="64873">5</cx:pt>
          <cx:pt idx="64874">4</cx:pt>
          <cx:pt idx="64875">4</cx:pt>
          <cx:pt idx="64876">2</cx:pt>
          <cx:pt idx="64877">1</cx:pt>
          <cx:pt idx="64878">3</cx:pt>
          <cx:pt idx="64879">1</cx:pt>
          <cx:pt idx="64880">5</cx:pt>
          <cx:pt idx="64881">1</cx:pt>
          <cx:pt idx="64882">5</cx:pt>
          <cx:pt idx="64883">3</cx:pt>
          <cx:pt idx="64884">3</cx:pt>
          <cx:pt idx="64885">4</cx:pt>
          <cx:pt idx="64886">4</cx:pt>
          <cx:pt idx="64887">2</cx:pt>
          <cx:pt idx="64888">3</cx:pt>
          <cx:pt idx="64889">3</cx:pt>
          <cx:pt idx="64890">4</cx:pt>
          <cx:pt idx="64891">3</cx:pt>
          <cx:pt idx="64892">4</cx:pt>
          <cx:pt idx="64893">5</cx:pt>
          <cx:pt idx="64894">1</cx:pt>
          <cx:pt idx="64895">2</cx:pt>
          <cx:pt idx="64896">5</cx:pt>
          <cx:pt idx="64897">5</cx:pt>
          <cx:pt idx="64898">4</cx:pt>
          <cx:pt idx="64899">5</cx:pt>
          <cx:pt idx="64900">2</cx:pt>
          <cx:pt idx="64901">5</cx:pt>
          <cx:pt idx="64902">5</cx:pt>
          <cx:pt idx="64903">3</cx:pt>
          <cx:pt idx="64904">3</cx:pt>
          <cx:pt idx="64905">1</cx:pt>
          <cx:pt idx="64906">5</cx:pt>
          <cx:pt idx="64907">4</cx:pt>
          <cx:pt idx="64908">4</cx:pt>
          <cx:pt idx="64909">5</cx:pt>
          <cx:pt idx="64910">5</cx:pt>
          <cx:pt idx="64911">3</cx:pt>
          <cx:pt idx="64912">4</cx:pt>
          <cx:pt idx="64913">4</cx:pt>
          <cx:pt idx="64914">4</cx:pt>
          <cx:pt idx="64915">5</cx:pt>
          <cx:pt idx="64916">5</cx:pt>
          <cx:pt idx="64917">3</cx:pt>
          <cx:pt idx="64918">5</cx:pt>
          <cx:pt idx="64919">5</cx:pt>
          <cx:pt idx="64920">4</cx:pt>
          <cx:pt idx="64921">4</cx:pt>
          <cx:pt idx="64922">4</cx:pt>
          <cx:pt idx="64923">5</cx:pt>
          <cx:pt idx="64924">1</cx:pt>
          <cx:pt idx="64925">2</cx:pt>
          <cx:pt idx="64926">4</cx:pt>
          <cx:pt idx="64927">1</cx:pt>
          <cx:pt idx="64928">4</cx:pt>
          <cx:pt idx="64929">5</cx:pt>
          <cx:pt idx="64930">1</cx:pt>
          <cx:pt idx="64931">5</cx:pt>
          <cx:pt idx="64932">2</cx:pt>
          <cx:pt idx="64933">1</cx:pt>
          <cx:pt idx="64934">5</cx:pt>
          <cx:pt idx="64935">3</cx:pt>
          <cx:pt idx="64936">3</cx:pt>
          <cx:pt idx="64937">4</cx:pt>
          <cx:pt idx="64938">4</cx:pt>
          <cx:pt idx="64939">5</cx:pt>
          <cx:pt idx="64940">5</cx:pt>
          <cx:pt idx="64941">4</cx:pt>
          <cx:pt idx="64942">1</cx:pt>
          <cx:pt idx="64943">4</cx:pt>
          <cx:pt idx="64944">5</cx:pt>
          <cx:pt idx="64945">1</cx:pt>
          <cx:pt idx="64946">5</cx:pt>
          <cx:pt idx="64947">4</cx:pt>
          <cx:pt idx="64948">5</cx:pt>
          <cx:pt idx="64949">5</cx:pt>
          <cx:pt idx="64950">5</cx:pt>
          <cx:pt idx="64951">3</cx:pt>
          <cx:pt idx="64952">4</cx:pt>
          <cx:pt idx="64953">5</cx:pt>
          <cx:pt idx="64954">4</cx:pt>
          <cx:pt idx="64955">1</cx:pt>
          <cx:pt idx="64956">5</cx:pt>
          <cx:pt idx="64957">1</cx:pt>
          <cx:pt idx="64958">1</cx:pt>
          <cx:pt idx="64959">4</cx:pt>
          <cx:pt idx="64960">5</cx:pt>
          <cx:pt idx="64961">1</cx:pt>
          <cx:pt idx="64962">1</cx:pt>
          <cx:pt idx="64963">5</cx:pt>
          <cx:pt idx="64964">5</cx:pt>
          <cx:pt idx="64965">1</cx:pt>
          <cx:pt idx="64966">5</cx:pt>
          <cx:pt idx="64967">3</cx:pt>
          <cx:pt idx="64968">3</cx:pt>
          <cx:pt idx="64969">3</cx:pt>
          <cx:pt idx="64970">3</cx:pt>
          <cx:pt idx="64971">3</cx:pt>
          <cx:pt idx="64972">1</cx:pt>
          <cx:pt idx="64973">2</cx:pt>
          <cx:pt idx="64974">4</cx:pt>
          <cx:pt idx="64975">5</cx:pt>
          <cx:pt idx="64976">3</cx:pt>
          <cx:pt idx="64977">5</cx:pt>
          <cx:pt idx="64978">4</cx:pt>
          <cx:pt idx="64979">5</cx:pt>
          <cx:pt idx="64980">5</cx:pt>
          <cx:pt idx="64981">4</cx:pt>
          <cx:pt idx="64982">4</cx:pt>
          <cx:pt idx="64983">2</cx:pt>
          <cx:pt idx="64984">1</cx:pt>
          <cx:pt idx="64985">4</cx:pt>
          <cx:pt idx="64986">4</cx:pt>
          <cx:pt idx="64987">4</cx:pt>
          <cx:pt idx="64988">5</cx:pt>
          <cx:pt idx="64989">3</cx:pt>
          <cx:pt idx="64990">4</cx:pt>
          <cx:pt idx="64991">4</cx:pt>
          <cx:pt idx="64992">2</cx:pt>
          <cx:pt idx="64993">3</cx:pt>
          <cx:pt idx="64994">4</cx:pt>
          <cx:pt idx="64995">3</cx:pt>
          <cx:pt idx="64996">4</cx:pt>
          <cx:pt idx="64997">4</cx:pt>
          <cx:pt idx="64998">3</cx:pt>
          <cx:pt idx="64999">3</cx:pt>
          <cx:pt idx="65000">3</cx:pt>
          <cx:pt idx="65001">1</cx:pt>
          <cx:pt idx="65002">3</cx:pt>
          <cx:pt idx="65003">3</cx:pt>
          <cx:pt idx="65004">3</cx:pt>
          <cx:pt idx="65005">4</cx:pt>
          <cx:pt idx="65006">5</cx:pt>
          <cx:pt idx="65007">5</cx:pt>
          <cx:pt idx="65008">4</cx:pt>
          <cx:pt idx="65009">5</cx:pt>
          <cx:pt idx="65010">2</cx:pt>
          <cx:pt idx="65011">4</cx:pt>
          <cx:pt idx="65012">3</cx:pt>
          <cx:pt idx="65013">2</cx:pt>
          <cx:pt idx="65014">4</cx:pt>
          <cx:pt idx="65015">4</cx:pt>
          <cx:pt idx="65016">5</cx:pt>
          <cx:pt idx="65017">3</cx:pt>
          <cx:pt idx="65018">1</cx:pt>
          <cx:pt idx="65019">3</cx:pt>
          <cx:pt idx="65020">1</cx:pt>
          <cx:pt idx="65021">4</cx:pt>
          <cx:pt idx="65022">4</cx:pt>
          <cx:pt idx="65023">5</cx:pt>
          <cx:pt idx="65024">2</cx:pt>
          <cx:pt idx="65025">2</cx:pt>
          <cx:pt idx="65026">5</cx:pt>
          <cx:pt idx="65027">4</cx:pt>
          <cx:pt idx="65028">3</cx:pt>
          <cx:pt idx="65029">5</cx:pt>
          <cx:pt idx="65030">3</cx:pt>
          <cx:pt idx="65031">1</cx:pt>
          <cx:pt idx="65032">2</cx:pt>
          <cx:pt idx="65033">5</cx:pt>
          <cx:pt idx="65034">2</cx:pt>
          <cx:pt idx="65035">5</cx:pt>
          <cx:pt idx="65036">3</cx:pt>
          <cx:pt idx="65037">4</cx:pt>
          <cx:pt idx="65038">4</cx:pt>
          <cx:pt idx="65039">4</cx:pt>
          <cx:pt idx="65040">5</cx:pt>
          <cx:pt idx="65041">5</cx:pt>
          <cx:pt idx="65042">5</cx:pt>
          <cx:pt idx="65043">5</cx:pt>
          <cx:pt idx="65044">5</cx:pt>
          <cx:pt idx="65045">3</cx:pt>
          <cx:pt idx="65046">5</cx:pt>
          <cx:pt idx="65047">4</cx:pt>
          <cx:pt idx="65048">3</cx:pt>
          <cx:pt idx="65049">2</cx:pt>
          <cx:pt idx="65050">4</cx:pt>
          <cx:pt idx="65051">2</cx:pt>
          <cx:pt idx="65052">1</cx:pt>
          <cx:pt idx="65053">2</cx:pt>
          <cx:pt idx="65054">5</cx:pt>
          <cx:pt idx="65055">5</cx:pt>
          <cx:pt idx="65056">4</cx:pt>
          <cx:pt idx="65057">3</cx:pt>
          <cx:pt idx="65058">4</cx:pt>
          <cx:pt idx="65059">3</cx:pt>
          <cx:pt idx="65060">3</cx:pt>
          <cx:pt idx="65061">2</cx:pt>
          <cx:pt idx="65062">4</cx:pt>
          <cx:pt idx="65063">5</cx:pt>
          <cx:pt idx="65064">2</cx:pt>
          <cx:pt idx="65065">3</cx:pt>
          <cx:pt idx="65066">2</cx:pt>
          <cx:pt idx="65067">1</cx:pt>
          <cx:pt idx="65068">2</cx:pt>
          <cx:pt idx="65069">5</cx:pt>
          <cx:pt idx="65070">4</cx:pt>
          <cx:pt idx="65071">5</cx:pt>
          <cx:pt idx="65072">3</cx:pt>
          <cx:pt idx="65073">1</cx:pt>
          <cx:pt idx="65074">5</cx:pt>
          <cx:pt idx="65075">4</cx:pt>
          <cx:pt idx="65076">3</cx:pt>
          <cx:pt idx="65077">5</cx:pt>
          <cx:pt idx="65078">1</cx:pt>
          <cx:pt idx="65079">4</cx:pt>
          <cx:pt idx="65080">5</cx:pt>
          <cx:pt idx="65081">4</cx:pt>
          <cx:pt idx="65082">2</cx:pt>
          <cx:pt idx="65083">1</cx:pt>
          <cx:pt idx="65084">2</cx:pt>
          <cx:pt idx="65085">3</cx:pt>
          <cx:pt idx="65086">5</cx:pt>
          <cx:pt idx="65087">3</cx:pt>
          <cx:pt idx="65088">3</cx:pt>
          <cx:pt idx="65089">4</cx:pt>
          <cx:pt idx="65090">4</cx:pt>
          <cx:pt idx="65091">1</cx:pt>
          <cx:pt idx="65092">1</cx:pt>
          <cx:pt idx="65093">4</cx:pt>
          <cx:pt idx="65094">5</cx:pt>
          <cx:pt idx="65095">5</cx:pt>
          <cx:pt idx="65096">3</cx:pt>
          <cx:pt idx="65097">4</cx:pt>
          <cx:pt idx="65098">3</cx:pt>
          <cx:pt idx="65099">5</cx:pt>
          <cx:pt idx="65100">1</cx:pt>
          <cx:pt idx="65101">3</cx:pt>
          <cx:pt idx="65102">2</cx:pt>
          <cx:pt idx="65103">4</cx:pt>
          <cx:pt idx="65104">3</cx:pt>
          <cx:pt idx="65105">5</cx:pt>
          <cx:pt idx="65106">2</cx:pt>
          <cx:pt idx="65107">1</cx:pt>
          <cx:pt idx="65108">5</cx:pt>
          <cx:pt idx="65109">1</cx:pt>
          <cx:pt idx="65110">3</cx:pt>
          <cx:pt idx="65111">4</cx:pt>
          <cx:pt idx="65112">1</cx:pt>
          <cx:pt idx="65113">4</cx:pt>
          <cx:pt idx="65114">4</cx:pt>
          <cx:pt idx="65115">4</cx:pt>
          <cx:pt idx="65116">4</cx:pt>
          <cx:pt idx="65117">3</cx:pt>
          <cx:pt idx="65118">1</cx:pt>
          <cx:pt idx="65119">4</cx:pt>
          <cx:pt idx="65120">2</cx:pt>
          <cx:pt idx="65121">1</cx:pt>
          <cx:pt idx="65122">4</cx:pt>
          <cx:pt idx="65123">5</cx:pt>
          <cx:pt idx="65124">5</cx:pt>
          <cx:pt idx="65125">2</cx:pt>
          <cx:pt idx="65126">5</cx:pt>
          <cx:pt idx="65127">3</cx:pt>
          <cx:pt idx="65128">3</cx:pt>
          <cx:pt idx="65129">3</cx:pt>
          <cx:pt idx="65130">2</cx:pt>
          <cx:pt idx="65131">4</cx:pt>
          <cx:pt idx="65132">3</cx:pt>
          <cx:pt idx="65133">2</cx:pt>
          <cx:pt idx="65134">4</cx:pt>
          <cx:pt idx="65135">1</cx:pt>
          <cx:pt idx="65136">3</cx:pt>
          <cx:pt idx="65137">5</cx:pt>
          <cx:pt idx="65138">3</cx:pt>
          <cx:pt idx="65139">1</cx:pt>
          <cx:pt idx="65140">2</cx:pt>
          <cx:pt idx="65141">5</cx:pt>
          <cx:pt idx="65142">1</cx:pt>
          <cx:pt idx="65143">3</cx:pt>
          <cx:pt idx="65144">4</cx:pt>
          <cx:pt idx="65145">4</cx:pt>
          <cx:pt idx="65146">5</cx:pt>
          <cx:pt idx="65147">5</cx:pt>
          <cx:pt idx="65148">1</cx:pt>
          <cx:pt idx="65149">5</cx:pt>
          <cx:pt idx="65150">5</cx:pt>
          <cx:pt idx="65151">5</cx:pt>
          <cx:pt idx="65152">3</cx:pt>
          <cx:pt idx="65153">4</cx:pt>
          <cx:pt idx="65154">5</cx:pt>
          <cx:pt idx="65155">5</cx:pt>
          <cx:pt idx="65156">4</cx:pt>
          <cx:pt idx="65157">3</cx:pt>
          <cx:pt idx="65158">1</cx:pt>
          <cx:pt idx="65159">5</cx:pt>
          <cx:pt idx="65160">2</cx:pt>
          <cx:pt idx="65161">4</cx:pt>
          <cx:pt idx="65162">4</cx:pt>
          <cx:pt idx="65163">5</cx:pt>
          <cx:pt idx="65164">4</cx:pt>
          <cx:pt idx="65165">5</cx:pt>
          <cx:pt idx="65166">5</cx:pt>
          <cx:pt idx="65167">1</cx:pt>
          <cx:pt idx="65168">3</cx:pt>
          <cx:pt idx="65169">5</cx:pt>
          <cx:pt idx="65170">4</cx:pt>
          <cx:pt idx="65171">2</cx:pt>
          <cx:pt idx="65172">3</cx:pt>
          <cx:pt idx="65173">4</cx:pt>
          <cx:pt idx="65174">5</cx:pt>
          <cx:pt idx="65175">2</cx:pt>
          <cx:pt idx="65176">4</cx:pt>
          <cx:pt idx="65177">5</cx:pt>
          <cx:pt idx="65178">4</cx:pt>
          <cx:pt idx="65179">1</cx:pt>
          <cx:pt idx="65180">3</cx:pt>
          <cx:pt idx="65181">4</cx:pt>
          <cx:pt idx="65182">5</cx:pt>
          <cx:pt idx="65183">4</cx:pt>
          <cx:pt idx="65184">5</cx:pt>
          <cx:pt idx="65185">2</cx:pt>
          <cx:pt idx="65186">4</cx:pt>
          <cx:pt idx="65187">1</cx:pt>
          <cx:pt idx="65188">5</cx:pt>
          <cx:pt idx="65189">2</cx:pt>
          <cx:pt idx="65190">4</cx:pt>
          <cx:pt idx="65191">1</cx:pt>
          <cx:pt idx="65192">1</cx:pt>
          <cx:pt idx="65193">3</cx:pt>
          <cx:pt idx="65194">4</cx:pt>
          <cx:pt idx="65195">4</cx:pt>
          <cx:pt idx="65196">3</cx:pt>
          <cx:pt idx="65197">4</cx:pt>
          <cx:pt idx="65198">3</cx:pt>
          <cx:pt idx="65199">4</cx:pt>
          <cx:pt idx="65200">4</cx:pt>
          <cx:pt idx="65201">4</cx:pt>
          <cx:pt idx="65202">2</cx:pt>
          <cx:pt idx="65203">4</cx:pt>
          <cx:pt idx="65204">1</cx:pt>
          <cx:pt idx="65205">1</cx:pt>
          <cx:pt idx="65206">4</cx:pt>
          <cx:pt idx="65207">1</cx:pt>
          <cx:pt idx="65208">4</cx:pt>
          <cx:pt idx="65209">1</cx:pt>
          <cx:pt idx="65210">1</cx:pt>
          <cx:pt idx="65211">5</cx:pt>
          <cx:pt idx="65212">2</cx:pt>
          <cx:pt idx="65213">4</cx:pt>
          <cx:pt idx="65214">3</cx:pt>
          <cx:pt idx="65215">2</cx:pt>
          <cx:pt idx="65216">5</cx:pt>
          <cx:pt idx="65217">1</cx:pt>
          <cx:pt idx="65218">2</cx:pt>
          <cx:pt idx="65219">2</cx:pt>
          <cx:pt idx="65220">1</cx:pt>
          <cx:pt idx="65221">4</cx:pt>
          <cx:pt idx="65222">2</cx:pt>
          <cx:pt idx="65223">4</cx:pt>
          <cx:pt idx="65224">5</cx:pt>
          <cx:pt idx="65225">4</cx:pt>
          <cx:pt idx="65226">2</cx:pt>
          <cx:pt idx="65227">4</cx:pt>
          <cx:pt idx="65228">4</cx:pt>
          <cx:pt idx="65229">5</cx:pt>
          <cx:pt idx="65230">2</cx:pt>
          <cx:pt idx="65231">5</cx:pt>
          <cx:pt idx="65232">2</cx:pt>
          <cx:pt idx="65233">5</cx:pt>
          <cx:pt idx="65234">1</cx:pt>
          <cx:pt idx="65235">4</cx:pt>
          <cx:pt idx="65236">5</cx:pt>
          <cx:pt idx="65237">2</cx:pt>
          <cx:pt idx="65238">4</cx:pt>
          <cx:pt idx="65239">3</cx:pt>
          <cx:pt idx="65240">1</cx:pt>
          <cx:pt idx="65241">4</cx:pt>
          <cx:pt idx="65242">3</cx:pt>
          <cx:pt idx="65243">2</cx:pt>
          <cx:pt idx="65244">4</cx:pt>
          <cx:pt idx="65245">4</cx:pt>
          <cx:pt idx="65246">4</cx:pt>
          <cx:pt idx="65247">2</cx:pt>
          <cx:pt idx="65248">4</cx:pt>
          <cx:pt idx="65249">4</cx:pt>
          <cx:pt idx="65250">4</cx:pt>
          <cx:pt idx="65251">5</cx:pt>
          <cx:pt idx="65252">5</cx:pt>
          <cx:pt idx="65253">3</cx:pt>
          <cx:pt idx="65254">5</cx:pt>
          <cx:pt idx="65255">5</cx:pt>
          <cx:pt idx="65256">3</cx:pt>
          <cx:pt idx="65257">2</cx:pt>
          <cx:pt idx="65258">2</cx:pt>
          <cx:pt idx="65259">2</cx:pt>
          <cx:pt idx="65260">1</cx:pt>
          <cx:pt idx="65261">2</cx:pt>
          <cx:pt idx="65262">1</cx:pt>
          <cx:pt idx="65263">4</cx:pt>
          <cx:pt idx="65264">2</cx:pt>
          <cx:pt idx="65265">4</cx:pt>
          <cx:pt idx="65266">4</cx:pt>
          <cx:pt idx="65267">5</cx:pt>
          <cx:pt idx="65268">5</cx:pt>
          <cx:pt idx="65269">5</cx:pt>
          <cx:pt idx="65270">4</cx:pt>
          <cx:pt idx="65271">1</cx:pt>
          <cx:pt idx="65272">3</cx:pt>
          <cx:pt idx="65273">5</cx:pt>
          <cx:pt idx="65274">4</cx:pt>
          <cx:pt idx="65275">3</cx:pt>
          <cx:pt idx="65276">5</cx:pt>
          <cx:pt idx="65277">5</cx:pt>
          <cx:pt idx="65278">4</cx:pt>
          <cx:pt idx="65279">4</cx:pt>
          <cx:pt idx="65280">5</cx:pt>
          <cx:pt idx="65281">2</cx:pt>
          <cx:pt idx="65282">3</cx:pt>
          <cx:pt idx="65283">5</cx:pt>
          <cx:pt idx="65284">1</cx:pt>
          <cx:pt idx="65285">4</cx:pt>
          <cx:pt idx="65286">5</cx:pt>
          <cx:pt idx="65287">4</cx:pt>
          <cx:pt idx="65288">3</cx:pt>
          <cx:pt idx="65289">1</cx:pt>
          <cx:pt idx="65290">1</cx:pt>
          <cx:pt idx="65291">2</cx:pt>
          <cx:pt idx="65292">5</cx:pt>
          <cx:pt idx="65293">1</cx:pt>
          <cx:pt idx="65294">4</cx:pt>
          <cx:pt idx="65295">4</cx:pt>
          <cx:pt idx="65296">4</cx:pt>
          <cx:pt idx="65297">4</cx:pt>
          <cx:pt idx="65298">2</cx:pt>
          <cx:pt idx="65299">5</cx:pt>
          <cx:pt idx="65300">5</cx:pt>
          <cx:pt idx="65301">4</cx:pt>
          <cx:pt idx="65302">4</cx:pt>
          <cx:pt idx="65303">4</cx:pt>
          <cx:pt idx="65304">4</cx:pt>
          <cx:pt idx="65305">4</cx:pt>
          <cx:pt idx="65306">1</cx:pt>
          <cx:pt idx="65307">3</cx:pt>
          <cx:pt idx="65308">2</cx:pt>
          <cx:pt idx="65309">2</cx:pt>
          <cx:pt idx="65310">5</cx:pt>
          <cx:pt idx="65311">5</cx:pt>
          <cx:pt idx="65312">1</cx:pt>
          <cx:pt idx="65313">3</cx:pt>
          <cx:pt idx="65314">4</cx:pt>
          <cx:pt idx="65315">5</cx:pt>
          <cx:pt idx="65316">5</cx:pt>
          <cx:pt idx="65317">3</cx:pt>
          <cx:pt idx="65318">2</cx:pt>
          <cx:pt idx="65319">5</cx:pt>
          <cx:pt idx="65320">3</cx:pt>
          <cx:pt idx="65321">1</cx:pt>
          <cx:pt idx="65322">4</cx:pt>
          <cx:pt idx="65323">3</cx:pt>
          <cx:pt idx="65324">4</cx:pt>
          <cx:pt idx="65325">5</cx:pt>
          <cx:pt idx="65326">5</cx:pt>
          <cx:pt idx="65327">5</cx:pt>
          <cx:pt idx="65328">4</cx:pt>
          <cx:pt idx="65329">5</cx:pt>
          <cx:pt idx="65330">2</cx:pt>
          <cx:pt idx="65331">5</cx:pt>
          <cx:pt idx="65332">4</cx:pt>
          <cx:pt idx="65333">4</cx:pt>
          <cx:pt idx="65334">3</cx:pt>
          <cx:pt idx="65335">3</cx:pt>
          <cx:pt idx="65336">5</cx:pt>
          <cx:pt idx="65337">5</cx:pt>
          <cx:pt idx="65338">5</cx:pt>
          <cx:pt idx="65339">2</cx:pt>
          <cx:pt idx="65340">5</cx:pt>
          <cx:pt idx="65341">4</cx:pt>
          <cx:pt idx="65342">5</cx:pt>
          <cx:pt idx="65343">5</cx:pt>
          <cx:pt idx="65344">5</cx:pt>
          <cx:pt idx="65345">5</cx:pt>
          <cx:pt idx="65346">4</cx:pt>
          <cx:pt idx="65347">5</cx:pt>
          <cx:pt idx="65348">4</cx:pt>
          <cx:pt idx="65349">5</cx:pt>
          <cx:pt idx="65350">4</cx:pt>
          <cx:pt idx="65351">4</cx:pt>
          <cx:pt idx="65352">5</cx:pt>
          <cx:pt idx="65353">4</cx:pt>
          <cx:pt idx="65354">4</cx:pt>
          <cx:pt idx="65355">3</cx:pt>
          <cx:pt idx="65356">4</cx:pt>
          <cx:pt idx="65357">2</cx:pt>
          <cx:pt idx="65358">4</cx:pt>
          <cx:pt idx="65359">5</cx:pt>
          <cx:pt idx="65360">4</cx:pt>
          <cx:pt idx="65361">1</cx:pt>
          <cx:pt idx="65362">4</cx:pt>
          <cx:pt idx="65363">5</cx:pt>
          <cx:pt idx="65364">3</cx:pt>
          <cx:pt idx="65365">4</cx:pt>
          <cx:pt idx="65366">5</cx:pt>
          <cx:pt idx="65367">5</cx:pt>
          <cx:pt idx="65368">3</cx:pt>
          <cx:pt idx="65369">4</cx:pt>
          <cx:pt idx="65370">4</cx:pt>
          <cx:pt idx="65371">5</cx:pt>
          <cx:pt idx="65372">2</cx:pt>
          <cx:pt idx="65373">3</cx:pt>
          <cx:pt idx="65374">5</cx:pt>
          <cx:pt idx="65375">4</cx:pt>
          <cx:pt idx="65376">3</cx:pt>
          <cx:pt idx="65377">5</cx:pt>
          <cx:pt idx="65378">3</cx:pt>
          <cx:pt idx="65379">5</cx:pt>
          <cx:pt idx="65380">3</cx:pt>
          <cx:pt idx="65381">5</cx:pt>
          <cx:pt idx="65382">5</cx:pt>
          <cx:pt idx="65383">4</cx:pt>
          <cx:pt idx="65384">2</cx:pt>
          <cx:pt idx="65385">4</cx:pt>
          <cx:pt idx="65386">4</cx:pt>
          <cx:pt idx="65387">3</cx:pt>
          <cx:pt idx="65388">4</cx:pt>
          <cx:pt idx="65389">2</cx:pt>
          <cx:pt idx="65390">3</cx:pt>
          <cx:pt idx="65391">3</cx:pt>
          <cx:pt idx="65392">5</cx:pt>
          <cx:pt idx="65393">2</cx:pt>
          <cx:pt idx="65394">5</cx:pt>
          <cx:pt idx="65395">5</cx:pt>
          <cx:pt idx="65396">3</cx:pt>
          <cx:pt idx="65397">5</cx:pt>
          <cx:pt idx="65398">4</cx:pt>
          <cx:pt idx="65399">4</cx:pt>
          <cx:pt idx="65400">3</cx:pt>
          <cx:pt idx="65401">1</cx:pt>
          <cx:pt idx="65402">1</cx:pt>
          <cx:pt idx="65403">4</cx:pt>
          <cx:pt idx="65404">2</cx:pt>
          <cx:pt idx="65405">4</cx:pt>
          <cx:pt idx="65406">1</cx:pt>
          <cx:pt idx="65407">4</cx:pt>
          <cx:pt idx="65408">5</cx:pt>
          <cx:pt idx="65409">4</cx:pt>
          <cx:pt idx="65410">5</cx:pt>
          <cx:pt idx="65411">5</cx:pt>
          <cx:pt idx="65412">3</cx:pt>
          <cx:pt idx="65413">2</cx:pt>
          <cx:pt idx="65414">4</cx:pt>
          <cx:pt idx="65415">3</cx:pt>
          <cx:pt idx="65416">5</cx:pt>
          <cx:pt idx="65417">4</cx:pt>
          <cx:pt idx="65418">4</cx:pt>
          <cx:pt idx="65419">4</cx:pt>
          <cx:pt idx="65420">4</cx:pt>
          <cx:pt idx="65421">5</cx:pt>
          <cx:pt idx="65422">2</cx:pt>
          <cx:pt idx="65423">5</cx:pt>
          <cx:pt idx="65424">2</cx:pt>
          <cx:pt idx="65425">3</cx:pt>
          <cx:pt idx="65426">3</cx:pt>
          <cx:pt idx="65427">4</cx:pt>
          <cx:pt idx="65428">2</cx:pt>
          <cx:pt idx="65429">3</cx:pt>
          <cx:pt idx="65430">5</cx:pt>
          <cx:pt idx="65431">4</cx:pt>
          <cx:pt idx="65432">2</cx:pt>
          <cx:pt idx="65433">5</cx:pt>
          <cx:pt idx="65434">4</cx:pt>
          <cx:pt idx="65435">2</cx:pt>
          <cx:pt idx="65436">4</cx:pt>
          <cx:pt idx="65437">1</cx:pt>
          <cx:pt idx="65438">5</cx:pt>
          <cx:pt idx="65439">2</cx:pt>
          <cx:pt idx="65440">2</cx:pt>
          <cx:pt idx="65441">5</cx:pt>
          <cx:pt idx="65442">4</cx:pt>
          <cx:pt idx="65443">4</cx:pt>
          <cx:pt idx="65444">2</cx:pt>
          <cx:pt idx="65445">3</cx:pt>
          <cx:pt idx="65446">4</cx:pt>
          <cx:pt idx="65447">4</cx:pt>
          <cx:pt idx="65448">1</cx:pt>
          <cx:pt idx="65449">3</cx:pt>
          <cx:pt idx="65450">4</cx:pt>
          <cx:pt idx="65451">2</cx:pt>
          <cx:pt idx="65452">4</cx:pt>
          <cx:pt idx="65453">5</cx:pt>
          <cx:pt idx="65454">5</cx:pt>
          <cx:pt idx="65455">4</cx:pt>
          <cx:pt idx="65456">1</cx:pt>
          <cx:pt idx="65457">4</cx:pt>
          <cx:pt idx="65458">5</cx:pt>
          <cx:pt idx="65459">5</cx:pt>
          <cx:pt idx="65460">5</cx:pt>
          <cx:pt idx="65461">4</cx:pt>
          <cx:pt idx="65462">4</cx:pt>
          <cx:pt idx="65463">5</cx:pt>
          <cx:pt idx="65464">5</cx:pt>
          <cx:pt idx="65465">5</cx:pt>
          <cx:pt idx="65466">4</cx:pt>
          <cx:pt idx="65467">2</cx:pt>
          <cx:pt idx="65468">5</cx:pt>
          <cx:pt idx="65469">4</cx:pt>
          <cx:pt idx="65470">5</cx:pt>
          <cx:pt idx="65471">5</cx:pt>
          <cx:pt idx="65472">1</cx:pt>
          <cx:pt idx="65473">5</cx:pt>
          <cx:pt idx="65474">4</cx:pt>
          <cx:pt idx="65475">5</cx:pt>
          <cx:pt idx="65476">3</cx:pt>
          <cx:pt idx="65477">5</cx:pt>
          <cx:pt idx="65478">5</cx:pt>
          <cx:pt idx="65479">1</cx:pt>
          <cx:pt idx="65480">5</cx:pt>
          <cx:pt idx="65481">4</cx:pt>
          <cx:pt idx="65482">1</cx:pt>
          <cx:pt idx="65483">3</cx:pt>
          <cx:pt idx="65484">5</cx:pt>
          <cx:pt idx="65485">5</cx:pt>
          <cx:pt idx="65486">1</cx:pt>
          <cx:pt idx="65487">3</cx:pt>
          <cx:pt idx="65488">5</cx:pt>
          <cx:pt idx="65489">4</cx:pt>
          <cx:pt idx="65490">2</cx:pt>
          <cx:pt idx="65491">1</cx:pt>
          <cx:pt idx="65492">5</cx:pt>
          <cx:pt idx="65493">5</cx:pt>
          <cx:pt idx="65494">1</cx:pt>
          <cx:pt idx="65495">4</cx:pt>
          <cx:pt idx="65496">3</cx:pt>
          <cx:pt idx="65497">4</cx:pt>
          <cx:pt idx="65498">1</cx:pt>
          <cx:pt idx="65499">4</cx:pt>
          <cx:pt idx="65500">1</cx:pt>
          <cx:pt idx="65501">2</cx:pt>
          <cx:pt idx="65502">3</cx:pt>
          <cx:pt idx="65503">2</cx:pt>
          <cx:pt idx="65504">5</cx:pt>
          <cx:pt idx="65505">2</cx:pt>
          <cx:pt idx="65506">2</cx:pt>
          <cx:pt idx="65507">1</cx:pt>
          <cx:pt idx="65508">4</cx:pt>
          <cx:pt idx="65509">5</cx:pt>
          <cx:pt idx="65510">4</cx:pt>
          <cx:pt idx="65511">1</cx:pt>
          <cx:pt idx="65512">1</cx:pt>
          <cx:pt idx="65513">2</cx:pt>
          <cx:pt idx="65514">2</cx:pt>
          <cx:pt idx="65515">5</cx:pt>
          <cx:pt idx="65516">2</cx:pt>
          <cx:pt idx="65517">2</cx:pt>
          <cx:pt idx="65518">3</cx:pt>
          <cx:pt idx="65519">2</cx:pt>
          <cx:pt idx="65520">2</cx:pt>
          <cx:pt idx="65521">4</cx:pt>
          <cx:pt idx="65522">4</cx:pt>
          <cx:pt idx="65523">4</cx:pt>
          <cx:pt idx="65524">1</cx:pt>
          <cx:pt idx="65525">4</cx:pt>
          <cx:pt idx="65526">5</cx:pt>
          <cx:pt idx="65527">4</cx:pt>
          <cx:pt idx="65528">4</cx:pt>
          <cx:pt idx="65529">2</cx:pt>
          <cx:pt idx="65530">5</cx:pt>
          <cx:pt idx="65531">5</cx:pt>
          <cx:pt idx="65532">2</cx:pt>
          <cx:pt idx="65533">4</cx:pt>
          <cx:pt idx="65534">1</cx:pt>
          <cx:pt idx="65535">2</cx:pt>
          <cx:pt idx="65536">4</cx:pt>
          <cx:pt idx="65537">4</cx:pt>
          <cx:pt idx="65538">2</cx:pt>
          <cx:pt idx="65539">5</cx:pt>
          <cx:pt idx="65540">3</cx:pt>
          <cx:pt idx="65541">4</cx:pt>
          <cx:pt idx="65542">4</cx:pt>
          <cx:pt idx="65543">2</cx:pt>
          <cx:pt idx="65544">2</cx:pt>
          <cx:pt idx="65545">5</cx:pt>
          <cx:pt idx="65546">5</cx:pt>
          <cx:pt idx="65547">3</cx:pt>
          <cx:pt idx="65548">4</cx:pt>
          <cx:pt idx="65549">5</cx:pt>
          <cx:pt idx="65550">1</cx:pt>
          <cx:pt idx="65551">4</cx:pt>
          <cx:pt idx="65552">5</cx:pt>
          <cx:pt idx="65553">3</cx:pt>
          <cx:pt idx="65554">4</cx:pt>
          <cx:pt idx="65555">3</cx:pt>
          <cx:pt idx="65556">5</cx:pt>
          <cx:pt idx="65557">2</cx:pt>
          <cx:pt idx="65558">5</cx:pt>
          <cx:pt idx="65559">4</cx:pt>
          <cx:pt idx="65560">5</cx:pt>
          <cx:pt idx="65561">5</cx:pt>
          <cx:pt idx="65562">2</cx:pt>
          <cx:pt idx="65563">3</cx:pt>
          <cx:pt idx="65564">4</cx:pt>
          <cx:pt idx="65565">5</cx:pt>
          <cx:pt idx="65566">5</cx:pt>
          <cx:pt idx="65567">4</cx:pt>
          <cx:pt idx="65568">1</cx:pt>
          <cx:pt idx="65569">3</cx:pt>
          <cx:pt idx="65570">4</cx:pt>
          <cx:pt idx="65571">5</cx:pt>
          <cx:pt idx="65572">2</cx:pt>
          <cx:pt idx="65573">4</cx:pt>
          <cx:pt idx="65574">5</cx:pt>
          <cx:pt idx="65575">4</cx:pt>
          <cx:pt idx="65576">4</cx:pt>
          <cx:pt idx="65577">5</cx:pt>
          <cx:pt idx="65578">5</cx:pt>
          <cx:pt idx="65579">5</cx:pt>
          <cx:pt idx="65580">4</cx:pt>
          <cx:pt idx="65581">3</cx:pt>
          <cx:pt idx="65582">1</cx:pt>
          <cx:pt idx="65583">5</cx:pt>
          <cx:pt idx="65584">1</cx:pt>
          <cx:pt idx="65585">5</cx:pt>
          <cx:pt idx="65586">3</cx:pt>
          <cx:pt idx="65587">2</cx:pt>
          <cx:pt idx="65588">4</cx:pt>
          <cx:pt idx="65589">2</cx:pt>
          <cx:pt idx="65590">2</cx:pt>
          <cx:pt idx="65591">3</cx:pt>
          <cx:pt idx="65592">2</cx:pt>
          <cx:pt idx="65593">4</cx:pt>
          <cx:pt idx="65594">5</cx:pt>
          <cx:pt idx="65595">4</cx:pt>
          <cx:pt idx="65596">4</cx:pt>
          <cx:pt idx="65597">4</cx:pt>
          <cx:pt idx="65598">5</cx:pt>
          <cx:pt idx="65599">2</cx:pt>
          <cx:pt idx="65600">4</cx:pt>
          <cx:pt idx="65601">2</cx:pt>
          <cx:pt idx="65602">4</cx:pt>
          <cx:pt idx="65603">3</cx:pt>
          <cx:pt idx="65604">4</cx:pt>
          <cx:pt idx="65605">5</cx:pt>
          <cx:pt idx="65606">5</cx:pt>
          <cx:pt idx="65607">1</cx:pt>
          <cx:pt idx="65608">3</cx:pt>
          <cx:pt idx="65609">2</cx:pt>
          <cx:pt idx="65610">1</cx:pt>
          <cx:pt idx="65611">5</cx:pt>
          <cx:pt idx="65612">4</cx:pt>
          <cx:pt idx="65613">1</cx:pt>
          <cx:pt idx="65614">4</cx:pt>
          <cx:pt idx="65615">4</cx:pt>
          <cx:pt idx="65616">4</cx:pt>
          <cx:pt idx="65617">5</cx:pt>
          <cx:pt idx="65618">3</cx:pt>
          <cx:pt idx="65619">5</cx:pt>
          <cx:pt idx="65620">5</cx:pt>
          <cx:pt idx="65621">5</cx:pt>
          <cx:pt idx="65622">3</cx:pt>
          <cx:pt idx="65623">5</cx:pt>
          <cx:pt idx="65624">1</cx:pt>
          <cx:pt idx="65625">5</cx:pt>
          <cx:pt idx="65626">3</cx:pt>
          <cx:pt idx="65627">1</cx:pt>
          <cx:pt idx="65628">5</cx:pt>
          <cx:pt idx="65629">2</cx:pt>
          <cx:pt idx="65630">2</cx:pt>
          <cx:pt idx="65631">3</cx:pt>
          <cx:pt idx="65632">2</cx:pt>
          <cx:pt idx="65633">2</cx:pt>
          <cx:pt idx="65634">4</cx:pt>
          <cx:pt idx="65635">1</cx:pt>
          <cx:pt idx="65636">5</cx:pt>
          <cx:pt idx="65637">4</cx:pt>
          <cx:pt idx="65638">4</cx:pt>
          <cx:pt idx="65639">4</cx:pt>
          <cx:pt idx="65640">3</cx:pt>
          <cx:pt idx="65641">5</cx:pt>
          <cx:pt idx="65642">4</cx:pt>
          <cx:pt idx="65643">5</cx:pt>
          <cx:pt idx="65644">3</cx:pt>
          <cx:pt idx="65645">2</cx:pt>
          <cx:pt idx="65646">4</cx:pt>
          <cx:pt idx="65647">5</cx:pt>
          <cx:pt idx="65648">1</cx:pt>
          <cx:pt idx="65649">5</cx:pt>
          <cx:pt idx="65650">3</cx:pt>
          <cx:pt idx="65651">5</cx:pt>
          <cx:pt idx="65652">4</cx:pt>
          <cx:pt idx="65653">5</cx:pt>
          <cx:pt idx="65654">4</cx:pt>
          <cx:pt idx="65655">1</cx:pt>
          <cx:pt idx="65656">2</cx:pt>
          <cx:pt idx="65657">4</cx:pt>
          <cx:pt idx="65658">3</cx:pt>
          <cx:pt idx="65659">4</cx:pt>
          <cx:pt idx="65660">3</cx:pt>
          <cx:pt idx="65661">4</cx:pt>
          <cx:pt idx="65662">1</cx:pt>
          <cx:pt idx="65663">2</cx:pt>
          <cx:pt idx="65664">3</cx:pt>
          <cx:pt idx="65665">5</cx:pt>
          <cx:pt idx="65666">4</cx:pt>
          <cx:pt idx="65667">5</cx:pt>
          <cx:pt idx="65668">4</cx:pt>
          <cx:pt idx="65669">2</cx:pt>
          <cx:pt idx="65670">4</cx:pt>
          <cx:pt idx="65671">2</cx:pt>
          <cx:pt idx="65672">3</cx:pt>
          <cx:pt idx="65673">4</cx:pt>
          <cx:pt idx="65674">3</cx:pt>
          <cx:pt idx="65675">4</cx:pt>
          <cx:pt idx="65676">4</cx:pt>
          <cx:pt idx="65677">1</cx:pt>
          <cx:pt idx="65678">4</cx:pt>
          <cx:pt idx="65679">3</cx:pt>
          <cx:pt idx="65680">4</cx:pt>
          <cx:pt idx="65681">5</cx:pt>
          <cx:pt idx="65682">2</cx:pt>
          <cx:pt idx="65683">1</cx:pt>
          <cx:pt idx="65684">5</cx:pt>
          <cx:pt idx="65685">5</cx:pt>
          <cx:pt idx="65686">4</cx:pt>
          <cx:pt idx="65687">2</cx:pt>
          <cx:pt idx="65688">2</cx:pt>
          <cx:pt idx="65689">5</cx:pt>
          <cx:pt idx="65690">5</cx:pt>
          <cx:pt idx="65691">5</cx:pt>
          <cx:pt idx="65692">5</cx:pt>
          <cx:pt idx="65693">1</cx:pt>
          <cx:pt idx="65694">5</cx:pt>
          <cx:pt idx="65695">1</cx:pt>
          <cx:pt idx="65696">3</cx:pt>
          <cx:pt idx="65697">4</cx:pt>
          <cx:pt idx="65698">3</cx:pt>
          <cx:pt idx="65699">3</cx:pt>
          <cx:pt idx="65700">4</cx:pt>
          <cx:pt idx="65701">4</cx:pt>
          <cx:pt idx="65702">2</cx:pt>
          <cx:pt idx="65703">1</cx:pt>
          <cx:pt idx="65704">4</cx:pt>
          <cx:pt idx="65705">5</cx:pt>
          <cx:pt idx="65706">3</cx:pt>
          <cx:pt idx="65707">3</cx:pt>
          <cx:pt idx="65708">4</cx:pt>
          <cx:pt idx="65709">4</cx:pt>
          <cx:pt idx="65710">5</cx:pt>
          <cx:pt idx="65711">2</cx:pt>
          <cx:pt idx="65712">5</cx:pt>
          <cx:pt idx="65713">2</cx:pt>
          <cx:pt idx="65714">4</cx:pt>
          <cx:pt idx="65715">4</cx:pt>
          <cx:pt idx="65716">5</cx:pt>
          <cx:pt idx="65717">1</cx:pt>
          <cx:pt idx="65718">3</cx:pt>
          <cx:pt idx="65719">3</cx:pt>
          <cx:pt idx="65720">4</cx:pt>
          <cx:pt idx="65721">4</cx:pt>
          <cx:pt idx="65722">4</cx:pt>
          <cx:pt idx="65723">4</cx:pt>
          <cx:pt idx="65724">4</cx:pt>
          <cx:pt idx="65725">5</cx:pt>
          <cx:pt idx="65726">2</cx:pt>
          <cx:pt idx="65727">2</cx:pt>
          <cx:pt idx="65728">5</cx:pt>
          <cx:pt idx="65729">5</cx:pt>
          <cx:pt idx="65730">3</cx:pt>
          <cx:pt idx="65731">3</cx:pt>
          <cx:pt idx="65732">3</cx:pt>
          <cx:pt idx="65733">1</cx:pt>
          <cx:pt idx="65734">3</cx:pt>
          <cx:pt idx="65735">5</cx:pt>
          <cx:pt idx="65736">3</cx:pt>
          <cx:pt idx="65737">2</cx:pt>
          <cx:pt idx="65738">5</cx:pt>
          <cx:pt idx="65739">1</cx:pt>
          <cx:pt idx="65740">2</cx:pt>
          <cx:pt idx="65741">5</cx:pt>
          <cx:pt idx="65742">5</cx:pt>
          <cx:pt idx="65743">2</cx:pt>
          <cx:pt idx="65744">3</cx:pt>
          <cx:pt idx="65745">3</cx:pt>
          <cx:pt idx="65746">2</cx:pt>
          <cx:pt idx="65747">4</cx:pt>
          <cx:pt idx="65748">2</cx:pt>
          <cx:pt idx="65749">2</cx:pt>
          <cx:pt idx="65750">4</cx:pt>
          <cx:pt idx="65751">2</cx:pt>
          <cx:pt idx="65752">4</cx:pt>
          <cx:pt idx="65753">2</cx:pt>
          <cx:pt idx="65754">4</cx:pt>
          <cx:pt idx="65755">3</cx:pt>
          <cx:pt idx="65756">5</cx:pt>
          <cx:pt idx="65757">4</cx:pt>
          <cx:pt idx="65758">4</cx:pt>
          <cx:pt idx="65759">3</cx:pt>
          <cx:pt idx="65760">5</cx:pt>
          <cx:pt idx="65761">4</cx:pt>
          <cx:pt idx="65762">5</cx:pt>
          <cx:pt idx="65763">4</cx:pt>
          <cx:pt idx="65764">5</cx:pt>
          <cx:pt idx="65765">4</cx:pt>
          <cx:pt idx="65766">4</cx:pt>
          <cx:pt idx="65767">5</cx:pt>
          <cx:pt idx="65768">2</cx:pt>
          <cx:pt idx="65769">3</cx:pt>
          <cx:pt idx="65770">3</cx:pt>
          <cx:pt idx="65771">5</cx:pt>
          <cx:pt idx="65772">3</cx:pt>
          <cx:pt idx="65773">5</cx:pt>
          <cx:pt idx="65774">5</cx:pt>
          <cx:pt idx="65775">2</cx:pt>
          <cx:pt idx="65776">2</cx:pt>
          <cx:pt idx="65777">5</cx:pt>
          <cx:pt idx="65778">3</cx:pt>
          <cx:pt idx="65779">3</cx:pt>
          <cx:pt idx="65780">3</cx:pt>
          <cx:pt idx="65781">4</cx:pt>
          <cx:pt idx="65782">4</cx:pt>
          <cx:pt idx="65783">4</cx:pt>
          <cx:pt idx="65784">5</cx:pt>
          <cx:pt idx="65785">3</cx:pt>
          <cx:pt idx="65786">5</cx:pt>
          <cx:pt idx="65787">3</cx:pt>
          <cx:pt idx="65788">1</cx:pt>
          <cx:pt idx="65789">5</cx:pt>
          <cx:pt idx="65790">4</cx:pt>
          <cx:pt idx="65791">2</cx:pt>
          <cx:pt idx="65792">5</cx:pt>
          <cx:pt idx="65793">4</cx:pt>
          <cx:pt idx="65794">3</cx:pt>
          <cx:pt idx="65795">1</cx:pt>
          <cx:pt idx="65796">2</cx:pt>
          <cx:pt idx="65797">4</cx:pt>
          <cx:pt idx="65798">4</cx:pt>
          <cx:pt idx="65799">5</cx:pt>
          <cx:pt idx="65800">5</cx:pt>
          <cx:pt idx="65801">4</cx:pt>
          <cx:pt idx="65802">4</cx:pt>
          <cx:pt idx="65803">4</cx:pt>
          <cx:pt idx="65804">4</cx:pt>
          <cx:pt idx="65805">5</cx:pt>
          <cx:pt idx="65806">3</cx:pt>
          <cx:pt idx="65807">4</cx:pt>
          <cx:pt idx="65808">4</cx:pt>
          <cx:pt idx="65809">3</cx:pt>
          <cx:pt idx="65810">4</cx:pt>
          <cx:pt idx="65811">3</cx:pt>
          <cx:pt idx="65812">3</cx:pt>
          <cx:pt idx="65813">3</cx:pt>
          <cx:pt idx="65814">4</cx:pt>
          <cx:pt idx="65815">5</cx:pt>
          <cx:pt idx="65816">5</cx:pt>
          <cx:pt idx="65817">5</cx:pt>
          <cx:pt idx="65818">5</cx:pt>
          <cx:pt idx="65819">4</cx:pt>
          <cx:pt idx="65820">5</cx:pt>
          <cx:pt idx="65821">4</cx:pt>
          <cx:pt idx="65822">5</cx:pt>
          <cx:pt idx="65823">2</cx:pt>
          <cx:pt idx="65824">4</cx:pt>
          <cx:pt idx="65825">3</cx:pt>
          <cx:pt idx="65826">5</cx:pt>
          <cx:pt idx="65827">3</cx:pt>
          <cx:pt idx="65828">5</cx:pt>
          <cx:pt idx="65829">4</cx:pt>
          <cx:pt idx="65830">5</cx:pt>
          <cx:pt idx="65831">2</cx:pt>
          <cx:pt idx="65832">5</cx:pt>
          <cx:pt idx="65833">3</cx:pt>
          <cx:pt idx="65834">3</cx:pt>
          <cx:pt idx="65835">2</cx:pt>
          <cx:pt idx="65836">2</cx:pt>
          <cx:pt idx="65837">3</cx:pt>
          <cx:pt idx="65838">4</cx:pt>
          <cx:pt idx="65839">5</cx:pt>
          <cx:pt idx="65840">4</cx:pt>
          <cx:pt idx="65841">4</cx:pt>
          <cx:pt idx="65842">4</cx:pt>
          <cx:pt idx="65843">3</cx:pt>
          <cx:pt idx="65844">5</cx:pt>
          <cx:pt idx="65845">4</cx:pt>
          <cx:pt idx="65846">3</cx:pt>
          <cx:pt idx="65847">2</cx:pt>
          <cx:pt idx="65848">5</cx:pt>
          <cx:pt idx="65849">1</cx:pt>
          <cx:pt idx="65850">5</cx:pt>
          <cx:pt idx="65851">4</cx:pt>
          <cx:pt idx="65852">3</cx:pt>
          <cx:pt idx="65853">4</cx:pt>
          <cx:pt idx="65854">3</cx:pt>
          <cx:pt idx="65855">5</cx:pt>
          <cx:pt idx="65856">1</cx:pt>
          <cx:pt idx="65857">1</cx:pt>
          <cx:pt idx="65858">4</cx:pt>
          <cx:pt idx="65859">1</cx:pt>
          <cx:pt idx="65860">1</cx:pt>
          <cx:pt idx="65861">5</cx:pt>
          <cx:pt idx="65862">2</cx:pt>
          <cx:pt idx="65863">5</cx:pt>
          <cx:pt idx="65864">5</cx:pt>
          <cx:pt idx="65865">3</cx:pt>
          <cx:pt idx="65866">1</cx:pt>
          <cx:pt idx="65867">4</cx:pt>
          <cx:pt idx="65868">5</cx:pt>
          <cx:pt idx="65869">3</cx:pt>
          <cx:pt idx="65870">5</cx:pt>
          <cx:pt idx="65871">1</cx:pt>
          <cx:pt idx="65872">4</cx:pt>
          <cx:pt idx="65873">5</cx:pt>
          <cx:pt idx="65874">3</cx:pt>
          <cx:pt idx="65875">2</cx:pt>
          <cx:pt idx="65876">3</cx:pt>
          <cx:pt idx="65877">4</cx:pt>
          <cx:pt idx="65878">4</cx:pt>
          <cx:pt idx="65879">4</cx:pt>
          <cx:pt idx="65880">2</cx:pt>
          <cx:pt idx="65881">4</cx:pt>
          <cx:pt idx="65882">3</cx:pt>
          <cx:pt idx="65883">4</cx:pt>
          <cx:pt idx="65884">1</cx:pt>
          <cx:pt idx="65885">2</cx:pt>
          <cx:pt idx="65886">5</cx:pt>
          <cx:pt idx="65887">3</cx:pt>
          <cx:pt idx="65888">4</cx:pt>
          <cx:pt idx="65889">4</cx:pt>
          <cx:pt idx="65890">2</cx:pt>
          <cx:pt idx="65891">4</cx:pt>
          <cx:pt idx="65892">3</cx:pt>
          <cx:pt idx="65893">5</cx:pt>
          <cx:pt idx="65894">2</cx:pt>
          <cx:pt idx="65895">3</cx:pt>
          <cx:pt idx="65896">3</cx:pt>
          <cx:pt idx="65897">3</cx:pt>
          <cx:pt idx="65898">1</cx:pt>
          <cx:pt idx="65899">3</cx:pt>
          <cx:pt idx="65900">5</cx:pt>
          <cx:pt idx="65901">5</cx:pt>
          <cx:pt idx="65902">4</cx:pt>
          <cx:pt idx="65903">5</cx:pt>
          <cx:pt idx="65904">4</cx:pt>
          <cx:pt idx="65905">3</cx:pt>
          <cx:pt idx="65906">2</cx:pt>
          <cx:pt idx="65907">1</cx:pt>
          <cx:pt idx="65908">5</cx:pt>
          <cx:pt idx="65909">5</cx:pt>
          <cx:pt idx="65910">4</cx:pt>
          <cx:pt idx="65911">2</cx:pt>
          <cx:pt idx="65912">3</cx:pt>
          <cx:pt idx="65913">4</cx:pt>
          <cx:pt idx="65914">4</cx:pt>
          <cx:pt idx="65915">4</cx:pt>
          <cx:pt idx="65916">2</cx:pt>
          <cx:pt idx="65917">5</cx:pt>
          <cx:pt idx="65918">2</cx:pt>
          <cx:pt idx="65919">3</cx:pt>
          <cx:pt idx="65920">2</cx:pt>
          <cx:pt idx="65921">4</cx:pt>
          <cx:pt idx="65922">4</cx:pt>
          <cx:pt idx="65923">4</cx:pt>
          <cx:pt idx="65924">4</cx:pt>
          <cx:pt idx="65925">3</cx:pt>
          <cx:pt idx="65926">3</cx:pt>
          <cx:pt idx="65927">5</cx:pt>
          <cx:pt idx="65928">2</cx:pt>
          <cx:pt idx="65929">1</cx:pt>
          <cx:pt idx="65930">4</cx:pt>
          <cx:pt idx="65931">4</cx:pt>
          <cx:pt idx="65932">3</cx:pt>
          <cx:pt idx="65933">4</cx:pt>
          <cx:pt idx="65934">5</cx:pt>
          <cx:pt idx="65935">3</cx:pt>
          <cx:pt idx="65936">5</cx:pt>
          <cx:pt idx="65937">3</cx:pt>
          <cx:pt idx="65938">4</cx:pt>
          <cx:pt idx="65939">2</cx:pt>
          <cx:pt idx="65940">5</cx:pt>
          <cx:pt idx="65941">5</cx:pt>
          <cx:pt idx="65942">5</cx:pt>
          <cx:pt idx="65943">4</cx:pt>
          <cx:pt idx="65944">4</cx:pt>
          <cx:pt idx="65945">5</cx:pt>
          <cx:pt idx="65946">1</cx:pt>
          <cx:pt idx="65947">5</cx:pt>
          <cx:pt idx="65948">5</cx:pt>
          <cx:pt idx="65949">5</cx:pt>
          <cx:pt idx="65950">4</cx:pt>
          <cx:pt idx="65951">2</cx:pt>
          <cx:pt idx="65952">5</cx:pt>
          <cx:pt idx="65953">2</cx:pt>
          <cx:pt idx="65954">1</cx:pt>
          <cx:pt idx="65955">5</cx:pt>
          <cx:pt idx="65956">1</cx:pt>
          <cx:pt idx="65957">5</cx:pt>
          <cx:pt idx="65958">3</cx:pt>
          <cx:pt idx="65959">2</cx:pt>
          <cx:pt idx="65960">4</cx:pt>
          <cx:pt idx="65961">3</cx:pt>
          <cx:pt idx="65962">4</cx:pt>
          <cx:pt idx="65963">5</cx:pt>
          <cx:pt idx="65964">2</cx:pt>
          <cx:pt idx="65965">4</cx:pt>
          <cx:pt idx="65966">3</cx:pt>
          <cx:pt idx="65967">4</cx:pt>
          <cx:pt idx="65968">5</cx:pt>
          <cx:pt idx="65969">1</cx:pt>
          <cx:pt idx="65970">3</cx:pt>
          <cx:pt idx="65971">4</cx:pt>
          <cx:pt idx="65972">5</cx:pt>
          <cx:pt idx="65973">3</cx:pt>
          <cx:pt idx="65974">5</cx:pt>
          <cx:pt idx="65975">1</cx:pt>
          <cx:pt idx="65976">4</cx:pt>
          <cx:pt idx="65977">4</cx:pt>
          <cx:pt idx="65978">5</cx:pt>
          <cx:pt idx="65979">1</cx:pt>
          <cx:pt idx="65980">3</cx:pt>
          <cx:pt idx="65981">2</cx:pt>
          <cx:pt idx="65982">5</cx:pt>
          <cx:pt idx="65983">4</cx:pt>
          <cx:pt idx="65984">5</cx:pt>
          <cx:pt idx="65985">2</cx:pt>
          <cx:pt idx="65986">4</cx:pt>
          <cx:pt idx="65987">1</cx:pt>
          <cx:pt idx="65988">4</cx:pt>
          <cx:pt idx="65989">5</cx:pt>
          <cx:pt idx="65990">3</cx:pt>
          <cx:pt idx="65991">4</cx:pt>
          <cx:pt idx="65992">2</cx:pt>
          <cx:pt idx="65993">4</cx:pt>
          <cx:pt idx="65994">2</cx:pt>
          <cx:pt idx="65995">4</cx:pt>
          <cx:pt idx="65996">2</cx:pt>
          <cx:pt idx="65997">5</cx:pt>
          <cx:pt idx="65998">4</cx:pt>
          <cx:pt idx="65999">5</cx:pt>
          <cx:pt idx="66000">1</cx:pt>
          <cx:pt idx="66001">5</cx:pt>
          <cx:pt idx="66002">4</cx:pt>
          <cx:pt idx="66003">2</cx:pt>
          <cx:pt idx="66004">1</cx:pt>
          <cx:pt idx="66005">4</cx:pt>
          <cx:pt idx="66006">2</cx:pt>
          <cx:pt idx="66007">3</cx:pt>
          <cx:pt idx="66008">5</cx:pt>
          <cx:pt idx="66009">4</cx:pt>
          <cx:pt idx="66010">5</cx:pt>
          <cx:pt idx="66011">5</cx:pt>
          <cx:pt idx="66012">5</cx:pt>
          <cx:pt idx="66013">5</cx:pt>
          <cx:pt idx="66014">3</cx:pt>
          <cx:pt idx="66015">2</cx:pt>
          <cx:pt idx="66016">2</cx:pt>
          <cx:pt idx="66017">4</cx:pt>
          <cx:pt idx="66018">4</cx:pt>
          <cx:pt idx="66019">1</cx:pt>
          <cx:pt idx="66020">3</cx:pt>
          <cx:pt idx="66021">4</cx:pt>
          <cx:pt idx="66022">4</cx:pt>
          <cx:pt idx="66023">5</cx:pt>
          <cx:pt idx="66024">4</cx:pt>
          <cx:pt idx="66025">5</cx:pt>
          <cx:pt idx="66026">5</cx:pt>
          <cx:pt idx="66027">5</cx:pt>
          <cx:pt idx="66028">1</cx:pt>
          <cx:pt idx="66029">4</cx:pt>
          <cx:pt idx="66030">4</cx:pt>
          <cx:pt idx="66031">4</cx:pt>
          <cx:pt idx="66032">4</cx:pt>
          <cx:pt idx="66033">4</cx:pt>
          <cx:pt idx="66034">3</cx:pt>
          <cx:pt idx="66035">4</cx:pt>
          <cx:pt idx="66036">4</cx:pt>
          <cx:pt idx="66037">2</cx:pt>
          <cx:pt idx="66038">3</cx:pt>
          <cx:pt idx="66039">5</cx:pt>
          <cx:pt idx="66040">4</cx:pt>
          <cx:pt idx="66041">4</cx:pt>
          <cx:pt idx="66042">5</cx:pt>
          <cx:pt idx="66043">5</cx:pt>
          <cx:pt idx="66044">5</cx:pt>
          <cx:pt idx="66045">4</cx:pt>
          <cx:pt idx="66046">3</cx:pt>
          <cx:pt idx="66047">4</cx:pt>
          <cx:pt idx="66048">3</cx:pt>
          <cx:pt idx="66049">2</cx:pt>
          <cx:pt idx="66050">5</cx:pt>
          <cx:pt idx="66051">3</cx:pt>
          <cx:pt idx="66052">5</cx:pt>
          <cx:pt idx="66053">1</cx:pt>
          <cx:pt idx="66054">5</cx:pt>
          <cx:pt idx="66055">4</cx:pt>
          <cx:pt idx="66056">2</cx:pt>
          <cx:pt idx="66057">5</cx:pt>
          <cx:pt idx="66058">5</cx:pt>
          <cx:pt idx="66059">3</cx:pt>
          <cx:pt idx="66060">4</cx:pt>
          <cx:pt idx="66061">4</cx:pt>
          <cx:pt idx="66062">3</cx:pt>
          <cx:pt idx="66063">4</cx:pt>
          <cx:pt idx="66064">3</cx:pt>
          <cx:pt idx="66065">4</cx:pt>
          <cx:pt idx="66066">4</cx:pt>
          <cx:pt idx="66067">5</cx:pt>
          <cx:pt idx="66068">1</cx:pt>
          <cx:pt idx="66069">2</cx:pt>
          <cx:pt idx="66070">5</cx:pt>
          <cx:pt idx="66071">3</cx:pt>
          <cx:pt idx="66072">3</cx:pt>
          <cx:pt idx="66073">4</cx:pt>
          <cx:pt idx="66074">3</cx:pt>
          <cx:pt idx="66075">4</cx:pt>
          <cx:pt idx="66076">2</cx:pt>
          <cx:pt idx="66077">1</cx:pt>
          <cx:pt idx="66078">5</cx:pt>
          <cx:pt idx="66079">3</cx:pt>
          <cx:pt idx="66080">3</cx:pt>
          <cx:pt idx="66081">5</cx:pt>
          <cx:pt idx="66082">5</cx:pt>
          <cx:pt idx="66083">4</cx:pt>
          <cx:pt idx="66084">2</cx:pt>
          <cx:pt idx="66085">2</cx:pt>
          <cx:pt idx="66086">4</cx:pt>
          <cx:pt idx="66087">2</cx:pt>
          <cx:pt idx="66088">4</cx:pt>
          <cx:pt idx="66089">4</cx:pt>
          <cx:pt idx="66090">4</cx:pt>
          <cx:pt idx="66091">2</cx:pt>
          <cx:pt idx="66092">4</cx:pt>
          <cx:pt idx="66093">1</cx:pt>
          <cx:pt idx="66094">1</cx:pt>
          <cx:pt idx="66095">3</cx:pt>
          <cx:pt idx="66096">5</cx:pt>
          <cx:pt idx="66097">2</cx:pt>
          <cx:pt idx="66098">5</cx:pt>
          <cx:pt idx="66099">5</cx:pt>
          <cx:pt idx="66100">2</cx:pt>
          <cx:pt idx="66101">5</cx:pt>
          <cx:pt idx="66102">5</cx:pt>
          <cx:pt idx="66103">5</cx:pt>
          <cx:pt idx="66104">1</cx:pt>
          <cx:pt idx="66105">1</cx:pt>
          <cx:pt idx="66106">4</cx:pt>
          <cx:pt idx="66107">4</cx:pt>
          <cx:pt idx="66108">3</cx:pt>
          <cx:pt idx="66109">5</cx:pt>
          <cx:pt idx="66110">3</cx:pt>
          <cx:pt idx="66111">2</cx:pt>
          <cx:pt idx="66112">4</cx:pt>
          <cx:pt idx="66113">4</cx:pt>
          <cx:pt idx="66114">4</cx:pt>
          <cx:pt idx="66115">4</cx:pt>
          <cx:pt idx="66116">5</cx:pt>
          <cx:pt idx="66117">2</cx:pt>
          <cx:pt idx="66118">5</cx:pt>
          <cx:pt idx="66119">2</cx:pt>
          <cx:pt idx="66120">5</cx:pt>
          <cx:pt idx="66121">2</cx:pt>
          <cx:pt idx="66122">4</cx:pt>
          <cx:pt idx="66123">5</cx:pt>
          <cx:pt idx="66124">5</cx:pt>
          <cx:pt idx="66125">2</cx:pt>
          <cx:pt idx="66126">3</cx:pt>
          <cx:pt idx="66127">4</cx:pt>
          <cx:pt idx="66128">4</cx:pt>
          <cx:pt idx="66129">4</cx:pt>
          <cx:pt idx="66130">5</cx:pt>
          <cx:pt idx="66131">2</cx:pt>
          <cx:pt idx="66132">3</cx:pt>
          <cx:pt idx="66133">4</cx:pt>
          <cx:pt idx="66134">4</cx:pt>
          <cx:pt idx="66135">1</cx:pt>
          <cx:pt idx="66136">1</cx:pt>
          <cx:pt idx="66137">5</cx:pt>
          <cx:pt idx="66138">4</cx:pt>
          <cx:pt idx="66139">5</cx:pt>
          <cx:pt idx="66140">1</cx:pt>
          <cx:pt idx="66141">4</cx:pt>
          <cx:pt idx="66142">2</cx:pt>
          <cx:pt idx="66143">4</cx:pt>
          <cx:pt idx="66144">4</cx:pt>
          <cx:pt idx="66145">4</cx:pt>
          <cx:pt idx="66146">4</cx:pt>
          <cx:pt idx="66147">4</cx:pt>
          <cx:pt idx="66148">2</cx:pt>
          <cx:pt idx="66149">3</cx:pt>
          <cx:pt idx="66150">5</cx:pt>
          <cx:pt idx="66151">3</cx:pt>
          <cx:pt idx="66152">2</cx:pt>
          <cx:pt idx="66153">4</cx:pt>
          <cx:pt idx="66154">5</cx:pt>
          <cx:pt idx="66155">5</cx:pt>
          <cx:pt idx="66156">5</cx:pt>
          <cx:pt idx="66157">2</cx:pt>
          <cx:pt idx="66158">4</cx:pt>
          <cx:pt idx="66159">1</cx:pt>
          <cx:pt idx="66160">4</cx:pt>
          <cx:pt idx="66161">3</cx:pt>
          <cx:pt idx="66162">4</cx:pt>
          <cx:pt idx="66163">4</cx:pt>
          <cx:pt idx="66164">3</cx:pt>
          <cx:pt idx="66165">4</cx:pt>
          <cx:pt idx="66166">2</cx:pt>
          <cx:pt idx="66167">5</cx:pt>
          <cx:pt idx="66168">2</cx:pt>
          <cx:pt idx="66169">2</cx:pt>
          <cx:pt idx="66170">3</cx:pt>
          <cx:pt idx="66171">2</cx:pt>
          <cx:pt idx="66172">4</cx:pt>
          <cx:pt idx="66173">1</cx:pt>
          <cx:pt idx="66174">5</cx:pt>
          <cx:pt idx="66175">4</cx:pt>
          <cx:pt idx="66176">4</cx:pt>
          <cx:pt idx="66177">5</cx:pt>
          <cx:pt idx="66178">3</cx:pt>
          <cx:pt idx="66179">1</cx:pt>
          <cx:pt idx="66180">5</cx:pt>
          <cx:pt idx="66181">3</cx:pt>
          <cx:pt idx="66182">3</cx:pt>
          <cx:pt idx="66183">4</cx:pt>
          <cx:pt idx="66184">4</cx:pt>
          <cx:pt idx="66185">2</cx:pt>
          <cx:pt idx="66186">5</cx:pt>
          <cx:pt idx="66187">4</cx:pt>
          <cx:pt idx="66188">4</cx:pt>
          <cx:pt idx="66189">2</cx:pt>
          <cx:pt idx="66190">3</cx:pt>
          <cx:pt idx="66191">2</cx:pt>
          <cx:pt idx="66192">4</cx:pt>
          <cx:pt idx="66193">4</cx:pt>
          <cx:pt idx="66194">3</cx:pt>
          <cx:pt idx="66195">1</cx:pt>
          <cx:pt idx="66196">1</cx:pt>
          <cx:pt idx="66197">3</cx:pt>
          <cx:pt idx="66198">2</cx:pt>
          <cx:pt idx="66199">3</cx:pt>
          <cx:pt idx="66200">4</cx:pt>
          <cx:pt idx="66201">5</cx:pt>
          <cx:pt idx="66202">4</cx:pt>
          <cx:pt idx="66203">3</cx:pt>
          <cx:pt idx="66204">5</cx:pt>
          <cx:pt idx="66205">3</cx:pt>
          <cx:pt idx="66206">3</cx:pt>
          <cx:pt idx="66207">3</cx:pt>
          <cx:pt idx="66208">4</cx:pt>
          <cx:pt idx="66209">4</cx:pt>
          <cx:pt idx="66210">4</cx:pt>
          <cx:pt idx="66211">5</cx:pt>
          <cx:pt idx="66212">5</cx:pt>
          <cx:pt idx="66213">2</cx:pt>
          <cx:pt idx="66214">2</cx:pt>
          <cx:pt idx="66215">3</cx:pt>
          <cx:pt idx="66216">5</cx:pt>
          <cx:pt idx="66217">4</cx:pt>
          <cx:pt idx="66218">4</cx:pt>
          <cx:pt idx="66219">4</cx:pt>
          <cx:pt idx="66220">3</cx:pt>
          <cx:pt idx="66221">4</cx:pt>
          <cx:pt idx="66222">1</cx:pt>
          <cx:pt idx="66223">2</cx:pt>
          <cx:pt idx="66224">5</cx:pt>
          <cx:pt idx="66225">5</cx:pt>
          <cx:pt idx="66226">4</cx:pt>
          <cx:pt idx="66227">5</cx:pt>
          <cx:pt idx="66228">2</cx:pt>
          <cx:pt idx="66229">3</cx:pt>
          <cx:pt idx="66230">5</cx:pt>
          <cx:pt idx="66231">4</cx:pt>
          <cx:pt idx="66232">1</cx:pt>
          <cx:pt idx="66233">4</cx:pt>
          <cx:pt idx="66234">5</cx:pt>
          <cx:pt idx="66235">5</cx:pt>
          <cx:pt idx="66236">3</cx:pt>
          <cx:pt idx="66237">3</cx:pt>
          <cx:pt idx="66238">2</cx:pt>
          <cx:pt idx="66239">4</cx:pt>
          <cx:pt idx="66240">4</cx:pt>
          <cx:pt idx="66241">3</cx:pt>
          <cx:pt idx="66242">5</cx:pt>
          <cx:pt idx="66243">5</cx:pt>
          <cx:pt idx="66244">2</cx:pt>
          <cx:pt idx="66245">5</cx:pt>
          <cx:pt idx="66246">4</cx:pt>
          <cx:pt idx="66247">4</cx:pt>
          <cx:pt idx="66248">5</cx:pt>
          <cx:pt idx="66249">5</cx:pt>
          <cx:pt idx="66250">3</cx:pt>
          <cx:pt idx="66251">4</cx:pt>
          <cx:pt idx="66252">5</cx:pt>
          <cx:pt idx="66253">5</cx:pt>
          <cx:pt idx="66254">4</cx:pt>
          <cx:pt idx="66255">4</cx:pt>
          <cx:pt idx="66256">2</cx:pt>
          <cx:pt idx="66257">3</cx:pt>
          <cx:pt idx="66258">4</cx:pt>
          <cx:pt idx="66259">3</cx:pt>
          <cx:pt idx="66260">3</cx:pt>
          <cx:pt idx="66261">5</cx:pt>
          <cx:pt idx="66262">3</cx:pt>
          <cx:pt idx="66263">5</cx:pt>
          <cx:pt idx="66264">4</cx:pt>
          <cx:pt idx="66265">3</cx:pt>
          <cx:pt idx="66266">1</cx:pt>
          <cx:pt idx="66267">2</cx:pt>
          <cx:pt idx="66268">4</cx:pt>
          <cx:pt idx="66269">4</cx:pt>
          <cx:pt idx="66270">5</cx:pt>
          <cx:pt idx="66271">5</cx:pt>
          <cx:pt idx="66272">2</cx:pt>
          <cx:pt idx="66273">5</cx:pt>
          <cx:pt idx="66274">5</cx:pt>
          <cx:pt idx="66275">5</cx:pt>
          <cx:pt idx="66276">5</cx:pt>
          <cx:pt idx="66277">2</cx:pt>
          <cx:pt idx="66278">5</cx:pt>
          <cx:pt idx="66279">5</cx:pt>
          <cx:pt idx="66280">4</cx:pt>
          <cx:pt idx="66281">5</cx:pt>
          <cx:pt idx="66282">5</cx:pt>
          <cx:pt idx="66283">2</cx:pt>
          <cx:pt idx="66284">3</cx:pt>
          <cx:pt idx="66285">5</cx:pt>
          <cx:pt idx="66286">5</cx:pt>
          <cx:pt idx="66287">3</cx:pt>
          <cx:pt idx="66288">4</cx:pt>
          <cx:pt idx="66289">4</cx:pt>
          <cx:pt idx="66290">3</cx:pt>
          <cx:pt idx="66291">5</cx:pt>
          <cx:pt idx="66292">4</cx:pt>
          <cx:pt idx="66293">5</cx:pt>
          <cx:pt idx="66294">4</cx:pt>
          <cx:pt idx="66295">3</cx:pt>
          <cx:pt idx="66296">1</cx:pt>
          <cx:pt idx="66297">5</cx:pt>
          <cx:pt idx="66298">5</cx:pt>
          <cx:pt idx="66299">3</cx:pt>
          <cx:pt idx="66300">3</cx:pt>
          <cx:pt idx="66301">1</cx:pt>
          <cx:pt idx="66302">5</cx:pt>
          <cx:pt idx="66303">4</cx:pt>
          <cx:pt idx="66304">3</cx:pt>
          <cx:pt idx="66305">5</cx:pt>
          <cx:pt idx="66306">1</cx:pt>
          <cx:pt idx="66307">5</cx:pt>
          <cx:pt idx="66308">3</cx:pt>
          <cx:pt idx="66309">3</cx:pt>
          <cx:pt idx="66310">1</cx:pt>
          <cx:pt idx="66311">5</cx:pt>
          <cx:pt idx="66312">1</cx:pt>
          <cx:pt idx="66313">1</cx:pt>
          <cx:pt idx="66314">1</cx:pt>
          <cx:pt idx="66315">1</cx:pt>
          <cx:pt idx="66316">3</cx:pt>
          <cx:pt idx="66317">4</cx:pt>
          <cx:pt idx="66318">2</cx:pt>
          <cx:pt idx="66319">5</cx:pt>
          <cx:pt idx="66320">4</cx:pt>
          <cx:pt idx="66321">4</cx:pt>
          <cx:pt idx="66322">5</cx:pt>
          <cx:pt idx="66323">4</cx:pt>
          <cx:pt idx="66324">1</cx:pt>
          <cx:pt idx="66325">5</cx:pt>
          <cx:pt idx="66326">5</cx:pt>
          <cx:pt idx="66327">3</cx:pt>
          <cx:pt idx="66328">4</cx:pt>
          <cx:pt idx="66329">2</cx:pt>
          <cx:pt idx="66330">4</cx:pt>
          <cx:pt idx="66331">4</cx:pt>
          <cx:pt idx="66332">4</cx:pt>
          <cx:pt idx="66333">2</cx:pt>
          <cx:pt idx="66334">5</cx:pt>
          <cx:pt idx="66335">4</cx:pt>
          <cx:pt idx="66336">3</cx:pt>
          <cx:pt idx="66337">3</cx:pt>
          <cx:pt idx="66338">3</cx:pt>
          <cx:pt idx="66339">5</cx:pt>
          <cx:pt idx="66340">3</cx:pt>
          <cx:pt idx="66341">1</cx:pt>
          <cx:pt idx="66342">5</cx:pt>
          <cx:pt idx="66343">1</cx:pt>
          <cx:pt idx="66344">4</cx:pt>
          <cx:pt idx="66345">5</cx:pt>
          <cx:pt idx="66346">3</cx:pt>
          <cx:pt idx="66347">4</cx:pt>
          <cx:pt idx="66348">5</cx:pt>
          <cx:pt idx="66349">5</cx:pt>
          <cx:pt idx="66350">3</cx:pt>
          <cx:pt idx="66351">5</cx:pt>
          <cx:pt idx="66352">3</cx:pt>
          <cx:pt idx="66353">1</cx:pt>
          <cx:pt idx="66354">3</cx:pt>
          <cx:pt idx="66355">3</cx:pt>
          <cx:pt idx="66356">2</cx:pt>
          <cx:pt idx="66357">5</cx:pt>
          <cx:pt idx="66358">1</cx:pt>
          <cx:pt idx="66359">3</cx:pt>
          <cx:pt idx="66360">4</cx:pt>
          <cx:pt idx="66361">4</cx:pt>
          <cx:pt idx="66362">4</cx:pt>
          <cx:pt idx="66363">5</cx:pt>
          <cx:pt idx="66364">4</cx:pt>
          <cx:pt idx="66365">5</cx:pt>
          <cx:pt idx="66366">3</cx:pt>
          <cx:pt idx="66367">5</cx:pt>
          <cx:pt idx="66368">5</cx:pt>
          <cx:pt idx="66369">4</cx:pt>
          <cx:pt idx="66370">5</cx:pt>
          <cx:pt idx="66371">4</cx:pt>
          <cx:pt idx="66372">1</cx:pt>
          <cx:pt idx="66373">1</cx:pt>
          <cx:pt idx="66374">4</cx:pt>
          <cx:pt idx="66375">2</cx:pt>
          <cx:pt idx="66376">5</cx:pt>
          <cx:pt idx="66377">4</cx:pt>
          <cx:pt idx="66378">2</cx:pt>
          <cx:pt idx="66379">5</cx:pt>
          <cx:pt idx="66380">5</cx:pt>
          <cx:pt idx="66381">4</cx:pt>
          <cx:pt idx="66382">1</cx:pt>
          <cx:pt idx="66383">5</cx:pt>
          <cx:pt idx="66384">3</cx:pt>
          <cx:pt idx="66385">4</cx:pt>
          <cx:pt idx="66386">5</cx:pt>
          <cx:pt idx="66387">1</cx:pt>
          <cx:pt idx="66388">5</cx:pt>
          <cx:pt idx="66389">4</cx:pt>
          <cx:pt idx="66390">5</cx:pt>
          <cx:pt idx="66391">4</cx:pt>
          <cx:pt idx="66392">1</cx:pt>
          <cx:pt idx="66393">3</cx:pt>
          <cx:pt idx="66394">1</cx:pt>
          <cx:pt idx="66395">1</cx:pt>
          <cx:pt idx="66396">5</cx:pt>
          <cx:pt idx="66397">5</cx:pt>
          <cx:pt idx="66398">5</cx:pt>
          <cx:pt idx="66399">4</cx:pt>
          <cx:pt idx="66400">3</cx:pt>
          <cx:pt idx="66401">5</cx:pt>
          <cx:pt idx="66402">5</cx:pt>
          <cx:pt idx="66403">2</cx:pt>
          <cx:pt idx="66404">5</cx:pt>
          <cx:pt idx="66405">1</cx:pt>
          <cx:pt idx="66406">2</cx:pt>
          <cx:pt idx="66407">4</cx:pt>
          <cx:pt idx="66408">5</cx:pt>
          <cx:pt idx="66409">1</cx:pt>
          <cx:pt idx="66410">5</cx:pt>
          <cx:pt idx="66411">4</cx:pt>
          <cx:pt idx="66412">4</cx:pt>
          <cx:pt idx="66413">4</cx:pt>
          <cx:pt idx="66414">4</cx:pt>
          <cx:pt idx="66415">4</cx:pt>
          <cx:pt idx="66416">1</cx:pt>
          <cx:pt idx="66417">5</cx:pt>
          <cx:pt idx="66418">5</cx:pt>
          <cx:pt idx="66419">2</cx:pt>
          <cx:pt idx="66420">4</cx:pt>
          <cx:pt idx="66421">1</cx:pt>
          <cx:pt idx="66422">1</cx:pt>
          <cx:pt idx="66423">4</cx:pt>
          <cx:pt idx="66424">3</cx:pt>
          <cx:pt idx="66425">4</cx:pt>
          <cx:pt idx="66426">4</cx:pt>
          <cx:pt idx="66427">4</cx:pt>
          <cx:pt idx="66428">4</cx:pt>
          <cx:pt idx="66429">1</cx:pt>
          <cx:pt idx="66430">5</cx:pt>
          <cx:pt idx="66431">3</cx:pt>
          <cx:pt idx="66432">5</cx:pt>
          <cx:pt idx="66433">5</cx:pt>
          <cx:pt idx="66434">4</cx:pt>
          <cx:pt idx="66435">5</cx:pt>
          <cx:pt idx="66436">4</cx:pt>
          <cx:pt idx="66437">1</cx:pt>
          <cx:pt idx="66438">2</cx:pt>
          <cx:pt idx="66439">5</cx:pt>
          <cx:pt idx="66440">4</cx:pt>
          <cx:pt idx="66441">4</cx:pt>
          <cx:pt idx="66442">3</cx:pt>
          <cx:pt idx="66443">4</cx:pt>
          <cx:pt idx="66444">4</cx:pt>
          <cx:pt idx="66445">4</cx:pt>
          <cx:pt idx="66446">1</cx:pt>
          <cx:pt idx="66447">4</cx:pt>
          <cx:pt idx="66448">4</cx:pt>
          <cx:pt idx="66449">3</cx:pt>
          <cx:pt idx="66450">3</cx:pt>
          <cx:pt idx="66451">1</cx:pt>
          <cx:pt idx="66452">3</cx:pt>
          <cx:pt idx="66453">4</cx:pt>
          <cx:pt idx="66454">3</cx:pt>
          <cx:pt idx="66455">4</cx:pt>
          <cx:pt idx="66456">4</cx:pt>
          <cx:pt idx="66457">2</cx:pt>
          <cx:pt idx="66458">4</cx:pt>
          <cx:pt idx="66459">5</cx:pt>
          <cx:pt idx="66460">3</cx:pt>
          <cx:pt idx="66461">4</cx:pt>
          <cx:pt idx="66462">2</cx:pt>
          <cx:pt idx="66463">4</cx:pt>
          <cx:pt idx="66464">4</cx:pt>
          <cx:pt idx="66465">1</cx:pt>
          <cx:pt idx="66466">4</cx:pt>
          <cx:pt idx="66467">4</cx:pt>
          <cx:pt idx="66468">3</cx:pt>
          <cx:pt idx="66469">1</cx:pt>
          <cx:pt idx="66470">5</cx:pt>
          <cx:pt idx="66471">4</cx:pt>
          <cx:pt idx="66472">5</cx:pt>
          <cx:pt idx="66473">4</cx:pt>
          <cx:pt idx="66474">4</cx:pt>
          <cx:pt idx="66475">1</cx:pt>
          <cx:pt idx="66476">1</cx:pt>
          <cx:pt idx="66477">2</cx:pt>
          <cx:pt idx="66478">4</cx:pt>
          <cx:pt idx="66479">4</cx:pt>
          <cx:pt idx="66480">4</cx:pt>
          <cx:pt idx="66481">5</cx:pt>
          <cx:pt idx="66482">1</cx:pt>
          <cx:pt idx="66483">5</cx:pt>
          <cx:pt idx="66484">3</cx:pt>
          <cx:pt idx="66485">4</cx:pt>
          <cx:pt idx="66486">5</cx:pt>
          <cx:pt idx="66487">5</cx:pt>
          <cx:pt idx="66488">4</cx:pt>
          <cx:pt idx="66489">3</cx:pt>
          <cx:pt idx="66490">5</cx:pt>
          <cx:pt idx="66491">4</cx:pt>
          <cx:pt idx="66492">1</cx:pt>
          <cx:pt idx="66493">4</cx:pt>
          <cx:pt idx="66494">4</cx:pt>
          <cx:pt idx="66495">4</cx:pt>
          <cx:pt idx="66496">1</cx:pt>
          <cx:pt idx="66497">3</cx:pt>
          <cx:pt idx="66498">1</cx:pt>
          <cx:pt idx="66499">3</cx:pt>
          <cx:pt idx="66500">5</cx:pt>
          <cx:pt idx="66501">3</cx:pt>
          <cx:pt idx="66502">2</cx:pt>
          <cx:pt idx="66503">4</cx:pt>
          <cx:pt idx="66504">5</cx:pt>
          <cx:pt idx="66505">2</cx:pt>
          <cx:pt idx="66506">5</cx:pt>
          <cx:pt idx="66507">4</cx:pt>
          <cx:pt idx="66508">4</cx:pt>
          <cx:pt idx="66509">5</cx:pt>
          <cx:pt idx="66510">5</cx:pt>
          <cx:pt idx="66511">4</cx:pt>
          <cx:pt idx="66512">4</cx:pt>
          <cx:pt idx="66513">3</cx:pt>
          <cx:pt idx="66514">2</cx:pt>
          <cx:pt idx="66515">1</cx:pt>
          <cx:pt idx="66516">3</cx:pt>
          <cx:pt idx="66517">4</cx:pt>
          <cx:pt idx="66518">3</cx:pt>
          <cx:pt idx="66519">5</cx:pt>
          <cx:pt idx="66520">2</cx:pt>
          <cx:pt idx="66521">4</cx:pt>
          <cx:pt idx="66522">5</cx:pt>
          <cx:pt idx="66523">4</cx:pt>
          <cx:pt idx="66524">4</cx:pt>
          <cx:pt idx="66525">3</cx:pt>
          <cx:pt idx="66526">5</cx:pt>
          <cx:pt idx="66527">5</cx:pt>
          <cx:pt idx="66528">3</cx:pt>
          <cx:pt idx="66529">1</cx:pt>
          <cx:pt idx="66530">5</cx:pt>
          <cx:pt idx="66531">1</cx:pt>
          <cx:pt idx="66532">2</cx:pt>
          <cx:pt idx="66533">5</cx:pt>
          <cx:pt idx="66534">5</cx:pt>
          <cx:pt idx="66535">5</cx:pt>
          <cx:pt idx="66536">3</cx:pt>
          <cx:pt idx="66537">2</cx:pt>
          <cx:pt idx="66538">5</cx:pt>
          <cx:pt idx="66539">4</cx:pt>
          <cx:pt idx="66540">2</cx:pt>
          <cx:pt idx="66541">3</cx:pt>
          <cx:pt idx="66542">5</cx:pt>
          <cx:pt idx="66543">3</cx:pt>
          <cx:pt idx="66544">4</cx:pt>
          <cx:pt idx="66545">5</cx:pt>
          <cx:pt idx="66546">5</cx:pt>
          <cx:pt idx="66547">4</cx:pt>
          <cx:pt idx="66548">5</cx:pt>
          <cx:pt idx="66549">5</cx:pt>
          <cx:pt idx="66550">5</cx:pt>
          <cx:pt idx="66551">5</cx:pt>
          <cx:pt idx="66552">4</cx:pt>
          <cx:pt idx="66553">4</cx:pt>
          <cx:pt idx="66554">5</cx:pt>
          <cx:pt idx="66555">3</cx:pt>
          <cx:pt idx="66556">3</cx:pt>
          <cx:pt idx="66557">4</cx:pt>
          <cx:pt idx="66558">5</cx:pt>
          <cx:pt idx="66559">4</cx:pt>
          <cx:pt idx="66560">4</cx:pt>
          <cx:pt idx="66561">4</cx:pt>
          <cx:pt idx="66562">4</cx:pt>
          <cx:pt idx="66563">3</cx:pt>
          <cx:pt idx="66564">4</cx:pt>
          <cx:pt idx="66565">4</cx:pt>
          <cx:pt idx="66566">1</cx:pt>
          <cx:pt idx="66567">4</cx:pt>
          <cx:pt idx="66568">4</cx:pt>
          <cx:pt idx="66569">1</cx:pt>
          <cx:pt idx="66570">3</cx:pt>
          <cx:pt idx="66571">4</cx:pt>
          <cx:pt idx="66572">4</cx:pt>
          <cx:pt idx="66573">3</cx:pt>
          <cx:pt idx="66574">4</cx:pt>
          <cx:pt idx="66575">4</cx:pt>
          <cx:pt idx="66576">4</cx:pt>
          <cx:pt idx="66577">3</cx:pt>
          <cx:pt idx="66578">4</cx:pt>
          <cx:pt idx="66579">4</cx:pt>
          <cx:pt idx="66580">4</cx:pt>
          <cx:pt idx="66581">4</cx:pt>
          <cx:pt idx="66582">4</cx:pt>
          <cx:pt idx="66583">4</cx:pt>
          <cx:pt idx="66584">4</cx:pt>
          <cx:pt idx="66585">4</cx:pt>
          <cx:pt idx="66586">2</cx:pt>
          <cx:pt idx="66587">4</cx:pt>
          <cx:pt idx="66588">2</cx:pt>
          <cx:pt idx="66589">5</cx:pt>
          <cx:pt idx="66590">4</cx:pt>
          <cx:pt idx="66591">3</cx:pt>
          <cx:pt idx="66592">4</cx:pt>
          <cx:pt idx="66593">5</cx:pt>
          <cx:pt idx="66594">3</cx:pt>
          <cx:pt idx="66595">4</cx:pt>
          <cx:pt idx="66596">5</cx:pt>
          <cx:pt idx="66597">1</cx:pt>
          <cx:pt idx="66598">5</cx:pt>
          <cx:pt idx="66599">4</cx:pt>
          <cx:pt idx="66600">4</cx:pt>
          <cx:pt idx="66601">3</cx:pt>
          <cx:pt idx="66602">4</cx:pt>
          <cx:pt idx="66603">3</cx:pt>
          <cx:pt idx="66604">1</cx:pt>
          <cx:pt idx="66605">4</cx:pt>
          <cx:pt idx="66606">1</cx:pt>
          <cx:pt idx="66607">1</cx:pt>
          <cx:pt idx="66608">4</cx:pt>
          <cx:pt idx="66609">5</cx:pt>
          <cx:pt idx="66610">3</cx:pt>
          <cx:pt idx="66611">3</cx:pt>
          <cx:pt idx="66612">2</cx:pt>
          <cx:pt idx="66613">4</cx:pt>
          <cx:pt idx="66614">4</cx:pt>
          <cx:pt idx="66615">1</cx:pt>
          <cx:pt idx="66616">5</cx:pt>
          <cx:pt idx="66617">5</cx:pt>
          <cx:pt idx="66618">4</cx:pt>
          <cx:pt idx="66619">4</cx:pt>
          <cx:pt idx="66620">4</cx:pt>
          <cx:pt idx="66621">4</cx:pt>
          <cx:pt idx="66622">5</cx:pt>
          <cx:pt idx="66623">2</cx:pt>
          <cx:pt idx="66624">2</cx:pt>
          <cx:pt idx="66625">4</cx:pt>
          <cx:pt idx="66626">2</cx:pt>
          <cx:pt idx="66627">1</cx:pt>
          <cx:pt idx="66628">5</cx:pt>
          <cx:pt idx="66629">4</cx:pt>
          <cx:pt idx="66630">5</cx:pt>
          <cx:pt idx="66631">5</cx:pt>
          <cx:pt idx="66632">2</cx:pt>
          <cx:pt idx="66633">3</cx:pt>
          <cx:pt idx="66634">4</cx:pt>
          <cx:pt idx="66635">5</cx:pt>
          <cx:pt idx="66636">4</cx:pt>
          <cx:pt idx="66637">4</cx:pt>
          <cx:pt idx="66638">4</cx:pt>
          <cx:pt idx="66639">4</cx:pt>
          <cx:pt idx="66640">5</cx:pt>
          <cx:pt idx="66641">4</cx:pt>
          <cx:pt idx="66642">4</cx:pt>
          <cx:pt idx="66643">3</cx:pt>
          <cx:pt idx="66644">2</cx:pt>
          <cx:pt idx="66645">4</cx:pt>
          <cx:pt idx="66646">5</cx:pt>
          <cx:pt idx="66647">4</cx:pt>
          <cx:pt idx="66648">1</cx:pt>
          <cx:pt idx="66649">3</cx:pt>
          <cx:pt idx="66650">3</cx:pt>
          <cx:pt idx="66651">4</cx:pt>
          <cx:pt idx="66652">2</cx:pt>
          <cx:pt idx="66653">3</cx:pt>
          <cx:pt idx="66654">4</cx:pt>
          <cx:pt idx="66655">4</cx:pt>
          <cx:pt idx="66656">5</cx:pt>
          <cx:pt idx="66657">5</cx:pt>
          <cx:pt idx="66658">4</cx:pt>
          <cx:pt idx="66659">3</cx:pt>
          <cx:pt idx="66660">5</cx:pt>
          <cx:pt idx="66661">3</cx:pt>
          <cx:pt idx="66662">5</cx:pt>
          <cx:pt idx="66663">5</cx:pt>
          <cx:pt idx="66664">4</cx:pt>
          <cx:pt idx="66665">4</cx:pt>
          <cx:pt idx="66666">4</cx:pt>
          <cx:pt idx="66667">4</cx:pt>
          <cx:pt idx="66668">3</cx:pt>
          <cx:pt idx="66669">4</cx:pt>
          <cx:pt idx="66670">5</cx:pt>
          <cx:pt idx="66671">5</cx:pt>
          <cx:pt idx="66672">5</cx:pt>
          <cx:pt idx="66673">5</cx:pt>
          <cx:pt idx="66674">1</cx:pt>
          <cx:pt idx="66675">4</cx:pt>
          <cx:pt idx="66676">3</cx:pt>
          <cx:pt idx="66677">2</cx:pt>
          <cx:pt idx="66678">1</cx:pt>
          <cx:pt idx="66679">1</cx:pt>
          <cx:pt idx="66680">2</cx:pt>
          <cx:pt idx="66681">3</cx:pt>
          <cx:pt idx="66682">1</cx:pt>
          <cx:pt idx="66683">4</cx:pt>
          <cx:pt idx="66684">4</cx:pt>
          <cx:pt idx="66685">5</cx:pt>
          <cx:pt idx="66686">2</cx:pt>
          <cx:pt idx="66687">2</cx:pt>
          <cx:pt idx="66688">4</cx:pt>
          <cx:pt idx="66689">5</cx:pt>
          <cx:pt idx="66690">4</cx:pt>
          <cx:pt idx="66691">1</cx:pt>
          <cx:pt idx="66692">2</cx:pt>
          <cx:pt idx="66693">4</cx:pt>
          <cx:pt idx="66694">3</cx:pt>
          <cx:pt idx="66695">5</cx:pt>
          <cx:pt idx="66696">4</cx:pt>
          <cx:pt idx="66697">3</cx:pt>
          <cx:pt idx="66698">5</cx:pt>
          <cx:pt idx="66699">5</cx:pt>
          <cx:pt idx="66700">3</cx:pt>
          <cx:pt idx="66701">2</cx:pt>
          <cx:pt idx="66702">2</cx:pt>
          <cx:pt idx="66703">5</cx:pt>
          <cx:pt idx="66704">4</cx:pt>
          <cx:pt idx="66705">3</cx:pt>
          <cx:pt idx="66706">4</cx:pt>
          <cx:pt idx="66707">5</cx:pt>
          <cx:pt idx="66708">5</cx:pt>
          <cx:pt idx="66709">4</cx:pt>
          <cx:pt idx="66710">2</cx:pt>
          <cx:pt idx="66711">3</cx:pt>
          <cx:pt idx="66712">3</cx:pt>
          <cx:pt idx="66713">1</cx:pt>
          <cx:pt idx="66714">4</cx:pt>
          <cx:pt idx="66715">1</cx:pt>
          <cx:pt idx="66716">3</cx:pt>
          <cx:pt idx="66717">3</cx:pt>
          <cx:pt idx="66718">5</cx:pt>
          <cx:pt idx="66719">4</cx:pt>
          <cx:pt idx="66720">2</cx:pt>
          <cx:pt idx="66721">2</cx:pt>
          <cx:pt idx="66722">4</cx:pt>
          <cx:pt idx="66723">5</cx:pt>
          <cx:pt idx="66724">1</cx:pt>
          <cx:pt idx="66725">4</cx:pt>
          <cx:pt idx="66726">4</cx:pt>
          <cx:pt idx="66727">4</cx:pt>
          <cx:pt idx="66728">2</cx:pt>
          <cx:pt idx="66729">4</cx:pt>
          <cx:pt idx="66730">3</cx:pt>
          <cx:pt idx="66731">5</cx:pt>
          <cx:pt idx="66732">3</cx:pt>
          <cx:pt idx="66733">5</cx:pt>
          <cx:pt idx="66734">1</cx:pt>
          <cx:pt idx="66735">1</cx:pt>
          <cx:pt idx="66736">4</cx:pt>
          <cx:pt idx="66737">2</cx:pt>
          <cx:pt idx="66738">1</cx:pt>
          <cx:pt idx="66739">5</cx:pt>
          <cx:pt idx="66740">1</cx:pt>
          <cx:pt idx="66741">3</cx:pt>
          <cx:pt idx="66742">1</cx:pt>
          <cx:pt idx="66743">4</cx:pt>
          <cx:pt idx="66744">3</cx:pt>
          <cx:pt idx="66745">4</cx:pt>
          <cx:pt idx="66746">1</cx:pt>
          <cx:pt idx="66747">5</cx:pt>
          <cx:pt idx="66748">2</cx:pt>
          <cx:pt idx="66749">1</cx:pt>
          <cx:pt idx="66750">2</cx:pt>
          <cx:pt idx="66751">3</cx:pt>
          <cx:pt idx="66752">2</cx:pt>
          <cx:pt idx="66753">5</cx:pt>
          <cx:pt idx="66754">5</cx:pt>
          <cx:pt idx="66755">1</cx:pt>
          <cx:pt idx="66756">4</cx:pt>
          <cx:pt idx="66757">5</cx:pt>
          <cx:pt idx="66758">1</cx:pt>
          <cx:pt idx="66759">3</cx:pt>
          <cx:pt idx="66760">5</cx:pt>
          <cx:pt idx="66761">4</cx:pt>
          <cx:pt idx="66762">2</cx:pt>
          <cx:pt idx="66763">2</cx:pt>
          <cx:pt idx="66764">5</cx:pt>
          <cx:pt idx="66765">2</cx:pt>
          <cx:pt idx="66766">3</cx:pt>
          <cx:pt idx="66767">2</cx:pt>
          <cx:pt idx="66768">5</cx:pt>
          <cx:pt idx="66769">4</cx:pt>
          <cx:pt idx="66770">4</cx:pt>
          <cx:pt idx="66771">4</cx:pt>
          <cx:pt idx="66772">2</cx:pt>
          <cx:pt idx="66773">5</cx:pt>
          <cx:pt idx="66774">4</cx:pt>
          <cx:pt idx="66775">5</cx:pt>
          <cx:pt idx="66776">3</cx:pt>
          <cx:pt idx="66777">3</cx:pt>
          <cx:pt idx="66778">1</cx:pt>
          <cx:pt idx="66779">4</cx:pt>
          <cx:pt idx="66780">4</cx:pt>
          <cx:pt idx="66781">4</cx:pt>
          <cx:pt idx="66782">4</cx:pt>
          <cx:pt idx="66783">4</cx:pt>
          <cx:pt idx="66784">4</cx:pt>
          <cx:pt idx="66785">5</cx:pt>
          <cx:pt idx="66786">1</cx:pt>
          <cx:pt idx="66787">5</cx:pt>
          <cx:pt idx="66788">3</cx:pt>
          <cx:pt idx="66789">5</cx:pt>
          <cx:pt idx="66790">2</cx:pt>
          <cx:pt idx="66791">1</cx:pt>
          <cx:pt idx="66792">5</cx:pt>
          <cx:pt idx="66793">5</cx:pt>
          <cx:pt idx="66794">5</cx:pt>
          <cx:pt idx="66795">1</cx:pt>
          <cx:pt idx="66796">3</cx:pt>
          <cx:pt idx="66797">5</cx:pt>
          <cx:pt idx="66798">4</cx:pt>
          <cx:pt idx="66799">3</cx:pt>
          <cx:pt idx="66800">2</cx:pt>
          <cx:pt idx="66801">2</cx:pt>
          <cx:pt idx="66802">4</cx:pt>
          <cx:pt idx="66803">4</cx:pt>
          <cx:pt idx="66804">4</cx:pt>
          <cx:pt idx="66805">2</cx:pt>
          <cx:pt idx="66806">1</cx:pt>
          <cx:pt idx="66807">3</cx:pt>
          <cx:pt idx="66808">4</cx:pt>
          <cx:pt idx="66809">2</cx:pt>
          <cx:pt idx="66810">2</cx:pt>
          <cx:pt idx="66811">5</cx:pt>
          <cx:pt idx="66812">2</cx:pt>
          <cx:pt idx="66813">3</cx:pt>
          <cx:pt idx="66814">2</cx:pt>
          <cx:pt idx="66815">5</cx:pt>
          <cx:pt idx="66816">5</cx:pt>
          <cx:pt idx="66817">4</cx:pt>
          <cx:pt idx="66818">2</cx:pt>
          <cx:pt idx="66819">1</cx:pt>
          <cx:pt idx="66820">4</cx:pt>
          <cx:pt idx="66821">4</cx:pt>
          <cx:pt idx="66822">4</cx:pt>
          <cx:pt idx="66823">5</cx:pt>
          <cx:pt idx="66824">5</cx:pt>
          <cx:pt idx="66825">3</cx:pt>
          <cx:pt idx="66826">4</cx:pt>
          <cx:pt idx="66827">3</cx:pt>
          <cx:pt idx="66828">4</cx:pt>
          <cx:pt idx="66829">5</cx:pt>
          <cx:pt idx="66830">4</cx:pt>
          <cx:pt idx="66831">3</cx:pt>
          <cx:pt idx="66832">4</cx:pt>
          <cx:pt idx="66833">3</cx:pt>
          <cx:pt idx="66834">2</cx:pt>
          <cx:pt idx="66835">5</cx:pt>
          <cx:pt idx="66836">1</cx:pt>
          <cx:pt idx="66837">4</cx:pt>
          <cx:pt idx="66838">4</cx:pt>
          <cx:pt idx="66839">1</cx:pt>
          <cx:pt idx="66840">5</cx:pt>
          <cx:pt idx="66841">3</cx:pt>
          <cx:pt idx="66842">5</cx:pt>
          <cx:pt idx="66843">3</cx:pt>
          <cx:pt idx="66844">3</cx:pt>
          <cx:pt idx="66845">1</cx:pt>
          <cx:pt idx="66846">1</cx:pt>
          <cx:pt idx="66847">5</cx:pt>
          <cx:pt idx="66848">4</cx:pt>
          <cx:pt idx="66849">5</cx:pt>
          <cx:pt idx="66850">4</cx:pt>
          <cx:pt idx="66851">3</cx:pt>
          <cx:pt idx="66852">4</cx:pt>
          <cx:pt idx="66853">5</cx:pt>
          <cx:pt idx="66854">3</cx:pt>
          <cx:pt idx="66855">5</cx:pt>
          <cx:pt idx="66856">2</cx:pt>
          <cx:pt idx="66857">1</cx:pt>
          <cx:pt idx="66858">3</cx:pt>
          <cx:pt idx="66859">1</cx:pt>
          <cx:pt idx="66860">4</cx:pt>
          <cx:pt idx="66861">5</cx:pt>
          <cx:pt idx="66862">5</cx:pt>
          <cx:pt idx="66863">1</cx:pt>
          <cx:pt idx="66864">4</cx:pt>
          <cx:pt idx="66865">3</cx:pt>
          <cx:pt idx="66866">5</cx:pt>
          <cx:pt idx="66867">4</cx:pt>
          <cx:pt idx="66868">4</cx:pt>
          <cx:pt idx="66869">4</cx:pt>
          <cx:pt idx="66870">4</cx:pt>
          <cx:pt idx="66871">2</cx:pt>
          <cx:pt idx="66872">4</cx:pt>
          <cx:pt idx="66873">5</cx:pt>
          <cx:pt idx="66874">5</cx:pt>
          <cx:pt idx="66875">3</cx:pt>
          <cx:pt idx="66876">1</cx:pt>
          <cx:pt idx="66877">1</cx:pt>
          <cx:pt idx="66878">3</cx:pt>
          <cx:pt idx="66879">1</cx:pt>
          <cx:pt idx="66880">4</cx:pt>
          <cx:pt idx="66881">5</cx:pt>
          <cx:pt idx="66882">3</cx:pt>
          <cx:pt idx="66883">2</cx:pt>
          <cx:pt idx="66884">1</cx:pt>
          <cx:pt idx="66885">5</cx:pt>
          <cx:pt idx="66886">1</cx:pt>
          <cx:pt idx="66887">4</cx:pt>
          <cx:pt idx="66888">5</cx:pt>
          <cx:pt idx="66889">1</cx:pt>
          <cx:pt idx="66890">1</cx:pt>
          <cx:pt idx="66891">4</cx:pt>
          <cx:pt idx="66892">5</cx:pt>
          <cx:pt idx="66893">3</cx:pt>
          <cx:pt idx="66894">5</cx:pt>
          <cx:pt idx="66895">2</cx:pt>
          <cx:pt idx="66896">3</cx:pt>
          <cx:pt idx="66897">1</cx:pt>
          <cx:pt idx="66898">5</cx:pt>
          <cx:pt idx="66899">5</cx:pt>
          <cx:pt idx="66900">5</cx:pt>
          <cx:pt idx="66901">2</cx:pt>
          <cx:pt idx="66902">4</cx:pt>
          <cx:pt idx="66903">2</cx:pt>
          <cx:pt idx="66904">4</cx:pt>
          <cx:pt idx="66905">5</cx:pt>
          <cx:pt idx="66906">4</cx:pt>
          <cx:pt idx="66907">3</cx:pt>
          <cx:pt idx="66908">4</cx:pt>
          <cx:pt idx="66909">5</cx:pt>
          <cx:pt idx="66910">3</cx:pt>
          <cx:pt idx="66911">4</cx:pt>
          <cx:pt idx="66912">3</cx:pt>
          <cx:pt idx="66913">1</cx:pt>
          <cx:pt idx="66914">4</cx:pt>
          <cx:pt idx="66915">4</cx:pt>
          <cx:pt idx="66916">4</cx:pt>
          <cx:pt idx="66917">1</cx:pt>
          <cx:pt idx="66918">5</cx:pt>
          <cx:pt idx="66919">5</cx:pt>
          <cx:pt idx="66920">5</cx:pt>
          <cx:pt idx="66921">5</cx:pt>
          <cx:pt idx="66922">4</cx:pt>
          <cx:pt idx="66923">4</cx:pt>
          <cx:pt idx="66924">5</cx:pt>
          <cx:pt idx="66925">2</cx:pt>
          <cx:pt idx="66926">2</cx:pt>
          <cx:pt idx="66927">3</cx:pt>
          <cx:pt idx="66928">5</cx:pt>
          <cx:pt idx="66929">3</cx:pt>
          <cx:pt idx="66930">2</cx:pt>
          <cx:pt idx="66931">5</cx:pt>
          <cx:pt idx="66932">4</cx:pt>
          <cx:pt idx="66933">4</cx:pt>
          <cx:pt idx="66934">5</cx:pt>
          <cx:pt idx="66935">4</cx:pt>
          <cx:pt idx="66936">1</cx:pt>
          <cx:pt idx="66937">2</cx:pt>
          <cx:pt idx="66938">1</cx:pt>
          <cx:pt idx="66939">4</cx:pt>
          <cx:pt idx="66940">5</cx:pt>
          <cx:pt idx="66941">3</cx:pt>
          <cx:pt idx="66942">5</cx:pt>
          <cx:pt idx="66943">4</cx:pt>
          <cx:pt idx="66944">4</cx:pt>
          <cx:pt idx="66945">3</cx:pt>
          <cx:pt idx="66946">3</cx:pt>
          <cx:pt idx="66947">4</cx:pt>
          <cx:pt idx="66948">4</cx:pt>
          <cx:pt idx="66949">4</cx:pt>
          <cx:pt idx="66950">3</cx:pt>
          <cx:pt idx="66951">4</cx:pt>
          <cx:pt idx="66952">3</cx:pt>
          <cx:pt idx="66953">1</cx:pt>
          <cx:pt idx="66954">4</cx:pt>
          <cx:pt idx="66955">3</cx:pt>
          <cx:pt idx="66956">4</cx:pt>
          <cx:pt idx="66957">4</cx:pt>
          <cx:pt idx="66958">4</cx:pt>
          <cx:pt idx="66959">5</cx:pt>
          <cx:pt idx="66960">4</cx:pt>
          <cx:pt idx="66961">1</cx:pt>
          <cx:pt idx="66962">3</cx:pt>
          <cx:pt idx="66963">1</cx:pt>
          <cx:pt idx="66964">5</cx:pt>
          <cx:pt idx="66965">5</cx:pt>
          <cx:pt idx="66966">2</cx:pt>
          <cx:pt idx="66967">5</cx:pt>
          <cx:pt idx="66968">1</cx:pt>
          <cx:pt idx="66969">1</cx:pt>
          <cx:pt idx="66970">1</cx:pt>
          <cx:pt idx="66971">4</cx:pt>
          <cx:pt idx="66972">1</cx:pt>
          <cx:pt idx="66973">4</cx:pt>
          <cx:pt idx="66974">5</cx:pt>
          <cx:pt idx="66975">4</cx:pt>
          <cx:pt idx="66976">3</cx:pt>
          <cx:pt idx="66977">4</cx:pt>
          <cx:pt idx="66978">3</cx:pt>
          <cx:pt idx="66979">3</cx:pt>
          <cx:pt idx="66980">2</cx:pt>
          <cx:pt idx="66981">1</cx:pt>
          <cx:pt idx="66982">3</cx:pt>
          <cx:pt idx="66983">5</cx:pt>
          <cx:pt idx="66984">3</cx:pt>
          <cx:pt idx="66985">1</cx:pt>
          <cx:pt idx="66986">1</cx:pt>
          <cx:pt idx="66987">5</cx:pt>
          <cx:pt idx="66988">1</cx:pt>
          <cx:pt idx="66989">4</cx:pt>
          <cx:pt idx="66990">5</cx:pt>
          <cx:pt idx="66991">4</cx:pt>
          <cx:pt idx="66992">4</cx:pt>
          <cx:pt idx="66993">4</cx:pt>
          <cx:pt idx="66994">4</cx:pt>
          <cx:pt idx="66995">5</cx:pt>
          <cx:pt idx="66996">1</cx:pt>
          <cx:pt idx="66997">3</cx:pt>
          <cx:pt idx="66998">1</cx:pt>
          <cx:pt idx="66999">5</cx:pt>
          <cx:pt idx="67000">2</cx:pt>
          <cx:pt idx="67001">5</cx:pt>
          <cx:pt idx="67002">5</cx:pt>
          <cx:pt idx="67003">4</cx:pt>
          <cx:pt idx="67004">1</cx:pt>
          <cx:pt idx="67005">2</cx:pt>
          <cx:pt idx="67006">4</cx:pt>
          <cx:pt idx="67007">3</cx:pt>
          <cx:pt idx="67008">3</cx:pt>
          <cx:pt idx="67009">4</cx:pt>
          <cx:pt idx="67010">4</cx:pt>
          <cx:pt idx="67011">2</cx:pt>
          <cx:pt idx="67012">3</cx:pt>
          <cx:pt idx="67013">3</cx:pt>
          <cx:pt idx="67014">2</cx:pt>
          <cx:pt idx="67015">1</cx:pt>
          <cx:pt idx="67016">4</cx:pt>
          <cx:pt idx="67017">3</cx:pt>
          <cx:pt idx="67018">5</cx:pt>
          <cx:pt idx="67019">5</cx:pt>
          <cx:pt idx="67020">3</cx:pt>
          <cx:pt idx="67021">2</cx:pt>
          <cx:pt idx="67022">5</cx:pt>
          <cx:pt idx="67023">5</cx:pt>
          <cx:pt idx="67024">3</cx:pt>
          <cx:pt idx="67025">5</cx:pt>
          <cx:pt idx="67026">4</cx:pt>
          <cx:pt idx="67027">2</cx:pt>
          <cx:pt idx="67028">5</cx:pt>
          <cx:pt idx="67029">3</cx:pt>
          <cx:pt idx="67030">4</cx:pt>
          <cx:pt idx="67031">4</cx:pt>
          <cx:pt idx="67032">3</cx:pt>
          <cx:pt idx="67033">2</cx:pt>
          <cx:pt idx="67034">5</cx:pt>
          <cx:pt idx="67035">5</cx:pt>
          <cx:pt idx="67036">3</cx:pt>
          <cx:pt idx="67037">3</cx:pt>
          <cx:pt idx="67038">1</cx:pt>
          <cx:pt idx="67039">4</cx:pt>
          <cx:pt idx="67040">4</cx:pt>
          <cx:pt idx="67041">4</cx:pt>
          <cx:pt idx="67042">5</cx:pt>
          <cx:pt idx="67043">1</cx:pt>
          <cx:pt idx="67044">4</cx:pt>
          <cx:pt idx="67045">5</cx:pt>
          <cx:pt idx="67046">3</cx:pt>
          <cx:pt idx="67047">4</cx:pt>
          <cx:pt idx="67048">2</cx:pt>
          <cx:pt idx="67049">4</cx:pt>
          <cx:pt idx="67050">2</cx:pt>
          <cx:pt idx="67051">3</cx:pt>
          <cx:pt idx="67052">4</cx:pt>
          <cx:pt idx="67053">1</cx:pt>
          <cx:pt idx="67054">3</cx:pt>
          <cx:pt idx="67055">4</cx:pt>
          <cx:pt idx="67056">5</cx:pt>
          <cx:pt idx="67057">2</cx:pt>
          <cx:pt idx="67058">5</cx:pt>
          <cx:pt idx="67059">5</cx:pt>
          <cx:pt idx="67060">4</cx:pt>
          <cx:pt idx="67061">4</cx:pt>
          <cx:pt idx="67062">5</cx:pt>
          <cx:pt idx="67063">5</cx:pt>
          <cx:pt idx="67064">5</cx:pt>
          <cx:pt idx="67065">4</cx:pt>
          <cx:pt idx="67066">5</cx:pt>
          <cx:pt idx="67067">4</cx:pt>
          <cx:pt idx="67068">3</cx:pt>
          <cx:pt idx="67069">1</cx:pt>
          <cx:pt idx="67070">4</cx:pt>
          <cx:pt idx="67071">3</cx:pt>
          <cx:pt idx="67072">5</cx:pt>
          <cx:pt idx="67073">5</cx:pt>
          <cx:pt idx="67074">2</cx:pt>
          <cx:pt idx="67075">5</cx:pt>
          <cx:pt idx="67076">4</cx:pt>
          <cx:pt idx="67077">4</cx:pt>
          <cx:pt idx="67078">1</cx:pt>
          <cx:pt idx="67079">4</cx:pt>
          <cx:pt idx="67080">4</cx:pt>
          <cx:pt idx="67081">3</cx:pt>
          <cx:pt idx="67082">5</cx:pt>
          <cx:pt idx="67083">4</cx:pt>
          <cx:pt idx="67084">5</cx:pt>
          <cx:pt idx="67085">4</cx:pt>
          <cx:pt idx="67086">2</cx:pt>
          <cx:pt idx="67087">4</cx:pt>
          <cx:pt idx="67088">5</cx:pt>
          <cx:pt idx="67089">5</cx:pt>
          <cx:pt idx="67090">4</cx:pt>
          <cx:pt idx="67091">5</cx:pt>
          <cx:pt idx="67092">1</cx:pt>
          <cx:pt idx="67093">3</cx:pt>
          <cx:pt idx="67094">4</cx:pt>
          <cx:pt idx="67095">4</cx:pt>
          <cx:pt idx="67096">5</cx:pt>
          <cx:pt idx="67097">1</cx:pt>
          <cx:pt idx="67098">3</cx:pt>
          <cx:pt idx="67099">3</cx:pt>
          <cx:pt idx="67100">3</cx:pt>
          <cx:pt idx="67101">1</cx:pt>
          <cx:pt idx="67102">2</cx:pt>
          <cx:pt idx="67103">4</cx:pt>
          <cx:pt idx="67104">1</cx:pt>
          <cx:pt idx="67105">5</cx:pt>
          <cx:pt idx="67106">4</cx:pt>
          <cx:pt idx="67107">5</cx:pt>
          <cx:pt idx="67108">3</cx:pt>
          <cx:pt idx="67109">2</cx:pt>
          <cx:pt idx="67110">5</cx:pt>
          <cx:pt idx="67111">3</cx:pt>
          <cx:pt idx="67112">5</cx:pt>
          <cx:pt idx="67113">5</cx:pt>
          <cx:pt idx="67114">3</cx:pt>
          <cx:pt idx="67115">4</cx:pt>
          <cx:pt idx="67116">4</cx:pt>
          <cx:pt idx="67117">3</cx:pt>
          <cx:pt idx="67118">4</cx:pt>
          <cx:pt idx="67119">4</cx:pt>
          <cx:pt idx="67120">2</cx:pt>
          <cx:pt idx="67121">4</cx:pt>
          <cx:pt idx="67122">3</cx:pt>
          <cx:pt idx="67123">4</cx:pt>
          <cx:pt idx="67124">5</cx:pt>
          <cx:pt idx="67125">5</cx:pt>
          <cx:pt idx="67126">2</cx:pt>
          <cx:pt idx="67127">3</cx:pt>
          <cx:pt idx="67128">4</cx:pt>
          <cx:pt idx="67129">2</cx:pt>
          <cx:pt idx="67130">4</cx:pt>
          <cx:pt idx="67131">3</cx:pt>
          <cx:pt idx="67132">2</cx:pt>
          <cx:pt idx="67133">3</cx:pt>
          <cx:pt idx="67134">4</cx:pt>
          <cx:pt idx="67135">3</cx:pt>
          <cx:pt idx="67136">1</cx:pt>
          <cx:pt idx="67137">4</cx:pt>
          <cx:pt idx="67138">4</cx:pt>
          <cx:pt idx="67139">4</cx:pt>
          <cx:pt idx="67140">2</cx:pt>
          <cx:pt idx="67141">4</cx:pt>
          <cx:pt idx="67142">3</cx:pt>
          <cx:pt idx="67143">4</cx:pt>
          <cx:pt idx="67144">5</cx:pt>
          <cx:pt idx="67145">3</cx:pt>
          <cx:pt idx="67146">3</cx:pt>
          <cx:pt idx="67147">1</cx:pt>
          <cx:pt idx="67148">5</cx:pt>
          <cx:pt idx="67149">4</cx:pt>
          <cx:pt idx="67150">3</cx:pt>
          <cx:pt idx="67151">2</cx:pt>
          <cx:pt idx="67152">5</cx:pt>
          <cx:pt idx="67153">4</cx:pt>
          <cx:pt idx="67154">5</cx:pt>
          <cx:pt idx="67155">4</cx:pt>
          <cx:pt idx="67156">5</cx:pt>
          <cx:pt idx="67157">4</cx:pt>
          <cx:pt idx="67158">4</cx:pt>
          <cx:pt idx="67159">5</cx:pt>
          <cx:pt idx="67160">3</cx:pt>
          <cx:pt idx="67161">4</cx:pt>
          <cx:pt idx="67162">3</cx:pt>
          <cx:pt idx="67163">4</cx:pt>
          <cx:pt idx="67164">2</cx:pt>
          <cx:pt idx="67165">1</cx:pt>
          <cx:pt idx="67166">4</cx:pt>
          <cx:pt idx="67167">5</cx:pt>
          <cx:pt idx="67168">4</cx:pt>
          <cx:pt idx="67169">5</cx:pt>
          <cx:pt idx="67170">4</cx:pt>
          <cx:pt idx="67171">1</cx:pt>
          <cx:pt idx="67172">3</cx:pt>
          <cx:pt idx="67173">4</cx:pt>
          <cx:pt idx="67174">5</cx:pt>
          <cx:pt idx="67175">4</cx:pt>
          <cx:pt idx="67176">5</cx:pt>
          <cx:pt idx="67177">2</cx:pt>
          <cx:pt idx="67178">3</cx:pt>
          <cx:pt idx="67179">2</cx:pt>
          <cx:pt idx="67180">5</cx:pt>
          <cx:pt idx="67181">2</cx:pt>
          <cx:pt idx="67182">4</cx:pt>
          <cx:pt idx="67183">3</cx:pt>
          <cx:pt idx="67184">2</cx:pt>
          <cx:pt idx="67185">5</cx:pt>
          <cx:pt idx="67186">5</cx:pt>
          <cx:pt idx="67187">3</cx:pt>
          <cx:pt idx="67188">3</cx:pt>
          <cx:pt idx="67189">3</cx:pt>
          <cx:pt idx="67190">2</cx:pt>
          <cx:pt idx="67191">4</cx:pt>
          <cx:pt idx="67192">3</cx:pt>
          <cx:pt idx="67193">5</cx:pt>
          <cx:pt idx="67194">3</cx:pt>
          <cx:pt idx="67195">3</cx:pt>
          <cx:pt idx="67196">3</cx:pt>
          <cx:pt idx="67197">5</cx:pt>
          <cx:pt idx="67198">4</cx:pt>
          <cx:pt idx="67199">3</cx:pt>
          <cx:pt idx="67200">4</cx:pt>
          <cx:pt idx="67201">1</cx:pt>
          <cx:pt idx="67202">5</cx:pt>
          <cx:pt idx="67203">2</cx:pt>
          <cx:pt idx="67204">5</cx:pt>
          <cx:pt idx="67205">4</cx:pt>
          <cx:pt idx="67206">4</cx:pt>
          <cx:pt idx="67207">4</cx:pt>
          <cx:pt idx="67208">5</cx:pt>
          <cx:pt idx="67209">4</cx:pt>
          <cx:pt idx="67210">4</cx:pt>
          <cx:pt idx="67211">5</cx:pt>
          <cx:pt idx="67212">4</cx:pt>
          <cx:pt idx="67213">3</cx:pt>
          <cx:pt idx="67214">5</cx:pt>
          <cx:pt idx="67215">3</cx:pt>
          <cx:pt idx="67216">2</cx:pt>
          <cx:pt idx="67217">4</cx:pt>
          <cx:pt idx="67218">5</cx:pt>
          <cx:pt idx="67219">4</cx:pt>
          <cx:pt idx="67220">4</cx:pt>
          <cx:pt idx="67221">1</cx:pt>
          <cx:pt idx="67222">5</cx:pt>
          <cx:pt idx="67223">5</cx:pt>
          <cx:pt idx="67224">5</cx:pt>
          <cx:pt idx="67225">5</cx:pt>
          <cx:pt idx="67226">2</cx:pt>
          <cx:pt idx="67227">3</cx:pt>
          <cx:pt idx="67228">5</cx:pt>
          <cx:pt idx="67229">5</cx:pt>
          <cx:pt idx="67230">3</cx:pt>
          <cx:pt idx="67231">5</cx:pt>
          <cx:pt idx="67232">5</cx:pt>
          <cx:pt idx="67233">1</cx:pt>
          <cx:pt idx="67234">3</cx:pt>
          <cx:pt idx="67235">4</cx:pt>
          <cx:pt idx="67236">1</cx:pt>
          <cx:pt idx="67237">4</cx:pt>
          <cx:pt idx="67238">5</cx:pt>
          <cx:pt idx="67239">3</cx:pt>
          <cx:pt idx="67240">4</cx:pt>
          <cx:pt idx="67241">4</cx:pt>
          <cx:pt idx="67242">5</cx:pt>
          <cx:pt idx="67243">2</cx:pt>
          <cx:pt idx="67244">1</cx:pt>
          <cx:pt idx="67245">4</cx:pt>
          <cx:pt idx="67246">2</cx:pt>
          <cx:pt idx="67247">5</cx:pt>
          <cx:pt idx="67248">4</cx:pt>
          <cx:pt idx="67249">3</cx:pt>
          <cx:pt idx="67250">5</cx:pt>
          <cx:pt idx="67251">4</cx:pt>
          <cx:pt idx="67252">1</cx:pt>
          <cx:pt idx="67253">1</cx:pt>
          <cx:pt idx="67254">4</cx:pt>
          <cx:pt idx="67255">5</cx:pt>
          <cx:pt idx="67256">3</cx:pt>
          <cx:pt idx="67257">5</cx:pt>
          <cx:pt idx="67258">2</cx:pt>
          <cx:pt idx="67259">3</cx:pt>
          <cx:pt idx="67260">4</cx:pt>
          <cx:pt idx="67261">2</cx:pt>
          <cx:pt idx="67262">4</cx:pt>
          <cx:pt idx="67263">5</cx:pt>
          <cx:pt idx="67264">3</cx:pt>
          <cx:pt idx="67265">1</cx:pt>
          <cx:pt idx="67266">5</cx:pt>
          <cx:pt idx="67267">4</cx:pt>
          <cx:pt idx="67268">5</cx:pt>
          <cx:pt idx="67269">4</cx:pt>
          <cx:pt idx="67270">2</cx:pt>
          <cx:pt idx="67271">3</cx:pt>
          <cx:pt idx="67272">4</cx:pt>
          <cx:pt idx="67273">1</cx:pt>
          <cx:pt idx="67274">2</cx:pt>
          <cx:pt idx="67275">2</cx:pt>
          <cx:pt idx="67276">2</cx:pt>
          <cx:pt idx="67277">2</cx:pt>
          <cx:pt idx="67278">3</cx:pt>
          <cx:pt idx="67279">3</cx:pt>
          <cx:pt idx="67280">1</cx:pt>
          <cx:pt idx="67281">5</cx:pt>
          <cx:pt idx="67282">3</cx:pt>
          <cx:pt idx="67283">4</cx:pt>
          <cx:pt idx="67284">1</cx:pt>
          <cx:pt idx="67285">3</cx:pt>
          <cx:pt idx="67286">4</cx:pt>
          <cx:pt idx="67287">4</cx:pt>
          <cx:pt idx="67288">4</cx:pt>
          <cx:pt idx="67289">5</cx:pt>
          <cx:pt idx="67290">3</cx:pt>
          <cx:pt idx="67291">1</cx:pt>
          <cx:pt idx="67292">1</cx:pt>
          <cx:pt idx="67293">4</cx:pt>
          <cx:pt idx="67294">1</cx:pt>
          <cx:pt idx="67295">4</cx:pt>
          <cx:pt idx="67296">5</cx:pt>
          <cx:pt idx="67297">4</cx:pt>
          <cx:pt idx="67298">5</cx:pt>
          <cx:pt idx="67299">4</cx:pt>
          <cx:pt idx="67300">3</cx:pt>
          <cx:pt idx="67301">5</cx:pt>
          <cx:pt idx="67302">5</cx:pt>
          <cx:pt idx="67303">4</cx:pt>
          <cx:pt idx="67304">1</cx:pt>
          <cx:pt idx="67305">4</cx:pt>
          <cx:pt idx="67306">4</cx:pt>
          <cx:pt idx="67307">3</cx:pt>
          <cx:pt idx="67308">4</cx:pt>
          <cx:pt idx="67309">4</cx:pt>
          <cx:pt idx="67310">1</cx:pt>
          <cx:pt idx="67311">2</cx:pt>
          <cx:pt idx="67312">5</cx:pt>
          <cx:pt idx="67313">4</cx:pt>
          <cx:pt idx="67314">2</cx:pt>
          <cx:pt idx="67315">4</cx:pt>
          <cx:pt idx="67316">3</cx:pt>
          <cx:pt idx="67317">5</cx:pt>
          <cx:pt idx="67318">3</cx:pt>
          <cx:pt idx="67319">5</cx:pt>
          <cx:pt idx="67320">4</cx:pt>
          <cx:pt idx="67321">5</cx:pt>
          <cx:pt idx="67322">2</cx:pt>
          <cx:pt idx="67323">2</cx:pt>
          <cx:pt idx="67324">2</cx:pt>
          <cx:pt idx="67325">1</cx:pt>
          <cx:pt idx="67326">4</cx:pt>
          <cx:pt idx="67327">4</cx:pt>
          <cx:pt idx="67328">2</cx:pt>
          <cx:pt idx="67329">1</cx:pt>
          <cx:pt idx="67330">4</cx:pt>
          <cx:pt idx="67331">3</cx:pt>
          <cx:pt idx="67332">4</cx:pt>
          <cx:pt idx="67333">5</cx:pt>
          <cx:pt idx="67334">5</cx:pt>
          <cx:pt idx="67335">3</cx:pt>
          <cx:pt idx="67336">5</cx:pt>
          <cx:pt idx="67337">5</cx:pt>
          <cx:pt idx="67338">4</cx:pt>
          <cx:pt idx="67339">3</cx:pt>
          <cx:pt idx="67340">3</cx:pt>
          <cx:pt idx="67341">4</cx:pt>
          <cx:pt idx="67342">5</cx:pt>
          <cx:pt idx="67343">5</cx:pt>
          <cx:pt idx="67344">4</cx:pt>
          <cx:pt idx="67345">2</cx:pt>
          <cx:pt idx="67346">3</cx:pt>
          <cx:pt idx="67347">3</cx:pt>
          <cx:pt idx="67348">5</cx:pt>
          <cx:pt idx="67349">2</cx:pt>
          <cx:pt idx="67350">5</cx:pt>
          <cx:pt idx="67351">1</cx:pt>
          <cx:pt idx="67352">3</cx:pt>
          <cx:pt idx="67353">5</cx:pt>
          <cx:pt idx="67354">5</cx:pt>
          <cx:pt idx="67355">1</cx:pt>
          <cx:pt idx="67356">5</cx:pt>
          <cx:pt idx="67357">4</cx:pt>
          <cx:pt idx="67358">5</cx:pt>
          <cx:pt idx="67359">1</cx:pt>
          <cx:pt idx="67360">3</cx:pt>
          <cx:pt idx="67361">4</cx:pt>
          <cx:pt idx="67362">4</cx:pt>
          <cx:pt idx="67363">4</cx:pt>
          <cx:pt idx="67364">3</cx:pt>
          <cx:pt idx="67365">5</cx:pt>
          <cx:pt idx="67366">5</cx:pt>
          <cx:pt idx="67367">4</cx:pt>
          <cx:pt idx="67368">4</cx:pt>
          <cx:pt idx="67369">1</cx:pt>
          <cx:pt idx="67370">2</cx:pt>
          <cx:pt idx="67371">5</cx:pt>
          <cx:pt idx="67372">5</cx:pt>
          <cx:pt idx="67373">3</cx:pt>
          <cx:pt idx="67374">2</cx:pt>
          <cx:pt idx="67375">5</cx:pt>
          <cx:pt idx="67376">4</cx:pt>
          <cx:pt idx="67377">5</cx:pt>
          <cx:pt idx="67378">3</cx:pt>
          <cx:pt idx="67379">4</cx:pt>
          <cx:pt idx="67380">4</cx:pt>
          <cx:pt idx="67381">5</cx:pt>
          <cx:pt idx="67382">1</cx:pt>
          <cx:pt idx="67383">3</cx:pt>
          <cx:pt idx="67384">3</cx:pt>
          <cx:pt idx="67385">5</cx:pt>
          <cx:pt idx="67386">3</cx:pt>
          <cx:pt idx="67387">5</cx:pt>
          <cx:pt idx="67388">2</cx:pt>
          <cx:pt idx="67389">1</cx:pt>
          <cx:pt idx="67390">4</cx:pt>
          <cx:pt idx="67391">3</cx:pt>
          <cx:pt idx="67392">5</cx:pt>
          <cx:pt idx="67393">4</cx:pt>
          <cx:pt idx="67394">5</cx:pt>
          <cx:pt idx="67395">4</cx:pt>
          <cx:pt idx="67396">5</cx:pt>
          <cx:pt idx="67397">2</cx:pt>
          <cx:pt idx="67398">2</cx:pt>
          <cx:pt idx="67399">5</cx:pt>
          <cx:pt idx="67400">2</cx:pt>
          <cx:pt idx="67401">4</cx:pt>
          <cx:pt idx="67402">4</cx:pt>
          <cx:pt idx="67403">5</cx:pt>
          <cx:pt idx="67404">1</cx:pt>
          <cx:pt idx="67405">3</cx:pt>
          <cx:pt idx="67406">1</cx:pt>
          <cx:pt idx="67407">4</cx:pt>
          <cx:pt idx="67408">2</cx:pt>
          <cx:pt idx="67409">4</cx:pt>
          <cx:pt idx="67410">4</cx:pt>
          <cx:pt idx="67411">4</cx:pt>
          <cx:pt idx="67412">3</cx:pt>
          <cx:pt idx="67413">5</cx:pt>
          <cx:pt idx="67414">4</cx:pt>
          <cx:pt idx="67415">2</cx:pt>
          <cx:pt idx="67416">3</cx:pt>
          <cx:pt idx="67417">3</cx:pt>
          <cx:pt idx="67418">4</cx:pt>
          <cx:pt idx="67419">3</cx:pt>
          <cx:pt idx="67420">4</cx:pt>
          <cx:pt idx="67421">3</cx:pt>
          <cx:pt idx="67422">3</cx:pt>
          <cx:pt idx="67423">4</cx:pt>
          <cx:pt idx="67424">4</cx:pt>
          <cx:pt idx="67425">2</cx:pt>
          <cx:pt idx="67426">2</cx:pt>
          <cx:pt idx="67427">4</cx:pt>
          <cx:pt idx="67428">2</cx:pt>
          <cx:pt idx="67429">1</cx:pt>
          <cx:pt idx="67430">5</cx:pt>
          <cx:pt idx="67431">4</cx:pt>
          <cx:pt idx="67432">2</cx:pt>
          <cx:pt idx="67433">3</cx:pt>
          <cx:pt idx="67434">4</cx:pt>
          <cx:pt idx="67435">5</cx:pt>
          <cx:pt idx="67436">1</cx:pt>
          <cx:pt idx="67437">4</cx:pt>
          <cx:pt idx="67438">5</cx:pt>
          <cx:pt idx="67439">4</cx:pt>
          <cx:pt idx="67440">1</cx:pt>
          <cx:pt idx="67441">3</cx:pt>
          <cx:pt idx="67442">3</cx:pt>
          <cx:pt idx="67443">2</cx:pt>
          <cx:pt idx="67444">5</cx:pt>
          <cx:pt idx="67445">5</cx:pt>
          <cx:pt idx="67446">4</cx:pt>
          <cx:pt idx="67447">5</cx:pt>
          <cx:pt idx="67448">5</cx:pt>
          <cx:pt idx="67449">3</cx:pt>
          <cx:pt idx="67450">5</cx:pt>
          <cx:pt idx="67451">3</cx:pt>
          <cx:pt idx="67452">3</cx:pt>
          <cx:pt idx="67453">3</cx:pt>
          <cx:pt idx="67454">5</cx:pt>
          <cx:pt idx="67455">4</cx:pt>
          <cx:pt idx="67456">1</cx:pt>
          <cx:pt idx="67457">4</cx:pt>
          <cx:pt idx="67458">4</cx:pt>
          <cx:pt idx="67459">5</cx:pt>
          <cx:pt idx="67460">3</cx:pt>
          <cx:pt idx="67461">4</cx:pt>
          <cx:pt idx="67462">3</cx:pt>
          <cx:pt idx="67463">5</cx:pt>
          <cx:pt idx="67464">5</cx:pt>
          <cx:pt idx="67465">4</cx:pt>
          <cx:pt idx="67466">1</cx:pt>
          <cx:pt idx="67467">5</cx:pt>
          <cx:pt idx="67468">3</cx:pt>
          <cx:pt idx="67469">2</cx:pt>
          <cx:pt idx="67470">5</cx:pt>
          <cx:pt idx="67471">1</cx:pt>
          <cx:pt idx="67472">5</cx:pt>
          <cx:pt idx="67473">2</cx:pt>
          <cx:pt idx="67474">5</cx:pt>
          <cx:pt idx="67475">2</cx:pt>
          <cx:pt idx="67476">4</cx:pt>
          <cx:pt idx="67477">5</cx:pt>
          <cx:pt idx="67478">4</cx:pt>
          <cx:pt idx="67479">5</cx:pt>
          <cx:pt idx="67480">5</cx:pt>
          <cx:pt idx="67481">2</cx:pt>
          <cx:pt idx="67482">3</cx:pt>
          <cx:pt idx="67483">5</cx:pt>
          <cx:pt idx="67484">2</cx:pt>
          <cx:pt idx="67485">5</cx:pt>
          <cx:pt idx="67486">5</cx:pt>
          <cx:pt idx="67487">1</cx:pt>
          <cx:pt idx="67488">2</cx:pt>
          <cx:pt idx="67489">1</cx:pt>
          <cx:pt idx="67490">2</cx:pt>
          <cx:pt idx="67491">4</cx:pt>
          <cx:pt idx="67492">3</cx:pt>
          <cx:pt idx="67493">4</cx:pt>
          <cx:pt idx="67494">3</cx:pt>
          <cx:pt idx="67495">5</cx:pt>
          <cx:pt idx="67496">3</cx:pt>
          <cx:pt idx="67497">5</cx:pt>
          <cx:pt idx="67498">3</cx:pt>
          <cx:pt idx="67499">4</cx:pt>
          <cx:pt idx="67500">4</cx:pt>
          <cx:pt idx="67501">4</cx:pt>
          <cx:pt idx="67502">5</cx:pt>
          <cx:pt idx="67503">4</cx:pt>
          <cx:pt idx="67504">5</cx:pt>
          <cx:pt idx="67505">4</cx:pt>
          <cx:pt idx="67506">4</cx:pt>
          <cx:pt idx="67507">5</cx:pt>
          <cx:pt idx="67508">1</cx:pt>
          <cx:pt idx="67509">3</cx:pt>
          <cx:pt idx="67510">4</cx:pt>
          <cx:pt idx="67511">3</cx:pt>
          <cx:pt idx="67512">4</cx:pt>
          <cx:pt idx="67513">5</cx:pt>
          <cx:pt idx="67514">3</cx:pt>
          <cx:pt idx="67515">1</cx:pt>
          <cx:pt idx="67516">3</cx:pt>
          <cx:pt idx="67517">3</cx:pt>
          <cx:pt idx="67518">4</cx:pt>
          <cx:pt idx="67519">1</cx:pt>
          <cx:pt idx="67520">3</cx:pt>
          <cx:pt idx="67521">4</cx:pt>
          <cx:pt idx="67522">3</cx:pt>
          <cx:pt idx="67523">5</cx:pt>
          <cx:pt idx="67524">4</cx:pt>
          <cx:pt idx="67525">1</cx:pt>
          <cx:pt idx="67526">1</cx:pt>
          <cx:pt idx="67527">1</cx:pt>
          <cx:pt idx="67528">5</cx:pt>
          <cx:pt idx="67529">3</cx:pt>
          <cx:pt idx="67530">3</cx:pt>
          <cx:pt idx="67531">4</cx:pt>
          <cx:pt idx="67532">4</cx:pt>
          <cx:pt idx="67533">4</cx:pt>
          <cx:pt idx="67534">3</cx:pt>
          <cx:pt idx="67535">5</cx:pt>
          <cx:pt idx="67536">1</cx:pt>
          <cx:pt idx="67537">3</cx:pt>
          <cx:pt idx="67538">4</cx:pt>
          <cx:pt idx="67539">2</cx:pt>
          <cx:pt idx="67540">3</cx:pt>
          <cx:pt idx="67541">5</cx:pt>
          <cx:pt idx="67542">4</cx:pt>
          <cx:pt idx="67543">3</cx:pt>
          <cx:pt idx="67544">5</cx:pt>
          <cx:pt idx="67545">4</cx:pt>
          <cx:pt idx="67546">5</cx:pt>
          <cx:pt idx="67547">5</cx:pt>
          <cx:pt idx="67548">1</cx:pt>
          <cx:pt idx="67549">5</cx:pt>
          <cx:pt idx="67550">1</cx:pt>
          <cx:pt idx="67551">5</cx:pt>
          <cx:pt idx="67552">5</cx:pt>
          <cx:pt idx="67553">5</cx:pt>
          <cx:pt idx="67554">5</cx:pt>
          <cx:pt idx="67555">5</cx:pt>
          <cx:pt idx="67556">5</cx:pt>
          <cx:pt idx="67557">4</cx:pt>
          <cx:pt idx="67558">2</cx:pt>
          <cx:pt idx="67559">5</cx:pt>
          <cx:pt idx="67560">5</cx:pt>
          <cx:pt idx="67561">2</cx:pt>
          <cx:pt idx="67562">3</cx:pt>
          <cx:pt idx="67563">4</cx:pt>
          <cx:pt idx="67564">1</cx:pt>
          <cx:pt idx="67565">5</cx:pt>
          <cx:pt idx="67566">4</cx:pt>
          <cx:pt idx="67567">1</cx:pt>
          <cx:pt idx="67568">2</cx:pt>
          <cx:pt idx="67569">4</cx:pt>
          <cx:pt idx="67570">5</cx:pt>
          <cx:pt idx="67571">5</cx:pt>
          <cx:pt idx="67572">5</cx:pt>
          <cx:pt idx="67573">4</cx:pt>
          <cx:pt idx="67574">5</cx:pt>
          <cx:pt idx="67575">4</cx:pt>
          <cx:pt idx="67576">5</cx:pt>
          <cx:pt idx="67577">3</cx:pt>
          <cx:pt idx="67578">5</cx:pt>
          <cx:pt idx="67579">3</cx:pt>
          <cx:pt idx="67580">3</cx:pt>
          <cx:pt idx="67581">4</cx:pt>
          <cx:pt idx="67582">2</cx:pt>
          <cx:pt idx="67583">4</cx:pt>
          <cx:pt idx="67584">5</cx:pt>
          <cx:pt idx="67585">4</cx:pt>
          <cx:pt idx="67586">3</cx:pt>
          <cx:pt idx="67587">5</cx:pt>
          <cx:pt idx="67588">4</cx:pt>
          <cx:pt idx="67589">1</cx:pt>
          <cx:pt idx="67590">4</cx:pt>
          <cx:pt idx="67591">4</cx:pt>
          <cx:pt idx="67592">4</cx:pt>
          <cx:pt idx="67593">4</cx:pt>
          <cx:pt idx="67594">5</cx:pt>
          <cx:pt idx="67595">5</cx:pt>
          <cx:pt idx="67596">4</cx:pt>
          <cx:pt idx="67597">4</cx:pt>
          <cx:pt idx="67598">3</cx:pt>
          <cx:pt idx="67599">3</cx:pt>
          <cx:pt idx="67600">4</cx:pt>
          <cx:pt idx="67601">4</cx:pt>
          <cx:pt idx="67602">5</cx:pt>
          <cx:pt idx="67603">3</cx:pt>
          <cx:pt idx="67604">1</cx:pt>
          <cx:pt idx="67605">5</cx:pt>
          <cx:pt idx="67606">3</cx:pt>
          <cx:pt idx="67607">3</cx:pt>
          <cx:pt idx="67608">4</cx:pt>
          <cx:pt idx="67609">2</cx:pt>
          <cx:pt idx="67610">1</cx:pt>
          <cx:pt idx="67611">4</cx:pt>
          <cx:pt idx="67612">1</cx:pt>
          <cx:pt idx="67613">4</cx:pt>
          <cx:pt idx="67614">5</cx:pt>
          <cx:pt idx="67615">4</cx:pt>
          <cx:pt idx="67616">5</cx:pt>
          <cx:pt idx="67617">4</cx:pt>
          <cx:pt idx="67618">5</cx:pt>
          <cx:pt idx="67619">3</cx:pt>
          <cx:pt idx="67620">5</cx:pt>
          <cx:pt idx="67621">3</cx:pt>
          <cx:pt idx="67622">3</cx:pt>
          <cx:pt idx="67623">1</cx:pt>
          <cx:pt idx="67624">5</cx:pt>
          <cx:pt idx="67625">5</cx:pt>
          <cx:pt idx="67626">4</cx:pt>
          <cx:pt idx="67627">4</cx:pt>
          <cx:pt idx="67628">4</cx:pt>
          <cx:pt idx="67629">3</cx:pt>
          <cx:pt idx="67630">5</cx:pt>
          <cx:pt idx="67631">4</cx:pt>
          <cx:pt idx="67632">5</cx:pt>
          <cx:pt idx="67633">3</cx:pt>
          <cx:pt idx="67634">5</cx:pt>
          <cx:pt idx="67635">1</cx:pt>
          <cx:pt idx="67636">4</cx:pt>
          <cx:pt idx="67637">4</cx:pt>
          <cx:pt idx="67638">4</cx:pt>
          <cx:pt idx="67639">3</cx:pt>
          <cx:pt idx="67640">3</cx:pt>
          <cx:pt idx="67641">2</cx:pt>
          <cx:pt idx="67642">3</cx:pt>
          <cx:pt idx="67643">2</cx:pt>
          <cx:pt idx="67644">3</cx:pt>
          <cx:pt idx="67645">4</cx:pt>
          <cx:pt idx="67646">3</cx:pt>
          <cx:pt idx="67647">3</cx:pt>
          <cx:pt idx="67648">3</cx:pt>
          <cx:pt idx="67649">4</cx:pt>
          <cx:pt idx="67650">5</cx:pt>
          <cx:pt idx="67651">3</cx:pt>
          <cx:pt idx="67652">1</cx:pt>
          <cx:pt idx="67653">3</cx:pt>
          <cx:pt idx="67654">5</cx:pt>
          <cx:pt idx="67655">2</cx:pt>
          <cx:pt idx="67656">4</cx:pt>
          <cx:pt idx="67657">3</cx:pt>
          <cx:pt idx="67658">1</cx:pt>
          <cx:pt idx="67659">1</cx:pt>
          <cx:pt idx="67660">4</cx:pt>
          <cx:pt idx="67661">4</cx:pt>
          <cx:pt idx="67662">3</cx:pt>
          <cx:pt idx="67663">4</cx:pt>
          <cx:pt idx="67664">3</cx:pt>
          <cx:pt idx="67665">2</cx:pt>
          <cx:pt idx="67666">3</cx:pt>
          <cx:pt idx="67667">4</cx:pt>
          <cx:pt idx="67668">5</cx:pt>
          <cx:pt idx="67669">3</cx:pt>
          <cx:pt idx="67670">4</cx:pt>
          <cx:pt idx="67671">4</cx:pt>
          <cx:pt idx="67672">3</cx:pt>
          <cx:pt idx="67673">3</cx:pt>
          <cx:pt idx="67674">5</cx:pt>
          <cx:pt idx="67675">5</cx:pt>
          <cx:pt idx="67676">5</cx:pt>
          <cx:pt idx="67677">5</cx:pt>
          <cx:pt idx="67678">4</cx:pt>
          <cx:pt idx="67679">3</cx:pt>
          <cx:pt idx="67680">5</cx:pt>
          <cx:pt idx="67681">2</cx:pt>
          <cx:pt idx="67682">4</cx:pt>
          <cx:pt idx="67683">4</cx:pt>
          <cx:pt idx="67684">4</cx:pt>
          <cx:pt idx="67685">3</cx:pt>
          <cx:pt idx="67686">2</cx:pt>
          <cx:pt idx="67687">3</cx:pt>
          <cx:pt idx="67688">2</cx:pt>
          <cx:pt idx="67689">5</cx:pt>
          <cx:pt idx="67690">4</cx:pt>
          <cx:pt idx="67691">3</cx:pt>
          <cx:pt idx="67692">2</cx:pt>
          <cx:pt idx="67693">2</cx:pt>
          <cx:pt idx="67694">4</cx:pt>
          <cx:pt idx="67695">1</cx:pt>
          <cx:pt idx="67696">5</cx:pt>
          <cx:pt idx="67697">1</cx:pt>
          <cx:pt idx="67698">5</cx:pt>
          <cx:pt idx="67699">5</cx:pt>
          <cx:pt idx="67700">4</cx:pt>
          <cx:pt idx="67701">2</cx:pt>
          <cx:pt idx="67702">1</cx:pt>
          <cx:pt idx="67703">5</cx:pt>
          <cx:pt idx="67704">4</cx:pt>
          <cx:pt idx="67705">3</cx:pt>
          <cx:pt idx="67706">2</cx:pt>
          <cx:pt idx="67707">1</cx:pt>
          <cx:pt idx="67708">4</cx:pt>
          <cx:pt idx="67709">2</cx:pt>
          <cx:pt idx="67710">2</cx:pt>
          <cx:pt idx="67711">3</cx:pt>
          <cx:pt idx="67712">5</cx:pt>
          <cx:pt idx="67713">5</cx:pt>
          <cx:pt idx="67714">3</cx:pt>
          <cx:pt idx="67715">5</cx:pt>
          <cx:pt idx="67716">4</cx:pt>
          <cx:pt idx="67717">4</cx:pt>
          <cx:pt idx="67718">3</cx:pt>
          <cx:pt idx="67719">5</cx:pt>
          <cx:pt idx="67720">1</cx:pt>
          <cx:pt idx="67721">5</cx:pt>
          <cx:pt idx="67722">1</cx:pt>
          <cx:pt idx="67723">5</cx:pt>
          <cx:pt idx="67724">5</cx:pt>
          <cx:pt idx="67725">4</cx:pt>
          <cx:pt idx="67726">2</cx:pt>
          <cx:pt idx="67727">5</cx:pt>
          <cx:pt idx="67728">2</cx:pt>
          <cx:pt idx="67729">5</cx:pt>
          <cx:pt idx="67730">5</cx:pt>
          <cx:pt idx="67731">4</cx:pt>
          <cx:pt idx="67732">4</cx:pt>
          <cx:pt idx="67733">4</cx:pt>
          <cx:pt idx="67734">5</cx:pt>
          <cx:pt idx="67735">4</cx:pt>
          <cx:pt idx="67736">5</cx:pt>
          <cx:pt idx="67737">2</cx:pt>
          <cx:pt idx="67738">2</cx:pt>
          <cx:pt idx="67739">5</cx:pt>
          <cx:pt idx="67740">3</cx:pt>
          <cx:pt idx="67741">5</cx:pt>
          <cx:pt idx="67742">5</cx:pt>
          <cx:pt idx="67743">4</cx:pt>
          <cx:pt idx="67744">5</cx:pt>
          <cx:pt idx="67745">4</cx:pt>
          <cx:pt idx="67746">4</cx:pt>
          <cx:pt idx="67747">2</cx:pt>
          <cx:pt idx="67748">1</cx:pt>
          <cx:pt idx="67749">4</cx:pt>
          <cx:pt idx="67750">4</cx:pt>
          <cx:pt idx="67751">4</cx:pt>
          <cx:pt idx="67752">4</cx:pt>
          <cx:pt idx="67753">3</cx:pt>
          <cx:pt idx="67754">5</cx:pt>
          <cx:pt idx="67755">5</cx:pt>
          <cx:pt idx="67756">5</cx:pt>
          <cx:pt idx="67757">4</cx:pt>
          <cx:pt idx="67758">3</cx:pt>
          <cx:pt idx="67759">4</cx:pt>
          <cx:pt idx="67760">4</cx:pt>
          <cx:pt idx="67761">5</cx:pt>
          <cx:pt idx="67762">5</cx:pt>
          <cx:pt idx="67763">1</cx:pt>
          <cx:pt idx="67764">4</cx:pt>
          <cx:pt idx="67765">2</cx:pt>
          <cx:pt idx="67766">3</cx:pt>
          <cx:pt idx="67767">1</cx:pt>
          <cx:pt idx="67768">4</cx:pt>
          <cx:pt idx="67769">5</cx:pt>
          <cx:pt idx="67770">1</cx:pt>
          <cx:pt idx="67771">4</cx:pt>
          <cx:pt idx="67772">5</cx:pt>
          <cx:pt idx="67773">2</cx:pt>
          <cx:pt idx="67774">3</cx:pt>
          <cx:pt idx="67775">4</cx:pt>
          <cx:pt idx="67776">5</cx:pt>
          <cx:pt idx="67777">5</cx:pt>
          <cx:pt idx="67778">4</cx:pt>
          <cx:pt idx="67779">5</cx:pt>
          <cx:pt idx="67780">4</cx:pt>
          <cx:pt idx="67781">4</cx:pt>
          <cx:pt idx="67782">4</cx:pt>
          <cx:pt idx="67783">4</cx:pt>
          <cx:pt idx="67784">4</cx:pt>
          <cx:pt idx="67785">3</cx:pt>
          <cx:pt idx="67786">5</cx:pt>
          <cx:pt idx="67787">5</cx:pt>
          <cx:pt idx="67788">4</cx:pt>
          <cx:pt idx="67789">5</cx:pt>
          <cx:pt idx="67790">3</cx:pt>
          <cx:pt idx="67791">1</cx:pt>
          <cx:pt idx="67792">3</cx:pt>
          <cx:pt idx="67793">4</cx:pt>
          <cx:pt idx="67794">4</cx:pt>
          <cx:pt idx="67795">4</cx:pt>
          <cx:pt idx="67796">1</cx:pt>
          <cx:pt idx="67797">5</cx:pt>
          <cx:pt idx="67798">5</cx:pt>
          <cx:pt idx="67799">5</cx:pt>
          <cx:pt idx="67800">2</cx:pt>
          <cx:pt idx="67801">5</cx:pt>
          <cx:pt idx="67802">4</cx:pt>
          <cx:pt idx="67803">4</cx:pt>
          <cx:pt idx="67804">3</cx:pt>
          <cx:pt idx="67805">3</cx:pt>
          <cx:pt idx="67806">4</cx:pt>
          <cx:pt idx="67807">4</cx:pt>
          <cx:pt idx="67808">5</cx:pt>
          <cx:pt idx="67809">5</cx:pt>
          <cx:pt idx="67810">5</cx:pt>
          <cx:pt idx="67811">4</cx:pt>
          <cx:pt idx="67812">2</cx:pt>
          <cx:pt idx="67813">5</cx:pt>
          <cx:pt idx="67814">4</cx:pt>
          <cx:pt idx="67815">2</cx:pt>
          <cx:pt idx="67816">5</cx:pt>
          <cx:pt idx="67817">2</cx:pt>
          <cx:pt idx="67818">3</cx:pt>
          <cx:pt idx="67819">3</cx:pt>
          <cx:pt idx="67820">4</cx:pt>
          <cx:pt idx="67821">3</cx:pt>
          <cx:pt idx="67822">4</cx:pt>
          <cx:pt idx="67823">5</cx:pt>
          <cx:pt idx="67824">5</cx:pt>
          <cx:pt idx="67825">1</cx:pt>
          <cx:pt idx="67826">4</cx:pt>
          <cx:pt idx="67827">1</cx:pt>
          <cx:pt idx="67828">5</cx:pt>
          <cx:pt idx="67829">4</cx:pt>
          <cx:pt idx="67830">1</cx:pt>
          <cx:pt idx="67831">5</cx:pt>
          <cx:pt idx="67832">4</cx:pt>
          <cx:pt idx="67833">3</cx:pt>
          <cx:pt idx="67834">5</cx:pt>
          <cx:pt idx="67835">4</cx:pt>
          <cx:pt idx="67836">5</cx:pt>
          <cx:pt idx="67837">5</cx:pt>
          <cx:pt idx="67838">2</cx:pt>
          <cx:pt idx="67839">3</cx:pt>
          <cx:pt idx="67840">5</cx:pt>
          <cx:pt idx="67841">3</cx:pt>
          <cx:pt idx="67842">1</cx:pt>
          <cx:pt idx="67843">5</cx:pt>
          <cx:pt idx="67844">2</cx:pt>
          <cx:pt idx="67845">4</cx:pt>
          <cx:pt idx="67846">5</cx:pt>
          <cx:pt idx="67847">3</cx:pt>
          <cx:pt idx="67848">1</cx:pt>
          <cx:pt idx="67849">3</cx:pt>
          <cx:pt idx="67850">2</cx:pt>
          <cx:pt idx="67851">2</cx:pt>
          <cx:pt idx="67852">4</cx:pt>
          <cx:pt idx="67853">5</cx:pt>
          <cx:pt idx="67854">4</cx:pt>
          <cx:pt idx="67855">3</cx:pt>
          <cx:pt idx="67856">3</cx:pt>
          <cx:pt idx="67857">1</cx:pt>
          <cx:pt idx="67858">3</cx:pt>
          <cx:pt idx="67859">4</cx:pt>
          <cx:pt idx="67860">5</cx:pt>
          <cx:pt idx="67861">3</cx:pt>
          <cx:pt idx="67862">3</cx:pt>
          <cx:pt idx="67863">4</cx:pt>
          <cx:pt idx="67864">4</cx:pt>
          <cx:pt idx="67865">2</cx:pt>
          <cx:pt idx="67866">3</cx:pt>
          <cx:pt idx="67867">3</cx:pt>
          <cx:pt idx="67868">3</cx:pt>
          <cx:pt idx="67869">4</cx:pt>
          <cx:pt idx="67870">1</cx:pt>
          <cx:pt idx="67871">3</cx:pt>
          <cx:pt idx="67872">4</cx:pt>
          <cx:pt idx="67873">3</cx:pt>
          <cx:pt idx="67874">4</cx:pt>
          <cx:pt idx="67875">4</cx:pt>
          <cx:pt idx="67876">1</cx:pt>
          <cx:pt idx="67877">4</cx:pt>
          <cx:pt idx="67878">3</cx:pt>
          <cx:pt idx="67879">1</cx:pt>
          <cx:pt idx="67880">5</cx:pt>
          <cx:pt idx="67881">5</cx:pt>
          <cx:pt idx="67882">4</cx:pt>
          <cx:pt idx="67883">5</cx:pt>
          <cx:pt idx="67884">1</cx:pt>
          <cx:pt idx="67885">5</cx:pt>
          <cx:pt idx="67886">4</cx:pt>
          <cx:pt idx="67887">4</cx:pt>
          <cx:pt idx="67888">1</cx:pt>
          <cx:pt idx="67889">2</cx:pt>
          <cx:pt idx="67890">3</cx:pt>
          <cx:pt idx="67891">5</cx:pt>
          <cx:pt idx="67892">3</cx:pt>
          <cx:pt idx="67893">4</cx:pt>
          <cx:pt idx="67894">3</cx:pt>
          <cx:pt idx="67895">4</cx:pt>
          <cx:pt idx="67896">4</cx:pt>
          <cx:pt idx="67897">3</cx:pt>
          <cx:pt idx="67898">5</cx:pt>
          <cx:pt idx="67899">4</cx:pt>
          <cx:pt idx="67900">1</cx:pt>
          <cx:pt idx="67901">5</cx:pt>
          <cx:pt idx="67902">3</cx:pt>
          <cx:pt idx="67903">2</cx:pt>
          <cx:pt idx="67904">3</cx:pt>
          <cx:pt idx="67905">5</cx:pt>
          <cx:pt idx="67906">4</cx:pt>
          <cx:pt idx="67907">4</cx:pt>
          <cx:pt idx="67908">3</cx:pt>
          <cx:pt idx="67909">3</cx:pt>
          <cx:pt idx="67910">4</cx:pt>
          <cx:pt idx="67911">3</cx:pt>
          <cx:pt idx="67912">5</cx:pt>
          <cx:pt idx="67913">2</cx:pt>
          <cx:pt idx="67914">2</cx:pt>
          <cx:pt idx="67915">2</cx:pt>
          <cx:pt idx="67916">5</cx:pt>
          <cx:pt idx="67917">5</cx:pt>
          <cx:pt idx="67918">4</cx:pt>
          <cx:pt idx="67919">5</cx:pt>
          <cx:pt idx="67920">3</cx:pt>
          <cx:pt idx="67921">1</cx:pt>
          <cx:pt idx="67922">3</cx:pt>
          <cx:pt idx="67923">5</cx:pt>
          <cx:pt idx="67924">5</cx:pt>
          <cx:pt idx="67925">5</cx:pt>
          <cx:pt idx="67926">3</cx:pt>
          <cx:pt idx="67927">3</cx:pt>
          <cx:pt idx="67928">4</cx:pt>
          <cx:pt idx="67929">1</cx:pt>
          <cx:pt idx="67930">4</cx:pt>
          <cx:pt idx="67931">5</cx:pt>
          <cx:pt idx="67932">5</cx:pt>
          <cx:pt idx="67933">2</cx:pt>
          <cx:pt idx="67934">2</cx:pt>
          <cx:pt idx="67935">5</cx:pt>
          <cx:pt idx="67936">5</cx:pt>
          <cx:pt idx="67937">5</cx:pt>
          <cx:pt idx="67938">3</cx:pt>
          <cx:pt idx="67939">4</cx:pt>
          <cx:pt idx="67940">4</cx:pt>
          <cx:pt idx="67941">2</cx:pt>
          <cx:pt idx="67942">1</cx:pt>
          <cx:pt idx="67943">4</cx:pt>
          <cx:pt idx="67944">2</cx:pt>
          <cx:pt idx="67945">2</cx:pt>
          <cx:pt idx="67946">1</cx:pt>
          <cx:pt idx="67947">4</cx:pt>
          <cx:pt idx="67948">3</cx:pt>
          <cx:pt idx="67949">5</cx:pt>
          <cx:pt idx="67950">4</cx:pt>
          <cx:pt idx="67951">3</cx:pt>
          <cx:pt idx="67952">5</cx:pt>
          <cx:pt idx="67953">2</cx:pt>
          <cx:pt idx="67954">4</cx:pt>
          <cx:pt idx="67955">4</cx:pt>
          <cx:pt idx="67956">5</cx:pt>
          <cx:pt idx="67957">4</cx:pt>
          <cx:pt idx="67958">2</cx:pt>
          <cx:pt idx="67959">4</cx:pt>
          <cx:pt idx="67960">3</cx:pt>
          <cx:pt idx="67961">2</cx:pt>
          <cx:pt idx="67962">5</cx:pt>
          <cx:pt idx="67963">5</cx:pt>
          <cx:pt idx="67964">4</cx:pt>
          <cx:pt idx="67965">3</cx:pt>
          <cx:pt idx="67966">1</cx:pt>
          <cx:pt idx="67967">4</cx:pt>
          <cx:pt idx="67968">2</cx:pt>
          <cx:pt idx="67969">2</cx:pt>
          <cx:pt idx="67970">2</cx:pt>
          <cx:pt idx="67971">2</cx:pt>
          <cx:pt idx="67972">4</cx:pt>
          <cx:pt idx="67973">5</cx:pt>
          <cx:pt idx="67974">2</cx:pt>
          <cx:pt idx="67975">4</cx:pt>
          <cx:pt idx="67976">5</cx:pt>
          <cx:pt idx="67977">5</cx:pt>
          <cx:pt idx="67978">2</cx:pt>
          <cx:pt idx="67979">4</cx:pt>
          <cx:pt idx="67980">3</cx:pt>
          <cx:pt idx="67981">1</cx:pt>
          <cx:pt idx="67982">4</cx:pt>
          <cx:pt idx="67983">5</cx:pt>
          <cx:pt idx="67984">4</cx:pt>
          <cx:pt idx="67985">4</cx:pt>
          <cx:pt idx="67986">3</cx:pt>
          <cx:pt idx="67987">2</cx:pt>
          <cx:pt idx="67988">5</cx:pt>
          <cx:pt idx="67989">4</cx:pt>
          <cx:pt idx="67990">4</cx:pt>
          <cx:pt idx="67991">4</cx:pt>
          <cx:pt idx="67992">4</cx:pt>
          <cx:pt idx="67993">4</cx:pt>
          <cx:pt idx="67994">3</cx:pt>
          <cx:pt idx="67995">2</cx:pt>
          <cx:pt idx="67996">3</cx:pt>
          <cx:pt idx="67997">3</cx:pt>
          <cx:pt idx="67998">1</cx:pt>
          <cx:pt idx="67999">4</cx:pt>
          <cx:pt idx="68000">5</cx:pt>
          <cx:pt idx="68001">1</cx:pt>
          <cx:pt idx="68002">4</cx:pt>
          <cx:pt idx="68003">4</cx:pt>
          <cx:pt idx="68004">4</cx:pt>
          <cx:pt idx="68005">1</cx:pt>
          <cx:pt idx="68006">5</cx:pt>
          <cx:pt idx="68007">4</cx:pt>
          <cx:pt idx="68008">5</cx:pt>
          <cx:pt idx="68009">5</cx:pt>
          <cx:pt idx="68010">4</cx:pt>
          <cx:pt idx="68011">4</cx:pt>
          <cx:pt idx="68012">3</cx:pt>
          <cx:pt idx="68013">2</cx:pt>
          <cx:pt idx="68014">4</cx:pt>
          <cx:pt idx="68015">4</cx:pt>
          <cx:pt idx="68016">4</cx:pt>
          <cx:pt idx="68017">5</cx:pt>
          <cx:pt idx="68018">2</cx:pt>
          <cx:pt idx="68019">5</cx:pt>
          <cx:pt idx="68020">2</cx:pt>
          <cx:pt idx="68021">4</cx:pt>
          <cx:pt idx="68022">4</cx:pt>
          <cx:pt idx="68023">2</cx:pt>
          <cx:pt idx="68024">4</cx:pt>
          <cx:pt idx="68025">5</cx:pt>
          <cx:pt idx="68026">5</cx:pt>
          <cx:pt idx="68027">5</cx:pt>
          <cx:pt idx="68028">2</cx:pt>
          <cx:pt idx="68029">5</cx:pt>
          <cx:pt idx="68030">5</cx:pt>
          <cx:pt idx="68031">4</cx:pt>
          <cx:pt idx="68032">4</cx:pt>
          <cx:pt idx="68033">4</cx:pt>
          <cx:pt idx="68034">5</cx:pt>
          <cx:pt idx="68035">2</cx:pt>
          <cx:pt idx="68036">3</cx:pt>
          <cx:pt idx="68037">5</cx:pt>
          <cx:pt idx="68038">1</cx:pt>
          <cx:pt idx="68039">4</cx:pt>
          <cx:pt idx="68040">5</cx:pt>
          <cx:pt idx="68041">5</cx:pt>
          <cx:pt idx="68042">2</cx:pt>
          <cx:pt idx="68043">3</cx:pt>
          <cx:pt idx="68044">5</cx:pt>
          <cx:pt idx="68045">5</cx:pt>
          <cx:pt idx="68046">2</cx:pt>
          <cx:pt idx="68047">2</cx:pt>
          <cx:pt idx="68048">5</cx:pt>
          <cx:pt idx="68049">5</cx:pt>
          <cx:pt idx="68050">5</cx:pt>
          <cx:pt idx="68051">1</cx:pt>
          <cx:pt idx="68052">3</cx:pt>
          <cx:pt idx="68053">4</cx:pt>
          <cx:pt idx="68054">3</cx:pt>
          <cx:pt idx="68055">1</cx:pt>
          <cx:pt idx="68056">1</cx:pt>
          <cx:pt idx="68057">4</cx:pt>
          <cx:pt idx="68058">5</cx:pt>
          <cx:pt idx="68059">5</cx:pt>
          <cx:pt idx="68060">4</cx:pt>
          <cx:pt idx="68061">4</cx:pt>
          <cx:pt idx="68062">4</cx:pt>
          <cx:pt idx="68063">5</cx:pt>
          <cx:pt idx="68064">1</cx:pt>
          <cx:pt idx="68065">1</cx:pt>
          <cx:pt idx="68066">4</cx:pt>
          <cx:pt idx="68067">1</cx:pt>
          <cx:pt idx="68068">4</cx:pt>
          <cx:pt idx="68069">1</cx:pt>
          <cx:pt idx="68070">5</cx:pt>
          <cx:pt idx="68071">4</cx:pt>
          <cx:pt idx="68072">5</cx:pt>
          <cx:pt idx="68073">1</cx:pt>
          <cx:pt idx="68074">3</cx:pt>
          <cx:pt idx="68075">4</cx:pt>
          <cx:pt idx="68076">4</cx:pt>
          <cx:pt idx="68077">5</cx:pt>
          <cx:pt idx="68078">4</cx:pt>
          <cx:pt idx="68079">3</cx:pt>
          <cx:pt idx="68080">4</cx:pt>
          <cx:pt idx="68081">5</cx:pt>
          <cx:pt idx="68082">4</cx:pt>
          <cx:pt idx="68083">2</cx:pt>
          <cx:pt idx="68084">2</cx:pt>
          <cx:pt idx="68085">5</cx:pt>
          <cx:pt idx="68086">4</cx:pt>
          <cx:pt idx="68087">4</cx:pt>
          <cx:pt idx="68088">3</cx:pt>
          <cx:pt idx="68089">5</cx:pt>
          <cx:pt idx="68090">5</cx:pt>
          <cx:pt idx="68091">3</cx:pt>
          <cx:pt idx="68092">4</cx:pt>
          <cx:pt idx="68093">4</cx:pt>
          <cx:pt idx="68094">4</cx:pt>
          <cx:pt idx="68095">3</cx:pt>
          <cx:pt idx="68096">4</cx:pt>
          <cx:pt idx="68097">4</cx:pt>
          <cx:pt idx="68098">4</cx:pt>
          <cx:pt idx="68099">3</cx:pt>
          <cx:pt idx="68100">2</cx:pt>
          <cx:pt idx="68101">4</cx:pt>
          <cx:pt idx="68102">5</cx:pt>
          <cx:pt idx="68103">4</cx:pt>
          <cx:pt idx="68104">4</cx:pt>
          <cx:pt idx="68105">5</cx:pt>
          <cx:pt idx="68106">4</cx:pt>
          <cx:pt idx="68107">4</cx:pt>
          <cx:pt idx="68108">5</cx:pt>
          <cx:pt idx="68109">2</cx:pt>
          <cx:pt idx="68110">3</cx:pt>
          <cx:pt idx="68111">3</cx:pt>
          <cx:pt idx="68112">5</cx:pt>
          <cx:pt idx="68113">3</cx:pt>
          <cx:pt idx="68114">4</cx:pt>
          <cx:pt idx="68115">5</cx:pt>
          <cx:pt idx="68116">3</cx:pt>
          <cx:pt idx="68117">5</cx:pt>
          <cx:pt idx="68118">1</cx:pt>
          <cx:pt idx="68119">3</cx:pt>
          <cx:pt idx="68120">4</cx:pt>
          <cx:pt idx="68121">2</cx:pt>
          <cx:pt idx="68122">5</cx:pt>
          <cx:pt idx="68123">4</cx:pt>
          <cx:pt idx="68124">4</cx:pt>
          <cx:pt idx="68125">3</cx:pt>
          <cx:pt idx="68126">5</cx:pt>
          <cx:pt idx="68127">3</cx:pt>
          <cx:pt idx="68128">3</cx:pt>
          <cx:pt idx="68129">5</cx:pt>
          <cx:pt idx="68130">5</cx:pt>
          <cx:pt idx="68131">5</cx:pt>
          <cx:pt idx="68132">5</cx:pt>
          <cx:pt idx="68133">5</cx:pt>
          <cx:pt idx="68134">4</cx:pt>
          <cx:pt idx="68135">1</cx:pt>
          <cx:pt idx="68136">4</cx:pt>
          <cx:pt idx="68137">2</cx:pt>
          <cx:pt idx="68138">4</cx:pt>
          <cx:pt idx="68139">4</cx:pt>
          <cx:pt idx="68140">1</cx:pt>
          <cx:pt idx="68141">2</cx:pt>
          <cx:pt idx="68142">5</cx:pt>
          <cx:pt idx="68143">3</cx:pt>
          <cx:pt idx="68144">4</cx:pt>
          <cx:pt idx="68145">2</cx:pt>
          <cx:pt idx="68146">4</cx:pt>
          <cx:pt idx="68147">5</cx:pt>
          <cx:pt idx="68148">3</cx:pt>
          <cx:pt idx="68149">2</cx:pt>
          <cx:pt idx="68150">4</cx:pt>
          <cx:pt idx="68151">4</cx:pt>
          <cx:pt idx="68152">4</cx:pt>
          <cx:pt idx="68153">5</cx:pt>
          <cx:pt idx="68154">5</cx:pt>
          <cx:pt idx="68155">5</cx:pt>
          <cx:pt idx="68156">5</cx:pt>
          <cx:pt idx="68157">1</cx:pt>
          <cx:pt idx="68158">1</cx:pt>
          <cx:pt idx="68159">1</cx:pt>
          <cx:pt idx="68160">4</cx:pt>
          <cx:pt idx="68161">4</cx:pt>
          <cx:pt idx="68162">5</cx:pt>
          <cx:pt idx="68163">4</cx:pt>
          <cx:pt idx="68164">1</cx:pt>
          <cx:pt idx="68165">3</cx:pt>
          <cx:pt idx="68166">4</cx:pt>
          <cx:pt idx="68167">4</cx:pt>
          <cx:pt idx="68168">2</cx:pt>
          <cx:pt idx="68169">5</cx:pt>
          <cx:pt idx="68170">3</cx:pt>
          <cx:pt idx="68171">2</cx:pt>
          <cx:pt idx="68172">4</cx:pt>
          <cx:pt idx="68173">5</cx:pt>
          <cx:pt idx="68174">3</cx:pt>
          <cx:pt idx="68175">5</cx:pt>
          <cx:pt idx="68176">5</cx:pt>
          <cx:pt idx="68177">3</cx:pt>
          <cx:pt idx="68178">3</cx:pt>
          <cx:pt idx="68179">5</cx:pt>
          <cx:pt idx="68180">2</cx:pt>
          <cx:pt idx="68181">4</cx:pt>
          <cx:pt idx="68182">2</cx:pt>
          <cx:pt idx="68183">3</cx:pt>
          <cx:pt idx="68184">2</cx:pt>
          <cx:pt idx="68185">5</cx:pt>
          <cx:pt idx="68186">4</cx:pt>
          <cx:pt idx="68187">4</cx:pt>
          <cx:pt idx="68188">5</cx:pt>
          <cx:pt idx="68189">1</cx:pt>
          <cx:pt idx="68190">4</cx:pt>
          <cx:pt idx="68191">4</cx:pt>
          <cx:pt idx="68192">5</cx:pt>
          <cx:pt idx="68193">4</cx:pt>
          <cx:pt idx="68194">1</cx:pt>
          <cx:pt idx="68195">2</cx:pt>
          <cx:pt idx="68196">4</cx:pt>
          <cx:pt idx="68197">2</cx:pt>
          <cx:pt idx="68198">4</cx:pt>
          <cx:pt idx="68199">4</cx:pt>
          <cx:pt idx="68200">4</cx:pt>
          <cx:pt idx="68201">3</cx:pt>
          <cx:pt idx="68202">4</cx:pt>
          <cx:pt idx="68203">4</cx:pt>
          <cx:pt idx="68204">3</cx:pt>
          <cx:pt idx="68205">2</cx:pt>
          <cx:pt idx="68206">3</cx:pt>
          <cx:pt idx="68207">5</cx:pt>
          <cx:pt idx="68208">2</cx:pt>
          <cx:pt idx="68209">3</cx:pt>
          <cx:pt idx="68210">4</cx:pt>
          <cx:pt idx="68211">3</cx:pt>
          <cx:pt idx="68212">3</cx:pt>
          <cx:pt idx="68213">1</cx:pt>
          <cx:pt idx="68214">4</cx:pt>
          <cx:pt idx="68215">3</cx:pt>
          <cx:pt idx="68216">2</cx:pt>
          <cx:pt idx="68217">3</cx:pt>
          <cx:pt idx="68218">5</cx:pt>
          <cx:pt idx="68219">5</cx:pt>
          <cx:pt idx="68220">3</cx:pt>
          <cx:pt idx="68221">4</cx:pt>
          <cx:pt idx="68222">1</cx:pt>
          <cx:pt idx="68223">3</cx:pt>
          <cx:pt idx="68224">4</cx:pt>
          <cx:pt idx="68225">5</cx:pt>
          <cx:pt idx="68226">4</cx:pt>
          <cx:pt idx="68227">5</cx:pt>
          <cx:pt idx="68228">1</cx:pt>
          <cx:pt idx="68229">4</cx:pt>
          <cx:pt idx="68230">1</cx:pt>
          <cx:pt idx="68231">1</cx:pt>
          <cx:pt idx="68232">5</cx:pt>
          <cx:pt idx="68233">2</cx:pt>
          <cx:pt idx="68234">4</cx:pt>
          <cx:pt idx="68235">5</cx:pt>
          <cx:pt idx="68236">4</cx:pt>
          <cx:pt idx="68237">5</cx:pt>
          <cx:pt idx="68238">5</cx:pt>
          <cx:pt idx="68239">2</cx:pt>
          <cx:pt idx="68240">5</cx:pt>
          <cx:pt idx="68241">1</cx:pt>
          <cx:pt idx="68242">5</cx:pt>
          <cx:pt idx="68243">3</cx:pt>
          <cx:pt idx="68244">5</cx:pt>
          <cx:pt idx="68245">2</cx:pt>
          <cx:pt idx="68246">5</cx:pt>
          <cx:pt idx="68247">1</cx:pt>
          <cx:pt idx="68248">4</cx:pt>
          <cx:pt idx="68249">4</cx:pt>
          <cx:pt idx="68250">4</cx:pt>
          <cx:pt idx="68251">3</cx:pt>
          <cx:pt idx="68252">5</cx:pt>
          <cx:pt idx="68253">4</cx:pt>
          <cx:pt idx="68254">1</cx:pt>
          <cx:pt idx="68255">3</cx:pt>
          <cx:pt idx="68256">5</cx:pt>
          <cx:pt idx="68257">5</cx:pt>
          <cx:pt idx="68258">4</cx:pt>
          <cx:pt idx="68259">1</cx:pt>
          <cx:pt idx="68260">4</cx:pt>
          <cx:pt idx="68261">1</cx:pt>
          <cx:pt idx="68262">4</cx:pt>
          <cx:pt idx="68263">4</cx:pt>
          <cx:pt idx="68264">3</cx:pt>
          <cx:pt idx="68265">2</cx:pt>
          <cx:pt idx="68266">1</cx:pt>
          <cx:pt idx="68267">3</cx:pt>
          <cx:pt idx="68268">2</cx:pt>
          <cx:pt idx="68269">5</cx:pt>
          <cx:pt idx="68270">3</cx:pt>
          <cx:pt idx="68271">3</cx:pt>
          <cx:pt idx="68272">5</cx:pt>
          <cx:pt idx="68273">4</cx:pt>
          <cx:pt idx="68274">3</cx:pt>
          <cx:pt idx="68275">4</cx:pt>
          <cx:pt idx="68276">5</cx:pt>
          <cx:pt idx="68277">5</cx:pt>
          <cx:pt idx="68278">4</cx:pt>
          <cx:pt idx="68279">3</cx:pt>
          <cx:pt idx="68280">5</cx:pt>
          <cx:pt idx="68281">5</cx:pt>
          <cx:pt idx="68282">1</cx:pt>
          <cx:pt idx="68283">5</cx:pt>
          <cx:pt idx="68284">5</cx:pt>
          <cx:pt idx="68285">4</cx:pt>
          <cx:pt idx="68286">3</cx:pt>
          <cx:pt idx="68287">2</cx:pt>
          <cx:pt idx="68288">4</cx:pt>
          <cx:pt idx="68289">1</cx:pt>
          <cx:pt idx="68290">5</cx:pt>
          <cx:pt idx="68291">4</cx:pt>
          <cx:pt idx="68292">4</cx:pt>
          <cx:pt idx="68293">2</cx:pt>
          <cx:pt idx="68294">3</cx:pt>
          <cx:pt idx="68295">3</cx:pt>
          <cx:pt idx="68296">5</cx:pt>
          <cx:pt idx="68297">2</cx:pt>
          <cx:pt idx="68298">4</cx:pt>
          <cx:pt idx="68299">1</cx:pt>
          <cx:pt idx="68300">2</cx:pt>
          <cx:pt idx="68301">3</cx:pt>
          <cx:pt idx="68302">1</cx:pt>
          <cx:pt idx="68303">3</cx:pt>
          <cx:pt idx="68304">3</cx:pt>
          <cx:pt idx="68305">4</cx:pt>
          <cx:pt idx="68306">5</cx:pt>
          <cx:pt idx="68307">2</cx:pt>
          <cx:pt idx="68308">4</cx:pt>
          <cx:pt idx="68309">4</cx:pt>
          <cx:pt idx="68310">3</cx:pt>
          <cx:pt idx="68311">3</cx:pt>
          <cx:pt idx="68312">1</cx:pt>
          <cx:pt idx="68313">5</cx:pt>
          <cx:pt idx="68314">4</cx:pt>
          <cx:pt idx="68315">3</cx:pt>
          <cx:pt idx="68316">1</cx:pt>
          <cx:pt idx="68317">3</cx:pt>
          <cx:pt idx="68318">3</cx:pt>
          <cx:pt idx="68319">5</cx:pt>
          <cx:pt idx="68320">2</cx:pt>
          <cx:pt idx="68321">5</cx:pt>
          <cx:pt idx="68322">3</cx:pt>
          <cx:pt idx="68323">4</cx:pt>
          <cx:pt idx="68324">4</cx:pt>
          <cx:pt idx="68325">4</cx:pt>
          <cx:pt idx="68326">4</cx:pt>
          <cx:pt idx="68327">4</cx:pt>
          <cx:pt idx="68328">5</cx:pt>
          <cx:pt idx="68329">1</cx:pt>
          <cx:pt idx="68330">4</cx:pt>
          <cx:pt idx="68331">2</cx:pt>
          <cx:pt idx="68332">2</cx:pt>
          <cx:pt idx="68333">3</cx:pt>
          <cx:pt idx="68334">2</cx:pt>
          <cx:pt idx="68335">1</cx:pt>
          <cx:pt idx="68336">1</cx:pt>
          <cx:pt idx="68337">2</cx:pt>
          <cx:pt idx="68338">1</cx:pt>
          <cx:pt idx="68339">3</cx:pt>
          <cx:pt idx="68340">5</cx:pt>
          <cx:pt idx="68341">4</cx:pt>
          <cx:pt idx="68342">4</cx:pt>
          <cx:pt idx="68343">4</cx:pt>
          <cx:pt idx="68344">4</cx:pt>
          <cx:pt idx="68345">3</cx:pt>
          <cx:pt idx="68346">5</cx:pt>
          <cx:pt idx="68347">4</cx:pt>
          <cx:pt idx="68348">3</cx:pt>
          <cx:pt idx="68349">2</cx:pt>
          <cx:pt idx="68350">3</cx:pt>
          <cx:pt idx="68351">2</cx:pt>
          <cx:pt idx="68352">3</cx:pt>
          <cx:pt idx="68353">3</cx:pt>
          <cx:pt idx="68354">4</cx:pt>
          <cx:pt idx="68355">5</cx:pt>
          <cx:pt idx="68356">1</cx:pt>
          <cx:pt idx="68357">5</cx:pt>
          <cx:pt idx="68358">5</cx:pt>
          <cx:pt idx="68359">4</cx:pt>
          <cx:pt idx="68360">4</cx:pt>
          <cx:pt idx="68361">4</cx:pt>
          <cx:pt idx="68362">4</cx:pt>
          <cx:pt idx="68363">3</cx:pt>
          <cx:pt idx="68364">4</cx:pt>
          <cx:pt idx="68365">1</cx:pt>
          <cx:pt idx="68366">3</cx:pt>
          <cx:pt idx="68367">4</cx:pt>
          <cx:pt idx="68368">4</cx:pt>
          <cx:pt idx="68369">5</cx:pt>
          <cx:pt idx="68370">2</cx:pt>
          <cx:pt idx="68371">3</cx:pt>
          <cx:pt idx="68372">3</cx:pt>
          <cx:pt idx="68373">4</cx:pt>
          <cx:pt idx="68374">3</cx:pt>
          <cx:pt idx="68375">2</cx:pt>
          <cx:pt idx="68376">1</cx:pt>
          <cx:pt idx="68377">5</cx:pt>
          <cx:pt idx="68378">5</cx:pt>
          <cx:pt idx="68379">4</cx:pt>
          <cx:pt idx="68380">5</cx:pt>
          <cx:pt idx="68381">2</cx:pt>
          <cx:pt idx="68382">3</cx:pt>
          <cx:pt idx="68383">4</cx:pt>
          <cx:pt idx="68384">2</cx:pt>
          <cx:pt idx="68385">4</cx:pt>
          <cx:pt idx="68386">2</cx:pt>
          <cx:pt idx="68387">5</cx:pt>
          <cx:pt idx="68388">5</cx:pt>
          <cx:pt idx="68389">5</cx:pt>
          <cx:pt idx="68390">1</cx:pt>
          <cx:pt idx="68391">5</cx:pt>
          <cx:pt idx="68392">5</cx:pt>
          <cx:pt idx="68393">1</cx:pt>
          <cx:pt idx="68394">4</cx:pt>
          <cx:pt idx="68395">4</cx:pt>
          <cx:pt idx="68396">2</cx:pt>
          <cx:pt idx="68397">1</cx:pt>
          <cx:pt idx="68398">5</cx:pt>
          <cx:pt idx="68399">2</cx:pt>
          <cx:pt idx="68400">4</cx:pt>
          <cx:pt idx="68401">3</cx:pt>
          <cx:pt idx="68402">3</cx:pt>
          <cx:pt idx="68403">1</cx:pt>
          <cx:pt idx="68404">4</cx:pt>
          <cx:pt idx="68405">4</cx:pt>
          <cx:pt idx="68406">4</cx:pt>
          <cx:pt idx="68407">3</cx:pt>
          <cx:pt idx="68408">5</cx:pt>
          <cx:pt idx="68409">3</cx:pt>
          <cx:pt idx="68410">2</cx:pt>
          <cx:pt idx="68411">4</cx:pt>
          <cx:pt idx="68412">1</cx:pt>
          <cx:pt idx="68413">1</cx:pt>
          <cx:pt idx="68414">5</cx:pt>
          <cx:pt idx="68415">3</cx:pt>
          <cx:pt idx="68416">5</cx:pt>
          <cx:pt idx="68417">2</cx:pt>
          <cx:pt idx="68418">5</cx:pt>
          <cx:pt idx="68419">4</cx:pt>
          <cx:pt idx="68420">3</cx:pt>
          <cx:pt idx="68421">5</cx:pt>
          <cx:pt idx="68422">4</cx:pt>
          <cx:pt idx="68423">3</cx:pt>
          <cx:pt idx="68424">3</cx:pt>
          <cx:pt idx="68425">2</cx:pt>
          <cx:pt idx="68426">4</cx:pt>
          <cx:pt idx="68427">1</cx:pt>
          <cx:pt idx="68428">2</cx:pt>
          <cx:pt idx="68429">1</cx:pt>
          <cx:pt idx="68430">2</cx:pt>
          <cx:pt idx="68431">1</cx:pt>
          <cx:pt idx="68432">4</cx:pt>
          <cx:pt idx="68433">5</cx:pt>
          <cx:pt idx="68434">3</cx:pt>
          <cx:pt idx="68435">3</cx:pt>
          <cx:pt idx="68436">1</cx:pt>
          <cx:pt idx="68437">4</cx:pt>
          <cx:pt idx="68438">2</cx:pt>
          <cx:pt idx="68439">4</cx:pt>
          <cx:pt idx="68440">1</cx:pt>
          <cx:pt idx="68441">4</cx:pt>
          <cx:pt idx="68442">4</cx:pt>
          <cx:pt idx="68443">4</cx:pt>
          <cx:pt idx="68444">4</cx:pt>
          <cx:pt idx="68445">4</cx:pt>
          <cx:pt idx="68446">1</cx:pt>
          <cx:pt idx="68447">1</cx:pt>
          <cx:pt idx="68448">1</cx:pt>
          <cx:pt idx="68449">4</cx:pt>
          <cx:pt idx="68450">5</cx:pt>
          <cx:pt idx="68451">4</cx:pt>
          <cx:pt idx="68452">3</cx:pt>
          <cx:pt idx="68453">3</cx:pt>
          <cx:pt idx="68454">5</cx:pt>
          <cx:pt idx="68455">4</cx:pt>
          <cx:pt idx="68456">4</cx:pt>
          <cx:pt idx="68457">4</cx:pt>
          <cx:pt idx="68458">3</cx:pt>
          <cx:pt idx="68459">1</cx:pt>
          <cx:pt idx="68460">4</cx:pt>
          <cx:pt idx="68461">4</cx:pt>
          <cx:pt idx="68462">4</cx:pt>
          <cx:pt idx="68463">1</cx:pt>
          <cx:pt idx="68464">3</cx:pt>
          <cx:pt idx="68465">5</cx:pt>
          <cx:pt idx="68466">3</cx:pt>
          <cx:pt idx="68467">5</cx:pt>
          <cx:pt idx="68468">5</cx:pt>
          <cx:pt idx="68469">4</cx:pt>
          <cx:pt idx="68470">5</cx:pt>
          <cx:pt idx="68471">4</cx:pt>
          <cx:pt idx="68472">4</cx:pt>
          <cx:pt idx="68473">4</cx:pt>
          <cx:pt idx="68474">4</cx:pt>
          <cx:pt idx="68475">2</cx:pt>
          <cx:pt idx="68476">4</cx:pt>
          <cx:pt idx="68477">3</cx:pt>
          <cx:pt idx="68478">5</cx:pt>
          <cx:pt idx="68479">4</cx:pt>
          <cx:pt idx="68480">4</cx:pt>
          <cx:pt idx="68481">1</cx:pt>
          <cx:pt idx="68482">5</cx:pt>
          <cx:pt idx="68483">4</cx:pt>
          <cx:pt idx="68484">5</cx:pt>
          <cx:pt idx="68485">3</cx:pt>
          <cx:pt idx="68486">4</cx:pt>
          <cx:pt idx="68487">5</cx:pt>
          <cx:pt idx="68488">2</cx:pt>
          <cx:pt idx="68489">4</cx:pt>
          <cx:pt idx="68490">2</cx:pt>
          <cx:pt idx="68491">5</cx:pt>
          <cx:pt idx="68492">4</cx:pt>
          <cx:pt idx="68493">1</cx:pt>
          <cx:pt idx="68494">3</cx:pt>
          <cx:pt idx="68495">3</cx:pt>
          <cx:pt idx="68496">4</cx:pt>
          <cx:pt idx="68497">5</cx:pt>
          <cx:pt idx="68498">1</cx:pt>
          <cx:pt idx="68499">2</cx:pt>
          <cx:pt idx="68500">2</cx:pt>
          <cx:pt idx="68501">3</cx:pt>
          <cx:pt idx="68502">2</cx:pt>
          <cx:pt idx="68503">3</cx:pt>
          <cx:pt idx="68504">5</cx:pt>
          <cx:pt idx="68505">5</cx:pt>
          <cx:pt idx="68506">4</cx:pt>
          <cx:pt idx="68507">5</cx:pt>
          <cx:pt idx="68508">3</cx:pt>
          <cx:pt idx="68509">4</cx:pt>
          <cx:pt idx="68510">2</cx:pt>
          <cx:pt idx="68511">4</cx:pt>
          <cx:pt idx="68512">3</cx:pt>
          <cx:pt idx="68513">5</cx:pt>
          <cx:pt idx="68514">3</cx:pt>
          <cx:pt idx="68515">3</cx:pt>
          <cx:pt idx="68516">2</cx:pt>
          <cx:pt idx="68517">1</cx:pt>
          <cx:pt idx="68518">1</cx:pt>
          <cx:pt idx="68519">4</cx:pt>
          <cx:pt idx="68520">5</cx:pt>
          <cx:pt idx="68521">5</cx:pt>
          <cx:pt idx="68522">4</cx:pt>
          <cx:pt idx="68523">1</cx:pt>
          <cx:pt idx="68524">4</cx:pt>
          <cx:pt idx="68525">1</cx:pt>
          <cx:pt idx="68526">4</cx:pt>
          <cx:pt idx="68527">3</cx:pt>
          <cx:pt idx="68528">2</cx:pt>
          <cx:pt idx="68529">3</cx:pt>
          <cx:pt idx="68530">3</cx:pt>
          <cx:pt idx="68531">1</cx:pt>
          <cx:pt idx="68532">5</cx:pt>
          <cx:pt idx="68533">5</cx:pt>
          <cx:pt idx="68534">2</cx:pt>
          <cx:pt idx="68535">1</cx:pt>
          <cx:pt idx="68536">2</cx:pt>
          <cx:pt idx="68537">5</cx:pt>
          <cx:pt idx="68538">5</cx:pt>
          <cx:pt idx="68539">2</cx:pt>
          <cx:pt idx="68540">3</cx:pt>
          <cx:pt idx="68541">5</cx:pt>
          <cx:pt idx="68542">5</cx:pt>
          <cx:pt idx="68543">4</cx:pt>
          <cx:pt idx="68544">2</cx:pt>
          <cx:pt idx="68545">5</cx:pt>
          <cx:pt idx="68546">1</cx:pt>
          <cx:pt idx="68547">5</cx:pt>
          <cx:pt idx="68548">4</cx:pt>
          <cx:pt idx="68549">3</cx:pt>
          <cx:pt idx="68550">4</cx:pt>
          <cx:pt idx="68551">5</cx:pt>
          <cx:pt idx="68552">4</cx:pt>
          <cx:pt idx="68553">3</cx:pt>
          <cx:pt idx="68554">4</cx:pt>
          <cx:pt idx="68555">2</cx:pt>
          <cx:pt idx="68556">3</cx:pt>
          <cx:pt idx="68557">3</cx:pt>
          <cx:pt idx="68558">5</cx:pt>
          <cx:pt idx="68559">2</cx:pt>
          <cx:pt idx="68560">2</cx:pt>
          <cx:pt idx="68561">5</cx:pt>
          <cx:pt idx="68562">4</cx:pt>
          <cx:pt idx="68563">2</cx:pt>
          <cx:pt idx="68564">4</cx:pt>
          <cx:pt idx="68565">1</cx:pt>
          <cx:pt idx="68566">5</cx:pt>
          <cx:pt idx="68567">4</cx:pt>
          <cx:pt idx="68568">4</cx:pt>
          <cx:pt idx="68569">5</cx:pt>
          <cx:pt idx="68570">3</cx:pt>
          <cx:pt idx="68571">4</cx:pt>
          <cx:pt idx="68572">4</cx:pt>
          <cx:pt idx="68573">2</cx:pt>
          <cx:pt idx="68574">4</cx:pt>
          <cx:pt idx="68575">5</cx:pt>
          <cx:pt idx="68576">1</cx:pt>
          <cx:pt idx="68577">4</cx:pt>
          <cx:pt idx="68578">4</cx:pt>
          <cx:pt idx="68579">5</cx:pt>
          <cx:pt idx="68580">3</cx:pt>
          <cx:pt idx="68581">4</cx:pt>
          <cx:pt idx="68582">1</cx:pt>
          <cx:pt idx="68583">4</cx:pt>
          <cx:pt idx="68584">4</cx:pt>
          <cx:pt idx="68585">4</cx:pt>
          <cx:pt idx="68586">5</cx:pt>
          <cx:pt idx="68587">3</cx:pt>
          <cx:pt idx="68588">5</cx:pt>
          <cx:pt idx="68589">5</cx:pt>
          <cx:pt idx="68590">5</cx:pt>
          <cx:pt idx="68591">4</cx:pt>
          <cx:pt idx="68592">4</cx:pt>
          <cx:pt idx="68593">1</cx:pt>
          <cx:pt idx="68594">5</cx:pt>
          <cx:pt idx="68595">5</cx:pt>
          <cx:pt idx="68596">3</cx:pt>
          <cx:pt idx="68597">1</cx:pt>
          <cx:pt idx="68598">3</cx:pt>
          <cx:pt idx="68599">4</cx:pt>
          <cx:pt idx="68600">2</cx:pt>
          <cx:pt idx="68601">4</cx:pt>
          <cx:pt idx="68602">2</cx:pt>
          <cx:pt idx="68603">4</cx:pt>
          <cx:pt idx="68604">3</cx:pt>
          <cx:pt idx="68605">4</cx:pt>
          <cx:pt idx="68606">1</cx:pt>
          <cx:pt idx="68607">1</cx:pt>
          <cx:pt idx="68608">5</cx:pt>
          <cx:pt idx="68609">2</cx:pt>
          <cx:pt idx="68610">3</cx:pt>
          <cx:pt idx="68611">3</cx:pt>
          <cx:pt idx="68612">4</cx:pt>
          <cx:pt idx="68613">2</cx:pt>
          <cx:pt idx="68614">5</cx:pt>
          <cx:pt idx="68615">2</cx:pt>
          <cx:pt idx="68616">2</cx:pt>
          <cx:pt idx="68617">3</cx:pt>
          <cx:pt idx="68618">3</cx:pt>
          <cx:pt idx="68619">3</cx:pt>
          <cx:pt idx="68620">2</cx:pt>
          <cx:pt idx="68621">5</cx:pt>
          <cx:pt idx="68622">4</cx:pt>
          <cx:pt idx="68623">2</cx:pt>
          <cx:pt idx="68624">4</cx:pt>
          <cx:pt idx="68625">2</cx:pt>
          <cx:pt idx="68626">4</cx:pt>
          <cx:pt idx="68627">1</cx:pt>
          <cx:pt idx="68628">4</cx:pt>
          <cx:pt idx="68629">5</cx:pt>
          <cx:pt idx="68630">2</cx:pt>
          <cx:pt idx="68631">3</cx:pt>
          <cx:pt idx="68632">4</cx:pt>
          <cx:pt idx="68633">1</cx:pt>
          <cx:pt idx="68634">2</cx:pt>
          <cx:pt idx="68635">5</cx:pt>
          <cx:pt idx="68636">1</cx:pt>
          <cx:pt idx="68637">2</cx:pt>
          <cx:pt idx="68638">3</cx:pt>
          <cx:pt idx="68639">5</cx:pt>
          <cx:pt idx="68640">1</cx:pt>
          <cx:pt idx="68641">1</cx:pt>
          <cx:pt idx="68642">1</cx:pt>
          <cx:pt idx="68643">1</cx:pt>
          <cx:pt idx="68644">5</cx:pt>
          <cx:pt idx="68645">2</cx:pt>
          <cx:pt idx="68646">3</cx:pt>
          <cx:pt idx="68647">4</cx:pt>
          <cx:pt idx="68648">4</cx:pt>
          <cx:pt idx="68649">4</cx:pt>
          <cx:pt idx="68650">1</cx:pt>
          <cx:pt idx="68651">4</cx:pt>
          <cx:pt idx="68652">3</cx:pt>
          <cx:pt idx="68653">4</cx:pt>
          <cx:pt idx="68654">3</cx:pt>
          <cx:pt idx="68655">5</cx:pt>
          <cx:pt idx="68656">3</cx:pt>
          <cx:pt idx="68657">5</cx:pt>
          <cx:pt idx="68658">1</cx:pt>
          <cx:pt idx="68659">5</cx:pt>
          <cx:pt idx="68660">2</cx:pt>
          <cx:pt idx="68661">5</cx:pt>
          <cx:pt idx="68662">3</cx:pt>
          <cx:pt idx="68663">5</cx:pt>
          <cx:pt idx="68664">4</cx:pt>
          <cx:pt idx="68665">5</cx:pt>
          <cx:pt idx="68666">1</cx:pt>
          <cx:pt idx="68667">5</cx:pt>
          <cx:pt idx="68668">4</cx:pt>
          <cx:pt idx="68669">5</cx:pt>
          <cx:pt idx="68670">4</cx:pt>
          <cx:pt idx="68671">3</cx:pt>
          <cx:pt idx="68672">3</cx:pt>
          <cx:pt idx="68673">1</cx:pt>
          <cx:pt idx="68674">2</cx:pt>
          <cx:pt idx="68675">4</cx:pt>
          <cx:pt idx="68676">4</cx:pt>
          <cx:pt idx="68677">1</cx:pt>
          <cx:pt idx="68678">5</cx:pt>
          <cx:pt idx="68679">3</cx:pt>
          <cx:pt idx="68680">4</cx:pt>
          <cx:pt idx="68681">4</cx:pt>
          <cx:pt idx="68682">1</cx:pt>
          <cx:pt idx="68683">4</cx:pt>
          <cx:pt idx="68684">2</cx:pt>
          <cx:pt idx="68685">5</cx:pt>
          <cx:pt idx="68686">4</cx:pt>
          <cx:pt idx="68687">1</cx:pt>
          <cx:pt idx="68688">4</cx:pt>
          <cx:pt idx="68689">5</cx:pt>
          <cx:pt idx="68690">2</cx:pt>
          <cx:pt idx="68691">4</cx:pt>
          <cx:pt idx="68692">3</cx:pt>
          <cx:pt idx="68693">5</cx:pt>
          <cx:pt idx="68694">5</cx:pt>
          <cx:pt idx="68695">5</cx:pt>
          <cx:pt idx="68696">2</cx:pt>
          <cx:pt idx="68697">2</cx:pt>
          <cx:pt idx="68698">2</cx:pt>
          <cx:pt idx="68699">4</cx:pt>
          <cx:pt idx="68700">2</cx:pt>
          <cx:pt idx="68701">3</cx:pt>
          <cx:pt idx="68702">5</cx:pt>
          <cx:pt idx="68703">4</cx:pt>
          <cx:pt idx="68704">4</cx:pt>
          <cx:pt idx="68705">4</cx:pt>
          <cx:pt idx="68706">4</cx:pt>
          <cx:pt idx="68707">3</cx:pt>
          <cx:pt idx="68708">4</cx:pt>
          <cx:pt idx="68709">2</cx:pt>
          <cx:pt idx="68710">4</cx:pt>
          <cx:pt idx="68711">4</cx:pt>
          <cx:pt idx="68712">3</cx:pt>
          <cx:pt idx="68713">4</cx:pt>
          <cx:pt idx="68714">5</cx:pt>
          <cx:pt idx="68715">2</cx:pt>
          <cx:pt idx="68716">5</cx:pt>
          <cx:pt idx="68717">4</cx:pt>
          <cx:pt idx="68718">4</cx:pt>
          <cx:pt idx="68719">4</cx:pt>
          <cx:pt idx="68720">4</cx:pt>
          <cx:pt idx="68721">2</cx:pt>
          <cx:pt idx="68722">1</cx:pt>
          <cx:pt idx="68723">4</cx:pt>
          <cx:pt idx="68724">3</cx:pt>
          <cx:pt idx="68725">2</cx:pt>
          <cx:pt idx="68726">1</cx:pt>
          <cx:pt idx="68727">4</cx:pt>
          <cx:pt idx="68728">3</cx:pt>
          <cx:pt idx="68729">4</cx:pt>
          <cx:pt idx="68730">5</cx:pt>
          <cx:pt idx="68731">3</cx:pt>
          <cx:pt idx="68732">3</cx:pt>
          <cx:pt idx="68733">3</cx:pt>
          <cx:pt idx="68734">1</cx:pt>
          <cx:pt idx="68735">4</cx:pt>
          <cx:pt idx="68736">4</cx:pt>
          <cx:pt idx="68737">1</cx:pt>
          <cx:pt idx="68738">4</cx:pt>
          <cx:pt idx="68739">2</cx:pt>
          <cx:pt idx="68740">5</cx:pt>
          <cx:pt idx="68741">3</cx:pt>
          <cx:pt idx="68742">5</cx:pt>
          <cx:pt idx="68743">3</cx:pt>
          <cx:pt idx="68744">4</cx:pt>
          <cx:pt idx="68745">5</cx:pt>
          <cx:pt idx="68746">3</cx:pt>
          <cx:pt idx="68747">5</cx:pt>
          <cx:pt idx="68748">4</cx:pt>
          <cx:pt idx="68749">1</cx:pt>
          <cx:pt idx="68750">2</cx:pt>
          <cx:pt idx="68751">5</cx:pt>
          <cx:pt idx="68752">2</cx:pt>
          <cx:pt idx="68753">2</cx:pt>
          <cx:pt idx="68754">4</cx:pt>
          <cx:pt idx="68755">4</cx:pt>
          <cx:pt idx="68756">5</cx:pt>
          <cx:pt idx="68757">3</cx:pt>
          <cx:pt idx="68758">4</cx:pt>
          <cx:pt idx="68759">2</cx:pt>
          <cx:pt idx="68760">1</cx:pt>
          <cx:pt idx="68761">4</cx:pt>
          <cx:pt idx="68762">4</cx:pt>
          <cx:pt idx="68763">4</cx:pt>
          <cx:pt idx="68764">5</cx:pt>
          <cx:pt idx="68765">3</cx:pt>
          <cx:pt idx="68766">4</cx:pt>
          <cx:pt idx="68767">5</cx:pt>
          <cx:pt idx="68768">5</cx:pt>
          <cx:pt idx="68769">4</cx:pt>
          <cx:pt idx="68770">5</cx:pt>
          <cx:pt idx="68771">4</cx:pt>
          <cx:pt idx="68772">5</cx:pt>
          <cx:pt idx="68773">3</cx:pt>
          <cx:pt idx="68774">1</cx:pt>
          <cx:pt idx="68775">3</cx:pt>
          <cx:pt idx="68776">3</cx:pt>
          <cx:pt idx="68777">5</cx:pt>
          <cx:pt idx="68778">5</cx:pt>
          <cx:pt idx="68779">1</cx:pt>
          <cx:pt idx="68780">5</cx:pt>
          <cx:pt idx="68781">1</cx:pt>
          <cx:pt idx="68782">3</cx:pt>
          <cx:pt idx="68783">3</cx:pt>
          <cx:pt idx="68784">5</cx:pt>
          <cx:pt idx="68785">4</cx:pt>
          <cx:pt idx="68786">3</cx:pt>
          <cx:pt idx="68787">4</cx:pt>
          <cx:pt idx="68788">4</cx:pt>
          <cx:pt idx="68789">4</cx:pt>
          <cx:pt idx="68790">5</cx:pt>
          <cx:pt idx="68791">4</cx:pt>
          <cx:pt idx="68792">5</cx:pt>
          <cx:pt idx="68793">3</cx:pt>
          <cx:pt idx="68794">5</cx:pt>
          <cx:pt idx="68795">4</cx:pt>
          <cx:pt idx="68796">3</cx:pt>
          <cx:pt idx="68797">3</cx:pt>
          <cx:pt idx="68798">1</cx:pt>
          <cx:pt idx="68799">3</cx:pt>
          <cx:pt idx="68800">5</cx:pt>
          <cx:pt idx="68801">4</cx:pt>
          <cx:pt idx="68802">4</cx:pt>
          <cx:pt idx="68803">1</cx:pt>
          <cx:pt idx="68804">5</cx:pt>
          <cx:pt idx="68805">5</cx:pt>
          <cx:pt idx="68806">4</cx:pt>
          <cx:pt idx="68807">5</cx:pt>
          <cx:pt idx="68808">5</cx:pt>
          <cx:pt idx="68809">4</cx:pt>
          <cx:pt idx="68810">5</cx:pt>
          <cx:pt idx="68811">5</cx:pt>
          <cx:pt idx="68812">4</cx:pt>
          <cx:pt idx="68813">4</cx:pt>
          <cx:pt idx="68814">5</cx:pt>
          <cx:pt idx="68815">2</cx:pt>
          <cx:pt idx="68816">5</cx:pt>
          <cx:pt idx="68817">1</cx:pt>
          <cx:pt idx="68818">5</cx:pt>
          <cx:pt idx="68819">5</cx:pt>
          <cx:pt idx="68820">5</cx:pt>
          <cx:pt idx="68821">2</cx:pt>
          <cx:pt idx="68822">4</cx:pt>
          <cx:pt idx="68823">5</cx:pt>
          <cx:pt idx="68824">5</cx:pt>
          <cx:pt idx="68825">3</cx:pt>
          <cx:pt idx="68826">4</cx:pt>
          <cx:pt idx="68827">1</cx:pt>
          <cx:pt idx="68828">5</cx:pt>
          <cx:pt idx="68829">3</cx:pt>
          <cx:pt idx="68830">3</cx:pt>
          <cx:pt idx="68831">4</cx:pt>
          <cx:pt idx="68832">1</cx:pt>
          <cx:pt idx="68833">4</cx:pt>
          <cx:pt idx="68834">5</cx:pt>
          <cx:pt idx="68835">4</cx:pt>
          <cx:pt idx="68836">5</cx:pt>
          <cx:pt idx="68837">4</cx:pt>
          <cx:pt idx="68838">1</cx:pt>
          <cx:pt idx="68839">5</cx:pt>
          <cx:pt idx="68840">5</cx:pt>
          <cx:pt idx="68841">2</cx:pt>
          <cx:pt idx="68842">5</cx:pt>
          <cx:pt idx="68843">5</cx:pt>
          <cx:pt idx="68844">2</cx:pt>
          <cx:pt idx="68845">3</cx:pt>
          <cx:pt idx="68846">4</cx:pt>
          <cx:pt idx="68847">4</cx:pt>
          <cx:pt idx="68848">1</cx:pt>
          <cx:pt idx="68849">1</cx:pt>
          <cx:pt idx="68850">4</cx:pt>
          <cx:pt idx="68851">5</cx:pt>
          <cx:pt idx="68852">3</cx:pt>
          <cx:pt idx="68853">4</cx:pt>
          <cx:pt idx="68854">2</cx:pt>
          <cx:pt idx="68855">2</cx:pt>
          <cx:pt idx="68856">4</cx:pt>
          <cx:pt idx="68857">5</cx:pt>
          <cx:pt idx="68858">2</cx:pt>
          <cx:pt idx="68859">3</cx:pt>
          <cx:pt idx="68860">4</cx:pt>
          <cx:pt idx="68861">2</cx:pt>
          <cx:pt idx="68862">2</cx:pt>
          <cx:pt idx="68863">5</cx:pt>
          <cx:pt idx="68864">4</cx:pt>
          <cx:pt idx="68865">4</cx:pt>
          <cx:pt idx="68866">4</cx:pt>
          <cx:pt idx="68867">4</cx:pt>
          <cx:pt idx="68868">5</cx:pt>
          <cx:pt idx="68869">2</cx:pt>
          <cx:pt idx="68870">5</cx:pt>
          <cx:pt idx="68871">4</cx:pt>
          <cx:pt idx="68872">5</cx:pt>
          <cx:pt idx="68873">4</cx:pt>
          <cx:pt idx="68874">2</cx:pt>
          <cx:pt idx="68875">5</cx:pt>
          <cx:pt idx="68876">3</cx:pt>
          <cx:pt idx="68877">4</cx:pt>
          <cx:pt idx="68878">4</cx:pt>
          <cx:pt idx="68879">3</cx:pt>
          <cx:pt idx="68880">5</cx:pt>
          <cx:pt idx="68881">5</cx:pt>
          <cx:pt idx="68882">2</cx:pt>
          <cx:pt idx="68883">1</cx:pt>
          <cx:pt idx="68884">5</cx:pt>
          <cx:pt idx="68885">5</cx:pt>
          <cx:pt idx="68886">4</cx:pt>
          <cx:pt idx="68887">5</cx:pt>
          <cx:pt idx="68888">2</cx:pt>
          <cx:pt idx="68889">4</cx:pt>
          <cx:pt idx="68890">5</cx:pt>
          <cx:pt idx="68891">4</cx:pt>
          <cx:pt idx="68892">4</cx:pt>
          <cx:pt idx="68893">3</cx:pt>
          <cx:pt idx="68894">4</cx:pt>
          <cx:pt idx="68895">1</cx:pt>
          <cx:pt idx="68896">3</cx:pt>
          <cx:pt idx="68897">2</cx:pt>
          <cx:pt idx="68898">3</cx:pt>
          <cx:pt idx="68899">5</cx:pt>
          <cx:pt idx="68900">3</cx:pt>
          <cx:pt idx="68901">4</cx:pt>
          <cx:pt idx="68902">2</cx:pt>
          <cx:pt idx="68903">5</cx:pt>
          <cx:pt idx="68904">3</cx:pt>
          <cx:pt idx="68905">4</cx:pt>
          <cx:pt idx="68906">3</cx:pt>
          <cx:pt idx="68907">3</cx:pt>
          <cx:pt idx="68908">4</cx:pt>
          <cx:pt idx="68909">2</cx:pt>
          <cx:pt idx="68910">4</cx:pt>
          <cx:pt idx="68911">5</cx:pt>
          <cx:pt idx="68912">4</cx:pt>
          <cx:pt idx="68913">2</cx:pt>
          <cx:pt idx="68914">5</cx:pt>
          <cx:pt idx="68915">5</cx:pt>
          <cx:pt idx="68916">1</cx:pt>
          <cx:pt idx="68917">2</cx:pt>
          <cx:pt idx="68918">3</cx:pt>
          <cx:pt idx="68919">3</cx:pt>
          <cx:pt idx="68920">4</cx:pt>
          <cx:pt idx="68921">2</cx:pt>
          <cx:pt idx="68922">4</cx:pt>
          <cx:pt idx="68923">2</cx:pt>
          <cx:pt idx="68924">1</cx:pt>
          <cx:pt idx="68925">5</cx:pt>
          <cx:pt idx="68926">2</cx:pt>
          <cx:pt idx="68927">3</cx:pt>
          <cx:pt idx="68928">5</cx:pt>
          <cx:pt idx="68929">5</cx:pt>
          <cx:pt idx="68930">2</cx:pt>
          <cx:pt idx="68931">4</cx:pt>
          <cx:pt idx="68932">5</cx:pt>
          <cx:pt idx="68933">5</cx:pt>
          <cx:pt idx="68934">2</cx:pt>
          <cx:pt idx="68935">3</cx:pt>
          <cx:pt idx="68936">5</cx:pt>
          <cx:pt idx="68937">4</cx:pt>
          <cx:pt idx="68938">5</cx:pt>
          <cx:pt idx="68939">5</cx:pt>
          <cx:pt idx="68940">3</cx:pt>
          <cx:pt idx="68941">2</cx:pt>
          <cx:pt idx="68942">5</cx:pt>
          <cx:pt idx="68943">4</cx:pt>
          <cx:pt idx="68944">5</cx:pt>
          <cx:pt idx="68945">5</cx:pt>
          <cx:pt idx="68946">5</cx:pt>
          <cx:pt idx="68947">3</cx:pt>
          <cx:pt idx="68948">4</cx:pt>
          <cx:pt idx="68949">4</cx:pt>
          <cx:pt idx="68950">2</cx:pt>
          <cx:pt idx="68951">5</cx:pt>
          <cx:pt idx="68952">3</cx:pt>
          <cx:pt idx="68953">4</cx:pt>
          <cx:pt idx="68954">4</cx:pt>
          <cx:pt idx="68955">3</cx:pt>
          <cx:pt idx="68956">5</cx:pt>
          <cx:pt idx="68957">4</cx:pt>
          <cx:pt idx="68958">3</cx:pt>
          <cx:pt idx="68959">4</cx:pt>
          <cx:pt idx="68960">2</cx:pt>
          <cx:pt idx="68961">4</cx:pt>
          <cx:pt idx="68962">5</cx:pt>
          <cx:pt idx="68963">4</cx:pt>
          <cx:pt idx="68964">2</cx:pt>
          <cx:pt idx="68965">2</cx:pt>
          <cx:pt idx="68966">3</cx:pt>
          <cx:pt idx="68967">2</cx:pt>
          <cx:pt idx="68968">2</cx:pt>
          <cx:pt idx="68969">3</cx:pt>
          <cx:pt idx="68970">2</cx:pt>
          <cx:pt idx="68971">1</cx:pt>
          <cx:pt idx="68972">2</cx:pt>
          <cx:pt idx="68973">3</cx:pt>
          <cx:pt idx="68974">4</cx:pt>
          <cx:pt idx="68975">5</cx:pt>
          <cx:pt idx="68976">4</cx:pt>
          <cx:pt idx="68977">5</cx:pt>
          <cx:pt idx="68978">5</cx:pt>
          <cx:pt idx="68979">4</cx:pt>
          <cx:pt idx="68980">3</cx:pt>
          <cx:pt idx="68981">2</cx:pt>
          <cx:pt idx="68982">3</cx:pt>
          <cx:pt idx="68983">5</cx:pt>
          <cx:pt idx="68984">4</cx:pt>
          <cx:pt idx="68985">2</cx:pt>
          <cx:pt idx="68986">4</cx:pt>
          <cx:pt idx="68987">5</cx:pt>
          <cx:pt idx="68988">4</cx:pt>
          <cx:pt idx="68989">3</cx:pt>
          <cx:pt idx="68990">4</cx:pt>
          <cx:pt idx="68991">5</cx:pt>
          <cx:pt idx="68992">4</cx:pt>
          <cx:pt idx="68993">4</cx:pt>
          <cx:pt idx="68994">3</cx:pt>
          <cx:pt idx="68995">5</cx:pt>
          <cx:pt idx="68996">3</cx:pt>
          <cx:pt idx="68997">4</cx:pt>
          <cx:pt idx="68998">4</cx:pt>
          <cx:pt idx="68999">4</cx:pt>
          <cx:pt idx="69000">3</cx:pt>
          <cx:pt idx="69001">5</cx:pt>
          <cx:pt idx="69002">4</cx:pt>
          <cx:pt idx="69003">2</cx:pt>
          <cx:pt idx="69004">4</cx:pt>
          <cx:pt idx="69005">1</cx:pt>
          <cx:pt idx="69006">5</cx:pt>
          <cx:pt idx="69007">2</cx:pt>
          <cx:pt idx="69008">4</cx:pt>
          <cx:pt idx="69009">3</cx:pt>
          <cx:pt idx="69010">3</cx:pt>
          <cx:pt idx="69011">3</cx:pt>
          <cx:pt idx="69012">4</cx:pt>
          <cx:pt idx="69013">4</cx:pt>
          <cx:pt idx="69014">2</cx:pt>
          <cx:pt idx="69015">5</cx:pt>
          <cx:pt idx="69016">3</cx:pt>
          <cx:pt idx="69017">4</cx:pt>
          <cx:pt idx="69018">4</cx:pt>
          <cx:pt idx="69019">3</cx:pt>
          <cx:pt idx="69020">5</cx:pt>
          <cx:pt idx="69021">4</cx:pt>
          <cx:pt idx="69022">4</cx:pt>
          <cx:pt idx="69023">1</cx:pt>
          <cx:pt idx="69024">1</cx:pt>
          <cx:pt idx="69025">5</cx:pt>
          <cx:pt idx="69026">3</cx:pt>
          <cx:pt idx="69027">4</cx:pt>
          <cx:pt idx="69028">3</cx:pt>
          <cx:pt idx="69029">1</cx:pt>
          <cx:pt idx="69030">5</cx:pt>
          <cx:pt idx="69031">1</cx:pt>
          <cx:pt idx="69032">5</cx:pt>
          <cx:pt idx="69033">3</cx:pt>
          <cx:pt idx="69034">3</cx:pt>
          <cx:pt idx="69035">5</cx:pt>
          <cx:pt idx="69036">4</cx:pt>
          <cx:pt idx="69037">5</cx:pt>
          <cx:pt idx="69038">3</cx:pt>
          <cx:pt idx="69039">1</cx:pt>
          <cx:pt idx="69040">2</cx:pt>
          <cx:pt idx="69041">1</cx:pt>
          <cx:pt idx="69042">4</cx:pt>
          <cx:pt idx="69043">1</cx:pt>
          <cx:pt idx="69044">4</cx:pt>
          <cx:pt idx="69045">2</cx:pt>
          <cx:pt idx="69046">4</cx:pt>
          <cx:pt idx="69047">1</cx:pt>
          <cx:pt idx="69048">5</cx:pt>
          <cx:pt idx="69049">4</cx:pt>
          <cx:pt idx="69050">5</cx:pt>
          <cx:pt idx="69051">5</cx:pt>
          <cx:pt idx="69052">4</cx:pt>
          <cx:pt idx="69053">4</cx:pt>
          <cx:pt idx="69054">5</cx:pt>
          <cx:pt idx="69055">5</cx:pt>
          <cx:pt idx="69056">5</cx:pt>
          <cx:pt idx="69057">1</cx:pt>
          <cx:pt idx="69058">4</cx:pt>
          <cx:pt idx="69059">2</cx:pt>
          <cx:pt idx="69060">4</cx:pt>
          <cx:pt idx="69061">4</cx:pt>
          <cx:pt idx="69062">4</cx:pt>
          <cx:pt idx="69063">4</cx:pt>
          <cx:pt idx="69064">2</cx:pt>
          <cx:pt idx="69065">2</cx:pt>
          <cx:pt idx="69066">4</cx:pt>
          <cx:pt idx="69067">5</cx:pt>
          <cx:pt idx="69068">4</cx:pt>
          <cx:pt idx="69069">3</cx:pt>
          <cx:pt idx="69070">4</cx:pt>
          <cx:pt idx="69071">5</cx:pt>
          <cx:pt idx="69072">4</cx:pt>
          <cx:pt idx="69073">1</cx:pt>
          <cx:pt idx="69074">4</cx:pt>
          <cx:pt idx="69075">4</cx:pt>
          <cx:pt idx="69076">5</cx:pt>
          <cx:pt idx="69077">5</cx:pt>
          <cx:pt idx="69078">4</cx:pt>
          <cx:pt idx="69079">5</cx:pt>
          <cx:pt idx="69080">4</cx:pt>
          <cx:pt idx="69081">5</cx:pt>
          <cx:pt idx="69082">4</cx:pt>
          <cx:pt idx="69083">3</cx:pt>
          <cx:pt idx="69084">3</cx:pt>
          <cx:pt idx="69085">5</cx:pt>
          <cx:pt idx="69086">5</cx:pt>
          <cx:pt idx="69087">2</cx:pt>
          <cx:pt idx="69088">1</cx:pt>
          <cx:pt idx="69089">3</cx:pt>
          <cx:pt idx="69090">4</cx:pt>
          <cx:pt idx="69091">3</cx:pt>
          <cx:pt idx="69092">4</cx:pt>
          <cx:pt idx="69093">4</cx:pt>
          <cx:pt idx="69094">1</cx:pt>
          <cx:pt idx="69095">3</cx:pt>
          <cx:pt idx="69096">4</cx:pt>
          <cx:pt idx="69097">3</cx:pt>
          <cx:pt idx="69098">4</cx:pt>
          <cx:pt idx="69099">1</cx:pt>
          <cx:pt idx="69100">5</cx:pt>
          <cx:pt idx="69101">2</cx:pt>
          <cx:pt idx="69102">1</cx:pt>
          <cx:pt idx="69103">1</cx:pt>
          <cx:pt idx="69104">4</cx:pt>
          <cx:pt idx="69105">4</cx:pt>
          <cx:pt idx="69106">4</cx:pt>
          <cx:pt idx="69107">1</cx:pt>
          <cx:pt idx="69108">4</cx:pt>
          <cx:pt idx="69109">4</cx:pt>
          <cx:pt idx="69110">4</cx:pt>
          <cx:pt idx="69111">2</cx:pt>
          <cx:pt idx="69112">3</cx:pt>
          <cx:pt idx="69113">1</cx:pt>
          <cx:pt idx="69114">5</cx:pt>
          <cx:pt idx="69115">2</cx:pt>
          <cx:pt idx="69116">2</cx:pt>
          <cx:pt idx="69117">2</cx:pt>
          <cx:pt idx="69118">5</cx:pt>
          <cx:pt idx="69119">4</cx:pt>
          <cx:pt idx="69120">5</cx:pt>
          <cx:pt idx="69121">5</cx:pt>
          <cx:pt idx="69122">5</cx:pt>
          <cx:pt idx="69123">4</cx:pt>
          <cx:pt idx="69124">3</cx:pt>
          <cx:pt idx="69125">5</cx:pt>
          <cx:pt idx="69126">4</cx:pt>
          <cx:pt idx="69127">4</cx:pt>
          <cx:pt idx="69128">5</cx:pt>
          <cx:pt idx="69129">1</cx:pt>
          <cx:pt idx="69130">4</cx:pt>
          <cx:pt idx="69131">4</cx:pt>
          <cx:pt idx="69132">5</cx:pt>
          <cx:pt idx="69133">4</cx:pt>
          <cx:pt idx="69134">4</cx:pt>
          <cx:pt idx="69135">1</cx:pt>
          <cx:pt idx="69136">5</cx:pt>
          <cx:pt idx="69137">3</cx:pt>
          <cx:pt idx="69138">5</cx:pt>
          <cx:pt idx="69139">1</cx:pt>
          <cx:pt idx="69140">4</cx:pt>
          <cx:pt idx="69141">5</cx:pt>
          <cx:pt idx="69142">1</cx:pt>
          <cx:pt idx="69143">4</cx:pt>
          <cx:pt idx="69144">2</cx:pt>
          <cx:pt idx="69145">2</cx:pt>
          <cx:pt idx="69146">2</cx:pt>
          <cx:pt idx="69147">2</cx:pt>
          <cx:pt idx="69148">3</cx:pt>
          <cx:pt idx="69149">3</cx:pt>
          <cx:pt idx="69150">1</cx:pt>
          <cx:pt idx="69151">5</cx:pt>
          <cx:pt idx="69152">5</cx:pt>
          <cx:pt idx="69153">5</cx:pt>
          <cx:pt idx="69154">4</cx:pt>
          <cx:pt idx="69155">3</cx:pt>
          <cx:pt idx="69156">4</cx:pt>
          <cx:pt idx="69157">4</cx:pt>
          <cx:pt idx="69158">5</cx:pt>
          <cx:pt idx="69159">4</cx:pt>
          <cx:pt idx="69160">3</cx:pt>
          <cx:pt idx="69161">5</cx:pt>
          <cx:pt idx="69162">4</cx:pt>
          <cx:pt idx="69163">2</cx:pt>
          <cx:pt idx="69164">2</cx:pt>
          <cx:pt idx="69165">4</cx:pt>
          <cx:pt idx="69166">4</cx:pt>
          <cx:pt idx="69167">4</cx:pt>
          <cx:pt idx="69168">2</cx:pt>
          <cx:pt idx="69169">5</cx:pt>
          <cx:pt idx="69170">1</cx:pt>
          <cx:pt idx="69171">5</cx:pt>
          <cx:pt idx="69172">4</cx:pt>
          <cx:pt idx="69173">3</cx:pt>
          <cx:pt idx="69174">5</cx:pt>
          <cx:pt idx="69175">4</cx:pt>
          <cx:pt idx="69176">2</cx:pt>
          <cx:pt idx="69177">5</cx:pt>
          <cx:pt idx="69178">5</cx:pt>
          <cx:pt idx="69179">5</cx:pt>
          <cx:pt idx="69180">4</cx:pt>
          <cx:pt idx="69181">4</cx:pt>
          <cx:pt idx="69182">4</cx:pt>
          <cx:pt idx="69183">1</cx:pt>
          <cx:pt idx="69184">2</cx:pt>
          <cx:pt idx="69185">1</cx:pt>
          <cx:pt idx="69186">4</cx:pt>
          <cx:pt idx="69187">1</cx:pt>
          <cx:pt idx="69188">2</cx:pt>
          <cx:pt idx="69189">5</cx:pt>
          <cx:pt idx="69190">5</cx:pt>
          <cx:pt idx="69191">2</cx:pt>
          <cx:pt idx="69192">3</cx:pt>
          <cx:pt idx="69193">4</cx:pt>
          <cx:pt idx="69194">3</cx:pt>
          <cx:pt idx="69195">5</cx:pt>
          <cx:pt idx="69196">3</cx:pt>
          <cx:pt idx="69197">1</cx:pt>
          <cx:pt idx="69198">4</cx:pt>
          <cx:pt idx="69199">3</cx:pt>
          <cx:pt idx="69200">3</cx:pt>
          <cx:pt idx="69201">5</cx:pt>
          <cx:pt idx="69202">1</cx:pt>
          <cx:pt idx="69203">4</cx:pt>
          <cx:pt idx="69204">1</cx:pt>
          <cx:pt idx="69205">4</cx:pt>
          <cx:pt idx="69206">2</cx:pt>
          <cx:pt idx="69207">5</cx:pt>
          <cx:pt idx="69208">4</cx:pt>
          <cx:pt idx="69209">5</cx:pt>
          <cx:pt idx="69210">4</cx:pt>
          <cx:pt idx="69211">4</cx:pt>
          <cx:pt idx="69212">4</cx:pt>
          <cx:pt idx="69213">5</cx:pt>
          <cx:pt idx="69214">4</cx:pt>
          <cx:pt idx="69215">3</cx:pt>
          <cx:pt idx="69216">3</cx:pt>
          <cx:pt idx="69217">1</cx:pt>
          <cx:pt idx="69218">5</cx:pt>
          <cx:pt idx="69219">4</cx:pt>
          <cx:pt idx="69220">4</cx:pt>
          <cx:pt idx="69221">2</cx:pt>
          <cx:pt idx="69222">4</cx:pt>
          <cx:pt idx="69223">5</cx:pt>
          <cx:pt idx="69224">3</cx:pt>
          <cx:pt idx="69225">4</cx:pt>
          <cx:pt idx="69226">4</cx:pt>
          <cx:pt idx="69227">4</cx:pt>
          <cx:pt idx="69228">4</cx:pt>
          <cx:pt idx="69229">5</cx:pt>
          <cx:pt idx="69230">1</cx:pt>
          <cx:pt idx="69231">4</cx:pt>
          <cx:pt idx="69232">3</cx:pt>
          <cx:pt idx="69233">5</cx:pt>
          <cx:pt idx="69234">5</cx:pt>
          <cx:pt idx="69235">5</cx:pt>
          <cx:pt idx="69236">2</cx:pt>
          <cx:pt idx="69237">3</cx:pt>
          <cx:pt idx="69238">4</cx:pt>
          <cx:pt idx="69239">5</cx:pt>
          <cx:pt idx="69240">3</cx:pt>
          <cx:pt idx="69241">4</cx:pt>
          <cx:pt idx="69242">5</cx:pt>
          <cx:pt idx="69243">1</cx:pt>
          <cx:pt idx="69244">1</cx:pt>
          <cx:pt idx="69245">5</cx:pt>
          <cx:pt idx="69246">2</cx:pt>
          <cx:pt idx="69247">5</cx:pt>
          <cx:pt idx="69248">2</cx:pt>
          <cx:pt idx="69249">4</cx:pt>
          <cx:pt idx="69250">4</cx:pt>
          <cx:pt idx="69251">2</cx:pt>
          <cx:pt idx="69252">4</cx:pt>
          <cx:pt idx="69253">5</cx:pt>
          <cx:pt idx="69254">1</cx:pt>
          <cx:pt idx="69255">5</cx:pt>
          <cx:pt idx="69256">5</cx:pt>
          <cx:pt idx="69257">4</cx:pt>
          <cx:pt idx="69258">4</cx:pt>
          <cx:pt idx="69259">4</cx:pt>
          <cx:pt idx="69260">2</cx:pt>
          <cx:pt idx="69261">4</cx:pt>
          <cx:pt idx="69262">5</cx:pt>
          <cx:pt idx="69263">4</cx:pt>
          <cx:pt idx="69264">5</cx:pt>
          <cx:pt idx="69265">4</cx:pt>
          <cx:pt idx="69266">1</cx:pt>
          <cx:pt idx="69267">4</cx:pt>
          <cx:pt idx="69268">3</cx:pt>
          <cx:pt idx="69269">4</cx:pt>
          <cx:pt idx="69270">3</cx:pt>
          <cx:pt idx="69271">3</cx:pt>
          <cx:pt idx="69272">3</cx:pt>
          <cx:pt idx="69273">4</cx:pt>
          <cx:pt idx="69274">4</cx:pt>
          <cx:pt idx="69275">4</cx:pt>
          <cx:pt idx="69276">4</cx:pt>
          <cx:pt idx="69277">2</cx:pt>
          <cx:pt idx="69278">4</cx:pt>
          <cx:pt idx="69279">5</cx:pt>
          <cx:pt idx="69280">4</cx:pt>
          <cx:pt idx="69281">5</cx:pt>
          <cx:pt idx="69282">5</cx:pt>
          <cx:pt idx="69283">5</cx:pt>
          <cx:pt idx="69284">5</cx:pt>
          <cx:pt idx="69285">3</cx:pt>
          <cx:pt idx="69286">3</cx:pt>
          <cx:pt idx="69287">5</cx:pt>
          <cx:pt idx="69288">3</cx:pt>
          <cx:pt idx="69289">5</cx:pt>
          <cx:pt idx="69290">1</cx:pt>
          <cx:pt idx="69291">2</cx:pt>
          <cx:pt idx="69292">3</cx:pt>
          <cx:pt idx="69293">1</cx:pt>
          <cx:pt idx="69294">4</cx:pt>
          <cx:pt idx="69295">3</cx:pt>
          <cx:pt idx="69296">3</cx:pt>
          <cx:pt idx="69297">5</cx:pt>
          <cx:pt idx="69298">3</cx:pt>
          <cx:pt idx="69299">1</cx:pt>
          <cx:pt idx="69300">3</cx:pt>
          <cx:pt idx="69301">4</cx:pt>
          <cx:pt idx="69302">4</cx:pt>
          <cx:pt idx="69303">1</cx:pt>
          <cx:pt idx="69304">2</cx:pt>
          <cx:pt idx="69305">5</cx:pt>
          <cx:pt idx="69306">5</cx:pt>
          <cx:pt idx="69307">4</cx:pt>
          <cx:pt idx="69308">2</cx:pt>
          <cx:pt idx="69309">2</cx:pt>
          <cx:pt idx="69310">3</cx:pt>
          <cx:pt idx="69311">4</cx:pt>
          <cx:pt idx="69312">5</cx:pt>
          <cx:pt idx="69313">2</cx:pt>
          <cx:pt idx="69314">3</cx:pt>
          <cx:pt idx="69315">2</cx:pt>
          <cx:pt idx="69316">4</cx:pt>
          <cx:pt idx="69317">4</cx:pt>
          <cx:pt idx="69318">3</cx:pt>
          <cx:pt idx="69319">4</cx:pt>
          <cx:pt idx="69320">5</cx:pt>
          <cx:pt idx="69321">1</cx:pt>
          <cx:pt idx="69322">4</cx:pt>
          <cx:pt idx="69323">2</cx:pt>
          <cx:pt idx="69324">5</cx:pt>
          <cx:pt idx="69325">5</cx:pt>
          <cx:pt idx="69326">3</cx:pt>
          <cx:pt idx="69327">5</cx:pt>
          <cx:pt idx="69328">1</cx:pt>
          <cx:pt idx="69329">5</cx:pt>
          <cx:pt idx="69330">1</cx:pt>
          <cx:pt idx="69331">3</cx:pt>
          <cx:pt idx="69332">4</cx:pt>
          <cx:pt idx="69333">4</cx:pt>
          <cx:pt idx="69334">4</cx:pt>
          <cx:pt idx="69335">4</cx:pt>
          <cx:pt idx="69336">4</cx:pt>
          <cx:pt idx="69337">5</cx:pt>
          <cx:pt idx="69338">5</cx:pt>
          <cx:pt idx="69339">4</cx:pt>
          <cx:pt idx="69340">4</cx:pt>
          <cx:pt idx="69341">5</cx:pt>
          <cx:pt idx="69342">3</cx:pt>
          <cx:pt idx="69343">3</cx:pt>
          <cx:pt idx="69344">3</cx:pt>
          <cx:pt idx="69345">3</cx:pt>
          <cx:pt idx="69346">5</cx:pt>
          <cx:pt idx="69347">1</cx:pt>
          <cx:pt idx="69348">4</cx:pt>
          <cx:pt idx="69349">5</cx:pt>
          <cx:pt idx="69350">1</cx:pt>
          <cx:pt idx="69351">5</cx:pt>
          <cx:pt idx="69352">2</cx:pt>
          <cx:pt idx="69353">3</cx:pt>
          <cx:pt idx="69354">2</cx:pt>
          <cx:pt idx="69355">5</cx:pt>
          <cx:pt idx="69356">3</cx:pt>
          <cx:pt idx="69357">4</cx:pt>
          <cx:pt idx="69358">4</cx:pt>
          <cx:pt idx="69359">1</cx:pt>
          <cx:pt idx="69360">2</cx:pt>
          <cx:pt idx="69361">2</cx:pt>
          <cx:pt idx="69362">1</cx:pt>
          <cx:pt idx="69363">5</cx:pt>
          <cx:pt idx="69364">2</cx:pt>
          <cx:pt idx="69365">4</cx:pt>
          <cx:pt idx="69366">5</cx:pt>
          <cx:pt idx="69367">5</cx:pt>
          <cx:pt idx="69368">4</cx:pt>
          <cx:pt idx="69369">4</cx:pt>
          <cx:pt idx="69370">5</cx:pt>
          <cx:pt idx="69371">4</cx:pt>
          <cx:pt idx="69372">5</cx:pt>
          <cx:pt idx="69373">4</cx:pt>
          <cx:pt idx="69374">5</cx:pt>
          <cx:pt idx="69375">4</cx:pt>
          <cx:pt idx="69376">5</cx:pt>
          <cx:pt idx="69377">5</cx:pt>
          <cx:pt idx="69378">1</cx:pt>
          <cx:pt idx="69379">3</cx:pt>
          <cx:pt idx="69380">4</cx:pt>
          <cx:pt idx="69381">5</cx:pt>
          <cx:pt idx="69382">2</cx:pt>
          <cx:pt idx="69383">3</cx:pt>
          <cx:pt idx="69384">4</cx:pt>
          <cx:pt idx="69385">1</cx:pt>
          <cx:pt idx="69386">5</cx:pt>
          <cx:pt idx="69387">1</cx:pt>
          <cx:pt idx="69388">3</cx:pt>
          <cx:pt idx="69389">3</cx:pt>
          <cx:pt idx="69390">5</cx:pt>
          <cx:pt idx="69391">4</cx:pt>
          <cx:pt idx="69392">4</cx:pt>
          <cx:pt idx="69393">2</cx:pt>
          <cx:pt idx="69394">5</cx:pt>
          <cx:pt idx="69395">2</cx:pt>
          <cx:pt idx="69396">4</cx:pt>
          <cx:pt idx="69397">5</cx:pt>
          <cx:pt idx="69398">3</cx:pt>
          <cx:pt idx="69399">5</cx:pt>
          <cx:pt idx="69400">1</cx:pt>
          <cx:pt idx="69401">5</cx:pt>
          <cx:pt idx="69402">4</cx:pt>
          <cx:pt idx="69403">4</cx:pt>
          <cx:pt idx="69404">4</cx:pt>
          <cx:pt idx="69405">4</cx:pt>
          <cx:pt idx="69406">4</cx:pt>
          <cx:pt idx="69407">3</cx:pt>
          <cx:pt idx="69408">4</cx:pt>
          <cx:pt idx="69409">5</cx:pt>
          <cx:pt idx="69410">4</cx:pt>
          <cx:pt idx="69411">1</cx:pt>
          <cx:pt idx="69412">3</cx:pt>
          <cx:pt idx="69413">5</cx:pt>
          <cx:pt idx="69414">3</cx:pt>
          <cx:pt idx="69415">2</cx:pt>
          <cx:pt idx="69416">5</cx:pt>
          <cx:pt idx="69417">1</cx:pt>
          <cx:pt idx="69418">3</cx:pt>
          <cx:pt idx="69419">5</cx:pt>
          <cx:pt idx="69420">1</cx:pt>
          <cx:pt idx="69421">1</cx:pt>
          <cx:pt idx="69422">4</cx:pt>
          <cx:pt idx="69423">2</cx:pt>
          <cx:pt idx="69424">4</cx:pt>
          <cx:pt idx="69425">4</cx:pt>
          <cx:pt idx="69426">3</cx:pt>
          <cx:pt idx="69427">2</cx:pt>
          <cx:pt idx="69428">5</cx:pt>
          <cx:pt idx="69429">2</cx:pt>
          <cx:pt idx="69430">3</cx:pt>
          <cx:pt idx="69431">3</cx:pt>
          <cx:pt idx="69432">4</cx:pt>
          <cx:pt idx="69433">4</cx:pt>
          <cx:pt idx="69434">1</cx:pt>
          <cx:pt idx="69435">5</cx:pt>
          <cx:pt idx="69436">3</cx:pt>
          <cx:pt idx="69437">3</cx:pt>
          <cx:pt idx="69438">4</cx:pt>
          <cx:pt idx="69439">4</cx:pt>
          <cx:pt idx="69440">5</cx:pt>
          <cx:pt idx="69441">4</cx:pt>
          <cx:pt idx="69442">5</cx:pt>
          <cx:pt idx="69443">4</cx:pt>
          <cx:pt idx="69444">5</cx:pt>
          <cx:pt idx="69445">3</cx:pt>
          <cx:pt idx="69446">2</cx:pt>
          <cx:pt idx="69447">5</cx:pt>
          <cx:pt idx="69448">2</cx:pt>
          <cx:pt idx="69449">3</cx:pt>
          <cx:pt idx="69450">5</cx:pt>
          <cx:pt idx="69451">4</cx:pt>
          <cx:pt idx="69452">3</cx:pt>
          <cx:pt idx="69453">3</cx:pt>
          <cx:pt idx="69454">2</cx:pt>
          <cx:pt idx="69455">5</cx:pt>
          <cx:pt idx="69456">2</cx:pt>
          <cx:pt idx="69457">3</cx:pt>
          <cx:pt idx="69458">2</cx:pt>
          <cx:pt idx="69459">3</cx:pt>
          <cx:pt idx="69460">1</cx:pt>
          <cx:pt idx="69461">4</cx:pt>
          <cx:pt idx="69462">4</cx:pt>
          <cx:pt idx="69463">3</cx:pt>
          <cx:pt idx="69464">5</cx:pt>
          <cx:pt idx="69465">2</cx:pt>
          <cx:pt idx="69466">4</cx:pt>
          <cx:pt idx="69467">5</cx:pt>
          <cx:pt idx="69468">4</cx:pt>
          <cx:pt idx="69469">3</cx:pt>
          <cx:pt idx="69470">3</cx:pt>
          <cx:pt idx="69471">2</cx:pt>
          <cx:pt idx="69472">4</cx:pt>
          <cx:pt idx="69473">3</cx:pt>
          <cx:pt idx="69474">4</cx:pt>
          <cx:pt idx="69475">4</cx:pt>
          <cx:pt idx="69476">4</cx:pt>
          <cx:pt idx="69477">4</cx:pt>
          <cx:pt idx="69478">5</cx:pt>
          <cx:pt idx="69479">3</cx:pt>
          <cx:pt idx="69480">5</cx:pt>
          <cx:pt idx="69481">4</cx:pt>
          <cx:pt idx="69482">3</cx:pt>
          <cx:pt idx="69483">2</cx:pt>
          <cx:pt idx="69484">3</cx:pt>
          <cx:pt idx="69485">2</cx:pt>
          <cx:pt idx="69486">3</cx:pt>
          <cx:pt idx="69487">4</cx:pt>
          <cx:pt idx="69488">4</cx:pt>
          <cx:pt idx="69489">1</cx:pt>
          <cx:pt idx="69490">4</cx:pt>
          <cx:pt idx="69491">2</cx:pt>
          <cx:pt idx="69492">5</cx:pt>
          <cx:pt idx="69493">1</cx:pt>
          <cx:pt idx="69494">4</cx:pt>
          <cx:pt idx="69495">4</cx:pt>
          <cx:pt idx="69496">5</cx:pt>
          <cx:pt idx="69497">3</cx:pt>
          <cx:pt idx="69498">2</cx:pt>
          <cx:pt idx="69499">2</cx:pt>
          <cx:pt idx="69500">3</cx:pt>
          <cx:pt idx="69501">3</cx:pt>
          <cx:pt idx="69502">5</cx:pt>
          <cx:pt idx="69503">4</cx:pt>
          <cx:pt idx="69504">4</cx:pt>
          <cx:pt idx="69505">3</cx:pt>
          <cx:pt idx="69506">2</cx:pt>
          <cx:pt idx="69507">3</cx:pt>
          <cx:pt idx="69508">4</cx:pt>
          <cx:pt idx="69509">3</cx:pt>
          <cx:pt idx="69510">2</cx:pt>
          <cx:pt idx="69511">5</cx:pt>
          <cx:pt idx="69512">1</cx:pt>
          <cx:pt idx="69513">5</cx:pt>
          <cx:pt idx="69514">1</cx:pt>
          <cx:pt idx="69515">2</cx:pt>
          <cx:pt idx="69516">3</cx:pt>
          <cx:pt idx="69517">4</cx:pt>
          <cx:pt idx="69518">3</cx:pt>
          <cx:pt idx="69519">4</cx:pt>
          <cx:pt idx="69520">4</cx:pt>
          <cx:pt idx="69521">1</cx:pt>
          <cx:pt idx="69522">3</cx:pt>
          <cx:pt idx="69523">3</cx:pt>
          <cx:pt idx="69524">3</cx:pt>
          <cx:pt idx="69525">4</cx:pt>
          <cx:pt idx="69526">4</cx:pt>
          <cx:pt idx="69527">1</cx:pt>
          <cx:pt idx="69528">1</cx:pt>
          <cx:pt idx="69529">4</cx:pt>
          <cx:pt idx="69530">5</cx:pt>
          <cx:pt idx="69531">5</cx:pt>
          <cx:pt idx="69532">1</cx:pt>
          <cx:pt idx="69533">4</cx:pt>
          <cx:pt idx="69534">4</cx:pt>
          <cx:pt idx="69535">1</cx:pt>
          <cx:pt idx="69536">5</cx:pt>
          <cx:pt idx="69537">3</cx:pt>
          <cx:pt idx="69538">5</cx:pt>
          <cx:pt idx="69539">5</cx:pt>
          <cx:pt idx="69540">2</cx:pt>
          <cx:pt idx="69541">4</cx:pt>
          <cx:pt idx="69542">1</cx:pt>
          <cx:pt idx="69543">4</cx:pt>
          <cx:pt idx="69544">5</cx:pt>
          <cx:pt idx="69545">1</cx:pt>
          <cx:pt idx="69546">4</cx:pt>
          <cx:pt idx="69547">4</cx:pt>
          <cx:pt idx="69548">4</cx:pt>
          <cx:pt idx="69549">5</cx:pt>
          <cx:pt idx="69550">3</cx:pt>
          <cx:pt idx="69551">4</cx:pt>
          <cx:pt idx="69552">5</cx:pt>
          <cx:pt idx="69553">3</cx:pt>
          <cx:pt idx="69554">4</cx:pt>
          <cx:pt idx="69555">3</cx:pt>
          <cx:pt idx="69556">1</cx:pt>
          <cx:pt idx="69557">2</cx:pt>
          <cx:pt idx="69558">4</cx:pt>
          <cx:pt idx="69559">3</cx:pt>
          <cx:pt idx="69560">4</cx:pt>
          <cx:pt idx="69561">3</cx:pt>
          <cx:pt idx="69562">1</cx:pt>
          <cx:pt idx="69563">5</cx:pt>
          <cx:pt idx="69564">3</cx:pt>
          <cx:pt idx="69565">5</cx:pt>
          <cx:pt idx="69566">1</cx:pt>
          <cx:pt idx="69567">3</cx:pt>
          <cx:pt idx="69568">4</cx:pt>
          <cx:pt idx="69569">4</cx:pt>
          <cx:pt idx="69570">1</cx:pt>
          <cx:pt idx="69571">2</cx:pt>
          <cx:pt idx="69572">5</cx:pt>
          <cx:pt idx="69573">5</cx:pt>
          <cx:pt idx="69574">3</cx:pt>
          <cx:pt idx="69575">3</cx:pt>
          <cx:pt idx="69576">3</cx:pt>
          <cx:pt idx="69577">3</cx:pt>
          <cx:pt idx="69578">4</cx:pt>
          <cx:pt idx="69579">1</cx:pt>
          <cx:pt idx="69580">3</cx:pt>
          <cx:pt idx="69581">3</cx:pt>
          <cx:pt idx="69582">5</cx:pt>
          <cx:pt idx="69583">2</cx:pt>
          <cx:pt idx="69584">5</cx:pt>
          <cx:pt idx="69585">3</cx:pt>
          <cx:pt idx="69586">5</cx:pt>
          <cx:pt idx="69587">4</cx:pt>
          <cx:pt idx="69588">1</cx:pt>
          <cx:pt idx="69589">4</cx:pt>
          <cx:pt idx="69590">5</cx:pt>
          <cx:pt idx="69591">2</cx:pt>
          <cx:pt idx="69592">5</cx:pt>
          <cx:pt idx="69593">5</cx:pt>
          <cx:pt idx="69594">5</cx:pt>
          <cx:pt idx="69595">5</cx:pt>
          <cx:pt idx="69596">2</cx:pt>
          <cx:pt idx="69597">1</cx:pt>
          <cx:pt idx="69598">1</cx:pt>
          <cx:pt idx="69599">2</cx:pt>
          <cx:pt idx="69600">3</cx:pt>
          <cx:pt idx="69601">4</cx:pt>
          <cx:pt idx="69602">2</cx:pt>
          <cx:pt idx="69603">4</cx:pt>
          <cx:pt idx="69604">5</cx:pt>
          <cx:pt idx="69605">3</cx:pt>
          <cx:pt idx="69606">5</cx:pt>
          <cx:pt idx="69607">5</cx:pt>
          <cx:pt idx="69608">4</cx:pt>
          <cx:pt idx="69609">4</cx:pt>
          <cx:pt idx="69610">4</cx:pt>
          <cx:pt idx="69611">1</cx:pt>
          <cx:pt idx="69612">4</cx:pt>
          <cx:pt idx="69613">4</cx:pt>
          <cx:pt idx="69614">5</cx:pt>
          <cx:pt idx="69615">5</cx:pt>
          <cx:pt idx="69616">4</cx:pt>
          <cx:pt idx="69617">4</cx:pt>
          <cx:pt idx="69618">3</cx:pt>
          <cx:pt idx="69619">5</cx:pt>
          <cx:pt idx="69620">5</cx:pt>
          <cx:pt idx="69621">5</cx:pt>
          <cx:pt idx="69622">3</cx:pt>
          <cx:pt idx="69623">5</cx:pt>
          <cx:pt idx="69624">2</cx:pt>
          <cx:pt idx="69625">4</cx:pt>
          <cx:pt idx="69626">2</cx:pt>
          <cx:pt idx="69627">5</cx:pt>
          <cx:pt idx="69628">4</cx:pt>
          <cx:pt idx="69629">2</cx:pt>
          <cx:pt idx="69630">3</cx:pt>
          <cx:pt idx="69631">5</cx:pt>
          <cx:pt idx="69632">2</cx:pt>
          <cx:pt idx="69633">3</cx:pt>
          <cx:pt idx="69634">3</cx:pt>
          <cx:pt idx="69635">4</cx:pt>
          <cx:pt idx="69636">1</cx:pt>
          <cx:pt idx="69637">4</cx:pt>
          <cx:pt idx="69638">5</cx:pt>
          <cx:pt idx="69639">3</cx:pt>
          <cx:pt idx="69640">2</cx:pt>
          <cx:pt idx="69641">5</cx:pt>
          <cx:pt idx="69642">5</cx:pt>
          <cx:pt idx="69643">4</cx:pt>
          <cx:pt idx="69644">3</cx:pt>
          <cx:pt idx="69645">3</cx:pt>
          <cx:pt idx="69646">4</cx:pt>
          <cx:pt idx="69647">5</cx:pt>
          <cx:pt idx="69648">2</cx:pt>
          <cx:pt idx="69649">1</cx:pt>
          <cx:pt idx="69650">3</cx:pt>
          <cx:pt idx="69651">2</cx:pt>
          <cx:pt idx="69652">5</cx:pt>
          <cx:pt idx="69653">4</cx:pt>
          <cx:pt idx="69654">4</cx:pt>
          <cx:pt idx="69655">4</cx:pt>
          <cx:pt idx="69656">4</cx:pt>
          <cx:pt idx="69657">4</cx:pt>
          <cx:pt idx="69658">3</cx:pt>
          <cx:pt idx="69659">4</cx:pt>
          <cx:pt idx="69660">5</cx:pt>
          <cx:pt idx="69661">4</cx:pt>
          <cx:pt idx="69662">1</cx:pt>
          <cx:pt idx="69663">5</cx:pt>
          <cx:pt idx="69664">4</cx:pt>
          <cx:pt idx="69665">1</cx:pt>
          <cx:pt idx="69666">2</cx:pt>
          <cx:pt idx="69667">4</cx:pt>
          <cx:pt idx="69668">4</cx:pt>
          <cx:pt idx="69669">4</cx:pt>
          <cx:pt idx="69670">2</cx:pt>
          <cx:pt idx="69671">4</cx:pt>
          <cx:pt idx="69672">4</cx:pt>
          <cx:pt idx="69673">1</cx:pt>
          <cx:pt idx="69674">3</cx:pt>
          <cx:pt idx="69675">5</cx:pt>
          <cx:pt idx="69676">3</cx:pt>
          <cx:pt idx="69677">1</cx:pt>
          <cx:pt idx="69678">3</cx:pt>
          <cx:pt idx="69679">4</cx:pt>
          <cx:pt idx="69680">5</cx:pt>
          <cx:pt idx="69681">2</cx:pt>
          <cx:pt idx="69682">3</cx:pt>
          <cx:pt idx="69683">5</cx:pt>
          <cx:pt idx="69684">4</cx:pt>
          <cx:pt idx="69685">1</cx:pt>
          <cx:pt idx="69686">1</cx:pt>
          <cx:pt idx="69687">4</cx:pt>
          <cx:pt idx="69688">4</cx:pt>
          <cx:pt idx="69689">1</cx:pt>
          <cx:pt idx="69690">5</cx:pt>
          <cx:pt idx="69691">4</cx:pt>
          <cx:pt idx="69692">2</cx:pt>
          <cx:pt idx="69693">3</cx:pt>
          <cx:pt idx="69694">4</cx:pt>
          <cx:pt idx="69695">4</cx:pt>
          <cx:pt idx="69696">1</cx:pt>
          <cx:pt idx="69697">5</cx:pt>
          <cx:pt idx="69698">4</cx:pt>
          <cx:pt idx="69699">4</cx:pt>
          <cx:pt idx="69700">2</cx:pt>
          <cx:pt idx="69701">4</cx:pt>
          <cx:pt idx="69702">3</cx:pt>
          <cx:pt idx="69703">1</cx:pt>
          <cx:pt idx="69704">5</cx:pt>
          <cx:pt idx="69705">3</cx:pt>
          <cx:pt idx="69706">3</cx:pt>
          <cx:pt idx="69707">5</cx:pt>
          <cx:pt idx="69708">5</cx:pt>
          <cx:pt idx="69709">5</cx:pt>
          <cx:pt idx="69710">3</cx:pt>
          <cx:pt idx="69711">5</cx:pt>
          <cx:pt idx="69712">5</cx:pt>
          <cx:pt idx="69713">4</cx:pt>
          <cx:pt idx="69714">4</cx:pt>
          <cx:pt idx="69715">5</cx:pt>
          <cx:pt idx="69716">5</cx:pt>
          <cx:pt idx="69717">1</cx:pt>
          <cx:pt idx="69718">4</cx:pt>
          <cx:pt idx="69719">5</cx:pt>
          <cx:pt idx="69720">4</cx:pt>
          <cx:pt idx="69721">5</cx:pt>
          <cx:pt idx="69722">4</cx:pt>
          <cx:pt idx="69723">2</cx:pt>
          <cx:pt idx="69724">3</cx:pt>
          <cx:pt idx="69725">5</cx:pt>
          <cx:pt idx="69726">1</cx:pt>
          <cx:pt idx="69727">5</cx:pt>
          <cx:pt idx="69728">5</cx:pt>
          <cx:pt idx="69729">4</cx:pt>
          <cx:pt idx="69730">1</cx:pt>
          <cx:pt idx="69731">5</cx:pt>
          <cx:pt idx="69732">5</cx:pt>
          <cx:pt idx="69733">4</cx:pt>
          <cx:pt idx="69734">4</cx:pt>
          <cx:pt idx="69735">1</cx:pt>
          <cx:pt idx="69736">3</cx:pt>
          <cx:pt idx="69737">3</cx:pt>
          <cx:pt idx="69738">4</cx:pt>
          <cx:pt idx="69739">5</cx:pt>
          <cx:pt idx="69740">4</cx:pt>
          <cx:pt idx="69741">5</cx:pt>
          <cx:pt idx="69742">4</cx:pt>
          <cx:pt idx="69743">1</cx:pt>
          <cx:pt idx="69744">5</cx:pt>
          <cx:pt idx="69745">2</cx:pt>
          <cx:pt idx="69746">3</cx:pt>
          <cx:pt idx="69747">4</cx:pt>
          <cx:pt idx="69748">4</cx:pt>
          <cx:pt idx="69749">1</cx:pt>
          <cx:pt idx="69750">4</cx:pt>
          <cx:pt idx="69751">2</cx:pt>
          <cx:pt idx="69752">4</cx:pt>
          <cx:pt idx="69753">4</cx:pt>
          <cx:pt idx="69754">5</cx:pt>
          <cx:pt idx="69755">2</cx:pt>
          <cx:pt idx="69756">2</cx:pt>
          <cx:pt idx="69757">4</cx:pt>
          <cx:pt idx="69758">4</cx:pt>
          <cx:pt idx="69759">3</cx:pt>
          <cx:pt idx="69760">2</cx:pt>
          <cx:pt idx="69761">5</cx:pt>
          <cx:pt idx="69762">1</cx:pt>
          <cx:pt idx="69763">3</cx:pt>
          <cx:pt idx="69764">5</cx:pt>
          <cx:pt idx="69765">3</cx:pt>
          <cx:pt idx="69766">4</cx:pt>
          <cx:pt idx="69767">2</cx:pt>
          <cx:pt idx="69768">4</cx:pt>
          <cx:pt idx="69769">3</cx:pt>
          <cx:pt idx="69770">4</cx:pt>
          <cx:pt idx="69771">3</cx:pt>
          <cx:pt idx="69772">4</cx:pt>
          <cx:pt idx="69773">2</cx:pt>
          <cx:pt idx="69774">3</cx:pt>
          <cx:pt idx="69775">5</cx:pt>
          <cx:pt idx="69776">3</cx:pt>
          <cx:pt idx="69777">4</cx:pt>
          <cx:pt idx="69778">5</cx:pt>
          <cx:pt idx="69779">4</cx:pt>
          <cx:pt idx="69780">5</cx:pt>
          <cx:pt idx="69781">4</cx:pt>
          <cx:pt idx="69782">2</cx:pt>
          <cx:pt idx="69783">1</cx:pt>
          <cx:pt idx="69784">5</cx:pt>
          <cx:pt idx="69785">5</cx:pt>
          <cx:pt idx="69786">4</cx:pt>
          <cx:pt idx="69787">5</cx:pt>
          <cx:pt idx="69788">4</cx:pt>
          <cx:pt idx="69789">3</cx:pt>
          <cx:pt idx="69790">4</cx:pt>
          <cx:pt idx="69791">4</cx:pt>
          <cx:pt idx="69792">4</cx:pt>
          <cx:pt idx="69793">4</cx:pt>
          <cx:pt idx="69794">4</cx:pt>
          <cx:pt idx="69795">2</cx:pt>
          <cx:pt idx="69796">4</cx:pt>
          <cx:pt idx="69797">3</cx:pt>
          <cx:pt idx="69798">4</cx:pt>
          <cx:pt idx="69799">4</cx:pt>
          <cx:pt idx="69800">3</cx:pt>
          <cx:pt idx="69801">1</cx:pt>
          <cx:pt idx="69802">4</cx:pt>
          <cx:pt idx="69803">5</cx:pt>
          <cx:pt idx="69804">3</cx:pt>
          <cx:pt idx="69805">3</cx:pt>
          <cx:pt idx="69806">4</cx:pt>
          <cx:pt idx="69807">2</cx:pt>
          <cx:pt idx="69808">3</cx:pt>
          <cx:pt idx="69809">2</cx:pt>
          <cx:pt idx="69810">3</cx:pt>
          <cx:pt idx="69811">4</cx:pt>
          <cx:pt idx="69812">4</cx:pt>
          <cx:pt idx="69813">1</cx:pt>
          <cx:pt idx="69814">3</cx:pt>
          <cx:pt idx="69815">5</cx:pt>
          <cx:pt idx="69816">4</cx:pt>
          <cx:pt idx="69817">1</cx:pt>
          <cx:pt idx="69818">4</cx:pt>
          <cx:pt idx="69819">5</cx:pt>
          <cx:pt idx="69820">1</cx:pt>
          <cx:pt idx="69821">4</cx:pt>
          <cx:pt idx="69822">5</cx:pt>
          <cx:pt idx="69823">2</cx:pt>
          <cx:pt idx="69824">4</cx:pt>
          <cx:pt idx="69825">1</cx:pt>
          <cx:pt idx="69826">1</cx:pt>
          <cx:pt idx="69827">5</cx:pt>
          <cx:pt idx="69828">4</cx:pt>
          <cx:pt idx="69829">4</cx:pt>
          <cx:pt idx="69830">3</cx:pt>
          <cx:pt idx="69831">3</cx:pt>
          <cx:pt idx="69832">2</cx:pt>
          <cx:pt idx="69833">4</cx:pt>
          <cx:pt idx="69834">1</cx:pt>
          <cx:pt idx="69835">5</cx:pt>
          <cx:pt idx="69836">4</cx:pt>
          <cx:pt idx="69837">4</cx:pt>
          <cx:pt idx="69838">4</cx:pt>
          <cx:pt idx="69839">4</cx:pt>
          <cx:pt idx="69840">5</cx:pt>
          <cx:pt idx="69841">4</cx:pt>
          <cx:pt idx="69842">4</cx:pt>
          <cx:pt idx="69843">1</cx:pt>
          <cx:pt idx="69844">2</cx:pt>
          <cx:pt idx="69845">5</cx:pt>
          <cx:pt idx="69846">3</cx:pt>
          <cx:pt idx="69847">1</cx:pt>
          <cx:pt idx="69848">2</cx:pt>
          <cx:pt idx="69849">2</cx:pt>
          <cx:pt idx="69850">4</cx:pt>
          <cx:pt idx="69851">5</cx:pt>
          <cx:pt idx="69852">5</cx:pt>
          <cx:pt idx="69853">5</cx:pt>
          <cx:pt idx="69854">4</cx:pt>
          <cx:pt idx="69855">5</cx:pt>
          <cx:pt idx="69856">4</cx:pt>
          <cx:pt idx="69857">5</cx:pt>
          <cx:pt idx="69858">4</cx:pt>
          <cx:pt idx="69859">2</cx:pt>
          <cx:pt idx="69860">5</cx:pt>
          <cx:pt idx="69861">4</cx:pt>
          <cx:pt idx="69862">1</cx:pt>
          <cx:pt idx="69863">3</cx:pt>
          <cx:pt idx="69864">3</cx:pt>
          <cx:pt idx="69865">4</cx:pt>
          <cx:pt idx="69866">5</cx:pt>
          <cx:pt idx="69867">5</cx:pt>
          <cx:pt idx="69868">5</cx:pt>
          <cx:pt idx="69869">4</cx:pt>
          <cx:pt idx="69870">5</cx:pt>
          <cx:pt idx="69871">4</cx:pt>
          <cx:pt idx="69872">3</cx:pt>
          <cx:pt idx="69873">4</cx:pt>
          <cx:pt idx="69874">4</cx:pt>
          <cx:pt idx="69875">5</cx:pt>
          <cx:pt idx="69876">3</cx:pt>
          <cx:pt idx="69877">4</cx:pt>
          <cx:pt idx="69878">5</cx:pt>
          <cx:pt idx="69879">3</cx:pt>
          <cx:pt idx="69880">4</cx:pt>
          <cx:pt idx="69881">4</cx:pt>
          <cx:pt idx="69882">5</cx:pt>
          <cx:pt idx="69883">5</cx:pt>
          <cx:pt idx="69884">3</cx:pt>
          <cx:pt idx="69885">2</cx:pt>
          <cx:pt idx="69886">5</cx:pt>
          <cx:pt idx="69887">5</cx:pt>
          <cx:pt idx="69888">3</cx:pt>
          <cx:pt idx="69889">3</cx:pt>
          <cx:pt idx="69890">5</cx:pt>
          <cx:pt idx="69891">4</cx:pt>
          <cx:pt idx="69892">2</cx:pt>
          <cx:pt idx="69893">4</cx:pt>
          <cx:pt idx="69894">2</cx:pt>
          <cx:pt idx="69895">2</cx:pt>
          <cx:pt idx="69896">5</cx:pt>
          <cx:pt idx="69897">2</cx:pt>
          <cx:pt idx="69898">2</cx:pt>
          <cx:pt idx="69899">4</cx:pt>
          <cx:pt idx="69900">3</cx:pt>
          <cx:pt idx="69901">5</cx:pt>
          <cx:pt idx="69902">5</cx:pt>
          <cx:pt idx="69903">5</cx:pt>
          <cx:pt idx="69904">1</cx:pt>
          <cx:pt idx="69905">2</cx:pt>
          <cx:pt idx="69906">4</cx:pt>
          <cx:pt idx="69907">4</cx:pt>
          <cx:pt idx="69908">5</cx:pt>
          <cx:pt idx="69909">4</cx:pt>
          <cx:pt idx="69910">5</cx:pt>
          <cx:pt idx="69911">3</cx:pt>
          <cx:pt idx="69912">5</cx:pt>
          <cx:pt idx="69913">5</cx:pt>
          <cx:pt idx="69914">5</cx:pt>
          <cx:pt idx="69915">4</cx:pt>
          <cx:pt idx="69916">3</cx:pt>
          <cx:pt idx="69917">5</cx:pt>
          <cx:pt idx="69918">1</cx:pt>
          <cx:pt idx="69919">5</cx:pt>
          <cx:pt idx="69920">4</cx:pt>
          <cx:pt idx="69921">4</cx:pt>
          <cx:pt idx="69922">2</cx:pt>
          <cx:pt idx="69923">1</cx:pt>
          <cx:pt idx="69924">5</cx:pt>
          <cx:pt idx="69925">4</cx:pt>
          <cx:pt idx="69926">2</cx:pt>
          <cx:pt idx="69927">5</cx:pt>
          <cx:pt idx="69928">3</cx:pt>
          <cx:pt idx="69929">5</cx:pt>
          <cx:pt idx="69930">1</cx:pt>
          <cx:pt idx="69931">4</cx:pt>
          <cx:pt idx="69932">5</cx:pt>
          <cx:pt idx="69933">4</cx:pt>
          <cx:pt idx="69934">4</cx:pt>
          <cx:pt idx="69935">2</cx:pt>
          <cx:pt idx="69936">5</cx:pt>
          <cx:pt idx="69937">4</cx:pt>
          <cx:pt idx="69938">5</cx:pt>
          <cx:pt idx="69939">5</cx:pt>
          <cx:pt idx="69940">5</cx:pt>
          <cx:pt idx="69941">3</cx:pt>
          <cx:pt idx="69942">1</cx:pt>
          <cx:pt idx="69943">4</cx:pt>
          <cx:pt idx="69944">4</cx:pt>
          <cx:pt idx="69945">1</cx:pt>
          <cx:pt idx="69946">5</cx:pt>
          <cx:pt idx="69947">3</cx:pt>
          <cx:pt idx="69948">5</cx:pt>
          <cx:pt idx="69949">4</cx:pt>
          <cx:pt idx="69950">2</cx:pt>
          <cx:pt idx="69951">3</cx:pt>
          <cx:pt idx="69952">4</cx:pt>
          <cx:pt idx="69953">1</cx:pt>
          <cx:pt idx="69954">2</cx:pt>
          <cx:pt idx="69955">1</cx:pt>
          <cx:pt idx="69956">4</cx:pt>
          <cx:pt idx="69957">3</cx:pt>
          <cx:pt idx="69958">2</cx:pt>
          <cx:pt idx="69959">4</cx:pt>
          <cx:pt idx="69960">4</cx:pt>
          <cx:pt idx="69961">5</cx:pt>
          <cx:pt idx="69962">2</cx:pt>
          <cx:pt idx="69963">2</cx:pt>
          <cx:pt idx="69964">2</cx:pt>
          <cx:pt idx="69965">4</cx:pt>
          <cx:pt idx="69966">3</cx:pt>
          <cx:pt idx="69967">2</cx:pt>
          <cx:pt idx="69968">2</cx:pt>
          <cx:pt idx="69969">4</cx:pt>
          <cx:pt idx="69970">3</cx:pt>
          <cx:pt idx="69971">5</cx:pt>
          <cx:pt idx="69972">3</cx:pt>
          <cx:pt idx="69973">3</cx:pt>
          <cx:pt idx="69974">3</cx:pt>
          <cx:pt idx="69975">4</cx:pt>
          <cx:pt idx="69976">1</cx:pt>
          <cx:pt idx="69977">4</cx:pt>
          <cx:pt idx="69978">3</cx:pt>
          <cx:pt idx="69979">4</cx:pt>
          <cx:pt idx="69980">3</cx:pt>
          <cx:pt idx="69981">1</cx:pt>
          <cx:pt idx="69982">4</cx:pt>
          <cx:pt idx="69983">5</cx:pt>
          <cx:pt idx="69984">2</cx:pt>
          <cx:pt idx="69985">5</cx:pt>
          <cx:pt idx="69986">4</cx:pt>
          <cx:pt idx="69987">4</cx:pt>
          <cx:pt idx="69988">5</cx:pt>
          <cx:pt idx="69989">5</cx:pt>
          <cx:pt idx="69990">5</cx:pt>
          <cx:pt idx="69991">2</cx:pt>
          <cx:pt idx="69992">4</cx:pt>
          <cx:pt idx="69993">4</cx:pt>
          <cx:pt idx="69994">4</cx:pt>
          <cx:pt idx="69995">3</cx:pt>
          <cx:pt idx="69996">5</cx:pt>
          <cx:pt idx="69997">3</cx:pt>
          <cx:pt idx="69998">5</cx:pt>
          <cx:pt idx="69999">5</cx:pt>
          <cx:pt idx="70000">3</cx:pt>
          <cx:pt idx="70001">2</cx:pt>
          <cx:pt idx="70002">4</cx:pt>
          <cx:pt idx="70003">5</cx:pt>
          <cx:pt idx="70004">2</cx:pt>
          <cx:pt idx="70005">2</cx:pt>
          <cx:pt idx="70006">4</cx:pt>
          <cx:pt idx="70007">2</cx:pt>
          <cx:pt idx="70008">4</cx:pt>
          <cx:pt idx="70009">1</cx:pt>
          <cx:pt idx="70010">5</cx:pt>
          <cx:pt idx="70011">4</cx:pt>
          <cx:pt idx="70012">5</cx:pt>
          <cx:pt idx="70013">4</cx:pt>
          <cx:pt idx="70014">1</cx:pt>
          <cx:pt idx="70015">5</cx:pt>
          <cx:pt idx="70016">4</cx:pt>
          <cx:pt idx="70017">5</cx:pt>
          <cx:pt idx="70018">4</cx:pt>
          <cx:pt idx="70019">4</cx:pt>
          <cx:pt idx="70020">3</cx:pt>
          <cx:pt idx="70021">1</cx:pt>
          <cx:pt idx="70022">2</cx:pt>
          <cx:pt idx="70023">4</cx:pt>
          <cx:pt idx="70024">4</cx:pt>
          <cx:pt idx="70025">4</cx:pt>
          <cx:pt idx="70026">5</cx:pt>
          <cx:pt idx="70027">5</cx:pt>
          <cx:pt idx="70028">4</cx:pt>
          <cx:pt idx="70029">5</cx:pt>
          <cx:pt idx="70030">4</cx:pt>
          <cx:pt idx="70031">4</cx:pt>
          <cx:pt idx="70032">2</cx:pt>
          <cx:pt idx="70033">3</cx:pt>
          <cx:pt idx="70034">3</cx:pt>
          <cx:pt idx="70035">5</cx:pt>
          <cx:pt idx="70036">5</cx:pt>
          <cx:pt idx="70037">1</cx:pt>
          <cx:pt idx="70038">4</cx:pt>
          <cx:pt idx="70039">4</cx:pt>
          <cx:pt idx="70040">1</cx:pt>
          <cx:pt idx="70041">4</cx:pt>
          <cx:pt idx="70042">4</cx:pt>
          <cx:pt idx="70043">4</cx:pt>
          <cx:pt idx="70044">3</cx:pt>
          <cx:pt idx="70045">5</cx:pt>
          <cx:pt idx="70046">4</cx:pt>
          <cx:pt idx="70047">3</cx:pt>
          <cx:pt idx="70048">3</cx:pt>
          <cx:pt idx="70049">1</cx:pt>
          <cx:pt idx="70050">5</cx:pt>
          <cx:pt idx="70051">5</cx:pt>
          <cx:pt idx="70052">3</cx:pt>
          <cx:pt idx="70053">5</cx:pt>
          <cx:pt idx="70054">4</cx:pt>
          <cx:pt idx="70055">5</cx:pt>
          <cx:pt idx="70056">5</cx:pt>
          <cx:pt idx="70057">3</cx:pt>
          <cx:pt idx="70058">5</cx:pt>
          <cx:pt idx="70059">5</cx:pt>
          <cx:pt idx="70060">3</cx:pt>
          <cx:pt idx="70061">3</cx:pt>
          <cx:pt idx="70062">5</cx:pt>
          <cx:pt idx="70063">5</cx:pt>
          <cx:pt idx="70064">2</cx:pt>
          <cx:pt idx="70065">4</cx:pt>
          <cx:pt idx="70066">3</cx:pt>
          <cx:pt idx="70067">3</cx:pt>
          <cx:pt idx="70068">5</cx:pt>
          <cx:pt idx="70069">5</cx:pt>
          <cx:pt idx="70070">4</cx:pt>
          <cx:pt idx="70071">5</cx:pt>
          <cx:pt idx="70072">4</cx:pt>
          <cx:pt idx="70073">4</cx:pt>
          <cx:pt idx="70074">5</cx:pt>
          <cx:pt idx="70075">4</cx:pt>
          <cx:pt idx="70076">3</cx:pt>
          <cx:pt idx="70077">4</cx:pt>
          <cx:pt idx="70078">4</cx:pt>
          <cx:pt idx="70079">1</cx:pt>
          <cx:pt idx="70080">3</cx:pt>
          <cx:pt idx="70081">4</cx:pt>
          <cx:pt idx="70082">2</cx:pt>
          <cx:pt idx="70083">4</cx:pt>
          <cx:pt idx="70084">1</cx:pt>
          <cx:pt idx="70085">4</cx:pt>
          <cx:pt idx="70086">4</cx:pt>
          <cx:pt idx="70087">5</cx:pt>
          <cx:pt idx="70088">1</cx:pt>
          <cx:pt idx="70089">1</cx:pt>
          <cx:pt idx="70090">5</cx:pt>
          <cx:pt idx="70091">3</cx:pt>
          <cx:pt idx="70092">1</cx:pt>
          <cx:pt idx="70093">5</cx:pt>
          <cx:pt idx="70094">5</cx:pt>
          <cx:pt idx="70095">5</cx:pt>
          <cx:pt idx="70096">4</cx:pt>
          <cx:pt idx="70097">3</cx:pt>
          <cx:pt idx="70098">5</cx:pt>
          <cx:pt idx="70099">1</cx:pt>
          <cx:pt idx="70100">4</cx:pt>
          <cx:pt idx="70101">5</cx:pt>
          <cx:pt idx="70102">5</cx:pt>
          <cx:pt idx="70103">3</cx:pt>
          <cx:pt idx="70104">4</cx:pt>
          <cx:pt idx="70105">5</cx:pt>
          <cx:pt idx="70106">5</cx:pt>
          <cx:pt idx="70107">3</cx:pt>
          <cx:pt idx="70108">2</cx:pt>
          <cx:pt idx="70109">5</cx:pt>
          <cx:pt idx="70110">3</cx:pt>
          <cx:pt idx="70111">2</cx:pt>
          <cx:pt idx="70112">1</cx:pt>
          <cx:pt idx="70113">5</cx:pt>
          <cx:pt idx="70114">5</cx:pt>
          <cx:pt idx="70115">1</cx:pt>
          <cx:pt idx="70116">1</cx:pt>
          <cx:pt idx="70117">3</cx:pt>
          <cx:pt idx="70118">3</cx:pt>
          <cx:pt idx="70119">5</cx:pt>
          <cx:pt idx="70120">5</cx:pt>
          <cx:pt idx="70121">1</cx:pt>
          <cx:pt idx="70122">3</cx:pt>
          <cx:pt idx="70123">4</cx:pt>
          <cx:pt idx="70124">5</cx:pt>
          <cx:pt idx="70125">2</cx:pt>
          <cx:pt idx="70126">3</cx:pt>
          <cx:pt idx="70127">4</cx:pt>
          <cx:pt idx="70128">5</cx:pt>
          <cx:pt idx="70129">2</cx:pt>
          <cx:pt idx="70130">3</cx:pt>
          <cx:pt idx="70131">4</cx:pt>
          <cx:pt idx="70132">5</cx:pt>
          <cx:pt idx="70133">3</cx:pt>
          <cx:pt idx="70134">3</cx:pt>
          <cx:pt idx="70135">5</cx:pt>
          <cx:pt idx="70136">5</cx:pt>
          <cx:pt idx="70137">2</cx:pt>
          <cx:pt idx="70138">4</cx:pt>
          <cx:pt idx="70139">3</cx:pt>
          <cx:pt idx="70140">1</cx:pt>
          <cx:pt idx="70141">4</cx:pt>
          <cx:pt idx="70142">2</cx:pt>
          <cx:pt idx="70143">4</cx:pt>
          <cx:pt idx="70144">5</cx:pt>
          <cx:pt idx="70145">1</cx:pt>
          <cx:pt idx="70146">5</cx:pt>
          <cx:pt idx="70147">5</cx:pt>
          <cx:pt idx="70148">3</cx:pt>
          <cx:pt idx="70149">1</cx:pt>
          <cx:pt idx="70150">4</cx:pt>
          <cx:pt idx="70151">3</cx:pt>
          <cx:pt idx="70152">4</cx:pt>
          <cx:pt idx="70153">5</cx:pt>
          <cx:pt idx="70154">1</cx:pt>
          <cx:pt idx="70155">4</cx:pt>
          <cx:pt idx="70156">3</cx:pt>
          <cx:pt idx="70157">3</cx:pt>
          <cx:pt idx="70158">4</cx:pt>
          <cx:pt idx="70159">5</cx:pt>
          <cx:pt idx="70160">4</cx:pt>
          <cx:pt idx="70161">3</cx:pt>
          <cx:pt idx="70162">3</cx:pt>
          <cx:pt idx="70163">4</cx:pt>
          <cx:pt idx="70164">3</cx:pt>
          <cx:pt idx="70165">4</cx:pt>
          <cx:pt idx="70166">5</cx:pt>
          <cx:pt idx="70167">2</cx:pt>
          <cx:pt idx="70168">4</cx:pt>
          <cx:pt idx="70169">5</cx:pt>
          <cx:pt idx="70170">5</cx:pt>
          <cx:pt idx="70171">3</cx:pt>
          <cx:pt idx="70172">4</cx:pt>
          <cx:pt idx="70173">3</cx:pt>
          <cx:pt idx="70174">4</cx:pt>
          <cx:pt idx="70175">5</cx:pt>
          <cx:pt idx="70176">4</cx:pt>
          <cx:pt idx="70177">2</cx:pt>
          <cx:pt idx="70178">3</cx:pt>
          <cx:pt idx="70179">5</cx:pt>
          <cx:pt idx="70180">4</cx:pt>
          <cx:pt idx="70181">4</cx:pt>
          <cx:pt idx="70182">4</cx:pt>
          <cx:pt idx="70183">5</cx:pt>
          <cx:pt idx="70184">4</cx:pt>
          <cx:pt idx="70185">4</cx:pt>
          <cx:pt idx="70186">3</cx:pt>
          <cx:pt idx="70187">5</cx:pt>
          <cx:pt idx="70188">3</cx:pt>
          <cx:pt idx="70189">4</cx:pt>
          <cx:pt idx="70190">5</cx:pt>
          <cx:pt idx="70191">5</cx:pt>
          <cx:pt idx="70192">2</cx:pt>
          <cx:pt idx="70193">4</cx:pt>
          <cx:pt idx="70194">1</cx:pt>
          <cx:pt idx="70195">1</cx:pt>
          <cx:pt idx="70196">2</cx:pt>
          <cx:pt idx="70197">5</cx:pt>
          <cx:pt idx="70198">2</cx:pt>
          <cx:pt idx="70199">4</cx:pt>
          <cx:pt idx="70200">2</cx:pt>
          <cx:pt idx="70201">4</cx:pt>
          <cx:pt idx="70202">4</cx:pt>
          <cx:pt idx="70203">5</cx:pt>
          <cx:pt idx="70204">3</cx:pt>
          <cx:pt idx="70205">1</cx:pt>
          <cx:pt idx="70206">4</cx:pt>
          <cx:pt idx="70207">1</cx:pt>
          <cx:pt idx="70208">2</cx:pt>
          <cx:pt idx="70209">3</cx:pt>
          <cx:pt idx="70210">4</cx:pt>
          <cx:pt idx="70211">1</cx:pt>
          <cx:pt idx="70212">2</cx:pt>
          <cx:pt idx="70213">1</cx:pt>
          <cx:pt idx="70214">4</cx:pt>
          <cx:pt idx="70215">4</cx:pt>
          <cx:pt idx="70216">3</cx:pt>
          <cx:pt idx="70217">5</cx:pt>
          <cx:pt idx="70218">1</cx:pt>
          <cx:pt idx="70219">3</cx:pt>
          <cx:pt idx="70220">1</cx:pt>
          <cx:pt idx="70221">4</cx:pt>
          <cx:pt idx="70222">2</cx:pt>
          <cx:pt idx="70223">3</cx:pt>
          <cx:pt idx="70224">4</cx:pt>
          <cx:pt idx="70225">3</cx:pt>
          <cx:pt idx="70226">3</cx:pt>
          <cx:pt idx="70227">5</cx:pt>
          <cx:pt idx="70228">4</cx:pt>
          <cx:pt idx="70229">3</cx:pt>
          <cx:pt idx="70230">2</cx:pt>
          <cx:pt idx="70231">3</cx:pt>
          <cx:pt idx="70232">4</cx:pt>
          <cx:pt idx="70233">3</cx:pt>
          <cx:pt idx="70234">5</cx:pt>
          <cx:pt idx="70235">5</cx:pt>
          <cx:pt idx="70236">3</cx:pt>
          <cx:pt idx="70237">1</cx:pt>
          <cx:pt idx="70238">5</cx:pt>
          <cx:pt idx="70239">5</cx:pt>
          <cx:pt idx="70240">4</cx:pt>
          <cx:pt idx="70241">3</cx:pt>
          <cx:pt idx="70242">1</cx:pt>
          <cx:pt idx="70243">4</cx:pt>
          <cx:pt idx="70244">4</cx:pt>
          <cx:pt idx="70245">2</cx:pt>
          <cx:pt idx="70246">1</cx:pt>
          <cx:pt idx="70247">5</cx:pt>
          <cx:pt idx="70248">5</cx:pt>
          <cx:pt idx="70249">4</cx:pt>
          <cx:pt idx="70250">5</cx:pt>
          <cx:pt idx="70251">4</cx:pt>
          <cx:pt idx="70252">4</cx:pt>
          <cx:pt idx="70253">2</cx:pt>
          <cx:pt idx="70254">4</cx:pt>
          <cx:pt idx="70255">4</cx:pt>
          <cx:pt idx="70256">3</cx:pt>
          <cx:pt idx="70257">2</cx:pt>
          <cx:pt idx="70258">4</cx:pt>
          <cx:pt idx="70259">2</cx:pt>
          <cx:pt idx="70260">3</cx:pt>
          <cx:pt idx="70261">4</cx:pt>
          <cx:pt idx="70262">3</cx:pt>
          <cx:pt idx="70263">4</cx:pt>
          <cx:pt idx="70264">4</cx:pt>
          <cx:pt idx="70265">4</cx:pt>
          <cx:pt idx="70266">5</cx:pt>
          <cx:pt idx="70267">1</cx:pt>
          <cx:pt idx="70268">1</cx:pt>
          <cx:pt idx="70269">5</cx:pt>
          <cx:pt idx="70270">5</cx:pt>
          <cx:pt idx="70271">4</cx:pt>
          <cx:pt idx="70272">3</cx:pt>
          <cx:pt idx="70273">3</cx:pt>
          <cx:pt idx="70274">4</cx:pt>
          <cx:pt idx="70275">5</cx:pt>
          <cx:pt idx="70276">5</cx:pt>
          <cx:pt idx="70277">5</cx:pt>
          <cx:pt idx="70278">3</cx:pt>
          <cx:pt idx="70279">3</cx:pt>
          <cx:pt idx="70280">5</cx:pt>
          <cx:pt idx="70281">5</cx:pt>
          <cx:pt idx="70282">5</cx:pt>
          <cx:pt idx="70283">3</cx:pt>
          <cx:pt idx="70284">3</cx:pt>
          <cx:pt idx="70285">5</cx:pt>
          <cx:pt idx="70286">4</cx:pt>
          <cx:pt idx="70287">4</cx:pt>
          <cx:pt idx="70288">4</cx:pt>
          <cx:pt idx="70289">3</cx:pt>
          <cx:pt idx="70290">5</cx:pt>
          <cx:pt idx="70291">4</cx:pt>
          <cx:pt idx="70292">5</cx:pt>
          <cx:pt idx="70293">2</cx:pt>
          <cx:pt idx="70294">5</cx:pt>
          <cx:pt idx="70295">1</cx:pt>
          <cx:pt idx="70296">2</cx:pt>
          <cx:pt idx="70297">5</cx:pt>
          <cx:pt idx="70298">3</cx:pt>
          <cx:pt idx="70299">5</cx:pt>
          <cx:pt idx="70300">1</cx:pt>
          <cx:pt idx="70301">1</cx:pt>
          <cx:pt idx="70302">2</cx:pt>
          <cx:pt idx="70303">4</cx:pt>
          <cx:pt idx="70304">1</cx:pt>
          <cx:pt idx="70305">5</cx:pt>
          <cx:pt idx="70306">5</cx:pt>
          <cx:pt idx="70307">1</cx:pt>
          <cx:pt idx="70308">5</cx:pt>
          <cx:pt idx="70309">2</cx:pt>
          <cx:pt idx="70310">1</cx:pt>
          <cx:pt idx="70311">2</cx:pt>
          <cx:pt idx="70312">3</cx:pt>
          <cx:pt idx="70313">2</cx:pt>
          <cx:pt idx="70314">5</cx:pt>
          <cx:pt idx="70315">4</cx:pt>
          <cx:pt idx="70316">2</cx:pt>
          <cx:pt idx="70317">4</cx:pt>
          <cx:pt idx="70318">3</cx:pt>
          <cx:pt idx="70319">5</cx:pt>
          <cx:pt idx="70320">4</cx:pt>
          <cx:pt idx="70321">3</cx:pt>
          <cx:pt idx="70322">4</cx:pt>
          <cx:pt idx="70323">4</cx:pt>
          <cx:pt idx="70324">4</cx:pt>
          <cx:pt idx="70325">4</cx:pt>
          <cx:pt idx="70326">5</cx:pt>
          <cx:pt idx="70327">4</cx:pt>
          <cx:pt idx="70328">4</cx:pt>
          <cx:pt idx="70329">2</cx:pt>
          <cx:pt idx="70330">5</cx:pt>
          <cx:pt idx="70331">3</cx:pt>
          <cx:pt idx="70332">5</cx:pt>
          <cx:pt idx="70333">3</cx:pt>
          <cx:pt idx="70334">5</cx:pt>
          <cx:pt idx="70335">4</cx:pt>
          <cx:pt idx="70336">1</cx:pt>
          <cx:pt idx="70337">5</cx:pt>
          <cx:pt idx="70338">5</cx:pt>
          <cx:pt idx="70339">5</cx:pt>
          <cx:pt idx="70340">3</cx:pt>
          <cx:pt idx="70341">4</cx:pt>
          <cx:pt idx="70342">4</cx:pt>
          <cx:pt idx="70343">4</cx:pt>
          <cx:pt idx="70344">4</cx:pt>
          <cx:pt idx="70345">2</cx:pt>
          <cx:pt idx="70346">4</cx:pt>
          <cx:pt idx="70347">2</cx:pt>
          <cx:pt idx="70348">3</cx:pt>
          <cx:pt idx="70349">4</cx:pt>
          <cx:pt idx="70350">5</cx:pt>
          <cx:pt idx="70351">5</cx:pt>
          <cx:pt idx="70352">5</cx:pt>
          <cx:pt idx="70353">1</cx:pt>
          <cx:pt idx="70354">4</cx:pt>
          <cx:pt idx="70355">4</cx:pt>
          <cx:pt idx="70356">5</cx:pt>
          <cx:pt idx="70357">4</cx:pt>
          <cx:pt idx="70358">5</cx:pt>
          <cx:pt idx="70359">3</cx:pt>
          <cx:pt idx="70360">5</cx:pt>
          <cx:pt idx="70361">4</cx:pt>
          <cx:pt idx="70362">2</cx:pt>
          <cx:pt idx="70363">3</cx:pt>
          <cx:pt idx="70364">2</cx:pt>
          <cx:pt idx="70365">5</cx:pt>
          <cx:pt idx="70366">5</cx:pt>
          <cx:pt idx="70367">3</cx:pt>
          <cx:pt idx="70368">3</cx:pt>
          <cx:pt idx="70369">5</cx:pt>
          <cx:pt idx="70370">4</cx:pt>
          <cx:pt idx="70371">5</cx:pt>
          <cx:pt idx="70372">4</cx:pt>
          <cx:pt idx="70373">5</cx:pt>
          <cx:pt idx="70374">4</cx:pt>
          <cx:pt idx="70375">2</cx:pt>
          <cx:pt idx="70376">1</cx:pt>
          <cx:pt idx="70377">4</cx:pt>
          <cx:pt idx="70378">2</cx:pt>
          <cx:pt idx="70379">2</cx:pt>
          <cx:pt idx="70380">4</cx:pt>
          <cx:pt idx="70381">3</cx:pt>
          <cx:pt idx="70382">2</cx:pt>
          <cx:pt idx="70383">3</cx:pt>
          <cx:pt idx="70384">4</cx:pt>
          <cx:pt idx="70385">3</cx:pt>
          <cx:pt idx="70386">4</cx:pt>
          <cx:pt idx="70387">2</cx:pt>
          <cx:pt idx="70388">5</cx:pt>
          <cx:pt idx="70389">4</cx:pt>
          <cx:pt idx="70390">5</cx:pt>
          <cx:pt idx="70391">1</cx:pt>
          <cx:pt idx="70392">4</cx:pt>
          <cx:pt idx="70393">4</cx:pt>
          <cx:pt idx="70394">2</cx:pt>
          <cx:pt idx="70395">5</cx:pt>
          <cx:pt idx="70396">5</cx:pt>
          <cx:pt idx="70397">4</cx:pt>
          <cx:pt idx="70398">1</cx:pt>
          <cx:pt idx="70399">3</cx:pt>
          <cx:pt idx="70400">5</cx:pt>
          <cx:pt idx="70401">1</cx:pt>
          <cx:pt idx="70402">3</cx:pt>
          <cx:pt idx="70403">2</cx:pt>
          <cx:pt idx="70404">2</cx:pt>
          <cx:pt idx="70405">3</cx:pt>
          <cx:pt idx="70406">3</cx:pt>
          <cx:pt idx="70407">3</cx:pt>
          <cx:pt idx="70408">4</cx:pt>
          <cx:pt idx="70409">3</cx:pt>
          <cx:pt idx="70410">4</cx:pt>
          <cx:pt idx="70411">3</cx:pt>
          <cx:pt idx="70412">4</cx:pt>
          <cx:pt idx="70413">4</cx:pt>
          <cx:pt idx="70414">2</cx:pt>
          <cx:pt idx="70415">5</cx:pt>
          <cx:pt idx="70416">5</cx:pt>
          <cx:pt idx="70417">3</cx:pt>
          <cx:pt idx="70418">1</cx:pt>
          <cx:pt idx="70419">5</cx:pt>
          <cx:pt idx="70420">3</cx:pt>
          <cx:pt idx="70421">4</cx:pt>
          <cx:pt idx="70422">3</cx:pt>
          <cx:pt idx="70423">3</cx:pt>
          <cx:pt idx="70424">2</cx:pt>
          <cx:pt idx="70425">1</cx:pt>
          <cx:pt idx="70426">4</cx:pt>
          <cx:pt idx="70427">2</cx:pt>
          <cx:pt idx="70428">2</cx:pt>
          <cx:pt idx="70429">5</cx:pt>
          <cx:pt idx="70430">3</cx:pt>
          <cx:pt idx="70431">1</cx:pt>
          <cx:pt idx="70432">1</cx:pt>
          <cx:pt idx="70433">5</cx:pt>
          <cx:pt idx="70434">2</cx:pt>
          <cx:pt idx="70435">4</cx:pt>
          <cx:pt idx="70436">4</cx:pt>
          <cx:pt idx="70437">4</cx:pt>
          <cx:pt idx="70438">4</cx:pt>
          <cx:pt idx="70439">4</cx:pt>
          <cx:pt idx="70440">4</cx:pt>
          <cx:pt idx="70441">5</cx:pt>
          <cx:pt idx="70442">1</cx:pt>
          <cx:pt idx="70443">2</cx:pt>
          <cx:pt idx="70444">2</cx:pt>
          <cx:pt idx="70445">5</cx:pt>
          <cx:pt idx="70446">3</cx:pt>
          <cx:pt idx="70447">4</cx:pt>
          <cx:pt idx="70448">5</cx:pt>
          <cx:pt idx="70449">2</cx:pt>
          <cx:pt idx="70450">5</cx:pt>
          <cx:pt idx="70451">5</cx:pt>
          <cx:pt idx="70452">5</cx:pt>
          <cx:pt idx="70453">2</cx:pt>
          <cx:pt idx="70454">1</cx:pt>
          <cx:pt idx="70455">3</cx:pt>
          <cx:pt idx="70456">5</cx:pt>
          <cx:pt idx="70457">2</cx:pt>
          <cx:pt idx="70458">4</cx:pt>
          <cx:pt idx="70459">5</cx:pt>
          <cx:pt idx="70460">5</cx:pt>
          <cx:pt idx="70461">4</cx:pt>
          <cx:pt idx="70462">4</cx:pt>
          <cx:pt idx="70463">2</cx:pt>
          <cx:pt idx="70464">1</cx:pt>
          <cx:pt idx="70465">3</cx:pt>
          <cx:pt idx="70466">5</cx:pt>
          <cx:pt idx="70467">5</cx:pt>
          <cx:pt idx="70468">5</cx:pt>
          <cx:pt idx="70469">4</cx:pt>
          <cx:pt idx="70470">4</cx:pt>
          <cx:pt idx="70471">3</cx:pt>
          <cx:pt idx="70472">5</cx:pt>
          <cx:pt idx="70473">4</cx:pt>
          <cx:pt idx="70474">1</cx:pt>
          <cx:pt idx="70475">4</cx:pt>
          <cx:pt idx="70476">4</cx:pt>
          <cx:pt idx="70477">4</cx:pt>
          <cx:pt idx="70478">4</cx:pt>
          <cx:pt idx="70479">4</cx:pt>
          <cx:pt idx="70480">3</cx:pt>
          <cx:pt idx="70481">2</cx:pt>
          <cx:pt idx="70482">4</cx:pt>
          <cx:pt idx="70483">3</cx:pt>
          <cx:pt idx="70484">4</cx:pt>
          <cx:pt idx="70485">1</cx:pt>
          <cx:pt idx="70486">2</cx:pt>
          <cx:pt idx="70487">1</cx:pt>
          <cx:pt idx="70488">4</cx:pt>
          <cx:pt idx="70489">5</cx:pt>
          <cx:pt idx="70490">3</cx:pt>
          <cx:pt idx="70491">4</cx:pt>
          <cx:pt idx="70492">4</cx:pt>
          <cx:pt idx="70493">3</cx:pt>
          <cx:pt idx="70494">4</cx:pt>
          <cx:pt idx="70495">2</cx:pt>
          <cx:pt idx="70496">3</cx:pt>
          <cx:pt idx="70497">1</cx:pt>
          <cx:pt idx="70498">1</cx:pt>
          <cx:pt idx="70499">1</cx:pt>
          <cx:pt idx="70500">3</cx:pt>
          <cx:pt idx="70501">3</cx:pt>
          <cx:pt idx="70502">1</cx:pt>
          <cx:pt idx="70503">3</cx:pt>
          <cx:pt idx="70504">5</cx:pt>
          <cx:pt idx="70505">2</cx:pt>
          <cx:pt idx="70506">4</cx:pt>
          <cx:pt idx="70507">1</cx:pt>
          <cx:pt idx="70508">5</cx:pt>
          <cx:pt idx="70509">5</cx:pt>
          <cx:pt idx="70510">2</cx:pt>
          <cx:pt idx="70511">2</cx:pt>
          <cx:pt idx="70512">3</cx:pt>
          <cx:pt idx="70513">4</cx:pt>
          <cx:pt idx="70514">4</cx:pt>
          <cx:pt idx="70515">2</cx:pt>
          <cx:pt idx="70516">4</cx:pt>
          <cx:pt idx="70517">3</cx:pt>
          <cx:pt idx="70518">2</cx:pt>
          <cx:pt idx="70519">4</cx:pt>
          <cx:pt idx="70520">4</cx:pt>
          <cx:pt idx="70521">4</cx:pt>
          <cx:pt idx="70522">5</cx:pt>
          <cx:pt idx="70523">4</cx:pt>
          <cx:pt idx="70524">4</cx:pt>
          <cx:pt idx="70525">2</cx:pt>
          <cx:pt idx="70526">1</cx:pt>
          <cx:pt idx="70527">3</cx:pt>
          <cx:pt idx="70528">5</cx:pt>
          <cx:pt idx="70529">4</cx:pt>
          <cx:pt idx="70530">2</cx:pt>
          <cx:pt idx="70531">3</cx:pt>
          <cx:pt idx="70532">3</cx:pt>
          <cx:pt idx="70533">4</cx:pt>
          <cx:pt idx="70534">3</cx:pt>
          <cx:pt idx="70535">5</cx:pt>
          <cx:pt idx="70536">1</cx:pt>
          <cx:pt idx="70537">3</cx:pt>
          <cx:pt idx="70538">1</cx:pt>
          <cx:pt idx="70539">4</cx:pt>
          <cx:pt idx="70540">5</cx:pt>
          <cx:pt idx="70541">5</cx:pt>
          <cx:pt idx="70542">5</cx:pt>
          <cx:pt idx="70543">5</cx:pt>
          <cx:pt idx="70544">2</cx:pt>
          <cx:pt idx="70545">4</cx:pt>
          <cx:pt idx="70546">4</cx:pt>
          <cx:pt idx="70547">4</cx:pt>
          <cx:pt idx="70548">5</cx:pt>
          <cx:pt idx="70549">4</cx:pt>
          <cx:pt idx="70550">5</cx:pt>
          <cx:pt idx="70551">4</cx:pt>
          <cx:pt idx="70552">3</cx:pt>
          <cx:pt idx="70553">4</cx:pt>
          <cx:pt idx="70554">3</cx:pt>
          <cx:pt idx="70555">3</cx:pt>
          <cx:pt idx="70556">1</cx:pt>
          <cx:pt idx="70557">4</cx:pt>
          <cx:pt idx="70558">4</cx:pt>
          <cx:pt idx="70559">5</cx:pt>
          <cx:pt idx="70560">3</cx:pt>
          <cx:pt idx="70561">5</cx:pt>
          <cx:pt idx="70562">5</cx:pt>
          <cx:pt idx="70563">2</cx:pt>
          <cx:pt idx="70564">3</cx:pt>
          <cx:pt idx="70565">3</cx:pt>
          <cx:pt idx="70566">3</cx:pt>
          <cx:pt idx="70567">5</cx:pt>
          <cx:pt idx="70568">4</cx:pt>
          <cx:pt idx="70569">2</cx:pt>
          <cx:pt idx="70570">3</cx:pt>
          <cx:pt idx="70571">4</cx:pt>
          <cx:pt idx="70572">3</cx:pt>
          <cx:pt idx="70573">4</cx:pt>
          <cx:pt idx="70574">5</cx:pt>
          <cx:pt idx="70575">1</cx:pt>
          <cx:pt idx="70576">4</cx:pt>
          <cx:pt idx="70577">4</cx:pt>
          <cx:pt idx="70578">4</cx:pt>
          <cx:pt idx="70579">5</cx:pt>
          <cx:pt idx="70580">4</cx:pt>
          <cx:pt idx="70581">5</cx:pt>
          <cx:pt idx="70582">4</cx:pt>
          <cx:pt idx="70583">4</cx:pt>
          <cx:pt idx="70584">4</cx:pt>
          <cx:pt idx="70585">2</cx:pt>
          <cx:pt idx="70586">3</cx:pt>
          <cx:pt idx="70587">4</cx:pt>
          <cx:pt idx="70588">3</cx:pt>
          <cx:pt idx="70589">2</cx:pt>
          <cx:pt idx="70590">2</cx:pt>
          <cx:pt idx="70591">2</cx:pt>
          <cx:pt idx="70592">1</cx:pt>
          <cx:pt idx="70593">4</cx:pt>
          <cx:pt idx="70594">4</cx:pt>
          <cx:pt idx="70595">2</cx:pt>
          <cx:pt idx="70596">2</cx:pt>
          <cx:pt idx="70597">1</cx:pt>
          <cx:pt idx="70598">3</cx:pt>
          <cx:pt idx="70599">3</cx:pt>
          <cx:pt idx="70600">4</cx:pt>
          <cx:pt idx="70601">4</cx:pt>
          <cx:pt idx="70602">5</cx:pt>
          <cx:pt idx="70603">5</cx:pt>
          <cx:pt idx="70604">4</cx:pt>
          <cx:pt idx="70605">4</cx:pt>
          <cx:pt idx="70606">4</cx:pt>
          <cx:pt idx="70607">4</cx:pt>
          <cx:pt idx="70608">3</cx:pt>
          <cx:pt idx="70609">1</cx:pt>
          <cx:pt idx="70610">5</cx:pt>
          <cx:pt idx="70611">5</cx:pt>
          <cx:pt idx="70612">4</cx:pt>
          <cx:pt idx="70613">2</cx:pt>
          <cx:pt idx="70614">4</cx:pt>
          <cx:pt idx="70615">1</cx:pt>
          <cx:pt idx="70616">3</cx:pt>
          <cx:pt idx="70617">5</cx:pt>
          <cx:pt idx="70618">4</cx:pt>
          <cx:pt idx="70619">5</cx:pt>
          <cx:pt idx="70620">5</cx:pt>
          <cx:pt idx="70621">4</cx:pt>
          <cx:pt idx="70622">2</cx:pt>
          <cx:pt idx="70623">5</cx:pt>
          <cx:pt idx="70624">1</cx:pt>
          <cx:pt idx="70625">2</cx:pt>
          <cx:pt idx="70626">5</cx:pt>
          <cx:pt idx="70627">5</cx:pt>
          <cx:pt idx="70628">3</cx:pt>
          <cx:pt idx="70629">1</cx:pt>
          <cx:pt idx="70630">5</cx:pt>
          <cx:pt idx="70631">5</cx:pt>
          <cx:pt idx="70632">4</cx:pt>
          <cx:pt idx="70633">4</cx:pt>
          <cx:pt idx="70634">2</cx:pt>
          <cx:pt idx="70635">2</cx:pt>
          <cx:pt idx="70636">2</cx:pt>
          <cx:pt idx="70637">5</cx:pt>
          <cx:pt idx="70638">4</cx:pt>
          <cx:pt idx="70639">3</cx:pt>
          <cx:pt idx="70640">4</cx:pt>
          <cx:pt idx="70641">5</cx:pt>
          <cx:pt idx="70642">1</cx:pt>
          <cx:pt idx="70643">3</cx:pt>
          <cx:pt idx="70644">5</cx:pt>
          <cx:pt idx="70645">3</cx:pt>
          <cx:pt idx="70646">4</cx:pt>
          <cx:pt idx="70647">4</cx:pt>
          <cx:pt idx="70648">4</cx:pt>
          <cx:pt idx="70649">2</cx:pt>
          <cx:pt idx="70650">3</cx:pt>
          <cx:pt idx="70651">5</cx:pt>
          <cx:pt idx="70652">3</cx:pt>
          <cx:pt idx="70653">3</cx:pt>
          <cx:pt idx="70654">5</cx:pt>
          <cx:pt idx="70655">5</cx:pt>
          <cx:pt idx="70656">3</cx:pt>
          <cx:pt idx="70657">5</cx:pt>
          <cx:pt idx="70658">4</cx:pt>
          <cx:pt idx="70659">4</cx:pt>
          <cx:pt idx="70660">4</cx:pt>
          <cx:pt idx="70661">5</cx:pt>
          <cx:pt idx="70662">2</cx:pt>
          <cx:pt idx="70663">5</cx:pt>
          <cx:pt idx="70664">5</cx:pt>
          <cx:pt idx="70665">1</cx:pt>
          <cx:pt idx="70666">4</cx:pt>
          <cx:pt idx="70667">4</cx:pt>
          <cx:pt idx="70668">5</cx:pt>
          <cx:pt idx="70669">2</cx:pt>
          <cx:pt idx="70670">4</cx:pt>
          <cx:pt idx="70671">3</cx:pt>
          <cx:pt idx="70672">2</cx:pt>
          <cx:pt idx="70673">4</cx:pt>
          <cx:pt idx="70674">1</cx:pt>
          <cx:pt idx="70675">4</cx:pt>
          <cx:pt idx="70676">4</cx:pt>
          <cx:pt idx="70677">1</cx:pt>
          <cx:pt idx="70678">4</cx:pt>
          <cx:pt idx="70679">3</cx:pt>
          <cx:pt idx="70680">1</cx:pt>
          <cx:pt idx="70681">4</cx:pt>
          <cx:pt idx="70682">4</cx:pt>
          <cx:pt idx="70683">4</cx:pt>
          <cx:pt idx="70684">4</cx:pt>
          <cx:pt idx="70685">5</cx:pt>
          <cx:pt idx="70686">3</cx:pt>
          <cx:pt idx="70687">4</cx:pt>
          <cx:pt idx="70688">5</cx:pt>
          <cx:pt idx="70689">4</cx:pt>
          <cx:pt idx="70690">4</cx:pt>
          <cx:pt idx="70691">4</cx:pt>
          <cx:pt idx="70692">4</cx:pt>
          <cx:pt idx="70693">4</cx:pt>
          <cx:pt idx="70694">2</cx:pt>
          <cx:pt idx="70695">2</cx:pt>
          <cx:pt idx="70696">5</cx:pt>
          <cx:pt idx="70697">2</cx:pt>
          <cx:pt idx="70698">2</cx:pt>
          <cx:pt idx="70699">3</cx:pt>
          <cx:pt idx="70700">5</cx:pt>
          <cx:pt idx="70701">4</cx:pt>
          <cx:pt idx="70702">4</cx:pt>
          <cx:pt idx="70703">5</cx:pt>
          <cx:pt idx="70704">5</cx:pt>
          <cx:pt idx="70705">3</cx:pt>
          <cx:pt idx="70706">5</cx:pt>
          <cx:pt idx="70707">4</cx:pt>
          <cx:pt idx="70708">2</cx:pt>
          <cx:pt idx="70709">4</cx:pt>
          <cx:pt idx="70710">5</cx:pt>
          <cx:pt idx="70711">3</cx:pt>
          <cx:pt idx="70712">3</cx:pt>
          <cx:pt idx="70713">3</cx:pt>
          <cx:pt idx="70714">5</cx:pt>
          <cx:pt idx="70715">5</cx:pt>
          <cx:pt idx="70716">2</cx:pt>
          <cx:pt idx="70717">5</cx:pt>
          <cx:pt idx="70718">4</cx:pt>
          <cx:pt idx="70719">4</cx:pt>
          <cx:pt idx="70720">2</cx:pt>
          <cx:pt idx="70721">4</cx:pt>
          <cx:pt idx="70722">5</cx:pt>
          <cx:pt idx="70723">5</cx:pt>
          <cx:pt idx="70724">5</cx:pt>
          <cx:pt idx="70725">2</cx:pt>
          <cx:pt idx="70726">3</cx:pt>
          <cx:pt idx="70727">4</cx:pt>
          <cx:pt idx="70728">3</cx:pt>
          <cx:pt idx="70729">5</cx:pt>
          <cx:pt idx="70730">3</cx:pt>
          <cx:pt idx="70731">2</cx:pt>
          <cx:pt idx="70732">5</cx:pt>
          <cx:pt idx="70733">5</cx:pt>
          <cx:pt idx="70734">2</cx:pt>
          <cx:pt idx="70735">1</cx:pt>
          <cx:pt idx="70736">1</cx:pt>
          <cx:pt idx="70737">2</cx:pt>
          <cx:pt idx="70738">2</cx:pt>
          <cx:pt idx="70739">2</cx:pt>
          <cx:pt idx="70740">3</cx:pt>
          <cx:pt idx="70741">3</cx:pt>
          <cx:pt idx="70742">2</cx:pt>
          <cx:pt idx="70743">5</cx:pt>
          <cx:pt idx="70744">5</cx:pt>
          <cx:pt idx="70745">5</cx:pt>
          <cx:pt idx="70746">4</cx:pt>
          <cx:pt idx="70747">1</cx:pt>
          <cx:pt idx="70748">2</cx:pt>
          <cx:pt idx="70749">4</cx:pt>
          <cx:pt idx="70750">4</cx:pt>
          <cx:pt idx="70751">4</cx:pt>
          <cx:pt idx="70752">5</cx:pt>
          <cx:pt idx="70753">3</cx:pt>
          <cx:pt idx="70754">4</cx:pt>
          <cx:pt idx="70755">3</cx:pt>
          <cx:pt idx="70756">2</cx:pt>
          <cx:pt idx="70757">5</cx:pt>
          <cx:pt idx="70758">2</cx:pt>
          <cx:pt idx="70759">5</cx:pt>
          <cx:pt idx="70760">2</cx:pt>
          <cx:pt idx="70761">2</cx:pt>
          <cx:pt idx="70762">2</cx:pt>
          <cx:pt idx="70763">2</cx:pt>
          <cx:pt idx="70764">1</cx:pt>
          <cx:pt idx="70765">4</cx:pt>
          <cx:pt idx="70766">5</cx:pt>
          <cx:pt idx="70767">4</cx:pt>
          <cx:pt idx="70768">4</cx:pt>
          <cx:pt idx="70769">4</cx:pt>
          <cx:pt idx="70770">4</cx:pt>
          <cx:pt idx="70771">5</cx:pt>
          <cx:pt idx="70772">2</cx:pt>
          <cx:pt idx="70773">1</cx:pt>
          <cx:pt idx="70774">5</cx:pt>
          <cx:pt idx="70775">1</cx:pt>
          <cx:pt idx="70776">4</cx:pt>
          <cx:pt idx="70777">4</cx:pt>
          <cx:pt idx="70778">1</cx:pt>
          <cx:pt idx="70779">4</cx:pt>
          <cx:pt idx="70780">4</cx:pt>
          <cx:pt idx="70781">4</cx:pt>
          <cx:pt idx="70782">4</cx:pt>
          <cx:pt idx="70783">3</cx:pt>
          <cx:pt idx="70784">1</cx:pt>
          <cx:pt idx="70785">3</cx:pt>
          <cx:pt idx="70786">4</cx:pt>
          <cx:pt idx="70787">3</cx:pt>
          <cx:pt idx="70788">5</cx:pt>
          <cx:pt idx="70789">4</cx:pt>
          <cx:pt idx="70790">5</cx:pt>
          <cx:pt idx="70791">2</cx:pt>
          <cx:pt idx="70792">4</cx:pt>
          <cx:pt idx="70793">5</cx:pt>
          <cx:pt idx="70794">2</cx:pt>
          <cx:pt idx="70795">4</cx:pt>
          <cx:pt idx="70796">1</cx:pt>
          <cx:pt idx="70797">5</cx:pt>
          <cx:pt idx="70798">1</cx:pt>
          <cx:pt idx="70799">1</cx:pt>
          <cx:pt idx="70800">4</cx:pt>
          <cx:pt idx="70801">4</cx:pt>
          <cx:pt idx="70802">3</cx:pt>
          <cx:pt idx="70803">5</cx:pt>
          <cx:pt idx="70804">2</cx:pt>
          <cx:pt idx="70805">4</cx:pt>
          <cx:pt idx="70806">2</cx:pt>
          <cx:pt idx="70807">5</cx:pt>
          <cx:pt idx="70808">3</cx:pt>
          <cx:pt idx="70809">5</cx:pt>
          <cx:pt idx="70810">4</cx:pt>
          <cx:pt idx="70811">5</cx:pt>
          <cx:pt idx="70812">4</cx:pt>
          <cx:pt idx="70813">5</cx:pt>
          <cx:pt idx="70814">4</cx:pt>
          <cx:pt idx="70815">5</cx:pt>
          <cx:pt idx="70816">3</cx:pt>
          <cx:pt idx="70817">4</cx:pt>
          <cx:pt idx="70818">4</cx:pt>
          <cx:pt idx="70819">2</cx:pt>
          <cx:pt idx="70820">2</cx:pt>
          <cx:pt idx="70821">3</cx:pt>
          <cx:pt idx="70822">4</cx:pt>
          <cx:pt idx="70823">4</cx:pt>
          <cx:pt idx="70824">3</cx:pt>
          <cx:pt idx="70825">5</cx:pt>
          <cx:pt idx="70826">3</cx:pt>
          <cx:pt idx="70827">3</cx:pt>
          <cx:pt idx="70828">3</cx:pt>
          <cx:pt idx="70829">3</cx:pt>
          <cx:pt idx="70830">3</cx:pt>
          <cx:pt idx="70831">4</cx:pt>
          <cx:pt idx="70832">2</cx:pt>
          <cx:pt idx="70833">1</cx:pt>
          <cx:pt idx="70834">5</cx:pt>
          <cx:pt idx="70835">4</cx:pt>
          <cx:pt idx="70836">4</cx:pt>
          <cx:pt idx="70837">2</cx:pt>
          <cx:pt idx="70838">3</cx:pt>
          <cx:pt idx="70839">3</cx:pt>
          <cx:pt idx="70840">4</cx:pt>
          <cx:pt idx="70841">4</cx:pt>
          <cx:pt idx="70842">5</cx:pt>
          <cx:pt idx="70843">5</cx:pt>
          <cx:pt idx="70844">5</cx:pt>
          <cx:pt idx="70845">4</cx:pt>
          <cx:pt idx="70846">3</cx:pt>
          <cx:pt idx="70847">1</cx:pt>
          <cx:pt idx="70848">5</cx:pt>
          <cx:pt idx="70849">2</cx:pt>
          <cx:pt idx="70850">4</cx:pt>
          <cx:pt idx="70851">3</cx:pt>
          <cx:pt idx="70852">5</cx:pt>
          <cx:pt idx="70853">2</cx:pt>
          <cx:pt idx="70854">5</cx:pt>
          <cx:pt idx="70855">3</cx:pt>
          <cx:pt idx="70856">5</cx:pt>
          <cx:pt idx="70857">4</cx:pt>
          <cx:pt idx="70858">3</cx:pt>
          <cx:pt idx="70859">4</cx:pt>
          <cx:pt idx="70860">2</cx:pt>
          <cx:pt idx="70861">3</cx:pt>
          <cx:pt idx="70862">4</cx:pt>
          <cx:pt idx="70863">1</cx:pt>
          <cx:pt idx="70864">1</cx:pt>
          <cx:pt idx="70865">1</cx:pt>
          <cx:pt idx="70866">3</cx:pt>
          <cx:pt idx="70867">5</cx:pt>
          <cx:pt idx="70868">2</cx:pt>
          <cx:pt idx="70869">2</cx:pt>
          <cx:pt idx="70870">5</cx:pt>
          <cx:pt idx="70871">2</cx:pt>
          <cx:pt idx="70872">5</cx:pt>
          <cx:pt idx="70873">4</cx:pt>
          <cx:pt idx="70874">4</cx:pt>
          <cx:pt idx="70875">5</cx:pt>
          <cx:pt idx="70876">5</cx:pt>
          <cx:pt idx="70877">2</cx:pt>
          <cx:pt idx="70878">1</cx:pt>
          <cx:pt idx="70879">5</cx:pt>
          <cx:pt idx="70880">2</cx:pt>
          <cx:pt idx="70881">2</cx:pt>
          <cx:pt idx="70882">4</cx:pt>
          <cx:pt idx="70883">4</cx:pt>
          <cx:pt idx="70884">4</cx:pt>
          <cx:pt idx="70885">2</cx:pt>
          <cx:pt idx="70886">2</cx:pt>
          <cx:pt idx="70887">1</cx:pt>
          <cx:pt idx="70888">4</cx:pt>
          <cx:pt idx="70889">4</cx:pt>
          <cx:pt idx="70890">4</cx:pt>
          <cx:pt idx="70891">4</cx:pt>
          <cx:pt idx="70892">4</cx:pt>
          <cx:pt idx="70893">3</cx:pt>
          <cx:pt idx="70894">2</cx:pt>
          <cx:pt idx="70895">3</cx:pt>
          <cx:pt idx="70896">5</cx:pt>
          <cx:pt idx="70897">4</cx:pt>
          <cx:pt idx="70898">3</cx:pt>
          <cx:pt idx="70899">5</cx:pt>
          <cx:pt idx="70900">4</cx:pt>
          <cx:pt idx="70901">5</cx:pt>
          <cx:pt idx="70902">3</cx:pt>
          <cx:pt idx="70903">5</cx:pt>
          <cx:pt idx="70904">4</cx:pt>
          <cx:pt idx="70905">3</cx:pt>
          <cx:pt idx="70906">1</cx:pt>
          <cx:pt idx="70907">4</cx:pt>
          <cx:pt idx="70908">4</cx:pt>
          <cx:pt idx="70909">5</cx:pt>
          <cx:pt idx="70910">3</cx:pt>
          <cx:pt idx="70911">2</cx:pt>
          <cx:pt idx="70912">5</cx:pt>
          <cx:pt idx="70913">2</cx:pt>
          <cx:pt idx="70914">3</cx:pt>
          <cx:pt idx="70915">3</cx:pt>
          <cx:pt idx="70916">3</cx:pt>
          <cx:pt idx="70917">1</cx:pt>
          <cx:pt idx="70918">1</cx:pt>
          <cx:pt idx="70919">4</cx:pt>
          <cx:pt idx="70920">3</cx:pt>
          <cx:pt idx="70921">5</cx:pt>
          <cx:pt idx="70922">4</cx:pt>
          <cx:pt idx="70923">4</cx:pt>
          <cx:pt idx="70924">5</cx:pt>
          <cx:pt idx="70925">2</cx:pt>
          <cx:pt idx="70926">5</cx:pt>
          <cx:pt idx="70927">1</cx:pt>
          <cx:pt idx="70928">5</cx:pt>
          <cx:pt idx="70929">1</cx:pt>
          <cx:pt idx="70930">5</cx:pt>
          <cx:pt idx="70931">4</cx:pt>
          <cx:pt idx="70932">2</cx:pt>
          <cx:pt idx="70933">3</cx:pt>
          <cx:pt idx="70934">4</cx:pt>
          <cx:pt idx="70935">3</cx:pt>
          <cx:pt idx="70936">3</cx:pt>
          <cx:pt idx="70937">5</cx:pt>
          <cx:pt idx="70938">4</cx:pt>
          <cx:pt idx="70939">5</cx:pt>
          <cx:pt idx="70940">4</cx:pt>
          <cx:pt idx="70941">4</cx:pt>
          <cx:pt idx="70942">4</cx:pt>
          <cx:pt idx="70943">3</cx:pt>
          <cx:pt idx="70944">4</cx:pt>
          <cx:pt idx="70945">4</cx:pt>
          <cx:pt idx="70946">3</cx:pt>
          <cx:pt idx="70947">4</cx:pt>
          <cx:pt idx="70948">4</cx:pt>
          <cx:pt idx="70949">4</cx:pt>
          <cx:pt idx="70950">3</cx:pt>
          <cx:pt idx="70951">4</cx:pt>
          <cx:pt idx="70952">2</cx:pt>
          <cx:pt idx="70953">1</cx:pt>
          <cx:pt idx="70954">3</cx:pt>
          <cx:pt idx="70955">3</cx:pt>
          <cx:pt idx="70956">1</cx:pt>
          <cx:pt idx="70957">3</cx:pt>
          <cx:pt idx="70958">4</cx:pt>
          <cx:pt idx="70959">2</cx:pt>
          <cx:pt idx="70960">1</cx:pt>
          <cx:pt idx="70961">3</cx:pt>
          <cx:pt idx="70962">4</cx:pt>
          <cx:pt idx="70963">5</cx:pt>
          <cx:pt idx="70964">4</cx:pt>
          <cx:pt idx="70965">1</cx:pt>
          <cx:pt idx="70966">4</cx:pt>
          <cx:pt idx="70967">4</cx:pt>
          <cx:pt idx="70968">4</cx:pt>
          <cx:pt idx="70969">4</cx:pt>
          <cx:pt idx="70970">5</cx:pt>
          <cx:pt idx="70971">4</cx:pt>
          <cx:pt idx="70972">3</cx:pt>
          <cx:pt idx="70973">4</cx:pt>
          <cx:pt idx="70974">2</cx:pt>
          <cx:pt idx="70975">5</cx:pt>
          <cx:pt idx="70976">4</cx:pt>
          <cx:pt idx="70977">4</cx:pt>
          <cx:pt idx="70978">5</cx:pt>
          <cx:pt idx="70979">2</cx:pt>
          <cx:pt idx="70980">5</cx:pt>
          <cx:pt idx="70981">2</cx:pt>
          <cx:pt idx="70982">4</cx:pt>
          <cx:pt idx="70983">5</cx:pt>
          <cx:pt idx="70984">5</cx:pt>
          <cx:pt idx="70985">3</cx:pt>
          <cx:pt idx="70986">3</cx:pt>
          <cx:pt idx="70987">5</cx:pt>
          <cx:pt idx="70988">3</cx:pt>
          <cx:pt idx="70989">4</cx:pt>
          <cx:pt idx="70990">3</cx:pt>
          <cx:pt idx="70991">5</cx:pt>
          <cx:pt idx="70992">3</cx:pt>
          <cx:pt idx="70993">5</cx:pt>
          <cx:pt idx="70994">2</cx:pt>
          <cx:pt idx="70995">3</cx:pt>
          <cx:pt idx="70996">1</cx:pt>
          <cx:pt idx="70997">4</cx:pt>
          <cx:pt idx="70998">5</cx:pt>
          <cx:pt idx="70999">1</cx:pt>
          <cx:pt idx="71000">4</cx:pt>
          <cx:pt idx="71001">4</cx:pt>
          <cx:pt idx="71002">2</cx:pt>
          <cx:pt idx="71003">4</cx:pt>
          <cx:pt idx="71004">4</cx:pt>
          <cx:pt idx="71005">4</cx:pt>
          <cx:pt idx="71006">3</cx:pt>
          <cx:pt idx="71007">5</cx:pt>
          <cx:pt idx="71008">4</cx:pt>
          <cx:pt idx="71009">2</cx:pt>
          <cx:pt idx="71010">4</cx:pt>
          <cx:pt idx="71011">5</cx:pt>
          <cx:pt idx="71012">4</cx:pt>
          <cx:pt idx="71013">4</cx:pt>
          <cx:pt idx="71014">1</cx:pt>
          <cx:pt idx="71015">3</cx:pt>
          <cx:pt idx="71016">4</cx:pt>
          <cx:pt idx="71017">4</cx:pt>
          <cx:pt idx="71018">5</cx:pt>
          <cx:pt idx="71019">3</cx:pt>
          <cx:pt idx="71020">5</cx:pt>
          <cx:pt idx="71021">2</cx:pt>
          <cx:pt idx="71022">5</cx:pt>
          <cx:pt idx="71023">5</cx:pt>
          <cx:pt idx="71024">4</cx:pt>
          <cx:pt idx="71025">5</cx:pt>
          <cx:pt idx="71026">4</cx:pt>
          <cx:pt idx="71027">4</cx:pt>
          <cx:pt idx="71028">5</cx:pt>
          <cx:pt idx="71029">1</cx:pt>
          <cx:pt idx="71030">4</cx:pt>
          <cx:pt idx="71031">5</cx:pt>
          <cx:pt idx="71032">2</cx:pt>
          <cx:pt idx="71033">2</cx:pt>
          <cx:pt idx="71034">3</cx:pt>
          <cx:pt idx="71035">3</cx:pt>
          <cx:pt idx="71036">4</cx:pt>
          <cx:pt idx="71037">1</cx:pt>
          <cx:pt idx="71038">2</cx:pt>
          <cx:pt idx="71039">4</cx:pt>
          <cx:pt idx="71040">3</cx:pt>
          <cx:pt idx="71041">4</cx:pt>
          <cx:pt idx="71042">5</cx:pt>
          <cx:pt idx="71043">2</cx:pt>
          <cx:pt idx="71044">3</cx:pt>
          <cx:pt idx="71045">5</cx:pt>
          <cx:pt idx="71046">2</cx:pt>
          <cx:pt idx="71047">4</cx:pt>
          <cx:pt idx="71048">5</cx:pt>
          <cx:pt idx="71049">3</cx:pt>
          <cx:pt idx="71050">4</cx:pt>
          <cx:pt idx="71051">5</cx:pt>
          <cx:pt idx="71052">5</cx:pt>
          <cx:pt idx="71053">5</cx:pt>
          <cx:pt idx="71054">4</cx:pt>
          <cx:pt idx="71055">5</cx:pt>
          <cx:pt idx="71056">2</cx:pt>
          <cx:pt idx="71057">4</cx:pt>
          <cx:pt idx="71058">3</cx:pt>
          <cx:pt idx="71059">4</cx:pt>
          <cx:pt idx="71060">2</cx:pt>
          <cx:pt idx="71061">3</cx:pt>
          <cx:pt idx="71062">4</cx:pt>
          <cx:pt idx="71063">1</cx:pt>
          <cx:pt idx="71064">3</cx:pt>
          <cx:pt idx="71065">5</cx:pt>
          <cx:pt idx="71066">2</cx:pt>
          <cx:pt idx="71067">4</cx:pt>
          <cx:pt idx="71068">2</cx:pt>
          <cx:pt idx="71069">5</cx:pt>
          <cx:pt idx="71070">4</cx:pt>
          <cx:pt idx="71071">5</cx:pt>
          <cx:pt idx="71072">3</cx:pt>
          <cx:pt idx="71073">4</cx:pt>
          <cx:pt idx="71074">5</cx:pt>
          <cx:pt idx="71075">1</cx:pt>
          <cx:pt idx="71076">4</cx:pt>
          <cx:pt idx="71077">1</cx:pt>
          <cx:pt idx="71078">4</cx:pt>
          <cx:pt idx="71079">5</cx:pt>
          <cx:pt idx="71080">2</cx:pt>
          <cx:pt idx="71081">1</cx:pt>
          <cx:pt idx="71082">1</cx:pt>
          <cx:pt idx="71083">4</cx:pt>
          <cx:pt idx="71084">2</cx:pt>
          <cx:pt idx="71085">3</cx:pt>
          <cx:pt idx="71086">5</cx:pt>
          <cx:pt idx="71087">3</cx:pt>
          <cx:pt idx="71088">2</cx:pt>
          <cx:pt idx="71089">5</cx:pt>
          <cx:pt idx="71090">3</cx:pt>
          <cx:pt idx="71091">4</cx:pt>
          <cx:pt idx="71092">4</cx:pt>
          <cx:pt idx="71093">5</cx:pt>
          <cx:pt idx="71094">5</cx:pt>
          <cx:pt idx="71095">4</cx:pt>
          <cx:pt idx="71096">4</cx:pt>
          <cx:pt idx="71097">3</cx:pt>
          <cx:pt idx="71098">1</cx:pt>
          <cx:pt idx="71099">4</cx:pt>
          <cx:pt idx="71100">2</cx:pt>
          <cx:pt idx="71101">1</cx:pt>
          <cx:pt idx="71102">5</cx:pt>
          <cx:pt idx="71103">3</cx:pt>
          <cx:pt idx="71104">5</cx:pt>
          <cx:pt idx="71105">5</cx:pt>
          <cx:pt idx="71106">3</cx:pt>
          <cx:pt idx="71107">3</cx:pt>
          <cx:pt idx="71108">5</cx:pt>
          <cx:pt idx="71109">3</cx:pt>
          <cx:pt idx="71110">4</cx:pt>
          <cx:pt idx="71111">3</cx:pt>
          <cx:pt idx="71112">4</cx:pt>
          <cx:pt idx="71113">4</cx:pt>
          <cx:pt idx="71114">4</cx:pt>
          <cx:pt idx="71115">2</cx:pt>
          <cx:pt idx="71116">5</cx:pt>
          <cx:pt idx="71117">2</cx:pt>
          <cx:pt idx="71118">5</cx:pt>
          <cx:pt idx="71119">3</cx:pt>
          <cx:pt idx="71120">1</cx:pt>
          <cx:pt idx="71121">2</cx:pt>
          <cx:pt idx="71122">2</cx:pt>
          <cx:pt idx="71123">4</cx:pt>
          <cx:pt idx="71124">3</cx:pt>
          <cx:pt idx="71125">1</cx:pt>
          <cx:pt idx="71126">5</cx:pt>
          <cx:pt idx="71127">2</cx:pt>
          <cx:pt idx="71128">4</cx:pt>
          <cx:pt idx="71129">4</cx:pt>
          <cx:pt idx="71130">4</cx:pt>
          <cx:pt idx="71131">3</cx:pt>
          <cx:pt idx="71132">4</cx:pt>
          <cx:pt idx="71133">4</cx:pt>
          <cx:pt idx="71134">3</cx:pt>
          <cx:pt idx="71135">5</cx:pt>
          <cx:pt idx="71136">1</cx:pt>
          <cx:pt idx="71137">1</cx:pt>
          <cx:pt idx="71138">3</cx:pt>
          <cx:pt idx="71139">2</cx:pt>
          <cx:pt idx="71140">4</cx:pt>
          <cx:pt idx="71141">4</cx:pt>
          <cx:pt idx="71142">4</cx:pt>
          <cx:pt idx="71143">5</cx:pt>
          <cx:pt idx="71144">3</cx:pt>
          <cx:pt idx="71145">2</cx:pt>
          <cx:pt idx="71146">3</cx:pt>
          <cx:pt idx="71147">3</cx:pt>
          <cx:pt idx="71148">5</cx:pt>
          <cx:pt idx="71149">5</cx:pt>
          <cx:pt idx="71150">4</cx:pt>
          <cx:pt idx="71151">5</cx:pt>
          <cx:pt idx="71152">1</cx:pt>
          <cx:pt idx="71153">4</cx:pt>
          <cx:pt idx="71154">2</cx:pt>
          <cx:pt idx="71155">5</cx:pt>
          <cx:pt idx="71156">5</cx:pt>
          <cx:pt idx="71157">3</cx:pt>
          <cx:pt idx="71158">1</cx:pt>
          <cx:pt idx="71159">5</cx:pt>
          <cx:pt idx="71160">5</cx:pt>
          <cx:pt idx="71161">4</cx:pt>
          <cx:pt idx="71162">4</cx:pt>
          <cx:pt idx="71163">4</cx:pt>
          <cx:pt idx="71164">4</cx:pt>
          <cx:pt idx="71165">3</cx:pt>
          <cx:pt idx="71166">4</cx:pt>
          <cx:pt idx="71167">4</cx:pt>
          <cx:pt idx="71168">4</cx:pt>
          <cx:pt idx="71169">5</cx:pt>
          <cx:pt idx="71170">1</cx:pt>
          <cx:pt idx="71171">4</cx:pt>
          <cx:pt idx="71172">4</cx:pt>
          <cx:pt idx="71173">1</cx:pt>
          <cx:pt idx="71174">5</cx:pt>
          <cx:pt idx="71175">1</cx:pt>
          <cx:pt idx="71176">4</cx:pt>
          <cx:pt idx="71177">5</cx:pt>
          <cx:pt idx="71178">4</cx:pt>
          <cx:pt idx="71179">3</cx:pt>
          <cx:pt idx="71180">3</cx:pt>
          <cx:pt idx="71181">5</cx:pt>
          <cx:pt idx="71182">5</cx:pt>
          <cx:pt idx="71183">2</cx:pt>
          <cx:pt idx="71184">5</cx:pt>
          <cx:pt idx="71185">4</cx:pt>
          <cx:pt idx="71186">5</cx:pt>
          <cx:pt idx="71187">4</cx:pt>
          <cx:pt idx="71188">4</cx:pt>
          <cx:pt idx="71189">4</cx:pt>
          <cx:pt idx="71190">2</cx:pt>
          <cx:pt idx="71191">3</cx:pt>
          <cx:pt idx="71192">2</cx:pt>
          <cx:pt idx="71193">2</cx:pt>
          <cx:pt idx="71194">4</cx:pt>
          <cx:pt idx="71195">5</cx:pt>
          <cx:pt idx="71196">4</cx:pt>
          <cx:pt idx="71197">2</cx:pt>
          <cx:pt idx="71198">2</cx:pt>
          <cx:pt idx="71199">3</cx:pt>
          <cx:pt idx="71200">1</cx:pt>
          <cx:pt idx="71201">3</cx:pt>
          <cx:pt idx="71202">4</cx:pt>
          <cx:pt idx="71203">4</cx:pt>
          <cx:pt idx="71204">3</cx:pt>
          <cx:pt idx="71205">5</cx:pt>
          <cx:pt idx="71206">4</cx:pt>
          <cx:pt idx="71207">1</cx:pt>
          <cx:pt idx="71208">3</cx:pt>
          <cx:pt idx="71209">4</cx:pt>
          <cx:pt idx="71210">5</cx:pt>
          <cx:pt idx="71211">4</cx:pt>
          <cx:pt idx="71212">3</cx:pt>
          <cx:pt idx="71213">4</cx:pt>
          <cx:pt idx="71214">1</cx:pt>
          <cx:pt idx="71215">4</cx:pt>
          <cx:pt idx="71216">1</cx:pt>
          <cx:pt idx="71217">5</cx:pt>
          <cx:pt idx="71218">4</cx:pt>
          <cx:pt idx="71219">3</cx:pt>
          <cx:pt idx="71220">5</cx:pt>
          <cx:pt idx="71221">5</cx:pt>
          <cx:pt idx="71222">3</cx:pt>
          <cx:pt idx="71223">5</cx:pt>
          <cx:pt idx="71224">5</cx:pt>
          <cx:pt idx="71225">5</cx:pt>
          <cx:pt idx="71226">5</cx:pt>
          <cx:pt idx="71227">4</cx:pt>
          <cx:pt idx="71228">5</cx:pt>
          <cx:pt idx="71229">2</cx:pt>
          <cx:pt idx="71230">5</cx:pt>
          <cx:pt idx="71231">3</cx:pt>
          <cx:pt idx="71232">5</cx:pt>
          <cx:pt idx="71233">5</cx:pt>
          <cx:pt idx="71234">4</cx:pt>
          <cx:pt idx="71235">3</cx:pt>
          <cx:pt idx="71236">4</cx:pt>
          <cx:pt idx="71237">1</cx:pt>
          <cx:pt idx="71238">4</cx:pt>
          <cx:pt idx="71239">4</cx:pt>
          <cx:pt idx="71240">4</cx:pt>
          <cx:pt idx="71241">5</cx:pt>
          <cx:pt idx="71242">3</cx:pt>
          <cx:pt idx="71243">4</cx:pt>
          <cx:pt idx="71244">4</cx:pt>
          <cx:pt idx="71245">4</cx:pt>
          <cx:pt idx="71246">4</cx:pt>
          <cx:pt idx="71247">5</cx:pt>
          <cx:pt idx="71248">4</cx:pt>
          <cx:pt idx="71249">2</cx:pt>
          <cx:pt idx="71250">4</cx:pt>
          <cx:pt idx="71251">4</cx:pt>
          <cx:pt idx="71252">3</cx:pt>
          <cx:pt idx="71253">4</cx:pt>
          <cx:pt idx="71254">1</cx:pt>
          <cx:pt idx="71255">4</cx:pt>
          <cx:pt idx="71256">2</cx:pt>
          <cx:pt idx="71257">2</cx:pt>
          <cx:pt idx="71258">4</cx:pt>
          <cx:pt idx="71259">3</cx:pt>
          <cx:pt idx="71260">5</cx:pt>
          <cx:pt idx="71261">5</cx:pt>
          <cx:pt idx="71262">2</cx:pt>
          <cx:pt idx="71263">3</cx:pt>
          <cx:pt idx="71264">5</cx:pt>
          <cx:pt idx="71265">4</cx:pt>
          <cx:pt idx="71266">4</cx:pt>
          <cx:pt idx="71267">2</cx:pt>
          <cx:pt idx="71268">2</cx:pt>
          <cx:pt idx="71269">4</cx:pt>
          <cx:pt idx="71270">2</cx:pt>
          <cx:pt idx="71271">5</cx:pt>
          <cx:pt idx="71272">5</cx:pt>
          <cx:pt idx="71273">2</cx:pt>
          <cx:pt idx="71274">4</cx:pt>
          <cx:pt idx="71275">4</cx:pt>
          <cx:pt idx="71276">1</cx:pt>
          <cx:pt idx="71277">2</cx:pt>
          <cx:pt idx="71278">4</cx:pt>
          <cx:pt idx="71279">5</cx:pt>
          <cx:pt idx="71280">5</cx:pt>
          <cx:pt idx="71281">1</cx:pt>
          <cx:pt idx="71282">4</cx:pt>
          <cx:pt idx="71283">2</cx:pt>
          <cx:pt idx="71284">4</cx:pt>
          <cx:pt idx="71285">1</cx:pt>
          <cx:pt idx="71286">2</cx:pt>
          <cx:pt idx="71287">5</cx:pt>
          <cx:pt idx="71288">2</cx:pt>
          <cx:pt idx="71289">3</cx:pt>
          <cx:pt idx="71290">5</cx:pt>
          <cx:pt idx="71291">5</cx:pt>
          <cx:pt idx="71292">2</cx:pt>
          <cx:pt idx="71293">5</cx:pt>
          <cx:pt idx="71294">4</cx:pt>
          <cx:pt idx="71295">3</cx:pt>
          <cx:pt idx="71296">2</cx:pt>
          <cx:pt idx="71297">4</cx:pt>
          <cx:pt idx="71298">4</cx:pt>
          <cx:pt idx="71299">4</cx:pt>
          <cx:pt idx="71300">2</cx:pt>
          <cx:pt idx="71301">5</cx:pt>
          <cx:pt idx="71302">5</cx:pt>
          <cx:pt idx="71303">4</cx:pt>
          <cx:pt idx="71304">5</cx:pt>
          <cx:pt idx="71305">5</cx:pt>
          <cx:pt idx="71306">5</cx:pt>
          <cx:pt idx="71307">5</cx:pt>
          <cx:pt idx="71308">1</cx:pt>
          <cx:pt idx="71309">5</cx:pt>
          <cx:pt idx="71310">4</cx:pt>
          <cx:pt idx="71311">5</cx:pt>
          <cx:pt idx="71312">3</cx:pt>
          <cx:pt idx="71313">1</cx:pt>
          <cx:pt idx="71314">4</cx:pt>
          <cx:pt idx="71315">4</cx:pt>
          <cx:pt idx="71316">2</cx:pt>
          <cx:pt idx="71317">3</cx:pt>
          <cx:pt idx="71318">4</cx:pt>
          <cx:pt idx="71319">3</cx:pt>
          <cx:pt idx="71320">4</cx:pt>
          <cx:pt idx="71321">5</cx:pt>
          <cx:pt idx="71322">5</cx:pt>
          <cx:pt idx="71323">2</cx:pt>
          <cx:pt idx="71324">2</cx:pt>
          <cx:pt idx="71325">5</cx:pt>
          <cx:pt idx="71326">3</cx:pt>
          <cx:pt idx="71327">2</cx:pt>
          <cx:pt idx="71328">3</cx:pt>
          <cx:pt idx="71329">2</cx:pt>
          <cx:pt idx="71330">4</cx:pt>
          <cx:pt idx="71331">5</cx:pt>
          <cx:pt idx="71332">3</cx:pt>
          <cx:pt idx="71333">3</cx:pt>
          <cx:pt idx="71334">4</cx:pt>
          <cx:pt idx="71335">3</cx:pt>
          <cx:pt idx="71336">5</cx:pt>
          <cx:pt idx="71337">2</cx:pt>
          <cx:pt idx="71338">4</cx:pt>
          <cx:pt idx="71339">2</cx:pt>
          <cx:pt idx="71340">2</cx:pt>
          <cx:pt idx="71341">1</cx:pt>
          <cx:pt idx="71342">5</cx:pt>
          <cx:pt idx="71343">2</cx:pt>
          <cx:pt idx="71344">5</cx:pt>
          <cx:pt idx="71345">4</cx:pt>
          <cx:pt idx="71346">4</cx:pt>
          <cx:pt idx="71347">5</cx:pt>
          <cx:pt idx="71348">1</cx:pt>
          <cx:pt idx="71349">2</cx:pt>
          <cx:pt idx="71350">5</cx:pt>
          <cx:pt idx="71351">2</cx:pt>
          <cx:pt idx="71352">4</cx:pt>
          <cx:pt idx="71353">3</cx:pt>
          <cx:pt idx="71354">1</cx:pt>
          <cx:pt idx="71355">5</cx:pt>
          <cx:pt idx="71356">5</cx:pt>
          <cx:pt idx="71357">4</cx:pt>
          <cx:pt idx="71358">4</cx:pt>
          <cx:pt idx="71359">2</cx:pt>
          <cx:pt idx="71360">1</cx:pt>
          <cx:pt idx="71361">4</cx:pt>
          <cx:pt idx="71362">3</cx:pt>
          <cx:pt idx="71363">2</cx:pt>
          <cx:pt idx="71364">3</cx:pt>
          <cx:pt idx="71365">5</cx:pt>
          <cx:pt idx="71366">4</cx:pt>
          <cx:pt idx="71367">1</cx:pt>
          <cx:pt idx="71368">5</cx:pt>
          <cx:pt idx="71369">4</cx:pt>
          <cx:pt idx="71370">4</cx:pt>
          <cx:pt idx="71371">3</cx:pt>
          <cx:pt idx="71372">4</cx:pt>
          <cx:pt idx="71373">5</cx:pt>
          <cx:pt idx="71374">1</cx:pt>
          <cx:pt idx="71375">3</cx:pt>
          <cx:pt idx="71376">4</cx:pt>
          <cx:pt idx="71377">4</cx:pt>
          <cx:pt idx="71378">5</cx:pt>
          <cx:pt idx="71379">5</cx:pt>
          <cx:pt idx="71380">1</cx:pt>
          <cx:pt idx="71381">5</cx:pt>
          <cx:pt idx="71382">5</cx:pt>
          <cx:pt idx="71383">4</cx:pt>
          <cx:pt idx="71384">5</cx:pt>
          <cx:pt idx="71385">3</cx:pt>
          <cx:pt idx="71386">3</cx:pt>
          <cx:pt idx="71387">5</cx:pt>
          <cx:pt idx="71388">4</cx:pt>
          <cx:pt idx="71389">1</cx:pt>
          <cx:pt idx="71390">5</cx:pt>
          <cx:pt idx="71391">2</cx:pt>
          <cx:pt idx="71392">2</cx:pt>
          <cx:pt idx="71393">5</cx:pt>
          <cx:pt idx="71394">2</cx:pt>
          <cx:pt idx="71395">5</cx:pt>
          <cx:pt idx="71396">4</cx:pt>
          <cx:pt idx="71397">1</cx:pt>
          <cx:pt idx="71398">5</cx:pt>
          <cx:pt idx="71399">4</cx:pt>
          <cx:pt idx="71400">5</cx:pt>
          <cx:pt idx="71401">2</cx:pt>
          <cx:pt idx="71402">4</cx:pt>
          <cx:pt idx="71403">4</cx:pt>
          <cx:pt idx="71404">2</cx:pt>
          <cx:pt idx="71405">3</cx:pt>
          <cx:pt idx="71406">2</cx:pt>
          <cx:pt idx="71407">5</cx:pt>
          <cx:pt idx="71408">4</cx:pt>
          <cx:pt idx="71409">1</cx:pt>
          <cx:pt idx="71410">5</cx:pt>
          <cx:pt idx="71411">5</cx:pt>
          <cx:pt idx="71412">4</cx:pt>
          <cx:pt idx="71413">4</cx:pt>
          <cx:pt idx="71414">2</cx:pt>
          <cx:pt idx="71415">4</cx:pt>
          <cx:pt idx="71416">5</cx:pt>
          <cx:pt idx="71417">5</cx:pt>
          <cx:pt idx="71418">1</cx:pt>
          <cx:pt idx="71419">1</cx:pt>
          <cx:pt idx="71420">2</cx:pt>
          <cx:pt idx="71421">5</cx:pt>
          <cx:pt idx="71422">4</cx:pt>
          <cx:pt idx="71423">4</cx:pt>
          <cx:pt idx="71424">5</cx:pt>
          <cx:pt idx="71425">2</cx:pt>
          <cx:pt idx="71426">2</cx:pt>
          <cx:pt idx="71427">5</cx:pt>
          <cx:pt idx="71428">5</cx:pt>
          <cx:pt idx="71429">4</cx:pt>
          <cx:pt idx="71430">5</cx:pt>
          <cx:pt idx="71431">3</cx:pt>
          <cx:pt idx="71432">1</cx:pt>
          <cx:pt idx="71433">4</cx:pt>
          <cx:pt idx="71434">2</cx:pt>
          <cx:pt idx="71435">4</cx:pt>
          <cx:pt idx="71436">3</cx:pt>
          <cx:pt idx="71437">2</cx:pt>
          <cx:pt idx="71438">4</cx:pt>
          <cx:pt idx="71439">3</cx:pt>
          <cx:pt idx="71440">4</cx:pt>
          <cx:pt idx="71441">4</cx:pt>
          <cx:pt idx="71442">3</cx:pt>
          <cx:pt idx="71443">2</cx:pt>
          <cx:pt idx="71444">4</cx:pt>
          <cx:pt idx="71445">4</cx:pt>
          <cx:pt idx="71446">4</cx:pt>
          <cx:pt idx="71447">5</cx:pt>
          <cx:pt idx="71448">5</cx:pt>
          <cx:pt idx="71449">3</cx:pt>
          <cx:pt idx="71450">4</cx:pt>
          <cx:pt idx="71451">5</cx:pt>
          <cx:pt idx="71452">1</cx:pt>
          <cx:pt idx="71453">5</cx:pt>
          <cx:pt idx="71454">4</cx:pt>
          <cx:pt idx="71455">4</cx:pt>
          <cx:pt idx="71456">3</cx:pt>
          <cx:pt idx="71457">5</cx:pt>
          <cx:pt idx="71458">2</cx:pt>
          <cx:pt idx="71459">1</cx:pt>
          <cx:pt idx="71460">4</cx:pt>
          <cx:pt idx="71461">4</cx:pt>
          <cx:pt idx="71462">3</cx:pt>
          <cx:pt idx="71463">2</cx:pt>
          <cx:pt idx="71464">4</cx:pt>
          <cx:pt idx="71465">3</cx:pt>
          <cx:pt idx="71466">5</cx:pt>
          <cx:pt idx="71467">4</cx:pt>
          <cx:pt idx="71468">5</cx:pt>
          <cx:pt idx="71469">2</cx:pt>
          <cx:pt idx="71470">5</cx:pt>
          <cx:pt idx="71471">5</cx:pt>
          <cx:pt idx="71472">2</cx:pt>
          <cx:pt idx="71473">4</cx:pt>
          <cx:pt idx="71474">3</cx:pt>
          <cx:pt idx="71475">5</cx:pt>
          <cx:pt idx="71476">3</cx:pt>
          <cx:pt idx="71477">2</cx:pt>
          <cx:pt idx="71478">2</cx:pt>
          <cx:pt idx="71479">1</cx:pt>
          <cx:pt idx="71480">4</cx:pt>
          <cx:pt idx="71481">3</cx:pt>
          <cx:pt idx="71482">4</cx:pt>
          <cx:pt idx="71483">2</cx:pt>
          <cx:pt idx="71484">2</cx:pt>
          <cx:pt idx="71485">1</cx:pt>
          <cx:pt idx="71486">2</cx:pt>
          <cx:pt idx="71487">4</cx:pt>
          <cx:pt idx="71488">4</cx:pt>
          <cx:pt idx="71489">4</cx:pt>
          <cx:pt idx="71490">4</cx:pt>
          <cx:pt idx="71491">5</cx:pt>
          <cx:pt idx="71492">4</cx:pt>
          <cx:pt idx="71493">4</cx:pt>
          <cx:pt idx="71494">5</cx:pt>
          <cx:pt idx="71495">3</cx:pt>
          <cx:pt idx="71496">5</cx:pt>
          <cx:pt idx="71497">4</cx:pt>
          <cx:pt idx="71498">3</cx:pt>
          <cx:pt idx="71499">3</cx:pt>
          <cx:pt idx="71500">3</cx:pt>
          <cx:pt idx="71501">5</cx:pt>
          <cx:pt idx="71502">1</cx:pt>
          <cx:pt idx="71503">1</cx:pt>
          <cx:pt idx="71504">5</cx:pt>
          <cx:pt idx="71505">4</cx:pt>
          <cx:pt idx="71506">4</cx:pt>
          <cx:pt idx="71507">5</cx:pt>
          <cx:pt idx="71508">4</cx:pt>
          <cx:pt idx="71509">5</cx:pt>
          <cx:pt idx="71510">4</cx:pt>
          <cx:pt idx="71511">2</cx:pt>
          <cx:pt idx="71512">4</cx:pt>
          <cx:pt idx="71513">5</cx:pt>
          <cx:pt idx="71514">1</cx:pt>
          <cx:pt idx="71515">3</cx:pt>
          <cx:pt idx="71516">3</cx:pt>
          <cx:pt idx="71517">5</cx:pt>
          <cx:pt idx="71518">2</cx:pt>
          <cx:pt idx="71519">2</cx:pt>
          <cx:pt idx="71520">4</cx:pt>
          <cx:pt idx="71521">4</cx:pt>
          <cx:pt idx="71522">1</cx:pt>
          <cx:pt idx="71523">2</cx:pt>
          <cx:pt idx="71524">1</cx:pt>
          <cx:pt idx="71525">5</cx:pt>
          <cx:pt idx="71526">3</cx:pt>
          <cx:pt idx="71527">2</cx:pt>
          <cx:pt idx="71528">4</cx:pt>
          <cx:pt idx="71529">4</cx:pt>
          <cx:pt idx="71530">2</cx:pt>
          <cx:pt idx="71531">5</cx:pt>
          <cx:pt idx="71532">5</cx:pt>
          <cx:pt idx="71533">5</cx:pt>
          <cx:pt idx="71534">3</cx:pt>
          <cx:pt idx="71535">4</cx:pt>
          <cx:pt idx="71536">5</cx:pt>
          <cx:pt idx="71537">4</cx:pt>
          <cx:pt idx="71538">3</cx:pt>
          <cx:pt idx="71539">5</cx:pt>
          <cx:pt idx="71540">2</cx:pt>
          <cx:pt idx="71541">3</cx:pt>
          <cx:pt idx="71542">2</cx:pt>
          <cx:pt idx="71543">5</cx:pt>
          <cx:pt idx="71544">5</cx:pt>
          <cx:pt idx="71545">5</cx:pt>
          <cx:pt idx="71546">5</cx:pt>
          <cx:pt idx="71547">4</cx:pt>
          <cx:pt idx="71548">2</cx:pt>
          <cx:pt idx="71549">3</cx:pt>
          <cx:pt idx="71550">3</cx:pt>
          <cx:pt idx="71551">3</cx:pt>
          <cx:pt idx="71552">4</cx:pt>
          <cx:pt idx="71553">4</cx:pt>
          <cx:pt idx="71554">3</cx:pt>
          <cx:pt idx="71555">1</cx:pt>
          <cx:pt idx="71556">4</cx:pt>
          <cx:pt idx="71557">3</cx:pt>
          <cx:pt idx="71558">2</cx:pt>
          <cx:pt idx="71559">4</cx:pt>
          <cx:pt idx="71560">5</cx:pt>
          <cx:pt idx="71561">2</cx:pt>
          <cx:pt idx="71562">3</cx:pt>
          <cx:pt idx="71563">5</cx:pt>
          <cx:pt idx="71564">5</cx:pt>
          <cx:pt idx="71565">4</cx:pt>
          <cx:pt idx="71566">4</cx:pt>
          <cx:pt idx="71567">4</cx:pt>
          <cx:pt idx="71568">4</cx:pt>
          <cx:pt idx="71569">5</cx:pt>
          <cx:pt idx="71570">4</cx:pt>
          <cx:pt idx="71571">5</cx:pt>
          <cx:pt idx="71572">3</cx:pt>
          <cx:pt idx="71573">5</cx:pt>
          <cx:pt idx="71574">1</cx:pt>
          <cx:pt idx="71575">4</cx:pt>
          <cx:pt idx="71576">4</cx:pt>
          <cx:pt idx="71577">1</cx:pt>
          <cx:pt idx="71578">5</cx:pt>
          <cx:pt idx="71579">3</cx:pt>
          <cx:pt idx="71580">3</cx:pt>
          <cx:pt idx="71581">5</cx:pt>
          <cx:pt idx="71582">5</cx:pt>
          <cx:pt idx="71583">4</cx:pt>
          <cx:pt idx="71584">5</cx:pt>
          <cx:pt idx="71585">1</cx:pt>
          <cx:pt idx="71586">3</cx:pt>
          <cx:pt idx="71587">5</cx:pt>
          <cx:pt idx="71588">5</cx:pt>
          <cx:pt idx="71589">3</cx:pt>
          <cx:pt idx="71590">3</cx:pt>
          <cx:pt idx="71591">3</cx:pt>
          <cx:pt idx="71592">2</cx:pt>
          <cx:pt idx="71593">3</cx:pt>
          <cx:pt idx="71594">4</cx:pt>
          <cx:pt idx="71595">2</cx:pt>
          <cx:pt idx="71596">2</cx:pt>
          <cx:pt idx="71597">5</cx:pt>
          <cx:pt idx="71598">5</cx:pt>
          <cx:pt idx="71599">4</cx:pt>
          <cx:pt idx="71600">3</cx:pt>
          <cx:pt idx="71601">1</cx:pt>
          <cx:pt idx="71602">2</cx:pt>
          <cx:pt idx="71603">2</cx:pt>
          <cx:pt idx="71604">3</cx:pt>
          <cx:pt idx="71605">5</cx:pt>
          <cx:pt idx="71606">1</cx:pt>
          <cx:pt idx="71607">3</cx:pt>
          <cx:pt idx="71608">4</cx:pt>
          <cx:pt idx="71609">5</cx:pt>
          <cx:pt idx="71610">5</cx:pt>
          <cx:pt idx="71611">4</cx:pt>
          <cx:pt idx="71612">4</cx:pt>
          <cx:pt idx="71613">2</cx:pt>
          <cx:pt idx="71614">5</cx:pt>
          <cx:pt idx="71615">3</cx:pt>
          <cx:pt idx="71616">5</cx:pt>
          <cx:pt idx="71617">2</cx:pt>
          <cx:pt idx="71618">4</cx:pt>
          <cx:pt idx="71619">3</cx:pt>
          <cx:pt idx="71620">3</cx:pt>
          <cx:pt idx="71621">5</cx:pt>
          <cx:pt idx="71622">4</cx:pt>
          <cx:pt idx="71623">3</cx:pt>
          <cx:pt idx="71624">4</cx:pt>
          <cx:pt idx="71625">4</cx:pt>
          <cx:pt idx="71626">5</cx:pt>
          <cx:pt idx="71627">4</cx:pt>
          <cx:pt idx="71628">4</cx:pt>
          <cx:pt idx="71629">5</cx:pt>
          <cx:pt idx="71630">4</cx:pt>
          <cx:pt idx="71631">1</cx:pt>
          <cx:pt idx="71632">4</cx:pt>
          <cx:pt idx="71633">5</cx:pt>
          <cx:pt idx="71634">5</cx:pt>
          <cx:pt idx="71635">4</cx:pt>
          <cx:pt idx="71636">4</cx:pt>
          <cx:pt idx="71637">2</cx:pt>
          <cx:pt idx="71638">1</cx:pt>
          <cx:pt idx="71639">4</cx:pt>
          <cx:pt idx="71640">5</cx:pt>
          <cx:pt idx="71641">4</cx:pt>
          <cx:pt idx="71642">4</cx:pt>
          <cx:pt idx="71643">5</cx:pt>
          <cx:pt idx="71644">5</cx:pt>
          <cx:pt idx="71645">5</cx:pt>
          <cx:pt idx="71646">5</cx:pt>
          <cx:pt idx="71647">5</cx:pt>
          <cx:pt idx="71648">4</cx:pt>
          <cx:pt idx="71649">1</cx:pt>
          <cx:pt idx="71650">4</cx:pt>
          <cx:pt idx="71651">5</cx:pt>
          <cx:pt idx="71652">5</cx:pt>
          <cx:pt idx="71653">4</cx:pt>
          <cx:pt idx="71654">4</cx:pt>
          <cx:pt idx="71655">2</cx:pt>
          <cx:pt idx="71656">5</cx:pt>
          <cx:pt idx="71657">5</cx:pt>
          <cx:pt idx="71658">4</cx:pt>
          <cx:pt idx="71659">1</cx:pt>
          <cx:pt idx="71660">4</cx:pt>
          <cx:pt idx="71661">1</cx:pt>
          <cx:pt idx="71662">1</cx:pt>
          <cx:pt idx="71663">1</cx:pt>
          <cx:pt idx="71664">3</cx:pt>
          <cx:pt idx="71665">4</cx:pt>
          <cx:pt idx="71666">4</cx:pt>
          <cx:pt idx="71667">2</cx:pt>
          <cx:pt idx="71668">5</cx:pt>
          <cx:pt idx="71669">5</cx:pt>
          <cx:pt idx="71670">2</cx:pt>
          <cx:pt idx="71671">1</cx:pt>
          <cx:pt idx="71672">3</cx:pt>
          <cx:pt idx="71673">2</cx:pt>
          <cx:pt idx="71674">4</cx:pt>
          <cx:pt idx="71675">1</cx:pt>
          <cx:pt idx="71676">5</cx:pt>
          <cx:pt idx="71677">4</cx:pt>
          <cx:pt idx="71678">5</cx:pt>
          <cx:pt idx="71679">2</cx:pt>
          <cx:pt idx="71680">1</cx:pt>
          <cx:pt idx="71681">4</cx:pt>
          <cx:pt idx="71682">5</cx:pt>
          <cx:pt idx="71683">4</cx:pt>
          <cx:pt idx="71684">3</cx:pt>
          <cx:pt idx="71685">1</cx:pt>
          <cx:pt idx="71686">3</cx:pt>
          <cx:pt idx="71687">5</cx:pt>
          <cx:pt idx="71688">1</cx:pt>
          <cx:pt idx="71689">5</cx:pt>
          <cx:pt idx="71690">2</cx:pt>
          <cx:pt idx="71691">4</cx:pt>
          <cx:pt idx="71692">1</cx:pt>
          <cx:pt idx="71693">2</cx:pt>
          <cx:pt idx="71694">3</cx:pt>
          <cx:pt idx="71695">1</cx:pt>
          <cx:pt idx="71696">2</cx:pt>
          <cx:pt idx="71697">2</cx:pt>
          <cx:pt idx="71698">2</cx:pt>
          <cx:pt idx="71699">3</cx:pt>
          <cx:pt idx="71700">1</cx:pt>
          <cx:pt idx="71701">4</cx:pt>
          <cx:pt idx="71702">2</cx:pt>
          <cx:pt idx="71703">5</cx:pt>
          <cx:pt idx="71704">4</cx:pt>
          <cx:pt idx="71705">4</cx:pt>
          <cx:pt idx="71706">4</cx:pt>
          <cx:pt idx="71707">1</cx:pt>
          <cx:pt idx="71708">4</cx:pt>
          <cx:pt idx="71709">1</cx:pt>
          <cx:pt idx="71710">5</cx:pt>
          <cx:pt idx="71711">3</cx:pt>
          <cx:pt idx="71712">4</cx:pt>
          <cx:pt idx="71713">5</cx:pt>
          <cx:pt idx="71714">5</cx:pt>
          <cx:pt idx="71715">4</cx:pt>
          <cx:pt idx="71716">4</cx:pt>
          <cx:pt idx="71717">4</cx:pt>
          <cx:pt idx="71718">5</cx:pt>
          <cx:pt idx="71719">4</cx:pt>
          <cx:pt idx="71720">3</cx:pt>
          <cx:pt idx="71721">2</cx:pt>
          <cx:pt idx="71722">4</cx:pt>
          <cx:pt idx="71723">3</cx:pt>
          <cx:pt idx="71724">5</cx:pt>
          <cx:pt idx="71725">4</cx:pt>
          <cx:pt idx="71726">5</cx:pt>
          <cx:pt idx="71727">5</cx:pt>
          <cx:pt idx="71728">2</cx:pt>
          <cx:pt idx="71729">2</cx:pt>
          <cx:pt idx="71730">1</cx:pt>
          <cx:pt idx="71731">5</cx:pt>
          <cx:pt idx="71732">4</cx:pt>
          <cx:pt idx="71733">1</cx:pt>
          <cx:pt idx="71734">3</cx:pt>
          <cx:pt idx="71735">2</cx:pt>
          <cx:pt idx="71736">4</cx:pt>
          <cx:pt idx="71737">3</cx:pt>
          <cx:pt idx="71738">4</cx:pt>
          <cx:pt idx="71739">5</cx:pt>
          <cx:pt idx="71740">5</cx:pt>
          <cx:pt idx="71741">4</cx:pt>
          <cx:pt idx="71742">4</cx:pt>
          <cx:pt idx="71743">4</cx:pt>
          <cx:pt idx="71744">5</cx:pt>
          <cx:pt idx="71745">4</cx:pt>
          <cx:pt idx="71746">5</cx:pt>
          <cx:pt idx="71747">2</cx:pt>
          <cx:pt idx="71748">3</cx:pt>
          <cx:pt idx="71749">4</cx:pt>
          <cx:pt idx="71750">5</cx:pt>
          <cx:pt idx="71751">1</cx:pt>
          <cx:pt idx="71752">4</cx:pt>
          <cx:pt idx="71753">1</cx:pt>
          <cx:pt idx="71754">2</cx:pt>
          <cx:pt idx="71755">5</cx:pt>
          <cx:pt idx="71756">5</cx:pt>
          <cx:pt idx="71757">2</cx:pt>
          <cx:pt idx="71758">4</cx:pt>
          <cx:pt idx="71759">1</cx:pt>
          <cx:pt idx="71760">4</cx:pt>
          <cx:pt idx="71761">2</cx:pt>
          <cx:pt idx="71762">5</cx:pt>
          <cx:pt idx="71763">4</cx:pt>
          <cx:pt idx="71764">5</cx:pt>
          <cx:pt idx="71765">4</cx:pt>
          <cx:pt idx="71766">4</cx:pt>
          <cx:pt idx="71767">4</cx:pt>
          <cx:pt idx="71768">4</cx:pt>
          <cx:pt idx="71769">3</cx:pt>
          <cx:pt idx="71770">4</cx:pt>
          <cx:pt idx="71771">5</cx:pt>
          <cx:pt idx="71772">4</cx:pt>
          <cx:pt idx="71773">4</cx:pt>
          <cx:pt idx="71774">1</cx:pt>
          <cx:pt idx="71775">1</cx:pt>
          <cx:pt idx="71776">5</cx:pt>
          <cx:pt idx="71777">3</cx:pt>
          <cx:pt idx="71778">2</cx:pt>
          <cx:pt idx="71779">3</cx:pt>
          <cx:pt idx="71780">2</cx:pt>
          <cx:pt idx="71781">4</cx:pt>
          <cx:pt idx="71782">2</cx:pt>
          <cx:pt idx="71783">3</cx:pt>
          <cx:pt idx="71784">5</cx:pt>
          <cx:pt idx="71785">2</cx:pt>
          <cx:pt idx="71786">3</cx:pt>
          <cx:pt idx="71787">4</cx:pt>
          <cx:pt idx="71788">4</cx:pt>
          <cx:pt idx="71789">1</cx:pt>
          <cx:pt idx="71790">2</cx:pt>
          <cx:pt idx="71791">1</cx:pt>
          <cx:pt idx="71792">2</cx:pt>
          <cx:pt idx="71793">2</cx:pt>
          <cx:pt idx="71794">4</cx:pt>
          <cx:pt idx="71795">4</cx:pt>
          <cx:pt idx="71796">2</cx:pt>
          <cx:pt idx="71797">2</cx:pt>
          <cx:pt idx="71798">4</cx:pt>
          <cx:pt idx="71799">3</cx:pt>
          <cx:pt idx="71800">4</cx:pt>
          <cx:pt idx="71801">1</cx:pt>
          <cx:pt idx="71802">5</cx:pt>
          <cx:pt idx="71803">2</cx:pt>
          <cx:pt idx="71804">4</cx:pt>
          <cx:pt idx="71805">5</cx:pt>
          <cx:pt idx="71806">5</cx:pt>
          <cx:pt idx="71807">1</cx:pt>
          <cx:pt idx="71808">2</cx:pt>
          <cx:pt idx="71809">5</cx:pt>
          <cx:pt idx="71810">2</cx:pt>
          <cx:pt idx="71811">5</cx:pt>
          <cx:pt idx="71812">1</cx:pt>
          <cx:pt idx="71813">3</cx:pt>
          <cx:pt idx="71814">2</cx:pt>
          <cx:pt idx="71815">2</cx:pt>
          <cx:pt idx="71816">4</cx:pt>
          <cx:pt idx="71817">4</cx:pt>
          <cx:pt idx="71818">5</cx:pt>
          <cx:pt idx="71819">4</cx:pt>
          <cx:pt idx="71820">3</cx:pt>
          <cx:pt idx="71821">4</cx:pt>
          <cx:pt idx="71822">5</cx:pt>
          <cx:pt idx="71823">3</cx:pt>
          <cx:pt idx="71824">2</cx:pt>
          <cx:pt idx="71825">1</cx:pt>
          <cx:pt idx="71826">1</cx:pt>
          <cx:pt idx="71827">5</cx:pt>
          <cx:pt idx="71828">4</cx:pt>
          <cx:pt idx="71829">5</cx:pt>
          <cx:pt idx="71830">4</cx:pt>
          <cx:pt idx="71831">4</cx:pt>
          <cx:pt idx="71832">4</cx:pt>
          <cx:pt idx="71833">4</cx:pt>
          <cx:pt idx="71834">5</cx:pt>
          <cx:pt idx="71835">2</cx:pt>
          <cx:pt idx="71836">4</cx:pt>
          <cx:pt idx="71837">1</cx:pt>
          <cx:pt idx="71838">4</cx:pt>
          <cx:pt idx="71839">4</cx:pt>
          <cx:pt idx="71840">1</cx:pt>
          <cx:pt idx="71841">1</cx:pt>
          <cx:pt idx="71842">2</cx:pt>
          <cx:pt idx="71843">4</cx:pt>
          <cx:pt idx="71844">5</cx:pt>
          <cx:pt idx="71845">2</cx:pt>
          <cx:pt idx="71846">5</cx:pt>
          <cx:pt idx="71847">4</cx:pt>
          <cx:pt idx="71848">4</cx:pt>
          <cx:pt idx="71849">3</cx:pt>
          <cx:pt idx="71850">5</cx:pt>
          <cx:pt idx="71851">4</cx:pt>
          <cx:pt idx="71852">3</cx:pt>
          <cx:pt idx="71853">3</cx:pt>
          <cx:pt idx="71854">4</cx:pt>
          <cx:pt idx="71855">4</cx:pt>
          <cx:pt idx="71856">4</cx:pt>
          <cx:pt idx="71857">4</cx:pt>
          <cx:pt idx="71858">3</cx:pt>
          <cx:pt idx="71859">2</cx:pt>
          <cx:pt idx="71860">5</cx:pt>
          <cx:pt idx="71861">5</cx:pt>
          <cx:pt idx="71862">1</cx:pt>
          <cx:pt idx="71863">4</cx:pt>
          <cx:pt idx="71864">5</cx:pt>
          <cx:pt idx="71865">1</cx:pt>
          <cx:pt idx="71866">4</cx:pt>
          <cx:pt idx="71867">2</cx:pt>
          <cx:pt idx="71868">5</cx:pt>
          <cx:pt idx="71869">4</cx:pt>
          <cx:pt idx="71870">1</cx:pt>
          <cx:pt idx="71871">5</cx:pt>
          <cx:pt idx="71872">4</cx:pt>
          <cx:pt idx="71873">4</cx:pt>
          <cx:pt idx="71874">3</cx:pt>
          <cx:pt idx="71875">5</cx:pt>
          <cx:pt idx="71876">3</cx:pt>
          <cx:pt idx="71877">1</cx:pt>
          <cx:pt idx="71878">3</cx:pt>
          <cx:pt idx="71879">5</cx:pt>
          <cx:pt idx="71880">4</cx:pt>
          <cx:pt idx="71881">4</cx:pt>
          <cx:pt idx="71882">5</cx:pt>
          <cx:pt idx="71883">4</cx:pt>
          <cx:pt idx="71884">4</cx:pt>
          <cx:pt idx="71885">4</cx:pt>
          <cx:pt idx="71886">4</cx:pt>
          <cx:pt idx="71887">2</cx:pt>
          <cx:pt idx="71888">4</cx:pt>
          <cx:pt idx="71889">5</cx:pt>
          <cx:pt idx="71890">2</cx:pt>
          <cx:pt idx="71891">3</cx:pt>
          <cx:pt idx="71892">2</cx:pt>
          <cx:pt idx="71893">4</cx:pt>
          <cx:pt idx="71894">1</cx:pt>
          <cx:pt idx="71895">1</cx:pt>
          <cx:pt idx="71896">5</cx:pt>
          <cx:pt idx="71897">2</cx:pt>
          <cx:pt idx="71898">5</cx:pt>
          <cx:pt idx="71899">4</cx:pt>
          <cx:pt idx="71900">4</cx:pt>
          <cx:pt idx="71901">1</cx:pt>
          <cx:pt idx="71902">2</cx:pt>
          <cx:pt idx="71903">3</cx:pt>
          <cx:pt idx="71904">5</cx:pt>
          <cx:pt idx="71905">2</cx:pt>
          <cx:pt idx="71906">4</cx:pt>
          <cx:pt idx="71907">5</cx:pt>
          <cx:pt idx="71908">4</cx:pt>
          <cx:pt idx="71909">1</cx:pt>
          <cx:pt idx="71910">5</cx:pt>
          <cx:pt idx="71911">4</cx:pt>
          <cx:pt idx="71912">3</cx:pt>
          <cx:pt idx="71913">5</cx:pt>
          <cx:pt idx="71914">2</cx:pt>
          <cx:pt idx="71915">2</cx:pt>
          <cx:pt idx="71916">1</cx:pt>
          <cx:pt idx="71917">5</cx:pt>
          <cx:pt idx="71918">2</cx:pt>
          <cx:pt idx="71919">2</cx:pt>
          <cx:pt idx="71920">4</cx:pt>
          <cx:pt idx="71921">4</cx:pt>
          <cx:pt idx="71922">2</cx:pt>
          <cx:pt idx="71923">5</cx:pt>
          <cx:pt idx="71924">3</cx:pt>
          <cx:pt idx="71925">5</cx:pt>
          <cx:pt idx="71926">2</cx:pt>
          <cx:pt idx="71927">5</cx:pt>
          <cx:pt idx="71928">4</cx:pt>
          <cx:pt idx="71929">4</cx:pt>
          <cx:pt idx="71930">4</cx:pt>
          <cx:pt idx="71931">4</cx:pt>
          <cx:pt idx="71932">2</cx:pt>
          <cx:pt idx="71933">4</cx:pt>
          <cx:pt idx="71934">4</cx:pt>
          <cx:pt idx="71935">5</cx:pt>
          <cx:pt idx="71936">4</cx:pt>
          <cx:pt idx="71937">2</cx:pt>
          <cx:pt idx="71938">2</cx:pt>
          <cx:pt idx="71939">3</cx:pt>
          <cx:pt idx="71940">3</cx:pt>
          <cx:pt idx="71941">3</cx:pt>
          <cx:pt idx="71942">1</cx:pt>
          <cx:pt idx="71943">5</cx:pt>
          <cx:pt idx="71944">4</cx:pt>
          <cx:pt idx="71945">1</cx:pt>
          <cx:pt idx="71946">2</cx:pt>
          <cx:pt idx="71947">4</cx:pt>
          <cx:pt idx="71948">2</cx:pt>
          <cx:pt idx="71949">2</cx:pt>
          <cx:pt idx="71950">4</cx:pt>
          <cx:pt idx="71951">4</cx:pt>
          <cx:pt idx="71952">3</cx:pt>
          <cx:pt idx="71953">1</cx:pt>
          <cx:pt idx="71954">2</cx:pt>
          <cx:pt idx="71955">1</cx:pt>
          <cx:pt idx="71956">5</cx:pt>
          <cx:pt idx="71957">2</cx:pt>
          <cx:pt idx="71958">5</cx:pt>
          <cx:pt idx="71959">1</cx:pt>
          <cx:pt idx="71960">4</cx:pt>
          <cx:pt idx="71961">4</cx:pt>
          <cx:pt idx="71962">4</cx:pt>
          <cx:pt idx="71963">3</cx:pt>
          <cx:pt idx="71964">2</cx:pt>
          <cx:pt idx="71965">4</cx:pt>
          <cx:pt idx="71966">4</cx:pt>
          <cx:pt idx="71967">3</cx:pt>
          <cx:pt idx="71968">3</cx:pt>
          <cx:pt idx="71969">5</cx:pt>
          <cx:pt idx="71970">5</cx:pt>
          <cx:pt idx="71971">5</cx:pt>
          <cx:pt idx="71972">4</cx:pt>
          <cx:pt idx="71973">1</cx:pt>
          <cx:pt idx="71974">4</cx:pt>
          <cx:pt idx="71975">4</cx:pt>
          <cx:pt idx="71976">4</cx:pt>
          <cx:pt idx="71977">5</cx:pt>
          <cx:pt idx="71978">2</cx:pt>
          <cx:pt idx="71979">5</cx:pt>
          <cx:pt idx="71980">4</cx:pt>
          <cx:pt idx="71981">3</cx:pt>
          <cx:pt idx="71982">3</cx:pt>
          <cx:pt idx="71983">4</cx:pt>
          <cx:pt idx="71984">1</cx:pt>
          <cx:pt idx="71985">4</cx:pt>
          <cx:pt idx="71986">4</cx:pt>
          <cx:pt idx="71987">2</cx:pt>
          <cx:pt idx="71988">1</cx:pt>
          <cx:pt idx="71989">5</cx:pt>
          <cx:pt idx="71990">4</cx:pt>
          <cx:pt idx="71991">3</cx:pt>
          <cx:pt idx="71992">5</cx:pt>
          <cx:pt idx="71993">2</cx:pt>
          <cx:pt idx="71994">2</cx:pt>
          <cx:pt idx="71995">4</cx:pt>
          <cx:pt idx="71996">4</cx:pt>
          <cx:pt idx="71997">5</cx:pt>
          <cx:pt idx="71998">3</cx:pt>
          <cx:pt idx="71999">5</cx:pt>
          <cx:pt idx="72000">2</cx:pt>
          <cx:pt idx="72001">5</cx:pt>
          <cx:pt idx="72002">5</cx:pt>
          <cx:pt idx="72003">4</cx:pt>
          <cx:pt idx="72004">2</cx:pt>
          <cx:pt idx="72005">4</cx:pt>
          <cx:pt idx="72006">4</cx:pt>
          <cx:pt idx="72007">2</cx:pt>
          <cx:pt idx="72008">4</cx:pt>
          <cx:pt idx="72009">4</cx:pt>
          <cx:pt idx="72010">5</cx:pt>
          <cx:pt idx="72011">1</cx:pt>
          <cx:pt idx="72012">5</cx:pt>
          <cx:pt idx="72013">4</cx:pt>
          <cx:pt idx="72014">4</cx:pt>
          <cx:pt idx="72015">5</cx:pt>
          <cx:pt idx="72016">5</cx:pt>
          <cx:pt idx="72017">4</cx:pt>
          <cx:pt idx="72018">2</cx:pt>
          <cx:pt idx="72019">5</cx:pt>
          <cx:pt idx="72020">1</cx:pt>
          <cx:pt idx="72021">1</cx:pt>
          <cx:pt idx="72022">3</cx:pt>
          <cx:pt idx="72023">5</cx:pt>
          <cx:pt idx="72024">2</cx:pt>
          <cx:pt idx="72025">3</cx:pt>
          <cx:pt idx="72026">1</cx:pt>
          <cx:pt idx="72027">3</cx:pt>
          <cx:pt idx="72028">5</cx:pt>
          <cx:pt idx="72029">5</cx:pt>
          <cx:pt idx="72030">1</cx:pt>
          <cx:pt idx="72031">1</cx:pt>
          <cx:pt idx="72032">3</cx:pt>
          <cx:pt idx="72033">4</cx:pt>
          <cx:pt idx="72034">2</cx:pt>
          <cx:pt idx="72035">2</cx:pt>
          <cx:pt idx="72036">3</cx:pt>
          <cx:pt idx="72037">1</cx:pt>
          <cx:pt idx="72038">1</cx:pt>
          <cx:pt idx="72039">3</cx:pt>
          <cx:pt idx="72040">5</cx:pt>
          <cx:pt idx="72041">2</cx:pt>
          <cx:pt idx="72042">3</cx:pt>
          <cx:pt idx="72043">4</cx:pt>
          <cx:pt idx="72044">5</cx:pt>
          <cx:pt idx="72045">5</cx:pt>
          <cx:pt idx="72046">3</cx:pt>
          <cx:pt idx="72047">5</cx:pt>
          <cx:pt idx="72048">3</cx:pt>
          <cx:pt idx="72049">1</cx:pt>
          <cx:pt idx="72050">4</cx:pt>
          <cx:pt idx="72051">5</cx:pt>
          <cx:pt idx="72052">3</cx:pt>
          <cx:pt idx="72053">4</cx:pt>
          <cx:pt idx="72054">5</cx:pt>
          <cx:pt idx="72055">2</cx:pt>
          <cx:pt idx="72056">1</cx:pt>
          <cx:pt idx="72057">4</cx:pt>
          <cx:pt idx="72058">5</cx:pt>
          <cx:pt idx="72059">4</cx:pt>
          <cx:pt idx="72060">5</cx:pt>
          <cx:pt idx="72061">2</cx:pt>
          <cx:pt idx="72062">2</cx:pt>
          <cx:pt idx="72063">2</cx:pt>
          <cx:pt idx="72064">4</cx:pt>
          <cx:pt idx="72065">4</cx:pt>
          <cx:pt idx="72066">3</cx:pt>
          <cx:pt idx="72067">2</cx:pt>
          <cx:pt idx="72068">5</cx:pt>
          <cx:pt idx="72069">1</cx:pt>
          <cx:pt idx="72070">2</cx:pt>
          <cx:pt idx="72071">5</cx:pt>
          <cx:pt idx="72072">3</cx:pt>
          <cx:pt idx="72073">3</cx:pt>
          <cx:pt idx="72074">5</cx:pt>
          <cx:pt idx="72075">5</cx:pt>
          <cx:pt idx="72076">4</cx:pt>
          <cx:pt idx="72077">5</cx:pt>
          <cx:pt idx="72078">2</cx:pt>
          <cx:pt idx="72079">5</cx:pt>
          <cx:pt idx="72080">3</cx:pt>
          <cx:pt idx="72081">3</cx:pt>
          <cx:pt idx="72082">5</cx:pt>
          <cx:pt idx="72083">3</cx:pt>
          <cx:pt idx="72084">4</cx:pt>
          <cx:pt idx="72085">4</cx:pt>
          <cx:pt idx="72086">3</cx:pt>
          <cx:pt idx="72087">4</cx:pt>
          <cx:pt idx="72088">3</cx:pt>
          <cx:pt idx="72089">1</cx:pt>
          <cx:pt idx="72090">5</cx:pt>
          <cx:pt idx="72091">3</cx:pt>
          <cx:pt idx="72092">2</cx:pt>
          <cx:pt idx="72093">3</cx:pt>
          <cx:pt idx="72094">4</cx:pt>
          <cx:pt idx="72095">1</cx:pt>
          <cx:pt idx="72096">3</cx:pt>
          <cx:pt idx="72097">2</cx:pt>
          <cx:pt idx="72098">4</cx:pt>
          <cx:pt idx="72099">4</cx:pt>
          <cx:pt idx="72100">3</cx:pt>
          <cx:pt idx="72101">5</cx:pt>
          <cx:pt idx="72102">4</cx:pt>
          <cx:pt idx="72103">5</cx:pt>
          <cx:pt idx="72104">3</cx:pt>
          <cx:pt idx="72105">4</cx:pt>
          <cx:pt idx="72106">4</cx:pt>
          <cx:pt idx="72107">3</cx:pt>
          <cx:pt idx="72108">4</cx:pt>
          <cx:pt idx="72109">3</cx:pt>
          <cx:pt idx="72110">5</cx:pt>
          <cx:pt idx="72111">4</cx:pt>
          <cx:pt idx="72112">2</cx:pt>
          <cx:pt idx="72113">3</cx:pt>
          <cx:pt idx="72114">5</cx:pt>
          <cx:pt idx="72115">4</cx:pt>
          <cx:pt idx="72116">5</cx:pt>
          <cx:pt idx="72117">4</cx:pt>
          <cx:pt idx="72118">2</cx:pt>
          <cx:pt idx="72119">4</cx:pt>
          <cx:pt idx="72120">4</cx:pt>
          <cx:pt idx="72121">5</cx:pt>
          <cx:pt idx="72122">1</cx:pt>
          <cx:pt idx="72123">2</cx:pt>
          <cx:pt idx="72124">5</cx:pt>
          <cx:pt idx="72125">2</cx:pt>
          <cx:pt idx="72126">4</cx:pt>
          <cx:pt idx="72127">4</cx:pt>
          <cx:pt idx="72128">2</cx:pt>
          <cx:pt idx="72129">1</cx:pt>
          <cx:pt idx="72130">1</cx:pt>
          <cx:pt idx="72131">2</cx:pt>
          <cx:pt idx="72132">4</cx:pt>
          <cx:pt idx="72133">3</cx:pt>
          <cx:pt idx="72134">2</cx:pt>
          <cx:pt idx="72135">2</cx:pt>
          <cx:pt idx="72136">5</cx:pt>
          <cx:pt idx="72137">5</cx:pt>
          <cx:pt idx="72138">2</cx:pt>
          <cx:pt idx="72139">5</cx:pt>
          <cx:pt idx="72140">5</cx:pt>
          <cx:pt idx="72141">4</cx:pt>
          <cx:pt idx="72142">4</cx:pt>
          <cx:pt idx="72143">4</cx:pt>
          <cx:pt idx="72144">5</cx:pt>
          <cx:pt idx="72145">4</cx:pt>
          <cx:pt idx="72146">4</cx:pt>
          <cx:pt idx="72147">3</cx:pt>
          <cx:pt idx="72148">1</cx:pt>
          <cx:pt idx="72149">2</cx:pt>
          <cx:pt idx="72150">5</cx:pt>
          <cx:pt idx="72151">5</cx:pt>
          <cx:pt idx="72152">3</cx:pt>
          <cx:pt idx="72153">4</cx:pt>
          <cx:pt idx="72154">3</cx:pt>
          <cx:pt idx="72155">4</cx:pt>
          <cx:pt idx="72156">5</cx:pt>
          <cx:pt idx="72157">1</cx:pt>
          <cx:pt idx="72158">4</cx:pt>
          <cx:pt idx="72159">3</cx:pt>
          <cx:pt idx="72160">2</cx:pt>
          <cx:pt idx="72161">5</cx:pt>
          <cx:pt idx="72162">2</cx:pt>
          <cx:pt idx="72163">2</cx:pt>
          <cx:pt idx="72164">2</cx:pt>
          <cx:pt idx="72165">4</cx:pt>
          <cx:pt idx="72166">2</cx:pt>
          <cx:pt idx="72167">5</cx:pt>
          <cx:pt idx="72168">4</cx:pt>
          <cx:pt idx="72169">3</cx:pt>
          <cx:pt idx="72170">4</cx:pt>
          <cx:pt idx="72171">3</cx:pt>
          <cx:pt idx="72172">2</cx:pt>
          <cx:pt idx="72173">4</cx:pt>
          <cx:pt idx="72174">2</cx:pt>
          <cx:pt idx="72175">4</cx:pt>
          <cx:pt idx="72176">5</cx:pt>
          <cx:pt idx="72177">4</cx:pt>
          <cx:pt idx="72178">3</cx:pt>
          <cx:pt idx="72179">1</cx:pt>
          <cx:pt idx="72180">4</cx:pt>
          <cx:pt idx="72181">5</cx:pt>
          <cx:pt idx="72182">1</cx:pt>
          <cx:pt idx="72183">4</cx:pt>
          <cx:pt idx="72184">5</cx:pt>
          <cx:pt idx="72185">4</cx:pt>
          <cx:pt idx="72186">2</cx:pt>
          <cx:pt idx="72187">3</cx:pt>
          <cx:pt idx="72188">4</cx:pt>
          <cx:pt idx="72189">3</cx:pt>
          <cx:pt idx="72190">5</cx:pt>
          <cx:pt idx="72191">4</cx:pt>
          <cx:pt idx="72192">5</cx:pt>
          <cx:pt idx="72193">1</cx:pt>
          <cx:pt idx="72194">3</cx:pt>
          <cx:pt idx="72195">2</cx:pt>
          <cx:pt idx="72196">4</cx:pt>
          <cx:pt idx="72197">3</cx:pt>
          <cx:pt idx="72198">3</cx:pt>
          <cx:pt idx="72199">5</cx:pt>
          <cx:pt idx="72200">1</cx:pt>
          <cx:pt idx="72201">5</cx:pt>
          <cx:pt idx="72202">2</cx:pt>
          <cx:pt idx="72203">5</cx:pt>
          <cx:pt idx="72204">4</cx:pt>
          <cx:pt idx="72205">2</cx:pt>
          <cx:pt idx="72206">1</cx:pt>
          <cx:pt idx="72207">4</cx:pt>
          <cx:pt idx="72208">4</cx:pt>
          <cx:pt idx="72209">1</cx:pt>
          <cx:pt idx="72210">5</cx:pt>
          <cx:pt idx="72211">5</cx:pt>
          <cx:pt idx="72212">4</cx:pt>
          <cx:pt idx="72213">5</cx:pt>
          <cx:pt idx="72214">4</cx:pt>
          <cx:pt idx="72215">4</cx:pt>
          <cx:pt idx="72216">4</cx:pt>
          <cx:pt idx="72217">5</cx:pt>
          <cx:pt idx="72218">5</cx:pt>
          <cx:pt idx="72219">1</cx:pt>
          <cx:pt idx="72220">3</cx:pt>
          <cx:pt idx="72221">4</cx:pt>
          <cx:pt idx="72222">1</cx:pt>
          <cx:pt idx="72223">4</cx:pt>
          <cx:pt idx="72224">4</cx:pt>
          <cx:pt idx="72225">2</cx:pt>
          <cx:pt idx="72226">4</cx:pt>
          <cx:pt idx="72227">2</cx:pt>
          <cx:pt idx="72228">3</cx:pt>
          <cx:pt idx="72229">4</cx:pt>
          <cx:pt idx="72230">4</cx:pt>
          <cx:pt idx="72231">4</cx:pt>
          <cx:pt idx="72232">3</cx:pt>
          <cx:pt idx="72233">4</cx:pt>
          <cx:pt idx="72234">4</cx:pt>
          <cx:pt idx="72235">2</cx:pt>
          <cx:pt idx="72236">4</cx:pt>
          <cx:pt idx="72237">4</cx:pt>
          <cx:pt idx="72238">4</cx:pt>
          <cx:pt idx="72239">1</cx:pt>
          <cx:pt idx="72240">4</cx:pt>
          <cx:pt idx="72241">5</cx:pt>
          <cx:pt idx="72242">2</cx:pt>
          <cx:pt idx="72243">4</cx:pt>
          <cx:pt idx="72244">5</cx:pt>
          <cx:pt idx="72245">5</cx:pt>
          <cx:pt idx="72246">1</cx:pt>
          <cx:pt idx="72247">4</cx:pt>
          <cx:pt idx="72248">1</cx:pt>
          <cx:pt idx="72249">3</cx:pt>
          <cx:pt idx="72250">5</cx:pt>
          <cx:pt idx="72251">4</cx:pt>
          <cx:pt idx="72252">4</cx:pt>
          <cx:pt idx="72253">5</cx:pt>
          <cx:pt idx="72254">3</cx:pt>
          <cx:pt idx="72255">2</cx:pt>
          <cx:pt idx="72256">4</cx:pt>
          <cx:pt idx="72257">5</cx:pt>
          <cx:pt idx="72258">2</cx:pt>
          <cx:pt idx="72259">5</cx:pt>
          <cx:pt idx="72260">4</cx:pt>
          <cx:pt idx="72261">4</cx:pt>
          <cx:pt idx="72262">2</cx:pt>
          <cx:pt idx="72263">1</cx:pt>
          <cx:pt idx="72264">2</cx:pt>
          <cx:pt idx="72265">4</cx:pt>
          <cx:pt idx="72266">2</cx:pt>
          <cx:pt idx="72267">3</cx:pt>
          <cx:pt idx="72268">4</cx:pt>
          <cx:pt idx="72269">5</cx:pt>
          <cx:pt idx="72270">5</cx:pt>
          <cx:pt idx="72271">4</cx:pt>
          <cx:pt idx="72272">2</cx:pt>
          <cx:pt idx="72273">5</cx:pt>
          <cx:pt idx="72274">2</cx:pt>
          <cx:pt idx="72275">5</cx:pt>
          <cx:pt idx="72276">3</cx:pt>
          <cx:pt idx="72277">3</cx:pt>
          <cx:pt idx="72278">4</cx:pt>
          <cx:pt idx="72279">5</cx:pt>
          <cx:pt idx="72280">2</cx:pt>
          <cx:pt idx="72281">1</cx:pt>
          <cx:pt idx="72282">5</cx:pt>
          <cx:pt idx="72283">4</cx:pt>
          <cx:pt idx="72284">5</cx:pt>
          <cx:pt idx="72285">5</cx:pt>
          <cx:pt idx="72286">2</cx:pt>
          <cx:pt idx="72287">2</cx:pt>
          <cx:pt idx="72288">3</cx:pt>
          <cx:pt idx="72289">3</cx:pt>
          <cx:pt idx="72290">4</cx:pt>
          <cx:pt idx="72291">5</cx:pt>
          <cx:pt idx="72292">4</cx:pt>
          <cx:pt idx="72293">5</cx:pt>
          <cx:pt idx="72294">3</cx:pt>
          <cx:pt idx="72295">2</cx:pt>
          <cx:pt idx="72296">4</cx:pt>
          <cx:pt idx="72297">4</cx:pt>
          <cx:pt idx="72298">2</cx:pt>
          <cx:pt idx="72299">1</cx:pt>
          <cx:pt idx="72300">4</cx:pt>
          <cx:pt idx="72301">2</cx:pt>
          <cx:pt idx="72302">2</cx:pt>
          <cx:pt idx="72303">4</cx:pt>
          <cx:pt idx="72304">4</cx:pt>
          <cx:pt idx="72305">5</cx:pt>
          <cx:pt idx="72306">3</cx:pt>
          <cx:pt idx="72307">3</cx:pt>
          <cx:pt idx="72308">3</cx:pt>
          <cx:pt idx="72309">5</cx:pt>
          <cx:pt idx="72310">5</cx:pt>
          <cx:pt idx="72311">4</cx:pt>
          <cx:pt idx="72312">3</cx:pt>
          <cx:pt idx="72313">4</cx:pt>
          <cx:pt idx="72314">5</cx:pt>
          <cx:pt idx="72315">1</cx:pt>
          <cx:pt idx="72316">5</cx:pt>
          <cx:pt idx="72317">5</cx:pt>
          <cx:pt idx="72318">4</cx:pt>
          <cx:pt idx="72319">5</cx:pt>
          <cx:pt idx="72320">4</cx:pt>
          <cx:pt idx="72321">5</cx:pt>
          <cx:pt idx="72322">4</cx:pt>
          <cx:pt idx="72323">1</cx:pt>
          <cx:pt idx="72324">2</cx:pt>
          <cx:pt idx="72325">3</cx:pt>
          <cx:pt idx="72326">4</cx:pt>
          <cx:pt idx="72327">2</cx:pt>
          <cx:pt idx="72328">3</cx:pt>
          <cx:pt idx="72329">4</cx:pt>
          <cx:pt idx="72330">3</cx:pt>
          <cx:pt idx="72331">3</cx:pt>
          <cx:pt idx="72332">1</cx:pt>
          <cx:pt idx="72333">2</cx:pt>
          <cx:pt idx="72334">4</cx:pt>
          <cx:pt idx="72335">2</cx:pt>
          <cx:pt idx="72336">3</cx:pt>
          <cx:pt idx="72337">5</cx:pt>
          <cx:pt idx="72338">2</cx:pt>
          <cx:pt idx="72339">3</cx:pt>
          <cx:pt idx="72340">4</cx:pt>
          <cx:pt idx="72341">5</cx:pt>
          <cx:pt idx="72342">5</cx:pt>
          <cx:pt idx="72343">5</cx:pt>
          <cx:pt idx="72344">2</cx:pt>
          <cx:pt idx="72345">2</cx:pt>
          <cx:pt idx="72346">4</cx:pt>
          <cx:pt idx="72347">5</cx:pt>
          <cx:pt idx="72348">3</cx:pt>
          <cx:pt idx="72349">3</cx:pt>
          <cx:pt idx="72350">5</cx:pt>
          <cx:pt idx="72351">5</cx:pt>
          <cx:pt idx="72352">4</cx:pt>
          <cx:pt idx="72353">4</cx:pt>
          <cx:pt idx="72354">3</cx:pt>
          <cx:pt idx="72355">2</cx:pt>
          <cx:pt idx="72356">5</cx:pt>
          <cx:pt idx="72357">3</cx:pt>
          <cx:pt idx="72358">4</cx:pt>
          <cx:pt idx="72359">1</cx:pt>
          <cx:pt idx="72360">5</cx:pt>
          <cx:pt idx="72361">2</cx:pt>
          <cx:pt idx="72362">3</cx:pt>
          <cx:pt idx="72363">2</cx:pt>
          <cx:pt idx="72364">2</cx:pt>
          <cx:pt idx="72365">3</cx:pt>
          <cx:pt idx="72366">5</cx:pt>
          <cx:pt idx="72367">1</cx:pt>
          <cx:pt idx="72368">2</cx:pt>
          <cx:pt idx="72369">3</cx:pt>
          <cx:pt idx="72370">4</cx:pt>
          <cx:pt idx="72371">4</cx:pt>
          <cx:pt idx="72372">5</cx:pt>
          <cx:pt idx="72373">4</cx:pt>
          <cx:pt idx="72374">5</cx:pt>
          <cx:pt idx="72375">3</cx:pt>
          <cx:pt idx="72376">2</cx:pt>
          <cx:pt idx="72377">3</cx:pt>
          <cx:pt idx="72378">2</cx:pt>
          <cx:pt idx="72379">4</cx:pt>
          <cx:pt idx="72380">4</cx:pt>
          <cx:pt idx="72381">4</cx:pt>
          <cx:pt idx="72382">1</cx:pt>
          <cx:pt idx="72383">4</cx:pt>
          <cx:pt idx="72384">5</cx:pt>
          <cx:pt idx="72385">3</cx:pt>
          <cx:pt idx="72386">3</cx:pt>
          <cx:pt idx="72387">4</cx:pt>
          <cx:pt idx="72388">3</cx:pt>
          <cx:pt idx="72389">3</cx:pt>
          <cx:pt idx="72390">4</cx:pt>
          <cx:pt idx="72391">4</cx:pt>
          <cx:pt idx="72392">3</cx:pt>
          <cx:pt idx="72393">3</cx:pt>
          <cx:pt idx="72394">4</cx:pt>
          <cx:pt idx="72395">4</cx:pt>
          <cx:pt idx="72396">1</cx:pt>
          <cx:pt idx="72397">4</cx:pt>
          <cx:pt idx="72398">3</cx:pt>
          <cx:pt idx="72399">4</cx:pt>
          <cx:pt idx="72400">1</cx:pt>
          <cx:pt idx="72401">5</cx:pt>
          <cx:pt idx="72402">3</cx:pt>
          <cx:pt idx="72403">4</cx:pt>
          <cx:pt idx="72404">4</cx:pt>
          <cx:pt idx="72405">2</cx:pt>
          <cx:pt idx="72406">5</cx:pt>
          <cx:pt idx="72407">4</cx:pt>
          <cx:pt idx="72408">4</cx:pt>
          <cx:pt idx="72409">4</cx:pt>
          <cx:pt idx="72410">4</cx:pt>
          <cx:pt idx="72411">5</cx:pt>
          <cx:pt idx="72412">5</cx:pt>
          <cx:pt idx="72413">4</cx:pt>
          <cx:pt idx="72414">5</cx:pt>
          <cx:pt idx="72415">4</cx:pt>
          <cx:pt idx="72416">2</cx:pt>
          <cx:pt idx="72417">4</cx:pt>
          <cx:pt idx="72418">4</cx:pt>
          <cx:pt idx="72419">3</cx:pt>
          <cx:pt idx="72420">3</cx:pt>
          <cx:pt idx="72421">5</cx:pt>
          <cx:pt idx="72422">4</cx:pt>
          <cx:pt idx="72423">3</cx:pt>
          <cx:pt idx="72424">3</cx:pt>
          <cx:pt idx="72425">1</cx:pt>
          <cx:pt idx="72426">4</cx:pt>
          <cx:pt idx="72427">4</cx:pt>
          <cx:pt idx="72428">3</cx:pt>
          <cx:pt idx="72429">2</cx:pt>
          <cx:pt idx="72430">2</cx:pt>
          <cx:pt idx="72431">5</cx:pt>
          <cx:pt idx="72432">5</cx:pt>
          <cx:pt idx="72433">3</cx:pt>
          <cx:pt idx="72434">4</cx:pt>
          <cx:pt idx="72435">1</cx:pt>
          <cx:pt idx="72436">5</cx:pt>
          <cx:pt idx="72437">1</cx:pt>
          <cx:pt idx="72438">5</cx:pt>
          <cx:pt idx="72439">4</cx:pt>
          <cx:pt idx="72440">3</cx:pt>
          <cx:pt idx="72441">4</cx:pt>
          <cx:pt idx="72442">5</cx:pt>
          <cx:pt idx="72443">3</cx:pt>
          <cx:pt idx="72444">5</cx:pt>
          <cx:pt idx="72445">5</cx:pt>
          <cx:pt idx="72446">4</cx:pt>
          <cx:pt idx="72447">2</cx:pt>
          <cx:pt idx="72448">5</cx:pt>
          <cx:pt idx="72449">4</cx:pt>
          <cx:pt idx="72450">3</cx:pt>
          <cx:pt idx="72451">5</cx:pt>
          <cx:pt idx="72452">5</cx:pt>
          <cx:pt idx="72453">4</cx:pt>
          <cx:pt idx="72454">1</cx:pt>
          <cx:pt idx="72455">2</cx:pt>
          <cx:pt idx="72456">1</cx:pt>
          <cx:pt idx="72457">2</cx:pt>
          <cx:pt idx="72458">1</cx:pt>
          <cx:pt idx="72459">2</cx:pt>
          <cx:pt idx="72460">2</cx:pt>
          <cx:pt idx="72461">3</cx:pt>
          <cx:pt idx="72462">1</cx:pt>
          <cx:pt idx="72463">5</cx:pt>
          <cx:pt idx="72464">1</cx:pt>
          <cx:pt idx="72465">3</cx:pt>
          <cx:pt idx="72466">1</cx:pt>
          <cx:pt idx="72467">1</cx:pt>
          <cx:pt idx="72468">5</cx:pt>
          <cx:pt idx="72469">3</cx:pt>
          <cx:pt idx="72470">5</cx:pt>
          <cx:pt idx="72471">3</cx:pt>
          <cx:pt idx="72472">4</cx:pt>
          <cx:pt idx="72473">3</cx:pt>
          <cx:pt idx="72474">3</cx:pt>
          <cx:pt idx="72475">4</cx:pt>
          <cx:pt idx="72476">4</cx:pt>
          <cx:pt idx="72477">2</cx:pt>
          <cx:pt idx="72478">3</cx:pt>
          <cx:pt idx="72479">3</cx:pt>
          <cx:pt idx="72480">4</cx:pt>
          <cx:pt idx="72481">4</cx:pt>
          <cx:pt idx="72482">3</cx:pt>
          <cx:pt idx="72483">3</cx:pt>
          <cx:pt idx="72484">3</cx:pt>
          <cx:pt idx="72485">5</cx:pt>
          <cx:pt idx="72486">4</cx:pt>
          <cx:pt idx="72487">4</cx:pt>
          <cx:pt idx="72488">4</cx:pt>
          <cx:pt idx="72489">4</cx:pt>
          <cx:pt idx="72490">4</cx:pt>
          <cx:pt idx="72491">2</cx:pt>
          <cx:pt idx="72492">2</cx:pt>
          <cx:pt idx="72493">3</cx:pt>
          <cx:pt idx="72494">1</cx:pt>
          <cx:pt idx="72495">2</cx:pt>
          <cx:pt idx="72496">3</cx:pt>
          <cx:pt idx="72497">4</cx:pt>
          <cx:pt idx="72498">4</cx:pt>
          <cx:pt idx="72499">4</cx:pt>
          <cx:pt idx="72500">3</cx:pt>
          <cx:pt idx="72501">5</cx:pt>
          <cx:pt idx="72502">2</cx:pt>
          <cx:pt idx="72503">1</cx:pt>
          <cx:pt idx="72504">3</cx:pt>
          <cx:pt idx="72505">3</cx:pt>
          <cx:pt idx="72506">4</cx:pt>
          <cx:pt idx="72507">4</cx:pt>
          <cx:pt idx="72508">1</cx:pt>
          <cx:pt idx="72509">4</cx:pt>
          <cx:pt idx="72510">4</cx:pt>
          <cx:pt idx="72511">4</cx:pt>
          <cx:pt idx="72512">4</cx:pt>
          <cx:pt idx="72513">4</cx:pt>
          <cx:pt idx="72514">2</cx:pt>
          <cx:pt idx="72515">5</cx:pt>
          <cx:pt idx="72516">5</cx:pt>
          <cx:pt idx="72517">3</cx:pt>
          <cx:pt idx="72518">1</cx:pt>
          <cx:pt idx="72519">4</cx:pt>
          <cx:pt idx="72520">2</cx:pt>
          <cx:pt idx="72521">5</cx:pt>
          <cx:pt idx="72522">5</cx:pt>
          <cx:pt idx="72523">4</cx:pt>
          <cx:pt idx="72524">4</cx:pt>
          <cx:pt idx="72525">4</cx:pt>
          <cx:pt idx="72526">4</cx:pt>
          <cx:pt idx="72527">4</cx:pt>
          <cx:pt idx="72528">3</cx:pt>
          <cx:pt idx="72529">1</cx:pt>
          <cx:pt idx="72530">5</cx:pt>
          <cx:pt idx="72531">5</cx:pt>
          <cx:pt idx="72532">4</cx:pt>
          <cx:pt idx="72533">4</cx:pt>
          <cx:pt idx="72534">3</cx:pt>
          <cx:pt idx="72535">5</cx:pt>
          <cx:pt idx="72536">2</cx:pt>
          <cx:pt idx="72537">5</cx:pt>
          <cx:pt idx="72538">4</cx:pt>
          <cx:pt idx="72539">2</cx:pt>
          <cx:pt idx="72540">5</cx:pt>
          <cx:pt idx="72541">5</cx:pt>
          <cx:pt idx="72542">5</cx:pt>
          <cx:pt idx="72543">5</cx:pt>
          <cx:pt idx="72544">5</cx:pt>
          <cx:pt idx="72545">1</cx:pt>
          <cx:pt idx="72546">5</cx:pt>
          <cx:pt idx="72547">3</cx:pt>
          <cx:pt idx="72548">5</cx:pt>
          <cx:pt idx="72549">5</cx:pt>
          <cx:pt idx="72550">1</cx:pt>
          <cx:pt idx="72551">2</cx:pt>
          <cx:pt idx="72552">5</cx:pt>
          <cx:pt idx="72553">5</cx:pt>
          <cx:pt idx="72554">4</cx:pt>
          <cx:pt idx="72555">4</cx:pt>
          <cx:pt idx="72556">5</cx:pt>
          <cx:pt idx="72557">4</cx:pt>
          <cx:pt idx="72558">5</cx:pt>
          <cx:pt idx="72559">4</cx:pt>
          <cx:pt idx="72560">1</cx:pt>
          <cx:pt idx="72561">5</cx:pt>
          <cx:pt idx="72562">3</cx:pt>
          <cx:pt idx="72563">4</cx:pt>
          <cx:pt idx="72564">4</cx:pt>
          <cx:pt idx="72565">4</cx:pt>
          <cx:pt idx="72566">4</cx:pt>
          <cx:pt idx="72567">3</cx:pt>
          <cx:pt idx="72568">5</cx:pt>
          <cx:pt idx="72569">5</cx:pt>
          <cx:pt idx="72570">5</cx:pt>
          <cx:pt idx="72571">3</cx:pt>
          <cx:pt idx="72572">5</cx:pt>
          <cx:pt idx="72573">1</cx:pt>
          <cx:pt idx="72574">2</cx:pt>
          <cx:pt idx="72575">5</cx:pt>
          <cx:pt idx="72576">1</cx:pt>
          <cx:pt idx="72577">4</cx:pt>
          <cx:pt idx="72578">5</cx:pt>
          <cx:pt idx="72579">4</cx:pt>
          <cx:pt idx="72580">5</cx:pt>
          <cx:pt idx="72581">5</cx:pt>
          <cx:pt idx="72582">4</cx:pt>
          <cx:pt idx="72583">3</cx:pt>
          <cx:pt idx="72584">3</cx:pt>
          <cx:pt idx="72585">4</cx:pt>
          <cx:pt idx="72586">5</cx:pt>
          <cx:pt idx="72587">4</cx:pt>
          <cx:pt idx="72588">5</cx:pt>
          <cx:pt idx="72589">4</cx:pt>
          <cx:pt idx="72590">4</cx:pt>
          <cx:pt idx="72591">1</cx:pt>
          <cx:pt idx="72592">2</cx:pt>
          <cx:pt idx="72593">3</cx:pt>
          <cx:pt idx="72594">2</cx:pt>
          <cx:pt idx="72595">3</cx:pt>
          <cx:pt idx="72596">5</cx:pt>
          <cx:pt idx="72597">2</cx:pt>
          <cx:pt idx="72598">4</cx:pt>
          <cx:pt idx="72599">5</cx:pt>
          <cx:pt idx="72600">5</cx:pt>
          <cx:pt idx="72601">3</cx:pt>
          <cx:pt idx="72602">1</cx:pt>
          <cx:pt idx="72603">4</cx:pt>
          <cx:pt idx="72604">4</cx:pt>
          <cx:pt idx="72605">5</cx:pt>
          <cx:pt idx="72606">4</cx:pt>
          <cx:pt idx="72607">4</cx:pt>
          <cx:pt idx="72608">3</cx:pt>
          <cx:pt idx="72609">4</cx:pt>
          <cx:pt idx="72610">4</cx:pt>
          <cx:pt idx="72611">3</cx:pt>
          <cx:pt idx="72612">4</cx:pt>
          <cx:pt idx="72613">5</cx:pt>
          <cx:pt idx="72614">4</cx:pt>
          <cx:pt idx="72615">3</cx:pt>
          <cx:pt idx="72616">5</cx:pt>
          <cx:pt idx="72617">5</cx:pt>
          <cx:pt idx="72618">5</cx:pt>
          <cx:pt idx="72619">5</cx:pt>
          <cx:pt idx="72620">3</cx:pt>
          <cx:pt idx="72621">4</cx:pt>
          <cx:pt idx="72622">4</cx:pt>
          <cx:pt idx="72623">4</cx:pt>
          <cx:pt idx="72624">4</cx:pt>
          <cx:pt idx="72625">1</cx:pt>
          <cx:pt idx="72626">5</cx:pt>
          <cx:pt idx="72627">2</cx:pt>
          <cx:pt idx="72628">5</cx:pt>
          <cx:pt idx="72629">2</cx:pt>
          <cx:pt idx="72630">4</cx:pt>
          <cx:pt idx="72631">2</cx:pt>
          <cx:pt idx="72632">2</cx:pt>
          <cx:pt idx="72633">4</cx:pt>
          <cx:pt idx="72634">2</cx:pt>
          <cx:pt idx="72635">4</cx:pt>
          <cx:pt idx="72636">5</cx:pt>
          <cx:pt idx="72637">4</cx:pt>
          <cx:pt idx="72638">5</cx:pt>
          <cx:pt idx="72639">4</cx:pt>
          <cx:pt idx="72640">5</cx:pt>
          <cx:pt idx="72641">4</cx:pt>
          <cx:pt idx="72642">3</cx:pt>
          <cx:pt idx="72643">3</cx:pt>
          <cx:pt idx="72644">2</cx:pt>
          <cx:pt idx="72645">5</cx:pt>
          <cx:pt idx="72646">1</cx:pt>
          <cx:pt idx="72647">3</cx:pt>
          <cx:pt idx="72648">1</cx:pt>
          <cx:pt idx="72649">2</cx:pt>
          <cx:pt idx="72650">2</cx:pt>
          <cx:pt idx="72651">3</cx:pt>
          <cx:pt idx="72652">1</cx:pt>
          <cx:pt idx="72653">4</cx:pt>
          <cx:pt idx="72654">3</cx:pt>
          <cx:pt idx="72655">5</cx:pt>
          <cx:pt idx="72656">4</cx:pt>
          <cx:pt idx="72657">5</cx:pt>
          <cx:pt idx="72658">1</cx:pt>
          <cx:pt idx="72659">4</cx:pt>
          <cx:pt idx="72660">5</cx:pt>
          <cx:pt idx="72661">1</cx:pt>
          <cx:pt idx="72662">4</cx:pt>
          <cx:pt idx="72663">5</cx:pt>
          <cx:pt idx="72664">3</cx:pt>
          <cx:pt idx="72665">4</cx:pt>
          <cx:pt idx="72666">1</cx:pt>
          <cx:pt idx="72667">3</cx:pt>
          <cx:pt idx="72668">5</cx:pt>
          <cx:pt idx="72669">2</cx:pt>
          <cx:pt idx="72670">4</cx:pt>
          <cx:pt idx="72671">4</cx:pt>
          <cx:pt idx="72672">4</cx:pt>
          <cx:pt idx="72673">4</cx:pt>
          <cx:pt idx="72674">4</cx:pt>
          <cx:pt idx="72675">3</cx:pt>
          <cx:pt idx="72676">5</cx:pt>
          <cx:pt idx="72677">4</cx:pt>
          <cx:pt idx="72678">5</cx:pt>
          <cx:pt idx="72679">3</cx:pt>
          <cx:pt idx="72680">1</cx:pt>
          <cx:pt idx="72681">5</cx:pt>
          <cx:pt idx="72682">4</cx:pt>
          <cx:pt idx="72683">4</cx:pt>
          <cx:pt idx="72684">3</cx:pt>
          <cx:pt idx="72685">1</cx:pt>
          <cx:pt idx="72686">4</cx:pt>
          <cx:pt idx="72687">3</cx:pt>
          <cx:pt idx="72688">3</cx:pt>
          <cx:pt idx="72689">4</cx:pt>
          <cx:pt idx="72690">3</cx:pt>
          <cx:pt idx="72691">2</cx:pt>
          <cx:pt idx="72692">4</cx:pt>
          <cx:pt idx="72693">1</cx:pt>
          <cx:pt idx="72694">4</cx:pt>
          <cx:pt idx="72695">3</cx:pt>
          <cx:pt idx="72696">4</cx:pt>
          <cx:pt idx="72697">4</cx:pt>
          <cx:pt idx="72698">3</cx:pt>
          <cx:pt idx="72699">4</cx:pt>
          <cx:pt idx="72700">2</cx:pt>
          <cx:pt idx="72701">4</cx:pt>
          <cx:pt idx="72702">4</cx:pt>
          <cx:pt idx="72703">4</cx:pt>
          <cx:pt idx="72704">3</cx:pt>
          <cx:pt idx="72705">4</cx:pt>
          <cx:pt idx="72706">3</cx:pt>
          <cx:pt idx="72707">1</cx:pt>
          <cx:pt idx="72708">5</cx:pt>
          <cx:pt idx="72709">1</cx:pt>
          <cx:pt idx="72710">4</cx:pt>
          <cx:pt idx="72711">4</cx:pt>
          <cx:pt idx="72712">4</cx:pt>
          <cx:pt idx="72713">5</cx:pt>
          <cx:pt idx="72714">5</cx:pt>
          <cx:pt idx="72715">4</cx:pt>
          <cx:pt idx="72716">5</cx:pt>
          <cx:pt idx="72717">4</cx:pt>
          <cx:pt idx="72718">4</cx:pt>
          <cx:pt idx="72719">4</cx:pt>
          <cx:pt idx="72720">3</cx:pt>
          <cx:pt idx="72721">4</cx:pt>
          <cx:pt idx="72722">4</cx:pt>
          <cx:pt idx="72723">4</cx:pt>
          <cx:pt idx="72724">4</cx:pt>
          <cx:pt idx="72725">5</cx:pt>
          <cx:pt idx="72726">5</cx:pt>
          <cx:pt idx="72727">3</cx:pt>
          <cx:pt idx="72728">4</cx:pt>
          <cx:pt idx="72729">5</cx:pt>
          <cx:pt idx="72730">5</cx:pt>
          <cx:pt idx="72731">5</cx:pt>
          <cx:pt idx="72732">4</cx:pt>
          <cx:pt idx="72733">5</cx:pt>
          <cx:pt idx="72734">3</cx:pt>
          <cx:pt idx="72735">3</cx:pt>
          <cx:pt idx="72736">2</cx:pt>
          <cx:pt idx="72737">3</cx:pt>
          <cx:pt idx="72738">4</cx:pt>
          <cx:pt idx="72739">3</cx:pt>
          <cx:pt idx="72740">5</cx:pt>
          <cx:pt idx="72741">4</cx:pt>
          <cx:pt idx="72742">4</cx:pt>
          <cx:pt idx="72743">5</cx:pt>
          <cx:pt idx="72744">4</cx:pt>
          <cx:pt idx="72745">1</cx:pt>
          <cx:pt idx="72746">3</cx:pt>
          <cx:pt idx="72747">5</cx:pt>
          <cx:pt idx="72748">4</cx:pt>
          <cx:pt idx="72749">3</cx:pt>
          <cx:pt idx="72750">5</cx:pt>
          <cx:pt idx="72751">3</cx:pt>
          <cx:pt idx="72752">4</cx:pt>
          <cx:pt idx="72753">5</cx:pt>
          <cx:pt idx="72754">5</cx:pt>
          <cx:pt idx="72755">4</cx:pt>
          <cx:pt idx="72756">3</cx:pt>
          <cx:pt idx="72757">5</cx:pt>
          <cx:pt idx="72758">4</cx:pt>
          <cx:pt idx="72759">4</cx:pt>
          <cx:pt idx="72760">5</cx:pt>
          <cx:pt idx="72761">1</cx:pt>
          <cx:pt idx="72762">4</cx:pt>
          <cx:pt idx="72763">4</cx:pt>
          <cx:pt idx="72764">3</cx:pt>
          <cx:pt idx="72765">5</cx:pt>
          <cx:pt idx="72766">2</cx:pt>
          <cx:pt idx="72767">5</cx:pt>
          <cx:pt idx="72768">3</cx:pt>
          <cx:pt idx="72769">4</cx:pt>
          <cx:pt idx="72770">5</cx:pt>
          <cx:pt idx="72771">5</cx:pt>
          <cx:pt idx="72772">4</cx:pt>
          <cx:pt idx="72773">3</cx:pt>
          <cx:pt idx="72774">5</cx:pt>
          <cx:pt idx="72775">5</cx:pt>
          <cx:pt idx="72776">3</cx:pt>
          <cx:pt idx="72777">4</cx:pt>
          <cx:pt idx="72778">5</cx:pt>
          <cx:pt idx="72779">4</cx:pt>
          <cx:pt idx="72780">1</cx:pt>
          <cx:pt idx="72781">4</cx:pt>
          <cx:pt idx="72782">4</cx:pt>
          <cx:pt idx="72783">2</cx:pt>
          <cx:pt idx="72784">5</cx:pt>
          <cx:pt idx="72785">4</cx:pt>
          <cx:pt idx="72786">3</cx:pt>
          <cx:pt idx="72787">2</cx:pt>
          <cx:pt idx="72788">1</cx:pt>
          <cx:pt idx="72789">1</cx:pt>
          <cx:pt idx="72790">1</cx:pt>
          <cx:pt idx="72791">4</cx:pt>
          <cx:pt idx="72792">4</cx:pt>
          <cx:pt idx="72793">1</cx:pt>
          <cx:pt idx="72794">1</cx:pt>
          <cx:pt idx="72795">3</cx:pt>
          <cx:pt idx="72796">4</cx:pt>
          <cx:pt idx="72797">4</cx:pt>
          <cx:pt idx="72798">5</cx:pt>
          <cx:pt idx="72799">3</cx:pt>
          <cx:pt idx="72800">4</cx:pt>
          <cx:pt idx="72801">4</cx:pt>
          <cx:pt idx="72802">1</cx:pt>
          <cx:pt idx="72803">5</cx:pt>
          <cx:pt idx="72804">1</cx:pt>
          <cx:pt idx="72805">3</cx:pt>
          <cx:pt idx="72806">4</cx:pt>
          <cx:pt idx="72807">2</cx:pt>
          <cx:pt idx="72808">1</cx:pt>
          <cx:pt idx="72809">4</cx:pt>
          <cx:pt idx="72810">3</cx:pt>
          <cx:pt idx="72811">2</cx:pt>
          <cx:pt idx="72812">4</cx:pt>
          <cx:pt idx="72813">3</cx:pt>
          <cx:pt idx="72814">5</cx:pt>
          <cx:pt idx="72815">1</cx:pt>
          <cx:pt idx="72816">4</cx:pt>
          <cx:pt idx="72817">4</cx:pt>
          <cx:pt idx="72818">1</cx:pt>
          <cx:pt idx="72819">2</cx:pt>
          <cx:pt idx="72820">3</cx:pt>
          <cx:pt idx="72821">4</cx:pt>
          <cx:pt idx="72822">5</cx:pt>
          <cx:pt idx="72823">4</cx:pt>
          <cx:pt idx="72824">5</cx:pt>
          <cx:pt idx="72825">3</cx:pt>
          <cx:pt idx="72826">1</cx:pt>
          <cx:pt idx="72827">1</cx:pt>
          <cx:pt idx="72828">4</cx:pt>
          <cx:pt idx="72829">4</cx:pt>
          <cx:pt idx="72830">3</cx:pt>
          <cx:pt idx="72831">5</cx:pt>
          <cx:pt idx="72832">4</cx:pt>
          <cx:pt idx="72833">5</cx:pt>
          <cx:pt idx="72834">3</cx:pt>
          <cx:pt idx="72835">2</cx:pt>
          <cx:pt idx="72836">1</cx:pt>
          <cx:pt idx="72837">5</cx:pt>
          <cx:pt idx="72838">4</cx:pt>
          <cx:pt idx="72839">1</cx:pt>
          <cx:pt idx="72840">2</cx:pt>
          <cx:pt idx="72841">4</cx:pt>
          <cx:pt idx="72842">5</cx:pt>
          <cx:pt idx="72843">1</cx:pt>
          <cx:pt idx="72844">1</cx:pt>
          <cx:pt idx="72845">5</cx:pt>
          <cx:pt idx="72846">4</cx:pt>
          <cx:pt idx="72847">4</cx:pt>
          <cx:pt idx="72848">3</cx:pt>
          <cx:pt idx="72849">4</cx:pt>
          <cx:pt idx="72850">4</cx:pt>
          <cx:pt idx="72851">3</cx:pt>
          <cx:pt idx="72852">3</cx:pt>
          <cx:pt idx="72853">4</cx:pt>
          <cx:pt idx="72854">5</cx:pt>
          <cx:pt idx="72855">2</cx:pt>
          <cx:pt idx="72856">4</cx:pt>
          <cx:pt idx="72857">2</cx:pt>
          <cx:pt idx="72858">2</cx:pt>
          <cx:pt idx="72859">5</cx:pt>
          <cx:pt idx="72860">1</cx:pt>
          <cx:pt idx="72861">4</cx:pt>
          <cx:pt idx="72862">2</cx:pt>
          <cx:pt idx="72863">4</cx:pt>
          <cx:pt idx="72864">4</cx:pt>
          <cx:pt idx="72865">5</cx:pt>
          <cx:pt idx="72866">4</cx:pt>
          <cx:pt idx="72867">3</cx:pt>
          <cx:pt idx="72868">5</cx:pt>
          <cx:pt idx="72869">3</cx:pt>
          <cx:pt idx="72870">2</cx:pt>
          <cx:pt idx="72871">4</cx:pt>
          <cx:pt idx="72872">1</cx:pt>
          <cx:pt idx="72873">5</cx:pt>
          <cx:pt idx="72874">5</cx:pt>
          <cx:pt idx="72875">5</cx:pt>
          <cx:pt idx="72876">3</cx:pt>
          <cx:pt idx="72877">5</cx:pt>
          <cx:pt idx="72878">5</cx:pt>
          <cx:pt idx="72879">4</cx:pt>
          <cx:pt idx="72880">4</cx:pt>
          <cx:pt idx="72881">4</cx:pt>
          <cx:pt idx="72882">4</cx:pt>
          <cx:pt idx="72883">4</cx:pt>
          <cx:pt idx="72884">3</cx:pt>
          <cx:pt idx="72885">4</cx:pt>
          <cx:pt idx="72886">5</cx:pt>
          <cx:pt idx="72887">2</cx:pt>
          <cx:pt idx="72888">1</cx:pt>
          <cx:pt idx="72889">4</cx:pt>
          <cx:pt idx="72890">3</cx:pt>
          <cx:pt idx="72891">4</cx:pt>
          <cx:pt idx="72892">3</cx:pt>
          <cx:pt idx="72893">4</cx:pt>
          <cx:pt idx="72894">3</cx:pt>
          <cx:pt idx="72895">3</cx:pt>
          <cx:pt idx="72896">5</cx:pt>
          <cx:pt idx="72897">3</cx:pt>
          <cx:pt idx="72898">4</cx:pt>
          <cx:pt idx="72899">4</cx:pt>
          <cx:pt idx="72900">5</cx:pt>
          <cx:pt idx="72901">4</cx:pt>
          <cx:pt idx="72902">4</cx:pt>
          <cx:pt idx="72903">5</cx:pt>
          <cx:pt idx="72904">3</cx:pt>
          <cx:pt idx="72905">4</cx:pt>
          <cx:pt idx="72906">4</cx:pt>
          <cx:pt idx="72907">1</cx:pt>
          <cx:pt idx="72908">5</cx:pt>
          <cx:pt idx="72909">5</cx:pt>
          <cx:pt idx="72910">5</cx:pt>
          <cx:pt idx="72911">4</cx:pt>
          <cx:pt idx="72912">2</cx:pt>
          <cx:pt idx="72913">4</cx:pt>
          <cx:pt idx="72914">3</cx:pt>
          <cx:pt idx="72915">5</cx:pt>
          <cx:pt idx="72916">5</cx:pt>
          <cx:pt idx="72917">2</cx:pt>
          <cx:pt idx="72918">4</cx:pt>
          <cx:pt idx="72919">3</cx:pt>
          <cx:pt idx="72920">5</cx:pt>
          <cx:pt idx="72921">4</cx:pt>
          <cx:pt idx="72922">1</cx:pt>
          <cx:pt idx="72923">4</cx:pt>
          <cx:pt idx="72924">3</cx:pt>
          <cx:pt idx="72925">4</cx:pt>
          <cx:pt idx="72926">4</cx:pt>
          <cx:pt idx="72927">4</cx:pt>
          <cx:pt idx="72928">2</cx:pt>
          <cx:pt idx="72929">2</cx:pt>
          <cx:pt idx="72930">5</cx:pt>
          <cx:pt idx="72931">4</cx:pt>
          <cx:pt idx="72932">1</cx:pt>
          <cx:pt idx="72933">5</cx:pt>
          <cx:pt idx="72934">4</cx:pt>
          <cx:pt idx="72935">3</cx:pt>
          <cx:pt idx="72936">1</cx:pt>
          <cx:pt idx="72937">4</cx:pt>
          <cx:pt idx="72938">4</cx:pt>
          <cx:pt idx="72939">5</cx:pt>
          <cx:pt idx="72940">3</cx:pt>
          <cx:pt idx="72941">4</cx:pt>
          <cx:pt idx="72942">4</cx:pt>
          <cx:pt idx="72943">5</cx:pt>
          <cx:pt idx="72944">4</cx:pt>
          <cx:pt idx="72945">1</cx:pt>
          <cx:pt idx="72946">5</cx:pt>
          <cx:pt idx="72947">4</cx:pt>
          <cx:pt idx="72948">1</cx:pt>
          <cx:pt idx="72949">2</cx:pt>
          <cx:pt idx="72950">4</cx:pt>
          <cx:pt idx="72951">1</cx:pt>
          <cx:pt idx="72952">4</cx:pt>
          <cx:pt idx="72953">5</cx:pt>
          <cx:pt idx="72954">5</cx:pt>
          <cx:pt idx="72955">4</cx:pt>
          <cx:pt idx="72956">3</cx:pt>
          <cx:pt idx="72957">4</cx:pt>
          <cx:pt idx="72958">3</cx:pt>
          <cx:pt idx="72959">4</cx:pt>
          <cx:pt idx="72960">2</cx:pt>
          <cx:pt idx="72961">2</cx:pt>
          <cx:pt idx="72962">2</cx:pt>
          <cx:pt idx="72963">4</cx:pt>
          <cx:pt idx="72964">3</cx:pt>
          <cx:pt idx="72965">5</cx:pt>
          <cx:pt idx="72966">5</cx:pt>
          <cx:pt idx="72967">2</cx:pt>
          <cx:pt idx="72968">5</cx:pt>
          <cx:pt idx="72969">1</cx:pt>
          <cx:pt idx="72970">1</cx:pt>
          <cx:pt idx="72971">4</cx:pt>
          <cx:pt idx="72972">3</cx:pt>
          <cx:pt idx="72973">2</cx:pt>
          <cx:pt idx="72974">5</cx:pt>
          <cx:pt idx="72975">5</cx:pt>
          <cx:pt idx="72976">3</cx:pt>
          <cx:pt idx="72977">5</cx:pt>
          <cx:pt idx="72978">3</cx:pt>
          <cx:pt idx="72979">4</cx:pt>
          <cx:pt idx="72980">3</cx:pt>
          <cx:pt idx="72981">4</cx:pt>
          <cx:pt idx="72982">2</cx:pt>
          <cx:pt idx="72983">1</cx:pt>
          <cx:pt idx="72984">4</cx:pt>
          <cx:pt idx="72985">4</cx:pt>
          <cx:pt idx="72986">1</cx:pt>
          <cx:pt idx="72987">2</cx:pt>
          <cx:pt idx="72988">4</cx:pt>
          <cx:pt idx="72989">4</cx:pt>
          <cx:pt idx="72990">2</cx:pt>
          <cx:pt idx="72991">4</cx:pt>
          <cx:pt idx="72992">5</cx:pt>
          <cx:pt idx="72993">2</cx:pt>
          <cx:pt idx="72994">5</cx:pt>
          <cx:pt idx="72995">4</cx:pt>
          <cx:pt idx="72996">4</cx:pt>
          <cx:pt idx="72997">5</cx:pt>
          <cx:pt idx="72998">1</cx:pt>
          <cx:pt idx="72999">4</cx:pt>
          <cx:pt idx="73000">5</cx:pt>
          <cx:pt idx="73001">1</cx:pt>
          <cx:pt idx="73002">1</cx:pt>
          <cx:pt idx="73003">5</cx:pt>
          <cx:pt idx="73004">1</cx:pt>
          <cx:pt idx="73005">2</cx:pt>
          <cx:pt idx="73006">5</cx:pt>
          <cx:pt idx="73007">4</cx:pt>
          <cx:pt idx="73008">2</cx:pt>
          <cx:pt idx="73009">4</cx:pt>
          <cx:pt idx="73010">4</cx:pt>
          <cx:pt idx="73011">3</cx:pt>
          <cx:pt idx="73012">3</cx:pt>
          <cx:pt idx="73013">2</cx:pt>
          <cx:pt idx="73014">4</cx:pt>
          <cx:pt idx="73015">5</cx:pt>
          <cx:pt idx="73016">5</cx:pt>
          <cx:pt idx="73017">5</cx:pt>
          <cx:pt idx="73018">1</cx:pt>
          <cx:pt idx="73019">4</cx:pt>
          <cx:pt idx="73020">4</cx:pt>
          <cx:pt idx="73021">3</cx:pt>
          <cx:pt idx="73022">5</cx:pt>
          <cx:pt idx="73023">1</cx:pt>
          <cx:pt idx="73024">4</cx:pt>
          <cx:pt idx="73025">3</cx:pt>
          <cx:pt idx="73026">4</cx:pt>
          <cx:pt idx="73027">4</cx:pt>
          <cx:pt idx="73028">3</cx:pt>
          <cx:pt idx="73029">3</cx:pt>
          <cx:pt idx="73030">3</cx:pt>
          <cx:pt idx="73031">3</cx:pt>
          <cx:pt idx="73032">4</cx:pt>
          <cx:pt idx="73033">5</cx:pt>
          <cx:pt idx="73034">3</cx:pt>
          <cx:pt idx="73035">3</cx:pt>
          <cx:pt idx="73036">4</cx:pt>
          <cx:pt idx="73037">2</cx:pt>
          <cx:pt idx="73038">2</cx:pt>
          <cx:pt idx="73039">3</cx:pt>
          <cx:pt idx="73040">5</cx:pt>
          <cx:pt idx="73041">5</cx:pt>
          <cx:pt idx="73042">4</cx:pt>
          <cx:pt idx="73043">1</cx:pt>
          <cx:pt idx="73044">1</cx:pt>
          <cx:pt idx="73045">4</cx:pt>
          <cx:pt idx="73046">4</cx:pt>
          <cx:pt idx="73047">4</cx:pt>
          <cx:pt idx="73048">4</cx:pt>
          <cx:pt idx="73049">4</cx:pt>
          <cx:pt idx="73050">4</cx:pt>
          <cx:pt idx="73051">1</cx:pt>
          <cx:pt idx="73052">3</cx:pt>
          <cx:pt idx="73053">2</cx:pt>
          <cx:pt idx="73054">2</cx:pt>
          <cx:pt idx="73055">1</cx:pt>
          <cx:pt idx="73056">3</cx:pt>
          <cx:pt idx="73057">2</cx:pt>
          <cx:pt idx="73058">4</cx:pt>
          <cx:pt idx="73059">1</cx:pt>
          <cx:pt idx="73060">4</cx:pt>
          <cx:pt idx="73061">4</cx:pt>
          <cx:pt idx="73062">4</cx:pt>
          <cx:pt idx="73063">1</cx:pt>
          <cx:pt idx="73064">5</cx:pt>
          <cx:pt idx="73065">5</cx:pt>
          <cx:pt idx="73066">3</cx:pt>
          <cx:pt idx="73067">4</cx:pt>
          <cx:pt idx="73068">3</cx:pt>
          <cx:pt idx="73069">4</cx:pt>
          <cx:pt idx="73070">5</cx:pt>
          <cx:pt idx="73071">4</cx:pt>
          <cx:pt idx="73072">3</cx:pt>
          <cx:pt idx="73073">5</cx:pt>
          <cx:pt idx="73074">5</cx:pt>
          <cx:pt idx="73075">4</cx:pt>
          <cx:pt idx="73076">5</cx:pt>
          <cx:pt idx="73077">5</cx:pt>
          <cx:pt idx="73078">4</cx:pt>
          <cx:pt idx="73079">4</cx:pt>
          <cx:pt idx="73080">5</cx:pt>
          <cx:pt idx="73081">3</cx:pt>
          <cx:pt idx="73082">3</cx:pt>
          <cx:pt idx="73083">4</cx:pt>
          <cx:pt idx="73084">4</cx:pt>
          <cx:pt idx="73085">3</cx:pt>
          <cx:pt idx="73086">3</cx:pt>
          <cx:pt idx="73087">2</cx:pt>
          <cx:pt idx="73088">4</cx:pt>
          <cx:pt idx="73089">2</cx:pt>
          <cx:pt idx="73090">3</cx:pt>
          <cx:pt idx="73091">3</cx:pt>
          <cx:pt idx="73092">3</cx:pt>
          <cx:pt idx="73093">4</cx:pt>
          <cx:pt idx="73094">2</cx:pt>
          <cx:pt idx="73095">3</cx:pt>
          <cx:pt idx="73096">5</cx:pt>
          <cx:pt idx="73097">4</cx:pt>
          <cx:pt idx="73098">4</cx:pt>
          <cx:pt idx="73099">5</cx:pt>
          <cx:pt idx="73100">4</cx:pt>
          <cx:pt idx="73101">5</cx:pt>
          <cx:pt idx="73102">2</cx:pt>
          <cx:pt idx="73103">1</cx:pt>
          <cx:pt idx="73104">5</cx:pt>
          <cx:pt idx="73105">4</cx:pt>
          <cx:pt idx="73106">4</cx:pt>
          <cx:pt idx="73107">4</cx:pt>
          <cx:pt idx="73108">4</cx:pt>
          <cx:pt idx="73109">5</cx:pt>
          <cx:pt idx="73110">1</cx:pt>
          <cx:pt idx="73111">4</cx:pt>
          <cx:pt idx="73112">3</cx:pt>
          <cx:pt idx="73113">4</cx:pt>
          <cx:pt idx="73114">4</cx:pt>
          <cx:pt idx="73115">2</cx:pt>
          <cx:pt idx="73116">4</cx:pt>
          <cx:pt idx="73117">4</cx:pt>
          <cx:pt idx="73118">5</cx:pt>
          <cx:pt idx="73119">1</cx:pt>
          <cx:pt idx="73120">1</cx:pt>
          <cx:pt idx="73121">5</cx:pt>
          <cx:pt idx="73122">3</cx:pt>
          <cx:pt idx="73123">2</cx:pt>
          <cx:pt idx="73124">5</cx:pt>
          <cx:pt idx="73125">5</cx:pt>
          <cx:pt idx="73126">5</cx:pt>
          <cx:pt idx="73127">1</cx:pt>
          <cx:pt idx="73128">5</cx:pt>
          <cx:pt idx="73129">1</cx:pt>
          <cx:pt idx="73130">4</cx:pt>
          <cx:pt idx="73131">4</cx:pt>
          <cx:pt idx="73132">4</cx:pt>
          <cx:pt idx="73133">2</cx:pt>
          <cx:pt idx="73134">1</cx:pt>
          <cx:pt idx="73135">5</cx:pt>
          <cx:pt idx="73136">4</cx:pt>
          <cx:pt idx="73137">5</cx:pt>
          <cx:pt idx="73138">3</cx:pt>
          <cx:pt idx="73139">2</cx:pt>
          <cx:pt idx="73140">4</cx:pt>
          <cx:pt idx="73141">3</cx:pt>
          <cx:pt idx="73142">2</cx:pt>
          <cx:pt idx="73143">4</cx:pt>
          <cx:pt idx="73144">4</cx:pt>
          <cx:pt idx="73145">5</cx:pt>
          <cx:pt idx="73146">5</cx:pt>
          <cx:pt idx="73147">4</cx:pt>
          <cx:pt idx="73148">1</cx:pt>
          <cx:pt idx="73149">5</cx:pt>
          <cx:pt idx="73150">2</cx:pt>
          <cx:pt idx="73151">4</cx:pt>
          <cx:pt idx="73152">3</cx:pt>
          <cx:pt idx="73153">3</cx:pt>
          <cx:pt idx="73154">3</cx:pt>
          <cx:pt idx="73155">1</cx:pt>
          <cx:pt idx="73156">5</cx:pt>
          <cx:pt idx="73157">4</cx:pt>
          <cx:pt idx="73158">3</cx:pt>
          <cx:pt idx="73159">2</cx:pt>
          <cx:pt idx="73160">1</cx:pt>
          <cx:pt idx="73161">3</cx:pt>
          <cx:pt idx="73162">4</cx:pt>
          <cx:pt idx="73163">3</cx:pt>
          <cx:pt idx="73164">4</cx:pt>
          <cx:pt idx="73165">1</cx:pt>
          <cx:pt idx="73166">2</cx:pt>
          <cx:pt idx="73167">5</cx:pt>
          <cx:pt idx="73168">2</cx:pt>
          <cx:pt idx="73169">2</cx:pt>
          <cx:pt idx="73170">4</cx:pt>
          <cx:pt idx="73171">1</cx:pt>
          <cx:pt idx="73172">5</cx:pt>
          <cx:pt idx="73173">5</cx:pt>
          <cx:pt idx="73174">4</cx:pt>
          <cx:pt idx="73175">4</cx:pt>
          <cx:pt idx="73176">5</cx:pt>
          <cx:pt idx="73177">3</cx:pt>
          <cx:pt idx="73178">4</cx:pt>
          <cx:pt idx="73179">5</cx:pt>
          <cx:pt idx="73180">2</cx:pt>
          <cx:pt idx="73181">3</cx:pt>
          <cx:pt idx="73182">3</cx:pt>
          <cx:pt idx="73183">4</cx:pt>
          <cx:pt idx="73184">4</cx:pt>
          <cx:pt idx="73185">5</cx:pt>
          <cx:pt idx="73186">4</cx:pt>
          <cx:pt idx="73187">2</cx:pt>
          <cx:pt idx="73188">5</cx:pt>
          <cx:pt idx="73189">2</cx:pt>
          <cx:pt idx="73190">4</cx:pt>
          <cx:pt idx="73191">5</cx:pt>
          <cx:pt idx="73192">5</cx:pt>
          <cx:pt idx="73193">5</cx:pt>
          <cx:pt idx="73194">3</cx:pt>
          <cx:pt idx="73195">5</cx:pt>
          <cx:pt idx="73196">5</cx:pt>
          <cx:pt idx="73197">2</cx:pt>
          <cx:pt idx="73198">1</cx:pt>
          <cx:pt idx="73199">4</cx:pt>
          <cx:pt idx="73200">3</cx:pt>
          <cx:pt idx="73201">4</cx:pt>
          <cx:pt idx="73202">2</cx:pt>
          <cx:pt idx="73203">4</cx:pt>
          <cx:pt idx="73204">4</cx:pt>
          <cx:pt idx="73205">1</cx:pt>
          <cx:pt idx="73206">3</cx:pt>
          <cx:pt idx="73207">4</cx:pt>
          <cx:pt idx="73208">3</cx:pt>
          <cx:pt idx="73209">1</cx:pt>
          <cx:pt idx="73210">1</cx:pt>
          <cx:pt idx="73211">4</cx:pt>
          <cx:pt idx="73212">4</cx:pt>
          <cx:pt idx="73213">5</cx:pt>
          <cx:pt idx="73214">4</cx:pt>
          <cx:pt idx="73215">5</cx:pt>
          <cx:pt idx="73216">5</cx:pt>
          <cx:pt idx="73217">4</cx:pt>
          <cx:pt idx="73218">4</cx:pt>
          <cx:pt idx="73219">5</cx:pt>
          <cx:pt idx="73220">1</cx:pt>
          <cx:pt idx="73221">5</cx:pt>
          <cx:pt idx="73222">4</cx:pt>
          <cx:pt idx="73223">3</cx:pt>
          <cx:pt idx="73224">3</cx:pt>
          <cx:pt idx="73225">4</cx:pt>
          <cx:pt idx="73226">4</cx:pt>
          <cx:pt idx="73227">1</cx:pt>
          <cx:pt idx="73228">5</cx:pt>
          <cx:pt idx="73229">2</cx:pt>
          <cx:pt idx="73230">3</cx:pt>
          <cx:pt idx="73231">4</cx:pt>
          <cx:pt idx="73232">4</cx:pt>
          <cx:pt idx="73233">4</cx:pt>
          <cx:pt idx="73234">3</cx:pt>
          <cx:pt idx="73235">2</cx:pt>
          <cx:pt idx="73236">4</cx:pt>
          <cx:pt idx="73237">5</cx:pt>
          <cx:pt idx="73238">4</cx:pt>
          <cx:pt idx="73239">2</cx:pt>
          <cx:pt idx="73240">4</cx:pt>
          <cx:pt idx="73241">4</cx:pt>
          <cx:pt idx="73242">3</cx:pt>
          <cx:pt idx="73243">5</cx:pt>
          <cx:pt idx="73244">5</cx:pt>
          <cx:pt idx="73245">4</cx:pt>
          <cx:pt idx="73246">2</cx:pt>
          <cx:pt idx="73247">5</cx:pt>
          <cx:pt idx="73248">1</cx:pt>
          <cx:pt idx="73249">1</cx:pt>
          <cx:pt idx="73250">4</cx:pt>
          <cx:pt idx="73251">4</cx:pt>
          <cx:pt idx="73252">4</cx:pt>
          <cx:pt idx="73253">4</cx:pt>
          <cx:pt idx="73254">4</cx:pt>
          <cx:pt idx="73255">4</cx:pt>
          <cx:pt idx="73256">4</cx:pt>
          <cx:pt idx="73257">1</cx:pt>
          <cx:pt idx="73258">3</cx:pt>
          <cx:pt idx="73259">5</cx:pt>
          <cx:pt idx="73260">2</cx:pt>
          <cx:pt idx="73261">4</cx:pt>
          <cx:pt idx="73262">4</cx:pt>
          <cx:pt idx="73263">5</cx:pt>
          <cx:pt idx="73264">5</cx:pt>
          <cx:pt idx="73265">3</cx:pt>
          <cx:pt idx="73266">2</cx:pt>
          <cx:pt idx="73267">5</cx:pt>
          <cx:pt idx="73268">1</cx:pt>
          <cx:pt idx="73269">1</cx:pt>
          <cx:pt idx="73270">4</cx:pt>
          <cx:pt idx="73271">4</cx:pt>
          <cx:pt idx="73272">2</cx:pt>
          <cx:pt idx="73273">2</cx:pt>
          <cx:pt idx="73274">5</cx:pt>
          <cx:pt idx="73275">2</cx:pt>
          <cx:pt idx="73276">3</cx:pt>
          <cx:pt idx="73277">1</cx:pt>
          <cx:pt idx="73278">4</cx:pt>
          <cx:pt idx="73279">4</cx:pt>
          <cx:pt idx="73280">1</cx:pt>
          <cx:pt idx="73281">4</cx:pt>
          <cx:pt idx="73282">5</cx:pt>
          <cx:pt idx="73283">4</cx:pt>
          <cx:pt idx="73284">4</cx:pt>
          <cx:pt idx="73285">5</cx:pt>
          <cx:pt idx="73286">2</cx:pt>
          <cx:pt idx="73287">4</cx:pt>
          <cx:pt idx="73288">2</cx:pt>
          <cx:pt idx="73289">2</cx:pt>
          <cx:pt idx="73290">5</cx:pt>
          <cx:pt idx="73291">4</cx:pt>
          <cx:pt idx="73292">3</cx:pt>
          <cx:pt idx="73293">3</cx:pt>
          <cx:pt idx="73294">1</cx:pt>
          <cx:pt idx="73295">5</cx:pt>
          <cx:pt idx="73296">1</cx:pt>
          <cx:pt idx="73297">2</cx:pt>
          <cx:pt idx="73298">2</cx:pt>
          <cx:pt idx="73299">4</cx:pt>
          <cx:pt idx="73300">4</cx:pt>
          <cx:pt idx="73301">4</cx:pt>
          <cx:pt idx="73302">5</cx:pt>
          <cx:pt idx="73303">4</cx:pt>
          <cx:pt idx="73304">5</cx:pt>
          <cx:pt idx="73305">3</cx:pt>
          <cx:pt idx="73306">4</cx:pt>
          <cx:pt idx="73307">2</cx:pt>
          <cx:pt idx="73308">4</cx:pt>
          <cx:pt idx="73309">5</cx:pt>
          <cx:pt idx="73310">4</cx:pt>
          <cx:pt idx="73311">4</cx:pt>
          <cx:pt idx="73312">2</cx:pt>
          <cx:pt idx="73313">3</cx:pt>
          <cx:pt idx="73314">5</cx:pt>
          <cx:pt idx="73315">2</cx:pt>
          <cx:pt idx="73316">5</cx:pt>
          <cx:pt idx="73317">5</cx:pt>
          <cx:pt idx="73318">4</cx:pt>
          <cx:pt idx="73319">5</cx:pt>
          <cx:pt idx="73320">5</cx:pt>
          <cx:pt idx="73321">2</cx:pt>
          <cx:pt idx="73322">5</cx:pt>
          <cx:pt idx="73323">4</cx:pt>
          <cx:pt idx="73324">4</cx:pt>
          <cx:pt idx="73325">2</cx:pt>
          <cx:pt idx="73326">5</cx:pt>
          <cx:pt idx="73327">4</cx:pt>
          <cx:pt idx="73328">3</cx:pt>
          <cx:pt idx="73329">3</cx:pt>
          <cx:pt idx="73330">4</cx:pt>
          <cx:pt idx="73331">3</cx:pt>
          <cx:pt idx="73332">3</cx:pt>
          <cx:pt idx="73333">4</cx:pt>
          <cx:pt idx="73334">4</cx:pt>
          <cx:pt idx="73335">3</cx:pt>
          <cx:pt idx="73336">3</cx:pt>
          <cx:pt idx="73337">4</cx:pt>
          <cx:pt idx="73338">5</cx:pt>
          <cx:pt idx="73339">4</cx:pt>
          <cx:pt idx="73340">4</cx:pt>
          <cx:pt idx="73341">5</cx:pt>
          <cx:pt idx="73342">4</cx:pt>
          <cx:pt idx="73343">4</cx:pt>
          <cx:pt idx="73344">4</cx:pt>
          <cx:pt idx="73345">3</cx:pt>
          <cx:pt idx="73346">1</cx:pt>
          <cx:pt idx="73347">2</cx:pt>
          <cx:pt idx="73348">4</cx:pt>
          <cx:pt idx="73349">3</cx:pt>
          <cx:pt idx="73350">4</cx:pt>
          <cx:pt idx="73351">3</cx:pt>
          <cx:pt idx="73352">3</cx:pt>
          <cx:pt idx="73353">3</cx:pt>
          <cx:pt idx="73354">4</cx:pt>
          <cx:pt idx="73355">5</cx:pt>
          <cx:pt idx="73356">3</cx:pt>
          <cx:pt idx="73357">3</cx:pt>
          <cx:pt idx="73358">1</cx:pt>
          <cx:pt idx="73359">5</cx:pt>
          <cx:pt idx="73360">5</cx:pt>
          <cx:pt idx="73361">5</cx:pt>
          <cx:pt idx="73362">5</cx:pt>
          <cx:pt idx="73363">3</cx:pt>
          <cx:pt idx="73364">4</cx:pt>
          <cx:pt idx="73365">2</cx:pt>
          <cx:pt idx="73366">3</cx:pt>
          <cx:pt idx="73367">5</cx:pt>
          <cx:pt idx="73368">4</cx:pt>
          <cx:pt idx="73369">5</cx:pt>
          <cx:pt idx="73370">5</cx:pt>
          <cx:pt idx="73371">4</cx:pt>
          <cx:pt idx="73372">1</cx:pt>
          <cx:pt idx="73373">2</cx:pt>
          <cx:pt idx="73374">4</cx:pt>
          <cx:pt idx="73375">3</cx:pt>
          <cx:pt idx="73376">3</cx:pt>
          <cx:pt idx="73377">3</cx:pt>
          <cx:pt idx="73378">1</cx:pt>
          <cx:pt idx="73379">5</cx:pt>
          <cx:pt idx="73380">2</cx:pt>
          <cx:pt idx="73381">3</cx:pt>
          <cx:pt idx="73382">4</cx:pt>
          <cx:pt idx="73383">1</cx:pt>
          <cx:pt idx="73384">3</cx:pt>
          <cx:pt idx="73385">3</cx:pt>
          <cx:pt idx="73386">2</cx:pt>
          <cx:pt idx="73387">1</cx:pt>
          <cx:pt idx="73388">5</cx:pt>
          <cx:pt idx="73389">2</cx:pt>
          <cx:pt idx="73390">5</cx:pt>
          <cx:pt idx="73391">3</cx:pt>
          <cx:pt idx="73392">4</cx:pt>
          <cx:pt idx="73393">4</cx:pt>
          <cx:pt idx="73394">3</cx:pt>
          <cx:pt idx="73395">4</cx:pt>
          <cx:pt idx="73396">1</cx:pt>
          <cx:pt idx="73397">2</cx:pt>
          <cx:pt idx="73398">4</cx:pt>
          <cx:pt idx="73399">3</cx:pt>
          <cx:pt idx="73400">2</cx:pt>
          <cx:pt idx="73401">1</cx:pt>
          <cx:pt idx="73402">1</cx:pt>
          <cx:pt idx="73403">5</cx:pt>
          <cx:pt idx="73404">5</cx:pt>
          <cx:pt idx="73405">5</cx:pt>
          <cx:pt idx="73406">4</cx:pt>
          <cx:pt idx="73407">5</cx:pt>
          <cx:pt idx="73408">2</cx:pt>
          <cx:pt idx="73409">5</cx:pt>
          <cx:pt idx="73410">1</cx:pt>
          <cx:pt idx="73411">4</cx:pt>
          <cx:pt idx="73412">4</cx:pt>
          <cx:pt idx="73413">5</cx:pt>
          <cx:pt idx="73414">5</cx:pt>
          <cx:pt idx="73415">4</cx:pt>
          <cx:pt idx="73416">4</cx:pt>
          <cx:pt idx="73417">4</cx:pt>
          <cx:pt idx="73418">4</cx:pt>
          <cx:pt idx="73419">4</cx:pt>
          <cx:pt idx="73420">2</cx:pt>
          <cx:pt idx="73421">1</cx:pt>
          <cx:pt idx="73422">5</cx:pt>
          <cx:pt idx="73423">4</cx:pt>
          <cx:pt idx="73424">4</cx:pt>
          <cx:pt idx="73425">2</cx:pt>
          <cx:pt idx="73426">4</cx:pt>
          <cx:pt idx="73427">5</cx:pt>
          <cx:pt idx="73428">4</cx:pt>
          <cx:pt idx="73429">5</cx:pt>
          <cx:pt idx="73430">5</cx:pt>
          <cx:pt idx="73431">4</cx:pt>
          <cx:pt idx="73432">4</cx:pt>
          <cx:pt idx="73433">1</cx:pt>
          <cx:pt idx="73434">5</cx:pt>
          <cx:pt idx="73435">4</cx:pt>
          <cx:pt idx="73436">2</cx:pt>
          <cx:pt idx="73437">3</cx:pt>
          <cx:pt idx="73438">4</cx:pt>
          <cx:pt idx="73439">5</cx:pt>
          <cx:pt idx="73440">4</cx:pt>
          <cx:pt idx="73441">5</cx:pt>
          <cx:pt idx="73442">3</cx:pt>
          <cx:pt idx="73443">2</cx:pt>
          <cx:pt idx="73444">2</cx:pt>
          <cx:pt idx="73445">4</cx:pt>
          <cx:pt idx="73446">5</cx:pt>
          <cx:pt idx="73447">5</cx:pt>
          <cx:pt idx="73448">5</cx:pt>
          <cx:pt idx="73449">4</cx:pt>
          <cx:pt idx="73450">5</cx:pt>
          <cx:pt idx="73451">4</cx:pt>
          <cx:pt idx="73452">5</cx:pt>
          <cx:pt idx="73453">4</cx:pt>
          <cx:pt idx="73454">2</cx:pt>
          <cx:pt idx="73455">4</cx:pt>
          <cx:pt idx="73456">5</cx:pt>
          <cx:pt idx="73457">4</cx:pt>
          <cx:pt idx="73458">4</cx:pt>
          <cx:pt idx="73459">3</cx:pt>
          <cx:pt idx="73460">2</cx:pt>
          <cx:pt idx="73461">1</cx:pt>
          <cx:pt idx="73462">2</cx:pt>
          <cx:pt idx="73463">3</cx:pt>
          <cx:pt idx="73464">3</cx:pt>
          <cx:pt idx="73465">5</cx:pt>
          <cx:pt idx="73466">2</cx:pt>
          <cx:pt idx="73467">5</cx:pt>
          <cx:pt idx="73468">4</cx:pt>
          <cx:pt idx="73469">5</cx:pt>
          <cx:pt idx="73470">5</cx:pt>
          <cx:pt idx="73471">4</cx:pt>
          <cx:pt idx="73472">4</cx:pt>
          <cx:pt idx="73473">4</cx:pt>
          <cx:pt idx="73474">1</cx:pt>
          <cx:pt idx="73475">5</cx:pt>
          <cx:pt idx="73476">4</cx:pt>
          <cx:pt idx="73477">5</cx:pt>
          <cx:pt idx="73478">4</cx:pt>
          <cx:pt idx="73479">1</cx:pt>
          <cx:pt idx="73480">2</cx:pt>
          <cx:pt idx="73481">2</cx:pt>
          <cx:pt idx="73482">5</cx:pt>
          <cx:pt idx="73483">3</cx:pt>
          <cx:pt idx="73484">4</cx:pt>
          <cx:pt idx="73485">4</cx:pt>
          <cx:pt idx="73486">4</cx:pt>
          <cx:pt idx="73487">5</cx:pt>
          <cx:pt idx="73488">5</cx:pt>
          <cx:pt idx="73489">2</cx:pt>
          <cx:pt idx="73490">4</cx:pt>
          <cx:pt idx="73491">5</cx:pt>
          <cx:pt idx="73492">2</cx:pt>
          <cx:pt idx="73493">1</cx:pt>
          <cx:pt idx="73494">2</cx:pt>
          <cx:pt idx="73495">1</cx:pt>
          <cx:pt idx="73496">4</cx:pt>
          <cx:pt idx="73497">5</cx:pt>
          <cx:pt idx="73498">2</cx:pt>
          <cx:pt idx="73499">4</cx:pt>
          <cx:pt idx="73500">3</cx:pt>
          <cx:pt idx="73501">4</cx:pt>
          <cx:pt idx="73502">5</cx:pt>
          <cx:pt idx="73503">2</cx:pt>
          <cx:pt idx="73504">5</cx:pt>
          <cx:pt idx="73505">5</cx:pt>
          <cx:pt idx="73506">5</cx:pt>
          <cx:pt idx="73507">3</cx:pt>
          <cx:pt idx="73508">2</cx:pt>
          <cx:pt idx="73509">4</cx:pt>
          <cx:pt idx="73510">4</cx:pt>
          <cx:pt idx="73511">5</cx:pt>
          <cx:pt idx="73512">5</cx:pt>
          <cx:pt idx="73513">4</cx:pt>
          <cx:pt idx="73514">4</cx:pt>
          <cx:pt idx="73515">1</cx:pt>
          <cx:pt idx="73516">4</cx:pt>
          <cx:pt idx="73517">4</cx:pt>
          <cx:pt idx="73518">5</cx:pt>
          <cx:pt idx="73519">2</cx:pt>
          <cx:pt idx="73520">4</cx:pt>
          <cx:pt idx="73521">2</cx:pt>
          <cx:pt idx="73522">2</cx:pt>
          <cx:pt idx="73523">2</cx:pt>
          <cx:pt idx="73524">2</cx:pt>
          <cx:pt idx="73525">4</cx:pt>
          <cx:pt idx="73526">5</cx:pt>
          <cx:pt idx="73527">1</cx:pt>
          <cx:pt idx="73528">4</cx:pt>
          <cx:pt idx="73529">4</cx:pt>
          <cx:pt idx="73530">5</cx:pt>
          <cx:pt idx="73531">4</cx:pt>
          <cx:pt idx="73532">1</cx:pt>
          <cx:pt idx="73533">4</cx:pt>
          <cx:pt idx="73534">4</cx:pt>
          <cx:pt idx="73535">1</cx:pt>
          <cx:pt idx="73536">1</cx:pt>
          <cx:pt idx="73537">4</cx:pt>
          <cx:pt idx="73538">5</cx:pt>
          <cx:pt idx="73539">4</cx:pt>
          <cx:pt idx="73540">3</cx:pt>
          <cx:pt idx="73541">5</cx:pt>
          <cx:pt idx="73542">4</cx:pt>
          <cx:pt idx="73543">1</cx:pt>
          <cx:pt idx="73544">5</cx:pt>
          <cx:pt idx="73545">5</cx:pt>
          <cx:pt idx="73546">1</cx:pt>
          <cx:pt idx="73547">4</cx:pt>
          <cx:pt idx="73548">4</cx:pt>
          <cx:pt idx="73549">1</cx:pt>
          <cx:pt idx="73550">5</cx:pt>
          <cx:pt idx="73551">4</cx:pt>
          <cx:pt idx="73552">4</cx:pt>
          <cx:pt idx="73553">4</cx:pt>
          <cx:pt idx="73554">1</cx:pt>
          <cx:pt idx="73555">3</cx:pt>
          <cx:pt idx="73556">1</cx:pt>
          <cx:pt idx="73557">5</cx:pt>
          <cx:pt idx="73558">4</cx:pt>
          <cx:pt idx="73559">5</cx:pt>
          <cx:pt idx="73560">3</cx:pt>
          <cx:pt idx="73561">1</cx:pt>
          <cx:pt idx="73562">4</cx:pt>
          <cx:pt idx="73563">4</cx:pt>
          <cx:pt idx="73564">3</cx:pt>
          <cx:pt idx="73565">4</cx:pt>
          <cx:pt idx="73566">4</cx:pt>
          <cx:pt idx="73567">3</cx:pt>
          <cx:pt idx="73568">3</cx:pt>
          <cx:pt idx="73569">2</cx:pt>
          <cx:pt idx="73570">1</cx:pt>
          <cx:pt idx="73571">4</cx:pt>
          <cx:pt idx="73572">3</cx:pt>
          <cx:pt idx="73573">4</cx:pt>
          <cx:pt idx="73574">4</cx:pt>
          <cx:pt idx="73575">4</cx:pt>
          <cx:pt idx="73576">2</cx:pt>
          <cx:pt idx="73577">3</cx:pt>
          <cx:pt idx="73578">2</cx:pt>
          <cx:pt idx="73579">4</cx:pt>
          <cx:pt idx="73580">2</cx:pt>
          <cx:pt idx="73581">5</cx:pt>
          <cx:pt idx="73582">3</cx:pt>
          <cx:pt idx="73583">2</cx:pt>
          <cx:pt idx="73584">4</cx:pt>
          <cx:pt idx="73585">1</cx:pt>
          <cx:pt idx="73586">2</cx:pt>
          <cx:pt idx="73587">5</cx:pt>
          <cx:pt idx="73588">3</cx:pt>
          <cx:pt idx="73589">2</cx:pt>
          <cx:pt idx="73590">4</cx:pt>
          <cx:pt idx="73591">3</cx:pt>
          <cx:pt idx="73592">5</cx:pt>
          <cx:pt idx="73593">5</cx:pt>
          <cx:pt idx="73594">3</cx:pt>
          <cx:pt idx="73595">1</cx:pt>
          <cx:pt idx="73596">2</cx:pt>
          <cx:pt idx="73597">1</cx:pt>
          <cx:pt idx="73598">5</cx:pt>
          <cx:pt idx="73599">4</cx:pt>
          <cx:pt idx="73600">4</cx:pt>
          <cx:pt idx="73601">2</cx:pt>
          <cx:pt idx="73602">3</cx:pt>
          <cx:pt idx="73603">1</cx:pt>
          <cx:pt idx="73604">5</cx:pt>
          <cx:pt idx="73605">2</cx:pt>
          <cx:pt idx="73606">2</cx:pt>
          <cx:pt idx="73607">4</cx:pt>
          <cx:pt idx="73608">3</cx:pt>
          <cx:pt idx="73609">2</cx:pt>
          <cx:pt idx="73610">5</cx:pt>
          <cx:pt idx="73611">3</cx:pt>
          <cx:pt idx="73612">3</cx:pt>
          <cx:pt idx="73613">5</cx:pt>
          <cx:pt idx="73614">5</cx:pt>
          <cx:pt idx="73615">4</cx:pt>
          <cx:pt idx="73616">1</cx:pt>
          <cx:pt idx="73617">4</cx:pt>
          <cx:pt idx="73618">2</cx:pt>
          <cx:pt idx="73619">3</cx:pt>
          <cx:pt idx="73620">4</cx:pt>
          <cx:pt idx="73621">2</cx:pt>
          <cx:pt idx="73622">3</cx:pt>
          <cx:pt idx="73623">3</cx:pt>
          <cx:pt idx="73624">3</cx:pt>
          <cx:pt idx="73625">1</cx:pt>
          <cx:pt idx="73626">1</cx:pt>
          <cx:pt idx="73627">4</cx:pt>
          <cx:pt idx="73628">1</cx:pt>
          <cx:pt idx="73629">3</cx:pt>
          <cx:pt idx="73630">4</cx:pt>
          <cx:pt idx="73631">5</cx:pt>
          <cx:pt idx="73632">5</cx:pt>
          <cx:pt idx="73633">5</cx:pt>
          <cx:pt idx="73634">4</cx:pt>
          <cx:pt idx="73635">3</cx:pt>
          <cx:pt idx="73636">4</cx:pt>
          <cx:pt idx="73637">5</cx:pt>
          <cx:pt idx="73638">1</cx:pt>
          <cx:pt idx="73639">5</cx:pt>
          <cx:pt idx="73640">5</cx:pt>
          <cx:pt idx="73641">4</cx:pt>
          <cx:pt idx="73642">3</cx:pt>
          <cx:pt idx="73643">4</cx:pt>
          <cx:pt idx="73644">5</cx:pt>
          <cx:pt idx="73645">3</cx:pt>
          <cx:pt idx="73646">1</cx:pt>
          <cx:pt idx="73647">5</cx:pt>
          <cx:pt idx="73648">3</cx:pt>
          <cx:pt idx="73649">1</cx:pt>
          <cx:pt idx="73650">5</cx:pt>
          <cx:pt idx="73651">1</cx:pt>
          <cx:pt idx="73652">4</cx:pt>
          <cx:pt idx="73653">4</cx:pt>
          <cx:pt idx="73654">5</cx:pt>
          <cx:pt idx="73655">4</cx:pt>
          <cx:pt idx="73656">5</cx:pt>
          <cx:pt idx="73657">4</cx:pt>
          <cx:pt idx="73658">3</cx:pt>
          <cx:pt idx="73659">4</cx:pt>
          <cx:pt idx="73660">4</cx:pt>
          <cx:pt idx="73661">5</cx:pt>
          <cx:pt idx="73662">5</cx:pt>
          <cx:pt idx="73663">2</cx:pt>
          <cx:pt idx="73664">2</cx:pt>
          <cx:pt idx="73665">4</cx:pt>
          <cx:pt idx="73666">2</cx:pt>
          <cx:pt idx="73667">1</cx:pt>
          <cx:pt idx="73668">1</cx:pt>
          <cx:pt idx="73669">3</cx:pt>
          <cx:pt idx="73670">3</cx:pt>
          <cx:pt idx="73671">5</cx:pt>
          <cx:pt idx="73672">1</cx:pt>
          <cx:pt idx="73673">4</cx:pt>
          <cx:pt idx="73674">4</cx:pt>
          <cx:pt idx="73675">2</cx:pt>
          <cx:pt idx="73676">3</cx:pt>
          <cx:pt idx="73677">3</cx:pt>
          <cx:pt idx="73678">4</cx:pt>
          <cx:pt idx="73679">4</cx:pt>
          <cx:pt idx="73680">1</cx:pt>
          <cx:pt idx="73681">4</cx:pt>
          <cx:pt idx="73682">5</cx:pt>
          <cx:pt idx="73683">1</cx:pt>
          <cx:pt idx="73684">5</cx:pt>
          <cx:pt idx="73685">4</cx:pt>
          <cx:pt idx="73686">1</cx:pt>
          <cx:pt idx="73687">3</cx:pt>
          <cx:pt idx="73688">5</cx:pt>
          <cx:pt idx="73689">5</cx:pt>
          <cx:pt idx="73690">3</cx:pt>
          <cx:pt idx="73691">2</cx:pt>
          <cx:pt idx="73692">4</cx:pt>
          <cx:pt idx="73693">2</cx:pt>
          <cx:pt idx="73694">4</cx:pt>
          <cx:pt idx="73695">4</cx:pt>
          <cx:pt idx="73696">3</cx:pt>
          <cx:pt idx="73697">4</cx:pt>
          <cx:pt idx="73698">1</cx:pt>
          <cx:pt idx="73699">5</cx:pt>
          <cx:pt idx="73700">2</cx:pt>
          <cx:pt idx="73701">4</cx:pt>
          <cx:pt idx="73702">1</cx:pt>
          <cx:pt idx="73703">2</cx:pt>
          <cx:pt idx="73704">4</cx:pt>
          <cx:pt idx="73705">2</cx:pt>
          <cx:pt idx="73706">1</cx:pt>
          <cx:pt idx="73707">4</cx:pt>
          <cx:pt idx="73708">4</cx:pt>
          <cx:pt idx="73709">4</cx:pt>
          <cx:pt idx="73710">5</cx:pt>
          <cx:pt idx="73711">4</cx:pt>
          <cx:pt idx="73712">2</cx:pt>
          <cx:pt idx="73713">5</cx:pt>
          <cx:pt idx="73714">4</cx:pt>
          <cx:pt idx="73715">2</cx:pt>
          <cx:pt idx="73716">3</cx:pt>
          <cx:pt idx="73717">5</cx:pt>
          <cx:pt idx="73718">4</cx:pt>
          <cx:pt idx="73719">4</cx:pt>
          <cx:pt idx="73720">4</cx:pt>
          <cx:pt idx="73721">4</cx:pt>
          <cx:pt idx="73722">5</cx:pt>
          <cx:pt idx="73723">1</cx:pt>
          <cx:pt idx="73724">5</cx:pt>
          <cx:pt idx="73725">3</cx:pt>
          <cx:pt idx="73726">3</cx:pt>
          <cx:pt idx="73727">4</cx:pt>
          <cx:pt idx="73728">3</cx:pt>
          <cx:pt idx="73729">5</cx:pt>
          <cx:pt idx="73730">4</cx:pt>
          <cx:pt idx="73731">5</cx:pt>
          <cx:pt idx="73732">4</cx:pt>
          <cx:pt idx="73733">5</cx:pt>
          <cx:pt idx="73734">2</cx:pt>
          <cx:pt idx="73735">2</cx:pt>
          <cx:pt idx="73736">5</cx:pt>
          <cx:pt idx="73737">4</cx:pt>
          <cx:pt idx="73738">3</cx:pt>
          <cx:pt idx="73739">3</cx:pt>
          <cx:pt idx="73740">1</cx:pt>
          <cx:pt idx="73741">1</cx:pt>
          <cx:pt idx="73742">5</cx:pt>
          <cx:pt idx="73743">1</cx:pt>
          <cx:pt idx="73744">5</cx:pt>
          <cx:pt idx="73745">4</cx:pt>
          <cx:pt idx="73746">4</cx:pt>
          <cx:pt idx="73747">4</cx:pt>
          <cx:pt idx="73748">1</cx:pt>
          <cx:pt idx="73749">5</cx:pt>
          <cx:pt idx="73750">3</cx:pt>
          <cx:pt idx="73751">5</cx:pt>
          <cx:pt idx="73752">3</cx:pt>
          <cx:pt idx="73753">2</cx:pt>
          <cx:pt idx="73754">3</cx:pt>
          <cx:pt idx="73755">4</cx:pt>
          <cx:pt idx="73756">4</cx:pt>
          <cx:pt idx="73757">5</cx:pt>
          <cx:pt idx="73758">4</cx:pt>
          <cx:pt idx="73759">2</cx:pt>
          <cx:pt idx="73760">5</cx:pt>
          <cx:pt idx="73761">1</cx:pt>
          <cx:pt idx="73762">2</cx:pt>
          <cx:pt idx="73763">2</cx:pt>
          <cx:pt idx="73764">3</cx:pt>
          <cx:pt idx="73765">4</cx:pt>
          <cx:pt idx="73766">1</cx:pt>
          <cx:pt idx="73767">2</cx:pt>
          <cx:pt idx="73768">2</cx:pt>
          <cx:pt idx="73769">3</cx:pt>
          <cx:pt idx="73770">2</cx:pt>
          <cx:pt idx="73771">5</cx:pt>
          <cx:pt idx="73772">4</cx:pt>
          <cx:pt idx="73773">2</cx:pt>
          <cx:pt idx="73774">4</cx:pt>
          <cx:pt idx="73775">4</cx:pt>
          <cx:pt idx="73776">5</cx:pt>
          <cx:pt idx="73777">2</cx:pt>
          <cx:pt idx="73778">2</cx:pt>
          <cx:pt idx="73779">4</cx:pt>
          <cx:pt idx="73780">1</cx:pt>
          <cx:pt idx="73781">4</cx:pt>
          <cx:pt idx="73782">3</cx:pt>
          <cx:pt idx="73783">1</cx:pt>
          <cx:pt idx="73784">5</cx:pt>
          <cx:pt idx="73785">5</cx:pt>
          <cx:pt idx="73786">3</cx:pt>
          <cx:pt idx="73787">5</cx:pt>
          <cx:pt idx="73788">1</cx:pt>
          <cx:pt idx="73789">2</cx:pt>
          <cx:pt idx="73790">5</cx:pt>
          <cx:pt idx="73791">4</cx:pt>
          <cx:pt idx="73792">3</cx:pt>
          <cx:pt idx="73793">4</cx:pt>
          <cx:pt idx="73794">5</cx:pt>
          <cx:pt idx="73795">5</cx:pt>
          <cx:pt idx="73796">3</cx:pt>
          <cx:pt idx="73797">3</cx:pt>
          <cx:pt idx="73798">5</cx:pt>
          <cx:pt idx="73799">4</cx:pt>
          <cx:pt idx="73800">4</cx:pt>
          <cx:pt idx="73801">4</cx:pt>
          <cx:pt idx="73802">5</cx:pt>
          <cx:pt idx="73803">5</cx:pt>
          <cx:pt idx="73804">4</cx:pt>
          <cx:pt idx="73805">4</cx:pt>
          <cx:pt idx="73806">4</cx:pt>
          <cx:pt idx="73807">1</cx:pt>
          <cx:pt idx="73808">4</cx:pt>
          <cx:pt idx="73809">2</cx:pt>
          <cx:pt idx="73810">5</cx:pt>
          <cx:pt idx="73811">4</cx:pt>
          <cx:pt idx="73812">4</cx:pt>
          <cx:pt idx="73813">2</cx:pt>
          <cx:pt idx="73814">5</cx:pt>
          <cx:pt idx="73815">4</cx:pt>
          <cx:pt idx="73816">4</cx:pt>
          <cx:pt idx="73817">4</cx:pt>
          <cx:pt idx="73818">1</cx:pt>
          <cx:pt idx="73819">5</cx:pt>
          <cx:pt idx="73820">1</cx:pt>
          <cx:pt idx="73821">3</cx:pt>
          <cx:pt idx="73822">1</cx:pt>
          <cx:pt idx="73823">5</cx:pt>
          <cx:pt idx="73824">3</cx:pt>
          <cx:pt idx="73825">5</cx:pt>
          <cx:pt idx="73826">2</cx:pt>
          <cx:pt idx="73827">2</cx:pt>
          <cx:pt idx="73828">3</cx:pt>
          <cx:pt idx="73829">4</cx:pt>
          <cx:pt idx="73830">3</cx:pt>
          <cx:pt idx="73831">1</cx:pt>
          <cx:pt idx="73832">5</cx:pt>
          <cx:pt idx="73833">3</cx:pt>
          <cx:pt idx="73834">5</cx:pt>
          <cx:pt idx="73835">3</cx:pt>
          <cx:pt idx="73836">5</cx:pt>
          <cx:pt idx="73837">3</cx:pt>
          <cx:pt idx="73838">3</cx:pt>
          <cx:pt idx="73839">3</cx:pt>
          <cx:pt idx="73840">3</cx:pt>
          <cx:pt idx="73841">4</cx:pt>
          <cx:pt idx="73842">4</cx:pt>
          <cx:pt idx="73843">3</cx:pt>
          <cx:pt idx="73844">3</cx:pt>
          <cx:pt idx="73845">4</cx:pt>
          <cx:pt idx="73846">5</cx:pt>
          <cx:pt idx="73847">3</cx:pt>
          <cx:pt idx="73848">4</cx:pt>
          <cx:pt idx="73849">3</cx:pt>
          <cx:pt idx="73850">5</cx:pt>
          <cx:pt idx="73851">4</cx:pt>
          <cx:pt idx="73852">5</cx:pt>
          <cx:pt idx="73853">4</cx:pt>
          <cx:pt idx="73854">5</cx:pt>
          <cx:pt idx="73855">4</cx:pt>
          <cx:pt idx="73856">2</cx:pt>
          <cx:pt idx="73857">2</cx:pt>
          <cx:pt idx="73858">5</cx:pt>
          <cx:pt idx="73859">4</cx:pt>
          <cx:pt idx="73860">4</cx:pt>
          <cx:pt idx="73861">1</cx:pt>
          <cx:pt idx="73862">5</cx:pt>
          <cx:pt idx="73863">4</cx:pt>
          <cx:pt idx="73864">2</cx:pt>
          <cx:pt idx="73865">1</cx:pt>
          <cx:pt idx="73866">1</cx:pt>
          <cx:pt idx="73867">4</cx:pt>
          <cx:pt idx="73868">5</cx:pt>
          <cx:pt idx="73869">5</cx:pt>
          <cx:pt idx="73870">4</cx:pt>
          <cx:pt idx="73871">4</cx:pt>
          <cx:pt idx="73872">4</cx:pt>
          <cx:pt idx="73873">2</cx:pt>
          <cx:pt idx="73874">1</cx:pt>
          <cx:pt idx="73875">4</cx:pt>
          <cx:pt idx="73876">4</cx:pt>
          <cx:pt idx="73877">4</cx:pt>
          <cx:pt idx="73878">4</cx:pt>
          <cx:pt idx="73879">3</cx:pt>
          <cx:pt idx="73880">5</cx:pt>
          <cx:pt idx="73881">1</cx:pt>
          <cx:pt idx="73882">4</cx:pt>
          <cx:pt idx="73883">5</cx:pt>
          <cx:pt idx="73884">3</cx:pt>
          <cx:pt idx="73885">1</cx:pt>
          <cx:pt idx="73886">3</cx:pt>
          <cx:pt idx="73887">3</cx:pt>
          <cx:pt idx="73888">5</cx:pt>
          <cx:pt idx="73889">5</cx:pt>
          <cx:pt idx="73890">5</cx:pt>
          <cx:pt idx="73891">5</cx:pt>
          <cx:pt idx="73892">4</cx:pt>
          <cx:pt idx="73893">3</cx:pt>
          <cx:pt idx="73894">4</cx:pt>
          <cx:pt idx="73895">2</cx:pt>
          <cx:pt idx="73896">5</cx:pt>
          <cx:pt idx="73897">1</cx:pt>
          <cx:pt idx="73898">1</cx:pt>
          <cx:pt idx="73899">4</cx:pt>
          <cx:pt idx="73900">5</cx:pt>
          <cx:pt idx="73901">5</cx:pt>
          <cx:pt idx="73902">4</cx:pt>
          <cx:pt idx="73903">2</cx:pt>
          <cx:pt idx="73904">3</cx:pt>
          <cx:pt idx="73905">4</cx:pt>
          <cx:pt idx="73906">3</cx:pt>
          <cx:pt idx="73907">2</cx:pt>
          <cx:pt idx="73908">5</cx:pt>
          <cx:pt idx="73909">4</cx:pt>
          <cx:pt idx="73910">5</cx:pt>
          <cx:pt idx="73911">4</cx:pt>
          <cx:pt idx="73912">2</cx:pt>
          <cx:pt idx="73913">1</cx:pt>
          <cx:pt idx="73914">3</cx:pt>
          <cx:pt idx="73915">5</cx:pt>
          <cx:pt idx="73916">3</cx:pt>
          <cx:pt idx="73917">3</cx:pt>
          <cx:pt idx="73918">2</cx:pt>
          <cx:pt idx="73919">5</cx:pt>
          <cx:pt idx="73920">2</cx:pt>
          <cx:pt idx="73921">5</cx:pt>
          <cx:pt idx="73922">5</cx:pt>
          <cx:pt idx="73923">5</cx:pt>
          <cx:pt idx="73924">1</cx:pt>
          <cx:pt idx="73925">5</cx:pt>
          <cx:pt idx="73926">4</cx:pt>
          <cx:pt idx="73927">2</cx:pt>
          <cx:pt idx="73928">1</cx:pt>
          <cx:pt idx="73929">2</cx:pt>
          <cx:pt idx="73930">3</cx:pt>
          <cx:pt idx="73931">4</cx:pt>
          <cx:pt idx="73932">2</cx:pt>
          <cx:pt idx="73933">2</cx:pt>
          <cx:pt idx="73934">3</cx:pt>
          <cx:pt idx="73935">4</cx:pt>
          <cx:pt idx="73936">3</cx:pt>
          <cx:pt idx="73937">2</cx:pt>
          <cx:pt idx="73938">2</cx:pt>
          <cx:pt idx="73939">5</cx:pt>
          <cx:pt idx="73940">5</cx:pt>
          <cx:pt idx="73941">1</cx:pt>
          <cx:pt idx="73942">2</cx:pt>
          <cx:pt idx="73943">4</cx:pt>
          <cx:pt idx="73944">1</cx:pt>
          <cx:pt idx="73945">5</cx:pt>
          <cx:pt idx="73946">4</cx:pt>
          <cx:pt idx="73947">5</cx:pt>
          <cx:pt idx="73948">2</cx:pt>
          <cx:pt idx="73949">1</cx:pt>
          <cx:pt idx="73950">5</cx:pt>
          <cx:pt idx="73951">5</cx:pt>
          <cx:pt idx="73952">4</cx:pt>
          <cx:pt idx="73953">5</cx:pt>
          <cx:pt idx="73954">3</cx:pt>
          <cx:pt idx="73955">4</cx:pt>
          <cx:pt idx="73956">5</cx:pt>
          <cx:pt idx="73957">3</cx:pt>
          <cx:pt idx="73958">3</cx:pt>
          <cx:pt idx="73959">2</cx:pt>
          <cx:pt idx="73960">5</cx:pt>
          <cx:pt idx="73961">3</cx:pt>
          <cx:pt idx="73962">3</cx:pt>
          <cx:pt idx="73963">5</cx:pt>
          <cx:pt idx="73964">5</cx:pt>
          <cx:pt idx="73965">5</cx:pt>
          <cx:pt idx="73966">4</cx:pt>
          <cx:pt idx="73967">5</cx:pt>
          <cx:pt idx="73968">3</cx:pt>
          <cx:pt idx="73969">3</cx:pt>
          <cx:pt idx="73970">5</cx:pt>
          <cx:pt idx="73971">5</cx:pt>
          <cx:pt idx="73972">4</cx:pt>
          <cx:pt idx="73973">4</cx:pt>
          <cx:pt idx="73974">5</cx:pt>
          <cx:pt idx="73975">4</cx:pt>
          <cx:pt idx="73976">4</cx:pt>
          <cx:pt idx="73977">3</cx:pt>
          <cx:pt idx="73978">5</cx:pt>
          <cx:pt idx="73979">4</cx:pt>
          <cx:pt idx="73980">4</cx:pt>
          <cx:pt idx="73981">3</cx:pt>
          <cx:pt idx="73982">4</cx:pt>
          <cx:pt idx="73983">3</cx:pt>
          <cx:pt idx="73984">4</cx:pt>
          <cx:pt idx="73985">5</cx:pt>
          <cx:pt idx="73986">1</cx:pt>
          <cx:pt idx="73987">4</cx:pt>
          <cx:pt idx="73988">4</cx:pt>
          <cx:pt idx="73989">4</cx:pt>
          <cx:pt idx="73990">4</cx:pt>
          <cx:pt idx="73991">3</cx:pt>
          <cx:pt idx="73992">4</cx:pt>
          <cx:pt idx="73993">4</cx:pt>
          <cx:pt idx="73994">3</cx:pt>
          <cx:pt idx="73995">5</cx:pt>
          <cx:pt idx="73996">1</cx:pt>
          <cx:pt idx="73997">5</cx:pt>
          <cx:pt idx="73998">5</cx:pt>
          <cx:pt idx="73999">4</cx:pt>
          <cx:pt idx="74000">2</cx:pt>
          <cx:pt idx="74001">5</cx:pt>
          <cx:pt idx="74002">5</cx:pt>
          <cx:pt idx="74003">5</cx:pt>
          <cx:pt idx="74004">5</cx:pt>
          <cx:pt idx="74005">1</cx:pt>
          <cx:pt idx="74006">5</cx:pt>
          <cx:pt idx="74007">3</cx:pt>
          <cx:pt idx="74008">4</cx:pt>
          <cx:pt idx="74009">3</cx:pt>
          <cx:pt idx="74010">4</cx:pt>
          <cx:pt idx="74011">5</cx:pt>
          <cx:pt idx="74012">2</cx:pt>
          <cx:pt idx="74013">3</cx:pt>
          <cx:pt idx="74014">4</cx:pt>
          <cx:pt idx="74015">2</cx:pt>
          <cx:pt idx="74016">2</cx:pt>
          <cx:pt idx="74017">5</cx:pt>
          <cx:pt idx="74018">4</cx:pt>
          <cx:pt idx="74019">4</cx:pt>
          <cx:pt idx="74020">5</cx:pt>
          <cx:pt idx="74021">5</cx:pt>
          <cx:pt idx="74022">5</cx:pt>
          <cx:pt idx="74023">5</cx:pt>
          <cx:pt idx="74024">4</cx:pt>
          <cx:pt idx="74025">2</cx:pt>
          <cx:pt idx="74026">5</cx:pt>
          <cx:pt idx="74027">2</cx:pt>
          <cx:pt idx="74028">3</cx:pt>
          <cx:pt idx="74029">3</cx:pt>
          <cx:pt idx="74030">3</cx:pt>
          <cx:pt idx="74031">3</cx:pt>
          <cx:pt idx="74032">2</cx:pt>
          <cx:pt idx="74033">2</cx:pt>
          <cx:pt idx="74034">4</cx:pt>
          <cx:pt idx="74035">5</cx:pt>
          <cx:pt idx="74036">5</cx:pt>
          <cx:pt idx="74037">4</cx:pt>
          <cx:pt idx="74038">4</cx:pt>
          <cx:pt idx="74039">1</cx:pt>
          <cx:pt idx="74040">2</cx:pt>
          <cx:pt idx="74041">5</cx:pt>
          <cx:pt idx="74042">4</cx:pt>
          <cx:pt idx="74043">4</cx:pt>
          <cx:pt idx="74044">5</cx:pt>
          <cx:pt idx="74045">4</cx:pt>
          <cx:pt idx="74046">5</cx:pt>
          <cx:pt idx="74047">5</cx:pt>
          <cx:pt idx="74048">2</cx:pt>
          <cx:pt idx="74049">5</cx:pt>
          <cx:pt idx="74050">4</cx:pt>
          <cx:pt idx="74051">4</cx:pt>
          <cx:pt idx="74052">4</cx:pt>
          <cx:pt idx="74053">3</cx:pt>
          <cx:pt idx="74054">1</cx:pt>
          <cx:pt idx="74055">4</cx:pt>
          <cx:pt idx="74056">1</cx:pt>
          <cx:pt idx="74057">1</cx:pt>
          <cx:pt idx="74058">4</cx:pt>
          <cx:pt idx="74059">1</cx:pt>
          <cx:pt idx="74060">5</cx:pt>
          <cx:pt idx="74061">5</cx:pt>
          <cx:pt idx="74062">1</cx:pt>
          <cx:pt idx="74063">2</cx:pt>
          <cx:pt idx="74064">2</cx:pt>
          <cx:pt idx="74065">5</cx:pt>
          <cx:pt idx="74066">5</cx:pt>
          <cx:pt idx="74067">4</cx:pt>
          <cx:pt idx="74068">3</cx:pt>
          <cx:pt idx="74069">1</cx:pt>
          <cx:pt idx="74070">3</cx:pt>
          <cx:pt idx="74071">1</cx:pt>
          <cx:pt idx="74072">2</cx:pt>
          <cx:pt idx="74073">5</cx:pt>
          <cx:pt idx="74074">3</cx:pt>
          <cx:pt idx="74075">5</cx:pt>
          <cx:pt idx="74076">4</cx:pt>
          <cx:pt idx="74077">5</cx:pt>
          <cx:pt idx="74078">3</cx:pt>
          <cx:pt idx="74079">4</cx:pt>
          <cx:pt idx="74080">4</cx:pt>
          <cx:pt idx="74081">4</cx:pt>
          <cx:pt idx="74082">1</cx:pt>
          <cx:pt idx="74083">5</cx:pt>
          <cx:pt idx="74084">3</cx:pt>
          <cx:pt idx="74085">5</cx:pt>
          <cx:pt idx="74086">4</cx:pt>
          <cx:pt idx="74087">5</cx:pt>
          <cx:pt idx="74088">5</cx:pt>
          <cx:pt idx="74089">1</cx:pt>
          <cx:pt idx="74090">3</cx:pt>
          <cx:pt idx="74091">1</cx:pt>
          <cx:pt idx="74092">5</cx:pt>
          <cx:pt idx="74093">3</cx:pt>
          <cx:pt idx="74094">4</cx:pt>
          <cx:pt idx="74095">5</cx:pt>
          <cx:pt idx="74096">4</cx:pt>
          <cx:pt idx="74097">3</cx:pt>
          <cx:pt idx="74098">1</cx:pt>
          <cx:pt idx="74099">4</cx:pt>
          <cx:pt idx="74100">2</cx:pt>
          <cx:pt idx="74101">3</cx:pt>
          <cx:pt idx="74102">2</cx:pt>
          <cx:pt idx="74103">5</cx:pt>
          <cx:pt idx="74104">3</cx:pt>
          <cx:pt idx="74105">5</cx:pt>
          <cx:pt idx="74106">4</cx:pt>
          <cx:pt idx="74107">4</cx:pt>
          <cx:pt idx="74108">4</cx:pt>
          <cx:pt idx="74109">5</cx:pt>
          <cx:pt idx="74110">4</cx:pt>
          <cx:pt idx="74111">2</cx:pt>
          <cx:pt idx="74112">5</cx:pt>
          <cx:pt idx="74113">5</cx:pt>
          <cx:pt idx="74114">5</cx:pt>
          <cx:pt idx="74115">5</cx:pt>
          <cx:pt idx="74116">5</cx:pt>
          <cx:pt idx="74117">5</cx:pt>
          <cx:pt idx="74118">5</cx:pt>
          <cx:pt idx="74119">2</cx:pt>
          <cx:pt idx="74120">5</cx:pt>
          <cx:pt idx="74121">5</cx:pt>
          <cx:pt idx="74122">2</cx:pt>
          <cx:pt idx="74123">5</cx:pt>
          <cx:pt idx="74124">5</cx:pt>
          <cx:pt idx="74125">4</cx:pt>
          <cx:pt idx="74126">5</cx:pt>
          <cx:pt idx="74127">4</cx:pt>
          <cx:pt idx="74128">4</cx:pt>
          <cx:pt idx="74129">5</cx:pt>
          <cx:pt idx="74130">3</cx:pt>
          <cx:pt idx="74131">1</cx:pt>
          <cx:pt idx="74132">5</cx:pt>
          <cx:pt idx="74133">4</cx:pt>
          <cx:pt idx="74134">5</cx:pt>
          <cx:pt idx="74135">5</cx:pt>
          <cx:pt idx="74136">2</cx:pt>
          <cx:pt idx="74137">3</cx:pt>
          <cx:pt idx="74138">5</cx:pt>
          <cx:pt idx="74139">4</cx:pt>
          <cx:pt idx="74140">2</cx:pt>
          <cx:pt idx="74141">4</cx:pt>
          <cx:pt idx="74142">5</cx:pt>
          <cx:pt idx="74143">3</cx:pt>
          <cx:pt idx="74144">3</cx:pt>
          <cx:pt idx="74145">1</cx:pt>
          <cx:pt idx="74146">2</cx:pt>
          <cx:pt idx="74147">2</cx:pt>
          <cx:pt idx="74148">4</cx:pt>
          <cx:pt idx="74149">2</cx:pt>
          <cx:pt idx="74150">5</cx:pt>
          <cx:pt idx="74151">3</cx:pt>
          <cx:pt idx="74152">4</cx:pt>
          <cx:pt idx="74153">5</cx:pt>
          <cx:pt idx="74154">3</cx:pt>
          <cx:pt idx="74155">4</cx:pt>
          <cx:pt idx="74156">3</cx:pt>
          <cx:pt idx="74157">2</cx:pt>
          <cx:pt idx="74158">5</cx:pt>
          <cx:pt idx="74159">4</cx:pt>
          <cx:pt idx="74160">4</cx:pt>
          <cx:pt idx="74161">4</cx:pt>
          <cx:pt idx="74162">2</cx:pt>
          <cx:pt idx="74163">5</cx:pt>
          <cx:pt idx="74164">4</cx:pt>
          <cx:pt idx="74165">5</cx:pt>
          <cx:pt idx="74166">5</cx:pt>
          <cx:pt idx="74167">5</cx:pt>
          <cx:pt idx="74168">4</cx:pt>
          <cx:pt idx="74169">2</cx:pt>
          <cx:pt idx="74170">4</cx:pt>
          <cx:pt idx="74171">3</cx:pt>
          <cx:pt idx="74172">5</cx:pt>
          <cx:pt idx="74173">2</cx:pt>
          <cx:pt idx="74174">4</cx:pt>
          <cx:pt idx="74175">5</cx:pt>
          <cx:pt idx="74176">2</cx:pt>
          <cx:pt idx="74177">5</cx:pt>
          <cx:pt idx="74178">2</cx:pt>
          <cx:pt idx="74179">2</cx:pt>
          <cx:pt idx="74180">5</cx:pt>
          <cx:pt idx="74181">5</cx:pt>
          <cx:pt idx="74182">1</cx:pt>
          <cx:pt idx="74183">2</cx:pt>
          <cx:pt idx="74184">4</cx:pt>
          <cx:pt idx="74185">5</cx:pt>
          <cx:pt idx="74186">2</cx:pt>
          <cx:pt idx="74187">2</cx:pt>
          <cx:pt idx="74188">5</cx:pt>
          <cx:pt idx="74189">4</cx:pt>
          <cx:pt idx="74190">5</cx:pt>
          <cx:pt idx="74191">1</cx:pt>
          <cx:pt idx="74192">4</cx:pt>
          <cx:pt idx="74193">3</cx:pt>
          <cx:pt idx="74194">4</cx:pt>
          <cx:pt idx="74195">1</cx:pt>
          <cx:pt idx="74196">5</cx:pt>
          <cx:pt idx="74197">1</cx:pt>
          <cx:pt idx="74198">4</cx:pt>
          <cx:pt idx="74199">4</cx:pt>
          <cx:pt idx="74200">1</cx:pt>
          <cx:pt idx="74201">4</cx:pt>
          <cx:pt idx="74202">3</cx:pt>
          <cx:pt idx="74203">4</cx:pt>
          <cx:pt idx="74204">4</cx:pt>
          <cx:pt idx="74205">5</cx:pt>
          <cx:pt idx="74206">2</cx:pt>
          <cx:pt idx="74207">3</cx:pt>
          <cx:pt idx="74208">1</cx:pt>
          <cx:pt idx="74209">4</cx:pt>
          <cx:pt idx="74210">5</cx:pt>
          <cx:pt idx="74211">4</cx:pt>
          <cx:pt idx="74212">2</cx:pt>
          <cx:pt idx="74213">2</cx:pt>
          <cx:pt idx="74214">5</cx:pt>
          <cx:pt idx="74215">4</cx:pt>
          <cx:pt idx="74216">5</cx:pt>
          <cx:pt idx="74217">1</cx:pt>
          <cx:pt idx="74218">4</cx:pt>
          <cx:pt idx="74219">2</cx:pt>
          <cx:pt idx="74220">5</cx:pt>
          <cx:pt idx="74221">5</cx:pt>
          <cx:pt idx="74222">3</cx:pt>
          <cx:pt idx="74223">5</cx:pt>
          <cx:pt idx="74224">4</cx:pt>
          <cx:pt idx="74225">3</cx:pt>
          <cx:pt idx="74226">2</cx:pt>
          <cx:pt idx="74227">3</cx:pt>
          <cx:pt idx="74228">3</cx:pt>
          <cx:pt idx="74229">2</cx:pt>
          <cx:pt idx="74230">3</cx:pt>
          <cx:pt idx="74231">5</cx:pt>
          <cx:pt idx="74232">4</cx:pt>
          <cx:pt idx="74233">4</cx:pt>
          <cx:pt idx="74234">4</cx:pt>
          <cx:pt idx="74235">2</cx:pt>
          <cx:pt idx="74236">5</cx:pt>
          <cx:pt idx="74237">5</cx:pt>
          <cx:pt idx="74238">4</cx:pt>
          <cx:pt idx="74239">1</cx:pt>
          <cx:pt idx="74240">5</cx:pt>
          <cx:pt idx="74241">3</cx:pt>
          <cx:pt idx="74242">5</cx:pt>
          <cx:pt idx="74243">4</cx:pt>
          <cx:pt idx="74244">4</cx:pt>
          <cx:pt idx="74245">3</cx:pt>
          <cx:pt idx="74246">5</cx:pt>
          <cx:pt idx="74247">5</cx:pt>
          <cx:pt idx="74248">4</cx:pt>
          <cx:pt idx="74249">5</cx:pt>
          <cx:pt idx="74250">1</cx:pt>
          <cx:pt idx="74251">3</cx:pt>
          <cx:pt idx="74252">4</cx:pt>
          <cx:pt idx="74253">5</cx:pt>
          <cx:pt idx="74254">5</cx:pt>
          <cx:pt idx="74255">5</cx:pt>
          <cx:pt idx="74256">4</cx:pt>
          <cx:pt idx="74257">5</cx:pt>
          <cx:pt idx="74258">1</cx:pt>
          <cx:pt idx="74259">4</cx:pt>
          <cx:pt idx="74260">4</cx:pt>
          <cx:pt idx="74261">2</cx:pt>
          <cx:pt idx="74262">5</cx:pt>
          <cx:pt idx="74263">5</cx:pt>
          <cx:pt idx="74264">2</cx:pt>
          <cx:pt idx="74265">4</cx:pt>
          <cx:pt idx="74266">5</cx:pt>
          <cx:pt idx="74267">4</cx:pt>
          <cx:pt idx="74268">5</cx:pt>
          <cx:pt idx="74269">2</cx:pt>
          <cx:pt idx="74270">5</cx:pt>
          <cx:pt idx="74271">5</cx:pt>
          <cx:pt idx="74272">3</cx:pt>
          <cx:pt idx="74273">1</cx:pt>
          <cx:pt idx="74274">4</cx:pt>
          <cx:pt idx="74275">3</cx:pt>
          <cx:pt idx="74276">4</cx:pt>
          <cx:pt idx="74277">5</cx:pt>
          <cx:pt idx="74278">4</cx:pt>
          <cx:pt idx="74279">4</cx:pt>
          <cx:pt idx="74280">1</cx:pt>
          <cx:pt idx="74281">3</cx:pt>
          <cx:pt idx="74282">4</cx:pt>
          <cx:pt idx="74283">2</cx:pt>
          <cx:pt idx="74284">3</cx:pt>
          <cx:pt idx="74285">3</cx:pt>
          <cx:pt idx="74286">2</cx:pt>
          <cx:pt idx="74287">1</cx:pt>
          <cx:pt idx="74288">5</cx:pt>
          <cx:pt idx="74289">3</cx:pt>
          <cx:pt idx="74290">4</cx:pt>
          <cx:pt idx="74291">4</cx:pt>
          <cx:pt idx="74292">5</cx:pt>
          <cx:pt idx="74293">1</cx:pt>
          <cx:pt idx="74294">3</cx:pt>
          <cx:pt idx="74295">4</cx:pt>
          <cx:pt idx="74296">3</cx:pt>
          <cx:pt idx="74297">5</cx:pt>
          <cx:pt idx="74298">5</cx:pt>
          <cx:pt idx="74299">1</cx:pt>
          <cx:pt idx="74300">4</cx:pt>
          <cx:pt idx="74301">5</cx:pt>
          <cx:pt idx="74302">5</cx:pt>
          <cx:pt idx="74303">2</cx:pt>
          <cx:pt idx="74304">5</cx:pt>
          <cx:pt idx="74305">4</cx:pt>
          <cx:pt idx="74306">5</cx:pt>
          <cx:pt idx="74307">1</cx:pt>
          <cx:pt idx="74308">3</cx:pt>
          <cx:pt idx="74309">4</cx:pt>
          <cx:pt idx="74310">5</cx:pt>
          <cx:pt idx="74311">3</cx:pt>
          <cx:pt idx="74312">3</cx:pt>
          <cx:pt idx="74313">2</cx:pt>
          <cx:pt idx="74314">5</cx:pt>
          <cx:pt idx="74315">1</cx:pt>
          <cx:pt idx="74316">5</cx:pt>
          <cx:pt idx="74317">2</cx:pt>
          <cx:pt idx="74318">3</cx:pt>
          <cx:pt idx="74319">3</cx:pt>
          <cx:pt idx="74320">5</cx:pt>
          <cx:pt idx="74321">4</cx:pt>
          <cx:pt idx="74322">4</cx:pt>
          <cx:pt idx="74323">5</cx:pt>
          <cx:pt idx="74324">5</cx:pt>
          <cx:pt idx="74325">3</cx:pt>
          <cx:pt idx="74326">5</cx:pt>
          <cx:pt idx="74327">4</cx:pt>
          <cx:pt idx="74328">4</cx:pt>
          <cx:pt idx="74329">4</cx:pt>
          <cx:pt idx="74330">3</cx:pt>
          <cx:pt idx="74331">1</cx:pt>
          <cx:pt idx="74332">2</cx:pt>
          <cx:pt idx="74333">3</cx:pt>
          <cx:pt idx="74334">3</cx:pt>
          <cx:pt idx="74335">2</cx:pt>
          <cx:pt idx="74336">5</cx:pt>
          <cx:pt idx="74337">4</cx:pt>
          <cx:pt idx="74338">3</cx:pt>
          <cx:pt idx="74339">4</cx:pt>
          <cx:pt idx="74340">2</cx:pt>
          <cx:pt idx="74341">5</cx:pt>
          <cx:pt idx="74342">4</cx:pt>
          <cx:pt idx="74343">4</cx:pt>
          <cx:pt idx="74344">4</cx:pt>
          <cx:pt idx="74345">5</cx:pt>
          <cx:pt idx="74346">3</cx:pt>
          <cx:pt idx="74347">4</cx:pt>
          <cx:pt idx="74348">4</cx:pt>
          <cx:pt idx="74349">1</cx:pt>
          <cx:pt idx="74350">4</cx:pt>
          <cx:pt idx="74351">5</cx:pt>
          <cx:pt idx="74352">2</cx:pt>
          <cx:pt idx="74353">5</cx:pt>
          <cx:pt idx="74354">2</cx:pt>
          <cx:pt idx="74355">4</cx:pt>
          <cx:pt idx="74356">4</cx:pt>
          <cx:pt idx="74357">5</cx:pt>
          <cx:pt idx="74358">4</cx:pt>
          <cx:pt idx="74359">5</cx:pt>
          <cx:pt idx="74360">3</cx:pt>
          <cx:pt idx="74361">4</cx:pt>
          <cx:pt idx="74362">3</cx:pt>
          <cx:pt idx="74363">5</cx:pt>
          <cx:pt idx="74364">5</cx:pt>
          <cx:pt idx="74365">4</cx:pt>
          <cx:pt idx="74366">5</cx:pt>
          <cx:pt idx="74367">4</cx:pt>
          <cx:pt idx="74368">4</cx:pt>
          <cx:pt idx="74369">2</cx:pt>
          <cx:pt idx="74370">3</cx:pt>
          <cx:pt idx="74371">5</cx:pt>
          <cx:pt idx="74372">5</cx:pt>
          <cx:pt idx="74373">5</cx:pt>
          <cx:pt idx="74374">4</cx:pt>
          <cx:pt idx="74375">4</cx:pt>
          <cx:pt idx="74376">5</cx:pt>
          <cx:pt idx="74377">2</cx:pt>
          <cx:pt idx="74378">3</cx:pt>
          <cx:pt idx="74379">4</cx:pt>
          <cx:pt idx="74380">2</cx:pt>
          <cx:pt idx="74381">1</cx:pt>
          <cx:pt idx="74382">1</cx:pt>
          <cx:pt idx="74383">2</cx:pt>
          <cx:pt idx="74384">5</cx:pt>
          <cx:pt idx="74385">5</cx:pt>
          <cx:pt idx="74386">5</cx:pt>
          <cx:pt idx="74387">4</cx:pt>
          <cx:pt idx="74388">5</cx:pt>
          <cx:pt idx="74389">5</cx:pt>
          <cx:pt idx="74390">2</cx:pt>
          <cx:pt idx="74391">5</cx:pt>
          <cx:pt idx="74392">2</cx:pt>
          <cx:pt idx="74393">5</cx:pt>
          <cx:pt idx="74394">5</cx:pt>
          <cx:pt idx="74395">4</cx:pt>
          <cx:pt idx="74396">3</cx:pt>
          <cx:pt idx="74397">5</cx:pt>
          <cx:pt idx="74398">1</cx:pt>
          <cx:pt idx="74399">5</cx:pt>
          <cx:pt idx="74400">2</cx:pt>
          <cx:pt idx="74401">3</cx:pt>
          <cx:pt idx="74402">5</cx:pt>
          <cx:pt idx="74403">1</cx:pt>
          <cx:pt idx="74404">1</cx:pt>
          <cx:pt idx="74405">2</cx:pt>
          <cx:pt idx="74406">5</cx:pt>
          <cx:pt idx="74407">3</cx:pt>
          <cx:pt idx="74408">4</cx:pt>
          <cx:pt idx="74409">1</cx:pt>
          <cx:pt idx="74410">4</cx:pt>
          <cx:pt idx="74411">1</cx:pt>
          <cx:pt idx="74412">4</cx:pt>
          <cx:pt idx="74413">5</cx:pt>
          <cx:pt idx="74414">1</cx:pt>
          <cx:pt idx="74415">3</cx:pt>
          <cx:pt idx="74416">4</cx:pt>
          <cx:pt idx="74417">2</cx:pt>
          <cx:pt idx="74418">1</cx:pt>
          <cx:pt idx="74419">4</cx:pt>
          <cx:pt idx="74420">5</cx:pt>
          <cx:pt idx="74421">4</cx:pt>
          <cx:pt idx="74422">3</cx:pt>
          <cx:pt idx="74423">5</cx:pt>
          <cx:pt idx="74424">1</cx:pt>
          <cx:pt idx="74425">4</cx:pt>
          <cx:pt idx="74426">5</cx:pt>
          <cx:pt idx="74427">5</cx:pt>
          <cx:pt idx="74428">4</cx:pt>
          <cx:pt idx="74429">1</cx:pt>
          <cx:pt idx="74430">2</cx:pt>
          <cx:pt idx="74431">3</cx:pt>
          <cx:pt idx="74432">5</cx:pt>
          <cx:pt idx="74433">2</cx:pt>
          <cx:pt idx="74434">4</cx:pt>
          <cx:pt idx="74435">3</cx:pt>
          <cx:pt idx="74436">5</cx:pt>
          <cx:pt idx="74437">3</cx:pt>
          <cx:pt idx="74438">5</cx:pt>
          <cx:pt idx="74439">2</cx:pt>
          <cx:pt idx="74440">3</cx:pt>
          <cx:pt idx="74441">3</cx:pt>
          <cx:pt idx="74442">1</cx:pt>
          <cx:pt idx="74443">1</cx:pt>
          <cx:pt idx="74444">5</cx:pt>
          <cx:pt idx="74445">5</cx:pt>
          <cx:pt idx="74446">1</cx:pt>
          <cx:pt idx="74447">4</cx:pt>
          <cx:pt idx="74448">4</cx:pt>
          <cx:pt idx="74449">1</cx:pt>
          <cx:pt idx="74450">3</cx:pt>
          <cx:pt idx="74451">1</cx:pt>
          <cx:pt idx="74452">1</cx:pt>
          <cx:pt idx="74453">3</cx:pt>
          <cx:pt idx="74454">1</cx:pt>
          <cx:pt idx="74455">3</cx:pt>
          <cx:pt idx="74456">5</cx:pt>
          <cx:pt idx="74457">2</cx:pt>
          <cx:pt idx="74458">5</cx:pt>
          <cx:pt idx="74459">4</cx:pt>
          <cx:pt idx="74460">5</cx:pt>
          <cx:pt idx="74461">5</cx:pt>
          <cx:pt idx="74462">2</cx:pt>
          <cx:pt idx="74463">4</cx:pt>
          <cx:pt idx="74464">2</cx:pt>
          <cx:pt idx="74465">5</cx:pt>
          <cx:pt idx="74466">4</cx:pt>
          <cx:pt idx="74467">2</cx:pt>
          <cx:pt idx="74468">1</cx:pt>
          <cx:pt idx="74469">4</cx:pt>
          <cx:pt idx="74470">4</cx:pt>
          <cx:pt idx="74471">5</cx:pt>
          <cx:pt idx="74472">5</cx:pt>
          <cx:pt idx="74473">4</cx:pt>
          <cx:pt idx="74474">4</cx:pt>
          <cx:pt idx="74475">4</cx:pt>
          <cx:pt idx="74476">4</cx:pt>
          <cx:pt idx="74477">5</cx:pt>
          <cx:pt idx="74478">4</cx:pt>
          <cx:pt idx="74479">3</cx:pt>
          <cx:pt idx="74480">5</cx:pt>
          <cx:pt idx="74481">3</cx:pt>
          <cx:pt idx="74482">3</cx:pt>
          <cx:pt idx="74483">5</cx:pt>
          <cx:pt idx="74484">5</cx:pt>
          <cx:pt idx="74485">5</cx:pt>
          <cx:pt idx="74486">3</cx:pt>
          <cx:pt idx="74487">1</cx:pt>
          <cx:pt idx="74488">4</cx:pt>
          <cx:pt idx="74489">5</cx:pt>
          <cx:pt idx="74490">5</cx:pt>
          <cx:pt idx="74491">3</cx:pt>
          <cx:pt idx="74492">4</cx:pt>
          <cx:pt idx="74493">4</cx:pt>
          <cx:pt idx="74494">3</cx:pt>
          <cx:pt idx="74495">4</cx:pt>
          <cx:pt idx="74496">4</cx:pt>
          <cx:pt idx="74497">5</cx:pt>
          <cx:pt idx="74498">4</cx:pt>
          <cx:pt idx="74499">4</cx:pt>
          <cx:pt idx="74500">5</cx:pt>
          <cx:pt idx="74501">1</cx:pt>
          <cx:pt idx="74502">3</cx:pt>
          <cx:pt idx="74503">1</cx:pt>
          <cx:pt idx="74504">3</cx:pt>
          <cx:pt idx="74505">4</cx:pt>
          <cx:pt idx="74506">1</cx:pt>
          <cx:pt idx="74507">1</cx:pt>
          <cx:pt idx="74508">5</cx:pt>
          <cx:pt idx="74509">2</cx:pt>
          <cx:pt idx="74510">1</cx:pt>
          <cx:pt idx="74511">5</cx:pt>
          <cx:pt idx="74512">4</cx:pt>
          <cx:pt idx="74513">1</cx:pt>
          <cx:pt idx="74514">2</cx:pt>
          <cx:pt idx="74515">2</cx:pt>
          <cx:pt idx="74516">2</cx:pt>
          <cx:pt idx="74517">5</cx:pt>
          <cx:pt idx="74518">4</cx:pt>
          <cx:pt idx="74519">3</cx:pt>
          <cx:pt idx="74520">3</cx:pt>
          <cx:pt idx="74521">4</cx:pt>
          <cx:pt idx="74522">3</cx:pt>
          <cx:pt idx="74523">3</cx:pt>
          <cx:pt idx="74524">1</cx:pt>
          <cx:pt idx="74525">5</cx:pt>
          <cx:pt idx="74526">1</cx:pt>
          <cx:pt idx="74527">3</cx:pt>
          <cx:pt idx="74528">2</cx:pt>
          <cx:pt idx="74529">5</cx:pt>
          <cx:pt idx="74530">2</cx:pt>
          <cx:pt idx="74531">5</cx:pt>
          <cx:pt idx="74532">2</cx:pt>
          <cx:pt idx="74533">4</cx:pt>
          <cx:pt idx="74534">3</cx:pt>
          <cx:pt idx="74535">3</cx:pt>
          <cx:pt idx="74536">2</cx:pt>
          <cx:pt idx="74537">5</cx:pt>
          <cx:pt idx="74538">3</cx:pt>
          <cx:pt idx="74539">3</cx:pt>
          <cx:pt idx="74540">4</cx:pt>
          <cx:pt idx="74541">5</cx:pt>
          <cx:pt idx="74542">5</cx:pt>
          <cx:pt idx="74543">5</cx:pt>
          <cx:pt idx="74544">5</cx:pt>
          <cx:pt idx="74545">1</cx:pt>
          <cx:pt idx="74546">3</cx:pt>
          <cx:pt idx="74547">4</cx:pt>
          <cx:pt idx="74548">4</cx:pt>
          <cx:pt idx="74549">2</cx:pt>
          <cx:pt idx="74550">3</cx:pt>
          <cx:pt idx="74551">2</cx:pt>
          <cx:pt idx="74552">4</cx:pt>
          <cx:pt idx="74553">5</cx:pt>
          <cx:pt idx="74554">3</cx:pt>
          <cx:pt idx="74555">3</cx:pt>
          <cx:pt idx="74556">5</cx:pt>
          <cx:pt idx="74557">5</cx:pt>
          <cx:pt idx="74558">5</cx:pt>
          <cx:pt idx="74559">4</cx:pt>
          <cx:pt idx="74560">4</cx:pt>
          <cx:pt idx="74561">3</cx:pt>
          <cx:pt idx="74562">4</cx:pt>
          <cx:pt idx="74563">3</cx:pt>
          <cx:pt idx="74564">4</cx:pt>
          <cx:pt idx="74565">3</cx:pt>
          <cx:pt idx="74566">4</cx:pt>
          <cx:pt idx="74567">3</cx:pt>
          <cx:pt idx="74568">2</cx:pt>
          <cx:pt idx="74569">3</cx:pt>
          <cx:pt idx="74570">2</cx:pt>
          <cx:pt idx="74571">4</cx:pt>
          <cx:pt idx="74572">5</cx:pt>
          <cx:pt idx="74573">2</cx:pt>
          <cx:pt idx="74574">3</cx:pt>
          <cx:pt idx="74575">5</cx:pt>
          <cx:pt idx="74576">3</cx:pt>
          <cx:pt idx="74577">4</cx:pt>
          <cx:pt idx="74578">3</cx:pt>
          <cx:pt idx="74579">4</cx:pt>
          <cx:pt idx="74580">1</cx:pt>
          <cx:pt idx="74581">3</cx:pt>
          <cx:pt idx="74582">5</cx:pt>
          <cx:pt idx="74583">5</cx:pt>
          <cx:pt idx="74584">4</cx:pt>
          <cx:pt idx="74585">2</cx:pt>
          <cx:pt idx="74586">4</cx:pt>
          <cx:pt idx="74587">5</cx:pt>
          <cx:pt idx="74588">3</cx:pt>
          <cx:pt idx="74589">1</cx:pt>
          <cx:pt idx="74590">4</cx:pt>
          <cx:pt idx="74591">2</cx:pt>
          <cx:pt idx="74592">4</cx:pt>
          <cx:pt idx="74593">4</cx:pt>
          <cx:pt idx="74594">4</cx:pt>
          <cx:pt idx="74595">5</cx:pt>
          <cx:pt idx="74596">5</cx:pt>
          <cx:pt idx="74597">2</cx:pt>
          <cx:pt idx="74598">3</cx:pt>
          <cx:pt idx="74599">2</cx:pt>
          <cx:pt idx="74600">1</cx:pt>
          <cx:pt idx="74601">4</cx:pt>
          <cx:pt idx="74602">5</cx:pt>
          <cx:pt idx="74603">3</cx:pt>
          <cx:pt idx="74604">1</cx:pt>
          <cx:pt idx="74605">5</cx:pt>
          <cx:pt idx="74606">5</cx:pt>
          <cx:pt idx="74607">4</cx:pt>
          <cx:pt idx="74608">4</cx:pt>
          <cx:pt idx="74609">3</cx:pt>
          <cx:pt idx="74610">4</cx:pt>
          <cx:pt idx="74611">2</cx:pt>
          <cx:pt idx="74612">3</cx:pt>
          <cx:pt idx="74613">3</cx:pt>
          <cx:pt idx="74614">4</cx:pt>
          <cx:pt idx="74615">2</cx:pt>
          <cx:pt idx="74616">5</cx:pt>
          <cx:pt idx="74617">1</cx:pt>
          <cx:pt idx="74618">4</cx:pt>
          <cx:pt idx="74619">3</cx:pt>
          <cx:pt idx="74620">5</cx:pt>
          <cx:pt idx="74621">4</cx:pt>
          <cx:pt idx="74622">5</cx:pt>
          <cx:pt idx="74623">4</cx:pt>
          <cx:pt idx="74624">4</cx:pt>
          <cx:pt idx="74625">1</cx:pt>
          <cx:pt idx="74626">3</cx:pt>
          <cx:pt idx="74627">3</cx:pt>
          <cx:pt idx="74628">4</cx:pt>
          <cx:pt idx="74629">5</cx:pt>
          <cx:pt idx="74630">3</cx:pt>
          <cx:pt idx="74631">1</cx:pt>
          <cx:pt idx="74632">2</cx:pt>
          <cx:pt idx="74633">2</cx:pt>
          <cx:pt idx="74634">4</cx:pt>
          <cx:pt idx="74635">3</cx:pt>
          <cx:pt idx="74636">5</cx:pt>
          <cx:pt idx="74637">2</cx:pt>
          <cx:pt idx="74638">3</cx:pt>
          <cx:pt idx="74639">5</cx:pt>
          <cx:pt idx="74640">2</cx:pt>
          <cx:pt idx="74641">5</cx:pt>
          <cx:pt idx="74642">1</cx:pt>
          <cx:pt idx="74643">2</cx:pt>
          <cx:pt idx="74644">5</cx:pt>
          <cx:pt idx="74645">1</cx:pt>
          <cx:pt idx="74646">3</cx:pt>
          <cx:pt idx="74647">5</cx:pt>
          <cx:pt idx="74648">5</cx:pt>
          <cx:pt idx="74649">4</cx:pt>
          <cx:pt idx="74650">3</cx:pt>
          <cx:pt idx="74651">3</cx:pt>
          <cx:pt idx="74652">4</cx:pt>
          <cx:pt idx="74653">1</cx:pt>
          <cx:pt idx="74654">1</cx:pt>
          <cx:pt idx="74655">3</cx:pt>
          <cx:pt idx="74656">5</cx:pt>
          <cx:pt idx="74657">1</cx:pt>
          <cx:pt idx="74658">2</cx:pt>
          <cx:pt idx="74659">2</cx:pt>
          <cx:pt idx="74660">3</cx:pt>
          <cx:pt idx="74661">5</cx:pt>
          <cx:pt idx="74662">1</cx:pt>
          <cx:pt idx="74663">5</cx:pt>
          <cx:pt idx="74664">1</cx:pt>
          <cx:pt idx="74665">1</cx:pt>
          <cx:pt idx="74666">4</cx:pt>
          <cx:pt idx="74667">5</cx:pt>
          <cx:pt idx="74668">1</cx:pt>
          <cx:pt idx="74669">2</cx:pt>
          <cx:pt idx="74670">5</cx:pt>
          <cx:pt idx="74671">3</cx:pt>
          <cx:pt idx="74672">5</cx:pt>
          <cx:pt idx="74673">4</cx:pt>
          <cx:pt idx="74674">5</cx:pt>
          <cx:pt idx="74675">5</cx:pt>
          <cx:pt idx="74676">5</cx:pt>
          <cx:pt idx="74677">3</cx:pt>
          <cx:pt idx="74678">4</cx:pt>
          <cx:pt idx="74679">2</cx:pt>
          <cx:pt idx="74680">4</cx:pt>
          <cx:pt idx="74681">4</cx:pt>
          <cx:pt idx="74682">2</cx:pt>
          <cx:pt idx="74683">4</cx:pt>
          <cx:pt idx="74684">4</cx:pt>
          <cx:pt idx="74685">5</cx:pt>
          <cx:pt idx="74686">4</cx:pt>
          <cx:pt idx="74687">4</cx:pt>
          <cx:pt idx="74688">1</cx:pt>
          <cx:pt idx="74689">4</cx:pt>
          <cx:pt idx="74690">5</cx:pt>
          <cx:pt idx="74691">2</cx:pt>
          <cx:pt idx="74692">4</cx:pt>
          <cx:pt idx="74693">2</cx:pt>
          <cx:pt idx="74694">1</cx:pt>
          <cx:pt idx="74695">5</cx:pt>
          <cx:pt idx="74696">2</cx:pt>
          <cx:pt idx="74697">5</cx:pt>
          <cx:pt idx="74698">5</cx:pt>
          <cx:pt idx="74699">4</cx:pt>
          <cx:pt idx="74700">4</cx:pt>
          <cx:pt idx="74701">4</cx:pt>
          <cx:pt idx="74702">4</cx:pt>
          <cx:pt idx="74703">4</cx:pt>
          <cx:pt idx="74704">4</cx:pt>
          <cx:pt idx="74705">4</cx:pt>
          <cx:pt idx="74706">3</cx:pt>
          <cx:pt idx="74707">5</cx:pt>
          <cx:pt idx="74708">5</cx:pt>
          <cx:pt idx="74709">4</cx:pt>
          <cx:pt idx="74710">4</cx:pt>
          <cx:pt idx="74711">5</cx:pt>
          <cx:pt idx="74712">4</cx:pt>
          <cx:pt idx="74713">4</cx:pt>
          <cx:pt idx="74714">1</cx:pt>
          <cx:pt idx="74715">1</cx:pt>
          <cx:pt idx="74716">2</cx:pt>
          <cx:pt idx="74717">4</cx:pt>
          <cx:pt idx="74718">2</cx:pt>
          <cx:pt idx="74719">5</cx:pt>
          <cx:pt idx="74720">5</cx:pt>
          <cx:pt idx="74721">2</cx:pt>
          <cx:pt idx="74722">3</cx:pt>
          <cx:pt idx="74723">3</cx:pt>
          <cx:pt idx="74724">4</cx:pt>
          <cx:pt idx="74725">2</cx:pt>
          <cx:pt idx="74726">4</cx:pt>
          <cx:pt idx="74727">4</cx:pt>
          <cx:pt idx="74728">3</cx:pt>
          <cx:pt idx="74729">5</cx:pt>
          <cx:pt idx="74730">4</cx:pt>
          <cx:pt idx="74731">5</cx:pt>
          <cx:pt idx="74732">3</cx:pt>
          <cx:pt idx="74733">3</cx:pt>
          <cx:pt idx="74734">2</cx:pt>
          <cx:pt idx="74735">4</cx:pt>
          <cx:pt idx="74736">4</cx:pt>
          <cx:pt idx="74737">3</cx:pt>
          <cx:pt idx="74738">5</cx:pt>
          <cx:pt idx="74739">4</cx:pt>
          <cx:pt idx="74740">2</cx:pt>
          <cx:pt idx="74741">3</cx:pt>
          <cx:pt idx="74742">5</cx:pt>
          <cx:pt idx="74743">5</cx:pt>
          <cx:pt idx="74744">3</cx:pt>
          <cx:pt idx="74745">4</cx:pt>
          <cx:pt idx="74746">3</cx:pt>
          <cx:pt idx="74747">4</cx:pt>
          <cx:pt idx="74748">2</cx:pt>
          <cx:pt idx="74749">2</cx:pt>
          <cx:pt idx="74750">2</cx:pt>
          <cx:pt idx="74751">3</cx:pt>
          <cx:pt idx="74752">5</cx:pt>
          <cx:pt idx="74753">4</cx:pt>
          <cx:pt idx="74754">1</cx:pt>
          <cx:pt idx="74755">2</cx:pt>
          <cx:pt idx="74756">3</cx:pt>
          <cx:pt idx="74757">2</cx:pt>
          <cx:pt idx="74758">5</cx:pt>
          <cx:pt idx="74759">4</cx:pt>
          <cx:pt idx="74760">4</cx:pt>
          <cx:pt idx="74761">4</cx:pt>
          <cx:pt idx="74762">3</cx:pt>
          <cx:pt idx="74763">5</cx:pt>
          <cx:pt idx="74764">4</cx:pt>
          <cx:pt idx="74765">5</cx:pt>
          <cx:pt idx="74766">2</cx:pt>
          <cx:pt idx="74767">3</cx:pt>
          <cx:pt idx="74768">2</cx:pt>
          <cx:pt idx="74769">2</cx:pt>
          <cx:pt idx="74770">3</cx:pt>
          <cx:pt idx="74771">5</cx:pt>
          <cx:pt idx="74772">5</cx:pt>
          <cx:pt idx="74773">1</cx:pt>
          <cx:pt idx="74774">2</cx:pt>
          <cx:pt idx="74775">3</cx:pt>
          <cx:pt idx="74776">4</cx:pt>
          <cx:pt idx="74777">1</cx:pt>
          <cx:pt idx="74778">4</cx:pt>
          <cx:pt idx="74779">5</cx:pt>
          <cx:pt idx="74780">1</cx:pt>
          <cx:pt idx="74781">4</cx:pt>
          <cx:pt idx="74782">2</cx:pt>
          <cx:pt idx="74783">3</cx:pt>
          <cx:pt idx="74784">1</cx:pt>
          <cx:pt idx="74785">4</cx:pt>
          <cx:pt idx="74786">5</cx:pt>
          <cx:pt idx="74787">3</cx:pt>
          <cx:pt idx="74788">4</cx:pt>
          <cx:pt idx="74789">4</cx:pt>
          <cx:pt idx="74790">2</cx:pt>
          <cx:pt idx="74791">5</cx:pt>
          <cx:pt idx="74792">5</cx:pt>
          <cx:pt idx="74793">5</cx:pt>
          <cx:pt idx="74794">5</cx:pt>
          <cx:pt idx="74795">3</cx:pt>
          <cx:pt idx="74796">2</cx:pt>
          <cx:pt idx="74797">5</cx:pt>
          <cx:pt idx="74798">5</cx:pt>
          <cx:pt idx="74799">4</cx:pt>
          <cx:pt idx="74800">5</cx:pt>
          <cx:pt idx="74801">5</cx:pt>
          <cx:pt idx="74802">5</cx:pt>
          <cx:pt idx="74803">5</cx:pt>
          <cx:pt idx="74804">1</cx:pt>
          <cx:pt idx="74805">5</cx:pt>
          <cx:pt idx="74806">4</cx:pt>
          <cx:pt idx="74807">1</cx:pt>
          <cx:pt idx="74808">3</cx:pt>
          <cx:pt idx="74809">4</cx:pt>
          <cx:pt idx="74810">4</cx:pt>
          <cx:pt idx="74811">3</cx:pt>
          <cx:pt idx="74812">4</cx:pt>
          <cx:pt idx="74813">1</cx:pt>
          <cx:pt idx="74814">5</cx:pt>
          <cx:pt idx="74815">4</cx:pt>
          <cx:pt idx="74816">5</cx:pt>
          <cx:pt idx="74817">2</cx:pt>
          <cx:pt idx="74818">5</cx:pt>
          <cx:pt idx="74819">1</cx:pt>
          <cx:pt idx="74820">5</cx:pt>
          <cx:pt idx="74821">5</cx:pt>
          <cx:pt idx="74822">4</cx:pt>
          <cx:pt idx="74823">3</cx:pt>
          <cx:pt idx="74824">4</cx:pt>
          <cx:pt idx="74825">3</cx:pt>
          <cx:pt idx="74826">5</cx:pt>
          <cx:pt idx="74827">3</cx:pt>
          <cx:pt idx="74828">1</cx:pt>
          <cx:pt idx="74829">1</cx:pt>
          <cx:pt idx="74830">4</cx:pt>
          <cx:pt idx="74831">3</cx:pt>
          <cx:pt idx="74832">5</cx:pt>
          <cx:pt idx="74833">2</cx:pt>
          <cx:pt idx="74834">1</cx:pt>
          <cx:pt idx="74835">4</cx:pt>
          <cx:pt idx="74836">2</cx:pt>
          <cx:pt idx="74837">4</cx:pt>
          <cx:pt idx="74838">1</cx:pt>
          <cx:pt idx="74839">3</cx:pt>
          <cx:pt idx="74840">3</cx:pt>
          <cx:pt idx="74841">4</cx:pt>
          <cx:pt idx="74842">4</cx:pt>
          <cx:pt idx="74843">2</cx:pt>
          <cx:pt idx="74844">2</cx:pt>
          <cx:pt idx="74845">4</cx:pt>
          <cx:pt idx="74846">4</cx:pt>
          <cx:pt idx="74847">5</cx:pt>
          <cx:pt idx="74848">5</cx:pt>
          <cx:pt idx="74849">2</cx:pt>
          <cx:pt idx="74850">4</cx:pt>
          <cx:pt idx="74851">3</cx:pt>
          <cx:pt idx="74852">1</cx:pt>
          <cx:pt idx="74853">4</cx:pt>
          <cx:pt idx="74854">4</cx:pt>
          <cx:pt idx="74855">4</cx:pt>
          <cx:pt idx="74856">3</cx:pt>
          <cx:pt idx="74857">3</cx:pt>
          <cx:pt idx="74858">4</cx:pt>
          <cx:pt idx="74859">1</cx:pt>
          <cx:pt idx="74860">4</cx:pt>
          <cx:pt idx="74861">2</cx:pt>
          <cx:pt idx="74862">3</cx:pt>
          <cx:pt idx="74863">3</cx:pt>
          <cx:pt idx="74864">3</cx:pt>
          <cx:pt idx="74865">5</cx:pt>
          <cx:pt idx="74866">3</cx:pt>
          <cx:pt idx="74867">3</cx:pt>
          <cx:pt idx="74868">1</cx:pt>
          <cx:pt idx="74869">1</cx:pt>
          <cx:pt idx="74870">4</cx:pt>
          <cx:pt idx="74871">5</cx:pt>
          <cx:pt idx="74872">1</cx:pt>
          <cx:pt idx="74873">4</cx:pt>
          <cx:pt idx="74874">5</cx:pt>
          <cx:pt idx="74875">5</cx:pt>
          <cx:pt idx="74876">3</cx:pt>
          <cx:pt idx="74877">5</cx:pt>
          <cx:pt idx="74878">2</cx:pt>
          <cx:pt idx="74879">4</cx:pt>
          <cx:pt idx="74880">3</cx:pt>
          <cx:pt idx="74881">5</cx:pt>
          <cx:pt idx="74882">3</cx:pt>
          <cx:pt idx="74883">1</cx:pt>
          <cx:pt idx="74884">3</cx:pt>
          <cx:pt idx="74885">5</cx:pt>
          <cx:pt idx="74886">2</cx:pt>
          <cx:pt idx="74887">3</cx:pt>
          <cx:pt idx="74888">1</cx:pt>
          <cx:pt idx="74889">3</cx:pt>
          <cx:pt idx="74890">2</cx:pt>
          <cx:pt idx="74891">1</cx:pt>
          <cx:pt idx="74892">2</cx:pt>
          <cx:pt idx="74893">4</cx:pt>
          <cx:pt idx="74894">5</cx:pt>
          <cx:pt idx="74895">4</cx:pt>
          <cx:pt idx="74896">4</cx:pt>
          <cx:pt idx="74897">1</cx:pt>
          <cx:pt idx="74898">4</cx:pt>
          <cx:pt idx="74899">2</cx:pt>
          <cx:pt idx="74900">3</cx:pt>
          <cx:pt idx="74901">2</cx:pt>
          <cx:pt idx="74902">4</cx:pt>
          <cx:pt idx="74903">4</cx:pt>
          <cx:pt idx="74904">3</cx:pt>
          <cx:pt idx="74905">5</cx:pt>
          <cx:pt idx="74906">1</cx:pt>
          <cx:pt idx="74907">5</cx:pt>
          <cx:pt idx="74908">3</cx:pt>
          <cx:pt idx="74909">3</cx:pt>
          <cx:pt idx="74910">1</cx:pt>
          <cx:pt idx="74911">4</cx:pt>
          <cx:pt idx="74912">1</cx:pt>
          <cx:pt idx="74913">2</cx:pt>
          <cx:pt idx="74914">4</cx:pt>
          <cx:pt idx="74915">4</cx:pt>
          <cx:pt idx="74916">2</cx:pt>
          <cx:pt idx="74917">5</cx:pt>
          <cx:pt idx="74918">3</cx:pt>
          <cx:pt idx="74919">5</cx:pt>
          <cx:pt idx="74920">4</cx:pt>
          <cx:pt idx="74921">4</cx:pt>
          <cx:pt idx="74922">2</cx:pt>
          <cx:pt idx="74923">5</cx:pt>
          <cx:pt idx="74924">4</cx:pt>
          <cx:pt idx="74925">4</cx:pt>
          <cx:pt idx="74926">5</cx:pt>
          <cx:pt idx="74927">5</cx:pt>
          <cx:pt idx="74928">3</cx:pt>
          <cx:pt idx="74929">4</cx:pt>
          <cx:pt idx="74930">5</cx:pt>
          <cx:pt idx="74931">3</cx:pt>
          <cx:pt idx="74932">4</cx:pt>
          <cx:pt idx="74933">2</cx:pt>
          <cx:pt idx="74934">2</cx:pt>
          <cx:pt idx="74935">4</cx:pt>
          <cx:pt idx="74936">2</cx:pt>
          <cx:pt idx="74937">2</cx:pt>
          <cx:pt idx="74938">1</cx:pt>
          <cx:pt idx="74939">4</cx:pt>
          <cx:pt idx="74940">3</cx:pt>
          <cx:pt idx="74941">5</cx:pt>
          <cx:pt idx="74942">4</cx:pt>
          <cx:pt idx="74943">5</cx:pt>
          <cx:pt idx="74944">1</cx:pt>
          <cx:pt idx="74945">5</cx:pt>
          <cx:pt idx="74946">2</cx:pt>
          <cx:pt idx="74947">4</cx:pt>
          <cx:pt idx="74948">5</cx:pt>
          <cx:pt idx="74949">5</cx:pt>
          <cx:pt idx="74950">5</cx:pt>
          <cx:pt idx="74951">3</cx:pt>
          <cx:pt idx="74952">2</cx:pt>
          <cx:pt idx="74953">5</cx:pt>
          <cx:pt idx="74954">4</cx:pt>
          <cx:pt idx="74955">3</cx:pt>
          <cx:pt idx="74956">4</cx:pt>
          <cx:pt idx="74957">5</cx:pt>
          <cx:pt idx="74958">5</cx:pt>
          <cx:pt idx="74959">4</cx:pt>
          <cx:pt idx="74960">1</cx:pt>
          <cx:pt idx="74961">5</cx:pt>
          <cx:pt idx="74962">4</cx:pt>
          <cx:pt idx="74963">4</cx:pt>
          <cx:pt idx="74964">4</cx:pt>
          <cx:pt idx="74965">5</cx:pt>
          <cx:pt idx="74966">5</cx:pt>
          <cx:pt idx="74967">5</cx:pt>
          <cx:pt idx="74968">4</cx:pt>
          <cx:pt idx="74969">4</cx:pt>
          <cx:pt idx="74970">1</cx:pt>
          <cx:pt idx="74971">5</cx:pt>
          <cx:pt idx="74972">2</cx:pt>
          <cx:pt idx="74973">2</cx:pt>
          <cx:pt idx="74974">4</cx:pt>
          <cx:pt idx="74975">5</cx:pt>
          <cx:pt idx="74976">5</cx:pt>
          <cx:pt idx="74977">3</cx:pt>
          <cx:pt idx="74978">2</cx:pt>
          <cx:pt idx="74979">2</cx:pt>
          <cx:pt idx="74980">2</cx:pt>
          <cx:pt idx="74981">1</cx:pt>
          <cx:pt idx="74982">4</cx:pt>
          <cx:pt idx="74983">1</cx:pt>
          <cx:pt idx="74984">3</cx:pt>
          <cx:pt idx="74985">5</cx:pt>
          <cx:pt idx="74986">3</cx:pt>
          <cx:pt idx="74987">2</cx:pt>
          <cx:pt idx="74988">3</cx:pt>
          <cx:pt idx="74989">2</cx:pt>
          <cx:pt idx="74990">4</cx:pt>
          <cx:pt idx="74991">4</cx:pt>
          <cx:pt idx="74992">1</cx:pt>
          <cx:pt idx="74993">4</cx:pt>
          <cx:pt idx="74994">3</cx:pt>
          <cx:pt idx="74995">4</cx:pt>
          <cx:pt idx="74996">5</cx:pt>
          <cx:pt idx="74997">3</cx:pt>
          <cx:pt idx="74998">4</cx:pt>
          <cx:pt idx="74999">2</cx:pt>
          <cx:pt idx="75000">5</cx:pt>
          <cx:pt idx="75001">3</cx:pt>
          <cx:pt idx="75002">5</cx:pt>
          <cx:pt idx="75003">3</cx:pt>
          <cx:pt idx="75004">4</cx:pt>
          <cx:pt idx="75005">3</cx:pt>
          <cx:pt idx="75006">3</cx:pt>
          <cx:pt idx="75007">2</cx:pt>
          <cx:pt idx="75008">1</cx:pt>
          <cx:pt idx="75009">5</cx:pt>
          <cx:pt idx="75010">1</cx:pt>
          <cx:pt idx="75011">5</cx:pt>
          <cx:pt idx="75012">3</cx:pt>
          <cx:pt idx="75013">4</cx:pt>
          <cx:pt idx="75014">3</cx:pt>
          <cx:pt idx="75015">2</cx:pt>
          <cx:pt idx="75016">5</cx:pt>
          <cx:pt idx="75017">4</cx:pt>
          <cx:pt idx="75018">2</cx:pt>
          <cx:pt idx="75019">5</cx:pt>
          <cx:pt idx="75020">5</cx:pt>
          <cx:pt idx="75021">4</cx:pt>
          <cx:pt idx="75022">4</cx:pt>
          <cx:pt idx="75023">5</cx:pt>
          <cx:pt idx="75024">1</cx:pt>
          <cx:pt idx="75025">3</cx:pt>
          <cx:pt idx="75026">2</cx:pt>
          <cx:pt idx="75027">3</cx:pt>
          <cx:pt idx="75028">4</cx:pt>
          <cx:pt idx="75029">3</cx:pt>
          <cx:pt idx="75030">1</cx:pt>
          <cx:pt idx="75031">4</cx:pt>
          <cx:pt idx="75032">5</cx:pt>
          <cx:pt idx="75033">4</cx:pt>
          <cx:pt idx="75034">5</cx:pt>
          <cx:pt idx="75035">1</cx:pt>
          <cx:pt idx="75036">2</cx:pt>
          <cx:pt idx="75037">3</cx:pt>
          <cx:pt idx="75038">5</cx:pt>
          <cx:pt idx="75039">5</cx:pt>
          <cx:pt idx="75040">1</cx:pt>
          <cx:pt idx="75041">1</cx:pt>
          <cx:pt idx="75042">2</cx:pt>
          <cx:pt idx="75043">5</cx:pt>
          <cx:pt idx="75044">2</cx:pt>
          <cx:pt idx="75045">5</cx:pt>
          <cx:pt idx="75046">2</cx:pt>
          <cx:pt idx="75047">2</cx:pt>
          <cx:pt idx="75048">5</cx:pt>
          <cx:pt idx="75049">4</cx:pt>
          <cx:pt idx="75050">3</cx:pt>
          <cx:pt idx="75051">1</cx:pt>
          <cx:pt idx="75052">3</cx:pt>
          <cx:pt idx="75053">2</cx:pt>
          <cx:pt idx="75054">5</cx:pt>
          <cx:pt idx="75055">1</cx:pt>
          <cx:pt idx="75056">5</cx:pt>
          <cx:pt idx="75057">5</cx:pt>
          <cx:pt idx="75058">2</cx:pt>
          <cx:pt idx="75059">4</cx:pt>
          <cx:pt idx="75060">4</cx:pt>
          <cx:pt idx="75061">3</cx:pt>
          <cx:pt idx="75062">4</cx:pt>
          <cx:pt idx="75063">4</cx:pt>
          <cx:pt idx="75064">5</cx:pt>
          <cx:pt idx="75065">2</cx:pt>
          <cx:pt idx="75066">3</cx:pt>
          <cx:pt idx="75067">5</cx:pt>
          <cx:pt idx="75068">4</cx:pt>
          <cx:pt idx="75069">3</cx:pt>
          <cx:pt idx="75070">5</cx:pt>
          <cx:pt idx="75071">1</cx:pt>
          <cx:pt idx="75072">1</cx:pt>
          <cx:pt idx="75073">4</cx:pt>
          <cx:pt idx="75074">3</cx:pt>
          <cx:pt idx="75075">4</cx:pt>
          <cx:pt idx="75076">3</cx:pt>
          <cx:pt idx="75077">2</cx:pt>
          <cx:pt idx="75078">4</cx:pt>
          <cx:pt idx="75079">5</cx:pt>
          <cx:pt idx="75080">1</cx:pt>
          <cx:pt idx="75081">5</cx:pt>
          <cx:pt idx="75082">2</cx:pt>
          <cx:pt idx="75083">2</cx:pt>
          <cx:pt idx="75084">4</cx:pt>
          <cx:pt idx="75085">5</cx:pt>
          <cx:pt idx="75086">1</cx:pt>
          <cx:pt idx="75087">2</cx:pt>
          <cx:pt idx="75088">4</cx:pt>
          <cx:pt idx="75089">4</cx:pt>
          <cx:pt idx="75090">4</cx:pt>
          <cx:pt idx="75091">2</cx:pt>
          <cx:pt idx="75092">4</cx:pt>
          <cx:pt idx="75093">3</cx:pt>
          <cx:pt idx="75094">4</cx:pt>
          <cx:pt idx="75095">3</cx:pt>
          <cx:pt idx="75096">3</cx:pt>
          <cx:pt idx="75097">3</cx:pt>
          <cx:pt idx="75098">3</cx:pt>
          <cx:pt idx="75099">4</cx:pt>
          <cx:pt idx="75100">3</cx:pt>
          <cx:pt idx="75101">4</cx:pt>
          <cx:pt idx="75102">2</cx:pt>
          <cx:pt idx="75103">3</cx:pt>
          <cx:pt idx="75104">4</cx:pt>
          <cx:pt idx="75105">5</cx:pt>
          <cx:pt idx="75106">3</cx:pt>
          <cx:pt idx="75107">2</cx:pt>
          <cx:pt idx="75108">4</cx:pt>
          <cx:pt idx="75109">5</cx:pt>
          <cx:pt idx="75110">3</cx:pt>
          <cx:pt idx="75111">3</cx:pt>
          <cx:pt idx="75112">4</cx:pt>
          <cx:pt idx="75113">5</cx:pt>
          <cx:pt idx="75114">5</cx:pt>
          <cx:pt idx="75115">4</cx:pt>
          <cx:pt idx="75116">2</cx:pt>
          <cx:pt idx="75117">4</cx:pt>
          <cx:pt idx="75118">4</cx:pt>
          <cx:pt idx="75119">4</cx:pt>
          <cx:pt idx="75120">4</cx:pt>
          <cx:pt idx="75121">2</cx:pt>
          <cx:pt idx="75122">2</cx:pt>
          <cx:pt idx="75123">4</cx:pt>
          <cx:pt idx="75124">5</cx:pt>
          <cx:pt idx="75125">2</cx:pt>
          <cx:pt idx="75126">4</cx:pt>
          <cx:pt idx="75127">4</cx:pt>
          <cx:pt idx="75128">3</cx:pt>
          <cx:pt idx="75129">3</cx:pt>
          <cx:pt idx="75130">1</cx:pt>
          <cx:pt idx="75131">4</cx:pt>
          <cx:pt idx="75132">4</cx:pt>
          <cx:pt idx="75133">4</cx:pt>
          <cx:pt idx="75134">5</cx:pt>
          <cx:pt idx="75135">4</cx:pt>
          <cx:pt idx="75136">3</cx:pt>
          <cx:pt idx="75137">3</cx:pt>
          <cx:pt idx="75138">3</cx:pt>
          <cx:pt idx="75139">3</cx:pt>
          <cx:pt idx="75140">1</cx:pt>
          <cx:pt idx="75141">5</cx:pt>
          <cx:pt idx="75142">4</cx:pt>
          <cx:pt idx="75143">5</cx:pt>
          <cx:pt idx="75144">5</cx:pt>
          <cx:pt idx="75145">4</cx:pt>
          <cx:pt idx="75146">3</cx:pt>
          <cx:pt idx="75147">4</cx:pt>
          <cx:pt idx="75148">4</cx:pt>
          <cx:pt idx="75149">5</cx:pt>
          <cx:pt idx="75150">5</cx:pt>
          <cx:pt idx="75151">2</cx:pt>
          <cx:pt idx="75152">2</cx:pt>
          <cx:pt idx="75153">5</cx:pt>
          <cx:pt idx="75154">2</cx:pt>
          <cx:pt idx="75155">5</cx:pt>
          <cx:pt idx="75156">4</cx:pt>
          <cx:pt idx="75157">2</cx:pt>
          <cx:pt idx="75158">2</cx:pt>
          <cx:pt idx="75159">2</cx:pt>
          <cx:pt idx="75160">4</cx:pt>
          <cx:pt idx="75161">5</cx:pt>
          <cx:pt idx="75162">5</cx:pt>
          <cx:pt idx="75163">2</cx:pt>
          <cx:pt idx="75164">4</cx:pt>
          <cx:pt idx="75165">2</cx:pt>
          <cx:pt idx="75166">4</cx:pt>
          <cx:pt idx="75167">5</cx:pt>
          <cx:pt idx="75168">4</cx:pt>
          <cx:pt idx="75169">4</cx:pt>
          <cx:pt idx="75170">5</cx:pt>
          <cx:pt idx="75171">3</cx:pt>
          <cx:pt idx="75172">5</cx:pt>
          <cx:pt idx="75173">5</cx:pt>
          <cx:pt idx="75174">4</cx:pt>
          <cx:pt idx="75175">5</cx:pt>
          <cx:pt idx="75176">3</cx:pt>
          <cx:pt idx="75177">2</cx:pt>
          <cx:pt idx="75178">5</cx:pt>
          <cx:pt idx="75179">3</cx:pt>
          <cx:pt idx="75180">5</cx:pt>
          <cx:pt idx="75181">2</cx:pt>
          <cx:pt idx="75182">2</cx:pt>
          <cx:pt idx="75183">5</cx:pt>
          <cx:pt idx="75184">4</cx:pt>
          <cx:pt idx="75185">5</cx:pt>
          <cx:pt idx="75186">2</cx:pt>
          <cx:pt idx="75187">3</cx:pt>
          <cx:pt idx="75188">4</cx:pt>
          <cx:pt idx="75189">4</cx:pt>
          <cx:pt idx="75190">4</cx:pt>
          <cx:pt idx="75191">4</cx:pt>
          <cx:pt idx="75192">5</cx:pt>
          <cx:pt idx="75193">4</cx:pt>
          <cx:pt idx="75194">5</cx:pt>
          <cx:pt idx="75195">3</cx:pt>
          <cx:pt idx="75196">5</cx:pt>
          <cx:pt idx="75197">3</cx:pt>
          <cx:pt idx="75198">3</cx:pt>
          <cx:pt idx="75199">4</cx:pt>
          <cx:pt idx="75200">4</cx:pt>
          <cx:pt idx="75201">4</cx:pt>
          <cx:pt idx="75202">3</cx:pt>
          <cx:pt idx="75203">1</cx:pt>
          <cx:pt idx="75204">3</cx:pt>
          <cx:pt idx="75205">5</cx:pt>
          <cx:pt idx="75206">5</cx:pt>
          <cx:pt idx="75207">5</cx:pt>
          <cx:pt idx="75208">5</cx:pt>
          <cx:pt idx="75209">5</cx:pt>
          <cx:pt idx="75210">3</cx:pt>
          <cx:pt idx="75211">5</cx:pt>
          <cx:pt idx="75212">1</cx:pt>
          <cx:pt idx="75213">4</cx:pt>
          <cx:pt idx="75214">5</cx:pt>
          <cx:pt idx="75215">2</cx:pt>
          <cx:pt idx="75216">4</cx:pt>
          <cx:pt idx="75217">5</cx:pt>
          <cx:pt idx="75218">4</cx:pt>
          <cx:pt idx="75219">4</cx:pt>
          <cx:pt idx="75220">4</cx:pt>
          <cx:pt idx="75221">4</cx:pt>
          <cx:pt idx="75222">2</cx:pt>
          <cx:pt idx="75223">2</cx:pt>
          <cx:pt idx="75224">3</cx:pt>
          <cx:pt idx="75225">3</cx:pt>
          <cx:pt idx="75226">1</cx:pt>
          <cx:pt idx="75227">5</cx:pt>
          <cx:pt idx="75228">4</cx:pt>
          <cx:pt idx="75229">3</cx:pt>
          <cx:pt idx="75230">5</cx:pt>
          <cx:pt idx="75231">2</cx:pt>
          <cx:pt idx="75232">2</cx:pt>
          <cx:pt idx="75233">5</cx:pt>
          <cx:pt idx="75234">2</cx:pt>
          <cx:pt idx="75235">3</cx:pt>
          <cx:pt idx="75236">2</cx:pt>
          <cx:pt idx="75237">5</cx:pt>
          <cx:pt idx="75238">5</cx:pt>
          <cx:pt idx="75239">4</cx:pt>
          <cx:pt idx="75240">2</cx:pt>
          <cx:pt idx="75241">4</cx:pt>
          <cx:pt idx="75242">2</cx:pt>
          <cx:pt idx="75243">5</cx:pt>
          <cx:pt idx="75244">3</cx:pt>
          <cx:pt idx="75245">3</cx:pt>
          <cx:pt idx="75246">5</cx:pt>
          <cx:pt idx="75247">2</cx:pt>
          <cx:pt idx="75248">5</cx:pt>
          <cx:pt idx="75249">3</cx:pt>
          <cx:pt idx="75250">4</cx:pt>
          <cx:pt idx="75251">4</cx:pt>
          <cx:pt idx="75252">2</cx:pt>
          <cx:pt idx="75253">3</cx:pt>
          <cx:pt idx="75254">4</cx:pt>
          <cx:pt idx="75255">3</cx:pt>
          <cx:pt idx="75256">5</cx:pt>
          <cx:pt idx="75257">5</cx:pt>
          <cx:pt idx="75258">1</cx:pt>
          <cx:pt idx="75259">1</cx:pt>
          <cx:pt idx="75260">4</cx:pt>
          <cx:pt idx="75261">4</cx:pt>
          <cx:pt idx="75262">3</cx:pt>
          <cx:pt idx="75263">4</cx:pt>
          <cx:pt idx="75264">1</cx:pt>
          <cx:pt idx="75265">5</cx:pt>
          <cx:pt idx="75266">5</cx:pt>
          <cx:pt idx="75267">1</cx:pt>
          <cx:pt idx="75268">4</cx:pt>
          <cx:pt idx="75269">4</cx:pt>
          <cx:pt idx="75270">3</cx:pt>
          <cx:pt idx="75271">1</cx:pt>
          <cx:pt idx="75272">5</cx:pt>
          <cx:pt idx="75273">5</cx:pt>
          <cx:pt idx="75274">5</cx:pt>
          <cx:pt idx="75275">4</cx:pt>
          <cx:pt idx="75276">4</cx:pt>
          <cx:pt idx="75277">3</cx:pt>
          <cx:pt idx="75278">4</cx:pt>
          <cx:pt idx="75279">4</cx:pt>
          <cx:pt idx="75280">1</cx:pt>
          <cx:pt idx="75281">3</cx:pt>
          <cx:pt idx="75282">4</cx:pt>
          <cx:pt idx="75283">3</cx:pt>
          <cx:pt idx="75284">2</cx:pt>
          <cx:pt idx="75285">5</cx:pt>
          <cx:pt idx="75286">5</cx:pt>
          <cx:pt idx="75287">2</cx:pt>
          <cx:pt idx="75288">1</cx:pt>
          <cx:pt idx="75289">4</cx:pt>
          <cx:pt idx="75290">2</cx:pt>
          <cx:pt idx="75291">3</cx:pt>
          <cx:pt idx="75292">3</cx:pt>
          <cx:pt idx="75293">4</cx:pt>
          <cx:pt idx="75294">5</cx:pt>
          <cx:pt idx="75295">2</cx:pt>
          <cx:pt idx="75296">2</cx:pt>
          <cx:pt idx="75297">5</cx:pt>
          <cx:pt idx="75298">2</cx:pt>
          <cx:pt idx="75299">4</cx:pt>
          <cx:pt idx="75300">1</cx:pt>
          <cx:pt idx="75301">5</cx:pt>
          <cx:pt idx="75302">4</cx:pt>
          <cx:pt idx="75303">1</cx:pt>
          <cx:pt idx="75304">1</cx:pt>
          <cx:pt idx="75305">2</cx:pt>
          <cx:pt idx="75306">3</cx:pt>
          <cx:pt idx="75307">5</cx:pt>
          <cx:pt idx="75308">1</cx:pt>
          <cx:pt idx="75309">1</cx:pt>
          <cx:pt idx="75310">1</cx:pt>
          <cx:pt idx="75311">5</cx:pt>
          <cx:pt idx="75312">3</cx:pt>
          <cx:pt idx="75313">5</cx:pt>
          <cx:pt idx="75314">4</cx:pt>
          <cx:pt idx="75315">2</cx:pt>
          <cx:pt idx="75316">4</cx:pt>
          <cx:pt idx="75317">1</cx:pt>
          <cx:pt idx="75318">1</cx:pt>
          <cx:pt idx="75319">4</cx:pt>
          <cx:pt idx="75320">4</cx:pt>
          <cx:pt idx="75321">3</cx:pt>
          <cx:pt idx="75322">3</cx:pt>
          <cx:pt idx="75323">4</cx:pt>
          <cx:pt idx="75324">4</cx:pt>
          <cx:pt idx="75325">4</cx:pt>
          <cx:pt idx="75326">5</cx:pt>
          <cx:pt idx="75327">4</cx:pt>
          <cx:pt idx="75328">1</cx:pt>
          <cx:pt idx="75329">2</cx:pt>
          <cx:pt idx="75330">4</cx:pt>
          <cx:pt idx="75331">5</cx:pt>
          <cx:pt idx="75332">1</cx:pt>
          <cx:pt idx="75333">5</cx:pt>
          <cx:pt idx="75334">2</cx:pt>
          <cx:pt idx="75335">5</cx:pt>
          <cx:pt idx="75336">5</cx:pt>
          <cx:pt idx="75337">4</cx:pt>
          <cx:pt idx="75338">5</cx:pt>
          <cx:pt idx="75339">4</cx:pt>
          <cx:pt idx="75340">5</cx:pt>
          <cx:pt idx="75341">4</cx:pt>
          <cx:pt idx="75342">3</cx:pt>
          <cx:pt idx="75343">5</cx:pt>
          <cx:pt idx="75344">1</cx:pt>
          <cx:pt idx="75345">4</cx:pt>
          <cx:pt idx="75346">2</cx:pt>
          <cx:pt idx="75347">3</cx:pt>
          <cx:pt idx="75348">2</cx:pt>
          <cx:pt idx="75349">2</cx:pt>
          <cx:pt idx="75350">5</cx:pt>
          <cx:pt idx="75351">3</cx:pt>
          <cx:pt idx="75352">2</cx:pt>
          <cx:pt idx="75353">5</cx:pt>
          <cx:pt idx="75354">4</cx:pt>
          <cx:pt idx="75355">2</cx:pt>
          <cx:pt idx="75356">4</cx:pt>
          <cx:pt idx="75357">4</cx:pt>
          <cx:pt idx="75358">4</cx:pt>
          <cx:pt idx="75359">3</cx:pt>
          <cx:pt idx="75360">2</cx:pt>
          <cx:pt idx="75361">2</cx:pt>
          <cx:pt idx="75362">4</cx:pt>
          <cx:pt idx="75363">3</cx:pt>
          <cx:pt idx="75364">3</cx:pt>
          <cx:pt idx="75365">4</cx:pt>
          <cx:pt idx="75366">2</cx:pt>
          <cx:pt idx="75367">4</cx:pt>
          <cx:pt idx="75368">4</cx:pt>
          <cx:pt idx="75369">4</cx:pt>
          <cx:pt idx="75370">5</cx:pt>
          <cx:pt idx="75371">4</cx:pt>
          <cx:pt idx="75372">3</cx:pt>
          <cx:pt idx="75373">4</cx:pt>
          <cx:pt idx="75374">4</cx:pt>
          <cx:pt idx="75375">2</cx:pt>
          <cx:pt idx="75376">5</cx:pt>
          <cx:pt idx="75377">1</cx:pt>
          <cx:pt idx="75378">2</cx:pt>
          <cx:pt idx="75379">1</cx:pt>
          <cx:pt idx="75380">3</cx:pt>
          <cx:pt idx="75381">3</cx:pt>
          <cx:pt idx="75382">2</cx:pt>
          <cx:pt idx="75383">4</cx:pt>
          <cx:pt idx="75384">4</cx:pt>
          <cx:pt idx="75385">2</cx:pt>
          <cx:pt idx="75386">5</cx:pt>
          <cx:pt idx="75387">5</cx:pt>
          <cx:pt idx="75388">4</cx:pt>
          <cx:pt idx="75389">5</cx:pt>
          <cx:pt idx="75390">5</cx:pt>
          <cx:pt idx="75391">1</cx:pt>
          <cx:pt idx="75392">5</cx:pt>
          <cx:pt idx="75393">2</cx:pt>
          <cx:pt idx="75394">5</cx:pt>
          <cx:pt idx="75395">4</cx:pt>
          <cx:pt idx="75396">1</cx:pt>
          <cx:pt idx="75397">5</cx:pt>
          <cx:pt idx="75398">4</cx:pt>
          <cx:pt idx="75399">4</cx:pt>
          <cx:pt idx="75400">4</cx:pt>
          <cx:pt idx="75401">5</cx:pt>
          <cx:pt idx="75402">4</cx:pt>
          <cx:pt idx="75403">3</cx:pt>
          <cx:pt idx="75404">2</cx:pt>
          <cx:pt idx="75405">3</cx:pt>
          <cx:pt idx="75406">4</cx:pt>
          <cx:pt idx="75407">3</cx:pt>
          <cx:pt idx="75408">5</cx:pt>
          <cx:pt idx="75409">5</cx:pt>
          <cx:pt idx="75410">2</cx:pt>
          <cx:pt idx="75411">2</cx:pt>
          <cx:pt idx="75412">5</cx:pt>
          <cx:pt idx="75413">5</cx:pt>
          <cx:pt idx="75414">5</cx:pt>
          <cx:pt idx="75415">5</cx:pt>
          <cx:pt idx="75416">2</cx:pt>
          <cx:pt idx="75417">4</cx:pt>
          <cx:pt idx="75418">1</cx:pt>
          <cx:pt idx="75419">3</cx:pt>
          <cx:pt idx="75420">4</cx:pt>
          <cx:pt idx="75421">2</cx:pt>
          <cx:pt idx="75422">3</cx:pt>
          <cx:pt idx="75423">4</cx:pt>
          <cx:pt idx="75424">4</cx:pt>
          <cx:pt idx="75425">2</cx:pt>
          <cx:pt idx="75426">2</cx:pt>
          <cx:pt idx="75427">2</cx:pt>
          <cx:pt idx="75428">2</cx:pt>
          <cx:pt idx="75429">5</cx:pt>
          <cx:pt idx="75430">4</cx:pt>
          <cx:pt idx="75431">5</cx:pt>
          <cx:pt idx="75432">4</cx:pt>
          <cx:pt idx="75433">5</cx:pt>
          <cx:pt idx="75434">4</cx:pt>
          <cx:pt idx="75435">5</cx:pt>
          <cx:pt idx="75436">3</cx:pt>
          <cx:pt idx="75437">1</cx:pt>
          <cx:pt idx="75438">4</cx:pt>
          <cx:pt idx="75439">4</cx:pt>
          <cx:pt idx="75440">2</cx:pt>
          <cx:pt idx="75441">4</cx:pt>
          <cx:pt idx="75442">2</cx:pt>
          <cx:pt idx="75443">2</cx:pt>
          <cx:pt idx="75444">2</cx:pt>
          <cx:pt idx="75445">3</cx:pt>
          <cx:pt idx="75446">3</cx:pt>
          <cx:pt idx="75447">2</cx:pt>
          <cx:pt idx="75448">1</cx:pt>
          <cx:pt idx="75449">4</cx:pt>
          <cx:pt idx="75450">3</cx:pt>
          <cx:pt idx="75451">5</cx:pt>
          <cx:pt idx="75452">5</cx:pt>
          <cx:pt idx="75453">1</cx:pt>
          <cx:pt idx="75454">5</cx:pt>
          <cx:pt idx="75455">4</cx:pt>
          <cx:pt idx="75456">1</cx:pt>
          <cx:pt idx="75457">3</cx:pt>
          <cx:pt idx="75458">5</cx:pt>
          <cx:pt idx="75459">1</cx:pt>
          <cx:pt idx="75460">4</cx:pt>
          <cx:pt idx="75461">2</cx:pt>
          <cx:pt idx="75462">2</cx:pt>
          <cx:pt idx="75463">1</cx:pt>
          <cx:pt idx="75464">1</cx:pt>
          <cx:pt idx="75465">3</cx:pt>
          <cx:pt idx="75466">2</cx:pt>
          <cx:pt idx="75467">2</cx:pt>
          <cx:pt idx="75468">5</cx:pt>
          <cx:pt idx="75469">5</cx:pt>
          <cx:pt idx="75470">1</cx:pt>
          <cx:pt idx="75471">5</cx:pt>
          <cx:pt idx="75472">3</cx:pt>
          <cx:pt idx="75473">4</cx:pt>
          <cx:pt idx="75474">2</cx:pt>
          <cx:pt idx="75475">3</cx:pt>
          <cx:pt idx="75476">5</cx:pt>
          <cx:pt idx="75477">1</cx:pt>
          <cx:pt idx="75478">4</cx:pt>
          <cx:pt idx="75479">2</cx:pt>
          <cx:pt idx="75480">5</cx:pt>
          <cx:pt idx="75481">5</cx:pt>
          <cx:pt idx="75482">2</cx:pt>
          <cx:pt idx="75483">1</cx:pt>
          <cx:pt idx="75484">5</cx:pt>
          <cx:pt idx="75485">5</cx:pt>
          <cx:pt idx="75486">4</cx:pt>
          <cx:pt idx="75487">4</cx:pt>
          <cx:pt idx="75488">1</cx:pt>
          <cx:pt idx="75489">2</cx:pt>
          <cx:pt idx="75490">4</cx:pt>
          <cx:pt idx="75491">3</cx:pt>
          <cx:pt idx="75492">3</cx:pt>
          <cx:pt idx="75493">3</cx:pt>
          <cx:pt idx="75494">4</cx:pt>
          <cx:pt idx="75495">3</cx:pt>
          <cx:pt idx="75496">5</cx:pt>
          <cx:pt idx="75497">4</cx:pt>
          <cx:pt idx="75498">5</cx:pt>
          <cx:pt idx="75499">3</cx:pt>
          <cx:pt idx="75500">4</cx:pt>
          <cx:pt idx="75501">5</cx:pt>
          <cx:pt idx="75502">1</cx:pt>
          <cx:pt idx="75503">3</cx:pt>
          <cx:pt idx="75504">3</cx:pt>
          <cx:pt idx="75505">5</cx:pt>
          <cx:pt idx="75506">3</cx:pt>
          <cx:pt idx="75507">5</cx:pt>
          <cx:pt idx="75508">5</cx:pt>
          <cx:pt idx="75509">1</cx:pt>
          <cx:pt idx="75510">3</cx:pt>
          <cx:pt idx="75511">4</cx:pt>
          <cx:pt idx="75512">2</cx:pt>
          <cx:pt idx="75513">2</cx:pt>
          <cx:pt idx="75514">5</cx:pt>
          <cx:pt idx="75515">4</cx:pt>
          <cx:pt idx="75516">5</cx:pt>
          <cx:pt idx="75517">2</cx:pt>
          <cx:pt idx="75518">4</cx:pt>
          <cx:pt idx="75519">3</cx:pt>
          <cx:pt idx="75520">4</cx:pt>
          <cx:pt idx="75521">4</cx:pt>
          <cx:pt idx="75522">4</cx:pt>
          <cx:pt idx="75523">2</cx:pt>
          <cx:pt idx="75524">4</cx:pt>
          <cx:pt idx="75525">4</cx:pt>
          <cx:pt idx="75526">5</cx:pt>
          <cx:pt idx="75527">3</cx:pt>
          <cx:pt idx="75528">5</cx:pt>
          <cx:pt idx="75529">4</cx:pt>
          <cx:pt idx="75530">4</cx:pt>
          <cx:pt idx="75531">4</cx:pt>
          <cx:pt idx="75532">5</cx:pt>
          <cx:pt idx="75533">4</cx:pt>
          <cx:pt idx="75534">4</cx:pt>
          <cx:pt idx="75535">5</cx:pt>
          <cx:pt idx="75536">2</cx:pt>
          <cx:pt idx="75537">1</cx:pt>
          <cx:pt idx="75538">2</cx:pt>
          <cx:pt idx="75539">1</cx:pt>
          <cx:pt idx="75540">1</cx:pt>
          <cx:pt idx="75541">4</cx:pt>
          <cx:pt idx="75542">3</cx:pt>
          <cx:pt idx="75543">4</cx:pt>
          <cx:pt idx="75544">5</cx:pt>
          <cx:pt idx="75545">4</cx:pt>
          <cx:pt idx="75546">3</cx:pt>
          <cx:pt idx="75547">3</cx:pt>
          <cx:pt idx="75548">4</cx:pt>
          <cx:pt idx="75549">3</cx:pt>
          <cx:pt idx="75550">1</cx:pt>
          <cx:pt idx="75551">5</cx:pt>
          <cx:pt idx="75552">4</cx:pt>
          <cx:pt idx="75553">1</cx:pt>
          <cx:pt idx="75554">3</cx:pt>
          <cx:pt idx="75555">3</cx:pt>
          <cx:pt idx="75556">2</cx:pt>
          <cx:pt idx="75557">2</cx:pt>
          <cx:pt idx="75558">5</cx:pt>
          <cx:pt idx="75559">5</cx:pt>
          <cx:pt idx="75560">1</cx:pt>
          <cx:pt idx="75561">5</cx:pt>
          <cx:pt idx="75562">3</cx:pt>
          <cx:pt idx="75563">4</cx:pt>
          <cx:pt idx="75564">2</cx:pt>
          <cx:pt idx="75565">3</cx:pt>
          <cx:pt idx="75566">5</cx:pt>
          <cx:pt idx="75567">4</cx:pt>
          <cx:pt idx="75568">2</cx:pt>
          <cx:pt idx="75569">3</cx:pt>
          <cx:pt idx="75570">3</cx:pt>
          <cx:pt idx="75571">2</cx:pt>
          <cx:pt idx="75572">1</cx:pt>
          <cx:pt idx="75573">2</cx:pt>
          <cx:pt idx="75574">3</cx:pt>
          <cx:pt idx="75575">4</cx:pt>
          <cx:pt idx="75576">4</cx:pt>
          <cx:pt idx="75577">3</cx:pt>
          <cx:pt idx="75578">2</cx:pt>
          <cx:pt idx="75579">1</cx:pt>
          <cx:pt idx="75580">4</cx:pt>
          <cx:pt idx="75581">4</cx:pt>
          <cx:pt idx="75582">4</cx:pt>
          <cx:pt idx="75583">2</cx:pt>
          <cx:pt idx="75584">2</cx:pt>
          <cx:pt idx="75585">3</cx:pt>
          <cx:pt idx="75586">4</cx:pt>
          <cx:pt idx="75587">2</cx:pt>
          <cx:pt idx="75588">5</cx:pt>
          <cx:pt idx="75589">2</cx:pt>
          <cx:pt idx="75590">4</cx:pt>
          <cx:pt idx="75591">3</cx:pt>
          <cx:pt idx="75592">4</cx:pt>
          <cx:pt idx="75593">5</cx:pt>
          <cx:pt idx="75594">3</cx:pt>
          <cx:pt idx="75595">3</cx:pt>
          <cx:pt idx="75596">3</cx:pt>
          <cx:pt idx="75597">3</cx:pt>
          <cx:pt idx="75598">5</cx:pt>
          <cx:pt idx="75599">5</cx:pt>
          <cx:pt idx="75600">3</cx:pt>
          <cx:pt idx="75601">1</cx:pt>
          <cx:pt idx="75602">3</cx:pt>
          <cx:pt idx="75603">1</cx:pt>
          <cx:pt idx="75604">3</cx:pt>
          <cx:pt idx="75605">2</cx:pt>
          <cx:pt idx="75606">4</cx:pt>
          <cx:pt idx="75607">1</cx:pt>
          <cx:pt idx="75608">5</cx:pt>
          <cx:pt idx="75609">4</cx:pt>
          <cx:pt idx="75610">3</cx:pt>
          <cx:pt idx="75611">4</cx:pt>
          <cx:pt idx="75612">4</cx:pt>
          <cx:pt idx="75613">4</cx:pt>
          <cx:pt idx="75614">5</cx:pt>
          <cx:pt idx="75615">5</cx:pt>
          <cx:pt idx="75616">3</cx:pt>
          <cx:pt idx="75617">5</cx:pt>
          <cx:pt idx="75618">3</cx:pt>
          <cx:pt idx="75619">2</cx:pt>
          <cx:pt idx="75620">3</cx:pt>
          <cx:pt idx="75621">1</cx:pt>
          <cx:pt idx="75622">3</cx:pt>
          <cx:pt idx="75623">2</cx:pt>
          <cx:pt idx="75624">1</cx:pt>
          <cx:pt idx="75625">4</cx:pt>
          <cx:pt idx="75626">5</cx:pt>
          <cx:pt idx="75627">3</cx:pt>
          <cx:pt idx="75628">2</cx:pt>
          <cx:pt idx="75629">4</cx:pt>
          <cx:pt idx="75630">4</cx:pt>
          <cx:pt idx="75631">5</cx:pt>
          <cx:pt idx="75632">1</cx:pt>
          <cx:pt idx="75633">1</cx:pt>
          <cx:pt idx="75634">3</cx:pt>
          <cx:pt idx="75635">5</cx:pt>
          <cx:pt idx="75636">2</cx:pt>
          <cx:pt idx="75637">4</cx:pt>
          <cx:pt idx="75638">3</cx:pt>
          <cx:pt idx="75639">3</cx:pt>
          <cx:pt idx="75640">5</cx:pt>
          <cx:pt idx="75641">5</cx:pt>
          <cx:pt idx="75642">4</cx:pt>
          <cx:pt idx="75643">1</cx:pt>
          <cx:pt idx="75644">3</cx:pt>
          <cx:pt idx="75645">3</cx:pt>
          <cx:pt idx="75646">5</cx:pt>
          <cx:pt idx="75647">2</cx:pt>
          <cx:pt idx="75648">5</cx:pt>
          <cx:pt idx="75649">4</cx:pt>
          <cx:pt idx="75650">5</cx:pt>
          <cx:pt idx="75651">4</cx:pt>
          <cx:pt idx="75652">4</cx:pt>
          <cx:pt idx="75653">4</cx:pt>
          <cx:pt idx="75654">4</cx:pt>
          <cx:pt idx="75655">1</cx:pt>
          <cx:pt idx="75656">4</cx:pt>
          <cx:pt idx="75657">5</cx:pt>
          <cx:pt idx="75658">2</cx:pt>
          <cx:pt idx="75659">4</cx:pt>
          <cx:pt idx="75660">4</cx:pt>
          <cx:pt idx="75661">3</cx:pt>
          <cx:pt idx="75662">1</cx:pt>
          <cx:pt idx="75663">2</cx:pt>
          <cx:pt idx="75664">4</cx:pt>
          <cx:pt idx="75665">5</cx:pt>
          <cx:pt idx="75666">4</cx:pt>
          <cx:pt idx="75667">1</cx:pt>
          <cx:pt idx="75668">5</cx:pt>
          <cx:pt idx="75669">4</cx:pt>
          <cx:pt idx="75670">5</cx:pt>
          <cx:pt idx="75671">4</cx:pt>
          <cx:pt idx="75672">5</cx:pt>
          <cx:pt idx="75673">4</cx:pt>
          <cx:pt idx="75674">5</cx:pt>
          <cx:pt idx="75675">2</cx:pt>
          <cx:pt idx="75676">5</cx:pt>
          <cx:pt idx="75677">5</cx:pt>
          <cx:pt idx="75678">4</cx:pt>
          <cx:pt idx="75679">1</cx:pt>
          <cx:pt idx="75680">1</cx:pt>
          <cx:pt idx="75681">4</cx:pt>
          <cx:pt idx="75682">5</cx:pt>
          <cx:pt idx="75683">2</cx:pt>
          <cx:pt idx="75684">1</cx:pt>
          <cx:pt idx="75685">2</cx:pt>
          <cx:pt idx="75686">5</cx:pt>
          <cx:pt idx="75687">4</cx:pt>
          <cx:pt idx="75688">5</cx:pt>
          <cx:pt idx="75689">2</cx:pt>
          <cx:pt idx="75690">4</cx:pt>
          <cx:pt idx="75691">4</cx:pt>
          <cx:pt idx="75692">3</cx:pt>
          <cx:pt idx="75693">4</cx:pt>
          <cx:pt idx="75694">4</cx:pt>
          <cx:pt idx="75695">4</cx:pt>
          <cx:pt idx="75696">4</cx:pt>
          <cx:pt idx="75697">2</cx:pt>
          <cx:pt idx="75698">1</cx:pt>
          <cx:pt idx="75699">4</cx:pt>
          <cx:pt idx="75700">4</cx:pt>
          <cx:pt idx="75701">4</cx:pt>
          <cx:pt idx="75702">1</cx:pt>
          <cx:pt idx="75703">1</cx:pt>
          <cx:pt idx="75704">2</cx:pt>
          <cx:pt idx="75705">5</cx:pt>
          <cx:pt idx="75706">4</cx:pt>
          <cx:pt idx="75707">3</cx:pt>
          <cx:pt idx="75708">2</cx:pt>
          <cx:pt idx="75709">4</cx:pt>
          <cx:pt idx="75710">4</cx:pt>
          <cx:pt idx="75711">2</cx:pt>
          <cx:pt idx="75712">5</cx:pt>
          <cx:pt idx="75713">4</cx:pt>
          <cx:pt idx="75714">2</cx:pt>
          <cx:pt idx="75715">5</cx:pt>
          <cx:pt idx="75716">5</cx:pt>
          <cx:pt idx="75717">3</cx:pt>
          <cx:pt idx="75718">4</cx:pt>
          <cx:pt idx="75719">3</cx:pt>
          <cx:pt idx="75720">3</cx:pt>
          <cx:pt idx="75721">3</cx:pt>
          <cx:pt idx="75722">4</cx:pt>
          <cx:pt idx="75723">4</cx:pt>
          <cx:pt idx="75724">4</cx:pt>
          <cx:pt idx="75725">5</cx:pt>
          <cx:pt idx="75726">4</cx:pt>
          <cx:pt idx="75727">2</cx:pt>
          <cx:pt idx="75728">2</cx:pt>
          <cx:pt idx="75729">4</cx:pt>
          <cx:pt idx="75730">1</cx:pt>
          <cx:pt idx="75731">5</cx:pt>
          <cx:pt idx="75732">1</cx:pt>
          <cx:pt idx="75733">4</cx:pt>
          <cx:pt idx="75734">3</cx:pt>
          <cx:pt idx="75735">2</cx:pt>
          <cx:pt idx="75736">4</cx:pt>
          <cx:pt idx="75737">3</cx:pt>
          <cx:pt idx="75738">4</cx:pt>
          <cx:pt idx="75739">3</cx:pt>
          <cx:pt idx="75740">3</cx:pt>
          <cx:pt idx="75741">3</cx:pt>
          <cx:pt idx="75742">5</cx:pt>
          <cx:pt idx="75743">3</cx:pt>
          <cx:pt idx="75744">3</cx:pt>
          <cx:pt idx="75745">4</cx:pt>
          <cx:pt idx="75746">2</cx:pt>
          <cx:pt idx="75747">5</cx:pt>
          <cx:pt idx="75748">3</cx:pt>
          <cx:pt idx="75749">5</cx:pt>
          <cx:pt idx="75750">1</cx:pt>
          <cx:pt idx="75751">3</cx:pt>
          <cx:pt idx="75752">5</cx:pt>
          <cx:pt idx="75753">5</cx:pt>
          <cx:pt idx="75754">2</cx:pt>
          <cx:pt idx="75755">2</cx:pt>
          <cx:pt idx="75756">3</cx:pt>
          <cx:pt idx="75757">3</cx:pt>
          <cx:pt idx="75758">5</cx:pt>
          <cx:pt idx="75759">4</cx:pt>
          <cx:pt idx="75760">4</cx:pt>
          <cx:pt idx="75761">4</cx:pt>
          <cx:pt idx="75762">3</cx:pt>
          <cx:pt idx="75763">5</cx:pt>
          <cx:pt idx="75764">1</cx:pt>
          <cx:pt idx="75765">4</cx:pt>
          <cx:pt idx="75766">2</cx:pt>
          <cx:pt idx="75767">4</cx:pt>
          <cx:pt idx="75768">3</cx:pt>
          <cx:pt idx="75769">5</cx:pt>
          <cx:pt idx="75770">3</cx:pt>
          <cx:pt idx="75771">2</cx:pt>
          <cx:pt idx="75772">5</cx:pt>
          <cx:pt idx="75773">3</cx:pt>
          <cx:pt idx="75774">4</cx:pt>
          <cx:pt idx="75775">3</cx:pt>
          <cx:pt idx="75776">2</cx:pt>
          <cx:pt idx="75777">2</cx:pt>
          <cx:pt idx="75778">4</cx:pt>
          <cx:pt idx="75779">3</cx:pt>
          <cx:pt idx="75780">5</cx:pt>
          <cx:pt idx="75781">2</cx:pt>
          <cx:pt idx="75782">4</cx:pt>
          <cx:pt idx="75783">5</cx:pt>
          <cx:pt idx="75784">3</cx:pt>
          <cx:pt idx="75785">4</cx:pt>
          <cx:pt idx="75786">3</cx:pt>
          <cx:pt idx="75787">5</cx:pt>
          <cx:pt idx="75788">2</cx:pt>
          <cx:pt idx="75789">5</cx:pt>
          <cx:pt idx="75790">2</cx:pt>
          <cx:pt idx="75791">5</cx:pt>
          <cx:pt idx="75792">1</cx:pt>
          <cx:pt idx="75793">1</cx:pt>
          <cx:pt idx="75794">2</cx:pt>
          <cx:pt idx="75795">5</cx:pt>
          <cx:pt idx="75796">1</cx:pt>
          <cx:pt idx="75797">1</cx:pt>
          <cx:pt idx="75798">4</cx:pt>
          <cx:pt idx="75799">5</cx:pt>
          <cx:pt idx="75800">5</cx:pt>
          <cx:pt idx="75801">1</cx:pt>
          <cx:pt idx="75802">4</cx:pt>
          <cx:pt idx="75803">4</cx:pt>
          <cx:pt idx="75804">5</cx:pt>
          <cx:pt idx="75805">4</cx:pt>
          <cx:pt idx="75806">5</cx:pt>
          <cx:pt idx="75807">4</cx:pt>
          <cx:pt idx="75808">5</cx:pt>
          <cx:pt idx="75809">5</cx:pt>
          <cx:pt idx="75810">2</cx:pt>
          <cx:pt idx="75811">4</cx:pt>
          <cx:pt idx="75812">3</cx:pt>
          <cx:pt idx="75813">3</cx:pt>
          <cx:pt idx="75814">4</cx:pt>
          <cx:pt idx="75815">5</cx:pt>
          <cx:pt idx="75816">5</cx:pt>
          <cx:pt idx="75817">3</cx:pt>
          <cx:pt idx="75818">5</cx:pt>
          <cx:pt idx="75819">4</cx:pt>
          <cx:pt idx="75820">4</cx:pt>
          <cx:pt idx="75821">5</cx:pt>
          <cx:pt idx="75822">5</cx:pt>
          <cx:pt idx="75823">1</cx:pt>
          <cx:pt idx="75824">2</cx:pt>
          <cx:pt idx="75825">1</cx:pt>
          <cx:pt idx="75826">3</cx:pt>
          <cx:pt idx="75827">5</cx:pt>
          <cx:pt idx="75828">2</cx:pt>
          <cx:pt idx="75829">5</cx:pt>
          <cx:pt idx="75830">4</cx:pt>
          <cx:pt idx="75831">4</cx:pt>
          <cx:pt idx="75832">3</cx:pt>
          <cx:pt idx="75833">1</cx:pt>
          <cx:pt idx="75834">3</cx:pt>
          <cx:pt idx="75835">5</cx:pt>
          <cx:pt idx="75836">4</cx:pt>
          <cx:pt idx="75837">1</cx:pt>
          <cx:pt idx="75838">3</cx:pt>
          <cx:pt idx="75839">3</cx:pt>
          <cx:pt idx="75840">2</cx:pt>
          <cx:pt idx="75841">5</cx:pt>
          <cx:pt idx="75842">5</cx:pt>
          <cx:pt idx="75843">3</cx:pt>
          <cx:pt idx="75844">2</cx:pt>
          <cx:pt idx="75845">2</cx:pt>
          <cx:pt idx="75846">3</cx:pt>
          <cx:pt idx="75847">2</cx:pt>
          <cx:pt idx="75848">1</cx:pt>
          <cx:pt idx="75849">4</cx:pt>
          <cx:pt idx="75850">5</cx:pt>
          <cx:pt idx="75851">2</cx:pt>
          <cx:pt idx="75852">2</cx:pt>
          <cx:pt idx="75853">2</cx:pt>
          <cx:pt idx="75854">4</cx:pt>
          <cx:pt idx="75855">4</cx:pt>
          <cx:pt idx="75856">5</cx:pt>
          <cx:pt idx="75857">5</cx:pt>
          <cx:pt idx="75858">1</cx:pt>
          <cx:pt idx="75859">2</cx:pt>
          <cx:pt idx="75860">3</cx:pt>
          <cx:pt idx="75861">4</cx:pt>
          <cx:pt idx="75862">1</cx:pt>
          <cx:pt idx="75863">4</cx:pt>
          <cx:pt idx="75864">5</cx:pt>
          <cx:pt idx="75865">3</cx:pt>
          <cx:pt idx="75866">2</cx:pt>
          <cx:pt idx="75867">4</cx:pt>
          <cx:pt idx="75868">4</cx:pt>
          <cx:pt idx="75869">4</cx:pt>
          <cx:pt idx="75870">2</cx:pt>
          <cx:pt idx="75871">1</cx:pt>
          <cx:pt idx="75872">2</cx:pt>
          <cx:pt idx="75873">3</cx:pt>
          <cx:pt idx="75874">5</cx:pt>
          <cx:pt idx="75875">5</cx:pt>
          <cx:pt idx="75876">3</cx:pt>
          <cx:pt idx="75877">4</cx:pt>
          <cx:pt idx="75878">4</cx:pt>
          <cx:pt idx="75879">4</cx:pt>
          <cx:pt idx="75880">3</cx:pt>
          <cx:pt idx="75881">4</cx:pt>
          <cx:pt idx="75882">3</cx:pt>
          <cx:pt idx="75883">4</cx:pt>
          <cx:pt idx="75884">4</cx:pt>
          <cx:pt idx="75885">4</cx:pt>
          <cx:pt idx="75886">3</cx:pt>
          <cx:pt idx="75887">5</cx:pt>
          <cx:pt idx="75888">1</cx:pt>
          <cx:pt idx="75889">3</cx:pt>
          <cx:pt idx="75890">1</cx:pt>
          <cx:pt idx="75891">2</cx:pt>
          <cx:pt idx="75892">1</cx:pt>
          <cx:pt idx="75893">4</cx:pt>
          <cx:pt idx="75894">3</cx:pt>
          <cx:pt idx="75895">4</cx:pt>
          <cx:pt idx="75896">3</cx:pt>
          <cx:pt idx="75897">5</cx:pt>
          <cx:pt idx="75898">5</cx:pt>
          <cx:pt idx="75899">2</cx:pt>
          <cx:pt idx="75900">4</cx:pt>
          <cx:pt idx="75901">4</cx:pt>
          <cx:pt idx="75902">3</cx:pt>
          <cx:pt idx="75903">5</cx:pt>
          <cx:pt idx="75904">3</cx:pt>
          <cx:pt idx="75905">1</cx:pt>
          <cx:pt idx="75906">1</cx:pt>
          <cx:pt idx="75907">5</cx:pt>
          <cx:pt idx="75908">2</cx:pt>
          <cx:pt idx="75909">4</cx:pt>
          <cx:pt idx="75910">4</cx:pt>
          <cx:pt idx="75911">4</cx:pt>
          <cx:pt idx="75912">5</cx:pt>
          <cx:pt idx="75913">2</cx:pt>
          <cx:pt idx="75914">1</cx:pt>
          <cx:pt idx="75915">3</cx:pt>
          <cx:pt idx="75916">2</cx:pt>
          <cx:pt idx="75917">5</cx:pt>
          <cx:pt idx="75918">5</cx:pt>
          <cx:pt idx="75919">2</cx:pt>
          <cx:pt idx="75920">1</cx:pt>
          <cx:pt idx="75921">3</cx:pt>
          <cx:pt idx="75922">3</cx:pt>
          <cx:pt idx="75923">2</cx:pt>
          <cx:pt idx="75924">5</cx:pt>
          <cx:pt idx="75925">4</cx:pt>
          <cx:pt idx="75926">3</cx:pt>
          <cx:pt idx="75927">3</cx:pt>
          <cx:pt idx="75928">5</cx:pt>
          <cx:pt idx="75929">5</cx:pt>
          <cx:pt idx="75930">5</cx:pt>
          <cx:pt idx="75931">3</cx:pt>
          <cx:pt idx="75932">1</cx:pt>
          <cx:pt idx="75933">5</cx:pt>
          <cx:pt idx="75934">2</cx:pt>
          <cx:pt idx="75935">2</cx:pt>
          <cx:pt idx="75936">5</cx:pt>
          <cx:pt idx="75937">5</cx:pt>
          <cx:pt idx="75938">5</cx:pt>
          <cx:pt idx="75939">3</cx:pt>
          <cx:pt idx="75940">4</cx:pt>
          <cx:pt idx="75941">1</cx:pt>
          <cx:pt idx="75942">3</cx:pt>
          <cx:pt idx="75943">1</cx:pt>
          <cx:pt idx="75944">1</cx:pt>
          <cx:pt idx="75945">5</cx:pt>
          <cx:pt idx="75946">4</cx:pt>
          <cx:pt idx="75947">1</cx:pt>
          <cx:pt idx="75948">5</cx:pt>
          <cx:pt idx="75949">3</cx:pt>
          <cx:pt idx="75950">4</cx:pt>
          <cx:pt idx="75951">5</cx:pt>
          <cx:pt idx="75952">3</cx:pt>
          <cx:pt idx="75953">2</cx:pt>
          <cx:pt idx="75954">3</cx:pt>
          <cx:pt idx="75955">4</cx:pt>
          <cx:pt idx="75956">3</cx:pt>
          <cx:pt idx="75957">5</cx:pt>
          <cx:pt idx="75958">5</cx:pt>
          <cx:pt idx="75959">2</cx:pt>
          <cx:pt idx="75960">3</cx:pt>
          <cx:pt idx="75961">3</cx:pt>
          <cx:pt idx="75962">4</cx:pt>
          <cx:pt idx="75963">4</cx:pt>
          <cx:pt idx="75964">4</cx:pt>
          <cx:pt idx="75965">4</cx:pt>
          <cx:pt idx="75966">4</cx:pt>
          <cx:pt idx="75967">3</cx:pt>
          <cx:pt idx="75968">2</cx:pt>
          <cx:pt idx="75969">3</cx:pt>
          <cx:pt idx="75970">4</cx:pt>
          <cx:pt idx="75971">3</cx:pt>
          <cx:pt idx="75972">5</cx:pt>
          <cx:pt idx="75973">3</cx:pt>
          <cx:pt idx="75974">4</cx:pt>
          <cx:pt idx="75975">4</cx:pt>
          <cx:pt idx="75976">3</cx:pt>
          <cx:pt idx="75977">4</cx:pt>
          <cx:pt idx="75978">4</cx:pt>
          <cx:pt idx="75979">3</cx:pt>
          <cx:pt idx="75980">1</cx:pt>
          <cx:pt idx="75981">5</cx:pt>
          <cx:pt idx="75982">1</cx:pt>
          <cx:pt idx="75983">5</cx:pt>
          <cx:pt idx="75984">4</cx:pt>
          <cx:pt idx="75985">4</cx:pt>
          <cx:pt idx="75986">3</cx:pt>
          <cx:pt idx="75987">5</cx:pt>
          <cx:pt idx="75988">3</cx:pt>
          <cx:pt idx="75989">1</cx:pt>
          <cx:pt idx="75990">4</cx:pt>
          <cx:pt idx="75991">3</cx:pt>
          <cx:pt idx="75992">1</cx:pt>
          <cx:pt idx="75993">5</cx:pt>
          <cx:pt idx="75994">2</cx:pt>
          <cx:pt idx="75995">5</cx:pt>
          <cx:pt idx="75996">4</cx:pt>
          <cx:pt idx="75997">4</cx:pt>
          <cx:pt idx="75998">4</cx:pt>
          <cx:pt idx="75999">4</cx:pt>
          <cx:pt idx="76000">4</cx:pt>
          <cx:pt idx="76001">3</cx:pt>
          <cx:pt idx="76002">4</cx:pt>
          <cx:pt idx="76003">1</cx:pt>
          <cx:pt idx="76004">5</cx:pt>
          <cx:pt idx="76005">1</cx:pt>
          <cx:pt idx="76006">2</cx:pt>
          <cx:pt idx="76007">4</cx:pt>
          <cx:pt idx="76008">4</cx:pt>
          <cx:pt idx="76009">3</cx:pt>
          <cx:pt idx="76010">1</cx:pt>
          <cx:pt idx="76011">1</cx:pt>
          <cx:pt idx="76012">4</cx:pt>
          <cx:pt idx="76013">5</cx:pt>
          <cx:pt idx="76014">3</cx:pt>
          <cx:pt idx="76015">4</cx:pt>
          <cx:pt idx="76016">3</cx:pt>
          <cx:pt idx="76017">4</cx:pt>
          <cx:pt idx="76018">2</cx:pt>
          <cx:pt idx="76019">5</cx:pt>
          <cx:pt idx="76020">1</cx:pt>
          <cx:pt idx="76021">5</cx:pt>
          <cx:pt idx="76022">2</cx:pt>
          <cx:pt idx="76023">1</cx:pt>
          <cx:pt idx="76024">4</cx:pt>
          <cx:pt idx="76025">3</cx:pt>
          <cx:pt idx="76026">3</cx:pt>
          <cx:pt idx="76027">3</cx:pt>
          <cx:pt idx="76028">2</cx:pt>
          <cx:pt idx="76029">3</cx:pt>
          <cx:pt idx="76030">2</cx:pt>
          <cx:pt idx="76031">5</cx:pt>
          <cx:pt idx="76032">4</cx:pt>
          <cx:pt idx="76033">3</cx:pt>
          <cx:pt idx="76034">3</cx:pt>
          <cx:pt idx="76035">5</cx:pt>
          <cx:pt idx="76036">2</cx:pt>
          <cx:pt idx="76037">4</cx:pt>
          <cx:pt idx="76038">1</cx:pt>
          <cx:pt idx="76039">4</cx:pt>
          <cx:pt idx="76040">4</cx:pt>
          <cx:pt idx="76041">4</cx:pt>
          <cx:pt idx="76042">3</cx:pt>
          <cx:pt idx="76043">5</cx:pt>
          <cx:pt idx="76044">2</cx:pt>
          <cx:pt idx="76045">2</cx:pt>
          <cx:pt idx="76046">3</cx:pt>
          <cx:pt idx="76047">1</cx:pt>
          <cx:pt idx="76048">4</cx:pt>
          <cx:pt idx="76049">1</cx:pt>
          <cx:pt idx="76050">3</cx:pt>
          <cx:pt idx="76051">1</cx:pt>
          <cx:pt idx="76052">2</cx:pt>
          <cx:pt idx="76053">3</cx:pt>
          <cx:pt idx="76054">4</cx:pt>
          <cx:pt idx="76055">1</cx:pt>
          <cx:pt idx="76056">3</cx:pt>
          <cx:pt idx="76057">1</cx:pt>
          <cx:pt idx="76058">2</cx:pt>
          <cx:pt idx="76059">1</cx:pt>
          <cx:pt idx="76060">2</cx:pt>
          <cx:pt idx="76061">1</cx:pt>
          <cx:pt idx="76062">4</cx:pt>
          <cx:pt idx="76063">1</cx:pt>
          <cx:pt idx="76064">2</cx:pt>
          <cx:pt idx="76065">4</cx:pt>
          <cx:pt idx="76066">3</cx:pt>
          <cx:pt idx="76067">5</cx:pt>
          <cx:pt idx="76068">3</cx:pt>
          <cx:pt idx="76069">3</cx:pt>
          <cx:pt idx="76070">3</cx:pt>
          <cx:pt idx="76071">4</cx:pt>
          <cx:pt idx="76072">5</cx:pt>
          <cx:pt idx="76073">5</cx:pt>
          <cx:pt idx="76074">1</cx:pt>
          <cx:pt idx="76075">5</cx:pt>
          <cx:pt idx="76076">4</cx:pt>
          <cx:pt idx="76077">3</cx:pt>
          <cx:pt idx="76078">2</cx:pt>
          <cx:pt idx="76079">5</cx:pt>
          <cx:pt idx="76080">3</cx:pt>
          <cx:pt idx="76081">2</cx:pt>
          <cx:pt idx="76082">4</cx:pt>
          <cx:pt idx="76083">1</cx:pt>
          <cx:pt idx="76084">4</cx:pt>
          <cx:pt idx="76085">2</cx:pt>
          <cx:pt idx="76086">5</cx:pt>
          <cx:pt idx="76087">5</cx:pt>
          <cx:pt idx="76088">3</cx:pt>
          <cx:pt idx="76089">1</cx:pt>
          <cx:pt idx="76090">4</cx:pt>
          <cx:pt idx="76091">2</cx:pt>
          <cx:pt idx="76092">4</cx:pt>
          <cx:pt idx="76093">2</cx:pt>
          <cx:pt idx="76094">3</cx:pt>
          <cx:pt idx="76095">5</cx:pt>
          <cx:pt idx="76096">3</cx:pt>
          <cx:pt idx="76097">4</cx:pt>
          <cx:pt idx="76098">3</cx:pt>
          <cx:pt idx="76099">4</cx:pt>
          <cx:pt idx="76100">3</cx:pt>
          <cx:pt idx="76101">2</cx:pt>
          <cx:pt idx="76102">5</cx:pt>
          <cx:pt idx="76103">5</cx:pt>
          <cx:pt idx="76104">4</cx:pt>
          <cx:pt idx="76105">2</cx:pt>
          <cx:pt idx="76106">3</cx:pt>
          <cx:pt idx="76107">4</cx:pt>
          <cx:pt idx="76108">1</cx:pt>
          <cx:pt idx="76109">3</cx:pt>
          <cx:pt idx="76110">2</cx:pt>
          <cx:pt idx="76111">4</cx:pt>
          <cx:pt idx="76112">3</cx:pt>
          <cx:pt idx="76113">5</cx:pt>
          <cx:pt idx="76114">4</cx:pt>
          <cx:pt idx="76115">2</cx:pt>
          <cx:pt idx="76116">4</cx:pt>
          <cx:pt idx="76117">5</cx:pt>
          <cx:pt idx="76118">1</cx:pt>
          <cx:pt idx="76119">4</cx:pt>
          <cx:pt idx="76120">2</cx:pt>
          <cx:pt idx="76121">5</cx:pt>
          <cx:pt idx="76122">4</cx:pt>
          <cx:pt idx="76123">4</cx:pt>
          <cx:pt idx="76124">4</cx:pt>
          <cx:pt idx="76125">1</cx:pt>
          <cx:pt idx="76126">4</cx:pt>
          <cx:pt idx="76127">5</cx:pt>
          <cx:pt idx="76128">4</cx:pt>
          <cx:pt idx="76129">4</cx:pt>
          <cx:pt idx="76130">5</cx:pt>
          <cx:pt idx="76131">1</cx:pt>
          <cx:pt idx="76132">1</cx:pt>
          <cx:pt idx="76133">1</cx:pt>
          <cx:pt idx="76134">3</cx:pt>
          <cx:pt idx="76135">2</cx:pt>
          <cx:pt idx="76136">4</cx:pt>
          <cx:pt idx="76137">2</cx:pt>
          <cx:pt idx="76138">5</cx:pt>
          <cx:pt idx="76139">4</cx:pt>
          <cx:pt idx="76140">1</cx:pt>
          <cx:pt idx="76141">5</cx:pt>
          <cx:pt idx="76142">4</cx:pt>
          <cx:pt idx="76143">2</cx:pt>
          <cx:pt idx="76144">3</cx:pt>
          <cx:pt idx="76145">4</cx:pt>
          <cx:pt idx="76146">4</cx:pt>
          <cx:pt idx="76147">4</cx:pt>
          <cx:pt idx="76148">3</cx:pt>
          <cx:pt idx="76149">5</cx:pt>
          <cx:pt idx="76150">4</cx:pt>
          <cx:pt idx="76151">5</cx:pt>
          <cx:pt idx="76152">4</cx:pt>
          <cx:pt idx="76153">2</cx:pt>
          <cx:pt idx="76154">5</cx:pt>
          <cx:pt idx="76155">4</cx:pt>
          <cx:pt idx="76156">4</cx:pt>
          <cx:pt idx="76157">5</cx:pt>
          <cx:pt idx="76158">4</cx:pt>
          <cx:pt idx="76159">1</cx:pt>
          <cx:pt idx="76160">3</cx:pt>
          <cx:pt idx="76161">2</cx:pt>
          <cx:pt idx="76162">2</cx:pt>
          <cx:pt idx="76163">4</cx:pt>
          <cx:pt idx="76164">2</cx:pt>
          <cx:pt idx="76165">4</cx:pt>
          <cx:pt idx="76166">5</cx:pt>
          <cx:pt idx="76167">4</cx:pt>
          <cx:pt idx="76168">3</cx:pt>
          <cx:pt idx="76169">5</cx:pt>
          <cx:pt idx="76170">2</cx:pt>
          <cx:pt idx="76171">5</cx:pt>
          <cx:pt idx="76172">4</cx:pt>
          <cx:pt idx="76173">4</cx:pt>
          <cx:pt idx="76174">5</cx:pt>
          <cx:pt idx="76175">2</cx:pt>
          <cx:pt idx="76176">3</cx:pt>
          <cx:pt idx="76177">4</cx:pt>
          <cx:pt idx="76178">4</cx:pt>
          <cx:pt idx="76179">4</cx:pt>
          <cx:pt idx="76180">4</cx:pt>
          <cx:pt idx="76181">5</cx:pt>
          <cx:pt idx="76182">4</cx:pt>
          <cx:pt idx="76183">5</cx:pt>
          <cx:pt idx="76184">4</cx:pt>
          <cx:pt idx="76185">5</cx:pt>
          <cx:pt idx="76186">4</cx:pt>
          <cx:pt idx="76187">3</cx:pt>
          <cx:pt idx="76188">2</cx:pt>
          <cx:pt idx="76189">4</cx:pt>
          <cx:pt idx="76190">2</cx:pt>
          <cx:pt idx="76191">5</cx:pt>
          <cx:pt idx="76192">4</cx:pt>
          <cx:pt idx="76193">4</cx:pt>
          <cx:pt idx="76194">4</cx:pt>
          <cx:pt idx="76195">5</cx:pt>
          <cx:pt idx="76196">1</cx:pt>
          <cx:pt idx="76197">1</cx:pt>
          <cx:pt idx="76198">3</cx:pt>
          <cx:pt idx="76199">4</cx:pt>
          <cx:pt idx="76200">4</cx:pt>
          <cx:pt idx="76201">4</cx:pt>
          <cx:pt idx="76202">1</cx:pt>
          <cx:pt idx="76203">5</cx:pt>
          <cx:pt idx="76204">5</cx:pt>
          <cx:pt idx="76205">1</cx:pt>
          <cx:pt idx="76206">2</cx:pt>
          <cx:pt idx="76207">3</cx:pt>
          <cx:pt idx="76208">2</cx:pt>
          <cx:pt idx="76209">1</cx:pt>
          <cx:pt idx="76210">3</cx:pt>
          <cx:pt idx="76211">5</cx:pt>
          <cx:pt idx="76212">3</cx:pt>
          <cx:pt idx="76213">3</cx:pt>
          <cx:pt idx="76214">4</cx:pt>
          <cx:pt idx="76215">4</cx:pt>
          <cx:pt idx="76216">5</cx:pt>
          <cx:pt idx="76217">1</cx:pt>
          <cx:pt idx="76218">4</cx:pt>
          <cx:pt idx="76219">5</cx:pt>
          <cx:pt idx="76220">3</cx:pt>
          <cx:pt idx="76221">5</cx:pt>
          <cx:pt idx="76222">4</cx:pt>
          <cx:pt idx="76223">5</cx:pt>
          <cx:pt idx="76224">4</cx:pt>
          <cx:pt idx="76225">4</cx:pt>
          <cx:pt idx="76226">1</cx:pt>
          <cx:pt idx="76227">3</cx:pt>
          <cx:pt idx="76228">2</cx:pt>
          <cx:pt idx="76229">4</cx:pt>
          <cx:pt idx="76230">3</cx:pt>
          <cx:pt idx="76231">2</cx:pt>
          <cx:pt idx="76232">5</cx:pt>
          <cx:pt idx="76233">4</cx:pt>
          <cx:pt idx="76234">3</cx:pt>
          <cx:pt idx="76235">1</cx:pt>
          <cx:pt idx="76236">1</cx:pt>
          <cx:pt idx="76237">2</cx:pt>
          <cx:pt idx="76238">5</cx:pt>
          <cx:pt idx="76239">4</cx:pt>
          <cx:pt idx="76240">4</cx:pt>
          <cx:pt idx="76241">4</cx:pt>
          <cx:pt idx="76242">1</cx:pt>
          <cx:pt idx="76243">5</cx:pt>
          <cx:pt idx="76244">5</cx:pt>
          <cx:pt idx="76245">4</cx:pt>
          <cx:pt idx="76246">2</cx:pt>
          <cx:pt idx="76247">5</cx:pt>
          <cx:pt idx="76248">1</cx:pt>
          <cx:pt idx="76249">4</cx:pt>
          <cx:pt idx="76250">4</cx:pt>
          <cx:pt idx="76251">1</cx:pt>
          <cx:pt idx="76252">4</cx:pt>
          <cx:pt idx="76253">2</cx:pt>
          <cx:pt idx="76254">3</cx:pt>
          <cx:pt idx="76255">1</cx:pt>
          <cx:pt idx="76256">4</cx:pt>
          <cx:pt idx="76257">2</cx:pt>
          <cx:pt idx="76258">5</cx:pt>
          <cx:pt idx="76259">4</cx:pt>
          <cx:pt idx="76260">4</cx:pt>
          <cx:pt idx="76261">4</cx:pt>
          <cx:pt idx="76262">2</cx:pt>
          <cx:pt idx="76263">3</cx:pt>
          <cx:pt idx="76264">5</cx:pt>
          <cx:pt idx="76265">3</cx:pt>
          <cx:pt idx="76266">5</cx:pt>
          <cx:pt idx="76267">5</cx:pt>
          <cx:pt idx="76268">1</cx:pt>
          <cx:pt idx="76269">4</cx:pt>
          <cx:pt idx="76270">5</cx:pt>
          <cx:pt idx="76271">2</cx:pt>
          <cx:pt idx="76272">4</cx:pt>
          <cx:pt idx="76273">2</cx:pt>
          <cx:pt idx="76274">5</cx:pt>
          <cx:pt idx="76275">2</cx:pt>
          <cx:pt idx="76276">5</cx:pt>
          <cx:pt idx="76277">5</cx:pt>
          <cx:pt idx="76278">1</cx:pt>
          <cx:pt idx="76279">2</cx:pt>
          <cx:pt idx="76280">4</cx:pt>
          <cx:pt idx="76281">5</cx:pt>
          <cx:pt idx="76282">4</cx:pt>
          <cx:pt idx="76283">5</cx:pt>
          <cx:pt idx="76284">4</cx:pt>
          <cx:pt idx="76285">2</cx:pt>
          <cx:pt idx="76286">4</cx:pt>
          <cx:pt idx="76287">2</cx:pt>
          <cx:pt idx="76288">4</cx:pt>
          <cx:pt idx="76289">5</cx:pt>
          <cx:pt idx="76290">4</cx:pt>
          <cx:pt idx="76291">3</cx:pt>
          <cx:pt idx="76292">4</cx:pt>
          <cx:pt idx="76293">1</cx:pt>
          <cx:pt idx="76294">4</cx:pt>
          <cx:pt idx="76295">4</cx:pt>
          <cx:pt idx="76296">5</cx:pt>
          <cx:pt idx="76297">4</cx:pt>
          <cx:pt idx="76298">1</cx:pt>
          <cx:pt idx="76299">4</cx:pt>
          <cx:pt idx="76300">1</cx:pt>
          <cx:pt idx="76301">3</cx:pt>
          <cx:pt idx="76302">2</cx:pt>
          <cx:pt idx="76303">4</cx:pt>
          <cx:pt idx="76304">2</cx:pt>
          <cx:pt idx="76305">2</cx:pt>
          <cx:pt idx="76306">2</cx:pt>
          <cx:pt idx="76307">5</cx:pt>
          <cx:pt idx="76308">4</cx:pt>
          <cx:pt idx="76309">3</cx:pt>
          <cx:pt idx="76310">2</cx:pt>
          <cx:pt idx="76311">3</cx:pt>
          <cx:pt idx="76312">4</cx:pt>
          <cx:pt idx="76313">3</cx:pt>
          <cx:pt idx="76314">3</cx:pt>
          <cx:pt idx="76315">1</cx:pt>
          <cx:pt idx="76316">2</cx:pt>
          <cx:pt idx="76317">5</cx:pt>
          <cx:pt idx="76318">5</cx:pt>
          <cx:pt idx="76319">2</cx:pt>
          <cx:pt idx="76320">4</cx:pt>
          <cx:pt idx="76321">5</cx:pt>
          <cx:pt idx="76322">3</cx:pt>
          <cx:pt idx="76323">1</cx:pt>
          <cx:pt idx="76324">4</cx:pt>
          <cx:pt idx="76325">4</cx:pt>
          <cx:pt idx="76326">3</cx:pt>
          <cx:pt idx="76327">4</cx:pt>
          <cx:pt idx="76328">3</cx:pt>
          <cx:pt idx="76329">5</cx:pt>
          <cx:pt idx="76330">5</cx:pt>
          <cx:pt idx="76331">5</cx:pt>
          <cx:pt idx="76332">3</cx:pt>
          <cx:pt idx="76333">5</cx:pt>
          <cx:pt idx="76334">2</cx:pt>
          <cx:pt idx="76335">5</cx:pt>
          <cx:pt idx="76336">4</cx:pt>
          <cx:pt idx="76337">5</cx:pt>
          <cx:pt idx="76338">3</cx:pt>
          <cx:pt idx="76339">4</cx:pt>
          <cx:pt idx="76340">3</cx:pt>
          <cx:pt idx="76341">2</cx:pt>
          <cx:pt idx="76342">4</cx:pt>
          <cx:pt idx="76343">5</cx:pt>
          <cx:pt idx="76344">2</cx:pt>
          <cx:pt idx="76345">5</cx:pt>
          <cx:pt idx="76346">4</cx:pt>
          <cx:pt idx="76347">5</cx:pt>
          <cx:pt idx="76348">3</cx:pt>
          <cx:pt idx="76349">1</cx:pt>
          <cx:pt idx="76350">3</cx:pt>
          <cx:pt idx="76351">5</cx:pt>
          <cx:pt idx="76352">3</cx:pt>
          <cx:pt idx="76353">4</cx:pt>
          <cx:pt idx="76354">5</cx:pt>
          <cx:pt idx="76355">4</cx:pt>
          <cx:pt idx="76356">4</cx:pt>
          <cx:pt idx="76357">1</cx:pt>
          <cx:pt idx="76358">4</cx:pt>
          <cx:pt idx="76359">1</cx:pt>
          <cx:pt idx="76360">5</cx:pt>
          <cx:pt idx="76361">4</cx:pt>
          <cx:pt idx="76362">4</cx:pt>
          <cx:pt idx="76363">4</cx:pt>
          <cx:pt idx="76364">2</cx:pt>
          <cx:pt idx="76365">3</cx:pt>
          <cx:pt idx="76366">2</cx:pt>
          <cx:pt idx="76367">1</cx:pt>
          <cx:pt idx="76368">3</cx:pt>
          <cx:pt idx="76369">5</cx:pt>
          <cx:pt idx="76370">5</cx:pt>
          <cx:pt idx="76371">5</cx:pt>
          <cx:pt idx="76372">1</cx:pt>
          <cx:pt idx="76373">3</cx:pt>
          <cx:pt idx="76374">2</cx:pt>
          <cx:pt idx="76375">3</cx:pt>
          <cx:pt idx="76376">5</cx:pt>
          <cx:pt idx="76377">4</cx:pt>
          <cx:pt idx="76378">5</cx:pt>
          <cx:pt idx="76379">4</cx:pt>
          <cx:pt idx="76380">5</cx:pt>
          <cx:pt idx="76381">5</cx:pt>
          <cx:pt idx="76382">4</cx:pt>
          <cx:pt idx="76383">5</cx:pt>
          <cx:pt idx="76384">5</cx:pt>
          <cx:pt idx="76385">4</cx:pt>
          <cx:pt idx="76386">4</cx:pt>
          <cx:pt idx="76387">2</cx:pt>
          <cx:pt idx="76388">4</cx:pt>
          <cx:pt idx="76389">4</cx:pt>
          <cx:pt idx="76390">2</cx:pt>
          <cx:pt idx="76391">5</cx:pt>
          <cx:pt idx="76392">5</cx:pt>
          <cx:pt idx="76393">2</cx:pt>
          <cx:pt idx="76394">2</cx:pt>
          <cx:pt idx="76395">5</cx:pt>
          <cx:pt idx="76396">3</cx:pt>
          <cx:pt idx="76397">3</cx:pt>
          <cx:pt idx="76398">5</cx:pt>
          <cx:pt idx="76399">5</cx:pt>
          <cx:pt idx="76400">5</cx:pt>
          <cx:pt idx="76401">2</cx:pt>
          <cx:pt idx="76402">3</cx:pt>
          <cx:pt idx="76403">3</cx:pt>
          <cx:pt idx="76404">4</cx:pt>
          <cx:pt idx="76405">5</cx:pt>
          <cx:pt idx="76406">1</cx:pt>
          <cx:pt idx="76407">5</cx:pt>
          <cx:pt idx="76408">3</cx:pt>
          <cx:pt idx="76409">3</cx:pt>
          <cx:pt idx="76410">4</cx:pt>
          <cx:pt idx="76411">3</cx:pt>
          <cx:pt idx="76412">2</cx:pt>
          <cx:pt idx="76413">5</cx:pt>
          <cx:pt idx="76414">2</cx:pt>
          <cx:pt idx="76415">2</cx:pt>
          <cx:pt idx="76416">4</cx:pt>
          <cx:pt idx="76417">5</cx:pt>
          <cx:pt idx="76418">4</cx:pt>
          <cx:pt idx="76419">4</cx:pt>
          <cx:pt idx="76420">2</cx:pt>
          <cx:pt idx="76421">4</cx:pt>
          <cx:pt idx="76422">3</cx:pt>
          <cx:pt idx="76423">3</cx:pt>
          <cx:pt idx="76424">3</cx:pt>
          <cx:pt idx="76425">4</cx:pt>
          <cx:pt idx="76426">2</cx:pt>
          <cx:pt idx="76427">5</cx:pt>
          <cx:pt idx="76428">4</cx:pt>
          <cx:pt idx="76429">5</cx:pt>
          <cx:pt idx="76430">5</cx:pt>
          <cx:pt idx="76431">3</cx:pt>
          <cx:pt idx="76432">2</cx:pt>
          <cx:pt idx="76433">5</cx:pt>
          <cx:pt idx="76434">5</cx:pt>
          <cx:pt idx="76435">4</cx:pt>
          <cx:pt idx="76436">5</cx:pt>
          <cx:pt idx="76437">3</cx:pt>
          <cx:pt idx="76438">4</cx:pt>
          <cx:pt idx="76439">1</cx:pt>
          <cx:pt idx="76440">5</cx:pt>
          <cx:pt idx="76441">5</cx:pt>
          <cx:pt idx="76442">4</cx:pt>
          <cx:pt idx="76443">1</cx:pt>
          <cx:pt idx="76444">1</cx:pt>
          <cx:pt idx="76445">5</cx:pt>
          <cx:pt idx="76446">3</cx:pt>
          <cx:pt idx="76447">4</cx:pt>
          <cx:pt idx="76448">4</cx:pt>
          <cx:pt idx="76449">1</cx:pt>
          <cx:pt idx="76450">3</cx:pt>
          <cx:pt idx="76451">3</cx:pt>
          <cx:pt idx="76452">1</cx:pt>
          <cx:pt idx="76453">4</cx:pt>
          <cx:pt idx="76454">3</cx:pt>
          <cx:pt idx="76455">4</cx:pt>
          <cx:pt idx="76456">5</cx:pt>
          <cx:pt idx="76457">3</cx:pt>
          <cx:pt idx="76458">3</cx:pt>
          <cx:pt idx="76459">4</cx:pt>
          <cx:pt idx="76460">5</cx:pt>
          <cx:pt idx="76461">4</cx:pt>
          <cx:pt idx="76462">4</cx:pt>
          <cx:pt idx="76463">3</cx:pt>
          <cx:pt idx="76464">4</cx:pt>
          <cx:pt idx="76465">1</cx:pt>
          <cx:pt idx="76466">1</cx:pt>
          <cx:pt idx="76467">4</cx:pt>
          <cx:pt idx="76468">3</cx:pt>
          <cx:pt idx="76469">4</cx:pt>
          <cx:pt idx="76470">2</cx:pt>
          <cx:pt idx="76471">4</cx:pt>
          <cx:pt idx="76472">5</cx:pt>
          <cx:pt idx="76473">4</cx:pt>
          <cx:pt idx="76474">4</cx:pt>
          <cx:pt idx="76475">5</cx:pt>
          <cx:pt idx="76476">5</cx:pt>
          <cx:pt idx="76477">2</cx:pt>
          <cx:pt idx="76478">5</cx:pt>
          <cx:pt idx="76479">4</cx:pt>
          <cx:pt idx="76480">3</cx:pt>
          <cx:pt idx="76481">4</cx:pt>
          <cx:pt idx="76482">2</cx:pt>
          <cx:pt idx="76483">2</cx:pt>
          <cx:pt idx="76484">5</cx:pt>
          <cx:pt idx="76485">4</cx:pt>
          <cx:pt idx="76486">1</cx:pt>
          <cx:pt idx="76487">3</cx:pt>
          <cx:pt idx="76488">4</cx:pt>
          <cx:pt idx="76489">2</cx:pt>
          <cx:pt idx="76490">2</cx:pt>
          <cx:pt idx="76491">4</cx:pt>
          <cx:pt idx="76492">5</cx:pt>
          <cx:pt idx="76493">3</cx:pt>
          <cx:pt idx="76494">4</cx:pt>
          <cx:pt idx="76495">4</cx:pt>
          <cx:pt idx="76496">4</cx:pt>
          <cx:pt idx="76497">5</cx:pt>
          <cx:pt idx="76498">2</cx:pt>
          <cx:pt idx="76499">1</cx:pt>
          <cx:pt idx="76500">1</cx:pt>
          <cx:pt idx="76501">3</cx:pt>
          <cx:pt idx="76502">5</cx:pt>
          <cx:pt idx="76503">3</cx:pt>
          <cx:pt idx="76504">4</cx:pt>
          <cx:pt idx="76505">2</cx:pt>
          <cx:pt idx="76506">3</cx:pt>
          <cx:pt idx="76507">4</cx:pt>
          <cx:pt idx="76508">4</cx:pt>
          <cx:pt idx="76509">4</cx:pt>
          <cx:pt idx="76510">5</cx:pt>
          <cx:pt idx="76511">3</cx:pt>
          <cx:pt idx="76512">4</cx:pt>
          <cx:pt idx="76513">5</cx:pt>
          <cx:pt idx="76514">1</cx:pt>
          <cx:pt idx="76515">3</cx:pt>
          <cx:pt idx="76516">2</cx:pt>
          <cx:pt idx="76517">1</cx:pt>
          <cx:pt idx="76518">2</cx:pt>
          <cx:pt idx="76519">3</cx:pt>
          <cx:pt idx="76520">4</cx:pt>
          <cx:pt idx="76521">2</cx:pt>
          <cx:pt idx="76522">4</cx:pt>
          <cx:pt idx="76523">4</cx:pt>
          <cx:pt idx="76524">5</cx:pt>
          <cx:pt idx="76525">1</cx:pt>
          <cx:pt idx="76526">5</cx:pt>
          <cx:pt idx="76527">4</cx:pt>
          <cx:pt idx="76528">3</cx:pt>
          <cx:pt idx="76529">3</cx:pt>
          <cx:pt idx="76530">5</cx:pt>
          <cx:pt idx="76531">1</cx:pt>
          <cx:pt idx="76532">5</cx:pt>
          <cx:pt idx="76533">2</cx:pt>
          <cx:pt idx="76534">3</cx:pt>
          <cx:pt idx="76535">2</cx:pt>
          <cx:pt idx="76536">5</cx:pt>
          <cx:pt idx="76537">3</cx:pt>
          <cx:pt idx="76538">2</cx:pt>
          <cx:pt idx="76539">4</cx:pt>
          <cx:pt idx="76540">3</cx:pt>
          <cx:pt idx="76541">3</cx:pt>
          <cx:pt idx="76542">4</cx:pt>
          <cx:pt idx="76543">5</cx:pt>
          <cx:pt idx="76544">1</cx:pt>
          <cx:pt idx="76545">4</cx:pt>
          <cx:pt idx="76546">4</cx:pt>
          <cx:pt idx="76547">4</cx:pt>
          <cx:pt idx="76548">1</cx:pt>
          <cx:pt idx="76549">5</cx:pt>
          <cx:pt idx="76550">2</cx:pt>
          <cx:pt idx="76551">3</cx:pt>
          <cx:pt idx="76552">5</cx:pt>
          <cx:pt idx="76553">3</cx:pt>
          <cx:pt idx="76554">5</cx:pt>
          <cx:pt idx="76555">4</cx:pt>
          <cx:pt idx="76556">4</cx:pt>
          <cx:pt idx="76557">4</cx:pt>
          <cx:pt idx="76558">1</cx:pt>
          <cx:pt idx="76559">1</cx:pt>
          <cx:pt idx="76560">5</cx:pt>
          <cx:pt idx="76561">5</cx:pt>
          <cx:pt idx="76562">3</cx:pt>
          <cx:pt idx="76563">5</cx:pt>
          <cx:pt idx="76564">2</cx:pt>
          <cx:pt idx="76565">4</cx:pt>
          <cx:pt idx="76566">5</cx:pt>
          <cx:pt idx="76567">2</cx:pt>
          <cx:pt idx="76568">2</cx:pt>
          <cx:pt idx="76569">5</cx:pt>
          <cx:pt idx="76570">4</cx:pt>
          <cx:pt idx="76571">1</cx:pt>
          <cx:pt idx="76572">5</cx:pt>
          <cx:pt idx="76573">4</cx:pt>
          <cx:pt idx="76574">2</cx:pt>
          <cx:pt idx="76575">5</cx:pt>
          <cx:pt idx="76576">3</cx:pt>
          <cx:pt idx="76577">5</cx:pt>
          <cx:pt idx="76578">4</cx:pt>
          <cx:pt idx="76579">1</cx:pt>
          <cx:pt idx="76580">2</cx:pt>
          <cx:pt idx="76581">4</cx:pt>
          <cx:pt idx="76582">5</cx:pt>
          <cx:pt idx="76583">5</cx:pt>
          <cx:pt idx="76584">2</cx:pt>
          <cx:pt idx="76585">1</cx:pt>
          <cx:pt idx="76586">3</cx:pt>
          <cx:pt idx="76587">1</cx:pt>
          <cx:pt idx="76588">3</cx:pt>
          <cx:pt idx="76589">1</cx:pt>
          <cx:pt idx="76590">5</cx:pt>
          <cx:pt idx="76591">2</cx:pt>
          <cx:pt idx="76592">3</cx:pt>
          <cx:pt idx="76593">4</cx:pt>
          <cx:pt idx="76594">3</cx:pt>
          <cx:pt idx="76595">5</cx:pt>
          <cx:pt idx="76596">5</cx:pt>
          <cx:pt idx="76597">3</cx:pt>
          <cx:pt idx="76598">4</cx:pt>
          <cx:pt idx="76599">4</cx:pt>
          <cx:pt idx="76600">4</cx:pt>
          <cx:pt idx="76601">1</cx:pt>
          <cx:pt idx="76602">2</cx:pt>
          <cx:pt idx="76603">4</cx:pt>
          <cx:pt idx="76604">5</cx:pt>
          <cx:pt idx="76605">5</cx:pt>
          <cx:pt idx="76606">4</cx:pt>
          <cx:pt idx="76607">5</cx:pt>
          <cx:pt idx="76608">3</cx:pt>
          <cx:pt idx="76609">5</cx:pt>
          <cx:pt idx="76610">4</cx:pt>
          <cx:pt idx="76611">5</cx:pt>
          <cx:pt idx="76612">4</cx:pt>
          <cx:pt idx="76613">3</cx:pt>
          <cx:pt idx="76614">1</cx:pt>
          <cx:pt idx="76615">4</cx:pt>
          <cx:pt idx="76616">1</cx:pt>
          <cx:pt idx="76617">4</cx:pt>
          <cx:pt idx="76618">4</cx:pt>
          <cx:pt idx="76619">4</cx:pt>
          <cx:pt idx="76620">2</cx:pt>
          <cx:pt idx="76621">4</cx:pt>
          <cx:pt idx="76622">2</cx:pt>
          <cx:pt idx="76623">2</cx:pt>
          <cx:pt idx="76624">4</cx:pt>
          <cx:pt idx="76625">5</cx:pt>
          <cx:pt idx="76626">5</cx:pt>
          <cx:pt idx="76627">5</cx:pt>
          <cx:pt idx="76628">3</cx:pt>
          <cx:pt idx="76629">2</cx:pt>
          <cx:pt idx="76630">5</cx:pt>
          <cx:pt idx="76631">2</cx:pt>
          <cx:pt idx="76632">3</cx:pt>
          <cx:pt idx="76633">3</cx:pt>
          <cx:pt idx="76634">3</cx:pt>
          <cx:pt idx="76635">1</cx:pt>
          <cx:pt idx="76636">5</cx:pt>
          <cx:pt idx="76637">3</cx:pt>
          <cx:pt idx="76638">1</cx:pt>
          <cx:pt idx="76639">2</cx:pt>
          <cx:pt idx="76640">4</cx:pt>
          <cx:pt idx="76641">4</cx:pt>
          <cx:pt idx="76642">5</cx:pt>
          <cx:pt idx="76643">1</cx:pt>
          <cx:pt idx="76644">2</cx:pt>
          <cx:pt idx="76645">4</cx:pt>
          <cx:pt idx="76646">4</cx:pt>
          <cx:pt idx="76647">4</cx:pt>
          <cx:pt idx="76648">5</cx:pt>
          <cx:pt idx="76649">4</cx:pt>
          <cx:pt idx="76650">1</cx:pt>
          <cx:pt idx="76651">1</cx:pt>
          <cx:pt idx="76652">3</cx:pt>
          <cx:pt idx="76653">3</cx:pt>
          <cx:pt idx="76654">1</cx:pt>
          <cx:pt idx="76655">4</cx:pt>
          <cx:pt idx="76656">3</cx:pt>
          <cx:pt idx="76657">1</cx:pt>
          <cx:pt idx="76658">5</cx:pt>
          <cx:pt idx="76659">5</cx:pt>
          <cx:pt idx="76660">1</cx:pt>
          <cx:pt idx="76661">5</cx:pt>
          <cx:pt idx="76662">5</cx:pt>
          <cx:pt idx="76663">4</cx:pt>
          <cx:pt idx="76664">3</cx:pt>
          <cx:pt idx="76665">4</cx:pt>
          <cx:pt idx="76666">4</cx:pt>
          <cx:pt idx="76667">3</cx:pt>
          <cx:pt idx="76668">1</cx:pt>
          <cx:pt idx="76669">5</cx:pt>
          <cx:pt idx="76670">5</cx:pt>
          <cx:pt idx="76671">2</cx:pt>
          <cx:pt idx="76672">4</cx:pt>
          <cx:pt idx="76673">4</cx:pt>
          <cx:pt idx="76674">4</cx:pt>
          <cx:pt idx="76675">4</cx:pt>
          <cx:pt idx="76676">2</cx:pt>
          <cx:pt idx="76677">5</cx:pt>
          <cx:pt idx="76678">5</cx:pt>
          <cx:pt idx="76679">5</cx:pt>
          <cx:pt idx="76680">4</cx:pt>
          <cx:pt idx="76681">2</cx:pt>
          <cx:pt idx="76682">3</cx:pt>
          <cx:pt idx="76683">4</cx:pt>
          <cx:pt idx="76684">5</cx:pt>
          <cx:pt idx="76685">4</cx:pt>
          <cx:pt idx="76686">3</cx:pt>
          <cx:pt idx="76687">4</cx:pt>
          <cx:pt idx="76688">5</cx:pt>
          <cx:pt idx="76689">5</cx:pt>
          <cx:pt idx="76690">2</cx:pt>
          <cx:pt idx="76691">4</cx:pt>
          <cx:pt idx="76692">4</cx:pt>
          <cx:pt idx="76693">5</cx:pt>
          <cx:pt idx="76694">1</cx:pt>
          <cx:pt idx="76695">2</cx:pt>
          <cx:pt idx="76696">5</cx:pt>
          <cx:pt idx="76697">3</cx:pt>
          <cx:pt idx="76698">4</cx:pt>
          <cx:pt idx="76699">1</cx:pt>
          <cx:pt idx="76700">2</cx:pt>
          <cx:pt idx="76701">3</cx:pt>
          <cx:pt idx="76702">4</cx:pt>
          <cx:pt idx="76703">2</cx:pt>
          <cx:pt idx="76704">2</cx:pt>
          <cx:pt idx="76705">4</cx:pt>
          <cx:pt idx="76706">5</cx:pt>
          <cx:pt idx="76707">4</cx:pt>
          <cx:pt idx="76708">5</cx:pt>
          <cx:pt idx="76709">3</cx:pt>
          <cx:pt idx="76710">1</cx:pt>
          <cx:pt idx="76711">2</cx:pt>
          <cx:pt idx="76712">1</cx:pt>
          <cx:pt idx="76713">5</cx:pt>
          <cx:pt idx="76714">5</cx:pt>
          <cx:pt idx="76715">4</cx:pt>
          <cx:pt idx="76716">1</cx:pt>
          <cx:pt idx="76717">4</cx:pt>
          <cx:pt idx="76718">2</cx:pt>
          <cx:pt idx="76719">2</cx:pt>
          <cx:pt idx="76720">1</cx:pt>
          <cx:pt idx="76721">4</cx:pt>
          <cx:pt idx="76722">3</cx:pt>
          <cx:pt idx="76723">4</cx:pt>
          <cx:pt idx="76724">3</cx:pt>
          <cx:pt idx="76725">1</cx:pt>
          <cx:pt idx="76726">4</cx:pt>
          <cx:pt idx="76727">3</cx:pt>
          <cx:pt idx="76728">5</cx:pt>
          <cx:pt idx="76729">5</cx:pt>
          <cx:pt idx="76730">5</cx:pt>
          <cx:pt idx="76731">4</cx:pt>
          <cx:pt idx="76732">4</cx:pt>
          <cx:pt idx="76733">5</cx:pt>
          <cx:pt idx="76734">2</cx:pt>
          <cx:pt idx="76735">2</cx:pt>
          <cx:pt idx="76736">3</cx:pt>
          <cx:pt idx="76737">4</cx:pt>
          <cx:pt idx="76738">5</cx:pt>
          <cx:pt idx="76739">2</cx:pt>
          <cx:pt idx="76740">2</cx:pt>
          <cx:pt idx="76741">1</cx:pt>
          <cx:pt idx="76742">5</cx:pt>
          <cx:pt idx="76743">2</cx:pt>
          <cx:pt idx="76744">5</cx:pt>
          <cx:pt idx="76745">4</cx:pt>
          <cx:pt idx="76746">4</cx:pt>
          <cx:pt idx="76747">5</cx:pt>
          <cx:pt idx="76748">4</cx:pt>
          <cx:pt idx="76749">5</cx:pt>
          <cx:pt idx="76750">2</cx:pt>
          <cx:pt idx="76751">2</cx:pt>
          <cx:pt idx="76752">3</cx:pt>
          <cx:pt idx="76753">5</cx:pt>
          <cx:pt idx="76754">5</cx:pt>
          <cx:pt idx="76755">5</cx:pt>
          <cx:pt idx="76756">5</cx:pt>
          <cx:pt idx="76757">4</cx:pt>
          <cx:pt idx="76758">2</cx:pt>
          <cx:pt idx="76759">1</cx:pt>
          <cx:pt idx="76760">4</cx:pt>
          <cx:pt idx="76761">4</cx:pt>
          <cx:pt idx="76762">5</cx:pt>
          <cx:pt idx="76763">4</cx:pt>
          <cx:pt idx="76764">3</cx:pt>
          <cx:pt idx="76765">1</cx:pt>
          <cx:pt idx="76766">1</cx:pt>
          <cx:pt idx="76767">1</cx:pt>
          <cx:pt idx="76768">4</cx:pt>
          <cx:pt idx="76769">2</cx:pt>
          <cx:pt idx="76770">3</cx:pt>
          <cx:pt idx="76771">5</cx:pt>
          <cx:pt idx="76772">3</cx:pt>
          <cx:pt idx="76773">2</cx:pt>
          <cx:pt idx="76774">5</cx:pt>
          <cx:pt idx="76775">1</cx:pt>
          <cx:pt idx="76776">5</cx:pt>
          <cx:pt idx="76777">1</cx:pt>
          <cx:pt idx="76778">4</cx:pt>
          <cx:pt idx="76779">3</cx:pt>
          <cx:pt idx="76780">5</cx:pt>
          <cx:pt idx="76781">4</cx:pt>
          <cx:pt idx="76782">5</cx:pt>
          <cx:pt idx="76783">2</cx:pt>
          <cx:pt idx="76784">3</cx:pt>
          <cx:pt idx="76785">1</cx:pt>
          <cx:pt idx="76786">4</cx:pt>
          <cx:pt idx="76787">5</cx:pt>
          <cx:pt idx="76788">4</cx:pt>
          <cx:pt idx="76789">5</cx:pt>
          <cx:pt idx="76790">5</cx:pt>
          <cx:pt idx="76791">5</cx:pt>
          <cx:pt idx="76792">5</cx:pt>
          <cx:pt idx="76793">4</cx:pt>
          <cx:pt idx="76794">5</cx:pt>
          <cx:pt idx="76795">4</cx:pt>
          <cx:pt idx="76796">1</cx:pt>
          <cx:pt idx="76797">5</cx:pt>
          <cx:pt idx="76798">5</cx:pt>
          <cx:pt idx="76799">3</cx:pt>
          <cx:pt idx="76800">4</cx:pt>
          <cx:pt idx="76801">4</cx:pt>
          <cx:pt idx="76802">2</cx:pt>
          <cx:pt idx="76803">1</cx:pt>
          <cx:pt idx="76804">2</cx:pt>
          <cx:pt idx="76805">5</cx:pt>
          <cx:pt idx="76806">3</cx:pt>
          <cx:pt idx="76807">4</cx:pt>
          <cx:pt idx="76808">4</cx:pt>
          <cx:pt idx="76809">1</cx:pt>
          <cx:pt idx="76810">5</cx:pt>
          <cx:pt idx="76811">1</cx:pt>
          <cx:pt idx="76812">2</cx:pt>
          <cx:pt idx="76813">3</cx:pt>
          <cx:pt idx="76814">4</cx:pt>
          <cx:pt idx="76815">3</cx:pt>
          <cx:pt idx="76816">2</cx:pt>
          <cx:pt idx="76817">4</cx:pt>
          <cx:pt idx="76818">3</cx:pt>
          <cx:pt idx="76819">4</cx:pt>
          <cx:pt idx="76820">2</cx:pt>
          <cx:pt idx="76821">2</cx:pt>
          <cx:pt idx="76822">4</cx:pt>
          <cx:pt idx="76823">4</cx:pt>
          <cx:pt idx="76824">5</cx:pt>
          <cx:pt idx="76825">2</cx:pt>
          <cx:pt idx="76826">5</cx:pt>
          <cx:pt idx="76827">3</cx:pt>
          <cx:pt idx="76828">5</cx:pt>
          <cx:pt idx="76829">2</cx:pt>
          <cx:pt idx="76830">5</cx:pt>
          <cx:pt idx="76831">3</cx:pt>
          <cx:pt idx="76832">4</cx:pt>
          <cx:pt idx="76833">2</cx:pt>
          <cx:pt idx="76834">2</cx:pt>
          <cx:pt idx="76835">3</cx:pt>
          <cx:pt idx="76836">2</cx:pt>
          <cx:pt idx="76837">5</cx:pt>
          <cx:pt idx="76838">2</cx:pt>
          <cx:pt idx="76839">3</cx:pt>
          <cx:pt idx="76840">1</cx:pt>
          <cx:pt idx="76841">4</cx:pt>
          <cx:pt idx="76842">4</cx:pt>
          <cx:pt idx="76843">4</cx:pt>
          <cx:pt idx="76844">4</cx:pt>
          <cx:pt idx="76845">3</cx:pt>
          <cx:pt idx="76846">5</cx:pt>
          <cx:pt idx="76847">4</cx:pt>
          <cx:pt idx="76848">2</cx:pt>
          <cx:pt idx="76849">1</cx:pt>
          <cx:pt idx="76850">2</cx:pt>
          <cx:pt idx="76851">2</cx:pt>
          <cx:pt idx="76852">4</cx:pt>
          <cx:pt idx="76853">3</cx:pt>
          <cx:pt idx="76854">1</cx:pt>
          <cx:pt idx="76855">4</cx:pt>
          <cx:pt idx="76856">1</cx:pt>
          <cx:pt idx="76857">4</cx:pt>
          <cx:pt idx="76858">3</cx:pt>
          <cx:pt idx="76859">4</cx:pt>
          <cx:pt idx="76860">3</cx:pt>
          <cx:pt idx="76861">1</cx:pt>
          <cx:pt idx="76862">5</cx:pt>
          <cx:pt idx="76863">5</cx:pt>
          <cx:pt idx="76864">5</cx:pt>
          <cx:pt idx="76865">1</cx:pt>
          <cx:pt idx="76866">3</cx:pt>
          <cx:pt idx="76867">3</cx:pt>
          <cx:pt idx="76868">4</cx:pt>
          <cx:pt idx="76869">1</cx:pt>
          <cx:pt idx="76870">4</cx:pt>
          <cx:pt idx="76871">2</cx:pt>
          <cx:pt idx="76872">5</cx:pt>
          <cx:pt idx="76873">4</cx:pt>
          <cx:pt idx="76874">3</cx:pt>
          <cx:pt idx="76875">1</cx:pt>
          <cx:pt idx="76876">5</cx:pt>
          <cx:pt idx="76877">4</cx:pt>
          <cx:pt idx="76878">2</cx:pt>
          <cx:pt idx="76879">5</cx:pt>
          <cx:pt idx="76880">5</cx:pt>
          <cx:pt idx="76881">5</cx:pt>
          <cx:pt idx="76882">2</cx:pt>
          <cx:pt idx="76883">3</cx:pt>
          <cx:pt idx="76884">1</cx:pt>
          <cx:pt idx="76885">1</cx:pt>
          <cx:pt idx="76886">4</cx:pt>
          <cx:pt idx="76887">4</cx:pt>
          <cx:pt idx="76888">5</cx:pt>
          <cx:pt idx="76889">5</cx:pt>
          <cx:pt idx="76890">3</cx:pt>
          <cx:pt idx="76891">2</cx:pt>
          <cx:pt idx="76892">3</cx:pt>
          <cx:pt idx="76893">4</cx:pt>
          <cx:pt idx="76894">5</cx:pt>
          <cx:pt idx="76895">4</cx:pt>
          <cx:pt idx="76896">1</cx:pt>
          <cx:pt idx="76897">4</cx:pt>
          <cx:pt idx="76898">1</cx:pt>
          <cx:pt idx="76899">3</cx:pt>
          <cx:pt idx="76900">3</cx:pt>
          <cx:pt idx="76901">2</cx:pt>
          <cx:pt idx="76902">4</cx:pt>
          <cx:pt idx="76903">4</cx:pt>
          <cx:pt idx="76904">5</cx:pt>
          <cx:pt idx="76905">5</cx:pt>
          <cx:pt idx="76906">5</cx:pt>
          <cx:pt idx="76907">5</cx:pt>
          <cx:pt idx="76908">5</cx:pt>
          <cx:pt idx="76909">4</cx:pt>
          <cx:pt idx="76910">4</cx:pt>
          <cx:pt idx="76911">3</cx:pt>
          <cx:pt idx="76912">4</cx:pt>
          <cx:pt idx="76913">5</cx:pt>
          <cx:pt idx="76914">2</cx:pt>
          <cx:pt idx="76915">5</cx:pt>
          <cx:pt idx="76916">5</cx:pt>
          <cx:pt idx="76917">5</cx:pt>
          <cx:pt idx="76918">3</cx:pt>
          <cx:pt idx="76919">5</cx:pt>
          <cx:pt idx="76920">2</cx:pt>
          <cx:pt idx="76921">1</cx:pt>
          <cx:pt idx="76922">1</cx:pt>
          <cx:pt idx="76923">5</cx:pt>
          <cx:pt idx="76924">3</cx:pt>
          <cx:pt idx="76925">1</cx:pt>
          <cx:pt idx="76926">4</cx:pt>
          <cx:pt idx="76927">3</cx:pt>
          <cx:pt idx="76928">5</cx:pt>
          <cx:pt idx="76929">2</cx:pt>
          <cx:pt idx="76930">4</cx:pt>
          <cx:pt idx="76931">5</cx:pt>
          <cx:pt idx="76932">5</cx:pt>
          <cx:pt idx="76933">4</cx:pt>
          <cx:pt idx="76934">3</cx:pt>
          <cx:pt idx="76935">5</cx:pt>
          <cx:pt idx="76936">5</cx:pt>
          <cx:pt idx="76937">3</cx:pt>
          <cx:pt idx="76938">4</cx:pt>
          <cx:pt idx="76939">5</cx:pt>
          <cx:pt idx="76940">2</cx:pt>
          <cx:pt idx="76941">5</cx:pt>
          <cx:pt idx="76942">4</cx:pt>
          <cx:pt idx="76943">4</cx:pt>
          <cx:pt idx="76944">2</cx:pt>
          <cx:pt idx="76945">5</cx:pt>
          <cx:pt idx="76946">1</cx:pt>
          <cx:pt idx="76947">4</cx:pt>
          <cx:pt idx="76948">3</cx:pt>
          <cx:pt idx="76949">4</cx:pt>
          <cx:pt idx="76950">4</cx:pt>
          <cx:pt idx="76951">4</cx:pt>
          <cx:pt idx="76952">5</cx:pt>
          <cx:pt idx="76953">4</cx:pt>
          <cx:pt idx="76954">4</cx:pt>
          <cx:pt idx="76955">5</cx:pt>
          <cx:pt idx="76956">4</cx:pt>
          <cx:pt idx="76957">4</cx:pt>
          <cx:pt idx="76958">2</cx:pt>
          <cx:pt idx="76959">5</cx:pt>
          <cx:pt idx="76960">5</cx:pt>
          <cx:pt idx="76961">4</cx:pt>
          <cx:pt idx="76962">5</cx:pt>
          <cx:pt idx="76963">2</cx:pt>
          <cx:pt idx="76964">4</cx:pt>
          <cx:pt idx="76965">1</cx:pt>
          <cx:pt idx="76966">2</cx:pt>
          <cx:pt idx="76967">5</cx:pt>
          <cx:pt idx="76968">3</cx:pt>
          <cx:pt idx="76969">4</cx:pt>
          <cx:pt idx="76970">2</cx:pt>
          <cx:pt idx="76971">1</cx:pt>
          <cx:pt idx="76972">3</cx:pt>
          <cx:pt idx="76973">5</cx:pt>
          <cx:pt idx="76974">1</cx:pt>
          <cx:pt idx="76975">1</cx:pt>
          <cx:pt idx="76976">3</cx:pt>
          <cx:pt idx="76977">3</cx:pt>
          <cx:pt idx="76978">5</cx:pt>
          <cx:pt idx="76979">4</cx:pt>
          <cx:pt idx="76980">3</cx:pt>
          <cx:pt idx="76981">4</cx:pt>
          <cx:pt idx="76982">1</cx:pt>
          <cx:pt idx="76983">4</cx:pt>
          <cx:pt idx="76984">4</cx:pt>
          <cx:pt idx="76985">4</cx:pt>
          <cx:pt idx="76986">3</cx:pt>
          <cx:pt idx="76987">5</cx:pt>
          <cx:pt idx="76988">2</cx:pt>
          <cx:pt idx="76989">1</cx:pt>
          <cx:pt idx="76990">1</cx:pt>
          <cx:pt idx="76991">3</cx:pt>
          <cx:pt idx="76992">5</cx:pt>
          <cx:pt idx="76993">3</cx:pt>
          <cx:pt idx="76994">4</cx:pt>
          <cx:pt idx="76995">4</cx:pt>
          <cx:pt idx="76996">4</cx:pt>
          <cx:pt idx="76997">5</cx:pt>
          <cx:pt idx="76998">4</cx:pt>
          <cx:pt idx="76999">5</cx:pt>
          <cx:pt idx="77000">2</cx:pt>
          <cx:pt idx="77001">4</cx:pt>
          <cx:pt idx="77002">5</cx:pt>
          <cx:pt idx="77003">4</cx:pt>
          <cx:pt idx="77004">5</cx:pt>
          <cx:pt idx="77005">4</cx:pt>
          <cx:pt idx="77006">3</cx:pt>
          <cx:pt idx="77007">1</cx:pt>
          <cx:pt idx="77008">5</cx:pt>
          <cx:pt idx="77009">5</cx:pt>
          <cx:pt idx="77010">3</cx:pt>
          <cx:pt idx="77011">4</cx:pt>
          <cx:pt idx="77012">3</cx:pt>
          <cx:pt idx="77013">5</cx:pt>
          <cx:pt idx="77014">2</cx:pt>
          <cx:pt idx="77015">1</cx:pt>
          <cx:pt idx="77016">3</cx:pt>
          <cx:pt idx="77017">5</cx:pt>
          <cx:pt idx="77018">2</cx:pt>
          <cx:pt idx="77019">5</cx:pt>
          <cx:pt idx="77020">5</cx:pt>
          <cx:pt idx="77021">4</cx:pt>
          <cx:pt idx="77022">2</cx:pt>
          <cx:pt idx="77023">4</cx:pt>
          <cx:pt idx="77024">4</cx:pt>
          <cx:pt idx="77025">4</cx:pt>
          <cx:pt idx="77026">4</cx:pt>
          <cx:pt idx="77027">2</cx:pt>
          <cx:pt idx="77028">1</cx:pt>
          <cx:pt idx="77029">2</cx:pt>
          <cx:pt idx="77030">4</cx:pt>
          <cx:pt idx="77031">2</cx:pt>
          <cx:pt idx="77032">2</cx:pt>
          <cx:pt idx="77033">4</cx:pt>
          <cx:pt idx="77034">1</cx:pt>
          <cx:pt idx="77035">4</cx:pt>
          <cx:pt idx="77036">5</cx:pt>
          <cx:pt idx="77037">4</cx:pt>
          <cx:pt idx="77038">4</cx:pt>
          <cx:pt idx="77039">2</cx:pt>
          <cx:pt idx="77040">3</cx:pt>
          <cx:pt idx="77041">1</cx:pt>
          <cx:pt idx="77042">5</cx:pt>
          <cx:pt idx="77043">5</cx:pt>
          <cx:pt idx="77044">1</cx:pt>
          <cx:pt idx="77045">5</cx:pt>
          <cx:pt idx="77046">5</cx:pt>
          <cx:pt idx="77047">2</cx:pt>
          <cx:pt idx="77048">2</cx:pt>
          <cx:pt idx="77049">5</cx:pt>
          <cx:pt idx="77050">4</cx:pt>
          <cx:pt idx="77051">5</cx:pt>
          <cx:pt idx="77052">4</cx:pt>
          <cx:pt idx="77053">1</cx:pt>
          <cx:pt idx="77054">5</cx:pt>
          <cx:pt idx="77055">5</cx:pt>
          <cx:pt idx="77056">3</cx:pt>
          <cx:pt idx="77057">4</cx:pt>
          <cx:pt idx="77058">4</cx:pt>
          <cx:pt idx="77059">4</cx:pt>
          <cx:pt idx="77060">5</cx:pt>
          <cx:pt idx="77061">1</cx:pt>
          <cx:pt idx="77062">4</cx:pt>
          <cx:pt idx="77063">4</cx:pt>
          <cx:pt idx="77064">3</cx:pt>
          <cx:pt idx="77065">1</cx:pt>
          <cx:pt idx="77066">4</cx:pt>
          <cx:pt idx="77067">4</cx:pt>
          <cx:pt idx="77068">4</cx:pt>
          <cx:pt idx="77069">3</cx:pt>
          <cx:pt idx="77070">1</cx:pt>
          <cx:pt idx="77071">1</cx:pt>
          <cx:pt idx="77072">4</cx:pt>
          <cx:pt idx="77073">4</cx:pt>
          <cx:pt idx="77074">5</cx:pt>
          <cx:pt idx="77075">5</cx:pt>
          <cx:pt idx="77076">1</cx:pt>
          <cx:pt idx="77077">3</cx:pt>
          <cx:pt idx="77078">5</cx:pt>
          <cx:pt idx="77079">4</cx:pt>
          <cx:pt idx="77080">3</cx:pt>
          <cx:pt idx="77081">1</cx:pt>
          <cx:pt idx="77082">2</cx:pt>
          <cx:pt idx="77083">2</cx:pt>
          <cx:pt idx="77084">4</cx:pt>
          <cx:pt idx="77085">4</cx:pt>
          <cx:pt idx="77086">5</cx:pt>
          <cx:pt idx="77087">5</cx:pt>
          <cx:pt idx="77088">5</cx:pt>
          <cx:pt idx="77089">4</cx:pt>
          <cx:pt idx="77090">4</cx:pt>
          <cx:pt idx="77091">3</cx:pt>
          <cx:pt idx="77092">5</cx:pt>
          <cx:pt idx="77093">2</cx:pt>
          <cx:pt idx="77094">4</cx:pt>
          <cx:pt idx="77095">3</cx:pt>
          <cx:pt idx="77096">1</cx:pt>
          <cx:pt idx="77097">4</cx:pt>
          <cx:pt idx="77098">5</cx:pt>
          <cx:pt idx="77099">2</cx:pt>
          <cx:pt idx="77100">2</cx:pt>
          <cx:pt idx="77101">4</cx:pt>
          <cx:pt idx="77102">5</cx:pt>
          <cx:pt idx="77103">3</cx:pt>
          <cx:pt idx="77104">5</cx:pt>
          <cx:pt idx="77105">3</cx:pt>
          <cx:pt idx="77106">4</cx:pt>
          <cx:pt idx="77107">5</cx:pt>
          <cx:pt idx="77108">4</cx:pt>
          <cx:pt idx="77109">4</cx:pt>
          <cx:pt idx="77110">1</cx:pt>
          <cx:pt idx="77111">4</cx:pt>
          <cx:pt idx="77112">2</cx:pt>
          <cx:pt idx="77113">1</cx:pt>
          <cx:pt idx="77114">5</cx:pt>
          <cx:pt idx="77115">5</cx:pt>
          <cx:pt idx="77116">2</cx:pt>
          <cx:pt idx="77117">3</cx:pt>
          <cx:pt idx="77118">2</cx:pt>
          <cx:pt idx="77119">4</cx:pt>
          <cx:pt idx="77120">1</cx:pt>
          <cx:pt idx="77121">4</cx:pt>
          <cx:pt idx="77122">5</cx:pt>
          <cx:pt idx="77123">3</cx:pt>
          <cx:pt idx="77124">5</cx:pt>
          <cx:pt idx="77125">4</cx:pt>
          <cx:pt idx="77126">4</cx:pt>
          <cx:pt idx="77127">1</cx:pt>
          <cx:pt idx="77128">2</cx:pt>
          <cx:pt idx="77129">3</cx:pt>
          <cx:pt idx="77130">2</cx:pt>
          <cx:pt idx="77131">2</cx:pt>
          <cx:pt idx="77132">2</cx:pt>
          <cx:pt idx="77133">4</cx:pt>
          <cx:pt idx="77134">5</cx:pt>
          <cx:pt idx="77135">3</cx:pt>
          <cx:pt idx="77136">3</cx:pt>
          <cx:pt idx="77137">1</cx:pt>
          <cx:pt idx="77138">3</cx:pt>
          <cx:pt idx="77139">5</cx:pt>
          <cx:pt idx="77140">5</cx:pt>
          <cx:pt idx="77141">3</cx:pt>
          <cx:pt idx="77142">2</cx:pt>
          <cx:pt idx="77143">5</cx:pt>
          <cx:pt idx="77144">5</cx:pt>
          <cx:pt idx="77145">1</cx:pt>
          <cx:pt idx="77146">2</cx:pt>
          <cx:pt idx="77147">3</cx:pt>
          <cx:pt idx="77148">4</cx:pt>
          <cx:pt idx="77149">3</cx:pt>
          <cx:pt idx="77150">5</cx:pt>
          <cx:pt idx="77151">3</cx:pt>
          <cx:pt idx="77152">4</cx:pt>
          <cx:pt idx="77153">2</cx:pt>
          <cx:pt idx="77154">4</cx:pt>
          <cx:pt idx="77155">5</cx:pt>
          <cx:pt idx="77156">5</cx:pt>
          <cx:pt idx="77157">3</cx:pt>
          <cx:pt idx="77158">5</cx:pt>
          <cx:pt idx="77159">5</cx:pt>
          <cx:pt idx="77160">4</cx:pt>
          <cx:pt idx="77161">5</cx:pt>
          <cx:pt idx="77162">5</cx:pt>
          <cx:pt idx="77163">3</cx:pt>
          <cx:pt idx="77164">4</cx:pt>
          <cx:pt idx="77165">3</cx:pt>
          <cx:pt idx="77166">3</cx:pt>
          <cx:pt idx="77167">2</cx:pt>
          <cx:pt idx="77168">5</cx:pt>
          <cx:pt idx="77169">3</cx:pt>
          <cx:pt idx="77170">4</cx:pt>
          <cx:pt idx="77171">4</cx:pt>
          <cx:pt idx="77172">4</cx:pt>
          <cx:pt idx="77173">4</cx:pt>
          <cx:pt idx="77174">4</cx:pt>
          <cx:pt idx="77175">4</cx:pt>
          <cx:pt idx="77176">3</cx:pt>
          <cx:pt idx="77177">2</cx:pt>
          <cx:pt idx="77178">3</cx:pt>
          <cx:pt idx="77179">5</cx:pt>
          <cx:pt idx="77180">4</cx:pt>
          <cx:pt idx="77181">5</cx:pt>
          <cx:pt idx="77182">5</cx:pt>
          <cx:pt idx="77183">1</cx:pt>
          <cx:pt idx="77184">1</cx:pt>
          <cx:pt idx="77185">5</cx:pt>
          <cx:pt idx="77186">3</cx:pt>
          <cx:pt idx="77187">5</cx:pt>
          <cx:pt idx="77188">3</cx:pt>
          <cx:pt idx="77189">4</cx:pt>
          <cx:pt idx="77190">2</cx:pt>
          <cx:pt idx="77191">4</cx:pt>
          <cx:pt idx="77192">3</cx:pt>
          <cx:pt idx="77193">5</cx:pt>
          <cx:pt idx="77194">3</cx:pt>
          <cx:pt idx="77195">4</cx:pt>
          <cx:pt idx="77196">5</cx:pt>
          <cx:pt idx="77197">3</cx:pt>
          <cx:pt idx="77198">1</cx:pt>
          <cx:pt idx="77199">3</cx:pt>
          <cx:pt idx="77200">5</cx:pt>
          <cx:pt idx="77201">4</cx:pt>
          <cx:pt idx="77202">2</cx:pt>
          <cx:pt idx="77203">5</cx:pt>
          <cx:pt idx="77204">2</cx:pt>
          <cx:pt idx="77205">2</cx:pt>
          <cx:pt idx="77206">4</cx:pt>
          <cx:pt idx="77207">2</cx:pt>
          <cx:pt idx="77208">3</cx:pt>
          <cx:pt idx="77209">3</cx:pt>
          <cx:pt idx="77210">3</cx:pt>
          <cx:pt idx="77211">5</cx:pt>
          <cx:pt idx="77212">5</cx:pt>
          <cx:pt idx="77213">2</cx:pt>
          <cx:pt idx="77214">4</cx:pt>
          <cx:pt idx="77215">5</cx:pt>
          <cx:pt idx="77216">5</cx:pt>
          <cx:pt idx="77217">4</cx:pt>
          <cx:pt idx="77218">4</cx:pt>
          <cx:pt idx="77219">5</cx:pt>
          <cx:pt idx="77220">5</cx:pt>
          <cx:pt idx="77221">5</cx:pt>
          <cx:pt idx="77222">5</cx:pt>
          <cx:pt idx="77223">1</cx:pt>
          <cx:pt idx="77224">5</cx:pt>
          <cx:pt idx="77225">3</cx:pt>
          <cx:pt idx="77226">4</cx:pt>
          <cx:pt idx="77227">2</cx:pt>
          <cx:pt idx="77228">4</cx:pt>
          <cx:pt idx="77229">4</cx:pt>
          <cx:pt idx="77230">3</cx:pt>
          <cx:pt idx="77231">5</cx:pt>
          <cx:pt idx="77232">3</cx:pt>
          <cx:pt idx="77233">3</cx:pt>
          <cx:pt idx="77234">1</cx:pt>
          <cx:pt idx="77235">5</cx:pt>
          <cx:pt idx="77236">1</cx:pt>
          <cx:pt idx="77237">3</cx:pt>
          <cx:pt idx="77238">2</cx:pt>
          <cx:pt idx="77239">5</cx:pt>
          <cx:pt idx="77240">5</cx:pt>
          <cx:pt idx="77241">5</cx:pt>
          <cx:pt idx="77242">3</cx:pt>
          <cx:pt idx="77243">5</cx:pt>
          <cx:pt idx="77244">3</cx:pt>
          <cx:pt idx="77245">4</cx:pt>
          <cx:pt idx="77246">5</cx:pt>
          <cx:pt idx="77247">4</cx:pt>
          <cx:pt idx="77248">1</cx:pt>
          <cx:pt idx="77249">3</cx:pt>
          <cx:pt idx="77250">1</cx:pt>
          <cx:pt idx="77251">4</cx:pt>
          <cx:pt idx="77252">4</cx:pt>
          <cx:pt idx="77253">3</cx:pt>
          <cx:pt idx="77254">3</cx:pt>
          <cx:pt idx="77255">3</cx:pt>
          <cx:pt idx="77256">5</cx:pt>
          <cx:pt idx="77257">4</cx:pt>
          <cx:pt idx="77258">3</cx:pt>
          <cx:pt idx="77259">5</cx:pt>
          <cx:pt idx="77260">4</cx:pt>
          <cx:pt idx="77261">4</cx:pt>
          <cx:pt idx="77262">5</cx:pt>
          <cx:pt idx="77263">1</cx:pt>
          <cx:pt idx="77264">2</cx:pt>
          <cx:pt idx="77265">5</cx:pt>
          <cx:pt idx="77266">2</cx:pt>
          <cx:pt idx="77267">5</cx:pt>
          <cx:pt idx="77268">4</cx:pt>
          <cx:pt idx="77269">4</cx:pt>
          <cx:pt idx="77270">2</cx:pt>
          <cx:pt idx="77271">4</cx:pt>
          <cx:pt idx="77272">3</cx:pt>
          <cx:pt idx="77273">5</cx:pt>
          <cx:pt idx="77274">5</cx:pt>
          <cx:pt idx="77275">2</cx:pt>
          <cx:pt idx="77276">3</cx:pt>
          <cx:pt idx="77277">5</cx:pt>
          <cx:pt idx="77278">5</cx:pt>
          <cx:pt idx="77279">5</cx:pt>
          <cx:pt idx="77280">5</cx:pt>
          <cx:pt idx="77281">5</cx:pt>
          <cx:pt idx="77282">5</cx:pt>
          <cx:pt idx="77283">4</cx:pt>
          <cx:pt idx="77284">5</cx:pt>
          <cx:pt idx="77285">3</cx:pt>
          <cx:pt idx="77286">5</cx:pt>
          <cx:pt idx="77287">1</cx:pt>
          <cx:pt idx="77288">4</cx:pt>
          <cx:pt idx="77289">4</cx:pt>
          <cx:pt idx="77290">4</cx:pt>
          <cx:pt idx="77291">4</cx:pt>
          <cx:pt idx="77292">2</cx:pt>
          <cx:pt idx="77293">3</cx:pt>
          <cx:pt idx="77294">3</cx:pt>
          <cx:pt idx="77295">5</cx:pt>
          <cx:pt idx="77296">1</cx:pt>
          <cx:pt idx="77297">4</cx:pt>
          <cx:pt idx="77298">4</cx:pt>
          <cx:pt idx="77299">4</cx:pt>
          <cx:pt idx="77300">3</cx:pt>
          <cx:pt idx="77301">3</cx:pt>
          <cx:pt idx="77302">2</cx:pt>
          <cx:pt idx="77303">5</cx:pt>
          <cx:pt idx="77304">3</cx:pt>
          <cx:pt idx="77305">5</cx:pt>
          <cx:pt idx="77306">3</cx:pt>
          <cx:pt idx="77307">3</cx:pt>
          <cx:pt idx="77308">4</cx:pt>
          <cx:pt idx="77309">3</cx:pt>
          <cx:pt idx="77310">4</cx:pt>
          <cx:pt idx="77311">1</cx:pt>
          <cx:pt idx="77312">3</cx:pt>
          <cx:pt idx="77313">1</cx:pt>
          <cx:pt idx="77314">3</cx:pt>
          <cx:pt idx="77315">1</cx:pt>
          <cx:pt idx="77316">2</cx:pt>
          <cx:pt idx="77317">4</cx:pt>
          <cx:pt idx="77318">4</cx:pt>
          <cx:pt idx="77319">3</cx:pt>
          <cx:pt idx="77320">4</cx:pt>
          <cx:pt idx="77321">2</cx:pt>
          <cx:pt idx="77322">1</cx:pt>
          <cx:pt idx="77323">3</cx:pt>
          <cx:pt idx="77324">4</cx:pt>
          <cx:pt idx="77325">3</cx:pt>
          <cx:pt idx="77326">4</cx:pt>
          <cx:pt idx="77327">5</cx:pt>
          <cx:pt idx="77328">1</cx:pt>
          <cx:pt idx="77329">2</cx:pt>
          <cx:pt idx="77330">4</cx:pt>
          <cx:pt idx="77331">2</cx:pt>
          <cx:pt idx="77332">5</cx:pt>
          <cx:pt idx="77333">2</cx:pt>
          <cx:pt idx="77334">1</cx:pt>
          <cx:pt idx="77335">1</cx:pt>
          <cx:pt idx="77336">1</cx:pt>
          <cx:pt idx="77337">3</cx:pt>
          <cx:pt idx="77338">5</cx:pt>
          <cx:pt idx="77339">5</cx:pt>
          <cx:pt idx="77340">4</cx:pt>
          <cx:pt idx="77341">2</cx:pt>
          <cx:pt idx="77342">4</cx:pt>
          <cx:pt idx="77343">5</cx:pt>
          <cx:pt idx="77344">5</cx:pt>
          <cx:pt idx="77345">4</cx:pt>
          <cx:pt idx="77346">4</cx:pt>
          <cx:pt idx="77347">2</cx:pt>
          <cx:pt idx="77348">3</cx:pt>
          <cx:pt idx="77349">3</cx:pt>
          <cx:pt idx="77350">5</cx:pt>
          <cx:pt idx="77351">5</cx:pt>
          <cx:pt idx="77352">2</cx:pt>
          <cx:pt idx="77353">2</cx:pt>
          <cx:pt idx="77354">4</cx:pt>
          <cx:pt idx="77355">3</cx:pt>
          <cx:pt idx="77356">1</cx:pt>
          <cx:pt idx="77357">5</cx:pt>
          <cx:pt idx="77358">2</cx:pt>
          <cx:pt idx="77359">4</cx:pt>
          <cx:pt idx="77360">3</cx:pt>
          <cx:pt idx="77361">3</cx:pt>
          <cx:pt idx="77362">5</cx:pt>
          <cx:pt idx="77363">2</cx:pt>
          <cx:pt idx="77364">2</cx:pt>
          <cx:pt idx="77365">1</cx:pt>
          <cx:pt idx="77366">2</cx:pt>
          <cx:pt idx="77367">5</cx:pt>
          <cx:pt idx="77368">5</cx:pt>
          <cx:pt idx="77369">3</cx:pt>
          <cx:pt idx="77370">5</cx:pt>
          <cx:pt idx="77371">1</cx:pt>
          <cx:pt idx="77372">5</cx:pt>
          <cx:pt idx="77373">1</cx:pt>
          <cx:pt idx="77374">5</cx:pt>
          <cx:pt idx="77375">3</cx:pt>
          <cx:pt idx="77376">3</cx:pt>
          <cx:pt idx="77377">2</cx:pt>
          <cx:pt idx="77378">5</cx:pt>
          <cx:pt idx="77379">4</cx:pt>
          <cx:pt idx="77380">2</cx:pt>
          <cx:pt idx="77381">3</cx:pt>
          <cx:pt idx="77382">5</cx:pt>
          <cx:pt idx="77383">2</cx:pt>
          <cx:pt idx="77384">5</cx:pt>
          <cx:pt idx="77385">4</cx:pt>
          <cx:pt idx="77386">5</cx:pt>
          <cx:pt idx="77387">3</cx:pt>
          <cx:pt idx="77388">2</cx:pt>
          <cx:pt idx="77389">2</cx:pt>
          <cx:pt idx="77390">3</cx:pt>
          <cx:pt idx="77391">3</cx:pt>
          <cx:pt idx="77392">3</cx:pt>
          <cx:pt idx="77393">4</cx:pt>
          <cx:pt idx="77394">1</cx:pt>
          <cx:pt idx="77395">4</cx:pt>
          <cx:pt idx="77396">5</cx:pt>
          <cx:pt idx="77397">4</cx:pt>
          <cx:pt idx="77398">5</cx:pt>
          <cx:pt idx="77399">1</cx:pt>
          <cx:pt idx="77400">5</cx:pt>
          <cx:pt idx="77401">5</cx:pt>
          <cx:pt idx="77402">1</cx:pt>
          <cx:pt idx="77403">3</cx:pt>
          <cx:pt idx="77404">1</cx:pt>
          <cx:pt idx="77405">4</cx:pt>
          <cx:pt idx="77406">4</cx:pt>
          <cx:pt idx="77407">4</cx:pt>
          <cx:pt idx="77408">3</cx:pt>
          <cx:pt idx="77409">4</cx:pt>
          <cx:pt idx="77410">1</cx:pt>
          <cx:pt idx="77411">3</cx:pt>
          <cx:pt idx="77412">5</cx:pt>
          <cx:pt idx="77413">3</cx:pt>
          <cx:pt idx="77414">1</cx:pt>
          <cx:pt idx="77415">4</cx:pt>
          <cx:pt idx="77416">1</cx:pt>
          <cx:pt idx="77417">3</cx:pt>
          <cx:pt idx="77418">4</cx:pt>
          <cx:pt idx="77419">2</cx:pt>
          <cx:pt idx="77420">5</cx:pt>
          <cx:pt idx="77421">3</cx:pt>
          <cx:pt idx="77422">4</cx:pt>
          <cx:pt idx="77423">4</cx:pt>
          <cx:pt idx="77424">4</cx:pt>
          <cx:pt idx="77425">4</cx:pt>
          <cx:pt idx="77426">5</cx:pt>
          <cx:pt idx="77427">5</cx:pt>
          <cx:pt idx="77428">3</cx:pt>
          <cx:pt idx="77429">5</cx:pt>
          <cx:pt idx="77430">4</cx:pt>
          <cx:pt idx="77431">4</cx:pt>
          <cx:pt idx="77432">1</cx:pt>
          <cx:pt idx="77433">1</cx:pt>
          <cx:pt idx="77434">5</cx:pt>
          <cx:pt idx="77435">3</cx:pt>
          <cx:pt idx="77436">1</cx:pt>
          <cx:pt idx="77437">3</cx:pt>
          <cx:pt idx="77438">2</cx:pt>
          <cx:pt idx="77439">2</cx:pt>
          <cx:pt idx="77440">4</cx:pt>
          <cx:pt idx="77441">4</cx:pt>
          <cx:pt idx="77442">2</cx:pt>
          <cx:pt idx="77443">2</cx:pt>
          <cx:pt idx="77444">3</cx:pt>
          <cx:pt idx="77445">3</cx:pt>
          <cx:pt idx="77446">5</cx:pt>
          <cx:pt idx="77447">3</cx:pt>
          <cx:pt idx="77448">2</cx:pt>
          <cx:pt idx="77449">4</cx:pt>
          <cx:pt idx="77450">2</cx:pt>
          <cx:pt idx="77451">5</cx:pt>
          <cx:pt idx="77452">5</cx:pt>
          <cx:pt idx="77453">4</cx:pt>
          <cx:pt idx="77454">5</cx:pt>
          <cx:pt idx="77455">4</cx:pt>
          <cx:pt idx="77456">3</cx:pt>
          <cx:pt idx="77457">1</cx:pt>
          <cx:pt idx="77458">2</cx:pt>
          <cx:pt idx="77459">1</cx:pt>
          <cx:pt idx="77460">4</cx:pt>
          <cx:pt idx="77461">2</cx:pt>
          <cx:pt idx="77462">5</cx:pt>
          <cx:pt idx="77463">4</cx:pt>
          <cx:pt idx="77464">4</cx:pt>
          <cx:pt idx="77465">2</cx:pt>
          <cx:pt idx="77466">4</cx:pt>
          <cx:pt idx="77467">1</cx:pt>
          <cx:pt idx="77468">5</cx:pt>
          <cx:pt idx="77469">5</cx:pt>
          <cx:pt idx="77470">3</cx:pt>
          <cx:pt idx="77471">4</cx:pt>
          <cx:pt idx="77472">4</cx:pt>
          <cx:pt idx="77473">5</cx:pt>
          <cx:pt idx="77474">5</cx:pt>
          <cx:pt idx="77475">5</cx:pt>
          <cx:pt idx="77476">5</cx:pt>
          <cx:pt idx="77477">3</cx:pt>
          <cx:pt idx="77478">2</cx:pt>
          <cx:pt idx="77479">4</cx:pt>
          <cx:pt idx="77480">4</cx:pt>
          <cx:pt idx="77481">5</cx:pt>
          <cx:pt idx="77482">1</cx:pt>
          <cx:pt idx="77483">2</cx:pt>
          <cx:pt idx="77484">3</cx:pt>
          <cx:pt idx="77485">4</cx:pt>
          <cx:pt idx="77486">5</cx:pt>
          <cx:pt idx="77487">2</cx:pt>
          <cx:pt idx="77488">2</cx:pt>
          <cx:pt idx="77489">4</cx:pt>
          <cx:pt idx="77490">4</cx:pt>
          <cx:pt idx="77491">2</cx:pt>
          <cx:pt idx="77492">2</cx:pt>
          <cx:pt idx="77493">4</cx:pt>
          <cx:pt idx="77494">2</cx:pt>
          <cx:pt idx="77495">5</cx:pt>
          <cx:pt idx="77496">2</cx:pt>
          <cx:pt idx="77497">2</cx:pt>
          <cx:pt idx="77498">1</cx:pt>
          <cx:pt idx="77499">1</cx:pt>
          <cx:pt idx="77500">4</cx:pt>
          <cx:pt idx="77501">5</cx:pt>
          <cx:pt idx="77502">4</cx:pt>
          <cx:pt idx="77503">5</cx:pt>
          <cx:pt idx="77504">5</cx:pt>
          <cx:pt idx="77505">2</cx:pt>
          <cx:pt idx="77506">5</cx:pt>
          <cx:pt idx="77507">4</cx:pt>
          <cx:pt idx="77508">3</cx:pt>
          <cx:pt idx="77509">2</cx:pt>
          <cx:pt idx="77510">4</cx:pt>
          <cx:pt idx="77511">4</cx:pt>
          <cx:pt idx="77512">4</cx:pt>
          <cx:pt idx="77513">5</cx:pt>
          <cx:pt idx="77514">2</cx:pt>
          <cx:pt idx="77515">2</cx:pt>
          <cx:pt idx="77516">5</cx:pt>
          <cx:pt idx="77517">5</cx:pt>
          <cx:pt idx="77518">1</cx:pt>
          <cx:pt idx="77519">4</cx:pt>
          <cx:pt idx="77520">5</cx:pt>
          <cx:pt idx="77521">5</cx:pt>
          <cx:pt idx="77522">1</cx:pt>
          <cx:pt idx="77523">1</cx:pt>
          <cx:pt idx="77524">3</cx:pt>
          <cx:pt idx="77525">4</cx:pt>
          <cx:pt idx="77526">5</cx:pt>
          <cx:pt idx="77527">5</cx:pt>
          <cx:pt idx="77528">5</cx:pt>
          <cx:pt idx="77529">3</cx:pt>
          <cx:pt idx="77530">2</cx:pt>
          <cx:pt idx="77531">5</cx:pt>
          <cx:pt idx="77532">1</cx:pt>
          <cx:pt idx="77533">4</cx:pt>
          <cx:pt idx="77534">1</cx:pt>
          <cx:pt idx="77535">4</cx:pt>
          <cx:pt idx="77536">5</cx:pt>
          <cx:pt idx="77537">2</cx:pt>
          <cx:pt idx="77538">4</cx:pt>
          <cx:pt idx="77539">5</cx:pt>
          <cx:pt idx="77540">4</cx:pt>
          <cx:pt idx="77541">3</cx:pt>
          <cx:pt idx="77542">2</cx:pt>
          <cx:pt idx="77543">1</cx:pt>
          <cx:pt idx="77544">5</cx:pt>
          <cx:pt idx="77545">3</cx:pt>
          <cx:pt idx="77546">3</cx:pt>
          <cx:pt idx="77547">5</cx:pt>
          <cx:pt idx="77548">3</cx:pt>
          <cx:pt idx="77549">4</cx:pt>
          <cx:pt idx="77550">4</cx:pt>
          <cx:pt idx="77551">5</cx:pt>
          <cx:pt idx="77552">2</cx:pt>
          <cx:pt idx="77553">4</cx:pt>
          <cx:pt idx="77554">3</cx:pt>
          <cx:pt idx="77555">4</cx:pt>
          <cx:pt idx="77556">4</cx:pt>
          <cx:pt idx="77557">4</cx:pt>
          <cx:pt idx="77558">4</cx:pt>
          <cx:pt idx="77559">5</cx:pt>
          <cx:pt idx="77560">4</cx:pt>
          <cx:pt idx="77561">2</cx:pt>
          <cx:pt idx="77562">4</cx:pt>
          <cx:pt idx="77563">4</cx:pt>
          <cx:pt idx="77564">4</cx:pt>
          <cx:pt idx="77565">5</cx:pt>
          <cx:pt idx="77566">5</cx:pt>
          <cx:pt idx="77567">4</cx:pt>
          <cx:pt idx="77568">1</cx:pt>
          <cx:pt idx="77569">5</cx:pt>
          <cx:pt idx="77570">5</cx:pt>
          <cx:pt idx="77571">3</cx:pt>
          <cx:pt idx="77572">4</cx:pt>
          <cx:pt idx="77573">1</cx:pt>
          <cx:pt idx="77574">4</cx:pt>
          <cx:pt idx="77575">3</cx:pt>
          <cx:pt idx="77576">5</cx:pt>
          <cx:pt idx="77577">5</cx:pt>
          <cx:pt idx="77578">3</cx:pt>
          <cx:pt idx="77579">3</cx:pt>
          <cx:pt idx="77580">4</cx:pt>
          <cx:pt idx="77581">4</cx:pt>
          <cx:pt idx="77582">4</cx:pt>
          <cx:pt idx="77583">5</cx:pt>
          <cx:pt idx="77584">4</cx:pt>
          <cx:pt idx="77585">1</cx:pt>
          <cx:pt idx="77586">1</cx:pt>
          <cx:pt idx="77587">5</cx:pt>
          <cx:pt idx="77588">3</cx:pt>
          <cx:pt idx="77589">1</cx:pt>
          <cx:pt idx="77590">4</cx:pt>
          <cx:pt idx="77591">5</cx:pt>
          <cx:pt idx="77592">4</cx:pt>
          <cx:pt idx="77593">4</cx:pt>
          <cx:pt idx="77594">1</cx:pt>
          <cx:pt idx="77595">5</cx:pt>
          <cx:pt idx="77596">4</cx:pt>
          <cx:pt idx="77597">3</cx:pt>
          <cx:pt idx="77598">5</cx:pt>
          <cx:pt idx="77599">4</cx:pt>
          <cx:pt idx="77600">5</cx:pt>
          <cx:pt idx="77601">1</cx:pt>
          <cx:pt idx="77602">3</cx:pt>
          <cx:pt idx="77603">1</cx:pt>
          <cx:pt idx="77604">5</cx:pt>
          <cx:pt idx="77605">1</cx:pt>
          <cx:pt idx="77606">2</cx:pt>
          <cx:pt idx="77607">1</cx:pt>
          <cx:pt idx="77608">4</cx:pt>
          <cx:pt idx="77609">4</cx:pt>
          <cx:pt idx="77610">4</cx:pt>
          <cx:pt idx="77611">4</cx:pt>
          <cx:pt idx="77612">1</cx:pt>
          <cx:pt idx="77613">1</cx:pt>
          <cx:pt idx="77614">1</cx:pt>
          <cx:pt idx="77615">4</cx:pt>
          <cx:pt idx="77616">4</cx:pt>
          <cx:pt idx="77617">4</cx:pt>
          <cx:pt idx="77618">3</cx:pt>
          <cx:pt idx="77619">3</cx:pt>
          <cx:pt idx="77620">3</cx:pt>
          <cx:pt idx="77621">1</cx:pt>
          <cx:pt idx="77622">3</cx:pt>
          <cx:pt idx="77623">3</cx:pt>
          <cx:pt idx="77624">1</cx:pt>
          <cx:pt idx="77625">5</cx:pt>
          <cx:pt idx="77626">3</cx:pt>
          <cx:pt idx="77627">4</cx:pt>
          <cx:pt idx="77628">4</cx:pt>
          <cx:pt idx="77629">1</cx:pt>
          <cx:pt idx="77630">2</cx:pt>
          <cx:pt idx="77631">4</cx:pt>
          <cx:pt idx="77632">5</cx:pt>
          <cx:pt idx="77633">4</cx:pt>
          <cx:pt idx="77634">1</cx:pt>
          <cx:pt idx="77635">3</cx:pt>
          <cx:pt idx="77636">3</cx:pt>
          <cx:pt idx="77637">4</cx:pt>
          <cx:pt idx="77638">3</cx:pt>
          <cx:pt idx="77639">2</cx:pt>
          <cx:pt idx="77640">4</cx:pt>
          <cx:pt idx="77641">3</cx:pt>
          <cx:pt idx="77642">3</cx:pt>
          <cx:pt idx="77643">5</cx:pt>
          <cx:pt idx="77644">4</cx:pt>
          <cx:pt idx="77645">3</cx:pt>
          <cx:pt idx="77646">3</cx:pt>
          <cx:pt idx="77647">3</cx:pt>
          <cx:pt idx="77648">2</cx:pt>
          <cx:pt idx="77649">3</cx:pt>
          <cx:pt idx="77650">2</cx:pt>
          <cx:pt idx="77651">1</cx:pt>
          <cx:pt idx="77652">5</cx:pt>
          <cx:pt idx="77653">1</cx:pt>
          <cx:pt idx="77654">5</cx:pt>
          <cx:pt idx="77655">5</cx:pt>
          <cx:pt idx="77656">5</cx:pt>
          <cx:pt idx="77657">4</cx:pt>
          <cx:pt idx="77658">5</cx:pt>
          <cx:pt idx="77659">1</cx:pt>
          <cx:pt idx="77660">3</cx:pt>
          <cx:pt idx="77661">4</cx:pt>
          <cx:pt idx="77662">5</cx:pt>
          <cx:pt idx="77663">1</cx:pt>
          <cx:pt idx="77664">1</cx:pt>
          <cx:pt idx="77665">5</cx:pt>
          <cx:pt idx="77666">1</cx:pt>
          <cx:pt idx="77667">4</cx:pt>
          <cx:pt idx="77668">1</cx:pt>
          <cx:pt idx="77669">5</cx:pt>
          <cx:pt idx="77670">5</cx:pt>
          <cx:pt idx="77671">4</cx:pt>
          <cx:pt idx="77672">1</cx:pt>
          <cx:pt idx="77673">5</cx:pt>
          <cx:pt idx="77674">5</cx:pt>
          <cx:pt idx="77675">2</cx:pt>
          <cx:pt idx="77676">3</cx:pt>
          <cx:pt idx="77677">1</cx:pt>
          <cx:pt idx="77678">3</cx:pt>
          <cx:pt idx="77679">1</cx:pt>
          <cx:pt idx="77680">3</cx:pt>
          <cx:pt idx="77681">1</cx:pt>
          <cx:pt idx="77682">5</cx:pt>
          <cx:pt idx="77683">2</cx:pt>
          <cx:pt idx="77684">5</cx:pt>
          <cx:pt idx="77685">4</cx:pt>
          <cx:pt idx="77686">4</cx:pt>
          <cx:pt idx="77687">1</cx:pt>
          <cx:pt idx="77688">1</cx:pt>
          <cx:pt idx="77689">5</cx:pt>
          <cx:pt idx="77690">3</cx:pt>
          <cx:pt idx="77691">4</cx:pt>
          <cx:pt idx="77692">3</cx:pt>
          <cx:pt idx="77693">3</cx:pt>
          <cx:pt idx="77694">1</cx:pt>
          <cx:pt idx="77695">4</cx:pt>
          <cx:pt idx="77696">4</cx:pt>
          <cx:pt idx="77697">2</cx:pt>
          <cx:pt idx="77698">3</cx:pt>
          <cx:pt idx="77699">5</cx:pt>
          <cx:pt idx="77700">5</cx:pt>
          <cx:pt idx="77701">4</cx:pt>
          <cx:pt idx="77702">4</cx:pt>
          <cx:pt idx="77703">4</cx:pt>
          <cx:pt idx="77704">5</cx:pt>
          <cx:pt idx="77705">4</cx:pt>
          <cx:pt idx="77706">5</cx:pt>
          <cx:pt idx="77707">4</cx:pt>
          <cx:pt idx="77708">2</cx:pt>
          <cx:pt idx="77709">4</cx:pt>
          <cx:pt idx="77710">4</cx:pt>
          <cx:pt idx="77711">4</cx:pt>
          <cx:pt idx="77712">5</cx:pt>
          <cx:pt idx="77713">3</cx:pt>
          <cx:pt idx="77714">2</cx:pt>
          <cx:pt idx="77715">5</cx:pt>
          <cx:pt idx="77716">5</cx:pt>
          <cx:pt idx="77717">2</cx:pt>
          <cx:pt idx="77718">3</cx:pt>
          <cx:pt idx="77719">4</cx:pt>
          <cx:pt idx="77720">5</cx:pt>
          <cx:pt idx="77721">3</cx:pt>
          <cx:pt idx="77722">5</cx:pt>
          <cx:pt idx="77723">5</cx:pt>
          <cx:pt idx="77724">1</cx:pt>
          <cx:pt idx="77725">5</cx:pt>
          <cx:pt idx="77726">2</cx:pt>
          <cx:pt idx="77727">3</cx:pt>
          <cx:pt idx="77728">5</cx:pt>
          <cx:pt idx="77729">1</cx:pt>
          <cx:pt idx="77730">3</cx:pt>
          <cx:pt idx="77731">4</cx:pt>
          <cx:pt idx="77732">1</cx:pt>
          <cx:pt idx="77733">4</cx:pt>
          <cx:pt idx="77734">5</cx:pt>
          <cx:pt idx="77735">1</cx:pt>
          <cx:pt idx="77736">3</cx:pt>
          <cx:pt idx="77737">5</cx:pt>
          <cx:pt idx="77738">3</cx:pt>
          <cx:pt idx="77739">3</cx:pt>
          <cx:pt idx="77740">5</cx:pt>
          <cx:pt idx="77741">5</cx:pt>
          <cx:pt idx="77742">2</cx:pt>
          <cx:pt idx="77743">4</cx:pt>
          <cx:pt idx="77744">2</cx:pt>
          <cx:pt idx="77745">4</cx:pt>
          <cx:pt idx="77746">5</cx:pt>
          <cx:pt idx="77747">3</cx:pt>
          <cx:pt idx="77748">5</cx:pt>
          <cx:pt idx="77749">3</cx:pt>
          <cx:pt idx="77750">5</cx:pt>
          <cx:pt idx="77751">4</cx:pt>
          <cx:pt idx="77752">1</cx:pt>
          <cx:pt idx="77753">5</cx:pt>
          <cx:pt idx="77754">1</cx:pt>
          <cx:pt idx="77755">1</cx:pt>
          <cx:pt idx="77756">4</cx:pt>
          <cx:pt idx="77757">4</cx:pt>
          <cx:pt idx="77758">3</cx:pt>
          <cx:pt idx="77759">1</cx:pt>
          <cx:pt idx="77760">2</cx:pt>
          <cx:pt idx="77761">4</cx:pt>
          <cx:pt idx="77762">5</cx:pt>
          <cx:pt idx="77763">4</cx:pt>
          <cx:pt idx="77764">1</cx:pt>
          <cx:pt idx="77765">4</cx:pt>
          <cx:pt idx="77766">1</cx:pt>
          <cx:pt idx="77767">4</cx:pt>
          <cx:pt idx="77768">1</cx:pt>
          <cx:pt idx="77769">2</cx:pt>
          <cx:pt idx="77770">3</cx:pt>
          <cx:pt idx="77771">3</cx:pt>
          <cx:pt idx="77772">3</cx:pt>
          <cx:pt idx="77773">4</cx:pt>
          <cx:pt idx="77774">1</cx:pt>
          <cx:pt idx="77775">5</cx:pt>
          <cx:pt idx="77776">4</cx:pt>
          <cx:pt idx="77777">1</cx:pt>
          <cx:pt idx="77778">1</cx:pt>
          <cx:pt idx="77779">4</cx:pt>
          <cx:pt idx="77780">1</cx:pt>
          <cx:pt idx="77781">4</cx:pt>
          <cx:pt idx="77782">5</cx:pt>
          <cx:pt idx="77783">5</cx:pt>
          <cx:pt idx="77784">3</cx:pt>
          <cx:pt idx="77785">1</cx:pt>
          <cx:pt idx="77786">3</cx:pt>
          <cx:pt idx="77787">4</cx:pt>
          <cx:pt idx="77788">3</cx:pt>
          <cx:pt idx="77789">4</cx:pt>
          <cx:pt idx="77790">1</cx:pt>
          <cx:pt idx="77791">5</cx:pt>
          <cx:pt idx="77792">3</cx:pt>
          <cx:pt idx="77793">1</cx:pt>
          <cx:pt idx="77794">3</cx:pt>
          <cx:pt idx="77795">1</cx:pt>
          <cx:pt idx="77796">2</cx:pt>
          <cx:pt idx="77797">5</cx:pt>
          <cx:pt idx="77798">4</cx:pt>
          <cx:pt idx="77799">3</cx:pt>
          <cx:pt idx="77800">3</cx:pt>
          <cx:pt idx="77801">5</cx:pt>
          <cx:pt idx="77802">2</cx:pt>
          <cx:pt idx="77803">4</cx:pt>
          <cx:pt idx="77804">4</cx:pt>
          <cx:pt idx="77805">2</cx:pt>
          <cx:pt idx="77806">4</cx:pt>
          <cx:pt idx="77807">4</cx:pt>
          <cx:pt idx="77808">5</cx:pt>
          <cx:pt idx="77809">5</cx:pt>
          <cx:pt idx="77810">5</cx:pt>
          <cx:pt idx="77811">3</cx:pt>
          <cx:pt idx="77812">5</cx:pt>
          <cx:pt idx="77813">4</cx:pt>
          <cx:pt idx="77814">4</cx:pt>
          <cx:pt idx="77815">4</cx:pt>
          <cx:pt idx="77816">2</cx:pt>
          <cx:pt idx="77817">4</cx:pt>
          <cx:pt idx="77818">2</cx:pt>
          <cx:pt idx="77819">4</cx:pt>
          <cx:pt idx="77820">1</cx:pt>
          <cx:pt idx="77821">5</cx:pt>
          <cx:pt idx="77822">1</cx:pt>
          <cx:pt idx="77823">2</cx:pt>
          <cx:pt idx="77824">2</cx:pt>
          <cx:pt idx="77825">1</cx:pt>
          <cx:pt idx="77826">5</cx:pt>
          <cx:pt idx="77827">4</cx:pt>
          <cx:pt idx="77828">5</cx:pt>
          <cx:pt idx="77829">3</cx:pt>
          <cx:pt idx="77830">2</cx:pt>
          <cx:pt idx="77831">3</cx:pt>
          <cx:pt idx="77832">5</cx:pt>
          <cx:pt idx="77833">5</cx:pt>
          <cx:pt idx="77834">4</cx:pt>
          <cx:pt idx="77835">3</cx:pt>
          <cx:pt idx="77836">3</cx:pt>
          <cx:pt idx="77837">4</cx:pt>
          <cx:pt idx="77838">4</cx:pt>
          <cx:pt idx="77839">3</cx:pt>
          <cx:pt idx="77840">4</cx:pt>
          <cx:pt idx="77841">3</cx:pt>
          <cx:pt idx="77842">3</cx:pt>
          <cx:pt idx="77843">5</cx:pt>
          <cx:pt idx="77844">5</cx:pt>
          <cx:pt idx="77845">2</cx:pt>
          <cx:pt idx="77846">3</cx:pt>
          <cx:pt idx="77847">3</cx:pt>
          <cx:pt idx="77848">1</cx:pt>
          <cx:pt idx="77849">1</cx:pt>
          <cx:pt idx="77850">3</cx:pt>
          <cx:pt idx="77851">5</cx:pt>
          <cx:pt idx="77852">3</cx:pt>
          <cx:pt idx="77853">5</cx:pt>
          <cx:pt idx="77854">1</cx:pt>
          <cx:pt idx="77855">4</cx:pt>
          <cx:pt idx="77856">4</cx:pt>
          <cx:pt idx="77857">1</cx:pt>
          <cx:pt idx="77858">4</cx:pt>
          <cx:pt idx="77859">4</cx:pt>
          <cx:pt idx="77860">4</cx:pt>
          <cx:pt idx="77861">4</cx:pt>
          <cx:pt idx="77862">3</cx:pt>
          <cx:pt idx="77863">5</cx:pt>
          <cx:pt idx="77864">4</cx:pt>
          <cx:pt idx="77865">2</cx:pt>
          <cx:pt idx="77866">4</cx:pt>
          <cx:pt idx="77867">4</cx:pt>
          <cx:pt idx="77868">4</cx:pt>
          <cx:pt idx="77869">3</cx:pt>
          <cx:pt idx="77870">2</cx:pt>
          <cx:pt idx="77871">5</cx:pt>
          <cx:pt idx="77872">2</cx:pt>
          <cx:pt idx="77873">1</cx:pt>
          <cx:pt idx="77874">4</cx:pt>
          <cx:pt idx="77875">1</cx:pt>
          <cx:pt idx="77876">2</cx:pt>
          <cx:pt idx="77877">4</cx:pt>
          <cx:pt idx="77878">1</cx:pt>
          <cx:pt idx="77879">4</cx:pt>
          <cx:pt idx="77880">4</cx:pt>
          <cx:pt idx="77881">2</cx:pt>
          <cx:pt idx="77882">3</cx:pt>
          <cx:pt idx="77883">1</cx:pt>
          <cx:pt idx="77884">4</cx:pt>
          <cx:pt idx="77885">5</cx:pt>
          <cx:pt idx="77886">4</cx:pt>
          <cx:pt idx="77887">2</cx:pt>
          <cx:pt idx="77888">5</cx:pt>
          <cx:pt idx="77889">4</cx:pt>
          <cx:pt idx="77890">2</cx:pt>
          <cx:pt idx="77891">2</cx:pt>
          <cx:pt idx="77892">2</cx:pt>
          <cx:pt idx="77893">3</cx:pt>
          <cx:pt idx="77894">3</cx:pt>
          <cx:pt idx="77895">3</cx:pt>
          <cx:pt idx="77896">1</cx:pt>
          <cx:pt idx="77897">5</cx:pt>
          <cx:pt idx="77898">5</cx:pt>
          <cx:pt idx="77899">5</cx:pt>
          <cx:pt idx="77900">4</cx:pt>
          <cx:pt idx="77901">3</cx:pt>
          <cx:pt idx="77902">5</cx:pt>
          <cx:pt idx="77903">5</cx:pt>
          <cx:pt idx="77904">5</cx:pt>
          <cx:pt idx="77905">5</cx:pt>
          <cx:pt idx="77906">4</cx:pt>
          <cx:pt idx="77907">5</cx:pt>
          <cx:pt idx="77908">4</cx:pt>
          <cx:pt idx="77909">3</cx:pt>
          <cx:pt idx="77910">1</cx:pt>
          <cx:pt idx="77911">4</cx:pt>
          <cx:pt idx="77912">4</cx:pt>
          <cx:pt idx="77913">5</cx:pt>
          <cx:pt idx="77914">2</cx:pt>
          <cx:pt idx="77915">3</cx:pt>
          <cx:pt idx="77916">4</cx:pt>
          <cx:pt idx="77917">5</cx:pt>
          <cx:pt idx="77918">1</cx:pt>
          <cx:pt idx="77919">4</cx:pt>
          <cx:pt idx="77920">5</cx:pt>
          <cx:pt idx="77921">5</cx:pt>
          <cx:pt idx="77922">4</cx:pt>
          <cx:pt idx="77923">2</cx:pt>
          <cx:pt idx="77924">5</cx:pt>
          <cx:pt idx="77925">5</cx:pt>
          <cx:pt idx="77926">4</cx:pt>
          <cx:pt idx="77927">3</cx:pt>
          <cx:pt idx="77928">5</cx:pt>
          <cx:pt idx="77929">5</cx:pt>
          <cx:pt idx="77930">1</cx:pt>
          <cx:pt idx="77931">3</cx:pt>
          <cx:pt idx="77932">4</cx:pt>
          <cx:pt idx="77933">2</cx:pt>
          <cx:pt idx="77934">2</cx:pt>
          <cx:pt idx="77935">5</cx:pt>
          <cx:pt idx="77936">3</cx:pt>
          <cx:pt idx="77937">4</cx:pt>
          <cx:pt idx="77938">3</cx:pt>
          <cx:pt idx="77939">4</cx:pt>
          <cx:pt idx="77940">2</cx:pt>
          <cx:pt idx="77941">5</cx:pt>
          <cx:pt idx="77942">4</cx:pt>
          <cx:pt idx="77943">1</cx:pt>
          <cx:pt idx="77944">4</cx:pt>
          <cx:pt idx="77945">4</cx:pt>
          <cx:pt idx="77946">5</cx:pt>
          <cx:pt idx="77947">5</cx:pt>
          <cx:pt idx="77948">4</cx:pt>
          <cx:pt idx="77949">3</cx:pt>
          <cx:pt idx="77950">1</cx:pt>
          <cx:pt idx="77951">4</cx:pt>
          <cx:pt idx="77952">1</cx:pt>
          <cx:pt idx="77953">5</cx:pt>
          <cx:pt idx="77954">5</cx:pt>
          <cx:pt idx="77955">1</cx:pt>
          <cx:pt idx="77956">2</cx:pt>
          <cx:pt idx="77957">5</cx:pt>
          <cx:pt idx="77958">2</cx:pt>
          <cx:pt idx="77959">4</cx:pt>
          <cx:pt idx="77960">4</cx:pt>
          <cx:pt idx="77961">4</cx:pt>
          <cx:pt idx="77962">5</cx:pt>
          <cx:pt idx="77963">1</cx:pt>
          <cx:pt idx="77964">4</cx:pt>
          <cx:pt idx="77965">5</cx:pt>
          <cx:pt idx="77966">2</cx:pt>
          <cx:pt idx="77967">2</cx:pt>
          <cx:pt idx="77968">5</cx:pt>
          <cx:pt idx="77969">4</cx:pt>
          <cx:pt idx="77970">4</cx:pt>
          <cx:pt idx="77971">4</cx:pt>
          <cx:pt idx="77972">3</cx:pt>
          <cx:pt idx="77973">4</cx:pt>
          <cx:pt idx="77974">5</cx:pt>
          <cx:pt idx="77975">5</cx:pt>
          <cx:pt idx="77976">4</cx:pt>
          <cx:pt idx="77977">2</cx:pt>
          <cx:pt idx="77978">5</cx:pt>
          <cx:pt idx="77979">2</cx:pt>
          <cx:pt idx="77980">2</cx:pt>
          <cx:pt idx="77981">4</cx:pt>
          <cx:pt idx="77982">5</cx:pt>
          <cx:pt idx="77983">4</cx:pt>
          <cx:pt idx="77984">1</cx:pt>
          <cx:pt idx="77985">4</cx:pt>
          <cx:pt idx="77986">4</cx:pt>
          <cx:pt idx="77987">5</cx:pt>
          <cx:pt idx="77988">4</cx:pt>
          <cx:pt idx="77989">4</cx:pt>
          <cx:pt idx="77990">1</cx:pt>
          <cx:pt idx="77991">5</cx:pt>
          <cx:pt idx="77992">2</cx:pt>
          <cx:pt idx="77993">4</cx:pt>
          <cx:pt idx="77994">4</cx:pt>
          <cx:pt idx="77995">3</cx:pt>
          <cx:pt idx="77996">4</cx:pt>
          <cx:pt idx="77997">2</cx:pt>
          <cx:pt idx="77998">2</cx:pt>
          <cx:pt idx="77999">5</cx:pt>
          <cx:pt idx="78000">3</cx:pt>
          <cx:pt idx="78001">5</cx:pt>
          <cx:pt idx="78002">2</cx:pt>
          <cx:pt idx="78003">5</cx:pt>
          <cx:pt idx="78004">1</cx:pt>
          <cx:pt idx="78005">3</cx:pt>
          <cx:pt idx="78006">2</cx:pt>
          <cx:pt idx="78007">4</cx:pt>
          <cx:pt idx="78008">1</cx:pt>
          <cx:pt idx="78009">2</cx:pt>
          <cx:pt idx="78010">5</cx:pt>
          <cx:pt idx="78011">5</cx:pt>
          <cx:pt idx="78012">3</cx:pt>
          <cx:pt idx="78013">3</cx:pt>
          <cx:pt idx="78014">2</cx:pt>
          <cx:pt idx="78015">2</cx:pt>
          <cx:pt idx="78016">5</cx:pt>
          <cx:pt idx="78017">2</cx:pt>
          <cx:pt idx="78018">5</cx:pt>
          <cx:pt idx="78019">5</cx:pt>
          <cx:pt idx="78020">5</cx:pt>
          <cx:pt idx="78021">5</cx:pt>
          <cx:pt idx="78022">1</cx:pt>
          <cx:pt idx="78023">4</cx:pt>
          <cx:pt idx="78024">5</cx:pt>
          <cx:pt idx="78025">5</cx:pt>
          <cx:pt idx="78026">1</cx:pt>
          <cx:pt idx="78027">3</cx:pt>
          <cx:pt idx="78028">4</cx:pt>
          <cx:pt idx="78029">4</cx:pt>
          <cx:pt idx="78030">4</cx:pt>
          <cx:pt idx="78031">4</cx:pt>
          <cx:pt idx="78032">5</cx:pt>
          <cx:pt idx="78033">4</cx:pt>
          <cx:pt idx="78034">2</cx:pt>
          <cx:pt idx="78035">4</cx:pt>
          <cx:pt idx="78036">5</cx:pt>
          <cx:pt idx="78037">4</cx:pt>
          <cx:pt idx="78038">2</cx:pt>
          <cx:pt idx="78039">5</cx:pt>
          <cx:pt idx="78040">2</cx:pt>
          <cx:pt idx="78041">5</cx:pt>
          <cx:pt idx="78042">3</cx:pt>
          <cx:pt idx="78043">2</cx:pt>
          <cx:pt idx="78044">1</cx:pt>
          <cx:pt idx="78045">1</cx:pt>
          <cx:pt idx="78046">3</cx:pt>
          <cx:pt idx="78047">4</cx:pt>
          <cx:pt idx="78048">2</cx:pt>
          <cx:pt idx="78049">4</cx:pt>
          <cx:pt idx="78050">5</cx:pt>
          <cx:pt idx="78051">5</cx:pt>
          <cx:pt idx="78052">2</cx:pt>
          <cx:pt idx="78053">5</cx:pt>
          <cx:pt idx="78054">4</cx:pt>
          <cx:pt idx="78055">4</cx:pt>
          <cx:pt idx="78056">5</cx:pt>
          <cx:pt idx="78057">1</cx:pt>
          <cx:pt idx="78058">2</cx:pt>
          <cx:pt idx="78059">5</cx:pt>
          <cx:pt idx="78060">4</cx:pt>
          <cx:pt idx="78061">4</cx:pt>
          <cx:pt idx="78062">5</cx:pt>
          <cx:pt idx="78063">4</cx:pt>
          <cx:pt idx="78064">1</cx:pt>
          <cx:pt idx="78065">3</cx:pt>
          <cx:pt idx="78066">3</cx:pt>
          <cx:pt idx="78067">5</cx:pt>
          <cx:pt idx="78068">5</cx:pt>
          <cx:pt idx="78069">5</cx:pt>
          <cx:pt idx="78070">3</cx:pt>
          <cx:pt idx="78071">1</cx:pt>
          <cx:pt idx="78072">5</cx:pt>
          <cx:pt idx="78073">5</cx:pt>
          <cx:pt idx="78074">2</cx:pt>
          <cx:pt idx="78075">2</cx:pt>
          <cx:pt idx="78076">1</cx:pt>
          <cx:pt idx="78077">5</cx:pt>
          <cx:pt idx="78078">1</cx:pt>
          <cx:pt idx="78079">3</cx:pt>
          <cx:pt idx="78080">4</cx:pt>
          <cx:pt idx="78081">3</cx:pt>
          <cx:pt idx="78082">5</cx:pt>
          <cx:pt idx="78083">5</cx:pt>
          <cx:pt idx="78084">3</cx:pt>
          <cx:pt idx="78085">5</cx:pt>
          <cx:pt idx="78086">4</cx:pt>
          <cx:pt idx="78087">1</cx:pt>
          <cx:pt idx="78088">1</cx:pt>
          <cx:pt idx="78089">4</cx:pt>
          <cx:pt idx="78090">4</cx:pt>
          <cx:pt idx="78091">1</cx:pt>
          <cx:pt idx="78092">2</cx:pt>
          <cx:pt idx="78093">4</cx:pt>
          <cx:pt idx="78094">4</cx:pt>
          <cx:pt idx="78095">4</cx:pt>
          <cx:pt idx="78096">2</cx:pt>
          <cx:pt idx="78097">5</cx:pt>
          <cx:pt idx="78098">4</cx:pt>
          <cx:pt idx="78099">4</cx:pt>
          <cx:pt idx="78100">3</cx:pt>
          <cx:pt idx="78101">5</cx:pt>
          <cx:pt idx="78102">4</cx:pt>
          <cx:pt idx="78103">2</cx:pt>
          <cx:pt idx="78104">4</cx:pt>
          <cx:pt idx="78105">4</cx:pt>
          <cx:pt idx="78106">4</cx:pt>
          <cx:pt idx="78107">5</cx:pt>
          <cx:pt idx="78108">5</cx:pt>
          <cx:pt idx="78109">5</cx:pt>
          <cx:pt idx="78110">4</cx:pt>
          <cx:pt idx="78111">3</cx:pt>
          <cx:pt idx="78112">1</cx:pt>
          <cx:pt idx="78113">4</cx:pt>
          <cx:pt idx="78114">5</cx:pt>
          <cx:pt idx="78115">5</cx:pt>
          <cx:pt idx="78116">2</cx:pt>
          <cx:pt idx="78117">5</cx:pt>
          <cx:pt idx="78118">2</cx:pt>
          <cx:pt idx="78119">3</cx:pt>
          <cx:pt idx="78120">1</cx:pt>
          <cx:pt idx="78121">3</cx:pt>
          <cx:pt idx="78122">2</cx:pt>
          <cx:pt idx="78123">4</cx:pt>
          <cx:pt idx="78124">4</cx:pt>
          <cx:pt idx="78125">3</cx:pt>
          <cx:pt idx="78126">2</cx:pt>
          <cx:pt idx="78127">4</cx:pt>
          <cx:pt idx="78128">4</cx:pt>
          <cx:pt idx="78129">5</cx:pt>
          <cx:pt idx="78130">3</cx:pt>
          <cx:pt idx="78131">4</cx:pt>
          <cx:pt idx="78132">4</cx:pt>
          <cx:pt idx="78133">4</cx:pt>
          <cx:pt idx="78134">5</cx:pt>
          <cx:pt idx="78135">2</cx:pt>
          <cx:pt idx="78136">5</cx:pt>
          <cx:pt idx="78137">1</cx:pt>
          <cx:pt idx="78138">4</cx:pt>
          <cx:pt idx="78139">1</cx:pt>
          <cx:pt idx="78140">4</cx:pt>
          <cx:pt idx="78141">4</cx:pt>
          <cx:pt idx="78142">4</cx:pt>
          <cx:pt idx="78143">2</cx:pt>
          <cx:pt idx="78144">5</cx:pt>
          <cx:pt idx="78145">3</cx:pt>
          <cx:pt idx="78146">3</cx:pt>
          <cx:pt idx="78147">2</cx:pt>
          <cx:pt idx="78148">3</cx:pt>
          <cx:pt idx="78149">4</cx:pt>
          <cx:pt idx="78150">5</cx:pt>
          <cx:pt idx="78151">5</cx:pt>
          <cx:pt idx="78152">2</cx:pt>
          <cx:pt idx="78153">4</cx:pt>
          <cx:pt idx="78154">4</cx:pt>
          <cx:pt idx="78155">4</cx:pt>
          <cx:pt idx="78156">4</cx:pt>
          <cx:pt idx="78157">5</cx:pt>
          <cx:pt idx="78158">4</cx:pt>
          <cx:pt idx="78159">4</cx:pt>
          <cx:pt idx="78160">4</cx:pt>
          <cx:pt idx="78161">4</cx:pt>
          <cx:pt idx="78162">4</cx:pt>
          <cx:pt idx="78163">5</cx:pt>
          <cx:pt idx="78164">2</cx:pt>
          <cx:pt idx="78165">2</cx:pt>
          <cx:pt idx="78166">1</cx:pt>
          <cx:pt idx="78167">4</cx:pt>
          <cx:pt idx="78168">1</cx:pt>
          <cx:pt idx="78169">4</cx:pt>
          <cx:pt idx="78170">5</cx:pt>
          <cx:pt idx="78171">1</cx:pt>
          <cx:pt idx="78172">3</cx:pt>
          <cx:pt idx="78173">5</cx:pt>
          <cx:pt idx="78174">3</cx:pt>
          <cx:pt idx="78175">1</cx:pt>
          <cx:pt idx="78176">4</cx:pt>
          <cx:pt idx="78177">4</cx:pt>
          <cx:pt idx="78178">4</cx:pt>
          <cx:pt idx="78179">3</cx:pt>
          <cx:pt idx="78180">2</cx:pt>
          <cx:pt idx="78181">5</cx:pt>
          <cx:pt idx="78182">2</cx:pt>
          <cx:pt idx="78183">5</cx:pt>
          <cx:pt idx="78184">3</cx:pt>
          <cx:pt idx="78185">5</cx:pt>
          <cx:pt idx="78186">1</cx:pt>
          <cx:pt idx="78187">5</cx:pt>
          <cx:pt idx="78188">4</cx:pt>
          <cx:pt idx="78189">4</cx:pt>
          <cx:pt idx="78190">4</cx:pt>
          <cx:pt idx="78191">1</cx:pt>
          <cx:pt idx="78192">3</cx:pt>
          <cx:pt idx="78193">2</cx:pt>
          <cx:pt idx="78194">2</cx:pt>
          <cx:pt idx="78195">5</cx:pt>
          <cx:pt idx="78196">5</cx:pt>
          <cx:pt idx="78197">5</cx:pt>
          <cx:pt idx="78198">3</cx:pt>
          <cx:pt idx="78199">3</cx:pt>
          <cx:pt idx="78200">2</cx:pt>
          <cx:pt idx="78201">4</cx:pt>
          <cx:pt idx="78202">4</cx:pt>
          <cx:pt idx="78203">1</cx:pt>
          <cx:pt idx="78204">3</cx:pt>
          <cx:pt idx="78205">2</cx:pt>
          <cx:pt idx="78206">4</cx:pt>
          <cx:pt idx="78207">2</cx:pt>
          <cx:pt idx="78208">5</cx:pt>
          <cx:pt idx="78209">4</cx:pt>
          <cx:pt idx="78210">4</cx:pt>
          <cx:pt idx="78211">1</cx:pt>
          <cx:pt idx="78212">5</cx:pt>
          <cx:pt idx="78213">2</cx:pt>
          <cx:pt idx="78214">2</cx:pt>
          <cx:pt idx="78215">2</cx:pt>
          <cx:pt idx="78216">2</cx:pt>
          <cx:pt idx="78217">2</cx:pt>
          <cx:pt idx="78218">5</cx:pt>
          <cx:pt idx="78219">4</cx:pt>
          <cx:pt idx="78220">2</cx:pt>
          <cx:pt idx="78221">5</cx:pt>
          <cx:pt idx="78222">2</cx:pt>
          <cx:pt idx="78223">5</cx:pt>
          <cx:pt idx="78224">2</cx:pt>
          <cx:pt idx="78225">3</cx:pt>
          <cx:pt idx="78226">3</cx:pt>
          <cx:pt idx="78227">5</cx:pt>
          <cx:pt idx="78228">4</cx:pt>
          <cx:pt idx="78229">3</cx:pt>
          <cx:pt idx="78230">4</cx:pt>
          <cx:pt idx="78231">5</cx:pt>
          <cx:pt idx="78232">5</cx:pt>
          <cx:pt idx="78233">1</cx:pt>
          <cx:pt idx="78234">4</cx:pt>
          <cx:pt idx="78235">2</cx:pt>
          <cx:pt idx="78236">4</cx:pt>
          <cx:pt idx="78237">5</cx:pt>
          <cx:pt idx="78238">5</cx:pt>
          <cx:pt idx="78239">3</cx:pt>
          <cx:pt idx="78240">1</cx:pt>
          <cx:pt idx="78241">5</cx:pt>
          <cx:pt idx="78242">1</cx:pt>
          <cx:pt idx="78243">3</cx:pt>
          <cx:pt idx="78244">4</cx:pt>
          <cx:pt idx="78245">4</cx:pt>
          <cx:pt idx="78246">1</cx:pt>
          <cx:pt idx="78247">5</cx:pt>
          <cx:pt idx="78248">3</cx:pt>
          <cx:pt idx="78249">3</cx:pt>
          <cx:pt idx="78250">4</cx:pt>
          <cx:pt idx="78251">3</cx:pt>
          <cx:pt idx="78252">5</cx:pt>
          <cx:pt idx="78253">4</cx:pt>
          <cx:pt idx="78254">4</cx:pt>
          <cx:pt idx="78255">4</cx:pt>
          <cx:pt idx="78256">5</cx:pt>
          <cx:pt idx="78257">4</cx:pt>
          <cx:pt idx="78258">4</cx:pt>
          <cx:pt idx="78259">3</cx:pt>
          <cx:pt idx="78260">5</cx:pt>
          <cx:pt idx="78261">2</cx:pt>
          <cx:pt idx="78262">1</cx:pt>
          <cx:pt idx="78263">4</cx:pt>
          <cx:pt idx="78264">4</cx:pt>
          <cx:pt idx="78265">3</cx:pt>
          <cx:pt idx="78266">4</cx:pt>
          <cx:pt idx="78267">1</cx:pt>
          <cx:pt idx="78268">2</cx:pt>
          <cx:pt idx="78269">4</cx:pt>
          <cx:pt idx="78270">4</cx:pt>
          <cx:pt idx="78271">2</cx:pt>
          <cx:pt idx="78272">4</cx:pt>
          <cx:pt idx="78273">4</cx:pt>
          <cx:pt idx="78274">4</cx:pt>
          <cx:pt idx="78275">3</cx:pt>
          <cx:pt idx="78276">4</cx:pt>
          <cx:pt idx="78277">4</cx:pt>
          <cx:pt idx="78278">5</cx:pt>
          <cx:pt idx="78279">4</cx:pt>
          <cx:pt idx="78280">1</cx:pt>
          <cx:pt idx="78281">5</cx:pt>
          <cx:pt idx="78282">3</cx:pt>
          <cx:pt idx="78283">4</cx:pt>
          <cx:pt idx="78284">4</cx:pt>
          <cx:pt idx="78285">5</cx:pt>
          <cx:pt idx="78286">3</cx:pt>
          <cx:pt idx="78287">4</cx:pt>
          <cx:pt idx="78288">1</cx:pt>
          <cx:pt idx="78289">4</cx:pt>
          <cx:pt idx="78290">3</cx:pt>
          <cx:pt idx="78291">4</cx:pt>
          <cx:pt idx="78292">2</cx:pt>
          <cx:pt idx="78293">3</cx:pt>
          <cx:pt idx="78294">5</cx:pt>
          <cx:pt idx="78295">5</cx:pt>
          <cx:pt idx="78296">4</cx:pt>
          <cx:pt idx="78297">3</cx:pt>
          <cx:pt idx="78298">4</cx:pt>
          <cx:pt idx="78299">1</cx:pt>
          <cx:pt idx="78300">4</cx:pt>
          <cx:pt idx="78301">1</cx:pt>
          <cx:pt idx="78302">3</cx:pt>
          <cx:pt idx="78303">3</cx:pt>
          <cx:pt idx="78304">5</cx:pt>
          <cx:pt idx="78305">4</cx:pt>
          <cx:pt idx="78306">5</cx:pt>
          <cx:pt idx="78307">4</cx:pt>
          <cx:pt idx="78308">4</cx:pt>
          <cx:pt idx="78309">4</cx:pt>
          <cx:pt idx="78310">3</cx:pt>
          <cx:pt idx="78311">1</cx:pt>
          <cx:pt idx="78312">5</cx:pt>
          <cx:pt idx="78313">2</cx:pt>
          <cx:pt idx="78314">4</cx:pt>
          <cx:pt idx="78315">3</cx:pt>
          <cx:pt idx="78316">3</cx:pt>
          <cx:pt idx="78317">1</cx:pt>
          <cx:pt idx="78318">1</cx:pt>
          <cx:pt idx="78319">3</cx:pt>
          <cx:pt idx="78320">5</cx:pt>
          <cx:pt idx="78321">2</cx:pt>
          <cx:pt idx="78322">2</cx:pt>
          <cx:pt idx="78323">5</cx:pt>
          <cx:pt idx="78324">4</cx:pt>
          <cx:pt idx="78325">3</cx:pt>
          <cx:pt idx="78326">2</cx:pt>
          <cx:pt idx="78327">3</cx:pt>
          <cx:pt idx="78328">2</cx:pt>
          <cx:pt idx="78329">2</cx:pt>
          <cx:pt idx="78330">4</cx:pt>
          <cx:pt idx="78331">5</cx:pt>
          <cx:pt idx="78332">4</cx:pt>
          <cx:pt idx="78333">5</cx:pt>
          <cx:pt idx="78334">4</cx:pt>
          <cx:pt idx="78335">1</cx:pt>
          <cx:pt idx="78336">3</cx:pt>
          <cx:pt idx="78337">5</cx:pt>
          <cx:pt idx="78338">1</cx:pt>
          <cx:pt idx="78339">2</cx:pt>
          <cx:pt idx="78340">3</cx:pt>
          <cx:pt idx="78341">3</cx:pt>
          <cx:pt idx="78342">1</cx:pt>
          <cx:pt idx="78343">5</cx:pt>
          <cx:pt idx="78344">4</cx:pt>
          <cx:pt idx="78345">4</cx:pt>
          <cx:pt idx="78346">5</cx:pt>
          <cx:pt idx="78347">5</cx:pt>
          <cx:pt idx="78348">3</cx:pt>
          <cx:pt idx="78349">4</cx:pt>
          <cx:pt idx="78350">1</cx:pt>
          <cx:pt idx="78351">4</cx:pt>
          <cx:pt idx="78352">3</cx:pt>
          <cx:pt idx="78353">3</cx:pt>
          <cx:pt idx="78354">5</cx:pt>
          <cx:pt idx="78355">1</cx:pt>
          <cx:pt idx="78356">5</cx:pt>
          <cx:pt idx="78357">4</cx:pt>
          <cx:pt idx="78358">4</cx:pt>
          <cx:pt idx="78359">3</cx:pt>
          <cx:pt idx="78360">4</cx:pt>
          <cx:pt idx="78361">5</cx:pt>
          <cx:pt idx="78362">4</cx:pt>
          <cx:pt idx="78363">4</cx:pt>
          <cx:pt idx="78364">3</cx:pt>
          <cx:pt idx="78365">5</cx:pt>
          <cx:pt idx="78366">3</cx:pt>
          <cx:pt idx="78367">1</cx:pt>
          <cx:pt idx="78368">3</cx:pt>
          <cx:pt idx="78369">2</cx:pt>
          <cx:pt idx="78370">5</cx:pt>
          <cx:pt idx="78371">4</cx:pt>
          <cx:pt idx="78372">5</cx:pt>
          <cx:pt idx="78373">2</cx:pt>
          <cx:pt idx="78374">3</cx:pt>
          <cx:pt idx="78375">5</cx:pt>
          <cx:pt idx="78376">4</cx:pt>
          <cx:pt idx="78377">2</cx:pt>
          <cx:pt idx="78378">2</cx:pt>
          <cx:pt idx="78379">3</cx:pt>
          <cx:pt idx="78380">5</cx:pt>
          <cx:pt idx="78381">1</cx:pt>
          <cx:pt idx="78382">4</cx:pt>
          <cx:pt idx="78383">5</cx:pt>
          <cx:pt idx="78384">5</cx:pt>
          <cx:pt idx="78385">1</cx:pt>
          <cx:pt idx="78386">5</cx:pt>
          <cx:pt idx="78387">4</cx:pt>
          <cx:pt idx="78388">4</cx:pt>
          <cx:pt idx="78389">3</cx:pt>
          <cx:pt idx="78390">5</cx:pt>
          <cx:pt idx="78391">3</cx:pt>
          <cx:pt idx="78392">2</cx:pt>
          <cx:pt idx="78393">2</cx:pt>
          <cx:pt idx="78394">4</cx:pt>
          <cx:pt idx="78395">5</cx:pt>
          <cx:pt idx="78396">3</cx:pt>
          <cx:pt idx="78397">1</cx:pt>
          <cx:pt idx="78398">5</cx:pt>
          <cx:pt idx="78399">4</cx:pt>
          <cx:pt idx="78400">4</cx:pt>
          <cx:pt idx="78401">5</cx:pt>
          <cx:pt idx="78402">5</cx:pt>
          <cx:pt idx="78403">3</cx:pt>
          <cx:pt idx="78404">3</cx:pt>
          <cx:pt idx="78405">5</cx:pt>
          <cx:pt idx="78406">4</cx:pt>
          <cx:pt idx="78407">1</cx:pt>
          <cx:pt idx="78408">4</cx:pt>
          <cx:pt idx="78409">5</cx:pt>
          <cx:pt idx="78410">3</cx:pt>
          <cx:pt idx="78411">2</cx:pt>
          <cx:pt idx="78412">2</cx:pt>
          <cx:pt idx="78413">4</cx:pt>
          <cx:pt idx="78414">4</cx:pt>
          <cx:pt idx="78415">3</cx:pt>
          <cx:pt idx="78416">3</cx:pt>
          <cx:pt idx="78417">1</cx:pt>
          <cx:pt idx="78418">1</cx:pt>
          <cx:pt idx="78419">3</cx:pt>
          <cx:pt idx="78420">5</cx:pt>
          <cx:pt idx="78421">4</cx:pt>
          <cx:pt idx="78422">3</cx:pt>
          <cx:pt idx="78423">5</cx:pt>
          <cx:pt idx="78424">3</cx:pt>
          <cx:pt idx="78425">2</cx:pt>
          <cx:pt idx="78426">1</cx:pt>
          <cx:pt idx="78427">3</cx:pt>
          <cx:pt idx="78428">4</cx:pt>
          <cx:pt idx="78429">2</cx:pt>
          <cx:pt idx="78430">4</cx:pt>
          <cx:pt idx="78431">4</cx:pt>
          <cx:pt idx="78432">3</cx:pt>
          <cx:pt idx="78433">4</cx:pt>
          <cx:pt idx="78434">5</cx:pt>
          <cx:pt idx="78435">5</cx:pt>
          <cx:pt idx="78436">2</cx:pt>
          <cx:pt idx="78437">4</cx:pt>
          <cx:pt idx="78438">2</cx:pt>
          <cx:pt idx="78439">3</cx:pt>
          <cx:pt idx="78440">5</cx:pt>
          <cx:pt idx="78441">1</cx:pt>
          <cx:pt idx="78442">4</cx:pt>
          <cx:pt idx="78443">5</cx:pt>
          <cx:pt idx="78444">5</cx:pt>
          <cx:pt idx="78445">3</cx:pt>
          <cx:pt idx="78446">4</cx:pt>
          <cx:pt idx="78447">2</cx:pt>
          <cx:pt idx="78448">3</cx:pt>
          <cx:pt idx="78449">5</cx:pt>
          <cx:pt idx="78450">3</cx:pt>
          <cx:pt idx="78451">5</cx:pt>
          <cx:pt idx="78452">5</cx:pt>
          <cx:pt idx="78453">4</cx:pt>
          <cx:pt idx="78454">3</cx:pt>
          <cx:pt idx="78455">5</cx:pt>
          <cx:pt idx="78456">2</cx:pt>
          <cx:pt idx="78457">4</cx:pt>
          <cx:pt idx="78458">4</cx:pt>
          <cx:pt idx="78459">3</cx:pt>
          <cx:pt idx="78460">3</cx:pt>
          <cx:pt idx="78461">4</cx:pt>
          <cx:pt idx="78462">5</cx:pt>
          <cx:pt idx="78463">1</cx:pt>
          <cx:pt idx="78464">4</cx:pt>
          <cx:pt idx="78465">3</cx:pt>
          <cx:pt idx="78466">3</cx:pt>
          <cx:pt idx="78467">4</cx:pt>
          <cx:pt idx="78468">2</cx:pt>
          <cx:pt idx="78469">4</cx:pt>
          <cx:pt idx="78470">5</cx:pt>
          <cx:pt idx="78471">2</cx:pt>
          <cx:pt idx="78472">4</cx:pt>
          <cx:pt idx="78473">4</cx:pt>
          <cx:pt idx="78474">2</cx:pt>
          <cx:pt idx="78475">4</cx:pt>
          <cx:pt idx="78476">4</cx:pt>
          <cx:pt idx="78477">5</cx:pt>
          <cx:pt idx="78478">4</cx:pt>
          <cx:pt idx="78479">5</cx:pt>
          <cx:pt idx="78480">2</cx:pt>
          <cx:pt idx="78481">5</cx:pt>
          <cx:pt idx="78482">3</cx:pt>
          <cx:pt idx="78483">5</cx:pt>
          <cx:pt idx="78484">5</cx:pt>
          <cx:pt idx="78485">2</cx:pt>
          <cx:pt idx="78486">4</cx:pt>
          <cx:pt idx="78487">2</cx:pt>
          <cx:pt idx="78488">4</cx:pt>
          <cx:pt idx="78489">3</cx:pt>
          <cx:pt idx="78490">5</cx:pt>
          <cx:pt idx="78491">4</cx:pt>
          <cx:pt idx="78492">5</cx:pt>
          <cx:pt idx="78493">4</cx:pt>
          <cx:pt idx="78494">3</cx:pt>
          <cx:pt idx="78495">4</cx:pt>
          <cx:pt idx="78496">4</cx:pt>
          <cx:pt idx="78497">2</cx:pt>
          <cx:pt idx="78498">5</cx:pt>
          <cx:pt idx="78499">3</cx:pt>
          <cx:pt idx="78500">4</cx:pt>
          <cx:pt idx="78501">5</cx:pt>
          <cx:pt idx="78502">3</cx:pt>
          <cx:pt idx="78503">2</cx:pt>
          <cx:pt idx="78504">5</cx:pt>
          <cx:pt idx="78505">4</cx:pt>
          <cx:pt idx="78506">3</cx:pt>
          <cx:pt idx="78507">1</cx:pt>
          <cx:pt idx="78508">2</cx:pt>
          <cx:pt idx="78509">5</cx:pt>
          <cx:pt idx="78510">3</cx:pt>
          <cx:pt idx="78511">3</cx:pt>
          <cx:pt idx="78512">4</cx:pt>
          <cx:pt idx="78513">1</cx:pt>
          <cx:pt idx="78514">2</cx:pt>
          <cx:pt idx="78515">4</cx:pt>
          <cx:pt idx="78516">5</cx:pt>
          <cx:pt idx="78517">5</cx:pt>
          <cx:pt idx="78518">5</cx:pt>
          <cx:pt idx="78519">1</cx:pt>
          <cx:pt idx="78520">5</cx:pt>
          <cx:pt idx="78521">4</cx:pt>
          <cx:pt idx="78522">4</cx:pt>
          <cx:pt idx="78523">1</cx:pt>
          <cx:pt idx="78524">1</cx:pt>
          <cx:pt idx="78525">5</cx:pt>
          <cx:pt idx="78526">5</cx:pt>
          <cx:pt idx="78527">5</cx:pt>
          <cx:pt idx="78528">4</cx:pt>
          <cx:pt idx="78529">3</cx:pt>
          <cx:pt idx="78530">2</cx:pt>
          <cx:pt idx="78531">1</cx:pt>
          <cx:pt idx="78532">2</cx:pt>
          <cx:pt idx="78533">3</cx:pt>
          <cx:pt idx="78534">5</cx:pt>
          <cx:pt idx="78535">3</cx:pt>
          <cx:pt idx="78536">5</cx:pt>
          <cx:pt idx="78537">3</cx:pt>
          <cx:pt idx="78538">5</cx:pt>
          <cx:pt idx="78539">5</cx:pt>
          <cx:pt idx="78540">2</cx:pt>
          <cx:pt idx="78541">3</cx:pt>
          <cx:pt idx="78542">4</cx:pt>
          <cx:pt idx="78543">2</cx:pt>
          <cx:pt idx="78544">4</cx:pt>
          <cx:pt idx="78545">4</cx:pt>
          <cx:pt idx="78546">5</cx:pt>
          <cx:pt idx="78547">1</cx:pt>
          <cx:pt idx="78548">5</cx:pt>
          <cx:pt idx="78549">1</cx:pt>
          <cx:pt idx="78550">4</cx:pt>
          <cx:pt idx="78551">5</cx:pt>
          <cx:pt idx="78552">4</cx:pt>
          <cx:pt idx="78553">4</cx:pt>
          <cx:pt idx="78554">5</cx:pt>
          <cx:pt idx="78555">3</cx:pt>
          <cx:pt idx="78556">5</cx:pt>
          <cx:pt idx="78557">5</cx:pt>
          <cx:pt idx="78558">5</cx:pt>
          <cx:pt idx="78559">5</cx:pt>
          <cx:pt idx="78560">1</cx:pt>
          <cx:pt idx="78561">5</cx:pt>
          <cx:pt idx="78562">4</cx:pt>
          <cx:pt idx="78563">1</cx:pt>
          <cx:pt idx="78564">5</cx:pt>
          <cx:pt idx="78565">4</cx:pt>
          <cx:pt idx="78566">1</cx:pt>
          <cx:pt idx="78567">3</cx:pt>
          <cx:pt idx="78568">4</cx:pt>
          <cx:pt idx="78569">5</cx:pt>
          <cx:pt idx="78570">3</cx:pt>
          <cx:pt idx="78571">1</cx:pt>
          <cx:pt idx="78572">3</cx:pt>
          <cx:pt idx="78573">5</cx:pt>
          <cx:pt idx="78574">3</cx:pt>
          <cx:pt idx="78575">3</cx:pt>
          <cx:pt idx="78576">2</cx:pt>
          <cx:pt idx="78577">2</cx:pt>
          <cx:pt idx="78578">4</cx:pt>
          <cx:pt idx="78579">4</cx:pt>
          <cx:pt idx="78580">4</cx:pt>
          <cx:pt idx="78581">4</cx:pt>
          <cx:pt idx="78582">3</cx:pt>
          <cx:pt idx="78583">2</cx:pt>
          <cx:pt idx="78584">3</cx:pt>
          <cx:pt idx="78585">4</cx:pt>
          <cx:pt idx="78586">4</cx:pt>
          <cx:pt idx="78587">5</cx:pt>
          <cx:pt idx="78588">4</cx:pt>
          <cx:pt idx="78589">2</cx:pt>
          <cx:pt idx="78590">2</cx:pt>
          <cx:pt idx="78591">3</cx:pt>
          <cx:pt idx="78592">4</cx:pt>
          <cx:pt idx="78593">4</cx:pt>
          <cx:pt idx="78594">5</cx:pt>
          <cx:pt idx="78595">5</cx:pt>
          <cx:pt idx="78596">2</cx:pt>
          <cx:pt idx="78597">1</cx:pt>
          <cx:pt idx="78598">5</cx:pt>
          <cx:pt idx="78599">4</cx:pt>
          <cx:pt idx="78600">2</cx:pt>
          <cx:pt idx="78601">1</cx:pt>
          <cx:pt idx="78602">5</cx:pt>
          <cx:pt idx="78603">4</cx:pt>
          <cx:pt idx="78604">5</cx:pt>
          <cx:pt idx="78605">1</cx:pt>
          <cx:pt idx="78606">5</cx:pt>
          <cx:pt idx="78607">2</cx:pt>
          <cx:pt idx="78608">3</cx:pt>
          <cx:pt idx="78609">3</cx:pt>
          <cx:pt idx="78610">4</cx:pt>
          <cx:pt idx="78611">5</cx:pt>
          <cx:pt idx="78612">2</cx:pt>
          <cx:pt idx="78613">3</cx:pt>
          <cx:pt idx="78614">4</cx:pt>
          <cx:pt idx="78615">2</cx:pt>
          <cx:pt idx="78616">4</cx:pt>
          <cx:pt idx="78617">4</cx:pt>
          <cx:pt idx="78618">4</cx:pt>
          <cx:pt idx="78619">2</cx:pt>
          <cx:pt idx="78620">5</cx:pt>
          <cx:pt idx="78621">5</cx:pt>
          <cx:pt idx="78622">4</cx:pt>
          <cx:pt idx="78623">2</cx:pt>
          <cx:pt idx="78624">4</cx:pt>
          <cx:pt idx="78625">4</cx:pt>
          <cx:pt idx="78626">4</cx:pt>
          <cx:pt idx="78627">4</cx:pt>
          <cx:pt idx="78628">4</cx:pt>
          <cx:pt idx="78629">4</cx:pt>
          <cx:pt idx="78630">4</cx:pt>
          <cx:pt idx="78631">2</cx:pt>
          <cx:pt idx="78632">3</cx:pt>
          <cx:pt idx="78633">3</cx:pt>
          <cx:pt idx="78634">2</cx:pt>
          <cx:pt idx="78635">1</cx:pt>
          <cx:pt idx="78636">1</cx:pt>
          <cx:pt idx="78637">4</cx:pt>
          <cx:pt idx="78638">4</cx:pt>
          <cx:pt idx="78639">2</cx:pt>
          <cx:pt idx="78640">1</cx:pt>
          <cx:pt idx="78641">2</cx:pt>
          <cx:pt idx="78642">5</cx:pt>
          <cx:pt idx="78643">3</cx:pt>
          <cx:pt idx="78644">3</cx:pt>
          <cx:pt idx="78645">3</cx:pt>
          <cx:pt idx="78646">4</cx:pt>
          <cx:pt idx="78647">5</cx:pt>
          <cx:pt idx="78648">1</cx:pt>
          <cx:pt idx="78649">4</cx:pt>
          <cx:pt idx="78650">5</cx:pt>
          <cx:pt idx="78651">4</cx:pt>
          <cx:pt idx="78652">1</cx:pt>
          <cx:pt idx="78653">3</cx:pt>
          <cx:pt idx="78654">4</cx:pt>
          <cx:pt idx="78655">3</cx:pt>
          <cx:pt idx="78656">3</cx:pt>
          <cx:pt idx="78657">4</cx:pt>
          <cx:pt idx="78658">4</cx:pt>
          <cx:pt idx="78659">1</cx:pt>
          <cx:pt idx="78660">4</cx:pt>
          <cx:pt idx="78661">3</cx:pt>
          <cx:pt idx="78662">4</cx:pt>
          <cx:pt idx="78663">3</cx:pt>
          <cx:pt idx="78664">3</cx:pt>
          <cx:pt idx="78665">2</cx:pt>
          <cx:pt idx="78666">4</cx:pt>
          <cx:pt idx="78667">2</cx:pt>
          <cx:pt idx="78668">1</cx:pt>
          <cx:pt idx="78669">4</cx:pt>
          <cx:pt idx="78670">4</cx:pt>
          <cx:pt idx="78671">1</cx:pt>
          <cx:pt idx="78672">1</cx:pt>
          <cx:pt idx="78673">5</cx:pt>
          <cx:pt idx="78674">1</cx:pt>
          <cx:pt idx="78675">5</cx:pt>
          <cx:pt idx="78676">5</cx:pt>
          <cx:pt idx="78677">4</cx:pt>
          <cx:pt idx="78678">4</cx:pt>
          <cx:pt idx="78679">5</cx:pt>
          <cx:pt idx="78680">4</cx:pt>
          <cx:pt idx="78681">2</cx:pt>
          <cx:pt idx="78682">4</cx:pt>
          <cx:pt idx="78683">1</cx:pt>
          <cx:pt idx="78684">2</cx:pt>
          <cx:pt idx="78685">4</cx:pt>
          <cx:pt idx="78686">5</cx:pt>
          <cx:pt idx="78687">1</cx:pt>
          <cx:pt idx="78688">4</cx:pt>
          <cx:pt idx="78689">4</cx:pt>
          <cx:pt idx="78690">5</cx:pt>
          <cx:pt idx="78691">5</cx:pt>
          <cx:pt idx="78692">2</cx:pt>
          <cx:pt idx="78693">5</cx:pt>
          <cx:pt idx="78694">4</cx:pt>
          <cx:pt idx="78695">5</cx:pt>
          <cx:pt idx="78696">4</cx:pt>
          <cx:pt idx="78697">4</cx:pt>
          <cx:pt idx="78698">4</cx:pt>
          <cx:pt idx="78699">1</cx:pt>
          <cx:pt idx="78700">3</cx:pt>
          <cx:pt idx="78701">3</cx:pt>
          <cx:pt idx="78702">4</cx:pt>
          <cx:pt idx="78703">1</cx:pt>
          <cx:pt idx="78704">4</cx:pt>
          <cx:pt idx="78705">5</cx:pt>
          <cx:pt idx="78706">1</cx:pt>
          <cx:pt idx="78707">1</cx:pt>
          <cx:pt idx="78708">4</cx:pt>
          <cx:pt idx="78709">2</cx:pt>
          <cx:pt idx="78710">1</cx:pt>
          <cx:pt idx="78711">3</cx:pt>
          <cx:pt idx="78712">5</cx:pt>
          <cx:pt idx="78713">3</cx:pt>
          <cx:pt idx="78714">4</cx:pt>
          <cx:pt idx="78715">1</cx:pt>
          <cx:pt idx="78716">3</cx:pt>
          <cx:pt idx="78717">4</cx:pt>
          <cx:pt idx="78718">2</cx:pt>
          <cx:pt idx="78719">3</cx:pt>
          <cx:pt idx="78720">5</cx:pt>
          <cx:pt idx="78721">3</cx:pt>
          <cx:pt idx="78722">4</cx:pt>
          <cx:pt idx="78723">3</cx:pt>
          <cx:pt idx="78724">4</cx:pt>
          <cx:pt idx="78725">1</cx:pt>
          <cx:pt idx="78726">4</cx:pt>
          <cx:pt idx="78727">4</cx:pt>
          <cx:pt idx="78728">3</cx:pt>
          <cx:pt idx="78729">3</cx:pt>
          <cx:pt idx="78730">2</cx:pt>
          <cx:pt idx="78731">5</cx:pt>
          <cx:pt idx="78732">4</cx:pt>
          <cx:pt idx="78733">4</cx:pt>
          <cx:pt idx="78734">2</cx:pt>
          <cx:pt idx="78735">5</cx:pt>
          <cx:pt idx="78736">4</cx:pt>
          <cx:pt idx="78737">2</cx:pt>
          <cx:pt idx="78738">5</cx:pt>
          <cx:pt idx="78739">2</cx:pt>
          <cx:pt idx="78740">2</cx:pt>
          <cx:pt idx="78741">4</cx:pt>
          <cx:pt idx="78742">5</cx:pt>
          <cx:pt idx="78743">5</cx:pt>
          <cx:pt idx="78744">1</cx:pt>
          <cx:pt idx="78745">5</cx:pt>
          <cx:pt idx="78746">4</cx:pt>
          <cx:pt idx="78747">3</cx:pt>
          <cx:pt idx="78748">1</cx:pt>
          <cx:pt idx="78749">4</cx:pt>
          <cx:pt idx="78750">5</cx:pt>
          <cx:pt idx="78751">4</cx:pt>
          <cx:pt idx="78752">5</cx:pt>
          <cx:pt idx="78753">3</cx:pt>
          <cx:pt idx="78754">1</cx:pt>
          <cx:pt idx="78755">5</cx:pt>
          <cx:pt idx="78756">3</cx:pt>
          <cx:pt idx="78757">3</cx:pt>
          <cx:pt idx="78758">4</cx:pt>
          <cx:pt idx="78759">4</cx:pt>
          <cx:pt idx="78760">1</cx:pt>
          <cx:pt idx="78761">2</cx:pt>
          <cx:pt idx="78762">4</cx:pt>
          <cx:pt idx="78763">1</cx:pt>
          <cx:pt idx="78764">2</cx:pt>
          <cx:pt idx="78765">1</cx:pt>
          <cx:pt idx="78766">5</cx:pt>
          <cx:pt idx="78767">3</cx:pt>
          <cx:pt idx="78768">5</cx:pt>
          <cx:pt idx="78769">2</cx:pt>
          <cx:pt idx="78770">4</cx:pt>
          <cx:pt idx="78771">1</cx:pt>
          <cx:pt idx="78772">5</cx:pt>
          <cx:pt idx="78773">3</cx:pt>
          <cx:pt idx="78774">3</cx:pt>
          <cx:pt idx="78775">4</cx:pt>
          <cx:pt idx="78776">4</cx:pt>
          <cx:pt idx="78777">5</cx:pt>
          <cx:pt idx="78778">1</cx:pt>
          <cx:pt idx="78779">2</cx:pt>
          <cx:pt idx="78780">4</cx:pt>
          <cx:pt idx="78781">4</cx:pt>
          <cx:pt idx="78782">4</cx:pt>
          <cx:pt idx="78783">4</cx:pt>
          <cx:pt idx="78784">4</cx:pt>
          <cx:pt idx="78785">4</cx:pt>
          <cx:pt idx="78786">3</cx:pt>
          <cx:pt idx="78787">3</cx:pt>
          <cx:pt idx="78788">1</cx:pt>
          <cx:pt idx="78789">2</cx:pt>
          <cx:pt idx="78790">4</cx:pt>
          <cx:pt idx="78791">5</cx:pt>
          <cx:pt idx="78792">1</cx:pt>
          <cx:pt idx="78793">5</cx:pt>
          <cx:pt idx="78794">4</cx:pt>
          <cx:pt idx="78795">3</cx:pt>
          <cx:pt idx="78796">3</cx:pt>
          <cx:pt idx="78797">5</cx:pt>
          <cx:pt idx="78798">2</cx:pt>
          <cx:pt idx="78799">2</cx:pt>
          <cx:pt idx="78800">5</cx:pt>
          <cx:pt idx="78801">5</cx:pt>
          <cx:pt idx="78802">3</cx:pt>
          <cx:pt idx="78803">1</cx:pt>
          <cx:pt idx="78804">3</cx:pt>
          <cx:pt idx="78805">4</cx:pt>
          <cx:pt idx="78806">5</cx:pt>
          <cx:pt idx="78807">1</cx:pt>
          <cx:pt idx="78808">4</cx:pt>
          <cx:pt idx="78809">5</cx:pt>
          <cx:pt idx="78810">3</cx:pt>
          <cx:pt idx="78811">4</cx:pt>
          <cx:pt idx="78812">5</cx:pt>
          <cx:pt idx="78813">3</cx:pt>
          <cx:pt idx="78814">1</cx:pt>
          <cx:pt idx="78815">5</cx:pt>
          <cx:pt idx="78816">3</cx:pt>
          <cx:pt idx="78817">5</cx:pt>
          <cx:pt idx="78818">3</cx:pt>
          <cx:pt idx="78819">4</cx:pt>
          <cx:pt idx="78820">3</cx:pt>
          <cx:pt idx="78821">1</cx:pt>
          <cx:pt idx="78822">4</cx:pt>
          <cx:pt idx="78823">5</cx:pt>
          <cx:pt idx="78824">4</cx:pt>
          <cx:pt idx="78825">4</cx:pt>
          <cx:pt idx="78826">5</cx:pt>
          <cx:pt idx="78827">5</cx:pt>
          <cx:pt idx="78828">3</cx:pt>
          <cx:pt idx="78829">4</cx:pt>
          <cx:pt idx="78830">2</cx:pt>
          <cx:pt idx="78831">2</cx:pt>
          <cx:pt idx="78832">3</cx:pt>
          <cx:pt idx="78833">3</cx:pt>
          <cx:pt idx="78834">5</cx:pt>
          <cx:pt idx="78835">2</cx:pt>
          <cx:pt idx="78836">2</cx:pt>
          <cx:pt idx="78837">3</cx:pt>
          <cx:pt idx="78838">5</cx:pt>
          <cx:pt idx="78839">5</cx:pt>
          <cx:pt idx="78840">1</cx:pt>
          <cx:pt idx="78841">5</cx:pt>
          <cx:pt idx="78842">2</cx:pt>
          <cx:pt idx="78843">5</cx:pt>
          <cx:pt idx="78844">1</cx:pt>
          <cx:pt idx="78845">1</cx:pt>
          <cx:pt idx="78846">4</cx:pt>
          <cx:pt idx="78847">3</cx:pt>
          <cx:pt idx="78848">3</cx:pt>
          <cx:pt idx="78849">5</cx:pt>
          <cx:pt idx="78850">5</cx:pt>
          <cx:pt idx="78851">3</cx:pt>
          <cx:pt idx="78852">4</cx:pt>
          <cx:pt idx="78853">1</cx:pt>
          <cx:pt idx="78854">3</cx:pt>
          <cx:pt idx="78855">4</cx:pt>
          <cx:pt idx="78856">4</cx:pt>
          <cx:pt idx="78857">4</cx:pt>
          <cx:pt idx="78858">2</cx:pt>
          <cx:pt idx="78859">4</cx:pt>
          <cx:pt idx="78860">3</cx:pt>
          <cx:pt idx="78861">4</cx:pt>
          <cx:pt idx="78862">5</cx:pt>
          <cx:pt idx="78863">1</cx:pt>
          <cx:pt idx="78864">4</cx:pt>
          <cx:pt idx="78865">5</cx:pt>
          <cx:pt idx="78866">2</cx:pt>
          <cx:pt idx="78867">3</cx:pt>
          <cx:pt idx="78868">4</cx:pt>
          <cx:pt idx="78869">4</cx:pt>
          <cx:pt idx="78870">2</cx:pt>
          <cx:pt idx="78871">4</cx:pt>
          <cx:pt idx="78872">4</cx:pt>
          <cx:pt idx="78873">3</cx:pt>
          <cx:pt idx="78874">1</cx:pt>
          <cx:pt idx="78875">5</cx:pt>
          <cx:pt idx="78876">4</cx:pt>
          <cx:pt idx="78877">3</cx:pt>
          <cx:pt idx="78878">3</cx:pt>
          <cx:pt idx="78879">1</cx:pt>
          <cx:pt idx="78880">4</cx:pt>
          <cx:pt idx="78881">3</cx:pt>
          <cx:pt idx="78882">3</cx:pt>
          <cx:pt idx="78883">5</cx:pt>
          <cx:pt idx="78884">4</cx:pt>
          <cx:pt idx="78885">2</cx:pt>
          <cx:pt idx="78886">4</cx:pt>
          <cx:pt idx="78887">5</cx:pt>
          <cx:pt idx="78888">4</cx:pt>
          <cx:pt idx="78889">1</cx:pt>
          <cx:pt idx="78890">1</cx:pt>
          <cx:pt idx="78891">5</cx:pt>
          <cx:pt idx="78892">3</cx:pt>
          <cx:pt idx="78893">1</cx:pt>
          <cx:pt idx="78894">4</cx:pt>
          <cx:pt idx="78895">1</cx:pt>
          <cx:pt idx="78896">2</cx:pt>
          <cx:pt idx="78897">5</cx:pt>
          <cx:pt idx="78898">5</cx:pt>
          <cx:pt idx="78899">3</cx:pt>
          <cx:pt idx="78900">3</cx:pt>
          <cx:pt idx="78901">1</cx:pt>
          <cx:pt idx="78902">2</cx:pt>
          <cx:pt idx="78903">5</cx:pt>
          <cx:pt idx="78904">4</cx:pt>
          <cx:pt idx="78905">5</cx:pt>
          <cx:pt idx="78906">5</cx:pt>
          <cx:pt idx="78907">1</cx:pt>
          <cx:pt idx="78908">3</cx:pt>
          <cx:pt idx="78909">4</cx:pt>
          <cx:pt idx="78910">2</cx:pt>
          <cx:pt idx="78911">4</cx:pt>
          <cx:pt idx="78912">3</cx:pt>
          <cx:pt idx="78913">2</cx:pt>
          <cx:pt idx="78914">4</cx:pt>
          <cx:pt idx="78915">2</cx:pt>
          <cx:pt idx="78916">5</cx:pt>
          <cx:pt idx="78917">5</cx:pt>
          <cx:pt idx="78918">1</cx:pt>
          <cx:pt idx="78919">3</cx:pt>
          <cx:pt idx="78920">3</cx:pt>
          <cx:pt idx="78921">5</cx:pt>
          <cx:pt idx="78922">4</cx:pt>
          <cx:pt idx="78923">1</cx:pt>
          <cx:pt idx="78924">4</cx:pt>
          <cx:pt idx="78925">4</cx:pt>
          <cx:pt idx="78926">4</cx:pt>
          <cx:pt idx="78927">3</cx:pt>
          <cx:pt idx="78928">3</cx:pt>
          <cx:pt idx="78929">5</cx:pt>
          <cx:pt idx="78930">5</cx:pt>
          <cx:pt idx="78931">3</cx:pt>
          <cx:pt idx="78932">5</cx:pt>
          <cx:pt idx="78933">1</cx:pt>
          <cx:pt idx="78934">3</cx:pt>
          <cx:pt idx="78935">5</cx:pt>
          <cx:pt idx="78936">1</cx:pt>
          <cx:pt idx="78937">1</cx:pt>
          <cx:pt idx="78938">2</cx:pt>
          <cx:pt idx="78939">5</cx:pt>
          <cx:pt idx="78940">5</cx:pt>
          <cx:pt idx="78941">4</cx:pt>
          <cx:pt idx="78942">4</cx:pt>
          <cx:pt idx="78943">5</cx:pt>
          <cx:pt idx="78944">2</cx:pt>
          <cx:pt idx="78945">4</cx:pt>
          <cx:pt idx="78946">5</cx:pt>
          <cx:pt idx="78947">5</cx:pt>
          <cx:pt idx="78948">4</cx:pt>
          <cx:pt idx="78949">1</cx:pt>
          <cx:pt idx="78950">5</cx:pt>
          <cx:pt idx="78951">3</cx:pt>
          <cx:pt idx="78952">4</cx:pt>
          <cx:pt idx="78953">2</cx:pt>
          <cx:pt idx="78954">4</cx:pt>
          <cx:pt idx="78955">5</cx:pt>
          <cx:pt idx="78956">4</cx:pt>
          <cx:pt idx="78957">5</cx:pt>
          <cx:pt idx="78958">3</cx:pt>
          <cx:pt idx="78959">4</cx:pt>
          <cx:pt idx="78960">2</cx:pt>
          <cx:pt idx="78961">5</cx:pt>
          <cx:pt idx="78962">5</cx:pt>
          <cx:pt idx="78963">4</cx:pt>
          <cx:pt idx="78964">5</cx:pt>
          <cx:pt idx="78965">4</cx:pt>
          <cx:pt idx="78966">4</cx:pt>
          <cx:pt idx="78967">1</cx:pt>
          <cx:pt idx="78968">4</cx:pt>
          <cx:pt idx="78969">5</cx:pt>
          <cx:pt idx="78970">4</cx:pt>
          <cx:pt idx="78971">4</cx:pt>
          <cx:pt idx="78972">3</cx:pt>
          <cx:pt idx="78973">4</cx:pt>
          <cx:pt idx="78974">4</cx:pt>
          <cx:pt idx="78975">4</cx:pt>
          <cx:pt idx="78976">1</cx:pt>
          <cx:pt idx="78977">5</cx:pt>
          <cx:pt idx="78978">2</cx:pt>
          <cx:pt idx="78979">3</cx:pt>
          <cx:pt idx="78980">3</cx:pt>
          <cx:pt idx="78981">5</cx:pt>
          <cx:pt idx="78982">5</cx:pt>
          <cx:pt idx="78983">5</cx:pt>
          <cx:pt idx="78984">4</cx:pt>
          <cx:pt idx="78985">4</cx:pt>
          <cx:pt idx="78986">4</cx:pt>
          <cx:pt idx="78987">3</cx:pt>
          <cx:pt idx="78988">4</cx:pt>
          <cx:pt idx="78989">2</cx:pt>
          <cx:pt idx="78990">5</cx:pt>
          <cx:pt idx="78991">5</cx:pt>
          <cx:pt idx="78992">3</cx:pt>
          <cx:pt idx="78993">1</cx:pt>
          <cx:pt idx="78994">5</cx:pt>
          <cx:pt idx="78995">1</cx:pt>
          <cx:pt idx="78996">1</cx:pt>
          <cx:pt idx="78997">2</cx:pt>
          <cx:pt idx="78998">5</cx:pt>
          <cx:pt idx="78999">2</cx:pt>
          <cx:pt idx="79000">5</cx:pt>
          <cx:pt idx="79001">4</cx:pt>
          <cx:pt idx="79002">3</cx:pt>
          <cx:pt idx="79003">4</cx:pt>
          <cx:pt idx="79004">5</cx:pt>
          <cx:pt idx="79005">2</cx:pt>
          <cx:pt idx="79006">1</cx:pt>
          <cx:pt idx="79007">4</cx:pt>
          <cx:pt idx="79008">4</cx:pt>
          <cx:pt idx="79009">4</cx:pt>
          <cx:pt idx="79010">4</cx:pt>
          <cx:pt idx="79011">4</cx:pt>
          <cx:pt idx="79012">5</cx:pt>
          <cx:pt idx="79013">1</cx:pt>
          <cx:pt idx="79014">2</cx:pt>
          <cx:pt idx="79015">4</cx:pt>
          <cx:pt idx="79016">3</cx:pt>
          <cx:pt idx="79017">4</cx:pt>
          <cx:pt idx="79018">3</cx:pt>
          <cx:pt idx="79019">4</cx:pt>
          <cx:pt idx="79020">4</cx:pt>
          <cx:pt idx="79021">3</cx:pt>
          <cx:pt idx="79022">4</cx:pt>
          <cx:pt idx="79023">3</cx:pt>
          <cx:pt idx="79024">3</cx:pt>
          <cx:pt idx="79025">5</cx:pt>
          <cx:pt idx="79026">4</cx:pt>
          <cx:pt idx="79027">4</cx:pt>
          <cx:pt idx="79028">1</cx:pt>
          <cx:pt idx="79029">5</cx:pt>
          <cx:pt idx="79030">5</cx:pt>
          <cx:pt idx="79031">4</cx:pt>
          <cx:pt idx="79032">4</cx:pt>
          <cx:pt idx="79033">2</cx:pt>
          <cx:pt idx="79034">3</cx:pt>
          <cx:pt idx="79035">4</cx:pt>
          <cx:pt idx="79036">3</cx:pt>
          <cx:pt idx="79037">5</cx:pt>
          <cx:pt idx="79038">5</cx:pt>
          <cx:pt idx="79039">2</cx:pt>
          <cx:pt idx="79040">5</cx:pt>
          <cx:pt idx="79041">2</cx:pt>
          <cx:pt idx="79042">3</cx:pt>
          <cx:pt idx="79043">5</cx:pt>
          <cx:pt idx="79044">4</cx:pt>
          <cx:pt idx="79045">4</cx:pt>
          <cx:pt idx="79046">2</cx:pt>
          <cx:pt idx="79047">4</cx:pt>
          <cx:pt idx="79048">5</cx:pt>
          <cx:pt idx="79049">4</cx:pt>
          <cx:pt idx="79050">5</cx:pt>
          <cx:pt idx="79051">5</cx:pt>
          <cx:pt idx="79052">4</cx:pt>
          <cx:pt idx="79053">3</cx:pt>
          <cx:pt idx="79054">1</cx:pt>
          <cx:pt idx="79055">4</cx:pt>
          <cx:pt idx="79056">1</cx:pt>
          <cx:pt idx="79057">4</cx:pt>
          <cx:pt idx="79058">5</cx:pt>
          <cx:pt idx="79059">5</cx:pt>
          <cx:pt idx="79060">2</cx:pt>
          <cx:pt idx="79061">5</cx:pt>
          <cx:pt idx="79062">5</cx:pt>
          <cx:pt idx="79063">4</cx:pt>
          <cx:pt idx="79064">1</cx:pt>
          <cx:pt idx="79065">4</cx:pt>
          <cx:pt idx="79066">4</cx:pt>
          <cx:pt idx="79067">5</cx:pt>
          <cx:pt idx="79068">2</cx:pt>
          <cx:pt idx="79069">5</cx:pt>
          <cx:pt idx="79070">5</cx:pt>
          <cx:pt idx="79071">5</cx:pt>
          <cx:pt idx="79072">2</cx:pt>
          <cx:pt idx="79073">5</cx:pt>
          <cx:pt idx="79074">4</cx:pt>
          <cx:pt idx="79075">4</cx:pt>
          <cx:pt idx="79076">1</cx:pt>
          <cx:pt idx="79077">5</cx:pt>
          <cx:pt idx="79078">3</cx:pt>
          <cx:pt idx="79079">4</cx:pt>
          <cx:pt idx="79080">3</cx:pt>
          <cx:pt idx="79081">4</cx:pt>
          <cx:pt idx="79082">2</cx:pt>
          <cx:pt idx="79083">4</cx:pt>
          <cx:pt idx="79084">3</cx:pt>
          <cx:pt idx="79085">2</cx:pt>
          <cx:pt idx="79086">5</cx:pt>
          <cx:pt idx="79087">4</cx:pt>
          <cx:pt idx="79088">5</cx:pt>
          <cx:pt idx="79089">2</cx:pt>
          <cx:pt idx="79090">5</cx:pt>
          <cx:pt idx="79091">5</cx:pt>
          <cx:pt idx="79092">3</cx:pt>
          <cx:pt idx="79093">3</cx:pt>
          <cx:pt idx="79094">5</cx:pt>
          <cx:pt idx="79095">4</cx:pt>
          <cx:pt idx="79096">3</cx:pt>
          <cx:pt idx="79097">4</cx:pt>
          <cx:pt idx="79098">3</cx:pt>
          <cx:pt idx="79099">5</cx:pt>
          <cx:pt idx="79100">5</cx:pt>
          <cx:pt idx="79101">4</cx:pt>
          <cx:pt idx="79102">2</cx:pt>
          <cx:pt idx="79103">3</cx:pt>
          <cx:pt idx="79104">4</cx:pt>
          <cx:pt idx="79105">1</cx:pt>
          <cx:pt idx="79106">1</cx:pt>
          <cx:pt idx="79107">5</cx:pt>
          <cx:pt idx="79108">2</cx:pt>
          <cx:pt idx="79109">4</cx:pt>
          <cx:pt idx="79110">3</cx:pt>
          <cx:pt idx="79111">2</cx:pt>
          <cx:pt idx="79112">3</cx:pt>
          <cx:pt idx="79113">2</cx:pt>
          <cx:pt idx="79114">1</cx:pt>
          <cx:pt idx="79115">4</cx:pt>
          <cx:pt idx="79116">4</cx:pt>
          <cx:pt idx="79117">4</cx:pt>
          <cx:pt idx="79118">3</cx:pt>
          <cx:pt idx="79119">5</cx:pt>
          <cx:pt idx="79120">3</cx:pt>
          <cx:pt idx="79121">5</cx:pt>
          <cx:pt idx="79122">2</cx:pt>
          <cx:pt idx="79123">5</cx:pt>
          <cx:pt idx="79124">5</cx:pt>
          <cx:pt idx="79125">1</cx:pt>
          <cx:pt idx="79126">2</cx:pt>
          <cx:pt idx="79127">5</cx:pt>
          <cx:pt idx="79128">1</cx:pt>
          <cx:pt idx="79129">2</cx:pt>
          <cx:pt idx="79130">4</cx:pt>
          <cx:pt idx="79131">4</cx:pt>
          <cx:pt idx="79132">4</cx:pt>
          <cx:pt idx="79133">2</cx:pt>
          <cx:pt idx="79134">4</cx:pt>
          <cx:pt idx="79135">5</cx:pt>
          <cx:pt idx="79136">5</cx:pt>
          <cx:pt idx="79137">5</cx:pt>
          <cx:pt idx="79138">1</cx:pt>
          <cx:pt idx="79139">3</cx:pt>
          <cx:pt idx="79140">2</cx:pt>
          <cx:pt idx="79141">5</cx:pt>
          <cx:pt idx="79142">5</cx:pt>
          <cx:pt idx="79143">1</cx:pt>
          <cx:pt idx="79144">5</cx:pt>
          <cx:pt idx="79145">4</cx:pt>
          <cx:pt idx="79146">4</cx:pt>
          <cx:pt idx="79147">4</cx:pt>
          <cx:pt idx="79148">4</cx:pt>
          <cx:pt idx="79149">2</cx:pt>
          <cx:pt idx="79150">5</cx:pt>
          <cx:pt idx="79151">2</cx:pt>
          <cx:pt idx="79152">2</cx:pt>
          <cx:pt idx="79153">5</cx:pt>
          <cx:pt idx="79154">4</cx:pt>
          <cx:pt idx="79155">5</cx:pt>
          <cx:pt idx="79156">4</cx:pt>
          <cx:pt idx="79157">3</cx:pt>
          <cx:pt idx="79158">3</cx:pt>
          <cx:pt idx="79159">1</cx:pt>
          <cx:pt idx="79160">4</cx:pt>
          <cx:pt idx="79161">3</cx:pt>
          <cx:pt idx="79162">4</cx:pt>
          <cx:pt idx="79163">5</cx:pt>
          <cx:pt idx="79164">3</cx:pt>
          <cx:pt idx="79165">4</cx:pt>
          <cx:pt idx="79166">5</cx:pt>
          <cx:pt idx="79167">3</cx:pt>
          <cx:pt idx="79168">1</cx:pt>
          <cx:pt idx="79169">5</cx:pt>
          <cx:pt idx="79170">1</cx:pt>
          <cx:pt idx="79171">4</cx:pt>
          <cx:pt idx="79172">5</cx:pt>
          <cx:pt idx="79173">4</cx:pt>
          <cx:pt idx="79174">2</cx:pt>
          <cx:pt idx="79175">3</cx:pt>
          <cx:pt idx="79176">3</cx:pt>
          <cx:pt idx="79177">4</cx:pt>
          <cx:pt idx="79178">4</cx:pt>
          <cx:pt idx="79179">4</cx:pt>
          <cx:pt idx="79180">4</cx:pt>
          <cx:pt idx="79181">3</cx:pt>
          <cx:pt idx="79182">4</cx:pt>
          <cx:pt idx="79183">3</cx:pt>
          <cx:pt idx="79184">5</cx:pt>
          <cx:pt idx="79185">3</cx:pt>
          <cx:pt idx="79186">3</cx:pt>
          <cx:pt idx="79187">4</cx:pt>
          <cx:pt idx="79188">1</cx:pt>
          <cx:pt idx="79189">5</cx:pt>
          <cx:pt idx="79190">2</cx:pt>
          <cx:pt idx="79191">2</cx:pt>
          <cx:pt idx="79192">5</cx:pt>
          <cx:pt idx="79193">4</cx:pt>
          <cx:pt idx="79194">2</cx:pt>
          <cx:pt idx="79195">2</cx:pt>
          <cx:pt idx="79196">2</cx:pt>
          <cx:pt idx="79197">2</cx:pt>
          <cx:pt idx="79198">3</cx:pt>
          <cx:pt idx="79199">4</cx:pt>
          <cx:pt idx="79200">1</cx:pt>
          <cx:pt idx="79201">4</cx:pt>
          <cx:pt idx="79202">5</cx:pt>
          <cx:pt idx="79203">5</cx:pt>
          <cx:pt idx="79204">4</cx:pt>
          <cx:pt idx="79205">1</cx:pt>
          <cx:pt idx="79206">4</cx:pt>
          <cx:pt idx="79207">5</cx:pt>
          <cx:pt idx="79208">5</cx:pt>
          <cx:pt idx="79209">5</cx:pt>
          <cx:pt idx="79210">2</cx:pt>
          <cx:pt idx="79211">4</cx:pt>
          <cx:pt idx="79212">5</cx:pt>
          <cx:pt idx="79213">5</cx:pt>
          <cx:pt idx="79214">4</cx:pt>
          <cx:pt idx="79215">1</cx:pt>
          <cx:pt idx="79216">5</cx:pt>
          <cx:pt idx="79217">5</cx:pt>
          <cx:pt idx="79218">3</cx:pt>
          <cx:pt idx="79219">5</cx:pt>
          <cx:pt idx="79220">5</cx:pt>
          <cx:pt idx="79221">2</cx:pt>
          <cx:pt idx="79222">4</cx:pt>
          <cx:pt idx="79223">4</cx:pt>
          <cx:pt idx="79224">4</cx:pt>
          <cx:pt idx="79225">2</cx:pt>
          <cx:pt idx="79226">4</cx:pt>
          <cx:pt idx="79227">4</cx:pt>
          <cx:pt idx="79228">4</cx:pt>
          <cx:pt idx="79229">4</cx:pt>
          <cx:pt idx="79230">5</cx:pt>
          <cx:pt idx="79231">5</cx:pt>
          <cx:pt idx="79232">4</cx:pt>
          <cx:pt idx="79233">4</cx:pt>
          <cx:pt idx="79234">4</cx:pt>
          <cx:pt idx="79235">2</cx:pt>
          <cx:pt idx="79236">2</cx:pt>
          <cx:pt idx="79237">4</cx:pt>
          <cx:pt idx="79238">1</cx:pt>
          <cx:pt idx="79239">4</cx:pt>
          <cx:pt idx="79240">4</cx:pt>
          <cx:pt idx="79241">5</cx:pt>
          <cx:pt idx="79242">4</cx:pt>
          <cx:pt idx="79243">4</cx:pt>
          <cx:pt idx="79244">2</cx:pt>
          <cx:pt idx="79245">4</cx:pt>
          <cx:pt idx="79246">5</cx:pt>
          <cx:pt idx="79247">5</cx:pt>
          <cx:pt idx="79248">4</cx:pt>
          <cx:pt idx="79249">4</cx:pt>
          <cx:pt idx="79250">4</cx:pt>
          <cx:pt idx="79251">4</cx:pt>
          <cx:pt idx="79252">3</cx:pt>
          <cx:pt idx="79253">3</cx:pt>
          <cx:pt idx="79254">2</cx:pt>
          <cx:pt idx="79255">1</cx:pt>
          <cx:pt idx="79256">4</cx:pt>
          <cx:pt idx="79257">4</cx:pt>
          <cx:pt idx="79258">2</cx:pt>
          <cx:pt idx="79259">2</cx:pt>
          <cx:pt idx="79260">2</cx:pt>
          <cx:pt idx="79261">4</cx:pt>
          <cx:pt idx="79262">5</cx:pt>
          <cx:pt idx="79263">5</cx:pt>
          <cx:pt idx="79264">5</cx:pt>
          <cx:pt idx="79265">4</cx:pt>
          <cx:pt idx="79266">5</cx:pt>
          <cx:pt idx="79267">5</cx:pt>
          <cx:pt idx="79268">4</cx:pt>
          <cx:pt idx="79269">5</cx:pt>
          <cx:pt idx="79270">2</cx:pt>
          <cx:pt idx="79271">4</cx:pt>
          <cx:pt idx="79272">3</cx:pt>
          <cx:pt idx="79273">2</cx:pt>
          <cx:pt idx="79274">4</cx:pt>
          <cx:pt idx="79275">1</cx:pt>
          <cx:pt idx="79276">5</cx:pt>
          <cx:pt idx="79277">3</cx:pt>
          <cx:pt idx="79278">3</cx:pt>
          <cx:pt idx="79279">3</cx:pt>
          <cx:pt idx="79280">4</cx:pt>
          <cx:pt idx="79281">2</cx:pt>
          <cx:pt idx="79282">1</cx:pt>
          <cx:pt idx="79283">3</cx:pt>
          <cx:pt idx="79284">3</cx:pt>
          <cx:pt idx="79285">1</cx:pt>
          <cx:pt idx="79286">5</cx:pt>
          <cx:pt idx="79287">2</cx:pt>
          <cx:pt idx="79288">4</cx:pt>
          <cx:pt idx="79289">3</cx:pt>
          <cx:pt idx="79290">5</cx:pt>
          <cx:pt idx="79291">2</cx:pt>
          <cx:pt idx="79292">5</cx:pt>
          <cx:pt idx="79293">5</cx:pt>
          <cx:pt idx="79294">5</cx:pt>
          <cx:pt idx="79295">3</cx:pt>
          <cx:pt idx="79296">3</cx:pt>
          <cx:pt idx="79297">4</cx:pt>
          <cx:pt idx="79298">1</cx:pt>
          <cx:pt idx="79299">3</cx:pt>
          <cx:pt idx="79300">5</cx:pt>
          <cx:pt idx="79301">1</cx:pt>
          <cx:pt idx="79302">2</cx:pt>
          <cx:pt idx="79303">1</cx:pt>
          <cx:pt idx="79304">3</cx:pt>
          <cx:pt idx="79305">3</cx:pt>
          <cx:pt idx="79306">3</cx:pt>
          <cx:pt idx="79307">4</cx:pt>
          <cx:pt idx="79308">2</cx:pt>
          <cx:pt idx="79309">4</cx:pt>
          <cx:pt idx="79310">4</cx:pt>
          <cx:pt idx="79311">3</cx:pt>
          <cx:pt idx="79312">1</cx:pt>
          <cx:pt idx="79313">2</cx:pt>
          <cx:pt idx="79314">1</cx:pt>
          <cx:pt idx="79315">3</cx:pt>
          <cx:pt idx="79316">4</cx:pt>
          <cx:pt idx="79317">2</cx:pt>
          <cx:pt idx="79318">5</cx:pt>
          <cx:pt idx="79319">4</cx:pt>
          <cx:pt idx="79320">3</cx:pt>
          <cx:pt idx="79321">3</cx:pt>
          <cx:pt idx="79322">3</cx:pt>
          <cx:pt idx="79323">3</cx:pt>
          <cx:pt idx="79324">4</cx:pt>
          <cx:pt idx="79325">4</cx:pt>
          <cx:pt idx="79326">5</cx:pt>
          <cx:pt idx="79327">3</cx:pt>
          <cx:pt idx="79328">5</cx:pt>
          <cx:pt idx="79329">1</cx:pt>
          <cx:pt idx="79330">2</cx:pt>
          <cx:pt idx="79331">3</cx:pt>
          <cx:pt idx="79332">1</cx:pt>
          <cx:pt idx="79333">5</cx:pt>
          <cx:pt idx="79334">5</cx:pt>
          <cx:pt idx="79335">4</cx:pt>
          <cx:pt idx="79336">4</cx:pt>
          <cx:pt idx="79337">3</cx:pt>
          <cx:pt idx="79338">5</cx:pt>
          <cx:pt idx="79339">3</cx:pt>
          <cx:pt idx="79340">1</cx:pt>
          <cx:pt idx="79341">2</cx:pt>
          <cx:pt idx="79342">2</cx:pt>
          <cx:pt idx="79343">5</cx:pt>
          <cx:pt idx="79344">2</cx:pt>
          <cx:pt idx="79345">4</cx:pt>
          <cx:pt idx="79346">2</cx:pt>
          <cx:pt idx="79347">3</cx:pt>
          <cx:pt idx="79348">1</cx:pt>
          <cx:pt idx="79349">3</cx:pt>
          <cx:pt idx="79350">1</cx:pt>
          <cx:pt idx="79351">2</cx:pt>
          <cx:pt idx="79352">3</cx:pt>
          <cx:pt idx="79353">1</cx:pt>
          <cx:pt idx="79354">4</cx:pt>
          <cx:pt idx="79355">4</cx:pt>
          <cx:pt idx="79356">5</cx:pt>
          <cx:pt idx="79357">3</cx:pt>
          <cx:pt idx="79358">4</cx:pt>
          <cx:pt idx="79359">1</cx:pt>
          <cx:pt idx="79360">5</cx:pt>
          <cx:pt idx="79361">4</cx:pt>
          <cx:pt idx="79362">2</cx:pt>
          <cx:pt idx="79363">3</cx:pt>
          <cx:pt idx="79364">2</cx:pt>
          <cx:pt idx="79365">4</cx:pt>
          <cx:pt idx="79366">4</cx:pt>
          <cx:pt idx="79367">2</cx:pt>
          <cx:pt idx="79368">5</cx:pt>
          <cx:pt idx="79369">4</cx:pt>
          <cx:pt idx="79370">2</cx:pt>
          <cx:pt idx="79371">2</cx:pt>
          <cx:pt idx="79372">4</cx:pt>
          <cx:pt idx="79373">4</cx:pt>
          <cx:pt idx="79374">5</cx:pt>
          <cx:pt idx="79375">4</cx:pt>
          <cx:pt idx="79376">5</cx:pt>
          <cx:pt idx="79377">5</cx:pt>
          <cx:pt idx="79378">4</cx:pt>
          <cx:pt idx="79379">2</cx:pt>
          <cx:pt idx="79380">5</cx:pt>
          <cx:pt idx="79381">4</cx:pt>
          <cx:pt idx="79382">5</cx:pt>
          <cx:pt idx="79383">4</cx:pt>
          <cx:pt idx="79384">2</cx:pt>
          <cx:pt idx="79385">4</cx:pt>
          <cx:pt idx="79386">5</cx:pt>
          <cx:pt idx="79387">3</cx:pt>
          <cx:pt idx="79388">4</cx:pt>
          <cx:pt idx="79389">3</cx:pt>
          <cx:pt idx="79390">3</cx:pt>
          <cx:pt idx="79391">3</cx:pt>
          <cx:pt idx="79392">4</cx:pt>
          <cx:pt idx="79393">3</cx:pt>
          <cx:pt idx="79394">1</cx:pt>
          <cx:pt idx="79395">5</cx:pt>
          <cx:pt idx="79396">3</cx:pt>
          <cx:pt idx="79397">1</cx:pt>
          <cx:pt idx="79398">5</cx:pt>
          <cx:pt idx="79399">2</cx:pt>
          <cx:pt idx="79400">4</cx:pt>
          <cx:pt idx="79401">4</cx:pt>
          <cx:pt idx="79402">2</cx:pt>
          <cx:pt idx="79403">5</cx:pt>
          <cx:pt idx="79404">4</cx:pt>
          <cx:pt idx="79405">2</cx:pt>
          <cx:pt idx="79406">5</cx:pt>
          <cx:pt idx="79407">2</cx:pt>
          <cx:pt idx="79408">4</cx:pt>
          <cx:pt idx="79409">5</cx:pt>
          <cx:pt idx="79410">1</cx:pt>
          <cx:pt idx="79411">4</cx:pt>
          <cx:pt idx="79412">1</cx:pt>
          <cx:pt idx="79413">4</cx:pt>
          <cx:pt idx="79414">4</cx:pt>
          <cx:pt idx="79415">1</cx:pt>
          <cx:pt idx="79416">3</cx:pt>
          <cx:pt idx="79417">5</cx:pt>
          <cx:pt idx="79418">2</cx:pt>
          <cx:pt idx="79419">3</cx:pt>
          <cx:pt idx="79420">4</cx:pt>
          <cx:pt idx="79421">4</cx:pt>
          <cx:pt idx="79422">3</cx:pt>
          <cx:pt idx="79423">5</cx:pt>
          <cx:pt idx="79424">2</cx:pt>
          <cx:pt idx="79425">3</cx:pt>
          <cx:pt idx="79426">4</cx:pt>
          <cx:pt idx="79427">5</cx:pt>
          <cx:pt idx="79428">3</cx:pt>
          <cx:pt idx="79429">2</cx:pt>
          <cx:pt idx="79430">3</cx:pt>
          <cx:pt idx="79431">2</cx:pt>
          <cx:pt idx="79432">4</cx:pt>
          <cx:pt idx="79433">1</cx:pt>
          <cx:pt idx="79434">3</cx:pt>
          <cx:pt idx="79435">4</cx:pt>
          <cx:pt idx="79436">4</cx:pt>
          <cx:pt idx="79437">4</cx:pt>
          <cx:pt idx="79438">5</cx:pt>
          <cx:pt idx="79439">4</cx:pt>
          <cx:pt idx="79440">3</cx:pt>
          <cx:pt idx="79441">4</cx:pt>
          <cx:pt idx="79442">5</cx:pt>
          <cx:pt idx="79443">5</cx:pt>
          <cx:pt idx="79444">2</cx:pt>
          <cx:pt idx="79445">4</cx:pt>
          <cx:pt idx="79446">3</cx:pt>
          <cx:pt idx="79447">3</cx:pt>
          <cx:pt idx="79448">3</cx:pt>
          <cx:pt idx="79449">3</cx:pt>
          <cx:pt idx="79450">4</cx:pt>
          <cx:pt idx="79451">1</cx:pt>
          <cx:pt idx="79452">4</cx:pt>
          <cx:pt idx="79453">5</cx:pt>
          <cx:pt idx="79454">4</cx:pt>
          <cx:pt idx="79455">5</cx:pt>
          <cx:pt idx="79456">5</cx:pt>
          <cx:pt idx="79457">3</cx:pt>
          <cx:pt idx="79458">2</cx:pt>
          <cx:pt idx="79459">4</cx:pt>
          <cx:pt idx="79460">4</cx:pt>
          <cx:pt idx="79461">4</cx:pt>
          <cx:pt idx="79462">4</cx:pt>
          <cx:pt idx="79463">3</cx:pt>
          <cx:pt idx="79464">4</cx:pt>
          <cx:pt idx="79465">4</cx:pt>
          <cx:pt idx="79466">4</cx:pt>
          <cx:pt idx="79467">5</cx:pt>
          <cx:pt idx="79468">5</cx:pt>
          <cx:pt idx="79469">4</cx:pt>
          <cx:pt idx="79470">4</cx:pt>
          <cx:pt idx="79471">3</cx:pt>
          <cx:pt idx="79472">5</cx:pt>
          <cx:pt idx="79473">4</cx:pt>
          <cx:pt idx="79474">5</cx:pt>
          <cx:pt idx="79475">4</cx:pt>
          <cx:pt idx="79476">4</cx:pt>
          <cx:pt idx="79477">5</cx:pt>
          <cx:pt idx="79478">5</cx:pt>
          <cx:pt idx="79479">4</cx:pt>
          <cx:pt idx="79480">5</cx:pt>
          <cx:pt idx="79481">5</cx:pt>
          <cx:pt idx="79482">5</cx:pt>
          <cx:pt idx="79483">2</cx:pt>
          <cx:pt idx="79484">3</cx:pt>
          <cx:pt idx="79485">5</cx:pt>
          <cx:pt idx="79486">4</cx:pt>
          <cx:pt idx="79487">2</cx:pt>
          <cx:pt idx="79488">4</cx:pt>
          <cx:pt idx="79489">2</cx:pt>
          <cx:pt idx="79490">3</cx:pt>
          <cx:pt idx="79491">4</cx:pt>
          <cx:pt idx="79492">5</cx:pt>
          <cx:pt idx="79493">4</cx:pt>
          <cx:pt idx="79494">2</cx:pt>
          <cx:pt idx="79495">4</cx:pt>
          <cx:pt idx="79496">3</cx:pt>
          <cx:pt idx="79497">2</cx:pt>
          <cx:pt idx="79498">1</cx:pt>
          <cx:pt idx="79499">4</cx:pt>
          <cx:pt idx="79500">3</cx:pt>
          <cx:pt idx="79501">2</cx:pt>
          <cx:pt idx="79502">2</cx:pt>
          <cx:pt idx="79503">5</cx:pt>
          <cx:pt idx="79504">2</cx:pt>
          <cx:pt idx="79505">3</cx:pt>
          <cx:pt idx="79506">4</cx:pt>
          <cx:pt idx="79507">2</cx:pt>
          <cx:pt idx="79508">4</cx:pt>
          <cx:pt idx="79509">1</cx:pt>
          <cx:pt idx="79510">1</cx:pt>
          <cx:pt idx="79511">4</cx:pt>
          <cx:pt idx="79512">1</cx:pt>
          <cx:pt idx="79513">2</cx:pt>
          <cx:pt idx="79514">1</cx:pt>
          <cx:pt idx="79515">4</cx:pt>
          <cx:pt idx="79516">2</cx:pt>
          <cx:pt idx="79517">4</cx:pt>
          <cx:pt idx="79518">4</cx:pt>
          <cx:pt idx="79519">5</cx:pt>
          <cx:pt idx="79520">5</cx:pt>
          <cx:pt idx="79521">4</cx:pt>
          <cx:pt idx="79522">2</cx:pt>
          <cx:pt idx="79523">4</cx:pt>
          <cx:pt idx="79524">5</cx:pt>
          <cx:pt idx="79525">1</cx:pt>
          <cx:pt idx="79526">4</cx:pt>
          <cx:pt idx="79527">4</cx:pt>
          <cx:pt idx="79528">4</cx:pt>
          <cx:pt idx="79529">4</cx:pt>
          <cx:pt idx="79530">5</cx:pt>
          <cx:pt idx="79531">5</cx:pt>
          <cx:pt idx="79532">3</cx:pt>
          <cx:pt idx="79533">5</cx:pt>
          <cx:pt idx="79534">3</cx:pt>
          <cx:pt idx="79535">3</cx:pt>
          <cx:pt idx="79536">2</cx:pt>
          <cx:pt idx="79537">4</cx:pt>
          <cx:pt idx="79538">1</cx:pt>
          <cx:pt idx="79539">4</cx:pt>
          <cx:pt idx="79540">4</cx:pt>
          <cx:pt idx="79541">5</cx:pt>
          <cx:pt idx="79542">1</cx:pt>
          <cx:pt idx="79543">4</cx:pt>
          <cx:pt idx="79544">4</cx:pt>
          <cx:pt idx="79545">3</cx:pt>
          <cx:pt idx="79546">5</cx:pt>
          <cx:pt idx="79547">3</cx:pt>
          <cx:pt idx="79548">4</cx:pt>
          <cx:pt idx="79549">2</cx:pt>
          <cx:pt idx="79550">1</cx:pt>
          <cx:pt idx="79551">1</cx:pt>
          <cx:pt idx="79552">4</cx:pt>
          <cx:pt idx="79553">5</cx:pt>
          <cx:pt idx="79554">1</cx:pt>
          <cx:pt idx="79555">5</cx:pt>
          <cx:pt idx="79556">4</cx:pt>
          <cx:pt idx="79557">2</cx:pt>
          <cx:pt idx="79558">2</cx:pt>
          <cx:pt idx="79559">5</cx:pt>
          <cx:pt idx="79560">5</cx:pt>
          <cx:pt idx="79561">4</cx:pt>
          <cx:pt idx="79562">3</cx:pt>
          <cx:pt idx="79563">5</cx:pt>
          <cx:pt idx="79564">2</cx:pt>
          <cx:pt idx="79565">4</cx:pt>
          <cx:pt idx="79566">3</cx:pt>
          <cx:pt idx="79567">2</cx:pt>
          <cx:pt idx="79568">1</cx:pt>
          <cx:pt idx="79569">2</cx:pt>
          <cx:pt idx="79570">3</cx:pt>
          <cx:pt idx="79571">5</cx:pt>
          <cx:pt idx="79572">3</cx:pt>
          <cx:pt idx="79573">1</cx:pt>
          <cx:pt idx="79574">4</cx:pt>
          <cx:pt idx="79575">2</cx:pt>
          <cx:pt idx="79576">1</cx:pt>
          <cx:pt idx="79577">2</cx:pt>
          <cx:pt idx="79578">5</cx:pt>
          <cx:pt idx="79579">3</cx:pt>
          <cx:pt idx="79580">5</cx:pt>
          <cx:pt idx="79581">4</cx:pt>
          <cx:pt idx="79582">3</cx:pt>
          <cx:pt idx="79583">3</cx:pt>
          <cx:pt idx="79584">2</cx:pt>
          <cx:pt idx="79585">5</cx:pt>
          <cx:pt idx="79586">5</cx:pt>
          <cx:pt idx="79587">5</cx:pt>
          <cx:pt idx="79588">4</cx:pt>
          <cx:pt idx="79589">4</cx:pt>
          <cx:pt idx="79590">3</cx:pt>
          <cx:pt idx="79591">2</cx:pt>
          <cx:pt idx="79592">3</cx:pt>
          <cx:pt idx="79593">4</cx:pt>
          <cx:pt idx="79594">3</cx:pt>
          <cx:pt idx="79595">1</cx:pt>
          <cx:pt idx="79596">3</cx:pt>
          <cx:pt idx="79597">3</cx:pt>
          <cx:pt idx="79598">3</cx:pt>
          <cx:pt idx="79599">5</cx:pt>
          <cx:pt idx="79600">5</cx:pt>
          <cx:pt idx="79601">4</cx:pt>
          <cx:pt idx="79602">5</cx:pt>
          <cx:pt idx="79603">3</cx:pt>
          <cx:pt idx="79604">4</cx:pt>
          <cx:pt idx="79605">5</cx:pt>
          <cx:pt idx="79606">2</cx:pt>
          <cx:pt idx="79607">4</cx:pt>
          <cx:pt idx="79608">2</cx:pt>
          <cx:pt idx="79609">4</cx:pt>
          <cx:pt idx="79610">4</cx:pt>
          <cx:pt idx="79611">5</cx:pt>
          <cx:pt idx="79612">5</cx:pt>
          <cx:pt idx="79613">1</cx:pt>
          <cx:pt idx="79614">3</cx:pt>
          <cx:pt idx="79615">1</cx:pt>
          <cx:pt idx="79616">4</cx:pt>
          <cx:pt idx="79617">3</cx:pt>
          <cx:pt idx="79618">2</cx:pt>
          <cx:pt idx="79619">2</cx:pt>
          <cx:pt idx="79620">5</cx:pt>
          <cx:pt idx="79621">3</cx:pt>
          <cx:pt idx="79622">4</cx:pt>
          <cx:pt idx="79623">4</cx:pt>
          <cx:pt idx="79624">2</cx:pt>
          <cx:pt idx="79625">2</cx:pt>
          <cx:pt idx="79626">3</cx:pt>
          <cx:pt idx="79627">3</cx:pt>
          <cx:pt idx="79628">1</cx:pt>
          <cx:pt idx="79629">5</cx:pt>
          <cx:pt idx="79630">5</cx:pt>
          <cx:pt idx="79631">2</cx:pt>
          <cx:pt idx="79632">2</cx:pt>
          <cx:pt idx="79633">4</cx:pt>
          <cx:pt idx="79634">2</cx:pt>
          <cx:pt idx="79635">2</cx:pt>
          <cx:pt idx="79636">5</cx:pt>
          <cx:pt idx="79637">4</cx:pt>
          <cx:pt idx="79638">4</cx:pt>
          <cx:pt idx="79639">2</cx:pt>
          <cx:pt idx="79640">3</cx:pt>
          <cx:pt idx="79641">2</cx:pt>
          <cx:pt idx="79642">3</cx:pt>
          <cx:pt idx="79643">4</cx:pt>
          <cx:pt idx="79644">5</cx:pt>
          <cx:pt idx="79645">3</cx:pt>
          <cx:pt idx="79646">1</cx:pt>
          <cx:pt idx="79647">1</cx:pt>
          <cx:pt idx="79648">4</cx:pt>
          <cx:pt idx="79649">3</cx:pt>
          <cx:pt idx="79650">4</cx:pt>
          <cx:pt idx="79651">3</cx:pt>
          <cx:pt idx="79652">1</cx:pt>
          <cx:pt idx="79653">5</cx:pt>
          <cx:pt idx="79654">2</cx:pt>
          <cx:pt idx="79655">2</cx:pt>
          <cx:pt idx="79656">4</cx:pt>
          <cx:pt idx="79657">2</cx:pt>
          <cx:pt idx="79658">1</cx:pt>
          <cx:pt idx="79659">2</cx:pt>
          <cx:pt idx="79660">1</cx:pt>
          <cx:pt idx="79661">4</cx:pt>
          <cx:pt idx="79662">1</cx:pt>
          <cx:pt idx="79663">5</cx:pt>
          <cx:pt idx="79664">5</cx:pt>
          <cx:pt idx="79665">3</cx:pt>
          <cx:pt idx="79666">2</cx:pt>
          <cx:pt idx="79667">1</cx:pt>
          <cx:pt idx="79668">5</cx:pt>
          <cx:pt idx="79669">2</cx:pt>
          <cx:pt idx="79670">4</cx:pt>
          <cx:pt idx="79671">4</cx:pt>
          <cx:pt idx="79672">4</cx:pt>
          <cx:pt idx="79673">2</cx:pt>
          <cx:pt idx="79674">2</cx:pt>
          <cx:pt idx="79675">4</cx:pt>
          <cx:pt idx="79676">4</cx:pt>
          <cx:pt idx="79677">1</cx:pt>
          <cx:pt idx="79678">1</cx:pt>
          <cx:pt idx="79679">3</cx:pt>
          <cx:pt idx="79680">1</cx:pt>
          <cx:pt idx="79681">1</cx:pt>
          <cx:pt idx="79682">4</cx:pt>
          <cx:pt idx="79683">1</cx:pt>
          <cx:pt idx="79684">4</cx:pt>
          <cx:pt idx="79685">2</cx:pt>
          <cx:pt idx="79686">5</cx:pt>
          <cx:pt idx="79687">3</cx:pt>
          <cx:pt idx="79688">3</cx:pt>
          <cx:pt idx="79689">4</cx:pt>
          <cx:pt idx="79690">5</cx:pt>
          <cx:pt idx="79691">4</cx:pt>
          <cx:pt idx="79692">2</cx:pt>
          <cx:pt idx="79693">5</cx:pt>
          <cx:pt idx="79694">1</cx:pt>
          <cx:pt idx="79695">1</cx:pt>
          <cx:pt idx="79696">5</cx:pt>
          <cx:pt idx="79697">2</cx:pt>
          <cx:pt idx="79698">3</cx:pt>
          <cx:pt idx="79699">1</cx:pt>
          <cx:pt idx="79700">5</cx:pt>
          <cx:pt idx="79701">4</cx:pt>
          <cx:pt idx="79702">4</cx:pt>
          <cx:pt idx="79703">4</cx:pt>
          <cx:pt idx="79704">5</cx:pt>
          <cx:pt idx="79705">5</cx:pt>
          <cx:pt idx="79706">4</cx:pt>
          <cx:pt idx="79707">5</cx:pt>
          <cx:pt idx="79708">3</cx:pt>
          <cx:pt idx="79709">4</cx:pt>
          <cx:pt idx="79710">4</cx:pt>
          <cx:pt idx="79711">5</cx:pt>
          <cx:pt idx="79712">3</cx:pt>
          <cx:pt idx="79713">4</cx:pt>
          <cx:pt idx="79714">1</cx:pt>
          <cx:pt idx="79715">1</cx:pt>
          <cx:pt idx="79716">1</cx:pt>
          <cx:pt idx="79717">5</cx:pt>
          <cx:pt idx="79718">5</cx:pt>
          <cx:pt idx="79719">2</cx:pt>
          <cx:pt idx="79720">5</cx:pt>
          <cx:pt idx="79721">5</cx:pt>
          <cx:pt idx="79722">5</cx:pt>
          <cx:pt idx="79723">2</cx:pt>
          <cx:pt idx="79724">4</cx:pt>
          <cx:pt idx="79725">4</cx:pt>
          <cx:pt idx="79726">5</cx:pt>
          <cx:pt idx="79727">4</cx:pt>
          <cx:pt idx="79728">4</cx:pt>
          <cx:pt idx="79729">5</cx:pt>
          <cx:pt idx="79730">4</cx:pt>
          <cx:pt idx="79731">4</cx:pt>
          <cx:pt idx="79732">4</cx:pt>
          <cx:pt idx="79733">3</cx:pt>
          <cx:pt idx="79734">3</cx:pt>
          <cx:pt idx="79735">4</cx:pt>
          <cx:pt idx="79736">1</cx:pt>
          <cx:pt idx="79737">3</cx:pt>
          <cx:pt idx="79738">5</cx:pt>
          <cx:pt idx="79739">4</cx:pt>
          <cx:pt idx="79740">1</cx:pt>
          <cx:pt idx="79741">4</cx:pt>
          <cx:pt idx="79742">4</cx:pt>
          <cx:pt idx="79743">3</cx:pt>
          <cx:pt idx="79744">1</cx:pt>
          <cx:pt idx="79745">5</cx:pt>
          <cx:pt idx="79746">4</cx:pt>
          <cx:pt idx="79747">5</cx:pt>
          <cx:pt idx="79748">3</cx:pt>
          <cx:pt idx="79749">3</cx:pt>
          <cx:pt idx="79750">4</cx:pt>
          <cx:pt idx="79751">5</cx:pt>
          <cx:pt idx="79752">4</cx:pt>
          <cx:pt idx="79753">4</cx:pt>
          <cx:pt idx="79754">4</cx:pt>
          <cx:pt idx="79755">4</cx:pt>
          <cx:pt idx="79756">1</cx:pt>
          <cx:pt idx="79757">2</cx:pt>
          <cx:pt idx="79758">3</cx:pt>
          <cx:pt idx="79759">4</cx:pt>
          <cx:pt idx="79760">3</cx:pt>
          <cx:pt idx="79761">4</cx:pt>
          <cx:pt idx="79762">5</cx:pt>
          <cx:pt idx="79763">1</cx:pt>
          <cx:pt idx="79764">5</cx:pt>
          <cx:pt idx="79765">5</cx:pt>
          <cx:pt idx="79766">4</cx:pt>
          <cx:pt idx="79767">1</cx:pt>
          <cx:pt idx="79768">3</cx:pt>
          <cx:pt idx="79769">4</cx:pt>
          <cx:pt idx="79770">5</cx:pt>
          <cx:pt idx="79771">2</cx:pt>
          <cx:pt idx="79772">1</cx:pt>
          <cx:pt idx="79773">4</cx:pt>
          <cx:pt idx="79774">2</cx:pt>
          <cx:pt idx="79775">4</cx:pt>
          <cx:pt idx="79776">5</cx:pt>
          <cx:pt idx="79777">5</cx:pt>
          <cx:pt idx="79778">2</cx:pt>
          <cx:pt idx="79779">3</cx:pt>
          <cx:pt idx="79780">1</cx:pt>
          <cx:pt idx="79781">4</cx:pt>
          <cx:pt idx="79782">3</cx:pt>
          <cx:pt idx="79783">5</cx:pt>
          <cx:pt idx="79784">5</cx:pt>
          <cx:pt idx="79785">1</cx:pt>
          <cx:pt idx="79786">1</cx:pt>
          <cx:pt idx="79787">4</cx:pt>
          <cx:pt idx="79788">1</cx:pt>
          <cx:pt idx="79789">3</cx:pt>
          <cx:pt idx="79790">5</cx:pt>
          <cx:pt idx="79791">3</cx:pt>
          <cx:pt idx="79792">3</cx:pt>
          <cx:pt idx="79793">5</cx:pt>
          <cx:pt idx="79794">4</cx:pt>
          <cx:pt idx="79795">2</cx:pt>
          <cx:pt idx="79796">5</cx:pt>
          <cx:pt idx="79797">2</cx:pt>
          <cx:pt idx="79798">3</cx:pt>
          <cx:pt idx="79799">2</cx:pt>
          <cx:pt idx="79800">4</cx:pt>
          <cx:pt idx="79801">1</cx:pt>
          <cx:pt idx="79802">4</cx:pt>
          <cx:pt idx="79803">5</cx:pt>
          <cx:pt idx="79804">5</cx:pt>
          <cx:pt idx="79805">1</cx:pt>
          <cx:pt idx="79806">2</cx:pt>
          <cx:pt idx="79807">2</cx:pt>
          <cx:pt idx="79808">5</cx:pt>
          <cx:pt idx="79809">5</cx:pt>
          <cx:pt idx="79810">2</cx:pt>
          <cx:pt idx="79811">2</cx:pt>
          <cx:pt idx="79812">1</cx:pt>
          <cx:pt idx="79813">3</cx:pt>
          <cx:pt idx="79814">5</cx:pt>
          <cx:pt idx="79815">1</cx:pt>
          <cx:pt idx="79816">2</cx:pt>
          <cx:pt idx="79817">2</cx:pt>
          <cx:pt idx="79818">5</cx:pt>
          <cx:pt idx="79819">3</cx:pt>
          <cx:pt idx="79820">4</cx:pt>
          <cx:pt idx="79821">4</cx:pt>
          <cx:pt idx="79822">3</cx:pt>
          <cx:pt idx="79823">1</cx:pt>
          <cx:pt idx="79824">3</cx:pt>
          <cx:pt idx="79825">4</cx:pt>
          <cx:pt idx="79826">4</cx:pt>
          <cx:pt idx="79827">1</cx:pt>
          <cx:pt idx="79828">5</cx:pt>
          <cx:pt idx="79829">3</cx:pt>
          <cx:pt idx="79830">3</cx:pt>
          <cx:pt idx="79831">1</cx:pt>
          <cx:pt idx="79832">4</cx:pt>
          <cx:pt idx="79833">4</cx:pt>
          <cx:pt idx="79834">1</cx:pt>
          <cx:pt idx="79835">5</cx:pt>
          <cx:pt idx="79836">5</cx:pt>
          <cx:pt idx="79837">4</cx:pt>
          <cx:pt idx="79838">3</cx:pt>
          <cx:pt idx="79839">3</cx:pt>
          <cx:pt idx="79840">2</cx:pt>
          <cx:pt idx="79841">4</cx:pt>
          <cx:pt idx="79842">5</cx:pt>
          <cx:pt idx="79843">5</cx:pt>
          <cx:pt idx="79844">5</cx:pt>
          <cx:pt idx="79845">3</cx:pt>
          <cx:pt idx="79846">5</cx:pt>
          <cx:pt idx="79847">2</cx:pt>
          <cx:pt idx="79848">4</cx:pt>
          <cx:pt idx="79849">5</cx:pt>
          <cx:pt idx="79850">2</cx:pt>
          <cx:pt idx="79851">1</cx:pt>
          <cx:pt idx="79852">5</cx:pt>
          <cx:pt idx="79853">5</cx:pt>
          <cx:pt idx="79854">5</cx:pt>
          <cx:pt idx="79855">5</cx:pt>
          <cx:pt idx="79856">5</cx:pt>
          <cx:pt idx="79857">5</cx:pt>
          <cx:pt idx="79858">4</cx:pt>
          <cx:pt idx="79859">3</cx:pt>
          <cx:pt idx="79860">5</cx:pt>
          <cx:pt idx="79861">2</cx:pt>
          <cx:pt idx="79862">4</cx:pt>
          <cx:pt idx="79863">4</cx:pt>
          <cx:pt idx="79864">2</cx:pt>
          <cx:pt idx="79865">3</cx:pt>
          <cx:pt idx="79866">3</cx:pt>
          <cx:pt idx="79867">2</cx:pt>
          <cx:pt idx="79868">3</cx:pt>
          <cx:pt idx="79869">1</cx:pt>
          <cx:pt idx="79870">2</cx:pt>
          <cx:pt idx="79871">4</cx:pt>
          <cx:pt idx="79872">5</cx:pt>
          <cx:pt idx="79873">5</cx:pt>
          <cx:pt idx="79874">4</cx:pt>
          <cx:pt idx="79875">3</cx:pt>
          <cx:pt idx="79876">4</cx:pt>
          <cx:pt idx="79877">4</cx:pt>
          <cx:pt idx="79878">4</cx:pt>
          <cx:pt idx="79879">2</cx:pt>
          <cx:pt idx="79880">5</cx:pt>
          <cx:pt idx="79881">4</cx:pt>
          <cx:pt idx="79882">3</cx:pt>
          <cx:pt idx="79883">1</cx:pt>
          <cx:pt idx="79884">3</cx:pt>
          <cx:pt idx="79885">5</cx:pt>
          <cx:pt idx="79886">2</cx:pt>
          <cx:pt idx="79887">3</cx:pt>
          <cx:pt idx="79888">5</cx:pt>
          <cx:pt idx="79889">1</cx:pt>
          <cx:pt idx="79890">3</cx:pt>
          <cx:pt idx="79891">3</cx:pt>
          <cx:pt idx="79892">4</cx:pt>
          <cx:pt idx="79893">3</cx:pt>
          <cx:pt idx="79894">4</cx:pt>
          <cx:pt idx="79895">2</cx:pt>
          <cx:pt idx="79896">4</cx:pt>
          <cx:pt idx="79897">4</cx:pt>
          <cx:pt idx="79898">1</cx:pt>
          <cx:pt idx="79899">5</cx:pt>
          <cx:pt idx="79900">2</cx:pt>
          <cx:pt idx="79901">1</cx:pt>
          <cx:pt idx="79902">1</cx:pt>
          <cx:pt idx="79903">4</cx:pt>
          <cx:pt idx="79904">4</cx:pt>
          <cx:pt idx="79905">4</cx:pt>
          <cx:pt idx="79906">1</cx:pt>
          <cx:pt idx="79907">5</cx:pt>
          <cx:pt idx="79908">5</cx:pt>
          <cx:pt idx="79909">4</cx:pt>
          <cx:pt idx="79910">2</cx:pt>
          <cx:pt idx="79911">4</cx:pt>
          <cx:pt idx="79912">1</cx:pt>
          <cx:pt idx="79913">1</cx:pt>
          <cx:pt idx="79914">5</cx:pt>
          <cx:pt idx="79915">3</cx:pt>
          <cx:pt idx="79916">5</cx:pt>
          <cx:pt idx="79917">4</cx:pt>
          <cx:pt idx="79918">5</cx:pt>
          <cx:pt idx="79919">2</cx:pt>
          <cx:pt idx="79920">2</cx:pt>
          <cx:pt idx="79921">5</cx:pt>
          <cx:pt idx="79922">5</cx:pt>
          <cx:pt idx="79923">3</cx:pt>
          <cx:pt idx="79924">2</cx:pt>
          <cx:pt idx="79925">4</cx:pt>
          <cx:pt idx="79926">4</cx:pt>
          <cx:pt idx="79927">4</cx:pt>
          <cx:pt idx="79928">1</cx:pt>
          <cx:pt idx="79929">2</cx:pt>
          <cx:pt idx="79930">4</cx:pt>
          <cx:pt idx="79931">5</cx:pt>
          <cx:pt idx="79932">4</cx:pt>
          <cx:pt idx="79933">4</cx:pt>
          <cx:pt idx="79934">5</cx:pt>
          <cx:pt idx="79935">1</cx:pt>
          <cx:pt idx="79936">1</cx:pt>
          <cx:pt idx="79937">1</cx:pt>
          <cx:pt idx="79938">5</cx:pt>
          <cx:pt idx="79939">5</cx:pt>
          <cx:pt idx="79940">5</cx:pt>
          <cx:pt idx="79941">4</cx:pt>
          <cx:pt idx="79942">5</cx:pt>
          <cx:pt idx="79943">4</cx:pt>
          <cx:pt idx="79944">4</cx:pt>
          <cx:pt idx="79945">4</cx:pt>
          <cx:pt idx="79946">2</cx:pt>
          <cx:pt idx="79947">1</cx:pt>
          <cx:pt idx="79948">4</cx:pt>
          <cx:pt idx="79949">4</cx:pt>
          <cx:pt idx="79950">3</cx:pt>
          <cx:pt idx="79951">3</cx:pt>
          <cx:pt idx="79952">3</cx:pt>
          <cx:pt idx="79953">2</cx:pt>
          <cx:pt idx="79954">5</cx:pt>
          <cx:pt idx="79955">5</cx:pt>
          <cx:pt idx="79956">5</cx:pt>
          <cx:pt idx="79957">1</cx:pt>
          <cx:pt idx="79958">1</cx:pt>
          <cx:pt idx="79959">4</cx:pt>
          <cx:pt idx="79960">3</cx:pt>
          <cx:pt idx="79961">5</cx:pt>
          <cx:pt idx="79962">4</cx:pt>
          <cx:pt idx="79963">3</cx:pt>
          <cx:pt idx="79964">3</cx:pt>
          <cx:pt idx="79965">5</cx:pt>
          <cx:pt idx="79966">4</cx:pt>
          <cx:pt idx="79967">5</cx:pt>
          <cx:pt idx="79968">4</cx:pt>
          <cx:pt idx="79969">3</cx:pt>
          <cx:pt idx="79970">3</cx:pt>
          <cx:pt idx="79971">1</cx:pt>
          <cx:pt idx="79972">2</cx:pt>
          <cx:pt idx="79973">5</cx:pt>
          <cx:pt idx="79974">4</cx:pt>
          <cx:pt idx="79975">3</cx:pt>
          <cx:pt idx="79976">5</cx:pt>
          <cx:pt idx="79977">3</cx:pt>
          <cx:pt idx="79978">2</cx:pt>
          <cx:pt idx="79979">4</cx:pt>
          <cx:pt idx="79980">2</cx:pt>
          <cx:pt idx="79981">2</cx:pt>
          <cx:pt idx="79982">1</cx:pt>
          <cx:pt idx="79983">5</cx:pt>
          <cx:pt idx="79984">1</cx:pt>
          <cx:pt idx="79985">2</cx:pt>
          <cx:pt idx="79986">4</cx:pt>
          <cx:pt idx="79987">2</cx:pt>
          <cx:pt idx="79988">3</cx:pt>
          <cx:pt idx="79989">4</cx:pt>
          <cx:pt idx="79990">5</cx:pt>
          <cx:pt idx="79991">4</cx:pt>
          <cx:pt idx="79992">5</cx:pt>
          <cx:pt idx="79993">3</cx:pt>
          <cx:pt idx="79994">1</cx:pt>
          <cx:pt idx="79995">4</cx:pt>
          <cx:pt idx="79996">5</cx:pt>
          <cx:pt idx="79997">3</cx:pt>
          <cx:pt idx="79998">3</cx:pt>
          <cx:pt idx="79999">4</cx:pt>
          <cx:pt idx="80000">2</cx:pt>
          <cx:pt idx="80001">4</cx:pt>
          <cx:pt idx="80002">4</cx:pt>
          <cx:pt idx="80003">4</cx:pt>
          <cx:pt idx="80004">1</cx:pt>
          <cx:pt idx="80005">4</cx:pt>
          <cx:pt idx="80006">4</cx:pt>
          <cx:pt idx="80007">5</cx:pt>
          <cx:pt idx="80008">2</cx:pt>
          <cx:pt idx="80009">5</cx:pt>
          <cx:pt idx="80010">4</cx:pt>
          <cx:pt idx="80011">2</cx:pt>
          <cx:pt idx="80012">4</cx:pt>
          <cx:pt idx="80013">4</cx:pt>
          <cx:pt idx="80014">4</cx:pt>
          <cx:pt idx="80015">5</cx:pt>
          <cx:pt idx="80016">3</cx:pt>
          <cx:pt idx="80017">5</cx:pt>
          <cx:pt idx="80018">1</cx:pt>
          <cx:pt idx="80019">3</cx:pt>
          <cx:pt idx="80020">3</cx:pt>
          <cx:pt idx="80021">2</cx:pt>
          <cx:pt idx="80022">5</cx:pt>
          <cx:pt idx="80023">4</cx:pt>
          <cx:pt idx="80024">4</cx:pt>
          <cx:pt idx="80025">1</cx:pt>
          <cx:pt idx="80026">4</cx:pt>
          <cx:pt idx="80027">3</cx:pt>
          <cx:pt idx="80028">2</cx:pt>
          <cx:pt idx="80029">4</cx:pt>
          <cx:pt idx="80030">5</cx:pt>
          <cx:pt idx="80031">5</cx:pt>
          <cx:pt idx="80032">5</cx:pt>
          <cx:pt idx="80033">5</cx:pt>
          <cx:pt idx="80034">4</cx:pt>
          <cx:pt idx="80035">4</cx:pt>
          <cx:pt idx="80036">4</cx:pt>
          <cx:pt idx="80037">4</cx:pt>
          <cx:pt idx="80038">4</cx:pt>
          <cx:pt idx="80039">5</cx:pt>
          <cx:pt idx="80040">3</cx:pt>
          <cx:pt idx="80041">5</cx:pt>
          <cx:pt idx="80042">3</cx:pt>
          <cx:pt idx="80043">5</cx:pt>
          <cx:pt idx="80044">3</cx:pt>
          <cx:pt idx="80045">4</cx:pt>
          <cx:pt idx="80046">5</cx:pt>
          <cx:pt idx="80047">5</cx:pt>
          <cx:pt idx="80048">2</cx:pt>
          <cx:pt idx="80049">5</cx:pt>
          <cx:pt idx="80050">4</cx:pt>
          <cx:pt idx="80051">3</cx:pt>
          <cx:pt idx="80052">5</cx:pt>
          <cx:pt idx="80053">3</cx:pt>
          <cx:pt idx="80054">2</cx:pt>
          <cx:pt idx="80055">5</cx:pt>
          <cx:pt idx="80056">5</cx:pt>
          <cx:pt idx="80057">4</cx:pt>
          <cx:pt idx="80058">4</cx:pt>
          <cx:pt idx="80059">3</cx:pt>
          <cx:pt idx="80060">3</cx:pt>
          <cx:pt idx="80061">4</cx:pt>
          <cx:pt idx="80062">2</cx:pt>
          <cx:pt idx="80063">4</cx:pt>
          <cx:pt idx="80064">5</cx:pt>
          <cx:pt idx="80065">4</cx:pt>
          <cx:pt idx="80066">3</cx:pt>
          <cx:pt idx="80067">5</cx:pt>
          <cx:pt idx="80068">5</cx:pt>
          <cx:pt idx="80069">4</cx:pt>
          <cx:pt idx="80070">5</cx:pt>
          <cx:pt idx="80071">4</cx:pt>
          <cx:pt idx="80072">3</cx:pt>
          <cx:pt idx="80073">5</cx:pt>
          <cx:pt idx="80074">3</cx:pt>
          <cx:pt idx="80075">4</cx:pt>
          <cx:pt idx="80076">4</cx:pt>
          <cx:pt idx="80077">4</cx:pt>
          <cx:pt idx="80078">1</cx:pt>
          <cx:pt idx="80079">4</cx:pt>
          <cx:pt idx="80080">1</cx:pt>
          <cx:pt idx="80081">1</cx:pt>
          <cx:pt idx="80082">3</cx:pt>
          <cx:pt idx="80083">5</cx:pt>
          <cx:pt idx="80084">1</cx:pt>
          <cx:pt idx="80085">3</cx:pt>
          <cx:pt idx="80086">4</cx:pt>
          <cx:pt idx="80087">3</cx:pt>
          <cx:pt idx="80088">3</cx:pt>
          <cx:pt idx="80089">4</cx:pt>
          <cx:pt idx="80090">5</cx:pt>
          <cx:pt idx="80091">5</cx:pt>
          <cx:pt idx="80092">4</cx:pt>
          <cx:pt idx="80093">4</cx:pt>
          <cx:pt idx="80094">2</cx:pt>
          <cx:pt idx="80095">4</cx:pt>
          <cx:pt idx="80096">4</cx:pt>
          <cx:pt idx="80097">5</cx:pt>
          <cx:pt idx="80098">4</cx:pt>
          <cx:pt idx="80099">4</cx:pt>
          <cx:pt idx="80100">4</cx:pt>
          <cx:pt idx="80101">4</cx:pt>
          <cx:pt idx="80102">2</cx:pt>
          <cx:pt idx="80103">2</cx:pt>
          <cx:pt idx="80104">4</cx:pt>
          <cx:pt idx="80105">4</cx:pt>
          <cx:pt idx="80106">5</cx:pt>
          <cx:pt idx="80107">3</cx:pt>
          <cx:pt idx="80108">3</cx:pt>
          <cx:pt idx="80109">5</cx:pt>
          <cx:pt idx="80110">4</cx:pt>
          <cx:pt idx="80111">4</cx:pt>
          <cx:pt idx="80112">3</cx:pt>
          <cx:pt idx="80113">2</cx:pt>
          <cx:pt idx="80114">5</cx:pt>
          <cx:pt idx="80115">4</cx:pt>
          <cx:pt idx="80116">1</cx:pt>
          <cx:pt idx="80117">5</cx:pt>
          <cx:pt idx="80118">5</cx:pt>
          <cx:pt idx="80119">5</cx:pt>
          <cx:pt idx="80120">5</cx:pt>
          <cx:pt idx="80121">3</cx:pt>
          <cx:pt idx="80122">3</cx:pt>
          <cx:pt idx="80123">4</cx:pt>
          <cx:pt idx="80124">2</cx:pt>
          <cx:pt idx="80125">4</cx:pt>
          <cx:pt idx="80126">5</cx:pt>
          <cx:pt idx="80127">4</cx:pt>
          <cx:pt idx="80128">3</cx:pt>
          <cx:pt idx="80129">4</cx:pt>
          <cx:pt idx="80130">5</cx:pt>
          <cx:pt idx="80131">3</cx:pt>
          <cx:pt idx="80132">1</cx:pt>
          <cx:pt idx="80133">4</cx:pt>
          <cx:pt idx="80134">4</cx:pt>
          <cx:pt idx="80135">3</cx:pt>
          <cx:pt idx="80136">3</cx:pt>
          <cx:pt idx="80137">3</cx:pt>
          <cx:pt idx="80138">5</cx:pt>
          <cx:pt idx="80139">1</cx:pt>
          <cx:pt idx="80140">4</cx:pt>
          <cx:pt idx="80141">4</cx:pt>
          <cx:pt idx="80142">1</cx:pt>
          <cx:pt idx="80143">3</cx:pt>
          <cx:pt idx="80144">3</cx:pt>
          <cx:pt idx="80145">1</cx:pt>
          <cx:pt idx="80146">4</cx:pt>
          <cx:pt idx="80147">4</cx:pt>
          <cx:pt idx="80148">1</cx:pt>
          <cx:pt idx="80149">5</cx:pt>
          <cx:pt idx="80150">5</cx:pt>
          <cx:pt idx="80151">4</cx:pt>
          <cx:pt idx="80152">2</cx:pt>
          <cx:pt idx="80153">3</cx:pt>
          <cx:pt idx="80154">2</cx:pt>
          <cx:pt idx="80155">4</cx:pt>
          <cx:pt idx="80156">4</cx:pt>
          <cx:pt idx="80157">5</cx:pt>
          <cx:pt idx="80158">1</cx:pt>
          <cx:pt idx="80159">2</cx:pt>
          <cx:pt idx="80160">4</cx:pt>
          <cx:pt idx="80161">5</cx:pt>
          <cx:pt idx="80162">2</cx:pt>
          <cx:pt idx="80163">5</cx:pt>
          <cx:pt idx="80164">5</cx:pt>
          <cx:pt idx="80165">4</cx:pt>
          <cx:pt idx="80166">4</cx:pt>
          <cx:pt idx="80167">4</cx:pt>
          <cx:pt idx="80168">3</cx:pt>
          <cx:pt idx="80169">4</cx:pt>
          <cx:pt idx="80170">4</cx:pt>
          <cx:pt idx="80171">3</cx:pt>
          <cx:pt idx="80172">4</cx:pt>
          <cx:pt idx="80173">3</cx:pt>
          <cx:pt idx="80174">5</cx:pt>
          <cx:pt idx="80175">4</cx:pt>
          <cx:pt idx="80176">4</cx:pt>
          <cx:pt idx="80177">1</cx:pt>
          <cx:pt idx="80178">3</cx:pt>
          <cx:pt idx="80179">5</cx:pt>
          <cx:pt idx="80180">4</cx:pt>
          <cx:pt idx="80181">4</cx:pt>
          <cx:pt idx="80182">4</cx:pt>
          <cx:pt idx="80183">5</cx:pt>
          <cx:pt idx="80184">1</cx:pt>
          <cx:pt idx="80185">4</cx:pt>
          <cx:pt idx="80186">4</cx:pt>
          <cx:pt idx="80187">1</cx:pt>
          <cx:pt idx="80188">4</cx:pt>
          <cx:pt idx="80189">5</cx:pt>
          <cx:pt idx="80190">3</cx:pt>
          <cx:pt idx="80191">5</cx:pt>
          <cx:pt idx="80192">3</cx:pt>
          <cx:pt idx="80193">3</cx:pt>
          <cx:pt idx="80194">5</cx:pt>
          <cx:pt idx="80195">5</cx:pt>
          <cx:pt idx="80196">4</cx:pt>
          <cx:pt idx="80197">2</cx:pt>
          <cx:pt idx="80198">2</cx:pt>
          <cx:pt idx="80199">3</cx:pt>
          <cx:pt idx="80200">2</cx:pt>
          <cx:pt idx="80201">4</cx:pt>
          <cx:pt idx="80202">2</cx:pt>
          <cx:pt idx="80203">4</cx:pt>
          <cx:pt idx="80204">5</cx:pt>
          <cx:pt idx="80205">5</cx:pt>
          <cx:pt idx="80206">1</cx:pt>
          <cx:pt idx="80207">4</cx:pt>
          <cx:pt idx="80208">2</cx:pt>
          <cx:pt idx="80209">3</cx:pt>
          <cx:pt idx="80210">4</cx:pt>
          <cx:pt idx="80211">5</cx:pt>
          <cx:pt idx="80212">4</cx:pt>
          <cx:pt idx="80213">4</cx:pt>
          <cx:pt idx="80214">4</cx:pt>
          <cx:pt idx="80215">4</cx:pt>
          <cx:pt idx="80216">4</cx:pt>
          <cx:pt idx="80217">4</cx:pt>
          <cx:pt idx="80218">5</cx:pt>
          <cx:pt idx="80219">5</cx:pt>
          <cx:pt idx="80220">4</cx:pt>
          <cx:pt idx="80221">4</cx:pt>
          <cx:pt idx="80222">4</cx:pt>
          <cx:pt idx="80223">5</cx:pt>
          <cx:pt idx="80224">2</cx:pt>
          <cx:pt idx="80225">4</cx:pt>
          <cx:pt idx="80226">3</cx:pt>
          <cx:pt idx="80227">2</cx:pt>
          <cx:pt idx="80228">5</cx:pt>
          <cx:pt idx="80229">4</cx:pt>
          <cx:pt idx="80230">3</cx:pt>
          <cx:pt idx="80231">5</cx:pt>
          <cx:pt idx="80232">2</cx:pt>
          <cx:pt idx="80233">5</cx:pt>
          <cx:pt idx="80234">4</cx:pt>
          <cx:pt idx="80235">3</cx:pt>
          <cx:pt idx="80236">1</cx:pt>
          <cx:pt idx="80237">4</cx:pt>
          <cx:pt idx="80238">3</cx:pt>
          <cx:pt idx="80239">1</cx:pt>
          <cx:pt idx="80240">3</cx:pt>
          <cx:pt idx="80241">4</cx:pt>
          <cx:pt idx="80242">5</cx:pt>
          <cx:pt idx="80243">3</cx:pt>
          <cx:pt idx="80244">5</cx:pt>
          <cx:pt idx="80245">3</cx:pt>
          <cx:pt idx="80246">3</cx:pt>
          <cx:pt idx="80247">4</cx:pt>
          <cx:pt idx="80248">3</cx:pt>
          <cx:pt idx="80249">3</cx:pt>
          <cx:pt idx="80250">4</cx:pt>
          <cx:pt idx="80251">5</cx:pt>
          <cx:pt idx="80252">3</cx:pt>
          <cx:pt idx="80253">2</cx:pt>
          <cx:pt idx="80254">4</cx:pt>
          <cx:pt idx="80255">5</cx:pt>
          <cx:pt idx="80256">3</cx:pt>
          <cx:pt idx="80257">5</cx:pt>
          <cx:pt idx="80258">4</cx:pt>
          <cx:pt idx="80259">3</cx:pt>
          <cx:pt idx="80260">5</cx:pt>
          <cx:pt idx="80261">5</cx:pt>
          <cx:pt idx="80262">4</cx:pt>
          <cx:pt idx="80263">4</cx:pt>
          <cx:pt idx="80264">3</cx:pt>
          <cx:pt idx="80265">4</cx:pt>
          <cx:pt idx="80266">4</cx:pt>
          <cx:pt idx="80267">5</cx:pt>
          <cx:pt idx="80268">4</cx:pt>
          <cx:pt idx="80269">4</cx:pt>
          <cx:pt idx="80270">4</cx:pt>
          <cx:pt idx="80271">5</cx:pt>
          <cx:pt idx="80272">4</cx:pt>
          <cx:pt idx="80273">5</cx:pt>
          <cx:pt idx="80274">3</cx:pt>
          <cx:pt idx="80275">4</cx:pt>
          <cx:pt idx="80276">2</cx:pt>
          <cx:pt idx="80277">1</cx:pt>
          <cx:pt idx="80278">4</cx:pt>
          <cx:pt idx="80279">5</cx:pt>
          <cx:pt idx="80280">5</cx:pt>
          <cx:pt idx="80281">3</cx:pt>
          <cx:pt idx="80282">1</cx:pt>
          <cx:pt idx="80283">4</cx:pt>
          <cx:pt idx="80284">1</cx:pt>
          <cx:pt idx="80285">3</cx:pt>
          <cx:pt idx="80286">4</cx:pt>
          <cx:pt idx="80287">5</cx:pt>
          <cx:pt idx="80288">3</cx:pt>
          <cx:pt idx="80289">3</cx:pt>
          <cx:pt idx="80290">4</cx:pt>
          <cx:pt idx="80291">3</cx:pt>
          <cx:pt idx="80292">4</cx:pt>
          <cx:pt idx="80293">2</cx:pt>
          <cx:pt idx="80294">4</cx:pt>
          <cx:pt idx="80295">4</cx:pt>
          <cx:pt idx="80296">2</cx:pt>
          <cx:pt idx="80297">4</cx:pt>
          <cx:pt idx="80298">4</cx:pt>
          <cx:pt idx="80299">4</cx:pt>
          <cx:pt idx="80300">4</cx:pt>
          <cx:pt idx="80301">5</cx:pt>
          <cx:pt idx="80302">3</cx:pt>
          <cx:pt idx="80303">4</cx:pt>
          <cx:pt idx="80304">3</cx:pt>
          <cx:pt idx="80305">4</cx:pt>
          <cx:pt idx="80306">4</cx:pt>
          <cx:pt idx="80307">5</cx:pt>
          <cx:pt idx="80308">3</cx:pt>
          <cx:pt idx="80309">4</cx:pt>
          <cx:pt idx="80310">5</cx:pt>
          <cx:pt idx="80311">3</cx:pt>
          <cx:pt idx="80312">4</cx:pt>
          <cx:pt idx="80313">4</cx:pt>
          <cx:pt idx="80314">1</cx:pt>
          <cx:pt idx="80315">5</cx:pt>
          <cx:pt idx="80316">1</cx:pt>
          <cx:pt idx="80317">4</cx:pt>
          <cx:pt idx="80318">2</cx:pt>
          <cx:pt idx="80319">3</cx:pt>
          <cx:pt idx="80320">3</cx:pt>
          <cx:pt idx="80321">4</cx:pt>
          <cx:pt idx="80322">5</cx:pt>
          <cx:pt idx="80323">5</cx:pt>
          <cx:pt idx="80324">1</cx:pt>
          <cx:pt idx="80325">3</cx:pt>
          <cx:pt idx="80326">5</cx:pt>
          <cx:pt idx="80327">5</cx:pt>
          <cx:pt idx="80328">4</cx:pt>
          <cx:pt idx="80329">4</cx:pt>
          <cx:pt idx="80330">4</cx:pt>
          <cx:pt idx="80331">4</cx:pt>
          <cx:pt idx="80332">3</cx:pt>
          <cx:pt idx="80333">1</cx:pt>
          <cx:pt idx="80334">4</cx:pt>
          <cx:pt idx="80335">5</cx:pt>
          <cx:pt idx="80336">5</cx:pt>
          <cx:pt idx="80337">5</cx:pt>
          <cx:pt idx="80338">4</cx:pt>
          <cx:pt idx="80339">1</cx:pt>
          <cx:pt idx="80340">3</cx:pt>
          <cx:pt idx="80341">5</cx:pt>
          <cx:pt idx="80342">1</cx:pt>
          <cx:pt idx="80343">4</cx:pt>
          <cx:pt idx="80344">5</cx:pt>
          <cx:pt idx="80345">2</cx:pt>
          <cx:pt idx="80346">4</cx:pt>
          <cx:pt idx="80347">3</cx:pt>
          <cx:pt idx="80348">3</cx:pt>
          <cx:pt idx="80349">1</cx:pt>
          <cx:pt idx="80350">3</cx:pt>
          <cx:pt idx="80351">1</cx:pt>
          <cx:pt idx="80352">3</cx:pt>
          <cx:pt idx="80353">4</cx:pt>
          <cx:pt idx="80354">3</cx:pt>
          <cx:pt idx="80355">1</cx:pt>
          <cx:pt idx="80356">2</cx:pt>
          <cx:pt idx="80357">2</cx:pt>
          <cx:pt idx="80358">3</cx:pt>
          <cx:pt idx="80359">1</cx:pt>
          <cx:pt idx="80360">5</cx:pt>
          <cx:pt idx="80361">5</cx:pt>
          <cx:pt idx="80362">4</cx:pt>
          <cx:pt idx="80363">3</cx:pt>
          <cx:pt idx="80364">5</cx:pt>
          <cx:pt idx="80365">5</cx:pt>
          <cx:pt idx="80366">2</cx:pt>
          <cx:pt idx="80367">3</cx:pt>
          <cx:pt idx="80368">1</cx:pt>
          <cx:pt idx="80369">3</cx:pt>
          <cx:pt idx="80370">3</cx:pt>
          <cx:pt idx="80371">2</cx:pt>
          <cx:pt idx="80372">5</cx:pt>
          <cx:pt idx="80373">3</cx:pt>
          <cx:pt idx="80374">4</cx:pt>
          <cx:pt idx="80375">4</cx:pt>
          <cx:pt idx="80376">2</cx:pt>
          <cx:pt idx="80377">4</cx:pt>
          <cx:pt idx="80378">4</cx:pt>
          <cx:pt idx="80379">3</cx:pt>
          <cx:pt idx="80380">5</cx:pt>
          <cx:pt idx="80381">5</cx:pt>
          <cx:pt idx="80382">3</cx:pt>
          <cx:pt idx="80383">4</cx:pt>
          <cx:pt idx="80384">3</cx:pt>
          <cx:pt idx="80385">4</cx:pt>
          <cx:pt idx="80386">4</cx:pt>
          <cx:pt idx="80387">3</cx:pt>
          <cx:pt idx="80388">5</cx:pt>
          <cx:pt idx="80389">4</cx:pt>
          <cx:pt idx="80390">2</cx:pt>
          <cx:pt idx="80391">4</cx:pt>
          <cx:pt idx="80392">5</cx:pt>
          <cx:pt idx="80393">2</cx:pt>
          <cx:pt idx="80394">2</cx:pt>
          <cx:pt idx="80395">1</cx:pt>
          <cx:pt idx="80396">5</cx:pt>
          <cx:pt idx="80397">2</cx:pt>
          <cx:pt idx="80398">1</cx:pt>
          <cx:pt idx="80399">4</cx:pt>
          <cx:pt idx="80400">5</cx:pt>
          <cx:pt idx="80401">4</cx:pt>
          <cx:pt idx="80402">3</cx:pt>
          <cx:pt idx="80403">5</cx:pt>
          <cx:pt idx="80404">3</cx:pt>
          <cx:pt idx="80405">2</cx:pt>
          <cx:pt idx="80406">4</cx:pt>
          <cx:pt idx="80407">3</cx:pt>
          <cx:pt idx="80408">5</cx:pt>
          <cx:pt idx="80409">2</cx:pt>
          <cx:pt idx="80410">4</cx:pt>
          <cx:pt idx="80411">4</cx:pt>
          <cx:pt idx="80412">4</cx:pt>
          <cx:pt idx="80413">5</cx:pt>
          <cx:pt idx="80414">4</cx:pt>
          <cx:pt idx="80415">2</cx:pt>
          <cx:pt idx="80416">4</cx:pt>
          <cx:pt idx="80417">2</cx:pt>
          <cx:pt idx="80418">4</cx:pt>
          <cx:pt idx="80419">5</cx:pt>
          <cx:pt idx="80420">2</cx:pt>
          <cx:pt idx="80421">1</cx:pt>
          <cx:pt idx="80422">4</cx:pt>
          <cx:pt idx="80423">4</cx:pt>
          <cx:pt idx="80424">5</cx:pt>
          <cx:pt idx="80425">4</cx:pt>
          <cx:pt idx="80426">2</cx:pt>
          <cx:pt idx="80427">5</cx:pt>
          <cx:pt idx="80428">5</cx:pt>
          <cx:pt idx="80429">4</cx:pt>
          <cx:pt idx="80430">4</cx:pt>
          <cx:pt idx="80431">2</cx:pt>
          <cx:pt idx="80432">2</cx:pt>
          <cx:pt idx="80433">1</cx:pt>
          <cx:pt idx="80434">1</cx:pt>
          <cx:pt idx="80435">3</cx:pt>
          <cx:pt idx="80436">5</cx:pt>
          <cx:pt idx="80437">2</cx:pt>
          <cx:pt idx="80438">3</cx:pt>
          <cx:pt idx="80439">4</cx:pt>
          <cx:pt idx="80440">2</cx:pt>
          <cx:pt idx="80441">3</cx:pt>
          <cx:pt idx="80442">3</cx:pt>
          <cx:pt idx="80443">3</cx:pt>
          <cx:pt idx="80444">3</cx:pt>
          <cx:pt idx="80445">5</cx:pt>
          <cx:pt idx="80446">4</cx:pt>
          <cx:pt idx="80447">5</cx:pt>
          <cx:pt idx="80448">4</cx:pt>
          <cx:pt idx="80449">5</cx:pt>
          <cx:pt idx="80450">4</cx:pt>
          <cx:pt idx="80451">4</cx:pt>
          <cx:pt idx="80452">1</cx:pt>
          <cx:pt idx="80453">4</cx:pt>
          <cx:pt idx="80454">4</cx:pt>
          <cx:pt idx="80455">3</cx:pt>
          <cx:pt idx="80456">5</cx:pt>
          <cx:pt idx="80457">3</cx:pt>
          <cx:pt idx="80458">4</cx:pt>
          <cx:pt idx="80459">4</cx:pt>
          <cx:pt idx="80460">2</cx:pt>
          <cx:pt idx="80461">5</cx:pt>
          <cx:pt idx="80462">5</cx:pt>
          <cx:pt idx="80463">1</cx:pt>
          <cx:pt idx="80464">4</cx:pt>
          <cx:pt idx="80465">4</cx:pt>
          <cx:pt idx="80466">2</cx:pt>
          <cx:pt idx="80467">5</cx:pt>
          <cx:pt idx="80468">4</cx:pt>
          <cx:pt idx="80469">3</cx:pt>
          <cx:pt idx="80470">3</cx:pt>
          <cx:pt idx="80471">2</cx:pt>
          <cx:pt idx="80472">4</cx:pt>
          <cx:pt idx="80473">2</cx:pt>
          <cx:pt idx="80474">4</cx:pt>
          <cx:pt idx="80475">2</cx:pt>
          <cx:pt idx="80476">5</cx:pt>
          <cx:pt idx="80477">5</cx:pt>
          <cx:pt idx="80478">5</cx:pt>
          <cx:pt idx="80479">4</cx:pt>
          <cx:pt idx="80480">2</cx:pt>
          <cx:pt idx="80481">5</cx:pt>
          <cx:pt idx="80482">2</cx:pt>
          <cx:pt idx="80483">4</cx:pt>
          <cx:pt idx="80484">5</cx:pt>
          <cx:pt idx="80485">5</cx:pt>
          <cx:pt idx="80486">2</cx:pt>
          <cx:pt idx="80487">2</cx:pt>
          <cx:pt idx="80488">5</cx:pt>
          <cx:pt idx="80489">4</cx:pt>
          <cx:pt idx="80490">5</cx:pt>
          <cx:pt idx="80491">1</cx:pt>
          <cx:pt idx="80492">3</cx:pt>
          <cx:pt idx="80493">3</cx:pt>
          <cx:pt idx="80494">4</cx:pt>
          <cx:pt idx="80495">3</cx:pt>
          <cx:pt idx="80496">5</cx:pt>
          <cx:pt idx="80497">4</cx:pt>
          <cx:pt idx="80498">5</cx:pt>
          <cx:pt idx="80499">4</cx:pt>
          <cx:pt idx="80500">3</cx:pt>
          <cx:pt idx="80501">4</cx:pt>
          <cx:pt idx="80502">5</cx:pt>
          <cx:pt idx="80503">5</cx:pt>
          <cx:pt idx="80504">3</cx:pt>
          <cx:pt idx="80505">2</cx:pt>
          <cx:pt idx="80506">5</cx:pt>
          <cx:pt idx="80507">1</cx:pt>
          <cx:pt idx="80508">3</cx:pt>
          <cx:pt idx="80509">5</cx:pt>
          <cx:pt idx="80510">2</cx:pt>
          <cx:pt idx="80511">1</cx:pt>
          <cx:pt idx="80512">3</cx:pt>
          <cx:pt idx="80513">5</cx:pt>
          <cx:pt idx="80514">4</cx:pt>
          <cx:pt idx="80515">3</cx:pt>
          <cx:pt idx="80516">5</cx:pt>
          <cx:pt idx="80517">4</cx:pt>
          <cx:pt idx="80518">5</cx:pt>
          <cx:pt idx="80519">4</cx:pt>
          <cx:pt idx="80520">4</cx:pt>
          <cx:pt idx="80521">4</cx:pt>
          <cx:pt idx="80522">1</cx:pt>
          <cx:pt idx="80523">5</cx:pt>
          <cx:pt idx="80524">2</cx:pt>
          <cx:pt idx="80525">2</cx:pt>
          <cx:pt idx="80526">4</cx:pt>
          <cx:pt idx="80527">4</cx:pt>
          <cx:pt idx="80528">3</cx:pt>
          <cx:pt idx="80529">2</cx:pt>
          <cx:pt idx="80530">2</cx:pt>
          <cx:pt idx="80531">1</cx:pt>
          <cx:pt idx="80532">5</cx:pt>
          <cx:pt idx="80533">2</cx:pt>
          <cx:pt idx="80534">2</cx:pt>
          <cx:pt idx="80535">1</cx:pt>
          <cx:pt idx="80536">1</cx:pt>
          <cx:pt idx="80537">5</cx:pt>
          <cx:pt idx="80538">3</cx:pt>
          <cx:pt idx="80539">5</cx:pt>
          <cx:pt idx="80540">5</cx:pt>
          <cx:pt idx="80541">5</cx:pt>
          <cx:pt idx="80542">1</cx:pt>
          <cx:pt idx="80543">2</cx:pt>
          <cx:pt idx="80544">4</cx:pt>
          <cx:pt idx="80545">3</cx:pt>
          <cx:pt idx="80546">2</cx:pt>
          <cx:pt idx="80547">4</cx:pt>
          <cx:pt idx="80548">5</cx:pt>
          <cx:pt idx="80549">3</cx:pt>
          <cx:pt idx="80550">5</cx:pt>
          <cx:pt idx="80551">4</cx:pt>
          <cx:pt idx="80552">4</cx:pt>
          <cx:pt idx="80553">5</cx:pt>
          <cx:pt idx="80554">3</cx:pt>
          <cx:pt idx="80555">3</cx:pt>
          <cx:pt idx="80556">5</cx:pt>
          <cx:pt idx="80557">4</cx:pt>
          <cx:pt idx="80558">2</cx:pt>
          <cx:pt idx="80559">5</cx:pt>
          <cx:pt idx="80560">2</cx:pt>
          <cx:pt idx="80561">2</cx:pt>
          <cx:pt idx="80562">5</cx:pt>
          <cx:pt idx="80563">4</cx:pt>
          <cx:pt idx="80564">5</cx:pt>
          <cx:pt idx="80565">2</cx:pt>
          <cx:pt idx="80566">2</cx:pt>
          <cx:pt idx="80567">4</cx:pt>
          <cx:pt idx="80568">2</cx:pt>
          <cx:pt idx="80569">3</cx:pt>
          <cx:pt idx="80570">4</cx:pt>
          <cx:pt idx="80571">4</cx:pt>
          <cx:pt idx="80572">5</cx:pt>
          <cx:pt idx="80573">3</cx:pt>
          <cx:pt idx="80574">5</cx:pt>
          <cx:pt idx="80575">2</cx:pt>
          <cx:pt idx="80576">5</cx:pt>
          <cx:pt idx="80577">3</cx:pt>
          <cx:pt idx="80578">4</cx:pt>
          <cx:pt idx="80579">4</cx:pt>
          <cx:pt idx="80580">5</cx:pt>
          <cx:pt idx="80581">4</cx:pt>
          <cx:pt idx="80582">4</cx:pt>
          <cx:pt idx="80583">1</cx:pt>
          <cx:pt idx="80584">4</cx:pt>
          <cx:pt idx="80585">4</cx:pt>
          <cx:pt idx="80586">4</cx:pt>
          <cx:pt idx="80587">5</cx:pt>
          <cx:pt idx="80588">2</cx:pt>
          <cx:pt idx="80589">1</cx:pt>
          <cx:pt idx="80590">4</cx:pt>
          <cx:pt idx="80591">5</cx:pt>
          <cx:pt idx="80592">5</cx:pt>
          <cx:pt idx="80593">1</cx:pt>
          <cx:pt idx="80594">1</cx:pt>
          <cx:pt idx="80595">4</cx:pt>
          <cx:pt idx="80596">5</cx:pt>
          <cx:pt idx="80597">4</cx:pt>
          <cx:pt idx="80598">3</cx:pt>
          <cx:pt idx="80599">4</cx:pt>
          <cx:pt idx="80600">4</cx:pt>
          <cx:pt idx="80601">3</cx:pt>
          <cx:pt idx="80602">1</cx:pt>
          <cx:pt idx="80603">5</cx:pt>
          <cx:pt idx="80604">5</cx:pt>
          <cx:pt idx="80605">1</cx:pt>
          <cx:pt idx="80606">4</cx:pt>
          <cx:pt idx="80607">3</cx:pt>
          <cx:pt idx="80608">4</cx:pt>
          <cx:pt idx="80609">5</cx:pt>
          <cx:pt idx="80610">4</cx:pt>
          <cx:pt idx="80611">3</cx:pt>
          <cx:pt idx="80612">2</cx:pt>
          <cx:pt idx="80613">3</cx:pt>
          <cx:pt idx="80614">5</cx:pt>
          <cx:pt idx="80615">5</cx:pt>
          <cx:pt idx="80616">5</cx:pt>
          <cx:pt idx="80617">1</cx:pt>
          <cx:pt idx="80618">2</cx:pt>
          <cx:pt idx="80619">5</cx:pt>
          <cx:pt idx="80620">5</cx:pt>
          <cx:pt idx="80621">4</cx:pt>
          <cx:pt idx="80622">2</cx:pt>
          <cx:pt idx="80623">5</cx:pt>
          <cx:pt idx="80624">4</cx:pt>
          <cx:pt idx="80625">4</cx:pt>
          <cx:pt idx="80626">4</cx:pt>
          <cx:pt idx="80627">1</cx:pt>
          <cx:pt idx="80628">3</cx:pt>
          <cx:pt idx="80629">5</cx:pt>
          <cx:pt idx="80630">1</cx:pt>
          <cx:pt idx="80631">5</cx:pt>
          <cx:pt idx="80632">4</cx:pt>
          <cx:pt idx="80633">5</cx:pt>
          <cx:pt idx="80634">5</cx:pt>
          <cx:pt idx="80635">1</cx:pt>
          <cx:pt idx="80636">3</cx:pt>
          <cx:pt idx="80637">5</cx:pt>
          <cx:pt idx="80638">5</cx:pt>
          <cx:pt idx="80639">4</cx:pt>
          <cx:pt idx="80640">1</cx:pt>
          <cx:pt idx="80641">4</cx:pt>
          <cx:pt idx="80642">5</cx:pt>
          <cx:pt idx="80643">5</cx:pt>
          <cx:pt idx="80644">1</cx:pt>
          <cx:pt idx="80645">3</cx:pt>
          <cx:pt idx="80646">4</cx:pt>
          <cx:pt idx="80647">5</cx:pt>
          <cx:pt idx="80648">5</cx:pt>
          <cx:pt idx="80649">2</cx:pt>
          <cx:pt idx="80650">3</cx:pt>
          <cx:pt idx="80651">2</cx:pt>
          <cx:pt idx="80652">1</cx:pt>
          <cx:pt idx="80653">5</cx:pt>
          <cx:pt idx="80654">4</cx:pt>
          <cx:pt idx="80655">3</cx:pt>
          <cx:pt idx="80656">4</cx:pt>
          <cx:pt idx="80657">4</cx:pt>
          <cx:pt idx="80658">4</cx:pt>
          <cx:pt idx="80659">3</cx:pt>
          <cx:pt idx="80660">4</cx:pt>
          <cx:pt idx="80661">3</cx:pt>
          <cx:pt idx="80662">1</cx:pt>
          <cx:pt idx="80663">3</cx:pt>
          <cx:pt idx="80664">2</cx:pt>
          <cx:pt idx="80665">4</cx:pt>
          <cx:pt idx="80666">3</cx:pt>
          <cx:pt idx="80667">5</cx:pt>
          <cx:pt idx="80668">5</cx:pt>
          <cx:pt idx="80669">5</cx:pt>
          <cx:pt idx="80670">1</cx:pt>
          <cx:pt idx="80671">4</cx:pt>
          <cx:pt idx="80672">3</cx:pt>
          <cx:pt idx="80673">3</cx:pt>
          <cx:pt idx="80674">2</cx:pt>
          <cx:pt idx="80675">4</cx:pt>
          <cx:pt idx="80676">1</cx:pt>
          <cx:pt idx="80677">2</cx:pt>
          <cx:pt idx="80678">4</cx:pt>
          <cx:pt idx="80679">4</cx:pt>
          <cx:pt idx="80680">2</cx:pt>
          <cx:pt idx="80681">4</cx:pt>
          <cx:pt idx="80682">1</cx:pt>
          <cx:pt idx="80683">3</cx:pt>
          <cx:pt idx="80684">4</cx:pt>
          <cx:pt idx="80685">5</cx:pt>
          <cx:pt idx="80686">4</cx:pt>
          <cx:pt idx="80687">4</cx:pt>
          <cx:pt idx="80688">5</cx:pt>
          <cx:pt idx="80689">4</cx:pt>
          <cx:pt idx="80690">5</cx:pt>
          <cx:pt idx="80691">3</cx:pt>
          <cx:pt idx="80692">1</cx:pt>
          <cx:pt idx="80693">4</cx:pt>
          <cx:pt idx="80694">4</cx:pt>
          <cx:pt idx="80695">4</cx:pt>
          <cx:pt idx="80696">5</cx:pt>
          <cx:pt idx="80697">3</cx:pt>
          <cx:pt idx="80698">4</cx:pt>
          <cx:pt idx="80699">1</cx:pt>
          <cx:pt idx="80700">4</cx:pt>
          <cx:pt idx="80701">2</cx:pt>
          <cx:pt idx="80702">3</cx:pt>
          <cx:pt idx="80703">2</cx:pt>
          <cx:pt idx="80704">4</cx:pt>
          <cx:pt idx="80705">2</cx:pt>
          <cx:pt idx="80706">5</cx:pt>
          <cx:pt idx="80707">2</cx:pt>
          <cx:pt idx="80708">2</cx:pt>
          <cx:pt idx="80709">2</cx:pt>
          <cx:pt idx="80710">3</cx:pt>
          <cx:pt idx="80711">5</cx:pt>
          <cx:pt idx="80712">5</cx:pt>
          <cx:pt idx="80713">4</cx:pt>
          <cx:pt idx="80714">4</cx:pt>
          <cx:pt idx="80715">3</cx:pt>
          <cx:pt idx="80716">2</cx:pt>
          <cx:pt idx="80717">2</cx:pt>
          <cx:pt idx="80718">4</cx:pt>
          <cx:pt idx="80719">4</cx:pt>
          <cx:pt idx="80720">2</cx:pt>
          <cx:pt idx="80721">2</cx:pt>
          <cx:pt idx="80722">2</cx:pt>
          <cx:pt idx="80723">5</cx:pt>
          <cx:pt idx="80724">5</cx:pt>
          <cx:pt idx="80725">4</cx:pt>
          <cx:pt idx="80726">1</cx:pt>
          <cx:pt idx="80727">5</cx:pt>
          <cx:pt idx="80728">5</cx:pt>
          <cx:pt idx="80729">3</cx:pt>
          <cx:pt idx="80730">1</cx:pt>
          <cx:pt idx="80731">2</cx:pt>
          <cx:pt idx="80732">2</cx:pt>
          <cx:pt idx="80733">1</cx:pt>
          <cx:pt idx="80734">4</cx:pt>
          <cx:pt idx="80735">2</cx:pt>
          <cx:pt idx="80736">4</cx:pt>
          <cx:pt idx="80737">5</cx:pt>
          <cx:pt idx="80738">2</cx:pt>
          <cx:pt idx="80739">5</cx:pt>
          <cx:pt idx="80740">1</cx:pt>
          <cx:pt idx="80741">5</cx:pt>
          <cx:pt idx="80742">4</cx:pt>
          <cx:pt idx="80743">3</cx:pt>
          <cx:pt idx="80744">5</cx:pt>
          <cx:pt idx="80745">2</cx:pt>
          <cx:pt idx="80746">3</cx:pt>
          <cx:pt idx="80747">1</cx:pt>
          <cx:pt idx="80748">1</cx:pt>
          <cx:pt idx="80749">5</cx:pt>
          <cx:pt idx="80750">1</cx:pt>
          <cx:pt idx="80751">1</cx:pt>
          <cx:pt idx="80752">4</cx:pt>
          <cx:pt idx="80753">5</cx:pt>
          <cx:pt idx="80754">5</cx:pt>
          <cx:pt idx="80755">4</cx:pt>
          <cx:pt idx="80756">3</cx:pt>
          <cx:pt idx="80757">1</cx:pt>
          <cx:pt idx="80758">4</cx:pt>
          <cx:pt idx="80759">5</cx:pt>
          <cx:pt idx="80760">2</cx:pt>
          <cx:pt idx="80761">2</cx:pt>
          <cx:pt idx="80762">3</cx:pt>
          <cx:pt idx="80763">3</cx:pt>
          <cx:pt idx="80764">5</cx:pt>
          <cx:pt idx="80765">3</cx:pt>
          <cx:pt idx="80766">2</cx:pt>
          <cx:pt idx="80767">2</cx:pt>
          <cx:pt idx="80768">4</cx:pt>
          <cx:pt idx="80769">3</cx:pt>
          <cx:pt idx="80770">4</cx:pt>
          <cx:pt idx="80771">4</cx:pt>
          <cx:pt idx="80772">1</cx:pt>
          <cx:pt idx="80773">3</cx:pt>
          <cx:pt idx="80774">4</cx:pt>
          <cx:pt idx="80775">4</cx:pt>
          <cx:pt idx="80776">5</cx:pt>
          <cx:pt idx="80777">3</cx:pt>
          <cx:pt idx="80778">1</cx:pt>
          <cx:pt idx="80779">1</cx:pt>
          <cx:pt idx="80780">5</cx:pt>
          <cx:pt idx="80781">2</cx:pt>
          <cx:pt idx="80782">4</cx:pt>
          <cx:pt idx="80783">5</cx:pt>
          <cx:pt idx="80784">2</cx:pt>
          <cx:pt idx="80785">1</cx:pt>
          <cx:pt idx="80786">1</cx:pt>
          <cx:pt idx="80787">3</cx:pt>
          <cx:pt idx="80788">4</cx:pt>
          <cx:pt idx="80789">3</cx:pt>
          <cx:pt idx="80790">3</cx:pt>
          <cx:pt idx="80791">1</cx:pt>
          <cx:pt idx="80792">2</cx:pt>
          <cx:pt idx="80793">4</cx:pt>
          <cx:pt idx="80794">4</cx:pt>
          <cx:pt idx="80795">5</cx:pt>
          <cx:pt idx="80796">1</cx:pt>
          <cx:pt idx="80797">5</cx:pt>
          <cx:pt idx="80798">5</cx:pt>
          <cx:pt idx="80799">4</cx:pt>
          <cx:pt idx="80800">1</cx:pt>
          <cx:pt idx="80801">2</cx:pt>
          <cx:pt idx="80802">5</cx:pt>
          <cx:pt idx="80803">5</cx:pt>
          <cx:pt idx="80804">3</cx:pt>
          <cx:pt idx="80805">3</cx:pt>
          <cx:pt idx="80806">1</cx:pt>
          <cx:pt idx="80807">4</cx:pt>
          <cx:pt idx="80808">5</cx:pt>
          <cx:pt idx="80809">5</cx:pt>
          <cx:pt idx="80810">2</cx:pt>
          <cx:pt idx="80811">4</cx:pt>
          <cx:pt idx="80812">4</cx:pt>
          <cx:pt idx="80813">5</cx:pt>
          <cx:pt idx="80814">5</cx:pt>
          <cx:pt idx="80815">2</cx:pt>
          <cx:pt idx="80816">4</cx:pt>
          <cx:pt idx="80817">5</cx:pt>
          <cx:pt idx="80818">4</cx:pt>
          <cx:pt idx="80819">1</cx:pt>
          <cx:pt idx="80820">4</cx:pt>
          <cx:pt idx="80821">5</cx:pt>
          <cx:pt idx="80822">4</cx:pt>
          <cx:pt idx="80823">3</cx:pt>
          <cx:pt idx="80824">5</cx:pt>
          <cx:pt idx="80825">4</cx:pt>
          <cx:pt idx="80826">1</cx:pt>
          <cx:pt idx="80827">2</cx:pt>
          <cx:pt idx="80828">1</cx:pt>
          <cx:pt idx="80829">1</cx:pt>
          <cx:pt idx="80830">5</cx:pt>
          <cx:pt idx="80831">4</cx:pt>
          <cx:pt idx="80832">4</cx:pt>
          <cx:pt idx="80833">5</cx:pt>
          <cx:pt idx="80834">3</cx:pt>
          <cx:pt idx="80835">2</cx:pt>
          <cx:pt idx="80836">2</cx:pt>
          <cx:pt idx="80837">3</cx:pt>
          <cx:pt idx="80838">5</cx:pt>
          <cx:pt idx="80839">3</cx:pt>
          <cx:pt idx="80840">1</cx:pt>
          <cx:pt idx="80841">3</cx:pt>
          <cx:pt idx="80842">1</cx:pt>
          <cx:pt idx="80843">5</cx:pt>
          <cx:pt idx="80844">5</cx:pt>
          <cx:pt idx="80845">5</cx:pt>
          <cx:pt idx="80846">4</cx:pt>
          <cx:pt idx="80847">5</cx:pt>
          <cx:pt idx="80848">4</cx:pt>
          <cx:pt idx="80849">4</cx:pt>
          <cx:pt idx="80850">4</cx:pt>
          <cx:pt idx="80851">3</cx:pt>
          <cx:pt idx="80852">5</cx:pt>
          <cx:pt idx="80853">3</cx:pt>
          <cx:pt idx="80854">1</cx:pt>
          <cx:pt idx="80855">4</cx:pt>
          <cx:pt idx="80856">4</cx:pt>
          <cx:pt idx="80857">2</cx:pt>
          <cx:pt idx="80858">4</cx:pt>
          <cx:pt idx="80859">5</cx:pt>
          <cx:pt idx="80860">4</cx:pt>
          <cx:pt idx="80861">5</cx:pt>
          <cx:pt idx="80862">5</cx:pt>
          <cx:pt idx="80863">2</cx:pt>
          <cx:pt idx="80864">4</cx:pt>
          <cx:pt idx="80865">2</cx:pt>
          <cx:pt idx="80866">4</cx:pt>
          <cx:pt idx="80867">4</cx:pt>
          <cx:pt idx="80868">5</cx:pt>
          <cx:pt idx="80869">4</cx:pt>
          <cx:pt idx="80870">2</cx:pt>
          <cx:pt idx="80871">5</cx:pt>
          <cx:pt idx="80872">2</cx:pt>
          <cx:pt idx="80873">4</cx:pt>
          <cx:pt idx="80874">2</cx:pt>
          <cx:pt idx="80875">3</cx:pt>
          <cx:pt idx="80876">5</cx:pt>
          <cx:pt idx="80877">3</cx:pt>
          <cx:pt idx="80878">3</cx:pt>
          <cx:pt idx="80879">3</cx:pt>
          <cx:pt idx="80880">2</cx:pt>
          <cx:pt idx="80881">5</cx:pt>
          <cx:pt idx="80882">1</cx:pt>
          <cx:pt idx="80883">4</cx:pt>
          <cx:pt idx="80884">1</cx:pt>
          <cx:pt idx="80885">4</cx:pt>
          <cx:pt idx="80886">4</cx:pt>
          <cx:pt idx="80887">3</cx:pt>
          <cx:pt idx="80888">5</cx:pt>
          <cx:pt idx="80889">1</cx:pt>
          <cx:pt idx="80890">4</cx:pt>
          <cx:pt idx="80891">4</cx:pt>
          <cx:pt idx="80892">3</cx:pt>
          <cx:pt idx="80893">5</cx:pt>
          <cx:pt idx="80894">2</cx:pt>
          <cx:pt idx="80895">2</cx:pt>
          <cx:pt idx="80896">1</cx:pt>
          <cx:pt idx="80897">4</cx:pt>
          <cx:pt idx="80898">4</cx:pt>
          <cx:pt idx="80899">5</cx:pt>
          <cx:pt idx="80900">4</cx:pt>
          <cx:pt idx="80901">1</cx:pt>
          <cx:pt idx="80902">5</cx:pt>
          <cx:pt idx="80903">4</cx:pt>
          <cx:pt idx="80904">3</cx:pt>
          <cx:pt idx="80905">4</cx:pt>
          <cx:pt idx="80906">5</cx:pt>
          <cx:pt idx="80907">3</cx:pt>
          <cx:pt idx="80908">2</cx:pt>
          <cx:pt idx="80909">2</cx:pt>
          <cx:pt idx="80910">2</cx:pt>
          <cx:pt idx="80911">4</cx:pt>
          <cx:pt idx="80912">5</cx:pt>
          <cx:pt idx="80913">4</cx:pt>
          <cx:pt idx="80914">3</cx:pt>
          <cx:pt idx="80915">2</cx:pt>
          <cx:pt idx="80916">4</cx:pt>
          <cx:pt idx="80917">1</cx:pt>
          <cx:pt idx="80918">4</cx:pt>
          <cx:pt idx="80919">4</cx:pt>
          <cx:pt idx="80920">3</cx:pt>
          <cx:pt idx="80921">2</cx:pt>
          <cx:pt idx="80922">3</cx:pt>
          <cx:pt idx="80923">1</cx:pt>
          <cx:pt idx="80924">2</cx:pt>
          <cx:pt idx="80925">5</cx:pt>
          <cx:pt idx="80926">3</cx:pt>
          <cx:pt idx="80927">4</cx:pt>
          <cx:pt idx="80928">3</cx:pt>
          <cx:pt idx="80929">2</cx:pt>
          <cx:pt idx="80930">4</cx:pt>
          <cx:pt idx="80931">5</cx:pt>
          <cx:pt idx="80932">5</cx:pt>
          <cx:pt idx="80933">4</cx:pt>
          <cx:pt idx="80934">1</cx:pt>
          <cx:pt idx="80935">1</cx:pt>
          <cx:pt idx="80936">1</cx:pt>
          <cx:pt idx="80937">5</cx:pt>
          <cx:pt idx="80938">5</cx:pt>
          <cx:pt idx="80939">5</cx:pt>
          <cx:pt idx="80940">2</cx:pt>
          <cx:pt idx="80941">2</cx:pt>
          <cx:pt idx="80942">5</cx:pt>
          <cx:pt idx="80943">4</cx:pt>
          <cx:pt idx="80944">4</cx:pt>
          <cx:pt idx="80945">3</cx:pt>
          <cx:pt idx="80946">4</cx:pt>
          <cx:pt idx="80947">2</cx:pt>
          <cx:pt idx="80948">5</cx:pt>
          <cx:pt idx="80949">1</cx:pt>
          <cx:pt idx="80950">5</cx:pt>
          <cx:pt idx="80951">4</cx:pt>
          <cx:pt idx="80952">4</cx:pt>
          <cx:pt idx="80953">3</cx:pt>
          <cx:pt idx="80954">3</cx:pt>
          <cx:pt idx="80955">4</cx:pt>
          <cx:pt idx="80956">3</cx:pt>
          <cx:pt idx="80957">3</cx:pt>
          <cx:pt idx="80958">3</cx:pt>
          <cx:pt idx="80959">4</cx:pt>
          <cx:pt idx="80960">3</cx:pt>
          <cx:pt idx="80961">5</cx:pt>
          <cx:pt idx="80962">3</cx:pt>
          <cx:pt idx="80963">4</cx:pt>
          <cx:pt idx="80964">2</cx:pt>
          <cx:pt idx="80965">1</cx:pt>
          <cx:pt idx="80966">4</cx:pt>
          <cx:pt idx="80967">1</cx:pt>
          <cx:pt idx="80968">5</cx:pt>
          <cx:pt idx="80969">5</cx:pt>
          <cx:pt idx="80970">5</cx:pt>
          <cx:pt idx="80971">5</cx:pt>
          <cx:pt idx="80972">4</cx:pt>
          <cx:pt idx="80973">1</cx:pt>
          <cx:pt idx="80974">5</cx:pt>
          <cx:pt idx="80975">2</cx:pt>
          <cx:pt idx="80976">2</cx:pt>
          <cx:pt idx="80977">4</cx:pt>
          <cx:pt idx="80978">4</cx:pt>
          <cx:pt idx="80979">3</cx:pt>
          <cx:pt idx="80980">5</cx:pt>
          <cx:pt idx="80981">1</cx:pt>
          <cx:pt idx="80982">5</cx:pt>
          <cx:pt idx="80983">5</cx:pt>
          <cx:pt idx="80984">3</cx:pt>
          <cx:pt idx="80985">3</cx:pt>
          <cx:pt idx="80986">5</cx:pt>
          <cx:pt idx="80987">1</cx:pt>
          <cx:pt idx="80988">5</cx:pt>
          <cx:pt idx="80989">4</cx:pt>
          <cx:pt idx="80990">4</cx:pt>
          <cx:pt idx="80991">4</cx:pt>
          <cx:pt idx="80992">3</cx:pt>
          <cx:pt idx="80993">4</cx:pt>
          <cx:pt idx="80994">4</cx:pt>
          <cx:pt idx="80995">2</cx:pt>
          <cx:pt idx="80996">5</cx:pt>
          <cx:pt idx="80997">4</cx:pt>
          <cx:pt idx="80998">5</cx:pt>
          <cx:pt idx="80999">2</cx:pt>
          <cx:pt idx="81000">2</cx:pt>
          <cx:pt idx="81001">5</cx:pt>
          <cx:pt idx="81002">5</cx:pt>
          <cx:pt idx="81003">4</cx:pt>
          <cx:pt idx="81004">3</cx:pt>
          <cx:pt idx="81005">4</cx:pt>
          <cx:pt idx="81006">1</cx:pt>
          <cx:pt idx="81007">1</cx:pt>
          <cx:pt idx="81008">4</cx:pt>
          <cx:pt idx="81009">3</cx:pt>
          <cx:pt idx="81010">5</cx:pt>
          <cx:pt idx="81011">4</cx:pt>
          <cx:pt idx="81012">2</cx:pt>
          <cx:pt idx="81013">4</cx:pt>
          <cx:pt idx="81014">3</cx:pt>
          <cx:pt idx="81015">2</cx:pt>
          <cx:pt idx="81016">1</cx:pt>
          <cx:pt idx="81017">4</cx:pt>
          <cx:pt idx="81018">1</cx:pt>
          <cx:pt idx="81019">1</cx:pt>
          <cx:pt idx="81020">5</cx:pt>
          <cx:pt idx="81021">2</cx:pt>
          <cx:pt idx="81022">5</cx:pt>
          <cx:pt idx="81023">5</cx:pt>
          <cx:pt idx="81024">2</cx:pt>
          <cx:pt idx="81025">3</cx:pt>
          <cx:pt idx="81026">4</cx:pt>
          <cx:pt idx="81027">1</cx:pt>
          <cx:pt idx="81028">2</cx:pt>
          <cx:pt idx="81029">5</cx:pt>
          <cx:pt idx="81030">2</cx:pt>
          <cx:pt idx="81031">4</cx:pt>
          <cx:pt idx="81032">5</cx:pt>
          <cx:pt idx="81033">4</cx:pt>
          <cx:pt idx="81034">3</cx:pt>
          <cx:pt idx="81035">1</cx:pt>
          <cx:pt idx="81036">5</cx:pt>
          <cx:pt idx="81037">2</cx:pt>
          <cx:pt idx="81038">2</cx:pt>
          <cx:pt idx="81039">5</cx:pt>
          <cx:pt idx="81040">2</cx:pt>
          <cx:pt idx="81041">5</cx:pt>
          <cx:pt idx="81042">5</cx:pt>
          <cx:pt idx="81043">4</cx:pt>
          <cx:pt idx="81044">4</cx:pt>
          <cx:pt idx="81045">3</cx:pt>
          <cx:pt idx="81046">2</cx:pt>
          <cx:pt idx="81047">3</cx:pt>
          <cx:pt idx="81048">4</cx:pt>
          <cx:pt idx="81049">1</cx:pt>
          <cx:pt idx="81050">1</cx:pt>
          <cx:pt idx="81051">4</cx:pt>
          <cx:pt idx="81052">4</cx:pt>
          <cx:pt idx="81053">5</cx:pt>
          <cx:pt idx="81054">1</cx:pt>
          <cx:pt idx="81055">4</cx:pt>
          <cx:pt idx="81056">3</cx:pt>
          <cx:pt idx="81057">4</cx:pt>
          <cx:pt idx="81058">3</cx:pt>
          <cx:pt idx="81059">5</cx:pt>
          <cx:pt idx="81060">4</cx:pt>
          <cx:pt idx="81061">3</cx:pt>
          <cx:pt idx="81062">1</cx:pt>
          <cx:pt idx="81063">3</cx:pt>
          <cx:pt idx="81064">4</cx:pt>
          <cx:pt idx="81065">2</cx:pt>
          <cx:pt idx="81066">5</cx:pt>
          <cx:pt idx="81067">4</cx:pt>
          <cx:pt idx="81068">5</cx:pt>
          <cx:pt idx="81069">5</cx:pt>
          <cx:pt idx="81070">5</cx:pt>
          <cx:pt idx="81071">4</cx:pt>
          <cx:pt idx="81072">4</cx:pt>
          <cx:pt idx="81073">2</cx:pt>
          <cx:pt idx="81074">4</cx:pt>
          <cx:pt idx="81075">2</cx:pt>
          <cx:pt idx="81076">5</cx:pt>
          <cx:pt idx="81077">5</cx:pt>
          <cx:pt idx="81078">3</cx:pt>
          <cx:pt idx="81079">4</cx:pt>
          <cx:pt idx="81080">2</cx:pt>
          <cx:pt idx="81081">2</cx:pt>
          <cx:pt idx="81082">1</cx:pt>
          <cx:pt idx="81083">5</cx:pt>
          <cx:pt idx="81084">2</cx:pt>
          <cx:pt idx="81085">5</cx:pt>
          <cx:pt idx="81086">5</cx:pt>
          <cx:pt idx="81087">2</cx:pt>
          <cx:pt idx="81088">2</cx:pt>
          <cx:pt idx="81089">2</cx:pt>
          <cx:pt idx="81090">4</cx:pt>
          <cx:pt idx="81091">4</cx:pt>
          <cx:pt idx="81092">4</cx:pt>
          <cx:pt idx="81093">3</cx:pt>
          <cx:pt idx="81094">2</cx:pt>
          <cx:pt idx="81095">4</cx:pt>
          <cx:pt idx="81096">4</cx:pt>
          <cx:pt idx="81097">4</cx:pt>
          <cx:pt idx="81098">4</cx:pt>
          <cx:pt idx="81099">3</cx:pt>
          <cx:pt idx="81100">4</cx:pt>
          <cx:pt idx="81101">3</cx:pt>
          <cx:pt idx="81102">1</cx:pt>
          <cx:pt idx="81103">4</cx:pt>
          <cx:pt idx="81104">2</cx:pt>
          <cx:pt idx="81105">2</cx:pt>
          <cx:pt idx="81106">3</cx:pt>
          <cx:pt idx="81107">1</cx:pt>
          <cx:pt idx="81108">5</cx:pt>
          <cx:pt idx="81109">3</cx:pt>
          <cx:pt idx="81110">2</cx:pt>
          <cx:pt idx="81111">2</cx:pt>
          <cx:pt idx="81112">4</cx:pt>
          <cx:pt idx="81113">5</cx:pt>
          <cx:pt idx="81114">4</cx:pt>
          <cx:pt idx="81115">5</cx:pt>
          <cx:pt idx="81116">5</cx:pt>
          <cx:pt idx="81117">4</cx:pt>
          <cx:pt idx="81118">3</cx:pt>
          <cx:pt idx="81119">5</cx:pt>
          <cx:pt idx="81120">4</cx:pt>
          <cx:pt idx="81121">4</cx:pt>
          <cx:pt idx="81122">5</cx:pt>
          <cx:pt idx="81123">4</cx:pt>
          <cx:pt idx="81124">3</cx:pt>
          <cx:pt idx="81125">4</cx:pt>
          <cx:pt idx="81126">2</cx:pt>
          <cx:pt idx="81127">1</cx:pt>
          <cx:pt idx="81128">5</cx:pt>
          <cx:pt idx="81129">4</cx:pt>
          <cx:pt idx="81130">4</cx:pt>
          <cx:pt idx="81131">5</cx:pt>
          <cx:pt idx="81132">4</cx:pt>
          <cx:pt idx="81133">5</cx:pt>
          <cx:pt idx="81134">1</cx:pt>
          <cx:pt idx="81135">1</cx:pt>
          <cx:pt idx="81136">5</cx:pt>
          <cx:pt idx="81137">4</cx:pt>
          <cx:pt idx="81138">4</cx:pt>
          <cx:pt idx="81139">4</cx:pt>
          <cx:pt idx="81140">2</cx:pt>
          <cx:pt idx="81141">2</cx:pt>
          <cx:pt idx="81142">5</cx:pt>
          <cx:pt idx="81143">1</cx:pt>
          <cx:pt idx="81144">2</cx:pt>
          <cx:pt idx="81145">4</cx:pt>
          <cx:pt idx="81146">5</cx:pt>
          <cx:pt idx="81147">5</cx:pt>
          <cx:pt idx="81148">5</cx:pt>
          <cx:pt idx="81149">4</cx:pt>
          <cx:pt idx="81150">5</cx:pt>
          <cx:pt idx="81151">3</cx:pt>
          <cx:pt idx="81152">3</cx:pt>
          <cx:pt idx="81153">3</cx:pt>
          <cx:pt idx="81154">5</cx:pt>
          <cx:pt idx="81155">1</cx:pt>
          <cx:pt idx="81156">5</cx:pt>
          <cx:pt idx="81157">1</cx:pt>
          <cx:pt idx="81158">3</cx:pt>
          <cx:pt idx="81159">5</cx:pt>
          <cx:pt idx="81160">4</cx:pt>
          <cx:pt idx="81161">2</cx:pt>
          <cx:pt idx="81162">5</cx:pt>
          <cx:pt idx="81163">1</cx:pt>
          <cx:pt idx="81164">1</cx:pt>
          <cx:pt idx="81165">5</cx:pt>
          <cx:pt idx="81166">4</cx:pt>
          <cx:pt idx="81167">2</cx:pt>
          <cx:pt idx="81168">4</cx:pt>
          <cx:pt idx="81169">5</cx:pt>
          <cx:pt idx="81170">3</cx:pt>
          <cx:pt idx="81171">1</cx:pt>
          <cx:pt idx="81172">4</cx:pt>
          <cx:pt idx="81173">3</cx:pt>
          <cx:pt idx="81174">5</cx:pt>
          <cx:pt idx="81175">4</cx:pt>
          <cx:pt idx="81176">4</cx:pt>
          <cx:pt idx="81177">5</cx:pt>
          <cx:pt idx="81178">5</cx:pt>
          <cx:pt idx="81179">5</cx:pt>
          <cx:pt idx="81180">2</cx:pt>
          <cx:pt idx="81181">5</cx:pt>
          <cx:pt idx="81182">2</cx:pt>
          <cx:pt idx="81183">4</cx:pt>
          <cx:pt idx="81184">5</cx:pt>
          <cx:pt idx="81185">4</cx:pt>
          <cx:pt idx="81186">4</cx:pt>
          <cx:pt idx="81187">3</cx:pt>
          <cx:pt idx="81188">2</cx:pt>
          <cx:pt idx="81189">4</cx:pt>
          <cx:pt idx="81190">4</cx:pt>
          <cx:pt idx="81191">2</cx:pt>
          <cx:pt idx="81192">5</cx:pt>
          <cx:pt idx="81193">4</cx:pt>
          <cx:pt idx="81194">2</cx:pt>
          <cx:pt idx="81195">4</cx:pt>
          <cx:pt idx="81196">2</cx:pt>
          <cx:pt idx="81197">1</cx:pt>
          <cx:pt idx="81198">1</cx:pt>
          <cx:pt idx="81199">3</cx:pt>
          <cx:pt idx="81200">5</cx:pt>
          <cx:pt idx="81201">5</cx:pt>
          <cx:pt idx="81202">2</cx:pt>
          <cx:pt idx="81203">4</cx:pt>
          <cx:pt idx="81204">5</cx:pt>
          <cx:pt idx="81205">4</cx:pt>
          <cx:pt idx="81206">3</cx:pt>
          <cx:pt idx="81207">3</cx:pt>
          <cx:pt idx="81208">4</cx:pt>
          <cx:pt idx="81209">1</cx:pt>
          <cx:pt idx="81210">3</cx:pt>
          <cx:pt idx="81211">1</cx:pt>
          <cx:pt idx="81212">5</cx:pt>
          <cx:pt idx="81213">4</cx:pt>
          <cx:pt idx="81214">4</cx:pt>
          <cx:pt idx="81215">2</cx:pt>
          <cx:pt idx="81216">4</cx:pt>
          <cx:pt idx="81217">4</cx:pt>
          <cx:pt idx="81218">4</cx:pt>
          <cx:pt idx="81219">3</cx:pt>
          <cx:pt idx="81220">2</cx:pt>
          <cx:pt idx="81221">1</cx:pt>
          <cx:pt idx="81222">5</cx:pt>
          <cx:pt idx="81223">5</cx:pt>
          <cx:pt idx="81224">4</cx:pt>
          <cx:pt idx="81225">4</cx:pt>
          <cx:pt idx="81226">5</cx:pt>
          <cx:pt idx="81227">5</cx:pt>
          <cx:pt idx="81228">4</cx:pt>
          <cx:pt idx="81229">3</cx:pt>
          <cx:pt idx="81230">3</cx:pt>
          <cx:pt idx="81231">3</cx:pt>
          <cx:pt idx="81232">5</cx:pt>
          <cx:pt idx="81233">3</cx:pt>
          <cx:pt idx="81234">1</cx:pt>
          <cx:pt idx="81235">2</cx:pt>
          <cx:pt idx="81236">5</cx:pt>
          <cx:pt idx="81237">5</cx:pt>
          <cx:pt idx="81238">1</cx:pt>
          <cx:pt idx="81239">2</cx:pt>
          <cx:pt idx="81240">4</cx:pt>
          <cx:pt idx="81241">5</cx:pt>
          <cx:pt idx="81242">4</cx:pt>
          <cx:pt idx="81243">4</cx:pt>
          <cx:pt idx="81244">1</cx:pt>
          <cx:pt idx="81245">4</cx:pt>
          <cx:pt idx="81246">2</cx:pt>
          <cx:pt idx="81247">4</cx:pt>
          <cx:pt idx="81248">2</cx:pt>
          <cx:pt idx="81249">5</cx:pt>
          <cx:pt idx="81250">5</cx:pt>
          <cx:pt idx="81251">3</cx:pt>
          <cx:pt idx="81252">5</cx:pt>
          <cx:pt idx="81253">2</cx:pt>
          <cx:pt idx="81254">4</cx:pt>
          <cx:pt idx="81255">4</cx:pt>
          <cx:pt idx="81256">5</cx:pt>
          <cx:pt idx="81257">5</cx:pt>
          <cx:pt idx="81258">4</cx:pt>
          <cx:pt idx="81259">4</cx:pt>
          <cx:pt idx="81260">4</cx:pt>
          <cx:pt idx="81261">3</cx:pt>
          <cx:pt idx="81262">1</cx:pt>
          <cx:pt idx="81263">4</cx:pt>
          <cx:pt idx="81264">2</cx:pt>
          <cx:pt idx="81265">1</cx:pt>
          <cx:pt idx="81266">3</cx:pt>
          <cx:pt idx="81267">1</cx:pt>
          <cx:pt idx="81268">4</cx:pt>
          <cx:pt idx="81269">4</cx:pt>
          <cx:pt idx="81270">2</cx:pt>
          <cx:pt idx="81271">3</cx:pt>
          <cx:pt idx="81272">5</cx:pt>
          <cx:pt idx="81273">5</cx:pt>
          <cx:pt idx="81274">4</cx:pt>
          <cx:pt idx="81275">3</cx:pt>
          <cx:pt idx="81276">5</cx:pt>
          <cx:pt idx="81277">4</cx:pt>
          <cx:pt idx="81278">1</cx:pt>
          <cx:pt idx="81279">1</cx:pt>
          <cx:pt idx="81280">3</cx:pt>
          <cx:pt idx="81281">2</cx:pt>
          <cx:pt idx="81282">3</cx:pt>
          <cx:pt idx="81283">5</cx:pt>
          <cx:pt idx="81284">4</cx:pt>
          <cx:pt idx="81285">2</cx:pt>
          <cx:pt idx="81286">5</cx:pt>
          <cx:pt idx="81287">3</cx:pt>
          <cx:pt idx="81288">5</cx:pt>
          <cx:pt idx="81289">4</cx:pt>
          <cx:pt idx="81290">4</cx:pt>
          <cx:pt idx="81291">5</cx:pt>
          <cx:pt idx="81292">2</cx:pt>
          <cx:pt idx="81293">4</cx:pt>
          <cx:pt idx="81294">5</cx:pt>
          <cx:pt idx="81295">2</cx:pt>
          <cx:pt idx="81296">3</cx:pt>
          <cx:pt idx="81297">1</cx:pt>
          <cx:pt idx="81298">2</cx:pt>
          <cx:pt idx="81299">5</cx:pt>
          <cx:pt idx="81300">1</cx:pt>
          <cx:pt idx="81301">2</cx:pt>
          <cx:pt idx="81302">2</cx:pt>
          <cx:pt idx="81303">3</cx:pt>
          <cx:pt idx="81304">4</cx:pt>
          <cx:pt idx="81305">3</cx:pt>
          <cx:pt idx="81306">4</cx:pt>
          <cx:pt idx="81307">4</cx:pt>
          <cx:pt idx="81308">5</cx:pt>
          <cx:pt idx="81309">5</cx:pt>
          <cx:pt idx="81310">3</cx:pt>
          <cx:pt idx="81311">2</cx:pt>
          <cx:pt idx="81312">4</cx:pt>
          <cx:pt idx="81313">2</cx:pt>
          <cx:pt idx="81314">4</cx:pt>
          <cx:pt idx="81315">4</cx:pt>
          <cx:pt idx="81316">5</cx:pt>
          <cx:pt idx="81317">1</cx:pt>
          <cx:pt idx="81318">3</cx:pt>
          <cx:pt idx="81319">3</cx:pt>
          <cx:pt idx="81320">3</cx:pt>
          <cx:pt idx="81321">1</cx:pt>
          <cx:pt idx="81322">3</cx:pt>
          <cx:pt idx="81323">3</cx:pt>
          <cx:pt idx="81324">3</cx:pt>
          <cx:pt idx="81325">5</cx:pt>
          <cx:pt idx="81326">4</cx:pt>
          <cx:pt idx="81327">4</cx:pt>
          <cx:pt idx="81328">5</cx:pt>
          <cx:pt idx="81329">2</cx:pt>
          <cx:pt idx="81330">3</cx:pt>
          <cx:pt idx="81331">5</cx:pt>
          <cx:pt idx="81332">3</cx:pt>
          <cx:pt idx="81333">5</cx:pt>
          <cx:pt idx="81334">1</cx:pt>
          <cx:pt idx="81335">3</cx:pt>
          <cx:pt idx="81336">5</cx:pt>
          <cx:pt idx="81337">3</cx:pt>
          <cx:pt idx="81338">5</cx:pt>
          <cx:pt idx="81339">5</cx:pt>
          <cx:pt idx="81340">5</cx:pt>
          <cx:pt idx="81341">1</cx:pt>
          <cx:pt idx="81342">2</cx:pt>
          <cx:pt idx="81343">2</cx:pt>
          <cx:pt idx="81344">1</cx:pt>
          <cx:pt idx="81345">4</cx:pt>
          <cx:pt idx="81346">5</cx:pt>
          <cx:pt idx="81347">2</cx:pt>
          <cx:pt idx="81348">4</cx:pt>
          <cx:pt idx="81349">4</cx:pt>
          <cx:pt idx="81350">5</cx:pt>
          <cx:pt idx="81351">1</cx:pt>
          <cx:pt idx="81352">2</cx:pt>
          <cx:pt idx="81353">2</cx:pt>
          <cx:pt idx="81354">3</cx:pt>
          <cx:pt idx="81355">1</cx:pt>
          <cx:pt idx="81356">4</cx:pt>
          <cx:pt idx="81357">4</cx:pt>
          <cx:pt idx="81358">4</cx:pt>
          <cx:pt idx="81359">4</cx:pt>
          <cx:pt idx="81360">4</cx:pt>
          <cx:pt idx="81361">2</cx:pt>
          <cx:pt idx="81362">3</cx:pt>
          <cx:pt idx="81363">3</cx:pt>
          <cx:pt idx="81364">3</cx:pt>
          <cx:pt idx="81365">3</cx:pt>
          <cx:pt idx="81366">3</cx:pt>
          <cx:pt idx="81367">4</cx:pt>
          <cx:pt idx="81368">4</cx:pt>
          <cx:pt idx="81369">5</cx:pt>
          <cx:pt idx="81370">1</cx:pt>
          <cx:pt idx="81371">5</cx:pt>
          <cx:pt idx="81372">3</cx:pt>
          <cx:pt idx="81373">4</cx:pt>
          <cx:pt idx="81374">3</cx:pt>
          <cx:pt idx="81375">4</cx:pt>
          <cx:pt idx="81376">4</cx:pt>
          <cx:pt idx="81377">4</cx:pt>
          <cx:pt idx="81378">3</cx:pt>
          <cx:pt idx="81379">4</cx:pt>
          <cx:pt idx="81380">3</cx:pt>
          <cx:pt idx="81381">4</cx:pt>
          <cx:pt idx="81382">5</cx:pt>
          <cx:pt idx="81383">5</cx:pt>
          <cx:pt idx="81384">3</cx:pt>
          <cx:pt idx="81385">2</cx:pt>
          <cx:pt idx="81386">4</cx:pt>
          <cx:pt idx="81387">5</cx:pt>
          <cx:pt idx="81388">3</cx:pt>
          <cx:pt idx="81389">5</cx:pt>
          <cx:pt idx="81390">2</cx:pt>
          <cx:pt idx="81391">3</cx:pt>
          <cx:pt idx="81392">4</cx:pt>
          <cx:pt idx="81393">4</cx:pt>
          <cx:pt idx="81394">2</cx:pt>
          <cx:pt idx="81395">2</cx:pt>
          <cx:pt idx="81396">2</cx:pt>
          <cx:pt idx="81397">3</cx:pt>
          <cx:pt idx="81398">5</cx:pt>
          <cx:pt idx="81399">5</cx:pt>
          <cx:pt idx="81400">5</cx:pt>
          <cx:pt idx="81401">4</cx:pt>
          <cx:pt idx="81402">4</cx:pt>
          <cx:pt idx="81403">4</cx:pt>
          <cx:pt idx="81404">3</cx:pt>
          <cx:pt idx="81405">2</cx:pt>
          <cx:pt idx="81406">1</cx:pt>
          <cx:pt idx="81407">4</cx:pt>
          <cx:pt idx="81408">2</cx:pt>
          <cx:pt idx="81409">5</cx:pt>
          <cx:pt idx="81410">3</cx:pt>
          <cx:pt idx="81411">3</cx:pt>
          <cx:pt idx="81412">5</cx:pt>
          <cx:pt idx="81413">3</cx:pt>
          <cx:pt idx="81414">3</cx:pt>
          <cx:pt idx="81415">4</cx:pt>
          <cx:pt idx="81416">4</cx:pt>
          <cx:pt idx="81417">4</cx:pt>
          <cx:pt idx="81418">5</cx:pt>
          <cx:pt idx="81419">4</cx:pt>
          <cx:pt idx="81420">4</cx:pt>
          <cx:pt idx="81421">4</cx:pt>
          <cx:pt idx="81422">3</cx:pt>
          <cx:pt idx="81423">3</cx:pt>
          <cx:pt idx="81424">3</cx:pt>
          <cx:pt idx="81425">4</cx:pt>
          <cx:pt idx="81426">3</cx:pt>
          <cx:pt idx="81427">2</cx:pt>
          <cx:pt idx="81428">3</cx:pt>
          <cx:pt idx="81429">2</cx:pt>
          <cx:pt idx="81430">1</cx:pt>
          <cx:pt idx="81431">4</cx:pt>
          <cx:pt idx="81432">5</cx:pt>
          <cx:pt idx="81433">4</cx:pt>
          <cx:pt idx="81434">4</cx:pt>
          <cx:pt idx="81435">2</cx:pt>
          <cx:pt idx="81436">1</cx:pt>
          <cx:pt idx="81437">5</cx:pt>
          <cx:pt idx="81438">5</cx:pt>
          <cx:pt idx="81439">5</cx:pt>
          <cx:pt idx="81440">5</cx:pt>
          <cx:pt idx="81441">2</cx:pt>
          <cx:pt idx="81442">5</cx:pt>
          <cx:pt idx="81443">2</cx:pt>
          <cx:pt idx="81444">5</cx:pt>
          <cx:pt idx="81445">1</cx:pt>
          <cx:pt idx="81446">4</cx:pt>
          <cx:pt idx="81447">4</cx:pt>
          <cx:pt idx="81448">1</cx:pt>
          <cx:pt idx="81449">5</cx:pt>
          <cx:pt idx="81450">5</cx:pt>
          <cx:pt idx="81451">4</cx:pt>
          <cx:pt idx="81452">2</cx:pt>
          <cx:pt idx="81453">4</cx:pt>
          <cx:pt idx="81454">1</cx:pt>
          <cx:pt idx="81455">4</cx:pt>
          <cx:pt idx="81456">4</cx:pt>
          <cx:pt idx="81457">4</cx:pt>
          <cx:pt idx="81458">1</cx:pt>
          <cx:pt idx="81459">4</cx:pt>
          <cx:pt idx="81460">4</cx:pt>
          <cx:pt idx="81461">1</cx:pt>
          <cx:pt idx="81462">4</cx:pt>
          <cx:pt idx="81463">4</cx:pt>
          <cx:pt idx="81464">3</cx:pt>
          <cx:pt idx="81465">1</cx:pt>
          <cx:pt idx="81466">5</cx:pt>
          <cx:pt idx="81467">2</cx:pt>
          <cx:pt idx="81468">4</cx:pt>
          <cx:pt idx="81469">2</cx:pt>
          <cx:pt idx="81470">4</cx:pt>
          <cx:pt idx="81471">1</cx:pt>
          <cx:pt idx="81472">2</cx:pt>
          <cx:pt idx="81473">4</cx:pt>
          <cx:pt idx="81474">1</cx:pt>
          <cx:pt idx="81475">1</cx:pt>
          <cx:pt idx="81476">2</cx:pt>
          <cx:pt idx="81477">4</cx:pt>
          <cx:pt idx="81478">1</cx:pt>
          <cx:pt idx="81479">4</cx:pt>
          <cx:pt idx="81480">2</cx:pt>
          <cx:pt idx="81481">5</cx:pt>
          <cx:pt idx="81482">5</cx:pt>
          <cx:pt idx="81483">5</cx:pt>
          <cx:pt idx="81484">1</cx:pt>
          <cx:pt idx="81485">5</cx:pt>
          <cx:pt idx="81486">2</cx:pt>
          <cx:pt idx="81487">3</cx:pt>
          <cx:pt idx="81488">1</cx:pt>
          <cx:pt idx="81489">1</cx:pt>
          <cx:pt idx="81490">4</cx:pt>
          <cx:pt idx="81491">2</cx:pt>
          <cx:pt idx="81492">3</cx:pt>
          <cx:pt idx="81493">4</cx:pt>
          <cx:pt idx="81494">4</cx:pt>
          <cx:pt idx="81495">3</cx:pt>
          <cx:pt idx="81496">1</cx:pt>
          <cx:pt idx="81497">5</cx:pt>
          <cx:pt idx="81498">2</cx:pt>
          <cx:pt idx="81499">4</cx:pt>
          <cx:pt idx="81500">4</cx:pt>
          <cx:pt idx="81501">4</cx:pt>
          <cx:pt idx="81502">4</cx:pt>
          <cx:pt idx="81503">4</cx:pt>
          <cx:pt idx="81504">5</cx:pt>
          <cx:pt idx="81505">4</cx:pt>
          <cx:pt idx="81506">3</cx:pt>
          <cx:pt idx="81507">5</cx:pt>
          <cx:pt idx="81508">5</cx:pt>
          <cx:pt idx="81509">5</cx:pt>
          <cx:pt idx="81510">2</cx:pt>
          <cx:pt idx="81511">5</cx:pt>
          <cx:pt idx="81512">4</cx:pt>
          <cx:pt idx="81513">5</cx:pt>
          <cx:pt idx="81514">3</cx:pt>
          <cx:pt idx="81515">4</cx:pt>
          <cx:pt idx="81516">5</cx:pt>
          <cx:pt idx="81517">5</cx:pt>
          <cx:pt idx="81518">5</cx:pt>
          <cx:pt idx="81519">5</cx:pt>
          <cx:pt idx="81520">4</cx:pt>
          <cx:pt idx="81521">4</cx:pt>
          <cx:pt idx="81522">2</cx:pt>
          <cx:pt idx="81523">3</cx:pt>
          <cx:pt idx="81524">4</cx:pt>
          <cx:pt idx="81525">5</cx:pt>
          <cx:pt idx="81526">2</cx:pt>
          <cx:pt idx="81527">2</cx:pt>
          <cx:pt idx="81528">5</cx:pt>
          <cx:pt idx="81529">4</cx:pt>
          <cx:pt idx="81530">1</cx:pt>
          <cx:pt idx="81531">4</cx:pt>
          <cx:pt idx="81532">5</cx:pt>
          <cx:pt idx="81533">3</cx:pt>
          <cx:pt idx="81534">3</cx:pt>
          <cx:pt idx="81535">4</cx:pt>
          <cx:pt idx="81536">2</cx:pt>
          <cx:pt idx="81537">3</cx:pt>
          <cx:pt idx="81538">1</cx:pt>
          <cx:pt idx="81539">3</cx:pt>
          <cx:pt idx="81540">3</cx:pt>
          <cx:pt idx="81541">5</cx:pt>
          <cx:pt idx="81542">3</cx:pt>
          <cx:pt idx="81543">4</cx:pt>
          <cx:pt idx="81544">2</cx:pt>
          <cx:pt idx="81545">2</cx:pt>
          <cx:pt idx="81546">5</cx:pt>
          <cx:pt idx="81547">4</cx:pt>
          <cx:pt idx="81548">5</cx:pt>
          <cx:pt idx="81549">2</cx:pt>
          <cx:pt idx="81550">2</cx:pt>
          <cx:pt idx="81551">2</cx:pt>
          <cx:pt idx="81552">3</cx:pt>
          <cx:pt idx="81553">3</cx:pt>
          <cx:pt idx="81554">4</cx:pt>
          <cx:pt idx="81555">4</cx:pt>
          <cx:pt idx="81556">4</cx:pt>
          <cx:pt idx="81557">4</cx:pt>
          <cx:pt idx="81558">4</cx:pt>
          <cx:pt idx="81559">2</cx:pt>
          <cx:pt idx="81560">5</cx:pt>
          <cx:pt idx="81561">4</cx:pt>
          <cx:pt idx="81562">2</cx:pt>
          <cx:pt idx="81563">3</cx:pt>
          <cx:pt idx="81564">2</cx:pt>
          <cx:pt idx="81565">4</cx:pt>
          <cx:pt idx="81566">4</cx:pt>
          <cx:pt idx="81567">5</cx:pt>
          <cx:pt idx="81568">4</cx:pt>
          <cx:pt idx="81569">3</cx:pt>
          <cx:pt idx="81570">3</cx:pt>
          <cx:pt idx="81571">4</cx:pt>
          <cx:pt idx="81572">5</cx:pt>
          <cx:pt idx="81573">4</cx:pt>
          <cx:pt idx="81574">4</cx:pt>
          <cx:pt idx="81575">4</cx:pt>
          <cx:pt idx="81576">4</cx:pt>
          <cx:pt idx="81577">5</cx:pt>
          <cx:pt idx="81578">2</cx:pt>
          <cx:pt idx="81579">1</cx:pt>
          <cx:pt idx="81580">1</cx:pt>
          <cx:pt idx="81581">3</cx:pt>
          <cx:pt idx="81582">3</cx:pt>
          <cx:pt idx="81583">4</cx:pt>
          <cx:pt idx="81584">3</cx:pt>
          <cx:pt idx="81585">2</cx:pt>
          <cx:pt idx="81586">4</cx:pt>
          <cx:pt idx="81587">4</cx:pt>
          <cx:pt idx="81588">2</cx:pt>
          <cx:pt idx="81589">3</cx:pt>
          <cx:pt idx="81590">3</cx:pt>
          <cx:pt idx="81591">2</cx:pt>
          <cx:pt idx="81592">4</cx:pt>
          <cx:pt idx="81593">2</cx:pt>
          <cx:pt idx="81594">2</cx:pt>
          <cx:pt idx="81595">4</cx:pt>
          <cx:pt idx="81596">3</cx:pt>
          <cx:pt idx="81597">3</cx:pt>
          <cx:pt idx="81598">2</cx:pt>
          <cx:pt idx="81599">2</cx:pt>
          <cx:pt idx="81600">3</cx:pt>
          <cx:pt idx="81601">5</cx:pt>
          <cx:pt idx="81602">5</cx:pt>
          <cx:pt idx="81603">3</cx:pt>
          <cx:pt idx="81604">3</cx:pt>
          <cx:pt idx="81605">3</cx:pt>
          <cx:pt idx="81606">4</cx:pt>
          <cx:pt idx="81607">5</cx:pt>
          <cx:pt idx="81608">4</cx:pt>
          <cx:pt idx="81609">5</cx:pt>
          <cx:pt idx="81610">4</cx:pt>
          <cx:pt idx="81611">4</cx:pt>
          <cx:pt idx="81612">1</cx:pt>
          <cx:pt idx="81613">3</cx:pt>
          <cx:pt idx="81614">2</cx:pt>
          <cx:pt idx="81615">5</cx:pt>
          <cx:pt idx="81616">5</cx:pt>
          <cx:pt idx="81617">5</cx:pt>
          <cx:pt idx="81618">4</cx:pt>
          <cx:pt idx="81619">2</cx:pt>
          <cx:pt idx="81620">4</cx:pt>
          <cx:pt idx="81621">4</cx:pt>
          <cx:pt idx="81622">5</cx:pt>
          <cx:pt idx="81623">3</cx:pt>
          <cx:pt idx="81624">4</cx:pt>
          <cx:pt idx="81625">5</cx:pt>
          <cx:pt idx="81626">4</cx:pt>
          <cx:pt idx="81627">4</cx:pt>
          <cx:pt idx="81628">5</cx:pt>
          <cx:pt idx="81629">2</cx:pt>
          <cx:pt idx="81630">5</cx:pt>
          <cx:pt idx="81631">4</cx:pt>
          <cx:pt idx="81632">5</cx:pt>
          <cx:pt idx="81633">5</cx:pt>
          <cx:pt idx="81634">5</cx:pt>
          <cx:pt idx="81635">5</cx:pt>
          <cx:pt idx="81636">5</cx:pt>
          <cx:pt idx="81637">1</cx:pt>
          <cx:pt idx="81638">2</cx:pt>
          <cx:pt idx="81639">2</cx:pt>
          <cx:pt idx="81640">2</cx:pt>
          <cx:pt idx="81641">4</cx:pt>
          <cx:pt idx="81642">4</cx:pt>
          <cx:pt idx="81643">5</cx:pt>
          <cx:pt idx="81644">3</cx:pt>
          <cx:pt idx="81645">4</cx:pt>
          <cx:pt idx="81646">4</cx:pt>
          <cx:pt idx="81647">4</cx:pt>
          <cx:pt idx="81648">4</cx:pt>
          <cx:pt idx="81649">5</cx:pt>
          <cx:pt idx="81650">4</cx:pt>
          <cx:pt idx="81651">1</cx:pt>
          <cx:pt idx="81652">2</cx:pt>
          <cx:pt idx="81653">4</cx:pt>
          <cx:pt idx="81654">4</cx:pt>
          <cx:pt idx="81655">1</cx:pt>
          <cx:pt idx="81656">5</cx:pt>
          <cx:pt idx="81657">4</cx:pt>
          <cx:pt idx="81658">5</cx:pt>
          <cx:pt idx="81659">3</cx:pt>
          <cx:pt idx="81660">4</cx:pt>
          <cx:pt idx="81661">4</cx:pt>
          <cx:pt idx="81662">3</cx:pt>
          <cx:pt idx="81663">1</cx:pt>
          <cx:pt idx="81664">5</cx:pt>
          <cx:pt idx="81665">5</cx:pt>
          <cx:pt idx="81666">4</cx:pt>
          <cx:pt idx="81667">2</cx:pt>
          <cx:pt idx="81668">4</cx:pt>
          <cx:pt idx="81669">4</cx:pt>
          <cx:pt idx="81670">5</cx:pt>
          <cx:pt idx="81671">5</cx:pt>
          <cx:pt idx="81672">1</cx:pt>
          <cx:pt idx="81673">2</cx:pt>
          <cx:pt idx="81674">2</cx:pt>
          <cx:pt idx="81675">4</cx:pt>
          <cx:pt idx="81676">3</cx:pt>
          <cx:pt idx="81677">1</cx:pt>
          <cx:pt idx="81678">2</cx:pt>
          <cx:pt idx="81679">4</cx:pt>
          <cx:pt idx="81680">5</cx:pt>
          <cx:pt idx="81681">4</cx:pt>
          <cx:pt idx="81682">4</cx:pt>
          <cx:pt idx="81683">1</cx:pt>
          <cx:pt idx="81684">4</cx:pt>
          <cx:pt idx="81685">1</cx:pt>
          <cx:pt idx="81686">4</cx:pt>
          <cx:pt idx="81687">4</cx:pt>
          <cx:pt idx="81688">4</cx:pt>
          <cx:pt idx="81689">5</cx:pt>
          <cx:pt idx="81690">4</cx:pt>
          <cx:pt idx="81691">5</cx:pt>
          <cx:pt idx="81692">3</cx:pt>
          <cx:pt idx="81693">5</cx:pt>
          <cx:pt idx="81694">1</cx:pt>
          <cx:pt idx="81695">4</cx:pt>
          <cx:pt idx="81696">5</cx:pt>
          <cx:pt idx="81697">1</cx:pt>
          <cx:pt idx="81698">1</cx:pt>
          <cx:pt idx="81699">4</cx:pt>
          <cx:pt idx="81700">4</cx:pt>
          <cx:pt idx="81701">5</cx:pt>
          <cx:pt idx="81702">5</cx:pt>
          <cx:pt idx="81703">1</cx:pt>
          <cx:pt idx="81704">4</cx:pt>
          <cx:pt idx="81705">2</cx:pt>
          <cx:pt idx="81706">1</cx:pt>
          <cx:pt idx="81707">5</cx:pt>
          <cx:pt idx="81708">5</cx:pt>
          <cx:pt idx="81709">3</cx:pt>
          <cx:pt idx="81710">3</cx:pt>
          <cx:pt idx="81711">2</cx:pt>
          <cx:pt idx="81712">4</cx:pt>
          <cx:pt idx="81713">5</cx:pt>
          <cx:pt idx="81714">1</cx:pt>
          <cx:pt idx="81715">4</cx:pt>
          <cx:pt idx="81716">2</cx:pt>
          <cx:pt idx="81717">5</cx:pt>
          <cx:pt idx="81718">5</cx:pt>
          <cx:pt idx="81719">2</cx:pt>
          <cx:pt idx="81720">1</cx:pt>
          <cx:pt idx="81721">4</cx:pt>
          <cx:pt idx="81722">4</cx:pt>
          <cx:pt idx="81723">4</cx:pt>
          <cx:pt idx="81724">4</cx:pt>
          <cx:pt idx="81725">5</cx:pt>
          <cx:pt idx="81726">1</cx:pt>
          <cx:pt idx="81727">4</cx:pt>
          <cx:pt idx="81728">5</cx:pt>
          <cx:pt idx="81729">4</cx:pt>
          <cx:pt idx="81730">5</cx:pt>
          <cx:pt idx="81731">2</cx:pt>
          <cx:pt idx="81732">3</cx:pt>
          <cx:pt idx="81733">2</cx:pt>
          <cx:pt idx="81734">4</cx:pt>
          <cx:pt idx="81735">1</cx:pt>
          <cx:pt idx="81736">1</cx:pt>
          <cx:pt idx="81737">5</cx:pt>
          <cx:pt idx="81738">4</cx:pt>
          <cx:pt idx="81739">1</cx:pt>
          <cx:pt idx="81740">5</cx:pt>
          <cx:pt idx="81741">1</cx:pt>
          <cx:pt idx="81742">5</cx:pt>
          <cx:pt idx="81743">4</cx:pt>
          <cx:pt idx="81744">1</cx:pt>
          <cx:pt idx="81745">1</cx:pt>
          <cx:pt idx="81746">2</cx:pt>
          <cx:pt idx="81747">4</cx:pt>
          <cx:pt idx="81748">4</cx:pt>
          <cx:pt idx="81749">5</cx:pt>
          <cx:pt idx="81750">5</cx:pt>
          <cx:pt idx="81751">2</cx:pt>
          <cx:pt idx="81752">2</cx:pt>
          <cx:pt idx="81753">2</cx:pt>
          <cx:pt idx="81754">4</cx:pt>
          <cx:pt idx="81755">3</cx:pt>
          <cx:pt idx="81756">2</cx:pt>
          <cx:pt idx="81757">4</cx:pt>
          <cx:pt idx="81758">4</cx:pt>
          <cx:pt idx="81759">5</cx:pt>
          <cx:pt idx="81760">2</cx:pt>
          <cx:pt idx="81761">5</cx:pt>
          <cx:pt idx="81762">3</cx:pt>
          <cx:pt idx="81763">3</cx:pt>
          <cx:pt idx="81764">4</cx:pt>
          <cx:pt idx="81765">3</cx:pt>
          <cx:pt idx="81766">4</cx:pt>
          <cx:pt idx="81767">2</cx:pt>
          <cx:pt idx="81768">5</cx:pt>
          <cx:pt idx="81769">5</cx:pt>
          <cx:pt idx="81770">5</cx:pt>
          <cx:pt idx="81771">4</cx:pt>
          <cx:pt idx="81772">2</cx:pt>
          <cx:pt idx="81773">1</cx:pt>
          <cx:pt idx="81774">4</cx:pt>
          <cx:pt idx="81775">2</cx:pt>
          <cx:pt idx="81776">5</cx:pt>
          <cx:pt idx="81777">3</cx:pt>
          <cx:pt idx="81778">3</cx:pt>
          <cx:pt idx="81779">4</cx:pt>
          <cx:pt idx="81780">2</cx:pt>
          <cx:pt idx="81781">1</cx:pt>
          <cx:pt idx="81782">5</cx:pt>
          <cx:pt idx="81783">5</cx:pt>
          <cx:pt idx="81784">1</cx:pt>
          <cx:pt idx="81785">2</cx:pt>
          <cx:pt idx="81786">5</cx:pt>
          <cx:pt idx="81787">5</cx:pt>
          <cx:pt idx="81788">5</cx:pt>
          <cx:pt idx="81789">1</cx:pt>
          <cx:pt idx="81790">5</cx:pt>
          <cx:pt idx="81791">3</cx:pt>
          <cx:pt idx="81792">4</cx:pt>
          <cx:pt idx="81793">2</cx:pt>
          <cx:pt idx="81794">5</cx:pt>
          <cx:pt idx="81795">5</cx:pt>
          <cx:pt idx="81796">5</cx:pt>
          <cx:pt idx="81797">4</cx:pt>
          <cx:pt idx="81798">4</cx:pt>
          <cx:pt idx="81799">4</cx:pt>
          <cx:pt idx="81800">5</cx:pt>
          <cx:pt idx="81801">4</cx:pt>
          <cx:pt idx="81802">5</cx:pt>
          <cx:pt idx="81803">4</cx:pt>
          <cx:pt idx="81804">3</cx:pt>
          <cx:pt idx="81805">2</cx:pt>
          <cx:pt idx="81806">1</cx:pt>
          <cx:pt idx="81807">4</cx:pt>
          <cx:pt idx="81808">4</cx:pt>
          <cx:pt idx="81809">5</cx:pt>
          <cx:pt idx="81810">3</cx:pt>
          <cx:pt idx="81811">5</cx:pt>
          <cx:pt idx="81812">2</cx:pt>
          <cx:pt idx="81813">3</cx:pt>
          <cx:pt idx="81814">4</cx:pt>
          <cx:pt idx="81815">3</cx:pt>
          <cx:pt idx="81816">4</cx:pt>
          <cx:pt idx="81817">4</cx:pt>
          <cx:pt idx="81818">3</cx:pt>
          <cx:pt idx="81819">1</cx:pt>
          <cx:pt idx="81820">1</cx:pt>
          <cx:pt idx="81821">4</cx:pt>
          <cx:pt idx="81822">2</cx:pt>
          <cx:pt idx="81823">2</cx:pt>
          <cx:pt idx="81824">4</cx:pt>
          <cx:pt idx="81825">3</cx:pt>
          <cx:pt idx="81826">2</cx:pt>
          <cx:pt idx="81827">5</cx:pt>
          <cx:pt idx="81828">4</cx:pt>
          <cx:pt idx="81829">2</cx:pt>
          <cx:pt idx="81830">1</cx:pt>
          <cx:pt idx="81831">4</cx:pt>
          <cx:pt idx="81832">3</cx:pt>
          <cx:pt idx="81833">4</cx:pt>
          <cx:pt idx="81834">2</cx:pt>
          <cx:pt idx="81835">1</cx:pt>
          <cx:pt idx="81836">2</cx:pt>
          <cx:pt idx="81837">5</cx:pt>
          <cx:pt idx="81838">4</cx:pt>
          <cx:pt idx="81839">5</cx:pt>
          <cx:pt idx="81840">4</cx:pt>
          <cx:pt idx="81841">3</cx:pt>
          <cx:pt idx="81842">2</cx:pt>
          <cx:pt idx="81843">3</cx:pt>
          <cx:pt idx="81844">4</cx:pt>
          <cx:pt idx="81845">4</cx:pt>
          <cx:pt idx="81846">2</cx:pt>
          <cx:pt idx="81847">2</cx:pt>
          <cx:pt idx="81848">4</cx:pt>
          <cx:pt idx="81849">5</cx:pt>
          <cx:pt idx="81850">4</cx:pt>
          <cx:pt idx="81851">4</cx:pt>
          <cx:pt idx="81852">4</cx:pt>
          <cx:pt idx="81853">4</cx:pt>
          <cx:pt idx="81854">5</cx:pt>
          <cx:pt idx="81855">1</cx:pt>
          <cx:pt idx="81856">4</cx:pt>
          <cx:pt idx="81857">3</cx:pt>
          <cx:pt idx="81858">4</cx:pt>
          <cx:pt idx="81859">3</cx:pt>
          <cx:pt idx="81860">4</cx:pt>
          <cx:pt idx="81861">3</cx:pt>
          <cx:pt idx="81862">4</cx:pt>
          <cx:pt idx="81863">4</cx:pt>
          <cx:pt idx="81864">4</cx:pt>
          <cx:pt idx="81865">3</cx:pt>
          <cx:pt idx="81866">4</cx:pt>
          <cx:pt idx="81867">1</cx:pt>
          <cx:pt idx="81868">5</cx:pt>
          <cx:pt idx="81869">4</cx:pt>
          <cx:pt idx="81870">4</cx:pt>
          <cx:pt idx="81871">5</cx:pt>
          <cx:pt idx="81872">2</cx:pt>
          <cx:pt idx="81873">5</cx:pt>
          <cx:pt idx="81874">1</cx:pt>
          <cx:pt idx="81875">3</cx:pt>
          <cx:pt idx="81876">5</cx:pt>
          <cx:pt idx="81877">3</cx:pt>
          <cx:pt idx="81878">3</cx:pt>
          <cx:pt idx="81879">1</cx:pt>
          <cx:pt idx="81880">4</cx:pt>
          <cx:pt idx="81881">2</cx:pt>
          <cx:pt idx="81882">4</cx:pt>
          <cx:pt idx="81883">2</cx:pt>
          <cx:pt idx="81884">3</cx:pt>
          <cx:pt idx="81885">4</cx:pt>
          <cx:pt idx="81886">5</cx:pt>
          <cx:pt idx="81887">5</cx:pt>
          <cx:pt idx="81888">5</cx:pt>
          <cx:pt idx="81889">1</cx:pt>
          <cx:pt idx="81890">4</cx:pt>
          <cx:pt idx="81891">2</cx:pt>
          <cx:pt idx="81892">3</cx:pt>
          <cx:pt idx="81893">4</cx:pt>
          <cx:pt idx="81894">5</cx:pt>
          <cx:pt idx="81895">2</cx:pt>
          <cx:pt idx="81896">1</cx:pt>
          <cx:pt idx="81897">5</cx:pt>
          <cx:pt idx="81898">1</cx:pt>
          <cx:pt idx="81899">1</cx:pt>
          <cx:pt idx="81900">4</cx:pt>
          <cx:pt idx="81901">1</cx:pt>
          <cx:pt idx="81902">4</cx:pt>
          <cx:pt idx="81903">4</cx:pt>
          <cx:pt idx="81904">4</cx:pt>
          <cx:pt idx="81905">4</cx:pt>
          <cx:pt idx="81906">4</cx:pt>
          <cx:pt idx="81907">4</cx:pt>
          <cx:pt idx="81908">4</cx:pt>
          <cx:pt idx="81909">1</cx:pt>
          <cx:pt idx="81910">1</cx:pt>
          <cx:pt idx="81911">3</cx:pt>
          <cx:pt idx="81912">5</cx:pt>
          <cx:pt idx="81913">3</cx:pt>
          <cx:pt idx="81914">3</cx:pt>
          <cx:pt idx="81915">4</cx:pt>
          <cx:pt idx="81916">3</cx:pt>
          <cx:pt idx="81917">4</cx:pt>
          <cx:pt idx="81918">5</cx:pt>
          <cx:pt idx="81919">3</cx:pt>
          <cx:pt idx="81920">1</cx:pt>
          <cx:pt idx="81921">2</cx:pt>
          <cx:pt idx="81922">4</cx:pt>
          <cx:pt idx="81923">2</cx:pt>
          <cx:pt idx="81924">3</cx:pt>
          <cx:pt idx="81925">5</cx:pt>
          <cx:pt idx="81926">5</cx:pt>
          <cx:pt idx="81927">4</cx:pt>
          <cx:pt idx="81928">3</cx:pt>
          <cx:pt idx="81929">2</cx:pt>
          <cx:pt idx="81930">1</cx:pt>
          <cx:pt idx="81931">3</cx:pt>
          <cx:pt idx="81932">2</cx:pt>
          <cx:pt idx="81933">2</cx:pt>
          <cx:pt idx="81934">4</cx:pt>
          <cx:pt idx="81935">4</cx:pt>
          <cx:pt idx="81936">3</cx:pt>
          <cx:pt idx="81937">1</cx:pt>
          <cx:pt idx="81938">3</cx:pt>
          <cx:pt idx="81939">4</cx:pt>
          <cx:pt idx="81940">5</cx:pt>
          <cx:pt idx="81941">2</cx:pt>
          <cx:pt idx="81942">1</cx:pt>
          <cx:pt idx="81943">4</cx:pt>
          <cx:pt idx="81944">3</cx:pt>
          <cx:pt idx="81945">4</cx:pt>
          <cx:pt idx="81946">5</cx:pt>
          <cx:pt idx="81947">5</cx:pt>
          <cx:pt idx="81948">5</cx:pt>
          <cx:pt idx="81949">3</cx:pt>
          <cx:pt idx="81950">4</cx:pt>
          <cx:pt idx="81951">1</cx:pt>
          <cx:pt idx="81952">2</cx:pt>
          <cx:pt idx="81953">2</cx:pt>
          <cx:pt idx="81954">1</cx:pt>
          <cx:pt idx="81955">5</cx:pt>
          <cx:pt idx="81956">3</cx:pt>
          <cx:pt idx="81957">2</cx:pt>
          <cx:pt idx="81958">4</cx:pt>
          <cx:pt idx="81959">4</cx:pt>
          <cx:pt idx="81960">1</cx:pt>
          <cx:pt idx="81961">4</cx:pt>
          <cx:pt idx="81962">3</cx:pt>
          <cx:pt idx="81963">5</cx:pt>
          <cx:pt idx="81964">4</cx:pt>
          <cx:pt idx="81965">4</cx:pt>
          <cx:pt idx="81966">4</cx:pt>
          <cx:pt idx="81967">3</cx:pt>
          <cx:pt idx="81968">4</cx:pt>
          <cx:pt idx="81969">5</cx:pt>
          <cx:pt idx="81970">5</cx:pt>
          <cx:pt idx="81971">3</cx:pt>
          <cx:pt idx="81972">2</cx:pt>
          <cx:pt idx="81973">4</cx:pt>
          <cx:pt idx="81974">5</cx:pt>
          <cx:pt idx="81975">5</cx:pt>
          <cx:pt idx="81976">4</cx:pt>
          <cx:pt idx="81977">1</cx:pt>
          <cx:pt idx="81978">5</cx:pt>
          <cx:pt idx="81979">3</cx:pt>
          <cx:pt idx="81980">4</cx:pt>
          <cx:pt idx="81981">2</cx:pt>
          <cx:pt idx="81982">5</cx:pt>
          <cx:pt idx="81983">1</cx:pt>
          <cx:pt idx="81984">5</cx:pt>
          <cx:pt idx="81985">4</cx:pt>
          <cx:pt idx="81986">2</cx:pt>
          <cx:pt idx="81987">4</cx:pt>
          <cx:pt idx="81988">4</cx:pt>
          <cx:pt idx="81989">5</cx:pt>
          <cx:pt idx="81990">4</cx:pt>
          <cx:pt idx="81991">2</cx:pt>
          <cx:pt idx="81992">4</cx:pt>
          <cx:pt idx="81993">5</cx:pt>
          <cx:pt idx="81994">4</cx:pt>
          <cx:pt idx="81995">4</cx:pt>
          <cx:pt idx="81996">4</cx:pt>
          <cx:pt idx="81997">4</cx:pt>
          <cx:pt idx="81998">5</cx:pt>
          <cx:pt idx="81999">5</cx:pt>
          <cx:pt idx="82000">3</cx:pt>
          <cx:pt idx="82001">4</cx:pt>
          <cx:pt idx="82002">3</cx:pt>
          <cx:pt idx="82003">5</cx:pt>
          <cx:pt idx="82004">1</cx:pt>
          <cx:pt idx="82005">1</cx:pt>
          <cx:pt idx="82006">3</cx:pt>
          <cx:pt idx="82007">4</cx:pt>
          <cx:pt idx="82008">2</cx:pt>
          <cx:pt idx="82009">4</cx:pt>
          <cx:pt idx="82010">4</cx:pt>
          <cx:pt idx="82011">5</cx:pt>
          <cx:pt idx="82012">5</cx:pt>
          <cx:pt idx="82013">4</cx:pt>
          <cx:pt idx="82014">3</cx:pt>
          <cx:pt idx="82015">1</cx:pt>
          <cx:pt idx="82016">3</cx:pt>
          <cx:pt idx="82017">3</cx:pt>
          <cx:pt idx="82018">1</cx:pt>
          <cx:pt idx="82019">4</cx:pt>
          <cx:pt idx="82020">2</cx:pt>
          <cx:pt idx="82021">4</cx:pt>
          <cx:pt idx="82022">1</cx:pt>
          <cx:pt idx="82023">2</cx:pt>
          <cx:pt idx="82024">4</cx:pt>
          <cx:pt idx="82025">4</cx:pt>
          <cx:pt idx="82026">3</cx:pt>
          <cx:pt idx="82027">5</cx:pt>
          <cx:pt idx="82028">4</cx:pt>
          <cx:pt idx="82029">2</cx:pt>
          <cx:pt idx="82030">4</cx:pt>
          <cx:pt idx="82031">5</cx:pt>
          <cx:pt idx="82032">1</cx:pt>
          <cx:pt idx="82033">2</cx:pt>
          <cx:pt idx="82034">4</cx:pt>
          <cx:pt idx="82035">2</cx:pt>
          <cx:pt idx="82036">5</cx:pt>
          <cx:pt idx="82037">5</cx:pt>
          <cx:pt idx="82038">3</cx:pt>
          <cx:pt idx="82039">5</cx:pt>
          <cx:pt idx="82040">5</cx:pt>
          <cx:pt idx="82041">5</cx:pt>
          <cx:pt idx="82042">1</cx:pt>
          <cx:pt idx="82043">5</cx:pt>
          <cx:pt idx="82044">5</cx:pt>
          <cx:pt idx="82045">1</cx:pt>
          <cx:pt idx="82046">1</cx:pt>
          <cx:pt idx="82047">3</cx:pt>
          <cx:pt idx="82048">2</cx:pt>
          <cx:pt idx="82049">5</cx:pt>
          <cx:pt idx="82050">4</cx:pt>
          <cx:pt idx="82051">3</cx:pt>
          <cx:pt idx="82052">4</cx:pt>
          <cx:pt idx="82053">4</cx:pt>
          <cx:pt idx="82054">2</cx:pt>
          <cx:pt idx="82055">3</cx:pt>
          <cx:pt idx="82056">3</cx:pt>
          <cx:pt idx="82057">3</cx:pt>
          <cx:pt idx="82058">4</cx:pt>
          <cx:pt idx="82059">4</cx:pt>
          <cx:pt idx="82060">4</cx:pt>
          <cx:pt idx="82061">3</cx:pt>
          <cx:pt idx="82062">2</cx:pt>
          <cx:pt idx="82063">2</cx:pt>
          <cx:pt idx="82064">3</cx:pt>
          <cx:pt idx="82065">1</cx:pt>
          <cx:pt idx="82066">2</cx:pt>
          <cx:pt idx="82067">5</cx:pt>
          <cx:pt idx="82068">4</cx:pt>
          <cx:pt idx="82069">5</cx:pt>
          <cx:pt idx="82070">2</cx:pt>
          <cx:pt idx="82071">3</cx:pt>
          <cx:pt idx="82072">4</cx:pt>
          <cx:pt idx="82073">5</cx:pt>
          <cx:pt idx="82074">2</cx:pt>
          <cx:pt idx="82075">1</cx:pt>
          <cx:pt idx="82076">5</cx:pt>
          <cx:pt idx="82077">3</cx:pt>
          <cx:pt idx="82078">4</cx:pt>
          <cx:pt idx="82079">5</cx:pt>
          <cx:pt idx="82080">4</cx:pt>
          <cx:pt idx="82081">2</cx:pt>
          <cx:pt idx="82082">3</cx:pt>
          <cx:pt idx="82083">4</cx:pt>
          <cx:pt idx="82084">5</cx:pt>
          <cx:pt idx="82085">4</cx:pt>
          <cx:pt idx="82086">4</cx:pt>
          <cx:pt idx="82087">2</cx:pt>
          <cx:pt idx="82088">2</cx:pt>
          <cx:pt idx="82089">1</cx:pt>
          <cx:pt idx="82090">4</cx:pt>
          <cx:pt idx="82091">4</cx:pt>
          <cx:pt idx="82092">5</cx:pt>
          <cx:pt idx="82093">3</cx:pt>
          <cx:pt idx="82094">1</cx:pt>
          <cx:pt idx="82095">5</cx:pt>
          <cx:pt idx="82096">3</cx:pt>
          <cx:pt idx="82097">5</cx:pt>
          <cx:pt idx="82098">2</cx:pt>
          <cx:pt idx="82099">2</cx:pt>
          <cx:pt idx="82100">3</cx:pt>
          <cx:pt idx="82101">3</cx:pt>
          <cx:pt idx="82102">5</cx:pt>
          <cx:pt idx="82103">4</cx:pt>
          <cx:pt idx="82104">1</cx:pt>
          <cx:pt idx="82105">4</cx:pt>
          <cx:pt idx="82106">1</cx:pt>
          <cx:pt idx="82107">4</cx:pt>
          <cx:pt idx="82108">5</cx:pt>
          <cx:pt idx="82109">4</cx:pt>
          <cx:pt idx="82110">4</cx:pt>
          <cx:pt idx="82111">3</cx:pt>
          <cx:pt idx="82112">1</cx:pt>
          <cx:pt idx="82113">2</cx:pt>
          <cx:pt idx="82114">1</cx:pt>
          <cx:pt idx="82115">2</cx:pt>
          <cx:pt idx="82116">5</cx:pt>
          <cx:pt idx="82117">4</cx:pt>
          <cx:pt idx="82118">1</cx:pt>
          <cx:pt idx="82119">2</cx:pt>
          <cx:pt idx="82120">3</cx:pt>
          <cx:pt idx="82121">1</cx:pt>
          <cx:pt idx="82122">5</cx:pt>
          <cx:pt idx="82123">4</cx:pt>
          <cx:pt idx="82124">4</cx:pt>
          <cx:pt idx="82125">3</cx:pt>
          <cx:pt idx="82126">2</cx:pt>
          <cx:pt idx="82127">4</cx:pt>
          <cx:pt idx="82128">4</cx:pt>
          <cx:pt idx="82129">4</cx:pt>
          <cx:pt idx="82130">5</cx:pt>
          <cx:pt idx="82131">1</cx:pt>
          <cx:pt idx="82132">5</cx:pt>
          <cx:pt idx="82133">5</cx:pt>
          <cx:pt idx="82134">4</cx:pt>
          <cx:pt idx="82135">3</cx:pt>
          <cx:pt idx="82136">5</cx:pt>
          <cx:pt idx="82137">5</cx:pt>
          <cx:pt idx="82138">4</cx:pt>
          <cx:pt idx="82139">3</cx:pt>
          <cx:pt idx="82140">1</cx:pt>
          <cx:pt idx="82141">3</cx:pt>
          <cx:pt idx="82142">5</cx:pt>
          <cx:pt idx="82143">3</cx:pt>
          <cx:pt idx="82144">4</cx:pt>
          <cx:pt idx="82145">2</cx:pt>
          <cx:pt idx="82146">4</cx:pt>
          <cx:pt idx="82147">5</cx:pt>
          <cx:pt idx="82148">5</cx:pt>
          <cx:pt idx="82149">4</cx:pt>
          <cx:pt idx="82150">2</cx:pt>
          <cx:pt idx="82151">3</cx:pt>
          <cx:pt idx="82152">4</cx:pt>
          <cx:pt idx="82153">2</cx:pt>
          <cx:pt idx="82154">5</cx:pt>
          <cx:pt idx="82155">4</cx:pt>
          <cx:pt idx="82156">4</cx:pt>
          <cx:pt idx="82157">5</cx:pt>
          <cx:pt idx="82158">2</cx:pt>
          <cx:pt idx="82159">4</cx:pt>
          <cx:pt idx="82160">5</cx:pt>
          <cx:pt idx="82161">1</cx:pt>
          <cx:pt idx="82162">5</cx:pt>
          <cx:pt idx="82163">4</cx:pt>
          <cx:pt idx="82164">4</cx:pt>
          <cx:pt idx="82165">4</cx:pt>
          <cx:pt idx="82166">5</cx:pt>
          <cx:pt idx="82167">1</cx:pt>
          <cx:pt idx="82168">3</cx:pt>
          <cx:pt idx="82169">4</cx:pt>
          <cx:pt idx="82170">2</cx:pt>
          <cx:pt idx="82171">4</cx:pt>
          <cx:pt idx="82172">5</cx:pt>
          <cx:pt idx="82173">2</cx:pt>
          <cx:pt idx="82174">2</cx:pt>
          <cx:pt idx="82175">3</cx:pt>
          <cx:pt idx="82176">5</cx:pt>
          <cx:pt idx="82177">4</cx:pt>
          <cx:pt idx="82178">4</cx:pt>
          <cx:pt idx="82179">4</cx:pt>
          <cx:pt idx="82180">2</cx:pt>
          <cx:pt idx="82181">5</cx:pt>
          <cx:pt idx="82182">4</cx:pt>
          <cx:pt idx="82183">3</cx:pt>
          <cx:pt idx="82184">1</cx:pt>
          <cx:pt idx="82185">4</cx:pt>
          <cx:pt idx="82186">4</cx:pt>
          <cx:pt idx="82187">3</cx:pt>
          <cx:pt idx="82188">4</cx:pt>
          <cx:pt idx="82189">2</cx:pt>
          <cx:pt idx="82190">3</cx:pt>
          <cx:pt idx="82191">5</cx:pt>
          <cx:pt idx="82192">5</cx:pt>
          <cx:pt idx="82193">2</cx:pt>
          <cx:pt idx="82194">5</cx:pt>
          <cx:pt idx="82195">2</cx:pt>
          <cx:pt idx="82196">4</cx:pt>
          <cx:pt idx="82197">4</cx:pt>
          <cx:pt idx="82198">5</cx:pt>
          <cx:pt idx="82199">2</cx:pt>
          <cx:pt idx="82200">5</cx:pt>
          <cx:pt idx="82201">5</cx:pt>
          <cx:pt idx="82202">2</cx:pt>
          <cx:pt idx="82203">2</cx:pt>
          <cx:pt idx="82204">4</cx:pt>
          <cx:pt idx="82205">4</cx:pt>
          <cx:pt idx="82206">5</cx:pt>
          <cx:pt idx="82207">5</cx:pt>
          <cx:pt idx="82208">4</cx:pt>
          <cx:pt idx="82209">5</cx:pt>
          <cx:pt idx="82210">5</cx:pt>
          <cx:pt idx="82211">4</cx:pt>
          <cx:pt idx="82212">4</cx:pt>
          <cx:pt idx="82213">3</cx:pt>
          <cx:pt idx="82214">5</cx:pt>
          <cx:pt idx="82215">1</cx:pt>
          <cx:pt idx="82216">2</cx:pt>
          <cx:pt idx="82217">4</cx:pt>
          <cx:pt idx="82218">4</cx:pt>
          <cx:pt idx="82219">3</cx:pt>
          <cx:pt idx="82220">4</cx:pt>
          <cx:pt idx="82221">2</cx:pt>
          <cx:pt idx="82222">1</cx:pt>
          <cx:pt idx="82223">4</cx:pt>
          <cx:pt idx="82224">4</cx:pt>
          <cx:pt idx="82225">4</cx:pt>
          <cx:pt idx="82226">4</cx:pt>
          <cx:pt idx="82227">1</cx:pt>
          <cx:pt idx="82228">2</cx:pt>
          <cx:pt idx="82229">3</cx:pt>
          <cx:pt idx="82230">5</cx:pt>
          <cx:pt idx="82231">5</cx:pt>
          <cx:pt idx="82232">5</cx:pt>
          <cx:pt idx="82233">2</cx:pt>
          <cx:pt idx="82234">5</cx:pt>
          <cx:pt idx="82235">5</cx:pt>
          <cx:pt idx="82236">4</cx:pt>
          <cx:pt idx="82237">5</cx:pt>
          <cx:pt idx="82238">5</cx:pt>
          <cx:pt idx="82239">5</cx:pt>
          <cx:pt idx="82240">5</cx:pt>
          <cx:pt idx="82241">1</cx:pt>
          <cx:pt idx="82242">2</cx:pt>
          <cx:pt idx="82243">5</cx:pt>
          <cx:pt idx="82244">2</cx:pt>
          <cx:pt idx="82245">4</cx:pt>
          <cx:pt idx="82246">1</cx:pt>
          <cx:pt idx="82247">5</cx:pt>
          <cx:pt idx="82248">2</cx:pt>
          <cx:pt idx="82249">3</cx:pt>
          <cx:pt idx="82250">3</cx:pt>
          <cx:pt idx="82251">3</cx:pt>
          <cx:pt idx="82252">4</cx:pt>
          <cx:pt idx="82253">3</cx:pt>
          <cx:pt idx="82254">5</cx:pt>
          <cx:pt idx="82255">1</cx:pt>
          <cx:pt idx="82256">3</cx:pt>
          <cx:pt idx="82257">4</cx:pt>
          <cx:pt idx="82258">5</cx:pt>
          <cx:pt idx="82259">3</cx:pt>
          <cx:pt idx="82260">3</cx:pt>
          <cx:pt idx="82261">5</cx:pt>
          <cx:pt idx="82262">5</cx:pt>
          <cx:pt idx="82263">1</cx:pt>
          <cx:pt idx="82264">5</cx:pt>
          <cx:pt idx="82265">1</cx:pt>
          <cx:pt idx="82266">5</cx:pt>
          <cx:pt idx="82267">5</cx:pt>
          <cx:pt idx="82268">4</cx:pt>
          <cx:pt idx="82269">5</cx:pt>
          <cx:pt idx="82270">5</cx:pt>
          <cx:pt idx="82271">5</cx:pt>
          <cx:pt idx="82272">3</cx:pt>
          <cx:pt idx="82273">3</cx:pt>
          <cx:pt idx="82274">4</cx:pt>
          <cx:pt idx="82275">4</cx:pt>
          <cx:pt idx="82276">5</cx:pt>
          <cx:pt idx="82277">4</cx:pt>
          <cx:pt idx="82278">5</cx:pt>
          <cx:pt idx="82279">5</cx:pt>
          <cx:pt idx="82280">4</cx:pt>
          <cx:pt idx="82281">2</cx:pt>
          <cx:pt idx="82282">4</cx:pt>
          <cx:pt idx="82283">3</cx:pt>
          <cx:pt idx="82284">5</cx:pt>
          <cx:pt idx="82285">4</cx:pt>
          <cx:pt idx="82286">5</cx:pt>
          <cx:pt idx="82287">3</cx:pt>
          <cx:pt idx="82288">1</cx:pt>
          <cx:pt idx="82289">4</cx:pt>
          <cx:pt idx="82290">3</cx:pt>
          <cx:pt idx="82291">1</cx:pt>
          <cx:pt idx="82292">3</cx:pt>
          <cx:pt idx="82293">4</cx:pt>
          <cx:pt idx="82294">3</cx:pt>
          <cx:pt idx="82295">5</cx:pt>
          <cx:pt idx="82296">4</cx:pt>
          <cx:pt idx="82297">2</cx:pt>
          <cx:pt idx="82298">4</cx:pt>
          <cx:pt idx="82299">4</cx:pt>
          <cx:pt idx="82300">5</cx:pt>
          <cx:pt idx="82301">2</cx:pt>
          <cx:pt idx="82302">1</cx:pt>
          <cx:pt idx="82303">4</cx:pt>
          <cx:pt idx="82304">5</cx:pt>
          <cx:pt idx="82305">5</cx:pt>
          <cx:pt idx="82306">5</cx:pt>
          <cx:pt idx="82307">3</cx:pt>
          <cx:pt idx="82308">1</cx:pt>
          <cx:pt idx="82309">4</cx:pt>
          <cx:pt idx="82310">5</cx:pt>
          <cx:pt idx="82311">2</cx:pt>
          <cx:pt idx="82312">2</cx:pt>
          <cx:pt idx="82313">5</cx:pt>
          <cx:pt idx="82314">5</cx:pt>
          <cx:pt idx="82315">5</cx:pt>
          <cx:pt idx="82316">4</cx:pt>
          <cx:pt idx="82317">3</cx:pt>
          <cx:pt idx="82318">5</cx:pt>
          <cx:pt idx="82319">5</cx:pt>
          <cx:pt idx="82320">2</cx:pt>
          <cx:pt idx="82321">4</cx:pt>
          <cx:pt idx="82322">2</cx:pt>
          <cx:pt idx="82323">5</cx:pt>
          <cx:pt idx="82324">3</cx:pt>
          <cx:pt idx="82325">1</cx:pt>
          <cx:pt idx="82326">4</cx:pt>
          <cx:pt idx="82327">2</cx:pt>
          <cx:pt idx="82328">4</cx:pt>
          <cx:pt idx="82329">4</cx:pt>
          <cx:pt idx="82330">4</cx:pt>
          <cx:pt idx="82331">2</cx:pt>
          <cx:pt idx="82332">5</cx:pt>
          <cx:pt idx="82333">1</cx:pt>
          <cx:pt idx="82334">1</cx:pt>
          <cx:pt idx="82335">3</cx:pt>
          <cx:pt idx="82336">5</cx:pt>
          <cx:pt idx="82337">3</cx:pt>
          <cx:pt idx="82338">5</cx:pt>
          <cx:pt idx="82339">2</cx:pt>
          <cx:pt idx="82340">1</cx:pt>
          <cx:pt idx="82341">3</cx:pt>
          <cx:pt idx="82342">1</cx:pt>
          <cx:pt idx="82343">5</cx:pt>
          <cx:pt idx="82344">4</cx:pt>
          <cx:pt idx="82345">4</cx:pt>
          <cx:pt idx="82346">2</cx:pt>
          <cx:pt idx="82347">4</cx:pt>
          <cx:pt idx="82348">5</cx:pt>
          <cx:pt idx="82349">4</cx:pt>
          <cx:pt idx="82350">3</cx:pt>
          <cx:pt idx="82351">3</cx:pt>
          <cx:pt idx="82352">5</cx:pt>
          <cx:pt idx="82353">5</cx:pt>
          <cx:pt idx="82354">3</cx:pt>
          <cx:pt idx="82355">2</cx:pt>
          <cx:pt idx="82356">5</cx:pt>
          <cx:pt idx="82357">3</cx:pt>
          <cx:pt idx="82358">2</cx:pt>
          <cx:pt idx="82359">4</cx:pt>
          <cx:pt idx="82360">4</cx:pt>
          <cx:pt idx="82361">4</cx:pt>
          <cx:pt idx="82362">5</cx:pt>
          <cx:pt idx="82363">2</cx:pt>
          <cx:pt idx="82364">1</cx:pt>
          <cx:pt idx="82365">3</cx:pt>
          <cx:pt idx="82366">5</cx:pt>
          <cx:pt idx="82367">5</cx:pt>
          <cx:pt idx="82368">3</cx:pt>
          <cx:pt idx="82369">5</cx:pt>
          <cx:pt idx="82370">4</cx:pt>
          <cx:pt idx="82371">4</cx:pt>
          <cx:pt idx="82372">5</cx:pt>
          <cx:pt idx="82373">2</cx:pt>
          <cx:pt idx="82374">2</cx:pt>
          <cx:pt idx="82375">2</cx:pt>
          <cx:pt idx="82376">5</cx:pt>
          <cx:pt idx="82377">3</cx:pt>
          <cx:pt idx="82378">2</cx:pt>
          <cx:pt idx="82379">5</cx:pt>
          <cx:pt idx="82380">3</cx:pt>
          <cx:pt idx="82381">4</cx:pt>
          <cx:pt idx="82382">1</cx:pt>
          <cx:pt idx="82383">3</cx:pt>
          <cx:pt idx="82384">4</cx:pt>
          <cx:pt idx="82385">3</cx:pt>
          <cx:pt idx="82386">1</cx:pt>
          <cx:pt idx="82387">2</cx:pt>
          <cx:pt idx="82388">2</cx:pt>
          <cx:pt idx="82389">2</cx:pt>
          <cx:pt idx="82390">2</cx:pt>
          <cx:pt idx="82391">5</cx:pt>
          <cx:pt idx="82392">4</cx:pt>
          <cx:pt idx="82393">2</cx:pt>
          <cx:pt idx="82394">2</cx:pt>
          <cx:pt idx="82395">4</cx:pt>
          <cx:pt idx="82396">4</cx:pt>
          <cx:pt idx="82397">4</cx:pt>
          <cx:pt idx="82398">4</cx:pt>
          <cx:pt idx="82399">5</cx:pt>
          <cx:pt idx="82400">2</cx:pt>
          <cx:pt idx="82401">5</cx:pt>
          <cx:pt idx="82402">2</cx:pt>
          <cx:pt idx="82403">4</cx:pt>
          <cx:pt idx="82404">4</cx:pt>
          <cx:pt idx="82405">5</cx:pt>
          <cx:pt idx="82406">2</cx:pt>
          <cx:pt idx="82407">5</cx:pt>
          <cx:pt idx="82408">5</cx:pt>
          <cx:pt idx="82409">4</cx:pt>
          <cx:pt idx="82410">2</cx:pt>
          <cx:pt idx="82411">5</cx:pt>
          <cx:pt idx="82412">5</cx:pt>
          <cx:pt idx="82413">5</cx:pt>
          <cx:pt idx="82414">5</cx:pt>
          <cx:pt idx="82415">3</cx:pt>
          <cx:pt idx="82416">2</cx:pt>
          <cx:pt idx="82417">1</cx:pt>
          <cx:pt idx="82418">2</cx:pt>
          <cx:pt idx="82419">1</cx:pt>
          <cx:pt idx="82420">4</cx:pt>
          <cx:pt idx="82421">3</cx:pt>
          <cx:pt idx="82422">5</cx:pt>
          <cx:pt idx="82423">4</cx:pt>
          <cx:pt idx="82424">2</cx:pt>
          <cx:pt idx="82425">2</cx:pt>
          <cx:pt idx="82426">4</cx:pt>
          <cx:pt idx="82427">5</cx:pt>
          <cx:pt idx="82428">3</cx:pt>
          <cx:pt idx="82429">4</cx:pt>
          <cx:pt idx="82430">2</cx:pt>
          <cx:pt idx="82431">3</cx:pt>
          <cx:pt idx="82432">4</cx:pt>
          <cx:pt idx="82433">3</cx:pt>
          <cx:pt idx="82434">4</cx:pt>
          <cx:pt idx="82435">4</cx:pt>
          <cx:pt idx="82436">4</cx:pt>
          <cx:pt idx="82437">4</cx:pt>
          <cx:pt idx="82438">4</cx:pt>
          <cx:pt idx="82439">3</cx:pt>
          <cx:pt idx="82440">2</cx:pt>
          <cx:pt idx="82441">1</cx:pt>
          <cx:pt idx="82442">3</cx:pt>
          <cx:pt idx="82443">2</cx:pt>
          <cx:pt idx="82444">3</cx:pt>
          <cx:pt idx="82445">2</cx:pt>
          <cx:pt idx="82446">4</cx:pt>
          <cx:pt idx="82447">5</cx:pt>
          <cx:pt idx="82448">4</cx:pt>
          <cx:pt idx="82449">5</cx:pt>
          <cx:pt idx="82450">4</cx:pt>
          <cx:pt idx="82451">4</cx:pt>
          <cx:pt idx="82452">4</cx:pt>
          <cx:pt idx="82453">4</cx:pt>
          <cx:pt idx="82454">4</cx:pt>
          <cx:pt idx="82455">4</cx:pt>
          <cx:pt idx="82456">4</cx:pt>
          <cx:pt idx="82457">1</cx:pt>
          <cx:pt idx="82458">1</cx:pt>
          <cx:pt idx="82459">3</cx:pt>
          <cx:pt idx="82460">2</cx:pt>
          <cx:pt idx="82461">1</cx:pt>
          <cx:pt idx="82462">1</cx:pt>
          <cx:pt idx="82463">4</cx:pt>
          <cx:pt idx="82464">5</cx:pt>
          <cx:pt idx="82465">5</cx:pt>
          <cx:pt idx="82466">2</cx:pt>
          <cx:pt idx="82467">4</cx:pt>
          <cx:pt idx="82468">1</cx:pt>
          <cx:pt idx="82469">2</cx:pt>
          <cx:pt idx="82470">3</cx:pt>
          <cx:pt idx="82471">4</cx:pt>
          <cx:pt idx="82472">2</cx:pt>
          <cx:pt idx="82473">3</cx:pt>
          <cx:pt idx="82474">3</cx:pt>
          <cx:pt idx="82475">5</cx:pt>
          <cx:pt idx="82476">4</cx:pt>
          <cx:pt idx="82477">4</cx:pt>
          <cx:pt idx="82478">5</cx:pt>
          <cx:pt idx="82479">4</cx:pt>
          <cx:pt idx="82480">4</cx:pt>
          <cx:pt idx="82481">5</cx:pt>
          <cx:pt idx="82482">4</cx:pt>
          <cx:pt idx="82483">4</cx:pt>
          <cx:pt idx="82484">4</cx:pt>
          <cx:pt idx="82485">4</cx:pt>
          <cx:pt idx="82486">3</cx:pt>
          <cx:pt idx="82487">5</cx:pt>
          <cx:pt idx="82488">5</cx:pt>
          <cx:pt idx="82489">4</cx:pt>
          <cx:pt idx="82490">4</cx:pt>
          <cx:pt idx="82491">3</cx:pt>
          <cx:pt idx="82492">5</cx:pt>
          <cx:pt idx="82493">4</cx:pt>
          <cx:pt idx="82494">2</cx:pt>
          <cx:pt idx="82495">3</cx:pt>
          <cx:pt idx="82496">3</cx:pt>
          <cx:pt idx="82497">3</cx:pt>
          <cx:pt idx="82498">3</cx:pt>
          <cx:pt idx="82499">1</cx:pt>
          <cx:pt idx="82500">5</cx:pt>
          <cx:pt idx="82501">5</cx:pt>
          <cx:pt idx="82502">3</cx:pt>
          <cx:pt idx="82503">4</cx:pt>
          <cx:pt idx="82504">5</cx:pt>
          <cx:pt idx="82505">1</cx:pt>
          <cx:pt idx="82506">3</cx:pt>
          <cx:pt idx="82507">1</cx:pt>
          <cx:pt idx="82508">4</cx:pt>
          <cx:pt idx="82509">3</cx:pt>
          <cx:pt idx="82510">1</cx:pt>
          <cx:pt idx="82511">5</cx:pt>
          <cx:pt idx="82512">4</cx:pt>
          <cx:pt idx="82513">5</cx:pt>
          <cx:pt idx="82514">4</cx:pt>
          <cx:pt idx="82515">3</cx:pt>
          <cx:pt idx="82516">4</cx:pt>
          <cx:pt idx="82517">5</cx:pt>
          <cx:pt idx="82518">4</cx:pt>
          <cx:pt idx="82519">3</cx:pt>
          <cx:pt idx="82520">5</cx:pt>
          <cx:pt idx="82521">3</cx:pt>
          <cx:pt idx="82522">5</cx:pt>
          <cx:pt idx="82523">2</cx:pt>
          <cx:pt idx="82524">5</cx:pt>
          <cx:pt idx="82525">1</cx:pt>
          <cx:pt idx="82526">5</cx:pt>
          <cx:pt idx="82527">5</cx:pt>
          <cx:pt idx="82528">3</cx:pt>
          <cx:pt idx="82529">5</cx:pt>
          <cx:pt idx="82530">4</cx:pt>
          <cx:pt idx="82531">3</cx:pt>
          <cx:pt idx="82532">1</cx:pt>
          <cx:pt idx="82533">4</cx:pt>
          <cx:pt idx="82534">5</cx:pt>
          <cx:pt idx="82535">4</cx:pt>
          <cx:pt idx="82536">2</cx:pt>
          <cx:pt idx="82537">4</cx:pt>
          <cx:pt idx="82538">3</cx:pt>
          <cx:pt idx="82539">4</cx:pt>
          <cx:pt idx="82540">3</cx:pt>
          <cx:pt idx="82541">2</cx:pt>
          <cx:pt idx="82542">3</cx:pt>
          <cx:pt idx="82543">5</cx:pt>
          <cx:pt idx="82544">3</cx:pt>
          <cx:pt idx="82545">5</cx:pt>
          <cx:pt idx="82546">4</cx:pt>
          <cx:pt idx="82547">1</cx:pt>
          <cx:pt idx="82548">5</cx:pt>
          <cx:pt idx="82549">5</cx:pt>
          <cx:pt idx="82550">5</cx:pt>
          <cx:pt idx="82551">4</cx:pt>
          <cx:pt idx="82552">3</cx:pt>
          <cx:pt idx="82553">3</cx:pt>
          <cx:pt idx="82554">5</cx:pt>
          <cx:pt idx="82555">1</cx:pt>
          <cx:pt idx="82556">2</cx:pt>
          <cx:pt idx="82557">3</cx:pt>
          <cx:pt idx="82558">3</cx:pt>
          <cx:pt idx="82559">4</cx:pt>
          <cx:pt idx="82560">4</cx:pt>
          <cx:pt idx="82561">5</cx:pt>
          <cx:pt idx="82562">4</cx:pt>
          <cx:pt idx="82563">4</cx:pt>
          <cx:pt idx="82564">4</cx:pt>
          <cx:pt idx="82565">5</cx:pt>
          <cx:pt idx="82566">3</cx:pt>
          <cx:pt idx="82567">3</cx:pt>
          <cx:pt idx="82568">4</cx:pt>
          <cx:pt idx="82569">3</cx:pt>
          <cx:pt idx="82570">4</cx:pt>
          <cx:pt idx="82571">5</cx:pt>
          <cx:pt idx="82572">2</cx:pt>
          <cx:pt idx="82573">1</cx:pt>
          <cx:pt idx="82574">3</cx:pt>
          <cx:pt idx="82575">4</cx:pt>
          <cx:pt idx="82576">5</cx:pt>
          <cx:pt idx="82577">3</cx:pt>
          <cx:pt idx="82578">4</cx:pt>
          <cx:pt idx="82579">4</cx:pt>
          <cx:pt idx="82580">4</cx:pt>
          <cx:pt idx="82581">4</cx:pt>
          <cx:pt idx="82582">2</cx:pt>
          <cx:pt idx="82583">4</cx:pt>
          <cx:pt idx="82584">5</cx:pt>
          <cx:pt idx="82585">4</cx:pt>
          <cx:pt idx="82586">2</cx:pt>
          <cx:pt idx="82587">4</cx:pt>
          <cx:pt idx="82588">4</cx:pt>
          <cx:pt idx="82589">5</cx:pt>
          <cx:pt idx="82590">4</cx:pt>
          <cx:pt idx="82591">4</cx:pt>
          <cx:pt idx="82592">4</cx:pt>
          <cx:pt idx="82593">2</cx:pt>
          <cx:pt idx="82594">4</cx:pt>
          <cx:pt idx="82595">4</cx:pt>
          <cx:pt idx="82596">3</cx:pt>
          <cx:pt idx="82597">2</cx:pt>
          <cx:pt idx="82598">3</cx:pt>
          <cx:pt idx="82599">4</cx:pt>
          <cx:pt idx="82600">4</cx:pt>
          <cx:pt idx="82601">3</cx:pt>
          <cx:pt idx="82602">2</cx:pt>
          <cx:pt idx="82603">1</cx:pt>
          <cx:pt idx="82604">3</cx:pt>
          <cx:pt idx="82605">3</cx:pt>
          <cx:pt idx="82606">3</cx:pt>
          <cx:pt idx="82607">5</cx:pt>
          <cx:pt idx="82608">2</cx:pt>
          <cx:pt idx="82609">1</cx:pt>
          <cx:pt idx="82610">4</cx:pt>
          <cx:pt idx="82611">3</cx:pt>
          <cx:pt idx="82612">1</cx:pt>
          <cx:pt idx="82613">2</cx:pt>
          <cx:pt idx="82614">2</cx:pt>
          <cx:pt idx="82615">5</cx:pt>
          <cx:pt idx="82616">3</cx:pt>
          <cx:pt idx="82617">4</cx:pt>
          <cx:pt idx="82618">5</cx:pt>
          <cx:pt idx="82619">4</cx:pt>
          <cx:pt idx="82620">4</cx:pt>
          <cx:pt idx="82621">2</cx:pt>
          <cx:pt idx="82622">3</cx:pt>
          <cx:pt idx="82623">5</cx:pt>
          <cx:pt idx="82624">5</cx:pt>
          <cx:pt idx="82625">2</cx:pt>
          <cx:pt idx="82626">2</cx:pt>
          <cx:pt idx="82627">4</cx:pt>
          <cx:pt idx="82628">2</cx:pt>
          <cx:pt idx="82629">2</cx:pt>
          <cx:pt idx="82630">4</cx:pt>
          <cx:pt idx="82631">4</cx:pt>
          <cx:pt idx="82632">5</cx:pt>
          <cx:pt idx="82633">5</cx:pt>
          <cx:pt idx="82634">3</cx:pt>
          <cx:pt idx="82635">5</cx:pt>
          <cx:pt idx="82636">4</cx:pt>
          <cx:pt idx="82637">1</cx:pt>
          <cx:pt idx="82638">5</cx:pt>
          <cx:pt idx="82639">3</cx:pt>
          <cx:pt idx="82640">5</cx:pt>
          <cx:pt idx="82641">4</cx:pt>
          <cx:pt idx="82642">4</cx:pt>
          <cx:pt idx="82643">5</cx:pt>
          <cx:pt idx="82644">2</cx:pt>
          <cx:pt idx="82645">3</cx:pt>
          <cx:pt idx="82646">1</cx:pt>
          <cx:pt idx="82647">5</cx:pt>
          <cx:pt idx="82648">1</cx:pt>
          <cx:pt idx="82649">1</cx:pt>
          <cx:pt idx="82650">4</cx:pt>
          <cx:pt idx="82651">4</cx:pt>
          <cx:pt idx="82652">4</cx:pt>
          <cx:pt idx="82653">4</cx:pt>
          <cx:pt idx="82654">5</cx:pt>
          <cx:pt idx="82655">4</cx:pt>
          <cx:pt idx="82656">4</cx:pt>
          <cx:pt idx="82657">4</cx:pt>
          <cx:pt idx="82658">3</cx:pt>
          <cx:pt idx="82659">3</cx:pt>
          <cx:pt idx="82660">2</cx:pt>
          <cx:pt idx="82661">4</cx:pt>
          <cx:pt idx="82662">1</cx:pt>
          <cx:pt idx="82663">1</cx:pt>
          <cx:pt idx="82664">2</cx:pt>
          <cx:pt idx="82665">4</cx:pt>
          <cx:pt idx="82666">5</cx:pt>
          <cx:pt idx="82667">5</cx:pt>
          <cx:pt idx="82668">2</cx:pt>
          <cx:pt idx="82669">2</cx:pt>
          <cx:pt idx="82670">3</cx:pt>
          <cx:pt idx="82671">5</cx:pt>
          <cx:pt idx="82672">3</cx:pt>
          <cx:pt idx="82673">4</cx:pt>
          <cx:pt idx="82674">1</cx:pt>
          <cx:pt idx="82675">5</cx:pt>
          <cx:pt idx="82676">5</cx:pt>
          <cx:pt idx="82677">4</cx:pt>
          <cx:pt idx="82678">3</cx:pt>
          <cx:pt idx="82679">5</cx:pt>
          <cx:pt idx="82680">2</cx:pt>
          <cx:pt idx="82681">1</cx:pt>
          <cx:pt idx="82682">4</cx:pt>
          <cx:pt idx="82683">1</cx:pt>
          <cx:pt idx="82684">4</cx:pt>
          <cx:pt idx="82685">4</cx:pt>
          <cx:pt idx="82686">3</cx:pt>
          <cx:pt idx="82687">5</cx:pt>
          <cx:pt idx="82688">5</cx:pt>
          <cx:pt idx="82689">3</cx:pt>
          <cx:pt idx="82690">4</cx:pt>
          <cx:pt idx="82691">3</cx:pt>
          <cx:pt idx="82692">5</cx:pt>
          <cx:pt idx="82693">1</cx:pt>
          <cx:pt idx="82694">3</cx:pt>
          <cx:pt idx="82695">2</cx:pt>
          <cx:pt idx="82696">2</cx:pt>
          <cx:pt idx="82697">2</cx:pt>
          <cx:pt idx="82698">2</cx:pt>
          <cx:pt idx="82699">4</cx:pt>
          <cx:pt idx="82700">1</cx:pt>
          <cx:pt idx="82701">1</cx:pt>
          <cx:pt idx="82702">5</cx:pt>
          <cx:pt idx="82703">5</cx:pt>
          <cx:pt idx="82704">5</cx:pt>
          <cx:pt idx="82705">4</cx:pt>
          <cx:pt idx="82706">4</cx:pt>
          <cx:pt idx="82707">2</cx:pt>
          <cx:pt idx="82708">3</cx:pt>
          <cx:pt idx="82709">4</cx:pt>
          <cx:pt idx="82710">4</cx:pt>
          <cx:pt idx="82711">4</cx:pt>
          <cx:pt idx="82712">3</cx:pt>
          <cx:pt idx="82713">4</cx:pt>
          <cx:pt idx="82714">4</cx:pt>
          <cx:pt idx="82715">3</cx:pt>
          <cx:pt idx="82716">5</cx:pt>
          <cx:pt idx="82717">5</cx:pt>
          <cx:pt idx="82718">3</cx:pt>
          <cx:pt idx="82719">5</cx:pt>
          <cx:pt idx="82720">4</cx:pt>
          <cx:pt idx="82721">4</cx:pt>
          <cx:pt idx="82722">1</cx:pt>
          <cx:pt idx="82723">4</cx:pt>
          <cx:pt idx="82724">5</cx:pt>
          <cx:pt idx="82725">5</cx:pt>
          <cx:pt idx="82726">4</cx:pt>
          <cx:pt idx="82727">2</cx:pt>
          <cx:pt idx="82728">4</cx:pt>
          <cx:pt idx="82729">2</cx:pt>
          <cx:pt idx="82730">3</cx:pt>
          <cx:pt idx="82731">3</cx:pt>
          <cx:pt idx="82732">2</cx:pt>
          <cx:pt idx="82733">5</cx:pt>
          <cx:pt idx="82734">3</cx:pt>
          <cx:pt idx="82735">4</cx:pt>
          <cx:pt idx="82736">5</cx:pt>
          <cx:pt idx="82737">5</cx:pt>
          <cx:pt idx="82738">5</cx:pt>
          <cx:pt idx="82739">3</cx:pt>
          <cx:pt idx="82740">1</cx:pt>
          <cx:pt idx="82741">5</cx:pt>
          <cx:pt idx="82742">4</cx:pt>
          <cx:pt idx="82743">4</cx:pt>
          <cx:pt idx="82744">3</cx:pt>
          <cx:pt idx="82745">2</cx:pt>
          <cx:pt idx="82746">1</cx:pt>
          <cx:pt idx="82747">2</cx:pt>
          <cx:pt idx="82748">4</cx:pt>
          <cx:pt idx="82749">4</cx:pt>
          <cx:pt idx="82750">4</cx:pt>
          <cx:pt idx="82751">3</cx:pt>
          <cx:pt idx="82752">3</cx:pt>
          <cx:pt idx="82753">4</cx:pt>
          <cx:pt idx="82754">2</cx:pt>
          <cx:pt idx="82755">4</cx:pt>
          <cx:pt idx="82756">4</cx:pt>
          <cx:pt idx="82757">4</cx:pt>
          <cx:pt idx="82758">3</cx:pt>
          <cx:pt idx="82759">3</cx:pt>
          <cx:pt idx="82760">1</cx:pt>
          <cx:pt idx="82761">4</cx:pt>
          <cx:pt idx="82762">1</cx:pt>
          <cx:pt idx="82763">5</cx:pt>
          <cx:pt idx="82764">5</cx:pt>
          <cx:pt idx="82765">1</cx:pt>
          <cx:pt idx="82766">1</cx:pt>
          <cx:pt idx="82767">1</cx:pt>
          <cx:pt idx="82768">1</cx:pt>
          <cx:pt idx="82769">4</cx:pt>
          <cx:pt idx="82770">4</cx:pt>
          <cx:pt idx="82771">3</cx:pt>
          <cx:pt idx="82772">1</cx:pt>
          <cx:pt idx="82773">3</cx:pt>
          <cx:pt idx="82774">3</cx:pt>
          <cx:pt idx="82775">1</cx:pt>
          <cx:pt idx="82776">4</cx:pt>
          <cx:pt idx="82777">4</cx:pt>
          <cx:pt idx="82778">4</cx:pt>
          <cx:pt idx="82779">3</cx:pt>
          <cx:pt idx="82780">3</cx:pt>
          <cx:pt idx="82781">4</cx:pt>
          <cx:pt idx="82782">2</cx:pt>
          <cx:pt idx="82783">5</cx:pt>
          <cx:pt idx="82784">2</cx:pt>
          <cx:pt idx="82785">4</cx:pt>
          <cx:pt idx="82786">5</cx:pt>
          <cx:pt idx="82787">2</cx:pt>
          <cx:pt idx="82788">4</cx:pt>
          <cx:pt idx="82789">3</cx:pt>
          <cx:pt idx="82790">4</cx:pt>
          <cx:pt idx="82791">5</cx:pt>
          <cx:pt idx="82792">1</cx:pt>
          <cx:pt idx="82793">4</cx:pt>
          <cx:pt idx="82794">3</cx:pt>
          <cx:pt idx="82795">4</cx:pt>
          <cx:pt idx="82796">3</cx:pt>
          <cx:pt idx="82797">4</cx:pt>
          <cx:pt idx="82798">1</cx:pt>
          <cx:pt idx="82799">3</cx:pt>
          <cx:pt idx="82800">5</cx:pt>
          <cx:pt idx="82801">4</cx:pt>
          <cx:pt idx="82802">4</cx:pt>
          <cx:pt idx="82803">4</cx:pt>
          <cx:pt idx="82804">5</cx:pt>
          <cx:pt idx="82805">5</cx:pt>
          <cx:pt idx="82806">3</cx:pt>
          <cx:pt idx="82807">5</cx:pt>
          <cx:pt idx="82808">1</cx:pt>
          <cx:pt idx="82809">5</cx:pt>
          <cx:pt idx="82810">4</cx:pt>
          <cx:pt idx="82811">4</cx:pt>
          <cx:pt idx="82812">5</cx:pt>
          <cx:pt idx="82813">1</cx:pt>
          <cx:pt idx="82814">4</cx:pt>
          <cx:pt idx="82815">4</cx:pt>
          <cx:pt idx="82816">1</cx:pt>
          <cx:pt idx="82817">1</cx:pt>
          <cx:pt idx="82818">3</cx:pt>
          <cx:pt idx="82819">4</cx:pt>
          <cx:pt idx="82820">5</cx:pt>
          <cx:pt idx="82821">5</cx:pt>
          <cx:pt idx="82822">3</cx:pt>
          <cx:pt idx="82823">4</cx:pt>
          <cx:pt idx="82824">3</cx:pt>
          <cx:pt idx="82825">4</cx:pt>
          <cx:pt idx="82826">2</cx:pt>
          <cx:pt idx="82827">5</cx:pt>
          <cx:pt idx="82828">3</cx:pt>
          <cx:pt idx="82829">3</cx:pt>
          <cx:pt idx="82830">4</cx:pt>
          <cx:pt idx="82831">5</cx:pt>
          <cx:pt idx="82832">4</cx:pt>
          <cx:pt idx="82833">3</cx:pt>
          <cx:pt idx="82834">5</cx:pt>
          <cx:pt idx="82835">3</cx:pt>
          <cx:pt idx="82836">5</cx:pt>
          <cx:pt idx="82837">4</cx:pt>
          <cx:pt idx="82838">3</cx:pt>
          <cx:pt idx="82839">1</cx:pt>
          <cx:pt idx="82840">4</cx:pt>
          <cx:pt idx="82841">4</cx:pt>
          <cx:pt idx="82842">4</cx:pt>
          <cx:pt idx="82843">3</cx:pt>
          <cx:pt idx="82844">2</cx:pt>
          <cx:pt idx="82845">4</cx:pt>
          <cx:pt idx="82846">3</cx:pt>
          <cx:pt idx="82847">2</cx:pt>
          <cx:pt idx="82848">3</cx:pt>
          <cx:pt idx="82849">4</cx:pt>
          <cx:pt idx="82850">1</cx:pt>
          <cx:pt idx="82851">4</cx:pt>
          <cx:pt idx="82852">1</cx:pt>
          <cx:pt idx="82853">2</cx:pt>
          <cx:pt idx="82854">2</cx:pt>
          <cx:pt idx="82855">3</cx:pt>
          <cx:pt idx="82856">4</cx:pt>
          <cx:pt idx="82857">3</cx:pt>
          <cx:pt idx="82858">5</cx:pt>
          <cx:pt idx="82859">3</cx:pt>
          <cx:pt idx="82860">2</cx:pt>
          <cx:pt idx="82861">1</cx:pt>
          <cx:pt idx="82862">4</cx:pt>
          <cx:pt idx="82863">4</cx:pt>
          <cx:pt idx="82864">1</cx:pt>
          <cx:pt idx="82865">1</cx:pt>
          <cx:pt idx="82866">2</cx:pt>
          <cx:pt idx="82867">1</cx:pt>
          <cx:pt idx="82868">3</cx:pt>
          <cx:pt idx="82869">1</cx:pt>
          <cx:pt idx="82870">5</cx:pt>
          <cx:pt idx="82871">5</cx:pt>
          <cx:pt idx="82872">3</cx:pt>
          <cx:pt idx="82873">5</cx:pt>
          <cx:pt idx="82874">1</cx:pt>
          <cx:pt idx="82875">3</cx:pt>
          <cx:pt idx="82876">4</cx:pt>
          <cx:pt idx="82877">5</cx:pt>
          <cx:pt idx="82878">2</cx:pt>
          <cx:pt idx="82879">4</cx:pt>
          <cx:pt idx="82880">2</cx:pt>
          <cx:pt idx="82881">2</cx:pt>
          <cx:pt idx="82882">2</cx:pt>
          <cx:pt idx="82883">3</cx:pt>
          <cx:pt idx="82884">5</cx:pt>
          <cx:pt idx="82885">4</cx:pt>
          <cx:pt idx="82886">2</cx:pt>
          <cx:pt idx="82887">1</cx:pt>
          <cx:pt idx="82888">5</cx:pt>
          <cx:pt idx="82889">5</cx:pt>
          <cx:pt idx="82890">3</cx:pt>
          <cx:pt idx="82891">3</cx:pt>
          <cx:pt idx="82892">4</cx:pt>
          <cx:pt idx="82893">3</cx:pt>
          <cx:pt idx="82894">4</cx:pt>
          <cx:pt idx="82895">5</cx:pt>
          <cx:pt idx="82896">3</cx:pt>
          <cx:pt idx="82897">2</cx:pt>
          <cx:pt idx="82898">3</cx:pt>
          <cx:pt idx="82899">3</cx:pt>
          <cx:pt idx="82900">5</cx:pt>
          <cx:pt idx="82901">4</cx:pt>
          <cx:pt idx="82902">2</cx:pt>
          <cx:pt idx="82903">2</cx:pt>
          <cx:pt idx="82904">5</cx:pt>
          <cx:pt idx="82905">2</cx:pt>
          <cx:pt idx="82906">5</cx:pt>
          <cx:pt idx="82907">2</cx:pt>
          <cx:pt idx="82908">1</cx:pt>
          <cx:pt idx="82909">5</cx:pt>
          <cx:pt idx="82910">2</cx:pt>
          <cx:pt idx="82911">4</cx:pt>
          <cx:pt idx="82912">3</cx:pt>
          <cx:pt idx="82913">4</cx:pt>
          <cx:pt idx="82914">2</cx:pt>
          <cx:pt idx="82915">2</cx:pt>
          <cx:pt idx="82916">4</cx:pt>
          <cx:pt idx="82917">5</cx:pt>
          <cx:pt idx="82918">1</cx:pt>
          <cx:pt idx="82919">4</cx:pt>
          <cx:pt idx="82920">2</cx:pt>
          <cx:pt idx="82921">5</cx:pt>
          <cx:pt idx="82922">5</cx:pt>
          <cx:pt idx="82923">4</cx:pt>
          <cx:pt idx="82924">5</cx:pt>
          <cx:pt idx="82925">5</cx:pt>
          <cx:pt idx="82926">5</cx:pt>
          <cx:pt idx="82927">4</cx:pt>
          <cx:pt idx="82928">4</cx:pt>
          <cx:pt idx="82929">4</cx:pt>
          <cx:pt idx="82930">5</cx:pt>
          <cx:pt idx="82931">2</cx:pt>
          <cx:pt idx="82932">4</cx:pt>
          <cx:pt idx="82933">2</cx:pt>
          <cx:pt idx="82934">2</cx:pt>
          <cx:pt idx="82935">4</cx:pt>
          <cx:pt idx="82936">4</cx:pt>
          <cx:pt idx="82937">4</cx:pt>
          <cx:pt idx="82938">5</cx:pt>
          <cx:pt idx="82939">3</cx:pt>
          <cx:pt idx="82940">1</cx:pt>
          <cx:pt idx="82941">4</cx:pt>
          <cx:pt idx="82942">4</cx:pt>
          <cx:pt idx="82943">2</cx:pt>
          <cx:pt idx="82944">3</cx:pt>
          <cx:pt idx="82945">3</cx:pt>
          <cx:pt idx="82946">5</cx:pt>
          <cx:pt idx="82947">2</cx:pt>
          <cx:pt idx="82948">3</cx:pt>
          <cx:pt idx="82949">1</cx:pt>
          <cx:pt idx="82950">4</cx:pt>
          <cx:pt idx="82951">3</cx:pt>
          <cx:pt idx="82952">4</cx:pt>
          <cx:pt idx="82953">4</cx:pt>
          <cx:pt idx="82954">1</cx:pt>
          <cx:pt idx="82955">2</cx:pt>
          <cx:pt idx="82956">3</cx:pt>
          <cx:pt idx="82957">3</cx:pt>
          <cx:pt idx="82958">5</cx:pt>
          <cx:pt idx="82959">4</cx:pt>
          <cx:pt idx="82960">4</cx:pt>
          <cx:pt idx="82961">4</cx:pt>
          <cx:pt idx="82962">5</cx:pt>
          <cx:pt idx="82963">4</cx:pt>
          <cx:pt idx="82964">5</cx:pt>
          <cx:pt idx="82965">5</cx:pt>
          <cx:pt idx="82966">1</cx:pt>
          <cx:pt idx="82967">2</cx:pt>
          <cx:pt idx="82968">4</cx:pt>
          <cx:pt idx="82969">3</cx:pt>
          <cx:pt idx="82970">5</cx:pt>
          <cx:pt idx="82971">3</cx:pt>
          <cx:pt idx="82972">3</cx:pt>
          <cx:pt idx="82973">3</cx:pt>
          <cx:pt idx="82974">4</cx:pt>
          <cx:pt idx="82975">4</cx:pt>
          <cx:pt idx="82976">4</cx:pt>
          <cx:pt idx="82977">2</cx:pt>
          <cx:pt idx="82978">4</cx:pt>
          <cx:pt idx="82979">1</cx:pt>
          <cx:pt idx="82980">5</cx:pt>
          <cx:pt idx="82981">2</cx:pt>
          <cx:pt idx="82982">3</cx:pt>
          <cx:pt idx="82983">1</cx:pt>
          <cx:pt idx="82984">5</cx:pt>
          <cx:pt idx="82985">2</cx:pt>
          <cx:pt idx="82986">2</cx:pt>
          <cx:pt idx="82987">2</cx:pt>
          <cx:pt idx="82988">4</cx:pt>
          <cx:pt idx="82989">3</cx:pt>
          <cx:pt idx="82990">1</cx:pt>
          <cx:pt idx="82991">5</cx:pt>
          <cx:pt idx="82992">1</cx:pt>
          <cx:pt idx="82993">5</cx:pt>
          <cx:pt idx="82994">5</cx:pt>
          <cx:pt idx="82995">2</cx:pt>
          <cx:pt idx="82996">4</cx:pt>
          <cx:pt idx="82997">3</cx:pt>
          <cx:pt idx="82998">3</cx:pt>
          <cx:pt idx="82999">3</cx:pt>
          <cx:pt idx="83000">5</cx:pt>
          <cx:pt idx="83001">4</cx:pt>
          <cx:pt idx="83002">3</cx:pt>
          <cx:pt idx="83003">1</cx:pt>
          <cx:pt idx="83004">1</cx:pt>
          <cx:pt idx="83005">3</cx:pt>
          <cx:pt idx="83006">2</cx:pt>
          <cx:pt idx="83007">5</cx:pt>
          <cx:pt idx="83008">4</cx:pt>
          <cx:pt idx="83009">1</cx:pt>
          <cx:pt idx="83010">1</cx:pt>
          <cx:pt idx="83011">1</cx:pt>
          <cx:pt idx="83012">1</cx:pt>
          <cx:pt idx="83013">4</cx:pt>
          <cx:pt idx="83014">5</cx:pt>
          <cx:pt idx="83015">2</cx:pt>
          <cx:pt idx="83016">5</cx:pt>
          <cx:pt idx="83017">3</cx:pt>
          <cx:pt idx="83018">5</cx:pt>
          <cx:pt idx="83019">2</cx:pt>
          <cx:pt idx="83020">3</cx:pt>
          <cx:pt idx="83021">3</cx:pt>
          <cx:pt idx="83022">3</cx:pt>
          <cx:pt idx="83023">5</cx:pt>
          <cx:pt idx="83024">4</cx:pt>
          <cx:pt idx="83025">5</cx:pt>
          <cx:pt idx="83026">4</cx:pt>
          <cx:pt idx="83027">1</cx:pt>
          <cx:pt idx="83028">4</cx:pt>
          <cx:pt idx="83029">4</cx:pt>
          <cx:pt idx="83030">3</cx:pt>
          <cx:pt idx="83031">3</cx:pt>
          <cx:pt idx="83032">5</cx:pt>
          <cx:pt idx="83033">4</cx:pt>
          <cx:pt idx="83034">1</cx:pt>
          <cx:pt idx="83035">4</cx:pt>
          <cx:pt idx="83036">5</cx:pt>
          <cx:pt idx="83037">4</cx:pt>
          <cx:pt idx="83038">1</cx:pt>
          <cx:pt idx="83039">2</cx:pt>
          <cx:pt idx="83040">3</cx:pt>
          <cx:pt idx="83041">4</cx:pt>
          <cx:pt idx="83042">2</cx:pt>
          <cx:pt idx="83043">2</cx:pt>
          <cx:pt idx="83044">3</cx:pt>
          <cx:pt idx="83045">5</cx:pt>
          <cx:pt idx="83046">2</cx:pt>
          <cx:pt idx="83047">5</cx:pt>
          <cx:pt idx="83048">1</cx:pt>
          <cx:pt idx="83049">4</cx:pt>
          <cx:pt idx="83050">5</cx:pt>
          <cx:pt idx="83051">4</cx:pt>
          <cx:pt idx="83052">4</cx:pt>
          <cx:pt idx="83053">4</cx:pt>
          <cx:pt idx="83054">1</cx:pt>
          <cx:pt idx="83055">4</cx:pt>
          <cx:pt idx="83056">2</cx:pt>
          <cx:pt idx="83057">3</cx:pt>
          <cx:pt idx="83058">4</cx:pt>
          <cx:pt idx="83059">4</cx:pt>
          <cx:pt idx="83060">3</cx:pt>
          <cx:pt idx="83061">5</cx:pt>
          <cx:pt idx="83062">2</cx:pt>
          <cx:pt idx="83063">5</cx:pt>
          <cx:pt idx="83064">5</cx:pt>
          <cx:pt idx="83065">5</cx:pt>
          <cx:pt idx="83066">5</cx:pt>
          <cx:pt idx="83067">5</cx:pt>
          <cx:pt idx="83068">5</cx:pt>
          <cx:pt idx="83069">2</cx:pt>
          <cx:pt idx="83070">5</cx:pt>
          <cx:pt idx="83071">4</cx:pt>
          <cx:pt idx="83072">3</cx:pt>
          <cx:pt idx="83073">4</cx:pt>
          <cx:pt idx="83074">5</cx:pt>
          <cx:pt idx="83075">4</cx:pt>
          <cx:pt idx="83076">3</cx:pt>
          <cx:pt idx="83077">4</cx:pt>
          <cx:pt idx="83078">4</cx:pt>
          <cx:pt idx="83079">5</cx:pt>
          <cx:pt idx="83080">5</cx:pt>
          <cx:pt idx="83081">4</cx:pt>
          <cx:pt idx="83082">4</cx:pt>
          <cx:pt idx="83083">4</cx:pt>
          <cx:pt idx="83084">1</cx:pt>
          <cx:pt idx="83085">4</cx:pt>
          <cx:pt idx="83086">3</cx:pt>
          <cx:pt idx="83087">4</cx:pt>
          <cx:pt idx="83088">5</cx:pt>
          <cx:pt idx="83089">5</cx:pt>
          <cx:pt idx="83090">3</cx:pt>
          <cx:pt idx="83091">4</cx:pt>
          <cx:pt idx="83092">2</cx:pt>
          <cx:pt idx="83093">3</cx:pt>
          <cx:pt idx="83094">1</cx:pt>
          <cx:pt idx="83095">2</cx:pt>
          <cx:pt idx="83096">2</cx:pt>
          <cx:pt idx="83097">5</cx:pt>
          <cx:pt idx="83098">4</cx:pt>
          <cx:pt idx="83099">4</cx:pt>
          <cx:pt idx="83100">4</cx:pt>
          <cx:pt idx="83101">4</cx:pt>
          <cx:pt idx="83102">5</cx:pt>
          <cx:pt idx="83103">2</cx:pt>
          <cx:pt idx="83104">3</cx:pt>
          <cx:pt idx="83105">2</cx:pt>
          <cx:pt idx="83106">5</cx:pt>
          <cx:pt idx="83107">4</cx:pt>
          <cx:pt idx="83108">5</cx:pt>
          <cx:pt idx="83109">2</cx:pt>
          <cx:pt idx="83110">5</cx:pt>
          <cx:pt idx="83111">5</cx:pt>
          <cx:pt idx="83112">3</cx:pt>
          <cx:pt idx="83113">2</cx:pt>
          <cx:pt idx="83114">1</cx:pt>
          <cx:pt idx="83115">4</cx:pt>
          <cx:pt idx="83116">5</cx:pt>
          <cx:pt idx="83117">3</cx:pt>
          <cx:pt idx="83118">2</cx:pt>
          <cx:pt idx="83119">5</cx:pt>
          <cx:pt idx="83120">2</cx:pt>
          <cx:pt idx="83121">1</cx:pt>
          <cx:pt idx="83122">4</cx:pt>
          <cx:pt idx="83123">3</cx:pt>
          <cx:pt idx="83124">4</cx:pt>
          <cx:pt idx="83125">5</cx:pt>
          <cx:pt idx="83126">2</cx:pt>
          <cx:pt idx="83127">5</cx:pt>
          <cx:pt idx="83128">2</cx:pt>
          <cx:pt idx="83129">3</cx:pt>
          <cx:pt idx="83130">3</cx:pt>
          <cx:pt idx="83131">2</cx:pt>
          <cx:pt idx="83132">5</cx:pt>
          <cx:pt idx="83133">5</cx:pt>
          <cx:pt idx="83134">4</cx:pt>
          <cx:pt idx="83135">5</cx:pt>
          <cx:pt idx="83136">4</cx:pt>
          <cx:pt idx="83137">5</cx:pt>
          <cx:pt idx="83138">4</cx:pt>
          <cx:pt idx="83139">3</cx:pt>
          <cx:pt idx="83140">5</cx:pt>
          <cx:pt idx="83141">5</cx:pt>
          <cx:pt idx="83142">4</cx:pt>
          <cx:pt idx="83143">2</cx:pt>
          <cx:pt idx="83144">2</cx:pt>
          <cx:pt idx="83145">4</cx:pt>
          <cx:pt idx="83146">5</cx:pt>
          <cx:pt idx="83147">5</cx:pt>
          <cx:pt idx="83148">3</cx:pt>
          <cx:pt idx="83149">4</cx:pt>
          <cx:pt idx="83150">5</cx:pt>
          <cx:pt idx="83151">4</cx:pt>
          <cx:pt idx="83152">5</cx:pt>
          <cx:pt idx="83153">3</cx:pt>
          <cx:pt idx="83154">2</cx:pt>
          <cx:pt idx="83155">2</cx:pt>
          <cx:pt idx="83156">3</cx:pt>
          <cx:pt idx="83157">4</cx:pt>
          <cx:pt idx="83158">2</cx:pt>
          <cx:pt idx="83159">4</cx:pt>
          <cx:pt idx="83160">5</cx:pt>
          <cx:pt idx="83161">4</cx:pt>
          <cx:pt idx="83162">3</cx:pt>
          <cx:pt idx="83163">3</cx:pt>
          <cx:pt idx="83164">5</cx:pt>
          <cx:pt idx="83165">1</cx:pt>
          <cx:pt idx="83166">1</cx:pt>
          <cx:pt idx="83167">1</cx:pt>
          <cx:pt idx="83168">5</cx:pt>
          <cx:pt idx="83169">3</cx:pt>
          <cx:pt idx="83170">4</cx:pt>
          <cx:pt idx="83171">4</cx:pt>
          <cx:pt idx="83172">2</cx:pt>
          <cx:pt idx="83173">4</cx:pt>
          <cx:pt idx="83174">4</cx:pt>
          <cx:pt idx="83175">3</cx:pt>
          <cx:pt idx="83176">3</cx:pt>
          <cx:pt idx="83177">4</cx:pt>
          <cx:pt idx="83178">3</cx:pt>
          <cx:pt idx="83179">3</cx:pt>
          <cx:pt idx="83180">4</cx:pt>
          <cx:pt idx="83181">4</cx:pt>
          <cx:pt idx="83182">1</cx:pt>
          <cx:pt idx="83183">2</cx:pt>
          <cx:pt idx="83184">3</cx:pt>
          <cx:pt idx="83185">2</cx:pt>
          <cx:pt idx="83186">3</cx:pt>
          <cx:pt idx="83187">4</cx:pt>
          <cx:pt idx="83188">4</cx:pt>
          <cx:pt idx="83189">5</cx:pt>
          <cx:pt idx="83190">4</cx:pt>
          <cx:pt idx="83191">4</cx:pt>
          <cx:pt idx="83192">3</cx:pt>
          <cx:pt idx="83193">4</cx:pt>
          <cx:pt idx="83194">5</cx:pt>
          <cx:pt idx="83195">3</cx:pt>
          <cx:pt idx="83196">4</cx:pt>
          <cx:pt idx="83197">4</cx:pt>
          <cx:pt idx="83198">1</cx:pt>
          <cx:pt idx="83199">5</cx:pt>
          <cx:pt idx="83200">3</cx:pt>
          <cx:pt idx="83201">5</cx:pt>
          <cx:pt idx="83202">3</cx:pt>
          <cx:pt idx="83203">1</cx:pt>
          <cx:pt idx="83204">2</cx:pt>
          <cx:pt idx="83205">4</cx:pt>
          <cx:pt idx="83206">3</cx:pt>
          <cx:pt idx="83207">1</cx:pt>
          <cx:pt idx="83208">5</cx:pt>
          <cx:pt idx="83209">4</cx:pt>
          <cx:pt idx="83210">1</cx:pt>
          <cx:pt idx="83211">4</cx:pt>
          <cx:pt idx="83212">3</cx:pt>
          <cx:pt idx="83213">3</cx:pt>
          <cx:pt idx="83214">4</cx:pt>
          <cx:pt idx="83215">5</cx:pt>
          <cx:pt idx="83216">1</cx:pt>
          <cx:pt idx="83217">1</cx:pt>
          <cx:pt idx="83218">5</cx:pt>
          <cx:pt idx="83219">2</cx:pt>
          <cx:pt idx="83220">4</cx:pt>
          <cx:pt idx="83221">5</cx:pt>
          <cx:pt idx="83222">5</cx:pt>
          <cx:pt idx="83223">4</cx:pt>
          <cx:pt idx="83224">2</cx:pt>
          <cx:pt idx="83225">5</cx:pt>
          <cx:pt idx="83226">4</cx:pt>
          <cx:pt idx="83227">1</cx:pt>
          <cx:pt idx="83228">4</cx:pt>
          <cx:pt idx="83229">3</cx:pt>
          <cx:pt idx="83230">1</cx:pt>
          <cx:pt idx="83231">3</cx:pt>
          <cx:pt idx="83232">4</cx:pt>
          <cx:pt idx="83233">1</cx:pt>
          <cx:pt idx="83234">5</cx:pt>
          <cx:pt idx="83235">4</cx:pt>
          <cx:pt idx="83236">4</cx:pt>
          <cx:pt idx="83237">1</cx:pt>
          <cx:pt idx="83238">3</cx:pt>
          <cx:pt idx="83239">5</cx:pt>
          <cx:pt idx="83240">5</cx:pt>
          <cx:pt idx="83241">4</cx:pt>
          <cx:pt idx="83242">4</cx:pt>
          <cx:pt idx="83243">1</cx:pt>
          <cx:pt idx="83244">5</cx:pt>
          <cx:pt idx="83245">4</cx:pt>
          <cx:pt idx="83246">4</cx:pt>
          <cx:pt idx="83247">5</cx:pt>
          <cx:pt idx="83248">2</cx:pt>
          <cx:pt idx="83249">4</cx:pt>
          <cx:pt idx="83250">2</cx:pt>
          <cx:pt idx="83251">5</cx:pt>
          <cx:pt idx="83252">4</cx:pt>
          <cx:pt idx="83253">2</cx:pt>
          <cx:pt idx="83254">5</cx:pt>
          <cx:pt idx="83255">2</cx:pt>
          <cx:pt idx="83256">4</cx:pt>
          <cx:pt idx="83257">1</cx:pt>
          <cx:pt idx="83258">5</cx:pt>
          <cx:pt idx="83259">5</cx:pt>
          <cx:pt idx="83260">3</cx:pt>
          <cx:pt idx="83261">3</cx:pt>
          <cx:pt idx="83262">4</cx:pt>
          <cx:pt idx="83263">3</cx:pt>
          <cx:pt idx="83264">5</cx:pt>
          <cx:pt idx="83265">5</cx:pt>
          <cx:pt idx="83266">3</cx:pt>
          <cx:pt idx="83267">5</cx:pt>
          <cx:pt idx="83268">5</cx:pt>
          <cx:pt idx="83269">3</cx:pt>
          <cx:pt idx="83270">3</cx:pt>
          <cx:pt idx="83271">2</cx:pt>
          <cx:pt idx="83272">2</cx:pt>
          <cx:pt idx="83273">4</cx:pt>
          <cx:pt idx="83274">5</cx:pt>
          <cx:pt idx="83275">1</cx:pt>
          <cx:pt idx="83276">5</cx:pt>
          <cx:pt idx="83277">5</cx:pt>
          <cx:pt idx="83278">1</cx:pt>
          <cx:pt idx="83279">2</cx:pt>
          <cx:pt idx="83280">5</cx:pt>
          <cx:pt idx="83281">3</cx:pt>
          <cx:pt idx="83282">3</cx:pt>
          <cx:pt idx="83283">4</cx:pt>
          <cx:pt idx="83284">3</cx:pt>
          <cx:pt idx="83285">2</cx:pt>
          <cx:pt idx="83286">3</cx:pt>
          <cx:pt idx="83287">4</cx:pt>
          <cx:pt idx="83288">5</cx:pt>
          <cx:pt idx="83289">5</cx:pt>
          <cx:pt idx="83290">5</cx:pt>
          <cx:pt idx="83291">5</cx:pt>
          <cx:pt idx="83292">4</cx:pt>
          <cx:pt idx="83293">5</cx:pt>
          <cx:pt idx="83294">4</cx:pt>
          <cx:pt idx="83295">4</cx:pt>
          <cx:pt idx="83296">4</cx:pt>
          <cx:pt idx="83297">1</cx:pt>
          <cx:pt idx="83298">4</cx:pt>
          <cx:pt idx="83299">2</cx:pt>
          <cx:pt idx="83300">2</cx:pt>
          <cx:pt idx="83301">2</cx:pt>
          <cx:pt idx="83302">4</cx:pt>
          <cx:pt idx="83303">2</cx:pt>
          <cx:pt idx="83304">1</cx:pt>
          <cx:pt idx="83305">3</cx:pt>
          <cx:pt idx="83306">4</cx:pt>
          <cx:pt idx="83307">4</cx:pt>
          <cx:pt idx="83308">3</cx:pt>
          <cx:pt idx="83309">3</cx:pt>
          <cx:pt idx="83310">5</cx:pt>
          <cx:pt idx="83311">4</cx:pt>
          <cx:pt idx="83312">3</cx:pt>
          <cx:pt idx="83313">4</cx:pt>
          <cx:pt idx="83314">4</cx:pt>
          <cx:pt idx="83315">4</cx:pt>
          <cx:pt idx="83316">5</cx:pt>
          <cx:pt idx="83317">3</cx:pt>
          <cx:pt idx="83318">5</cx:pt>
          <cx:pt idx="83319">1</cx:pt>
          <cx:pt idx="83320">5</cx:pt>
          <cx:pt idx="83321">5</cx:pt>
          <cx:pt idx="83322">2</cx:pt>
          <cx:pt idx="83323">2</cx:pt>
          <cx:pt idx="83324">5</cx:pt>
          <cx:pt idx="83325">5</cx:pt>
          <cx:pt idx="83326">5</cx:pt>
          <cx:pt idx="83327">2</cx:pt>
          <cx:pt idx="83328">4</cx:pt>
          <cx:pt idx="83329">1</cx:pt>
          <cx:pt idx="83330">2</cx:pt>
          <cx:pt idx="83331">5</cx:pt>
          <cx:pt idx="83332">5</cx:pt>
          <cx:pt idx="83333">4</cx:pt>
          <cx:pt idx="83334">5</cx:pt>
          <cx:pt idx="83335">5</cx:pt>
          <cx:pt idx="83336">4</cx:pt>
          <cx:pt idx="83337">2</cx:pt>
          <cx:pt idx="83338">4</cx:pt>
          <cx:pt idx="83339">1</cx:pt>
          <cx:pt idx="83340">3</cx:pt>
          <cx:pt idx="83341">5</cx:pt>
          <cx:pt idx="83342">3</cx:pt>
          <cx:pt idx="83343">3</cx:pt>
          <cx:pt idx="83344">1</cx:pt>
          <cx:pt idx="83345">4</cx:pt>
          <cx:pt idx="83346">3</cx:pt>
          <cx:pt idx="83347">4</cx:pt>
          <cx:pt idx="83348">4</cx:pt>
          <cx:pt idx="83349">5</cx:pt>
          <cx:pt idx="83350">3</cx:pt>
          <cx:pt idx="83351">4</cx:pt>
          <cx:pt idx="83352">2</cx:pt>
          <cx:pt idx="83353">1</cx:pt>
          <cx:pt idx="83354">4</cx:pt>
          <cx:pt idx="83355">3</cx:pt>
          <cx:pt idx="83356">4</cx:pt>
          <cx:pt idx="83357">2</cx:pt>
          <cx:pt idx="83358">1</cx:pt>
          <cx:pt idx="83359">2</cx:pt>
          <cx:pt idx="83360">3</cx:pt>
          <cx:pt idx="83361">4</cx:pt>
          <cx:pt idx="83362">2</cx:pt>
          <cx:pt idx="83363">3</cx:pt>
          <cx:pt idx="83364">5</cx:pt>
          <cx:pt idx="83365">4</cx:pt>
          <cx:pt idx="83366">3</cx:pt>
          <cx:pt idx="83367">4</cx:pt>
          <cx:pt idx="83368">2</cx:pt>
          <cx:pt idx="83369">3</cx:pt>
          <cx:pt idx="83370">1</cx:pt>
          <cx:pt idx="83371">2</cx:pt>
          <cx:pt idx="83372">3</cx:pt>
          <cx:pt idx="83373">1</cx:pt>
          <cx:pt idx="83374">2</cx:pt>
          <cx:pt idx="83375">3</cx:pt>
          <cx:pt idx="83376">3</cx:pt>
          <cx:pt idx="83377">4</cx:pt>
          <cx:pt idx="83378">1</cx:pt>
          <cx:pt idx="83379">4</cx:pt>
          <cx:pt idx="83380">1</cx:pt>
          <cx:pt idx="83381">2</cx:pt>
          <cx:pt idx="83382">5</cx:pt>
          <cx:pt idx="83383">5</cx:pt>
          <cx:pt idx="83384">5</cx:pt>
          <cx:pt idx="83385">3</cx:pt>
          <cx:pt idx="83386">5</cx:pt>
          <cx:pt idx="83387">2</cx:pt>
          <cx:pt idx="83388">5</cx:pt>
          <cx:pt idx="83389">4</cx:pt>
          <cx:pt idx="83390">1</cx:pt>
          <cx:pt idx="83391">4</cx:pt>
          <cx:pt idx="83392">5</cx:pt>
          <cx:pt idx="83393">4</cx:pt>
          <cx:pt idx="83394">1</cx:pt>
          <cx:pt idx="83395">2</cx:pt>
          <cx:pt idx="83396">5</cx:pt>
          <cx:pt idx="83397">3</cx:pt>
          <cx:pt idx="83398">1</cx:pt>
          <cx:pt idx="83399">4</cx:pt>
          <cx:pt idx="83400">1</cx:pt>
          <cx:pt idx="83401">1</cx:pt>
          <cx:pt idx="83402">5</cx:pt>
          <cx:pt idx="83403">5</cx:pt>
          <cx:pt idx="83404">4</cx:pt>
          <cx:pt idx="83405">2</cx:pt>
          <cx:pt idx="83406">5</cx:pt>
          <cx:pt idx="83407">4</cx:pt>
          <cx:pt idx="83408">2</cx:pt>
          <cx:pt idx="83409">5</cx:pt>
          <cx:pt idx="83410">5</cx:pt>
          <cx:pt idx="83411">1</cx:pt>
          <cx:pt idx="83412">3</cx:pt>
          <cx:pt idx="83413">4</cx:pt>
          <cx:pt idx="83414">3</cx:pt>
          <cx:pt idx="83415">2</cx:pt>
          <cx:pt idx="83416">5</cx:pt>
          <cx:pt idx="83417">5</cx:pt>
          <cx:pt idx="83418">1</cx:pt>
          <cx:pt idx="83419">3</cx:pt>
          <cx:pt idx="83420">2</cx:pt>
          <cx:pt idx="83421">5</cx:pt>
          <cx:pt idx="83422">4</cx:pt>
          <cx:pt idx="83423">4</cx:pt>
          <cx:pt idx="83424">1</cx:pt>
          <cx:pt idx="83425">2</cx:pt>
          <cx:pt idx="83426">4</cx:pt>
          <cx:pt idx="83427">3</cx:pt>
          <cx:pt idx="83428">1</cx:pt>
          <cx:pt idx="83429">4</cx:pt>
          <cx:pt idx="83430">5</cx:pt>
          <cx:pt idx="83431">2</cx:pt>
          <cx:pt idx="83432">2</cx:pt>
          <cx:pt idx="83433">3</cx:pt>
          <cx:pt idx="83434">2</cx:pt>
          <cx:pt idx="83435">4</cx:pt>
          <cx:pt idx="83436">3</cx:pt>
          <cx:pt idx="83437">3</cx:pt>
          <cx:pt idx="83438">5</cx:pt>
          <cx:pt idx="83439">1</cx:pt>
          <cx:pt idx="83440">2</cx:pt>
          <cx:pt idx="83441">5</cx:pt>
          <cx:pt idx="83442">3</cx:pt>
          <cx:pt idx="83443">3</cx:pt>
          <cx:pt idx="83444">5</cx:pt>
          <cx:pt idx="83445">3</cx:pt>
          <cx:pt idx="83446">3</cx:pt>
          <cx:pt idx="83447">4</cx:pt>
          <cx:pt idx="83448">3</cx:pt>
          <cx:pt idx="83449">5</cx:pt>
          <cx:pt idx="83450">4</cx:pt>
          <cx:pt idx="83451">5</cx:pt>
          <cx:pt idx="83452">5</cx:pt>
          <cx:pt idx="83453">1</cx:pt>
          <cx:pt idx="83454">4</cx:pt>
          <cx:pt idx="83455">5</cx:pt>
          <cx:pt idx="83456">3</cx:pt>
          <cx:pt idx="83457">5</cx:pt>
          <cx:pt idx="83458">5</cx:pt>
          <cx:pt idx="83459">4</cx:pt>
          <cx:pt idx="83460">3</cx:pt>
          <cx:pt idx="83461">2</cx:pt>
          <cx:pt idx="83462">5</cx:pt>
          <cx:pt idx="83463">2</cx:pt>
          <cx:pt idx="83464">2</cx:pt>
          <cx:pt idx="83465">3</cx:pt>
          <cx:pt idx="83466">2</cx:pt>
          <cx:pt idx="83467">5</cx:pt>
          <cx:pt idx="83468">1</cx:pt>
          <cx:pt idx="83469">4</cx:pt>
          <cx:pt idx="83470">4</cx:pt>
          <cx:pt idx="83471">3</cx:pt>
          <cx:pt idx="83472">5</cx:pt>
          <cx:pt idx="83473">2</cx:pt>
          <cx:pt idx="83474">4</cx:pt>
          <cx:pt idx="83475">2</cx:pt>
          <cx:pt idx="83476">2</cx:pt>
          <cx:pt idx="83477">1</cx:pt>
          <cx:pt idx="83478">4</cx:pt>
          <cx:pt idx="83479">2</cx:pt>
          <cx:pt idx="83480">3</cx:pt>
          <cx:pt idx="83481">2</cx:pt>
          <cx:pt idx="83482">4</cx:pt>
          <cx:pt idx="83483">4</cx:pt>
          <cx:pt idx="83484">3</cx:pt>
          <cx:pt idx="83485">3</cx:pt>
          <cx:pt idx="83486">3</cx:pt>
          <cx:pt idx="83487">2</cx:pt>
          <cx:pt idx="83488">3</cx:pt>
          <cx:pt idx="83489">4</cx:pt>
          <cx:pt idx="83490">5</cx:pt>
          <cx:pt idx="83491">2</cx:pt>
          <cx:pt idx="83492">4</cx:pt>
          <cx:pt idx="83493">3</cx:pt>
          <cx:pt idx="83494">5</cx:pt>
          <cx:pt idx="83495">2</cx:pt>
          <cx:pt idx="83496">4</cx:pt>
          <cx:pt idx="83497">4</cx:pt>
          <cx:pt idx="83498">3</cx:pt>
          <cx:pt idx="83499">3</cx:pt>
          <cx:pt idx="83500">2</cx:pt>
          <cx:pt idx="83501">1</cx:pt>
          <cx:pt idx="83502">5</cx:pt>
          <cx:pt idx="83503">4</cx:pt>
          <cx:pt idx="83504">4</cx:pt>
          <cx:pt idx="83505">4</cx:pt>
          <cx:pt idx="83506">1</cx:pt>
          <cx:pt idx="83507">3</cx:pt>
          <cx:pt idx="83508">5</cx:pt>
          <cx:pt idx="83509">5</cx:pt>
          <cx:pt idx="83510">2</cx:pt>
          <cx:pt idx="83511">1</cx:pt>
          <cx:pt idx="83512">4</cx:pt>
          <cx:pt idx="83513">4</cx:pt>
          <cx:pt idx="83514">1</cx:pt>
          <cx:pt idx="83515">4</cx:pt>
          <cx:pt idx="83516">4</cx:pt>
          <cx:pt idx="83517">3</cx:pt>
          <cx:pt idx="83518">4</cx:pt>
          <cx:pt idx="83519">2</cx:pt>
          <cx:pt idx="83520">2</cx:pt>
          <cx:pt idx="83521">1</cx:pt>
          <cx:pt idx="83522">4</cx:pt>
          <cx:pt idx="83523">3</cx:pt>
          <cx:pt idx="83524">4</cx:pt>
          <cx:pt idx="83525">5</cx:pt>
          <cx:pt idx="83526">3</cx:pt>
          <cx:pt idx="83527">4</cx:pt>
          <cx:pt idx="83528">5</cx:pt>
          <cx:pt idx="83529">5</cx:pt>
          <cx:pt idx="83530">4</cx:pt>
          <cx:pt idx="83531">3</cx:pt>
          <cx:pt idx="83532">5</cx:pt>
          <cx:pt idx="83533">5</cx:pt>
          <cx:pt idx="83534">2</cx:pt>
          <cx:pt idx="83535">4</cx:pt>
          <cx:pt idx="83536">4</cx:pt>
          <cx:pt idx="83537">5</cx:pt>
          <cx:pt idx="83538">4</cx:pt>
          <cx:pt idx="83539">4</cx:pt>
          <cx:pt idx="83540">5</cx:pt>
          <cx:pt idx="83541">4</cx:pt>
          <cx:pt idx="83542">4</cx:pt>
          <cx:pt idx="83543">5</cx:pt>
          <cx:pt idx="83544">3</cx:pt>
          <cx:pt idx="83545">3</cx:pt>
          <cx:pt idx="83546">2</cx:pt>
          <cx:pt idx="83547">4</cx:pt>
          <cx:pt idx="83548">3</cx:pt>
          <cx:pt idx="83549">3</cx:pt>
          <cx:pt idx="83550">4</cx:pt>
          <cx:pt idx="83551">2</cx:pt>
          <cx:pt idx="83552">5</cx:pt>
          <cx:pt idx="83553">1</cx:pt>
          <cx:pt idx="83554">4</cx:pt>
          <cx:pt idx="83555">1</cx:pt>
          <cx:pt idx="83556">1</cx:pt>
          <cx:pt idx="83557">5</cx:pt>
          <cx:pt idx="83558">2</cx:pt>
          <cx:pt idx="83559">3</cx:pt>
          <cx:pt idx="83560">4</cx:pt>
          <cx:pt idx="83561">5</cx:pt>
          <cx:pt idx="83562">5</cx:pt>
          <cx:pt idx="83563">4</cx:pt>
          <cx:pt idx="83564">5</cx:pt>
          <cx:pt idx="83565">3</cx:pt>
          <cx:pt idx="83566">1</cx:pt>
          <cx:pt idx="83567">4</cx:pt>
          <cx:pt idx="83568">5</cx:pt>
          <cx:pt idx="83569">5</cx:pt>
          <cx:pt idx="83570">5</cx:pt>
          <cx:pt idx="83571">5</cx:pt>
          <cx:pt idx="83572">3</cx:pt>
          <cx:pt idx="83573">4</cx:pt>
          <cx:pt idx="83574">3</cx:pt>
          <cx:pt idx="83575">4</cx:pt>
          <cx:pt idx="83576">5</cx:pt>
          <cx:pt idx="83577">2</cx:pt>
          <cx:pt idx="83578">3</cx:pt>
          <cx:pt idx="83579">2</cx:pt>
          <cx:pt idx="83580">3</cx:pt>
          <cx:pt idx="83581">3</cx:pt>
          <cx:pt idx="83582">3</cx:pt>
          <cx:pt idx="83583">1</cx:pt>
          <cx:pt idx="83584">2</cx:pt>
          <cx:pt idx="83585">2</cx:pt>
          <cx:pt idx="83586">3</cx:pt>
          <cx:pt idx="83587">3</cx:pt>
          <cx:pt idx="83588">4</cx:pt>
          <cx:pt idx="83589">4</cx:pt>
          <cx:pt idx="83590">5</cx:pt>
          <cx:pt idx="83591">5</cx:pt>
          <cx:pt idx="83592">5</cx:pt>
          <cx:pt idx="83593">5</cx:pt>
          <cx:pt idx="83594">5</cx:pt>
          <cx:pt idx="83595">1</cx:pt>
          <cx:pt idx="83596">5</cx:pt>
          <cx:pt idx="83597">5</cx:pt>
          <cx:pt idx="83598">2</cx:pt>
          <cx:pt idx="83599">2</cx:pt>
          <cx:pt idx="83600">3</cx:pt>
          <cx:pt idx="83601">5</cx:pt>
          <cx:pt idx="83602">4</cx:pt>
          <cx:pt idx="83603">5</cx:pt>
          <cx:pt idx="83604">1</cx:pt>
          <cx:pt idx="83605">2</cx:pt>
          <cx:pt idx="83606">5</cx:pt>
          <cx:pt idx="83607">3</cx:pt>
          <cx:pt idx="83608">4</cx:pt>
          <cx:pt idx="83609">4</cx:pt>
          <cx:pt idx="83610">4</cx:pt>
          <cx:pt idx="83611">2</cx:pt>
          <cx:pt idx="83612">4</cx:pt>
          <cx:pt idx="83613">3</cx:pt>
          <cx:pt idx="83614">4</cx:pt>
          <cx:pt idx="83615">4</cx:pt>
          <cx:pt idx="83616">4</cx:pt>
          <cx:pt idx="83617">4</cx:pt>
          <cx:pt idx="83618">4</cx:pt>
          <cx:pt idx="83619">1</cx:pt>
          <cx:pt idx="83620">1</cx:pt>
          <cx:pt idx="83621">4</cx:pt>
          <cx:pt idx="83622">4</cx:pt>
          <cx:pt idx="83623">2</cx:pt>
          <cx:pt idx="83624">3</cx:pt>
          <cx:pt idx="83625">4</cx:pt>
          <cx:pt idx="83626">1</cx:pt>
          <cx:pt idx="83627">2</cx:pt>
          <cx:pt idx="83628">2</cx:pt>
          <cx:pt idx="83629">5</cx:pt>
          <cx:pt idx="83630">3</cx:pt>
          <cx:pt idx="83631">2</cx:pt>
          <cx:pt idx="83632">4</cx:pt>
          <cx:pt idx="83633">5</cx:pt>
          <cx:pt idx="83634">5</cx:pt>
          <cx:pt idx="83635">4</cx:pt>
          <cx:pt idx="83636">4</cx:pt>
          <cx:pt idx="83637">4</cx:pt>
          <cx:pt idx="83638">2</cx:pt>
          <cx:pt idx="83639">5</cx:pt>
          <cx:pt idx="83640">2</cx:pt>
          <cx:pt idx="83641">4</cx:pt>
          <cx:pt idx="83642">4</cx:pt>
          <cx:pt idx="83643">5</cx:pt>
          <cx:pt idx="83644">4</cx:pt>
          <cx:pt idx="83645">5</cx:pt>
          <cx:pt idx="83646">3</cx:pt>
          <cx:pt idx="83647">2</cx:pt>
          <cx:pt idx="83648">4</cx:pt>
          <cx:pt idx="83649">2</cx:pt>
          <cx:pt idx="83650">1</cx:pt>
          <cx:pt idx="83651">4</cx:pt>
          <cx:pt idx="83652">4</cx:pt>
          <cx:pt idx="83653">1</cx:pt>
          <cx:pt idx="83654">2</cx:pt>
          <cx:pt idx="83655">4</cx:pt>
          <cx:pt idx="83656">4</cx:pt>
          <cx:pt idx="83657">4</cx:pt>
          <cx:pt idx="83658">4</cx:pt>
          <cx:pt idx="83659">1</cx:pt>
          <cx:pt idx="83660">3</cx:pt>
          <cx:pt idx="83661">4</cx:pt>
          <cx:pt idx="83662">4</cx:pt>
          <cx:pt idx="83663">1</cx:pt>
          <cx:pt idx="83664">4</cx:pt>
          <cx:pt idx="83665">5</cx:pt>
          <cx:pt idx="83666">4</cx:pt>
          <cx:pt idx="83667">3</cx:pt>
          <cx:pt idx="83668">4</cx:pt>
          <cx:pt idx="83669">4</cx:pt>
          <cx:pt idx="83670">4</cx:pt>
          <cx:pt idx="83671">3</cx:pt>
          <cx:pt idx="83672">5</cx:pt>
          <cx:pt idx="83673">4</cx:pt>
          <cx:pt idx="83674">2</cx:pt>
          <cx:pt idx="83675">4</cx:pt>
          <cx:pt idx="83676">1</cx:pt>
          <cx:pt idx="83677">2</cx:pt>
          <cx:pt idx="83678">4</cx:pt>
          <cx:pt idx="83679">2</cx:pt>
          <cx:pt idx="83680">5</cx:pt>
          <cx:pt idx="83681">2</cx:pt>
          <cx:pt idx="83682">5</cx:pt>
          <cx:pt idx="83683">5</cx:pt>
          <cx:pt idx="83684">5</cx:pt>
          <cx:pt idx="83685">2</cx:pt>
          <cx:pt idx="83686">5</cx:pt>
          <cx:pt idx="83687">4</cx:pt>
          <cx:pt idx="83688">5</cx:pt>
          <cx:pt idx="83689">2</cx:pt>
          <cx:pt idx="83690">4</cx:pt>
          <cx:pt idx="83691">1</cx:pt>
          <cx:pt idx="83692">4</cx:pt>
          <cx:pt idx="83693">2</cx:pt>
          <cx:pt idx="83694">5</cx:pt>
          <cx:pt idx="83695">1</cx:pt>
          <cx:pt idx="83696">4</cx:pt>
          <cx:pt idx="83697">2</cx:pt>
          <cx:pt idx="83698">5</cx:pt>
          <cx:pt idx="83699">4</cx:pt>
          <cx:pt idx="83700">5</cx:pt>
          <cx:pt idx="83701">1</cx:pt>
          <cx:pt idx="83702">4</cx:pt>
          <cx:pt idx="83703">5</cx:pt>
          <cx:pt idx="83704">5</cx:pt>
          <cx:pt idx="83705">4</cx:pt>
          <cx:pt idx="83706">3</cx:pt>
          <cx:pt idx="83707">2</cx:pt>
          <cx:pt idx="83708">2</cx:pt>
          <cx:pt idx="83709">4</cx:pt>
          <cx:pt idx="83710">4</cx:pt>
          <cx:pt idx="83711">5</cx:pt>
          <cx:pt idx="83712">4</cx:pt>
          <cx:pt idx="83713">4</cx:pt>
          <cx:pt idx="83714">4</cx:pt>
          <cx:pt idx="83715">1</cx:pt>
          <cx:pt idx="83716">3</cx:pt>
          <cx:pt idx="83717">5</cx:pt>
          <cx:pt idx="83718">5</cx:pt>
          <cx:pt idx="83719">4</cx:pt>
          <cx:pt idx="83720">5</cx:pt>
          <cx:pt idx="83721">5</cx:pt>
          <cx:pt idx="83722">5</cx:pt>
          <cx:pt idx="83723">2</cx:pt>
          <cx:pt idx="83724">5</cx:pt>
          <cx:pt idx="83725">3</cx:pt>
          <cx:pt idx="83726">2</cx:pt>
          <cx:pt idx="83727">2</cx:pt>
          <cx:pt idx="83728">2</cx:pt>
          <cx:pt idx="83729">4</cx:pt>
          <cx:pt idx="83730">3</cx:pt>
          <cx:pt idx="83731">3</cx:pt>
          <cx:pt idx="83732">1</cx:pt>
          <cx:pt idx="83733">3</cx:pt>
          <cx:pt idx="83734">4</cx:pt>
          <cx:pt idx="83735">3</cx:pt>
          <cx:pt idx="83736">1</cx:pt>
          <cx:pt idx="83737">4</cx:pt>
          <cx:pt idx="83738">5</cx:pt>
          <cx:pt idx="83739">3</cx:pt>
          <cx:pt idx="83740">5</cx:pt>
          <cx:pt idx="83741">2</cx:pt>
          <cx:pt idx="83742">4</cx:pt>
          <cx:pt idx="83743">5</cx:pt>
          <cx:pt idx="83744">4</cx:pt>
          <cx:pt idx="83745">2</cx:pt>
          <cx:pt idx="83746">3</cx:pt>
          <cx:pt idx="83747">4</cx:pt>
          <cx:pt idx="83748">2</cx:pt>
          <cx:pt idx="83749">5</cx:pt>
          <cx:pt idx="83750">3</cx:pt>
          <cx:pt idx="83751">5</cx:pt>
          <cx:pt idx="83752">5</cx:pt>
          <cx:pt idx="83753">4</cx:pt>
          <cx:pt idx="83754">3</cx:pt>
          <cx:pt idx="83755">3</cx:pt>
          <cx:pt idx="83756">4</cx:pt>
          <cx:pt idx="83757">3</cx:pt>
          <cx:pt idx="83758">2</cx:pt>
          <cx:pt idx="83759">2</cx:pt>
          <cx:pt idx="83760">3</cx:pt>
          <cx:pt idx="83761">5</cx:pt>
          <cx:pt idx="83762">1</cx:pt>
          <cx:pt idx="83763">5</cx:pt>
          <cx:pt idx="83764">5</cx:pt>
          <cx:pt idx="83765">4</cx:pt>
          <cx:pt idx="83766">1</cx:pt>
          <cx:pt idx="83767">4</cx:pt>
          <cx:pt idx="83768">4</cx:pt>
          <cx:pt idx="83769">4</cx:pt>
          <cx:pt idx="83770">5</cx:pt>
          <cx:pt idx="83771">5</cx:pt>
          <cx:pt idx="83772">2</cx:pt>
          <cx:pt idx="83773">2</cx:pt>
          <cx:pt idx="83774">4</cx:pt>
          <cx:pt idx="83775">4</cx:pt>
          <cx:pt idx="83776">5</cx:pt>
          <cx:pt idx="83777">1</cx:pt>
          <cx:pt idx="83778">4</cx:pt>
          <cx:pt idx="83779">4</cx:pt>
          <cx:pt idx="83780">4</cx:pt>
          <cx:pt idx="83781">3</cx:pt>
          <cx:pt idx="83782">4</cx:pt>
          <cx:pt idx="83783">5</cx:pt>
          <cx:pt idx="83784">4</cx:pt>
          <cx:pt idx="83785">3</cx:pt>
          <cx:pt idx="83786">3</cx:pt>
          <cx:pt idx="83787">2</cx:pt>
          <cx:pt idx="83788">3</cx:pt>
          <cx:pt idx="83789">4</cx:pt>
          <cx:pt idx="83790">1</cx:pt>
          <cx:pt idx="83791">5</cx:pt>
          <cx:pt idx="83792">2</cx:pt>
          <cx:pt idx="83793">5</cx:pt>
          <cx:pt idx="83794">4</cx:pt>
          <cx:pt idx="83795">3</cx:pt>
          <cx:pt idx="83796">4</cx:pt>
          <cx:pt idx="83797">2</cx:pt>
          <cx:pt idx="83798">3</cx:pt>
          <cx:pt idx="83799">3</cx:pt>
          <cx:pt idx="83800">5</cx:pt>
          <cx:pt idx="83801">5</cx:pt>
          <cx:pt idx="83802">5</cx:pt>
          <cx:pt idx="83803">4</cx:pt>
          <cx:pt idx="83804">4</cx:pt>
          <cx:pt idx="83805">5</cx:pt>
          <cx:pt idx="83806">5</cx:pt>
          <cx:pt idx="83807">2</cx:pt>
          <cx:pt idx="83808">4</cx:pt>
          <cx:pt idx="83809">3</cx:pt>
          <cx:pt idx="83810">4</cx:pt>
          <cx:pt idx="83811">1</cx:pt>
          <cx:pt idx="83812">4</cx:pt>
          <cx:pt idx="83813">5</cx:pt>
          <cx:pt idx="83814">4</cx:pt>
          <cx:pt idx="83815">5</cx:pt>
          <cx:pt idx="83816">5</cx:pt>
          <cx:pt idx="83817">2</cx:pt>
          <cx:pt idx="83818">4</cx:pt>
          <cx:pt idx="83819">1</cx:pt>
          <cx:pt idx="83820">2</cx:pt>
          <cx:pt idx="83821">4</cx:pt>
          <cx:pt idx="83822">3</cx:pt>
          <cx:pt idx="83823">2</cx:pt>
          <cx:pt idx="83824">4</cx:pt>
          <cx:pt idx="83825">4</cx:pt>
          <cx:pt idx="83826">3</cx:pt>
          <cx:pt idx="83827">4</cx:pt>
          <cx:pt idx="83828">5</cx:pt>
          <cx:pt idx="83829">3</cx:pt>
          <cx:pt idx="83830">3</cx:pt>
          <cx:pt idx="83831">4</cx:pt>
          <cx:pt idx="83832">3</cx:pt>
          <cx:pt idx="83833">5</cx:pt>
          <cx:pt idx="83834">4</cx:pt>
          <cx:pt idx="83835">5</cx:pt>
          <cx:pt idx="83836">4</cx:pt>
          <cx:pt idx="83837">4</cx:pt>
          <cx:pt idx="83838">4</cx:pt>
          <cx:pt idx="83839">2</cx:pt>
          <cx:pt idx="83840">5</cx:pt>
          <cx:pt idx="83841">3</cx:pt>
          <cx:pt idx="83842">3</cx:pt>
          <cx:pt idx="83843">5</cx:pt>
          <cx:pt idx="83844">3</cx:pt>
          <cx:pt idx="83845">3</cx:pt>
          <cx:pt idx="83846">4</cx:pt>
          <cx:pt idx="83847">1</cx:pt>
          <cx:pt idx="83848">4</cx:pt>
          <cx:pt idx="83849">4</cx:pt>
          <cx:pt idx="83850">3</cx:pt>
          <cx:pt idx="83851">1</cx:pt>
          <cx:pt idx="83852">1</cx:pt>
          <cx:pt idx="83853">1</cx:pt>
          <cx:pt idx="83854">1</cx:pt>
          <cx:pt idx="83855">3</cx:pt>
          <cx:pt idx="83856">5</cx:pt>
          <cx:pt idx="83857">1</cx:pt>
          <cx:pt idx="83858">5</cx:pt>
          <cx:pt idx="83859">4</cx:pt>
          <cx:pt idx="83860">4</cx:pt>
          <cx:pt idx="83861">2</cx:pt>
          <cx:pt idx="83862">5</cx:pt>
          <cx:pt idx="83863">5</cx:pt>
          <cx:pt idx="83864">5</cx:pt>
          <cx:pt idx="83865">4</cx:pt>
          <cx:pt idx="83866">2</cx:pt>
          <cx:pt idx="83867">4</cx:pt>
          <cx:pt idx="83868">2</cx:pt>
          <cx:pt idx="83869">4</cx:pt>
          <cx:pt idx="83870">2</cx:pt>
          <cx:pt idx="83871">4</cx:pt>
          <cx:pt idx="83872">4</cx:pt>
          <cx:pt idx="83873">5</cx:pt>
          <cx:pt idx="83874">5</cx:pt>
          <cx:pt idx="83875">3</cx:pt>
          <cx:pt idx="83876">2</cx:pt>
          <cx:pt idx="83877">4</cx:pt>
          <cx:pt idx="83878">1</cx:pt>
          <cx:pt idx="83879">3</cx:pt>
          <cx:pt idx="83880">1</cx:pt>
          <cx:pt idx="83881">4</cx:pt>
          <cx:pt idx="83882">3</cx:pt>
          <cx:pt idx="83883">4</cx:pt>
          <cx:pt idx="83884">4</cx:pt>
          <cx:pt idx="83885">3</cx:pt>
          <cx:pt idx="83886">1</cx:pt>
          <cx:pt idx="83887">1</cx:pt>
          <cx:pt idx="83888">5</cx:pt>
          <cx:pt idx="83889">5</cx:pt>
          <cx:pt idx="83890">2</cx:pt>
          <cx:pt idx="83891">2</cx:pt>
          <cx:pt idx="83892">5</cx:pt>
          <cx:pt idx="83893">4</cx:pt>
          <cx:pt idx="83894">4</cx:pt>
          <cx:pt idx="83895">5</cx:pt>
          <cx:pt idx="83896">3</cx:pt>
          <cx:pt idx="83897">1</cx:pt>
          <cx:pt idx="83898">5</cx:pt>
          <cx:pt idx="83899">5</cx:pt>
          <cx:pt idx="83900">4</cx:pt>
          <cx:pt idx="83901">4</cx:pt>
          <cx:pt idx="83902">1</cx:pt>
          <cx:pt idx="83903">3</cx:pt>
          <cx:pt idx="83904">4</cx:pt>
          <cx:pt idx="83905">3</cx:pt>
          <cx:pt idx="83906">4</cx:pt>
          <cx:pt idx="83907">4</cx:pt>
          <cx:pt idx="83908">3</cx:pt>
          <cx:pt idx="83909">4</cx:pt>
          <cx:pt idx="83910">1</cx:pt>
          <cx:pt idx="83911">4</cx:pt>
          <cx:pt idx="83912">4</cx:pt>
          <cx:pt idx="83913">3</cx:pt>
          <cx:pt idx="83914">4</cx:pt>
          <cx:pt idx="83915">1</cx:pt>
          <cx:pt idx="83916">5</cx:pt>
          <cx:pt idx="83917">4</cx:pt>
          <cx:pt idx="83918">3</cx:pt>
          <cx:pt idx="83919">5</cx:pt>
          <cx:pt idx="83920">2</cx:pt>
          <cx:pt idx="83921">1</cx:pt>
          <cx:pt idx="83922">5</cx:pt>
          <cx:pt idx="83923">2</cx:pt>
          <cx:pt idx="83924">4</cx:pt>
          <cx:pt idx="83925">1</cx:pt>
          <cx:pt idx="83926">3</cx:pt>
          <cx:pt idx="83927">2</cx:pt>
          <cx:pt idx="83928">3</cx:pt>
          <cx:pt idx="83929">2</cx:pt>
          <cx:pt idx="83930">3</cx:pt>
          <cx:pt idx="83931">2</cx:pt>
          <cx:pt idx="83932">4</cx:pt>
          <cx:pt idx="83933">4</cx:pt>
          <cx:pt idx="83934">5</cx:pt>
          <cx:pt idx="83935">3</cx:pt>
          <cx:pt idx="83936">3</cx:pt>
          <cx:pt idx="83937">4</cx:pt>
          <cx:pt idx="83938">5</cx:pt>
          <cx:pt idx="83939">5</cx:pt>
          <cx:pt idx="83940">4</cx:pt>
          <cx:pt idx="83941">5</cx:pt>
          <cx:pt idx="83942">3</cx:pt>
          <cx:pt idx="83943">4</cx:pt>
          <cx:pt idx="83944">4</cx:pt>
          <cx:pt idx="83945">3</cx:pt>
          <cx:pt idx="83946">2</cx:pt>
          <cx:pt idx="83947">4</cx:pt>
          <cx:pt idx="83948">3</cx:pt>
          <cx:pt idx="83949">3</cx:pt>
          <cx:pt idx="83950">3</cx:pt>
          <cx:pt idx="83951">4</cx:pt>
          <cx:pt idx="83952">4</cx:pt>
          <cx:pt idx="83953">5</cx:pt>
          <cx:pt idx="83954">5</cx:pt>
          <cx:pt idx="83955">3</cx:pt>
          <cx:pt idx="83956">4</cx:pt>
          <cx:pt idx="83957">2</cx:pt>
          <cx:pt idx="83958">4</cx:pt>
          <cx:pt idx="83959">5</cx:pt>
          <cx:pt idx="83960">3</cx:pt>
          <cx:pt idx="83961">2</cx:pt>
          <cx:pt idx="83962">4</cx:pt>
          <cx:pt idx="83963">1</cx:pt>
          <cx:pt idx="83964">5</cx:pt>
          <cx:pt idx="83965">4</cx:pt>
          <cx:pt idx="83966">4</cx:pt>
          <cx:pt idx="83967">4</cx:pt>
          <cx:pt idx="83968">1</cx:pt>
          <cx:pt idx="83969">5</cx:pt>
          <cx:pt idx="83970">1</cx:pt>
          <cx:pt idx="83971">5</cx:pt>
          <cx:pt idx="83972">5</cx:pt>
          <cx:pt idx="83973">5</cx:pt>
          <cx:pt idx="83974">5</cx:pt>
          <cx:pt idx="83975">4</cx:pt>
          <cx:pt idx="83976">5</cx:pt>
          <cx:pt idx="83977">5</cx:pt>
          <cx:pt idx="83978">4</cx:pt>
          <cx:pt idx="83979">3</cx:pt>
          <cx:pt idx="83980">4</cx:pt>
          <cx:pt idx="83981">3</cx:pt>
          <cx:pt idx="83982">4</cx:pt>
          <cx:pt idx="83983">4</cx:pt>
          <cx:pt idx="83984">3</cx:pt>
          <cx:pt idx="83985">4</cx:pt>
          <cx:pt idx="83986">1</cx:pt>
          <cx:pt idx="83987">5</cx:pt>
          <cx:pt idx="83988">4</cx:pt>
          <cx:pt idx="83989">1</cx:pt>
          <cx:pt idx="83990">4</cx:pt>
          <cx:pt idx="83991">2</cx:pt>
          <cx:pt idx="83992">3</cx:pt>
          <cx:pt idx="83993">4</cx:pt>
          <cx:pt idx="83994">4</cx:pt>
          <cx:pt idx="83995">2</cx:pt>
          <cx:pt idx="83996">5</cx:pt>
          <cx:pt idx="83997">5</cx:pt>
          <cx:pt idx="83998">4</cx:pt>
          <cx:pt idx="83999">5</cx:pt>
          <cx:pt idx="84000">4</cx:pt>
          <cx:pt idx="84001">5</cx:pt>
          <cx:pt idx="84002">3</cx:pt>
          <cx:pt idx="84003">1</cx:pt>
          <cx:pt idx="84004">1</cx:pt>
          <cx:pt idx="84005">5</cx:pt>
          <cx:pt idx="84006">4</cx:pt>
          <cx:pt idx="84007">4</cx:pt>
          <cx:pt idx="84008">5</cx:pt>
          <cx:pt idx="84009">5</cx:pt>
          <cx:pt idx="84010">2</cx:pt>
          <cx:pt idx="84011">1</cx:pt>
          <cx:pt idx="84012">3</cx:pt>
          <cx:pt idx="84013">2</cx:pt>
          <cx:pt idx="84014">5</cx:pt>
          <cx:pt idx="84015">1</cx:pt>
          <cx:pt idx="84016">4</cx:pt>
          <cx:pt idx="84017">1</cx:pt>
          <cx:pt idx="84018">2</cx:pt>
          <cx:pt idx="84019">1</cx:pt>
          <cx:pt idx="84020">4</cx:pt>
          <cx:pt idx="84021">5</cx:pt>
          <cx:pt idx="84022">2</cx:pt>
          <cx:pt idx="84023">4</cx:pt>
          <cx:pt idx="84024">3</cx:pt>
          <cx:pt idx="84025">4</cx:pt>
          <cx:pt idx="84026">3</cx:pt>
          <cx:pt idx="84027">1</cx:pt>
          <cx:pt idx="84028">4</cx:pt>
          <cx:pt idx="84029">3</cx:pt>
          <cx:pt idx="84030">4</cx:pt>
          <cx:pt idx="84031">5</cx:pt>
          <cx:pt idx="84032">1</cx:pt>
          <cx:pt idx="84033">5</cx:pt>
          <cx:pt idx="84034">1</cx:pt>
          <cx:pt idx="84035">2</cx:pt>
          <cx:pt idx="84036">5</cx:pt>
          <cx:pt idx="84037">3</cx:pt>
          <cx:pt idx="84038">5</cx:pt>
          <cx:pt idx="84039">3</cx:pt>
          <cx:pt idx="84040">2</cx:pt>
          <cx:pt idx="84041">5</cx:pt>
          <cx:pt idx="84042">3</cx:pt>
          <cx:pt idx="84043">4</cx:pt>
          <cx:pt idx="84044">4</cx:pt>
          <cx:pt idx="84045">3</cx:pt>
          <cx:pt idx="84046">3</cx:pt>
          <cx:pt idx="84047">4</cx:pt>
          <cx:pt idx="84048">4</cx:pt>
          <cx:pt idx="84049">2</cx:pt>
          <cx:pt idx="84050">5</cx:pt>
          <cx:pt idx="84051">5</cx:pt>
          <cx:pt idx="84052">3</cx:pt>
          <cx:pt idx="84053">5</cx:pt>
          <cx:pt idx="84054">4</cx:pt>
          <cx:pt idx="84055">5</cx:pt>
          <cx:pt idx="84056">4</cx:pt>
          <cx:pt idx="84057">4</cx:pt>
          <cx:pt idx="84058">4</cx:pt>
          <cx:pt idx="84059">2</cx:pt>
          <cx:pt idx="84060">2</cx:pt>
          <cx:pt idx="84061">3</cx:pt>
          <cx:pt idx="84062">4</cx:pt>
          <cx:pt idx="84063">1</cx:pt>
          <cx:pt idx="84064">4</cx:pt>
          <cx:pt idx="84065">5</cx:pt>
          <cx:pt idx="84066">5</cx:pt>
          <cx:pt idx="84067">1</cx:pt>
          <cx:pt idx="84068">3</cx:pt>
          <cx:pt idx="84069">4</cx:pt>
          <cx:pt idx="84070">2</cx:pt>
          <cx:pt idx="84071">5</cx:pt>
          <cx:pt idx="84072">2</cx:pt>
          <cx:pt idx="84073">2</cx:pt>
          <cx:pt idx="84074">4</cx:pt>
          <cx:pt idx="84075">2</cx:pt>
          <cx:pt idx="84076">3</cx:pt>
          <cx:pt idx="84077">2</cx:pt>
          <cx:pt idx="84078">5</cx:pt>
          <cx:pt idx="84079">5</cx:pt>
          <cx:pt idx="84080">1</cx:pt>
          <cx:pt idx="84081">4</cx:pt>
          <cx:pt idx="84082">3</cx:pt>
          <cx:pt idx="84083">3</cx:pt>
          <cx:pt idx="84084">4</cx:pt>
          <cx:pt idx="84085">2</cx:pt>
          <cx:pt idx="84086">5</cx:pt>
          <cx:pt idx="84087">5</cx:pt>
          <cx:pt idx="84088">3</cx:pt>
          <cx:pt idx="84089">5</cx:pt>
          <cx:pt idx="84090">4</cx:pt>
          <cx:pt idx="84091">5</cx:pt>
          <cx:pt idx="84092">4</cx:pt>
          <cx:pt idx="84093">5</cx:pt>
          <cx:pt idx="84094">4</cx:pt>
          <cx:pt idx="84095">3</cx:pt>
          <cx:pt idx="84096">3</cx:pt>
          <cx:pt idx="84097">2</cx:pt>
          <cx:pt idx="84098">2</cx:pt>
          <cx:pt idx="84099">1</cx:pt>
          <cx:pt idx="84100">4</cx:pt>
          <cx:pt idx="84101">4</cx:pt>
          <cx:pt idx="84102">5</cx:pt>
          <cx:pt idx="84103">5</cx:pt>
          <cx:pt idx="84104">2</cx:pt>
          <cx:pt idx="84105">4</cx:pt>
          <cx:pt idx="84106">3</cx:pt>
          <cx:pt idx="84107">4</cx:pt>
          <cx:pt idx="84108">5</cx:pt>
          <cx:pt idx="84109">4</cx:pt>
          <cx:pt idx="84110">1</cx:pt>
          <cx:pt idx="84111">1</cx:pt>
          <cx:pt idx="84112">3</cx:pt>
          <cx:pt idx="84113">4</cx:pt>
          <cx:pt idx="84114">4</cx:pt>
          <cx:pt idx="84115">2</cx:pt>
          <cx:pt idx="84116">2</cx:pt>
          <cx:pt idx="84117">2</cx:pt>
          <cx:pt idx="84118">2</cx:pt>
          <cx:pt idx="84119">4</cx:pt>
          <cx:pt idx="84120">5</cx:pt>
          <cx:pt idx="84121">2</cx:pt>
          <cx:pt idx="84122">5</cx:pt>
          <cx:pt idx="84123">5</cx:pt>
          <cx:pt idx="84124">4</cx:pt>
          <cx:pt idx="84125">3</cx:pt>
          <cx:pt idx="84126">2</cx:pt>
          <cx:pt idx="84127">3</cx:pt>
          <cx:pt idx="84128">2</cx:pt>
          <cx:pt idx="84129">4</cx:pt>
          <cx:pt idx="84130">3</cx:pt>
          <cx:pt idx="84131">3</cx:pt>
          <cx:pt idx="84132">4</cx:pt>
          <cx:pt idx="84133">4</cx:pt>
          <cx:pt idx="84134">1</cx:pt>
          <cx:pt idx="84135">3</cx:pt>
          <cx:pt idx="84136">4</cx:pt>
          <cx:pt idx="84137">4</cx:pt>
          <cx:pt idx="84138">2</cx:pt>
          <cx:pt idx="84139">3</cx:pt>
          <cx:pt idx="84140">5</cx:pt>
          <cx:pt idx="84141">2</cx:pt>
          <cx:pt idx="84142">1</cx:pt>
          <cx:pt idx="84143">5</cx:pt>
          <cx:pt idx="84144">4</cx:pt>
          <cx:pt idx="84145">2</cx:pt>
          <cx:pt idx="84146">1</cx:pt>
          <cx:pt idx="84147">1</cx:pt>
          <cx:pt idx="84148">3</cx:pt>
          <cx:pt idx="84149">5</cx:pt>
          <cx:pt idx="84150">4</cx:pt>
          <cx:pt idx="84151">5</cx:pt>
          <cx:pt idx="84152">5</cx:pt>
          <cx:pt idx="84153">5</cx:pt>
          <cx:pt idx="84154">2</cx:pt>
          <cx:pt idx="84155">2</cx:pt>
          <cx:pt idx="84156">3</cx:pt>
          <cx:pt idx="84157">1</cx:pt>
          <cx:pt idx="84158">4</cx:pt>
          <cx:pt idx="84159">4</cx:pt>
          <cx:pt idx="84160">3</cx:pt>
          <cx:pt idx="84161">5</cx:pt>
          <cx:pt idx="84162">2</cx:pt>
          <cx:pt idx="84163">1</cx:pt>
          <cx:pt idx="84164">2</cx:pt>
          <cx:pt idx="84165">4</cx:pt>
          <cx:pt idx="84166">4</cx:pt>
          <cx:pt idx="84167">5</cx:pt>
          <cx:pt idx="84168">1</cx:pt>
          <cx:pt idx="84169">5</cx:pt>
          <cx:pt idx="84170">4</cx:pt>
          <cx:pt idx="84171">4</cx:pt>
          <cx:pt idx="84172">3</cx:pt>
          <cx:pt idx="84173">5</cx:pt>
          <cx:pt idx="84174">2</cx:pt>
          <cx:pt idx="84175">3</cx:pt>
          <cx:pt idx="84176">4</cx:pt>
          <cx:pt idx="84177">4</cx:pt>
          <cx:pt idx="84178">1</cx:pt>
          <cx:pt idx="84179">4</cx:pt>
          <cx:pt idx="84180">1</cx:pt>
          <cx:pt idx="84181">4</cx:pt>
          <cx:pt idx="84182">4</cx:pt>
          <cx:pt idx="84183">1</cx:pt>
          <cx:pt idx="84184">1</cx:pt>
          <cx:pt idx="84185">5</cx:pt>
          <cx:pt idx="84186">5</cx:pt>
          <cx:pt idx="84187">2</cx:pt>
          <cx:pt idx="84188">5</cx:pt>
          <cx:pt idx="84189">4</cx:pt>
          <cx:pt idx="84190">1</cx:pt>
          <cx:pt idx="84191">4</cx:pt>
          <cx:pt idx="84192">4</cx:pt>
          <cx:pt idx="84193">3</cx:pt>
          <cx:pt idx="84194">4</cx:pt>
          <cx:pt idx="84195">3</cx:pt>
          <cx:pt idx="84196">4</cx:pt>
          <cx:pt idx="84197">5</cx:pt>
          <cx:pt idx="84198">5</cx:pt>
          <cx:pt idx="84199">5</cx:pt>
          <cx:pt idx="84200">5</cx:pt>
          <cx:pt idx="84201">5</cx:pt>
          <cx:pt idx="84202">4</cx:pt>
          <cx:pt idx="84203">2</cx:pt>
          <cx:pt idx="84204">1</cx:pt>
          <cx:pt idx="84205">4</cx:pt>
          <cx:pt idx="84206">4</cx:pt>
          <cx:pt idx="84207">5</cx:pt>
          <cx:pt idx="84208">3</cx:pt>
          <cx:pt idx="84209">2</cx:pt>
          <cx:pt idx="84210">5</cx:pt>
          <cx:pt idx="84211">5</cx:pt>
          <cx:pt idx="84212">2</cx:pt>
          <cx:pt idx="84213">5</cx:pt>
          <cx:pt idx="84214">5</cx:pt>
          <cx:pt idx="84215">4</cx:pt>
          <cx:pt idx="84216">3</cx:pt>
          <cx:pt idx="84217">2</cx:pt>
          <cx:pt idx="84218">1</cx:pt>
          <cx:pt idx="84219">5</cx:pt>
          <cx:pt idx="84220">4</cx:pt>
          <cx:pt idx="84221">5</cx:pt>
          <cx:pt idx="84222">5</cx:pt>
          <cx:pt idx="84223">4</cx:pt>
          <cx:pt idx="84224">3</cx:pt>
          <cx:pt idx="84225">4</cx:pt>
          <cx:pt idx="84226">1</cx:pt>
          <cx:pt idx="84227">3</cx:pt>
          <cx:pt idx="84228">4</cx:pt>
          <cx:pt idx="84229">2</cx:pt>
          <cx:pt idx="84230">5</cx:pt>
          <cx:pt idx="84231">1</cx:pt>
          <cx:pt idx="84232">5</cx:pt>
          <cx:pt idx="84233">3</cx:pt>
          <cx:pt idx="84234">5</cx:pt>
          <cx:pt idx="84235">4</cx:pt>
          <cx:pt idx="84236">4</cx:pt>
          <cx:pt idx="84237">5</cx:pt>
          <cx:pt idx="84238">5</cx:pt>
          <cx:pt idx="84239">5</cx:pt>
          <cx:pt idx="84240">2</cx:pt>
          <cx:pt idx="84241">5</cx:pt>
          <cx:pt idx="84242">2</cx:pt>
          <cx:pt idx="84243">5</cx:pt>
          <cx:pt idx="84244">1</cx:pt>
          <cx:pt idx="84245">1</cx:pt>
          <cx:pt idx="84246">4</cx:pt>
          <cx:pt idx="84247">5</cx:pt>
          <cx:pt idx="84248">4</cx:pt>
          <cx:pt idx="84249">4</cx:pt>
          <cx:pt idx="84250">1</cx:pt>
          <cx:pt idx="84251">3</cx:pt>
          <cx:pt idx="84252">3</cx:pt>
          <cx:pt idx="84253">1</cx:pt>
          <cx:pt idx="84254">5</cx:pt>
          <cx:pt idx="84255">3</cx:pt>
          <cx:pt idx="84256">5</cx:pt>
          <cx:pt idx="84257">4</cx:pt>
          <cx:pt idx="84258">5</cx:pt>
          <cx:pt idx="84259">5</cx:pt>
          <cx:pt idx="84260">5</cx:pt>
          <cx:pt idx="84261">4</cx:pt>
          <cx:pt idx="84262">4</cx:pt>
          <cx:pt idx="84263">3</cx:pt>
          <cx:pt idx="84264">3</cx:pt>
          <cx:pt idx="84265">4</cx:pt>
          <cx:pt idx="84266">4</cx:pt>
          <cx:pt idx="84267">4</cx:pt>
          <cx:pt idx="84268">1</cx:pt>
          <cx:pt idx="84269">1</cx:pt>
          <cx:pt idx="84270">5</cx:pt>
          <cx:pt idx="84271">2</cx:pt>
          <cx:pt idx="84272">1</cx:pt>
          <cx:pt idx="84273">3</cx:pt>
          <cx:pt idx="84274">2</cx:pt>
          <cx:pt idx="84275">4</cx:pt>
          <cx:pt idx="84276">2</cx:pt>
          <cx:pt idx="84277">5</cx:pt>
          <cx:pt idx="84278">4</cx:pt>
          <cx:pt idx="84279">3</cx:pt>
          <cx:pt idx="84280">4</cx:pt>
          <cx:pt idx="84281">1</cx:pt>
          <cx:pt idx="84282">5</cx:pt>
          <cx:pt idx="84283">5</cx:pt>
          <cx:pt idx="84284">5</cx:pt>
          <cx:pt idx="84285">4</cx:pt>
          <cx:pt idx="84286">4</cx:pt>
          <cx:pt idx="84287">1</cx:pt>
          <cx:pt idx="84288">1</cx:pt>
          <cx:pt idx="84289">4</cx:pt>
          <cx:pt idx="84290">3</cx:pt>
          <cx:pt idx="84291">2</cx:pt>
          <cx:pt idx="84292">5</cx:pt>
          <cx:pt idx="84293">5</cx:pt>
          <cx:pt idx="84294">2</cx:pt>
          <cx:pt idx="84295">5</cx:pt>
          <cx:pt idx="84296">4</cx:pt>
          <cx:pt idx="84297">2</cx:pt>
          <cx:pt idx="84298">4</cx:pt>
          <cx:pt idx="84299">5</cx:pt>
          <cx:pt idx="84300">2</cx:pt>
          <cx:pt idx="84301">3</cx:pt>
          <cx:pt idx="84302">3</cx:pt>
          <cx:pt idx="84303">2</cx:pt>
          <cx:pt idx="84304">5</cx:pt>
          <cx:pt idx="84305">3</cx:pt>
          <cx:pt idx="84306">5</cx:pt>
          <cx:pt idx="84307">5</cx:pt>
          <cx:pt idx="84308">5</cx:pt>
          <cx:pt idx="84309">1</cx:pt>
          <cx:pt idx="84310">4</cx:pt>
          <cx:pt idx="84311">2</cx:pt>
          <cx:pt idx="84312">2</cx:pt>
          <cx:pt idx="84313">4</cx:pt>
          <cx:pt idx="84314">5</cx:pt>
          <cx:pt idx="84315">5</cx:pt>
          <cx:pt idx="84316">4</cx:pt>
          <cx:pt idx="84317">3</cx:pt>
          <cx:pt idx="84318">5</cx:pt>
          <cx:pt idx="84319">1</cx:pt>
          <cx:pt idx="84320">5</cx:pt>
          <cx:pt idx="84321">2</cx:pt>
          <cx:pt idx="84322">2</cx:pt>
          <cx:pt idx="84323">1</cx:pt>
          <cx:pt idx="84324">4</cx:pt>
          <cx:pt idx="84325">2</cx:pt>
          <cx:pt idx="84326">4</cx:pt>
          <cx:pt idx="84327">4</cx:pt>
          <cx:pt idx="84328">1</cx:pt>
          <cx:pt idx="84329">2</cx:pt>
          <cx:pt idx="84330">2</cx:pt>
          <cx:pt idx="84331">4</cx:pt>
          <cx:pt idx="84332">2</cx:pt>
          <cx:pt idx="84333">4</cx:pt>
          <cx:pt idx="84334">4</cx:pt>
          <cx:pt idx="84335">3</cx:pt>
          <cx:pt idx="84336">2</cx:pt>
          <cx:pt idx="84337">5</cx:pt>
          <cx:pt idx="84338">5</cx:pt>
          <cx:pt idx="84339">5</cx:pt>
          <cx:pt idx="84340">4</cx:pt>
          <cx:pt idx="84341">3</cx:pt>
          <cx:pt idx="84342">4</cx:pt>
          <cx:pt idx="84343">3</cx:pt>
          <cx:pt idx="84344">5</cx:pt>
          <cx:pt idx="84345">3</cx:pt>
          <cx:pt idx="84346">2</cx:pt>
          <cx:pt idx="84347">3</cx:pt>
          <cx:pt idx="84348">5</cx:pt>
          <cx:pt idx="84349">4</cx:pt>
          <cx:pt idx="84350">4</cx:pt>
          <cx:pt idx="84351">5</cx:pt>
          <cx:pt idx="84352">2</cx:pt>
          <cx:pt idx="84353">4</cx:pt>
          <cx:pt idx="84354">5</cx:pt>
          <cx:pt idx="84355">2</cx:pt>
          <cx:pt idx="84356">3</cx:pt>
          <cx:pt idx="84357">4</cx:pt>
          <cx:pt idx="84358">5</cx:pt>
          <cx:pt idx="84359">2</cx:pt>
          <cx:pt idx="84360">4</cx:pt>
          <cx:pt idx="84361">1</cx:pt>
          <cx:pt idx="84362">5</cx:pt>
          <cx:pt idx="84363">2</cx:pt>
          <cx:pt idx="84364">2</cx:pt>
          <cx:pt idx="84365">1</cx:pt>
          <cx:pt idx="84366">5</cx:pt>
          <cx:pt idx="84367">5</cx:pt>
          <cx:pt idx="84368">5</cx:pt>
          <cx:pt idx="84369">2</cx:pt>
          <cx:pt idx="84370">5</cx:pt>
          <cx:pt idx="84371">4</cx:pt>
          <cx:pt idx="84372">4</cx:pt>
          <cx:pt idx="84373">2</cx:pt>
          <cx:pt idx="84374">1</cx:pt>
          <cx:pt idx="84375">3</cx:pt>
          <cx:pt idx="84376">1</cx:pt>
          <cx:pt idx="84377">4</cx:pt>
          <cx:pt idx="84378">4</cx:pt>
          <cx:pt idx="84379">5</cx:pt>
          <cx:pt idx="84380">4</cx:pt>
          <cx:pt idx="84381">2</cx:pt>
          <cx:pt idx="84382">1</cx:pt>
          <cx:pt idx="84383">3</cx:pt>
          <cx:pt idx="84384">5</cx:pt>
          <cx:pt idx="84385">5</cx:pt>
          <cx:pt idx="84386">3</cx:pt>
          <cx:pt idx="84387">2</cx:pt>
          <cx:pt idx="84388">4</cx:pt>
          <cx:pt idx="84389">2</cx:pt>
          <cx:pt idx="84390">5</cx:pt>
          <cx:pt idx="84391">3</cx:pt>
          <cx:pt idx="84392">3</cx:pt>
          <cx:pt idx="84393">4</cx:pt>
          <cx:pt idx="84394">4</cx:pt>
          <cx:pt idx="84395">3</cx:pt>
          <cx:pt idx="84396">5</cx:pt>
          <cx:pt idx="84397">3</cx:pt>
          <cx:pt idx="84398">4</cx:pt>
          <cx:pt idx="84399">1</cx:pt>
          <cx:pt idx="84400">2</cx:pt>
          <cx:pt idx="84401">2</cx:pt>
          <cx:pt idx="84402">4</cx:pt>
          <cx:pt idx="84403">4</cx:pt>
          <cx:pt idx="84404">3</cx:pt>
          <cx:pt idx="84405">4</cx:pt>
          <cx:pt idx="84406">2</cx:pt>
          <cx:pt idx="84407">5</cx:pt>
          <cx:pt idx="84408">5</cx:pt>
          <cx:pt idx="84409">5</cx:pt>
          <cx:pt idx="84410">3</cx:pt>
          <cx:pt idx="84411">4</cx:pt>
          <cx:pt idx="84412">4</cx:pt>
          <cx:pt idx="84413">4</cx:pt>
          <cx:pt idx="84414">1</cx:pt>
          <cx:pt idx="84415">5</cx:pt>
          <cx:pt idx="84416">5</cx:pt>
          <cx:pt idx="84417">3</cx:pt>
          <cx:pt idx="84418">3</cx:pt>
          <cx:pt idx="84419">5</cx:pt>
          <cx:pt idx="84420">2</cx:pt>
          <cx:pt idx="84421">1</cx:pt>
          <cx:pt idx="84422">3</cx:pt>
          <cx:pt idx="84423">1</cx:pt>
          <cx:pt idx="84424">4</cx:pt>
          <cx:pt idx="84425">4</cx:pt>
          <cx:pt idx="84426">1</cx:pt>
          <cx:pt idx="84427">4</cx:pt>
          <cx:pt idx="84428">1</cx:pt>
          <cx:pt idx="84429">5</cx:pt>
          <cx:pt idx="84430">3</cx:pt>
          <cx:pt idx="84431">1</cx:pt>
          <cx:pt idx="84432">3</cx:pt>
          <cx:pt idx="84433">2</cx:pt>
          <cx:pt idx="84434">1</cx:pt>
          <cx:pt idx="84435">5</cx:pt>
          <cx:pt idx="84436">3</cx:pt>
          <cx:pt idx="84437">3</cx:pt>
          <cx:pt idx="84438">2</cx:pt>
          <cx:pt idx="84439">5</cx:pt>
          <cx:pt idx="84440">5</cx:pt>
          <cx:pt idx="84441">5</cx:pt>
          <cx:pt idx="84442">5</cx:pt>
          <cx:pt idx="84443">3</cx:pt>
          <cx:pt idx="84444">4</cx:pt>
          <cx:pt idx="84445">5</cx:pt>
          <cx:pt idx="84446">3</cx:pt>
          <cx:pt idx="84447">2</cx:pt>
          <cx:pt idx="84448">2</cx:pt>
          <cx:pt idx="84449">4</cx:pt>
          <cx:pt idx="84450">3</cx:pt>
          <cx:pt idx="84451">4</cx:pt>
          <cx:pt idx="84452">5</cx:pt>
          <cx:pt idx="84453">5</cx:pt>
          <cx:pt idx="84454">4</cx:pt>
          <cx:pt idx="84455">1</cx:pt>
          <cx:pt idx="84456">5</cx:pt>
          <cx:pt idx="84457">1</cx:pt>
          <cx:pt idx="84458">3</cx:pt>
          <cx:pt idx="84459">4</cx:pt>
          <cx:pt idx="84460">5</cx:pt>
          <cx:pt idx="84461">4</cx:pt>
          <cx:pt idx="84462">4</cx:pt>
          <cx:pt idx="84463">4</cx:pt>
          <cx:pt idx="84464">5</cx:pt>
          <cx:pt idx="84465">1</cx:pt>
          <cx:pt idx="84466">4</cx:pt>
          <cx:pt idx="84467">2</cx:pt>
          <cx:pt idx="84468">4</cx:pt>
          <cx:pt idx="84469">5</cx:pt>
          <cx:pt idx="84470">1</cx:pt>
          <cx:pt idx="84471">4</cx:pt>
          <cx:pt idx="84472">4</cx:pt>
          <cx:pt idx="84473">5</cx:pt>
          <cx:pt idx="84474">4</cx:pt>
          <cx:pt idx="84475">3</cx:pt>
          <cx:pt idx="84476">4</cx:pt>
          <cx:pt idx="84477">1</cx:pt>
          <cx:pt idx="84478">5</cx:pt>
          <cx:pt idx="84479">4</cx:pt>
          <cx:pt idx="84480">4</cx:pt>
          <cx:pt idx="84481">1</cx:pt>
          <cx:pt idx="84482">4</cx:pt>
          <cx:pt idx="84483">5</cx:pt>
          <cx:pt idx="84484">3</cx:pt>
          <cx:pt idx="84485">1</cx:pt>
          <cx:pt idx="84486">2</cx:pt>
          <cx:pt idx="84487">4</cx:pt>
          <cx:pt idx="84488">4</cx:pt>
          <cx:pt idx="84489">4</cx:pt>
          <cx:pt idx="84490">5</cx:pt>
          <cx:pt idx="84491">4</cx:pt>
          <cx:pt idx="84492">5</cx:pt>
          <cx:pt idx="84493">4</cx:pt>
          <cx:pt idx="84494">5</cx:pt>
          <cx:pt idx="84495">1</cx:pt>
          <cx:pt idx="84496">3</cx:pt>
          <cx:pt idx="84497">5</cx:pt>
          <cx:pt idx="84498">5</cx:pt>
          <cx:pt idx="84499">5</cx:pt>
          <cx:pt idx="84500">4</cx:pt>
          <cx:pt idx="84501">1</cx:pt>
          <cx:pt idx="84502">3</cx:pt>
          <cx:pt idx="84503">5</cx:pt>
          <cx:pt idx="84504">4</cx:pt>
          <cx:pt idx="84505">5</cx:pt>
          <cx:pt idx="84506">4</cx:pt>
          <cx:pt idx="84507">5</cx:pt>
          <cx:pt idx="84508">4</cx:pt>
          <cx:pt idx="84509">5</cx:pt>
          <cx:pt idx="84510">4</cx:pt>
          <cx:pt idx="84511">4</cx:pt>
          <cx:pt idx="84512">1</cx:pt>
          <cx:pt idx="84513">4</cx:pt>
          <cx:pt idx="84514">4</cx:pt>
          <cx:pt idx="84515">2</cx:pt>
          <cx:pt idx="84516">4</cx:pt>
          <cx:pt idx="84517">4</cx:pt>
          <cx:pt idx="84518">5</cx:pt>
          <cx:pt idx="84519">2</cx:pt>
          <cx:pt idx="84520">5</cx:pt>
          <cx:pt idx="84521">2</cx:pt>
          <cx:pt idx="84522">5</cx:pt>
          <cx:pt idx="84523">3</cx:pt>
          <cx:pt idx="84524">1</cx:pt>
          <cx:pt idx="84525">5</cx:pt>
          <cx:pt idx="84526">4</cx:pt>
          <cx:pt idx="84527">5</cx:pt>
          <cx:pt idx="84528">2</cx:pt>
          <cx:pt idx="84529">4</cx:pt>
          <cx:pt idx="84530">5</cx:pt>
          <cx:pt idx="84531">2</cx:pt>
          <cx:pt idx="84532">3</cx:pt>
          <cx:pt idx="84533">5</cx:pt>
          <cx:pt idx="84534">1</cx:pt>
          <cx:pt idx="84535">4</cx:pt>
          <cx:pt idx="84536">5</cx:pt>
          <cx:pt idx="84537">5</cx:pt>
          <cx:pt idx="84538">3</cx:pt>
          <cx:pt idx="84539">4</cx:pt>
          <cx:pt idx="84540">1</cx:pt>
          <cx:pt idx="84541">5</cx:pt>
          <cx:pt idx="84542">3</cx:pt>
          <cx:pt idx="84543">4</cx:pt>
          <cx:pt idx="84544">3</cx:pt>
          <cx:pt idx="84545">2</cx:pt>
          <cx:pt idx="84546">4</cx:pt>
          <cx:pt idx="84547">1</cx:pt>
          <cx:pt idx="84548">4</cx:pt>
          <cx:pt idx="84549">4</cx:pt>
          <cx:pt idx="84550">5</cx:pt>
          <cx:pt idx="84551">4</cx:pt>
          <cx:pt idx="84552">4</cx:pt>
          <cx:pt idx="84553">4</cx:pt>
          <cx:pt idx="84554">5</cx:pt>
          <cx:pt idx="84555">1</cx:pt>
          <cx:pt idx="84556">5</cx:pt>
          <cx:pt idx="84557">4</cx:pt>
          <cx:pt idx="84558">5</cx:pt>
          <cx:pt idx="84559">4</cx:pt>
          <cx:pt idx="84560">1</cx:pt>
          <cx:pt idx="84561">2</cx:pt>
          <cx:pt idx="84562">5</cx:pt>
          <cx:pt idx="84563">1</cx:pt>
          <cx:pt idx="84564">5</cx:pt>
          <cx:pt idx="84565">4</cx:pt>
          <cx:pt idx="84566">1</cx:pt>
          <cx:pt idx="84567">1</cx:pt>
          <cx:pt idx="84568">2</cx:pt>
          <cx:pt idx="84569">5</cx:pt>
          <cx:pt idx="84570">4</cx:pt>
          <cx:pt idx="84571">5</cx:pt>
          <cx:pt idx="84572">3</cx:pt>
          <cx:pt idx="84573">2</cx:pt>
          <cx:pt idx="84574">5</cx:pt>
          <cx:pt idx="84575">5</cx:pt>
          <cx:pt idx="84576">4</cx:pt>
          <cx:pt idx="84577">3</cx:pt>
          <cx:pt idx="84578">3</cx:pt>
          <cx:pt idx="84579">3</cx:pt>
          <cx:pt idx="84580">2</cx:pt>
          <cx:pt idx="84581">4</cx:pt>
          <cx:pt idx="84582">2</cx:pt>
          <cx:pt idx="84583">3</cx:pt>
          <cx:pt idx="84584">5</cx:pt>
          <cx:pt idx="84585">4</cx:pt>
          <cx:pt idx="84586">4</cx:pt>
          <cx:pt idx="84587">3</cx:pt>
          <cx:pt idx="84588">3</cx:pt>
          <cx:pt idx="84589">3</cx:pt>
          <cx:pt idx="84590">1</cx:pt>
          <cx:pt idx="84591">2</cx:pt>
          <cx:pt idx="84592">1</cx:pt>
          <cx:pt idx="84593">4</cx:pt>
          <cx:pt idx="84594">4</cx:pt>
          <cx:pt idx="84595">5</cx:pt>
          <cx:pt idx="84596">5</cx:pt>
          <cx:pt idx="84597">4</cx:pt>
          <cx:pt idx="84598">5</cx:pt>
          <cx:pt idx="84599">5</cx:pt>
          <cx:pt idx="84600">3</cx:pt>
          <cx:pt idx="84601">4</cx:pt>
          <cx:pt idx="84602">1</cx:pt>
          <cx:pt idx="84603">4</cx:pt>
          <cx:pt idx="84604">5</cx:pt>
          <cx:pt idx="84605">5</cx:pt>
          <cx:pt idx="84606">3</cx:pt>
          <cx:pt idx="84607">4</cx:pt>
          <cx:pt idx="84608">5</cx:pt>
          <cx:pt idx="84609">5</cx:pt>
          <cx:pt idx="84610">5</cx:pt>
          <cx:pt idx="84611">5</cx:pt>
          <cx:pt idx="84612">5</cx:pt>
          <cx:pt idx="84613">1</cx:pt>
          <cx:pt idx="84614">1</cx:pt>
          <cx:pt idx="84615">1</cx:pt>
          <cx:pt idx="84616">2</cx:pt>
          <cx:pt idx="84617">1</cx:pt>
          <cx:pt idx="84618">4</cx:pt>
          <cx:pt idx="84619">4</cx:pt>
          <cx:pt idx="84620">3</cx:pt>
          <cx:pt idx="84621">4</cx:pt>
          <cx:pt idx="84622">5</cx:pt>
          <cx:pt idx="84623">4</cx:pt>
          <cx:pt idx="84624">2</cx:pt>
          <cx:pt idx="84625">3</cx:pt>
          <cx:pt idx="84626">4</cx:pt>
          <cx:pt idx="84627">3</cx:pt>
          <cx:pt idx="84628">5</cx:pt>
          <cx:pt idx="84629">4</cx:pt>
          <cx:pt idx="84630">5</cx:pt>
          <cx:pt idx="84631">3</cx:pt>
          <cx:pt idx="84632">4</cx:pt>
          <cx:pt idx="84633">1</cx:pt>
          <cx:pt idx="84634">5</cx:pt>
          <cx:pt idx="84635">4</cx:pt>
          <cx:pt idx="84636">1</cx:pt>
          <cx:pt idx="84637">2</cx:pt>
          <cx:pt idx="84638">1</cx:pt>
          <cx:pt idx="84639">3</cx:pt>
          <cx:pt idx="84640">5</cx:pt>
          <cx:pt idx="84641">3</cx:pt>
          <cx:pt idx="84642">5</cx:pt>
          <cx:pt idx="84643">5</cx:pt>
          <cx:pt idx="84644">1</cx:pt>
          <cx:pt idx="84645">1</cx:pt>
          <cx:pt idx="84646">4</cx:pt>
          <cx:pt idx="84647">3</cx:pt>
          <cx:pt idx="84648">4</cx:pt>
          <cx:pt idx="84649">1</cx:pt>
          <cx:pt idx="84650">3</cx:pt>
          <cx:pt idx="84651">3</cx:pt>
          <cx:pt idx="84652">1</cx:pt>
          <cx:pt idx="84653">5</cx:pt>
          <cx:pt idx="84654">3</cx:pt>
          <cx:pt idx="84655">5</cx:pt>
          <cx:pt idx="84656">4</cx:pt>
          <cx:pt idx="84657">5</cx:pt>
          <cx:pt idx="84658">4</cx:pt>
          <cx:pt idx="84659">3</cx:pt>
          <cx:pt idx="84660">1</cx:pt>
          <cx:pt idx="84661">5</cx:pt>
          <cx:pt idx="84662">4</cx:pt>
          <cx:pt idx="84663">5</cx:pt>
          <cx:pt idx="84664">2</cx:pt>
          <cx:pt idx="84665">5</cx:pt>
          <cx:pt idx="84666">3</cx:pt>
          <cx:pt idx="84667">5</cx:pt>
          <cx:pt idx="84668">2</cx:pt>
          <cx:pt idx="84669">4</cx:pt>
          <cx:pt idx="84670">3</cx:pt>
          <cx:pt idx="84671">3</cx:pt>
          <cx:pt idx="84672">1</cx:pt>
          <cx:pt idx="84673">2</cx:pt>
          <cx:pt idx="84674">4</cx:pt>
          <cx:pt idx="84675">3</cx:pt>
          <cx:pt idx="84676">4</cx:pt>
          <cx:pt idx="84677">3</cx:pt>
          <cx:pt idx="84678">5</cx:pt>
          <cx:pt idx="84679">1</cx:pt>
          <cx:pt idx="84680">5</cx:pt>
          <cx:pt idx="84681">4</cx:pt>
          <cx:pt idx="84682">4</cx:pt>
          <cx:pt idx="84683">4</cx:pt>
          <cx:pt idx="84684">4</cx:pt>
          <cx:pt idx="84685">1</cx:pt>
          <cx:pt idx="84686">4</cx:pt>
          <cx:pt idx="84687">4</cx:pt>
          <cx:pt idx="84688">4</cx:pt>
          <cx:pt idx="84689">3</cx:pt>
          <cx:pt idx="84690">1</cx:pt>
          <cx:pt idx="84691">5</cx:pt>
          <cx:pt idx="84692">2</cx:pt>
          <cx:pt idx="84693">5</cx:pt>
          <cx:pt idx="84694">4</cx:pt>
          <cx:pt idx="84695">3</cx:pt>
          <cx:pt idx="84696">4</cx:pt>
          <cx:pt idx="84697">5</cx:pt>
          <cx:pt idx="84698">5</cx:pt>
          <cx:pt idx="84699">2</cx:pt>
          <cx:pt idx="84700">2</cx:pt>
          <cx:pt idx="84701">1</cx:pt>
          <cx:pt idx="84702">4</cx:pt>
          <cx:pt idx="84703">3</cx:pt>
          <cx:pt idx="84704">5</cx:pt>
          <cx:pt idx="84705">5</cx:pt>
          <cx:pt idx="84706">3</cx:pt>
          <cx:pt idx="84707">3</cx:pt>
          <cx:pt idx="84708">3</cx:pt>
          <cx:pt idx="84709">4</cx:pt>
          <cx:pt idx="84710">1</cx:pt>
          <cx:pt idx="84711">4</cx:pt>
          <cx:pt idx="84712">1</cx:pt>
          <cx:pt idx="84713">5</cx:pt>
          <cx:pt idx="84714">4</cx:pt>
          <cx:pt idx="84715">3</cx:pt>
          <cx:pt idx="84716">2</cx:pt>
          <cx:pt idx="84717">1</cx:pt>
          <cx:pt idx="84718">5</cx:pt>
          <cx:pt idx="84719">2</cx:pt>
          <cx:pt idx="84720">3</cx:pt>
          <cx:pt idx="84721">5</cx:pt>
          <cx:pt idx="84722">3</cx:pt>
          <cx:pt idx="84723">5</cx:pt>
          <cx:pt idx="84724">2</cx:pt>
          <cx:pt idx="84725">1</cx:pt>
          <cx:pt idx="84726">2</cx:pt>
          <cx:pt idx="84727">3</cx:pt>
          <cx:pt idx="84728">5</cx:pt>
          <cx:pt idx="84729">5</cx:pt>
          <cx:pt idx="84730">3</cx:pt>
          <cx:pt idx="84731">4</cx:pt>
          <cx:pt idx="84732">4</cx:pt>
          <cx:pt idx="84733">3</cx:pt>
          <cx:pt idx="84734">5</cx:pt>
          <cx:pt idx="84735">4</cx:pt>
          <cx:pt idx="84736">2</cx:pt>
          <cx:pt idx="84737">5</cx:pt>
          <cx:pt idx="84738">3</cx:pt>
          <cx:pt idx="84739">2</cx:pt>
          <cx:pt idx="84740">1</cx:pt>
          <cx:pt idx="84741">5</cx:pt>
          <cx:pt idx="84742">4</cx:pt>
          <cx:pt idx="84743">1</cx:pt>
          <cx:pt idx="84744">4</cx:pt>
          <cx:pt idx="84745">4</cx:pt>
          <cx:pt idx="84746">5</cx:pt>
          <cx:pt idx="84747">1</cx:pt>
          <cx:pt idx="84748">4</cx:pt>
          <cx:pt idx="84749">5</cx:pt>
          <cx:pt idx="84750">3</cx:pt>
          <cx:pt idx="84751">2</cx:pt>
          <cx:pt idx="84752">4</cx:pt>
          <cx:pt idx="84753">4</cx:pt>
          <cx:pt idx="84754">2</cx:pt>
          <cx:pt idx="84755">5</cx:pt>
          <cx:pt idx="84756">4</cx:pt>
          <cx:pt idx="84757">4</cx:pt>
          <cx:pt idx="84758">1</cx:pt>
          <cx:pt idx="84759">4</cx:pt>
          <cx:pt idx="84760">1</cx:pt>
          <cx:pt idx="84761">2</cx:pt>
          <cx:pt idx="84762">2</cx:pt>
          <cx:pt idx="84763">1</cx:pt>
          <cx:pt idx="84764">4</cx:pt>
          <cx:pt idx="84765">4</cx:pt>
          <cx:pt idx="84766">3</cx:pt>
          <cx:pt idx="84767">5</cx:pt>
          <cx:pt idx="84768">1</cx:pt>
          <cx:pt idx="84769">5</cx:pt>
          <cx:pt idx="84770">1</cx:pt>
          <cx:pt idx="84771">5</cx:pt>
          <cx:pt idx="84772">5</cx:pt>
          <cx:pt idx="84773">5</cx:pt>
          <cx:pt idx="84774">1</cx:pt>
          <cx:pt idx="84775">1</cx:pt>
          <cx:pt idx="84776">5</cx:pt>
          <cx:pt idx="84777">1</cx:pt>
          <cx:pt idx="84778">5</cx:pt>
          <cx:pt idx="84779">5</cx:pt>
          <cx:pt idx="84780">2</cx:pt>
          <cx:pt idx="84781">3</cx:pt>
          <cx:pt idx="84782">3</cx:pt>
          <cx:pt idx="84783">5</cx:pt>
          <cx:pt idx="84784">4</cx:pt>
          <cx:pt idx="84785">5</cx:pt>
          <cx:pt idx="84786">5</cx:pt>
          <cx:pt idx="84787">5</cx:pt>
          <cx:pt idx="84788">5</cx:pt>
          <cx:pt idx="84789">2</cx:pt>
          <cx:pt idx="84790">5</cx:pt>
          <cx:pt idx="84791">4</cx:pt>
          <cx:pt idx="84792">4</cx:pt>
          <cx:pt idx="84793">5</cx:pt>
          <cx:pt idx="84794">5</cx:pt>
          <cx:pt idx="84795">5</cx:pt>
          <cx:pt idx="84796">5</cx:pt>
          <cx:pt idx="84797">5</cx:pt>
          <cx:pt idx="84798">4</cx:pt>
          <cx:pt idx="84799">2</cx:pt>
          <cx:pt idx="84800">2</cx:pt>
          <cx:pt idx="84801">2</cx:pt>
          <cx:pt idx="84802">4</cx:pt>
          <cx:pt idx="84803">3</cx:pt>
          <cx:pt idx="84804">3</cx:pt>
          <cx:pt idx="84805">2</cx:pt>
          <cx:pt idx="84806">5</cx:pt>
          <cx:pt idx="84807">5</cx:pt>
          <cx:pt idx="84808">3</cx:pt>
          <cx:pt idx="84809">4</cx:pt>
          <cx:pt idx="84810">1</cx:pt>
          <cx:pt idx="84811">1</cx:pt>
          <cx:pt idx="84812">2</cx:pt>
          <cx:pt idx="84813">4</cx:pt>
          <cx:pt idx="84814">3</cx:pt>
          <cx:pt idx="84815">2</cx:pt>
          <cx:pt idx="84816">4</cx:pt>
          <cx:pt idx="84817">5</cx:pt>
          <cx:pt idx="84818">3</cx:pt>
          <cx:pt idx="84819">2</cx:pt>
          <cx:pt idx="84820">3</cx:pt>
          <cx:pt idx="84821">2</cx:pt>
          <cx:pt idx="84822">4</cx:pt>
          <cx:pt idx="84823">5</cx:pt>
          <cx:pt idx="84824">4</cx:pt>
          <cx:pt idx="84825">1</cx:pt>
          <cx:pt idx="84826">5</cx:pt>
          <cx:pt idx="84827">2</cx:pt>
          <cx:pt idx="84828">4</cx:pt>
          <cx:pt idx="84829">5</cx:pt>
          <cx:pt idx="84830">1</cx:pt>
          <cx:pt idx="84831">1</cx:pt>
          <cx:pt idx="84832">4</cx:pt>
          <cx:pt idx="84833">4</cx:pt>
          <cx:pt idx="84834">1</cx:pt>
          <cx:pt idx="84835">4</cx:pt>
          <cx:pt idx="84836">1</cx:pt>
          <cx:pt idx="84837">2</cx:pt>
          <cx:pt idx="84838">5</cx:pt>
          <cx:pt idx="84839">4</cx:pt>
          <cx:pt idx="84840">4</cx:pt>
          <cx:pt idx="84841">4</cx:pt>
          <cx:pt idx="84842">5</cx:pt>
          <cx:pt idx="84843">3</cx:pt>
          <cx:pt idx="84844">4</cx:pt>
          <cx:pt idx="84845">4</cx:pt>
          <cx:pt idx="84846">3</cx:pt>
          <cx:pt idx="84847">4</cx:pt>
          <cx:pt idx="84848">3</cx:pt>
          <cx:pt idx="84849">5</cx:pt>
          <cx:pt idx="84850">1</cx:pt>
          <cx:pt idx="84851">3</cx:pt>
          <cx:pt idx="84852">4</cx:pt>
          <cx:pt idx="84853">2</cx:pt>
          <cx:pt idx="84854">4</cx:pt>
          <cx:pt idx="84855">3</cx:pt>
          <cx:pt idx="84856">3</cx:pt>
          <cx:pt idx="84857">1</cx:pt>
          <cx:pt idx="84858">5</cx:pt>
          <cx:pt idx="84859">1</cx:pt>
          <cx:pt idx="84860">1</cx:pt>
          <cx:pt idx="84861">4</cx:pt>
          <cx:pt idx="84862">4</cx:pt>
          <cx:pt idx="84863">5</cx:pt>
          <cx:pt idx="84864">3</cx:pt>
          <cx:pt idx="84865">2</cx:pt>
          <cx:pt idx="84866">1</cx:pt>
          <cx:pt idx="84867">3</cx:pt>
          <cx:pt idx="84868">4</cx:pt>
          <cx:pt idx="84869">3</cx:pt>
          <cx:pt idx="84870">3</cx:pt>
          <cx:pt idx="84871">4</cx:pt>
          <cx:pt idx="84872">4</cx:pt>
          <cx:pt idx="84873">5</cx:pt>
          <cx:pt idx="84874">4</cx:pt>
          <cx:pt idx="84875">2</cx:pt>
          <cx:pt idx="84876">4</cx:pt>
          <cx:pt idx="84877">5</cx:pt>
          <cx:pt idx="84878">2</cx:pt>
          <cx:pt idx="84879">4</cx:pt>
          <cx:pt idx="84880">4</cx:pt>
          <cx:pt idx="84881">3</cx:pt>
          <cx:pt idx="84882">1</cx:pt>
          <cx:pt idx="84883">4</cx:pt>
          <cx:pt idx="84884">1</cx:pt>
          <cx:pt idx="84885">5</cx:pt>
          <cx:pt idx="84886">4</cx:pt>
          <cx:pt idx="84887">2</cx:pt>
          <cx:pt idx="84888">5</cx:pt>
          <cx:pt idx="84889">5</cx:pt>
          <cx:pt idx="84890">3</cx:pt>
          <cx:pt idx="84891">4</cx:pt>
          <cx:pt idx="84892">3</cx:pt>
          <cx:pt idx="84893">4</cx:pt>
          <cx:pt idx="84894">4</cx:pt>
          <cx:pt idx="84895">5</cx:pt>
          <cx:pt idx="84896">4</cx:pt>
          <cx:pt idx="84897">5</cx:pt>
          <cx:pt idx="84898">2</cx:pt>
          <cx:pt idx="84899">5</cx:pt>
          <cx:pt idx="84900">2</cx:pt>
          <cx:pt idx="84901">5</cx:pt>
          <cx:pt idx="84902">4</cx:pt>
          <cx:pt idx="84903">3</cx:pt>
          <cx:pt idx="84904">4</cx:pt>
          <cx:pt idx="84905">4</cx:pt>
          <cx:pt idx="84906">3</cx:pt>
          <cx:pt idx="84907">3</cx:pt>
          <cx:pt idx="84908">4</cx:pt>
          <cx:pt idx="84909">4</cx:pt>
          <cx:pt idx="84910">4</cx:pt>
          <cx:pt idx="84911">2</cx:pt>
          <cx:pt idx="84912">2</cx:pt>
          <cx:pt idx="84913">5</cx:pt>
          <cx:pt idx="84914">4</cx:pt>
          <cx:pt idx="84915">5</cx:pt>
          <cx:pt idx="84916">3</cx:pt>
          <cx:pt idx="84917">3</cx:pt>
          <cx:pt idx="84918">3</cx:pt>
          <cx:pt idx="84919">5</cx:pt>
          <cx:pt idx="84920">4</cx:pt>
          <cx:pt idx="84921">4</cx:pt>
          <cx:pt idx="84922">4</cx:pt>
          <cx:pt idx="84923">3</cx:pt>
          <cx:pt idx="84924">2</cx:pt>
          <cx:pt idx="84925">3</cx:pt>
          <cx:pt idx="84926">5</cx:pt>
          <cx:pt idx="84927">5</cx:pt>
          <cx:pt idx="84928">1</cx:pt>
          <cx:pt idx="84929">1</cx:pt>
          <cx:pt idx="84930">2</cx:pt>
          <cx:pt idx="84931">5</cx:pt>
          <cx:pt idx="84932">5</cx:pt>
          <cx:pt idx="84933">4</cx:pt>
          <cx:pt idx="84934">3</cx:pt>
          <cx:pt idx="84935">5</cx:pt>
          <cx:pt idx="84936">3</cx:pt>
          <cx:pt idx="84937">4</cx:pt>
          <cx:pt idx="84938">3</cx:pt>
          <cx:pt idx="84939">1</cx:pt>
          <cx:pt idx="84940">5</cx:pt>
          <cx:pt idx="84941">4</cx:pt>
          <cx:pt idx="84942">4</cx:pt>
          <cx:pt idx="84943">3</cx:pt>
          <cx:pt idx="84944">3</cx:pt>
          <cx:pt idx="84945">4</cx:pt>
          <cx:pt idx="84946">5</cx:pt>
          <cx:pt idx="84947">5</cx:pt>
          <cx:pt idx="84948">2</cx:pt>
          <cx:pt idx="84949">2</cx:pt>
          <cx:pt idx="84950">5</cx:pt>
          <cx:pt idx="84951">5</cx:pt>
          <cx:pt idx="84952">3</cx:pt>
          <cx:pt idx="84953">4</cx:pt>
          <cx:pt idx="84954">3</cx:pt>
          <cx:pt idx="84955">4</cx:pt>
          <cx:pt idx="84956">4</cx:pt>
          <cx:pt idx="84957">3</cx:pt>
          <cx:pt idx="84958">5</cx:pt>
          <cx:pt idx="84959">3</cx:pt>
          <cx:pt idx="84960">2</cx:pt>
          <cx:pt idx="84961">3</cx:pt>
          <cx:pt idx="84962">5</cx:pt>
          <cx:pt idx="84963">2</cx:pt>
          <cx:pt idx="84964">1</cx:pt>
          <cx:pt idx="84965">4</cx:pt>
          <cx:pt idx="84966">1</cx:pt>
          <cx:pt idx="84967">2</cx:pt>
          <cx:pt idx="84968">5</cx:pt>
          <cx:pt idx="84969">4</cx:pt>
          <cx:pt idx="84970">3</cx:pt>
          <cx:pt idx="84971">2</cx:pt>
          <cx:pt idx="84972">4</cx:pt>
          <cx:pt idx="84973">2</cx:pt>
          <cx:pt idx="84974">2</cx:pt>
          <cx:pt idx="84975">4</cx:pt>
          <cx:pt idx="84976">4</cx:pt>
          <cx:pt idx="84977">2</cx:pt>
          <cx:pt idx="84978">3</cx:pt>
          <cx:pt idx="84979">4</cx:pt>
          <cx:pt idx="84980">4</cx:pt>
          <cx:pt idx="84981">2</cx:pt>
          <cx:pt idx="84982">3</cx:pt>
          <cx:pt idx="84983">5</cx:pt>
          <cx:pt idx="84984">5</cx:pt>
          <cx:pt idx="84985">3</cx:pt>
          <cx:pt idx="84986">5</cx:pt>
          <cx:pt idx="84987">5</cx:pt>
          <cx:pt idx="84988">4</cx:pt>
          <cx:pt idx="84989">5</cx:pt>
          <cx:pt idx="84990">5</cx:pt>
          <cx:pt idx="84991">4</cx:pt>
          <cx:pt idx="84992">5</cx:pt>
          <cx:pt idx="84993">4</cx:pt>
          <cx:pt idx="84994">5</cx:pt>
          <cx:pt idx="84995">5</cx:pt>
          <cx:pt idx="84996">4</cx:pt>
          <cx:pt idx="84997">3</cx:pt>
          <cx:pt idx="84998">5</cx:pt>
          <cx:pt idx="84999">2</cx:pt>
          <cx:pt idx="85000">2</cx:pt>
          <cx:pt idx="85001">1</cx:pt>
          <cx:pt idx="85002">4</cx:pt>
          <cx:pt idx="85003">5</cx:pt>
          <cx:pt idx="85004">4</cx:pt>
          <cx:pt idx="85005">4</cx:pt>
          <cx:pt idx="85006">2</cx:pt>
          <cx:pt idx="85007">2</cx:pt>
          <cx:pt idx="85008">4</cx:pt>
          <cx:pt idx="85009">5</cx:pt>
          <cx:pt idx="85010">1</cx:pt>
          <cx:pt idx="85011">4</cx:pt>
          <cx:pt idx="85012">3</cx:pt>
          <cx:pt idx="85013">3</cx:pt>
          <cx:pt idx="85014">4</cx:pt>
          <cx:pt idx="85015">1</cx:pt>
          <cx:pt idx="85016">2</cx:pt>
          <cx:pt idx="85017">4</cx:pt>
          <cx:pt idx="85018">2</cx:pt>
          <cx:pt idx="85019">4</cx:pt>
          <cx:pt idx="85020">5</cx:pt>
          <cx:pt idx="85021">5</cx:pt>
          <cx:pt idx="85022">1</cx:pt>
          <cx:pt idx="85023">1</cx:pt>
          <cx:pt idx="85024">2</cx:pt>
          <cx:pt idx="85025">3</cx:pt>
          <cx:pt idx="85026">5</cx:pt>
          <cx:pt idx="85027">3</cx:pt>
          <cx:pt idx="85028">1</cx:pt>
          <cx:pt idx="85029">4</cx:pt>
          <cx:pt idx="85030">4</cx:pt>
          <cx:pt idx="85031">4</cx:pt>
          <cx:pt idx="85032">5</cx:pt>
          <cx:pt idx="85033">5</cx:pt>
          <cx:pt idx="85034">4</cx:pt>
          <cx:pt idx="85035">5</cx:pt>
          <cx:pt idx="85036">4</cx:pt>
          <cx:pt idx="85037">3</cx:pt>
          <cx:pt idx="85038">3</cx:pt>
          <cx:pt idx="85039">4</cx:pt>
          <cx:pt idx="85040">4</cx:pt>
          <cx:pt idx="85041">1</cx:pt>
          <cx:pt idx="85042">3</cx:pt>
          <cx:pt idx="85043">5</cx:pt>
          <cx:pt idx="85044">5</cx:pt>
          <cx:pt idx="85045">4</cx:pt>
          <cx:pt idx="85046">3</cx:pt>
          <cx:pt idx="85047">5</cx:pt>
          <cx:pt idx="85048">2</cx:pt>
          <cx:pt idx="85049">4</cx:pt>
          <cx:pt idx="85050">3</cx:pt>
          <cx:pt idx="85051">4</cx:pt>
          <cx:pt idx="85052">4</cx:pt>
          <cx:pt idx="85053">1</cx:pt>
          <cx:pt idx="85054">1</cx:pt>
          <cx:pt idx="85055">1</cx:pt>
          <cx:pt idx="85056">2</cx:pt>
          <cx:pt idx="85057">5</cx:pt>
          <cx:pt idx="85058">3</cx:pt>
          <cx:pt idx="85059">5</cx:pt>
          <cx:pt idx="85060">1</cx:pt>
          <cx:pt idx="85061">1</cx:pt>
          <cx:pt idx="85062">4</cx:pt>
          <cx:pt idx="85063">2</cx:pt>
          <cx:pt idx="85064">4</cx:pt>
          <cx:pt idx="85065">4</cx:pt>
          <cx:pt idx="85066">1</cx:pt>
          <cx:pt idx="85067">4</cx:pt>
          <cx:pt idx="85068">5</cx:pt>
          <cx:pt idx="85069">1</cx:pt>
          <cx:pt idx="85070">4</cx:pt>
          <cx:pt idx="85071">1</cx:pt>
          <cx:pt idx="85072">4</cx:pt>
          <cx:pt idx="85073">3</cx:pt>
          <cx:pt idx="85074">3</cx:pt>
          <cx:pt idx="85075">4</cx:pt>
          <cx:pt idx="85076">4</cx:pt>
          <cx:pt idx="85077">4</cx:pt>
          <cx:pt idx="85078">4</cx:pt>
          <cx:pt idx="85079">5</cx:pt>
          <cx:pt idx="85080">5</cx:pt>
          <cx:pt idx="85081">5</cx:pt>
          <cx:pt idx="85082">5</cx:pt>
          <cx:pt idx="85083">4</cx:pt>
          <cx:pt idx="85084">1</cx:pt>
          <cx:pt idx="85085">4</cx:pt>
          <cx:pt idx="85086">5</cx:pt>
          <cx:pt idx="85087">1</cx:pt>
          <cx:pt idx="85088">5</cx:pt>
          <cx:pt idx="85089">4</cx:pt>
          <cx:pt idx="85090">2</cx:pt>
          <cx:pt idx="85091">3</cx:pt>
          <cx:pt idx="85092">5</cx:pt>
          <cx:pt idx="85093">4</cx:pt>
          <cx:pt idx="85094">1</cx:pt>
          <cx:pt idx="85095">5</cx:pt>
          <cx:pt idx="85096">5</cx:pt>
          <cx:pt idx="85097">4</cx:pt>
          <cx:pt idx="85098">5</cx:pt>
          <cx:pt idx="85099">5</cx:pt>
          <cx:pt idx="85100">4</cx:pt>
          <cx:pt idx="85101">4</cx:pt>
          <cx:pt idx="85102">4</cx:pt>
          <cx:pt idx="85103">4</cx:pt>
          <cx:pt idx="85104">2</cx:pt>
          <cx:pt idx="85105">4</cx:pt>
          <cx:pt idx="85106">1</cx:pt>
          <cx:pt idx="85107">4</cx:pt>
          <cx:pt idx="85108">2</cx:pt>
          <cx:pt idx="85109">4</cx:pt>
          <cx:pt idx="85110">5</cx:pt>
          <cx:pt idx="85111">5</cx:pt>
          <cx:pt idx="85112">2</cx:pt>
          <cx:pt idx="85113">5</cx:pt>
          <cx:pt idx="85114">3</cx:pt>
          <cx:pt idx="85115">4</cx:pt>
          <cx:pt idx="85116">4</cx:pt>
          <cx:pt idx="85117">3</cx:pt>
          <cx:pt idx="85118">5</cx:pt>
          <cx:pt idx="85119">5</cx:pt>
          <cx:pt idx="85120">5</cx:pt>
          <cx:pt idx="85121">4</cx:pt>
          <cx:pt idx="85122">4</cx:pt>
          <cx:pt idx="85123">1</cx:pt>
          <cx:pt idx="85124">4</cx:pt>
          <cx:pt idx="85125">1</cx:pt>
          <cx:pt idx="85126">1</cx:pt>
          <cx:pt idx="85127">4</cx:pt>
          <cx:pt idx="85128">3</cx:pt>
          <cx:pt idx="85129">4</cx:pt>
          <cx:pt idx="85130">2</cx:pt>
          <cx:pt idx="85131">5</cx:pt>
          <cx:pt idx="85132">5</cx:pt>
          <cx:pt idx="85133">3</cx:pt>
          <cx:pt idx="85134">5</cx:pt>
          <cx:pt idx="85135">4</cx:pt>
          <cx:pt idx="85136">1</cx:pt>
          <cx:pt idx="85137">5</cx:pt>
          <cx:pt idx="85138">2</cx:pt>
          <cx:pt idx="85139">5</cx:pt>
          <cx:pt idx="85140">5</cx:pt>
          <cx:pt idx="85141">3</cx:pt>
          <cx:pt idx="85142">5</cx:pt>
          <cx:pt idx="85143">5</cx:pt>
          <cx:pt idx="85144">5</cx:pt>
          <cx:pt idx="85145">5</cx:pt>
          <cx:pt idx="85146">1</cx:pt>
          <cx:pt idx="85147">2</cx:pt>
          <cx:pt idx="85148">2</cx:pt>
          <cx:pt idx="85149">2</cx:pt>
          <cx:pt idx="85150">1</cx:pt>
          <cx:pt idx="85151">1</cx:pt>
          <cx:pt idx="85152">2</cx:pt>
          <cx:pt idx="85153">4</cx:pt>
          <cx:pt idx="85154">4</cx:pt>
          <cx:pt idx="85155">4</cx:pt>
          <cx:pt idx="85156">4</cx:pt>
          <cx:pt idx="85157">3</cx:pt>
          <cx:pt idx="85158">5</cx:pt>
          <cx:pt idx="85159">5</cx:pt>
          <cx:pt idx="85160">5</cx:pt>
          <cx:pt idx="85161">1</cx:pt>
          <cx:pt idx="85162">5</cx:pt>
          <cx:pt idx="85163">5</cx:pt>
          <cx:pt idx="85164">1</cx:pt>
          <cx:pt idx="85165">3</cx:pt>
          <cx:pt idx="85166">5</cx:pt>
          <cx:pt idx="85167">4</cx:pt>
          <cx:pt idx="85168">5</cx:pt>
          <cx:pt idx="85169">5</cx:pt>
          <cx:pt idx="85170">2</cx:pt>
          <cx:pt idx="85171">5</cx:pt>
          <cx:pt idx="85172">5</cx:pt>
          <cx:pt idx="85173">4</cx:pt>
          <cx:pt idx="85174">5</cx:pt>
          <cx:pt idx="85175">5</cx:pt>
          <cx:pt idx="85176">4</cx:pt>
          <cx:pt idx="85177">5</cx:pt>
          <cx:pt idx="85178">5</cx:pt>
          <cx:pt idx="85179">1</cx:pt>
          <cx:pt idx="85180">5</cx:pt>
          <cx:pt idx="85181">5</cx:pt>
          <cx:pt idx="85182">5</cx:pt>
          <cx:pt idx="85183">3</cx:pt>
          <cx:pt idx="85184">1</cx:pt>
          <cx:pt idx="85185">3</cx:pt>
          <cx:pt idx="85186">1</cx:pt>
          <cx:pt idx="85187">4</cx:pt>
          <cx:pt idx="85188">5</cx:pt>
          <cx:pt idx="85189">2</cx:pt>
          <cx:pt idx="85190">5</cx:pt>
          <cx:pt idx="85191">5</cx:pt>
          <cx:pt idx="85192">1</cx:pt>
          <cx:pt idx="85193">4</cx:pt>
          <cx:pt idx="85194">3</cx:pt>
          <cx:pt idx="85195">3</cx:pt>
          <cx:pt idx="85196">3</cx:pt>
          <cx:pt idx="85197">5</cx:pt>
          <cx:pt idx="85198">4</cx:pt>
          <cx:pt idx="85199">4</cx:pt>
          <cx:pt idx="85200">4</cx:pt>
          <cx:pt idx="85201">4</cx:pt>
          <cx:pt idx="85202">1</cx:pt>
          <cx:pt idx="85203">3</cx:pt>
          <cx:pt idx="85204">2</cx:pt>
          <cx:pt idx="85205">4</cx:pt>
          <cx:pt idx="85206">1</cx:pt>
          <cx:pt idx="85207">4</cx:pt>
          <cx:pt idx="85208">5</cx:pt>
          <cx:pt idx="85209">5</cx:pt>
          <cx:pt idx="85210">3</cx:pt>
          <cx:pt idx="85211">1</cx:pt>
          <cx:pt idx="85212">4</cx:pt>
          <cx:pt idx="85213">5</cx:pt>
          <cx:pt idx="85214">1</cx:pt>
          <cx:pt idx="85215">1</cx:pt>
          <cx:pt idx="85216">4</cx:pt>
          <cx:pt idx="85217">5</cx:pt>
          <cx:pt idx="85218">4</cx:pt>
          <cx:pt idx="85219">4</cx:pt>
          <cx:pt idx="85220">4</cx:pt>
          <cx:pt idx="85221">3</cx:pt>
          <cx:pt idx="85222">4</cx:pt>
          <cx:pt idx="85223">4</cx:pt>
          <cx:pt idx="85224">1</cx:pt>
          <cx:pt idx="85225">4</cx:pt>
          <cx:pt idx="85226">1</cx:pt>
          <cx:pt idx="85227">3</cx:pt>
          <cx:pt idx="85228">4</cx:pt>
          <cx:pt idx="85229">4</cx:pt>
          <cx:pt idx="85230">3</cx:pt>
          <cx:pt idx="85231">5</cx:pt>
          <cx:pt idx="85232">2</cx:pt>
          <cx:pt idx="85233">3</cx:pt>
          <cx:pt idx="85234">1</cx:pt>
          <cx:pt idx="85235">3</cx:pt>
          <cx:pt idx="85236">3</cx:pt>
          <cx:pt idx="85237">4</cx:pt>
          <cx:pt idx="85238">4</cx:pt>
          <cx:pt idx="85239">3</cx:pt>
          <cx:pt idx="85240">3</cx:pt>
          <cx:pt idx="85241">4</cx:pt>
          <cx:pt idx="85242">5</cx:pt>
          <cx:pt idx="85243">4</cx:pt>
          <cx:pt idx="85244">3</cx:pt>
          <cx:pt idx="85245">5</cx:pt>
          <cx:pt idx="85246">3</cx:pt>
          <cx:pt idx="85247">4</cx:pt>
          <cx:pt idx="85248">4</cx:pt>
          <cx:pt idx="85249">4</cx:pt>
          <cx:pt idx="85250">5</cx:pt>
          <cx:pt idx="85251">4</cx:pt>
          <cx:pt idx="85252">2</cx:pt>
          <cx:pt idx="85253">4</cx:pt>
          <cx:pt idx="85254">4</cx:pt>
          <cx:pt idx="85255">1</cx:pt>
          <cx:pt idx="85256">3</cx:pt>
          <cx:pt idx="85257">4</cx:pt>
          <cx:pt idx="85258">1</cx:pt>
          <cx:pt idx="85259">2</cx:pt>
          <cx:pt idx="85260">4</cx:pt>
          <cx:pt idx="85261">4</cx:pt>
          <cx:pt idx="85262">3</cx:pt>
          <cx:pt idx="85263">5</cx:pt>
          <cx:pt idx="85264">1</cx:pt>
          <cx:pt idx="85265">4</cx:pt>
          <cx:pt idx="85266">4</cx:pt>
          <cx:pt idx="85267">3</cx:pt>
          <cx:pt idx="85268">4</cx:pt>
          <cx:pt idx="85269">3</cx:pt>
          <cx:pt idx="85270">3</cx:pt>
          <cx:pt idx="85271">4</cx:pt>
          <cx:pt idx="85272">4</cx:pt>
          <cx:pt idx="85273">4</cx:pt>
          <cx:pt idx="85274">4</cx:pt>
          <cx:pt idx="85275">3</cx:pt>
          <cx:pt idx="85276">3</cx:pt>
          <cx:pt idx="85277">4</cx:pt>
          <cx:pt idx="85278">4</cx:pt>
          <cx:pt idx="85279">5</cx:pt>
          <cx:pt idx="85280">5</cx:pt>
          <cx:pt idx="85281">2</cx:pt>
          <cx:pt idx="85282">3</cx:pt>
          <cx:pt idx="85283">4</cx:pt>
          <cx:pt idx="85284">3</cx:pt>
          <cx:pt idx="85285">4</cx:pt>
          <cx:pt idx="85286">3</cx:pt>
          <cx:pt idx="85287">5</cx:pt>
          <cx:pt idx="85288">4</cx:pt>
          <cx:pt idx="85289">1</cx:pt>
          <cx:pt idx="85290">5</cx:pt>
          <cx:pt idx="85291">5</cx:pt>
          <cx:pt idx="85292">2</cx:pt>
          <cx:pt idx="85293">5</cx:pt>
          <cx:pt idx="85294">5</cx:pt>
          <cx:pt idx="85295">5</cx:pt>
          <cx:pt idx="85296">5</cx:pt>
          <cx:pt idx="85297">3</cx:pt>
          <cx:pt idx="85298">5</cx:pt>
          <cx:pt idx="85299">4</cx:pt>
          <cx:pt idx="85300">4</cx:pt>
          <cx:pt idx="85301">3</cx:pt>
          <cx:pt idx="85302">4</cx:pt>
          <cx:pt idx="85303">5</cx:pt>
          <cx:pt idx="85304">3</cx:pt>
          <cx:pt idx="85305">5</cx:pt>
          <cx:pt idx="85306">4</cx:pt>
          <cx:pt idx="85307">1</cx:pt>
          <cx:pt idx="85308">4</cx:pt>
          <cx:pt idx="85309">4</cx:pt>
          <cx:pt idx="85310">4</cx:pt>
          <cx:pt idx="85311">5</cx:pt>
          <cx:pt idx="85312">3</cx:pt>
          <cx:pt idx="85313">5</cx:pt>
          <cx:pt idx="85314">4</cx:pt>
          <cx:pt idx="85315">4</cx:pt>
          <cx:pt idx="85316">1</cx:pt>
          <cx:pt idx="85317">5</cx:pt>
          <cx:pt idx="85318">5</cx:pt>
          <cx:pt idx="85319">2</cx:pt>
          <cx:pt idx="85320">1</cx:pt>
          <cx:pt idx="85321">5</cx:pt>
          <cx:pt idx="85322">4</cx:pt>
          <cx:pt idx="85323">4</cx:pt>
          <cx:pt idx="85324">3</cx:pt>
          <cx:pt idx="85325">5</cx:pt>
          <cx:pt idx="85326">2</cx:pt>
          <cx:pt idx="85327">4</cx:pt>
          <cx:pt idx="85328">5</cx:pt>
          <cx:pt idx="85329">4</cx:pt>
          <cx:pt idx="85330">3</cx:pt>
          <cx:pt idx="85331">2</cx:pt>
          <cx:pt idx="85332">4</cx:pt>
          <cx:pt idx="85333">5</cx:pt>
          <cx:pt idx="85334">4</cx:pt>
          <cx:pt idx="85335">5</cx:pt>
          <cx:pt idx="85336">4</cx:pt>
          <cx:pt idx="85337">1</cx:pt>
          <cx:pt idx="85338">4</cx:pt>
          <cx:pt idx="85339">3</cx:pt>
          <cx:pt idx="85340">1</cx:pt>
          <cx:pt idx="85341">4</cx:pt>
          <cx:pt idx="85342">3</cx:pt>
          <cx:pt idx="85343">4</cx:pt>
          <cx:pt idx="85344">2</cx:pt>
          <cx:pt idx="85345">4</cx:pt>
          <cx:pt idx="85346">4</cx:pt>
          <cx:pt idx="85347">4</cx:pt>
          <cx:pt idx="85348">5</cx:pt>
          <cx:pt idx="85349">5</cx:pt>
          <cx:pt idx="85350">4</cx:pt>
          <cx:pt idx="85351">1</cx:pt>
          <cx:pt idx="85352">5</cx:pt>
          <cx:pt idx="85353">3</cx:pt>
          <cx:pt idx="85354">4</cx:pt>
          <cx:pt idx="85355">5</cx:pt>
          <cx:pt idx="85356">2</cx:pt>
          <cx:pt idx="85357">2</cx:pt>
          <cx:pt idx="85358">3</cx:pt>
          <cx:pt idx="85359">1</cx:pt>
          <cx:pt idx="85360">4</cx:pt>
          <cx:pt idx="85361">4</cx:pt>
          <cx:pt idx="85362">4</cx:pt>
          <cx:pt idx="85363">4</cx:pt>
          <cx:pt idx="85364">3</cx:pt>
          <cx:pt idx="85365">3</cx:pt>
          <cx:pt idx="85366">5</cx:pt>
          <cx:pt idx="85367">3</cx:pt>
          <cx:pt idx="85368">5</cx:pt>
          <cx:pt idx="85369">5</cx:pt>
          <cx:pt idx="85370">4</cx:pt>
          <cx:pt idx="85371">3</cx:pt>
          <cx:pt idx="85372">5</cx:pt>
          <cx:pt idx="85373">2</cx:pt>
          <cx:pt idx="85374">1</cx:pt>
          <cx:pt idx="85375">4</cx:pt>
          <cx:pt idx="85376">4</cx:pt>
          <cx:pt idx="85377">4</cx:pt>
          <cx:pt idx="85378">1</cx:pt>
          <cx:pt idx="85379">5</cx:pt>
          <cx:pt idx="85380">3</cx:pt>
          <cx:pt idx="85381">5</cx:pt>
          <cx:pt idx="85382">3</cx:pt>
          <cx:pt idx="85383">3</cx:pt>
          <cx:pt idx="85384">3</cx:pt>
          <cx:pt idx="85385">4</cx:pt>
          <cx:pt idx="85386">4</cx:pt>
          <cx:pt idx="85387">5</cx:pt>
          <cx:pt idx="85388">3</cx:pt>
          <cx:pt idx="85389">4</cx:pt>
          <cx:pt idx="85390">2</cx:pt>
          <cx:pt idx="85391">4</cx:pt>
          <cx:pt idx="85392">5</cx:pt>
          <cx:pt idx="85393">1</cx:pt>
          <cx:pt idx="85394">5</cx:pt>
          <cx:pt idx="85395">2</cx:pt>
          <cx:pt idx="85396">5</cx:pt>
          <cx:pt idx="85397">1</cx:pt>
          <cx:pt idx="85398">2</cx:pt>
          <cx:pt idx="85399">5</cx:pt>
          <cx:pt idx="85400">2</cx:pt>
          <cx:pt idx="85401">2</cx:pt>
          <cx:pt idx="85402">5</cx:pt>
          <cx:pt idx="85403">5</cx:pt>
          <cx:pt idx="85404">1</cx:pt>
          <cx:pt idx="85405">5</cx:pt>
          <cx:pt idx="85406">1</cx:pt>
          <cx:pt idx="85407">3</cx:pt>
          <cx:pt idx="85408">4</cx:pt>
          <cx:pt idx="85409">5</cx:pt>
          <cx:pt idx="85410">4</cx:pt>
          <cx:pt idx="85411">3</cx:pt>
          <cx:pt idx="85412">4</cx:pt>
          <cx:pt idx="85413">2</cx:pt>
          <cx:pt idx="85414">1</cx:pt>
          <cx:pt idx="85415">3</cx:pt>
          <cx:pt idx="85416">4</cx:pt>
          <cx:pt idx="85417">2</cx:pt>
          <cx:pt idx="85418">5</cx:pt>
          <cx:pt idx="85419">2</cx:pt>
          <cx:pt idx="85420">5</cx:pt>
          <cx:pt idx="85421">4</cx:pt>
          <cx:pt idx="85422">4</cx:pt>
          <cx:pt idx="85423">2</cx:pt>
          <cx:pt idx="85424">4</cx:pt>
          <cx:pt idx="85425">2</cx:pt>
          <cx:pt idx="85426">4</cx:pt>
          <cx:pt idx="85427">3</cx:pt>
          <cx:pt idx="85428">4</cx:pt>
          <cx:pt idx="85429">5</cx:pt>
          <cx:pt idx="85430">5</cx:pt>
          <cx:pt idx="85431">3</cx:pt>
          <cx:pt idx="85432">3</cx:pt>
          <cx:pt idx="85433">4</cx:pt>
          <cx:pt idx="85434">1</cx:pt>
          <cx:pt idx="85435">5</cx:pt>
          <cx:pt idx="85436">5</cx:pt>
          <cx:pt idx="85437">4</cx:pt>
          <cx:pt idx="85438">4</cx:pt>
          <cx:pt idx="85439">3</cx:pt>
          <cx:pt idx="85440">4</cx:pt>
          <cx:pt idx="85441">5</cx:pt>
          <cx:pt idx="85442">1</cx:pt>
          <cx:pt idx="85443">2</cx:pt>
          <cx:pt idx="85444">2</cx:pt>
          <cx:pt idx="85445">2</cx:pt>
          <cx:pt idx="85446">1</cx:pt>
          <cx:pt idx="85447">2</cx:pt>
          <cx:pt idx="85448">5</cx:pt>
          <cx:pt idx="85449">2</cx:pt>
          <cx:pt idx="85450">1</cx:pt>
          <cx:pt idx="85451">1</cx:pt>
          <cx:pt idx="85452">3</cx:pt>
          <cx:pt idx="85453">1</cx:pt>
          <cx:pt idx="85454">2</cx:pt>
          <cx:pt idx="85455">3</cx:pt>
          <cx:pt idx="85456">4</cx:pt>
          <cx:pt idx="85457">2</cx:pt>
          <cx:pt idx="85458">5</cx:pt>
          <cx:pt idx="85459">3</cx:pt>
          <cx:pt idx="85460">3</cx:pt>
          <cx:pt idx="85461">1</cx:pt>
          <cx:pt idx="85462">1</cx:pt>
          <cx:pt idx="85463">3</cx:pt>
          <cx:pt idx="85464">4</cx:pt>
          <cx:pt idx="85465">5</cx:pt>
          <cx:pt idx="85466">5</cx:pt>
          <cx:pt idx="85467">2</cx:pt>
          <cx:pt idx="85468">3</cx:pt>
          <cx:pt idx="85469">4</cx:pt>
          <cx:pt idx="85470">5</cx:pt>
          <cx:pt idx="85471">2</cx:pt>
          <cx:pt idx="85472">5</cx:pt>
          <cx:pt idx="85473">4</cx:pt>
          <cx:pt idx="85474">5</cx:pt>
          <cx:pt idx="85475">1</cx:pt>
          <cx:pt idx="85476">2</cx:pt>
          <cx:pt idx="85477">4</cx:pt>
          <cx:pt idx="85478">4</cx:pt>
          <cx:pt idx="85479">4</cx:pt>
          <cx:pt idx="85480">3</cx:pt>
          <cx:pt idx="85481">3</cx:pt>
          <cx:pt idx="85482">2</cx:pt>
          <cx:pt idx="85483">5</cx:pt>
          <cx:pt idx="85484">5</cx:pt>
          <cx:pt idx="85485">3</cx:pt>
          <cx:pt idx="85486">4</cx:pt>
          <cx:pt idx="85487">4</cx:pt>
          <cx:pt idx="85488">5</cx:pt>
          <cx:pt idx="85489">4</cx:pt>
          <cx:pt idx="85490">5</cx:pt>
          <cx:pt idx="85491">4</cx:pt>
          <cx:pt idx="85492">4</cx:pt>
          <cx:pt idx="85493">4</cx:pt>
          <cx:pt idx="85494">4</cx:pt>
          <cx:pt idx="85495">4</cx:pt>
          <cx:pt idx="85496">2</cx:pt>
          <cx:pt idx="85497">2</cx:pt>
          <cx:pt idx="85498">2</cx:pt>
          <cx:pt idx="85499">5</cx:pt>
          <cx:pt idx="85500">4</cx:pt>
          <cx:pt idx="85501">3</cx:pt>
          <cx:pt idx="85502">4</cx:pt>
          <cx:pt idx="85503">3</cx:pt>
          <cx:pt idx="85504">2</cx:pt>
          <cx:pt idx="85505">3</cx:pt>
          <cx:pt idx="85506">2</cx:pt>
          <cx:pt idx="85507">5</cx:pt>
          <cx:pt idx="85508">3</cx:pt>
          <cx:pt idx="85509">4</cx:pt>
          <cx:pt idx="85510">2</cx:pt>
          <cx:pt idx="85511">3</cx:pt>
          <cx:pt idx="85512">1</cx:pt>
          <cx:pt idx="85513">4</cx:pt>
          <cx:pt idx="85514">4</cx:pt>
          <cx:pt idx="85515">1</cx:pt>
          <cx:pt idx="85516">5</cx:pt>
          <cx:pt idx="85517">3</cx:pt>
          <cx:pt idx="85518">3</cx:pt>
          <cx:pt idx="85519">5</cx:pt>
          <cx:pt idx="85520">3</cx:pt>
          <cx:pt idx="85521">5</cx:pt>
          <cx:pt idx="85522">5</cx:pt>
          <cx:pt idx="85523">4</cx:pt>
          <cx:pt idx="85524">4</cx:pt>
          <cx:pt idx="85525">3</cx:pt>
          <cx:pt idx="85526">4</cx:pt>
          <cx:pt idx="85527">1</cx:pt>
          <cx:pt idx="85528">4</cx:pt>
          <cx:pt idx="85529">5</cx:pt>
          <cx:pt idx="85530">4</cx:pt>
          <cx:pt idx="85531">4</cx:pt>
          <cx:pt idx="85532">4</cx:pt>
          <cx:pt idx="85533">4</cx:pt>
          <cx:pt idx="85534">2</cx:pt>
          <cx:pt idx="85535">5</cx:pt>
          <cx:pt idx="85536">4</cx:pt>
          <cx:pt idx="85537">5</cx:pt>
          <cx:pt idx="85538">4</cx:pt>
          <cx:pt idx="85539">4</cx:pt>
          <cx:pt idx="85540">5</cx:pt>
          <cx:pt idx="85541">3</cx:pt>
          <cx:pt idx="85542">1</cx:pt>
          <cx:pt idx="85543">4</cx:pt>
          <cx:pt idx="85544">5</cx:pt>
          <cx:pt idx="85545">3</cx:pt>
          <cx:pt idx="85546">4</cx:pt>
          <cx:pt idx="85547">4</cx:pt>
          <cx:pt idx="85548">5</cx:pt>
          <cx:pt idx="85549">4</cx:pt>
          <cx:pt idx="85550">3</cx:pt>
          <cx:pt idx="85551">3</cx:pt>
          <cx:pt idx="85552">5</cx:pt>
          <cx:pt idx="85553">3</cx:pt>
          <cx:pt idx="85554">4</cx:pt>
          <cx:pt idx="85555">2</cx:pt>
          <cx:pt idx="85556">5</cx:pt>
          <cx:pt idx="85557">4</cx:pt>
          <cx:pt idx="85558">3</cx:pt>
          <cx:pt idx="85559">1</cx:pt>
          <cx:pt idx="85560">5</cx:pt>
          <cx:pt idx="85561">3</cx:pt>
          <cx:pt idx="85562">3</cx:pt>
          <cx:pt idx="85563">3</cx:pt>
          <cx:pt idx="85564">4</cx:pt>
          <cx:pt idx="85565">5</cx:pt>
          <cx:pt idx="85566">3</cx:pt>
          <cx:pt idx="85567">2</cx:pt>
          <cx:pt idx="85568">1</cx:pt>
          <cx:pt idx="85569">3</cx:pt>
          <cx:pt idx="85570">5</cx:pt>
          <cx:pt idx="85571">4</cx:pt>
          <cx:pt idx="85572">1</cx:pt>
          <cx:pt idx="85573">4</cx:pt>
          <cx:pt idx="85574">2</cx:pt>
          <cx:pt idx="85575">5</cx:pt>
          <cx:pt idx="85576">3</cx:pt>
          <cx:pt idx="85577">4</cx:pt>
          <cx:pt idx="85578">2</cx:pt>
          <cx:pt idx="85579">4</cx:pt>
          <cx:pt idx="85580">4</cx:pt>
          <cx:pt idx="85581">1</cx:pt>
          <cx:pt idx="85582">4</cx:pt>
          <cx:pt idx="85583">5</cx:pt>
          <cx:pt idx="85584">4</cx:pt>
          <cx:pt idx="85585">4</cx:pt>
          <cx:pt idx="85586">4</cx:pt>
          <cx:pt idx="85587">4</cx:pt>
          <cx:pt idx="85588">1</cx:pt>
          <cx:pt idx="85589">4</cx:pt>
          <cx:pt idx="85590">3</cx:pt>
          <cx:pt idx="85591">5</cx:pt>
          <cx:pt idx="85592">5</cx:pt>
          <cx:pt idx="85593">3</cx:pt>
          <cx:pt idx="85594">5</cx:pt>
          <cx:pt idx="85595">2</cx:pt>
          <cx:pt idx="85596">5</cx:pt>
          <cx:pt idx="85597">5</cx:pt>
          <cx:pt idx="85598">4</cx:pt>
          <cx:pt idx="85599">1</cx:pt>
          <cx:pt idx="85600">3</cx:pt>
          <cx:pt idx="85601">2</cx:pt>
          <cx:pt idx="85602">2</cx:pt>
          <cx:pt idx="85603">4</cx:pt>
          <cx:pt idx="85604">3</cx:pt>
          <cx:pt idx="85605">5</cx:pt>
          <cx:pt idx="85606">4</cx:pt>
          <cx:pt idx="85607">4</cx:pt>
          <cx:pt idx="85608">3</cx:pt>
          <cx:pt idx="85609">3</cx:pt>
          <cx:pt idx="85610">5</cx:pt>
          <cx:pt idx="85611">2</cx:pt>
          <cx:pt idx="85612">2</cx:pt>
          <cx:pt idx="85613">5</cx:pt>
          <cx:pt idx="85614">5</cx:pt>
          <cx:pt idx="85615">3</cx:pt>
          <cx:pt idx="85616">3</cx:pt>
          <cx:pt idx="85617">2</cx:pt>
          <cx:pt idx="85618">4</cx:pt>
          <cx:pt idx="85619">2</cx:pt>
          <cx:pt idx="85620">4</cx:pt>
          <cx:pt idx="85621">5</cx:pt>
          <cx:pt idx="85622">5</cx:pt>
          <cx:pt idx="85623">2</cx:pt>
          <cx:pt idx="85624">3</cx:pt>
          <cx:pt idx="85625">5</cx:pt>
          <cx:pt idx="85626">2</cx:pt>
          <cx:pt idx="85627">4</cx:pt>
          <cx:pt idx="85628">4</cx:pt>
          <cx:pt idx="85629">4</cx:pt>
          <cx:pt idx="85630">4</cx:pt>
          <cx:pt idx="85631">5</cx:pt>
          <cx:pt idx="85632">2</cx:pt>
          <cx:pt idx="85633">5</cx:pt>
          <cx:pt idx="85634">4</cx:pt>
          <cx:pt idx="85635">3</cx:pt>
          <cx:pt idx="85636">3</cx:pt>
          <cx:pt idx="85637">3</cx:pt>
          <cx:pt idx="85638">4</cx:pt>
          <cx:pt idx="85639">5</cx:pt>
          <cx:pt idx="85640">1</cx:pt>
          <cx:pt idx="85641">4</cx:pt>
          <cx:pt idx="85642">2</cx:pt>
          <cx:pt idx="85643">3</cx:pt>
          <cx:pt idx="85644">2</cx:pt>
          <cx:pt idx="85645">3</cx:pt>
          <cx:pt idx="85646">4</cx:pt>
          <cx:pt idx="85647">3</cx:pt>
          <cx:pt idx="85648">4</cx:pt>
          <cx:pt idx="85649">2</cx:pt>
          <cx:pt idx="85650">4</cx:pt>
          <cx:pt idx="85651">4</cx:pt>
          <cx:pt idx="85652">4</cx:pt>
          <cx:pt idx="85653">4</cx:pt>
          <cx:pt idx="85654">5</cx:pt>
          <cx:pt idx="85655">5</cx:pt>
          <cx:pt idx="85656">4</cx:pt>
          <cx:pt idx="85657">2</cx:pt>
          <cx:pt idx="85658">4</cx:pt>
          <cx:pt idx="85659">5</cx:pt>
          <cx:pt idx="85660">1</cx:pt>
          <cx:pt idx="85661">3</cx:pt>
          <cx:pt idx="85662">1</cx:pt>
          <cx:pt idx="85663">4</cx:pt>
          <cx:pt idx="85664">2</cx:pt>
          <cx:pt idx="85665">2</cx:pt>
          <cx:pt idx="85666">2</cx:pt>
          <cx:pt idx="85667">4</cx:pt>
          <cx:pt idx="85668">5</cx:pt>
          <cx:pt idx="85669">5</cx:pt>
          <cx:pt idx="85670">4</cx:pt>
          <cx:pt idx="85671">1</cx:pt>
          <cx:pt idx="85672">2</cx:pt>
          <cx:pt idx="85673">4</cx:pt>
          <cx:pt idx="85674">2</cx:pt>
          <cx:pt idx="85675">3</cx:pt>
          <cx:pt idx="85676">2</cx:pt>
          <cx:pt idx="85677">1</cx:pt>
          <cx:pt idx="85678">4</cx:pt>
          <cx:pt idx="85679">4</cx:pt>
          <cx:pt idx="85680">3</cx:pt>
          <cx:pt idx="85681">5</cx:pt>
          <cx:pt idx="85682">1</cx:pt>
          <cx:pt idx="85683">1</cx:pt>
          <cx:pt idx="85684">4</cx:pt>
          <cx:pt idx="85685">4</cx:pt>
          <cx:pt idx="85686">2</cx:pt>
          <cx:pt idx="85687">5</cx:pt>
          <cx:pt idx="85688">3</cx:pt>
          <cx:pt idx="85689">3</cx:pt>
          <cx:pt idx="85690">3</cx:pt>
          <cx:pt idx="85691">5</cx:pt>
          <cx:pt idx="85692">5</cx:pt>
          <cx:pt idx="85693">5</cx:pt>
          <cx:pt idx="85694">1</cx:pt>
          <cx:pt idx="85695">4</cx:pt>
          <cx:pt idx="85696">4</cx:pt>
          <cx:pt idx="85697">4</cx:pt>
          <cx:pt idx="85698">5</cx:pt>
          <cx:pt idx="85699">5</cx:pt>
          <cx:pt idx="85700">1</cx:pt>
          <cx:pt idx="85701">4</cx:pt>
          <cx:pt idx="85702">2</cx:pt>
          <cx:pt idx="85703">4</cx:pt>
          <cx:pt idx="85704">4</cx:pt>
          <cx:pt idx="85705">5</cx:pt>
          <cx:pt idx="85706">4</cx:pt>
          <cx:pt idx="85707">4</cx:pt>
          <cx:pt idx="85708">5</cx:pt>
          <cx:pt idx="85709">1</cx:pt>
          <cx:pt idx="85710">1</cx:pt>
          <cx:pt idx="85711">5</cx:pt>
          <cx:pt idx="85712">3</cx:pt>
          <cx:pt idx="85713">4</cx:pt>
          <cx:pt idx="85714">4</cx:pt>
          <cx:pt idx="85715">5</cx:pt>
          <cx:pt idx="85716">5</cx:pt>
          <cx:pt idx="85717">4</cx:pt>
          <cx:pt idx="85718">2</cx:pt>
          <cx:pt idx="85719">4</cx:pt>
          <cx:pt idx="85720">4</cx:pt>
          <cx:pt idx="85721">4</cx:pt>
          <cx:pt idx="85722">5</cx:pt>
          <cx:pt idx="85723">5</cx:pt>
          <cx:pt idx="85724">5</cx:pt>
          <cx:pt idx="85725">5</cx:pt>
          <cx:pt idx="85726">2</cx:pt>
          <cx:pt idx="85727">4</cx:pt>
          <cx:pt idx="85728">4</cx:pt>
          <cx:pt idx="85729">1</cx:pt>
          <cx:pt idx="85730">1</cx:pt>
          <cx:pt idx="85731">1</cx:pt>
          <cx:pt idx="85732">3</cx:pt>
          <cx:pt idx="85733">5</cx:pt>
          <cx:pt idx="85734">5</cx:pt>
          <cx:pt idx="85735">2</cx:pt>
          <cx:pt idx="85736">4</cx:pt>
          <cx:pt idx="85737">5</cx:pt>
          <cx:pt idx="85738">3</cx:pt>
          <cx:pt idx="85739">4</cx:pt>
          <cx:pt idx="85740">3</cx:pt>
          <cx:pt idx="85741">2</cx:pt>
          <cx:pt idx="85742">4</cx:pt>
          <cx:pt idx="85743">3</cx:pt>
          <cx:pt idx="85744">4</cx:pt>
          <cx:pt idx="85745">3</cx:pt>
          <cx:pt idx="85746">4</cx:pt>
          <cx:pt idx="85747">2</cx:pt>
          <cx:pt idx="85748">5</cx:pt>
          <cx:pt idx="85749">2</cx:pt>
          <cx:pt idx="85750">5</cx:pt>
          <cx:pt idx="85751">2</cx:pt>
          <cx:pt idx="85752">2</cx:pt>
          <cx:pt idx="85753">5</cx:pt>
          <cx:pt idx="85754">1</cx:pt>
          <cx:pt idx="85755">5</cx:pt>
          <cx:pt idx="85756">4</cx:pt>
          <cx:pt idx="85757">4</cx:pt>
          <cx:pt idx="85758">5</cx:pt>
          <cx:pt idx="85759">4</cx:pt>
          <cx:pt idx="85760">1</cx:pt>
          <cx:pt idx="85761">3</cx:pt>
          <cx:pt idx="85762">5</cx:pt>
          <cx:pt idx="85763">4</cx:pt>
          <cx:pt idx="85764">4</cx:pt>
          <cx:pt idx="85765">4</cx:pt>
          <cx:pt idx="85766">4</cx:pt>
          <cx:pt idx="85767">4</cx:pt>
          <cx:pt idx="85768">5</cx:pt>
          <cx:pt idx="85769">4</cx:pt>
          <cx:pt idx="85770">2</cx:pt>
          <cx:pt idx="85771">2</cx:pt>
          <cx:pt idx="85772">4</cx:pt>
          <cx:pt idx="85773">2</cx:pt>
          <cx:pt idx="85774">4</cx:pt>
          <cx:pt idx="85775">3</cx:pt>
          <cx:pt idx="85776">5</cx:pt>
          <cx:pt idx="85777">3</cx:pt>
          <cx:pt idx="85778">2</cx:pt>
          <cx:pt idx="85779">4</cx:pt>
          <cx:pt idx="85780">5</cx:pt>
          <cx:pt idx="85781">2</cx:pt>
          <cx:pt idx="85782">4</cx:pt>
          <cx:pt idx="85783">5</cx:pt>
          <cx:pt idx="85784">5</cx:pt>
          <cx:pt idx="85785">5</cx:pt>
          <cx:pt idx="85786">4</cx:pt>
          <cx:pt idx="85787">4</cx:pt>
          <cx:pt idx="85788">2</cx:pt>
          <cx:pt idx="85789">3</cx:pt>
          <cx:pt idx="85790">4</cx:pt>
          <cx:pt idx="85791">2</cx:pt>
          <cx:pt idx="85792">5</cx:pt>
          <cx:pt idx="85793">5</cx:pt>
          <cx:pt idx="85794">2</cx:pt>
          <cx:pt idx="85795">5</cx:pt>
          <cx:pt idx="85796">4</cx:pt>
          <cx:pt idx="85797">5</cx:pt>
          <cx:pt idx="85798">2</cx:pt>
          <cx:pt idx="85799">4</cx:pt>
          <cx:pt idx="85800">4</cx:pt>
          <cx:pt idx="85801">3</cx:pt>
          <cx:pt idx="85802">1</cx:pt>
          <cx:pt idx="85803">1</cx:pt>
          <cx:pt idx="85804">3</cx:pt>
          <cx:pt idx="85805">3</cx:pt>
          <cx:pt idx="85806">4</cx:pt>
          <cx:pt idx="85807">3</cx:pt>
          <cx:pt idx="85808">3</cx:pt>
          <cx:pt idx="85809">1</cx:pt>
          <cx:pt idx="85810">3</cx:pt>
          <cx:pt idx="85811">4</cx:pt>
          <cx:pt idx="85812">5</cx:pt>
          <cx:pt idx="85813">3</cx:pt>
          <cx:pt idx="85814">3</cx:pt>
          <cx:pt idx="85815">4</cx:pt>
          <cx:pt idx="85816">5</cx:pt>
          <cx:pt idx="85817">5</cx:pt>
          <cx:pt idx="85818">2</cx:pt>
          <cx:pt idx="85819">5</cx:pt>
          <cx:pt idx="85820">4</cx:pt>
          <cx:pt idx="85821">3</cx:pt>
          <cx:pt idx="85822">2</cx:pt>
          <cx:pt idx="85823">5</cx:pt>
          <cx:pt idx="85824">4</cx:pt>
          <cx:pt idx="85825">4</cx:pt>
          <cx:pt idx="85826">4</cx:pt>
          <cx:pt idx="85827">4</cx:pt>
          <cx:pt idx="85828">5</cx:pt>
          <cx:pt idx="85829">4</cx:pt>
          <cx:pt idx="85830">3</cx:pt>
          <cx:pt idx="85831">4</cx:pt>
          <cx:pt idx="85832">5</cx:pt>
          <cx:pt idx="85833">4</cx:pt>
          <cx:pt idx="85834">3</cx:pt>
          <cx:pt idx="85835">4</cx:pt>
          <cx:pt idx="85836">2</cx:pt>
          <cx:pt idx="85837">1</cx:pt>
          <cx:pt idx="85838">3</cx:pt>
          <cx:pt idx="85839">4</cx:pt>
          <cx:pt idx="85840">1</cx:pt>
          <cx:pt idx="85841">1</cx:pt>
          <cx:pt idx="85842">3</cx:pt>
          <cx:pt idx="85843">4</cx:pt>
          <cx:pt idx="85844">1</cx:pt>
          <cx:pt idx="85845">5</cx:pt>
          <cx:pt idx="85846">3</cx:pt>
          <cx:pt idx="85847">2</cx:pt>
          <cx:pt idx="85848">4</cx:pt>
          <cx:pt idx="85849">3</cx:pt>
          <cx:pt idx="85850">3</cx:pt>
          <cx:pt idx="85851">1</cx:pt>
          <cx:pt idx="85852">2</cx:pt>
          <cx:pt idx="85853">2</cx:pt>
          <cx:pt idx="85854">1</cx:pt>
          <cx:pt idx="85855">2</cx:pt>
          <cx:pt idx="85856">5</cx:pt>
          <cx:pt idx="85857">5</cx:pt>
          <cx:pt idx="85858">1</cx:pt>
          <cx:pt idx="85859">4</cx:pt>
          <cx:pt idx="85860">4</cx:pt>
          <cx:pt idx="85861">4</cx:pt>
          <cx:pt idx="85862">4</cx:pt>
          <cx:pt idx="85863">5</cx:pt>
          <cx:pt idx="85864">4</cx:pt>
          <cx:pt idx="85865">4</cx:pt>
          <cx:pt idx="85866">2</cx:pt>
          <cx:pt idx="85867">3</cx:pt>
          <cx:pt idx="85868">3</cx:pt>
          <cx:pt idx="85869">4</cx:pt>
          <cx:pt idx="85870">4</cx:pt>
          <cx:pt idx="85871">3</cx:pt>
          <cx:pt idx="85872">2</cx:pt>
          <cx:pt idx="85873">1</cx:pt>
          <cx:pt idx="85874">3</cx:pt>
          <cx:pt idx="85875">3</cx:pt>
          <cx:pt idx="85876">4</cx:pt>
          <cx:pt idx="85877">1</cx:pt>
          <cx:pt idx="85878">1</cx:pt>
          <cx:pt idx="85879">5</cx:pt>
          <cx:pt idx="85880">3</cx:pt>
          <cx:pt idx="85881">2</cx:pt>
          <cx:pt idx="85882">2</cx:pt>
          <cx:pt idx="85883">4</cx:pt>
          <cx:pt idx="85884">3</cx:pt>
          <cx:pt idx="85885">4</cx:pt>
          <cx:pt idx="85886">3</cx:pt>
          <cx:pt idx="85887">5</cx:pt>
          <cx:pt idx="85888">4</cx:pt>
          <cx:pt idx="85889">5</cx:pt>
          <cx:pt idx="85890">2</cx:pt>
          <cx:pt idx="85891">1</cx:pt>
          <cx:pt idx="85892">2</cx:pt>
          <cx:pt idx="85893">1</cx:pt>
          <cx:pt idx="85894">4</cx:pt>
          <cx:pt idx="85895">3</cx:pt>
          <cx:pt idx="85896">3</cx:pt>
          <cx:pt idx="85897">3</cx:pt>
          <cx:pt idx="85898">4</cx:pt>
          <cx:pt idx="85899">5</cx:pt>
          <cx:pt idx="85900">5</cx:pt>
          <cx:pt idx="85901">4</cx:pt>
          <cx:pt idx="85902">5</cx:pt>
          <cx:pt idx="85903">4</cx:pt>
          <cx:pt idx="85904">4</cx:pt>
          <cx:pt idx="85905">5</cx:pt>
          <cx:pt idx="85906">4</cx:pt>
          <cx:pt idx="85907">5</cx:pt>
          <cx:pt idx="85908">5</cx:pt>
          <cx:pt idx="85909">1</cx:pt>
          <cx:pt idx="85910">4</cx:pt>
          <cx:pt idx="85911">5</cx:pt>
          <cx:pt idx="85912">5</cx:pt>
          <cx:pt idx="85913">4</cx:pt>
          <cx:pt idx="85914">3</cx:pt>
          <cx:pt idx="85915">3</cx:pt>
          <cx:pt idx="85916">4</cx:pt>
          <cx:pt idx="85917">3</cx:pt>
          <cx:pt idx="85918">4</cx:pt>
          <cx:pt idx="85919">4</cx:pt>
          <cx:pt idx="85920">4</cx:pt>
          <cx:pt idx="85921">3</cx:pt>
          <cx:pt idx="85922">2</cx:pt>
          <cx:pt idx="85923">4</cx:pt>
          <cx:pt idx="85924">1</cx:pt>
          <cx:pt idx="85925">3</cx:pt>
          <cx:pt idx="85926">4</cx:pt>
          <cx:pt idx="85927">4</cx:pt>
          <cx:pt idx="85928">5</cx:pt>
          <cx:pt idx="85929">1</cx:pt>
          <cx:pt idx="85930">5</cx:pt>
          <cx:pt idx="85931">3</cx:pt>
          <cx:pt idx="85932">4</cx:pt>
          <cx:pt idx="85933">4</cx:pt>
          <cx:pt idx="85934">5</cx:pt>
          <cx:pt idx="85935">3</cx:pt>
          <cx:pt idx="85936">1</cx:pt>
          <cx:pt idx="85937">4</cx:pt>
          <cx:pt idx="85938">5</cx:pt>
          <cx:pt idx="85939">5</cx:pt>
          <cx:pt idx="85940">4</cx:pt>
          <cx:pt idx="85941">5</cx:pt>
          <cx:pt idx="85942">2</cx:pt>
          <cx:pt idx="85943">5</cx:pt>
          <cx:pt idx="85944">3</cx:pt>
          <cx:pt idx="85945">4</cx:pt>
          <cx:pt idx="85946">3</cx:pt>
          <cx:pt idx="85947">3</cx:pt>
          <cx:pt idx="85948">5</cx:pt>
          <cx:pt idx="85949">3</cx:pt>
          <cx:pt idx="85950">5</cx:pt>
          <cx:pt idx="85951">3</cx:pt>
          <cx:pt idx="85952">4</cx:pt>
          <cx:pt idx="85953">2</cx:pt>
          <cx:pt idx="85954">4</cx:pt>
          <cx:pt idx="85955">4</cx:pt>
          <cx:pt idx="85956">5</cx:pt>
          <cx:pt idx="85957">5</cx:pt>
          <cx:pt idx="85958">4</cx:pt>
          <cx:pt idx="85959">2</cx:pt>
          <cx:pt idx="85960">5</cx:pt>
          <cx:pt idx="85961">5</cx:pt>
          <cx:pt idx="85962">4</cx:pt>
          <cx:pt idx="85963">4</cx:pt>
          <cx:pt idx="85964">2</cx:pt>
          <cx:pt idx="85965">1</cx:pt>
          <cx:pt idx="85966">5</cx:pt>
          <cx:pt idx="85967">5</cx:pt>
          <cx:pt idx="85968">4</cx:pt>
          <cx:pt idx="85969">5</cx:pt>
          <cx:pt idx="85970">3</cx:pt>
          <cx:pt idx="85971">4</cx:pt>
          <cx:pt idx="85972">4</cx:pt>
          <cx:pt idx="85973">5</cx:pt>
          <cx:pt idx="85974">3</cx:pt>
          <cx:pt idx="85975">5</cx:pt>
          <cx:pt idx="85976">5</cx:pt>
          <cx:pt idx="85977">4</cx:pt>
          <cx:pt idx="85978">5</cx:pt>
          <cx:pt idx="85979">4</cx:pt>
          <cx:pt idx="85980">4</cx:pt>
          <cx:pt idx="85981">4</cx:pt>
          <cx:pt idx="85982">5</cx:pt>
          <cx:pt idx="85983">5</cx:pt>
          <cx:pt idx="85984">4</cx:pt>
          <cx:pt idx="85985">2</cx:pt>
          <cx:pt idx="85986">5</cx:pt>
          <cx:pt idx="85987">4</cx:pt>
          <cx:pt idx="85988">3</cx:pt>
          <cx:pt idx="85989">5</cx:pt>
          <cx:pt idx="85990">2</cx:pt>
          <cx:pt idx="85991">3</cx:pt>
          <cx:pt idx="85992">5</cx:pt>
          <cx:pt idx="85993">5</cx:pt>
          <cx:pt idx="85994">4</cx:pt>
          <cx:pt idx="85995">3</cx:pt>
          <cx:pt idx="85996">1</cx:pt>
          <cx:pt idx="85997">5</cx:pt>
          <cx:pt idx="85998">1</cx:pt>
          <cx:pt idx="85999">3</cx:pt>
          <cx:pt idx="86000">4</cx:pt>
          <cx:pt idx="86001">3</cx:pt>
          <cx:pt idx="86002">1</cx:pt>
          <cx:pt idx="86003">4</cx:pt>
          <cx:pt idx="86004">5</cx:pt>
          <cx:pt idx="86005">4</cx:pt>
          <cx:pt idx="86006">2</cx:pt>
          <cx:pt idx="86007">5</cx:pt>
          <cx:pt idx="86008">3</cx:pt>
          <cx:pt idx="86009">4</cx:pt>
          <cx:pt idx="86010">2</cx:pt>
          <cx:pt idx="86011">4</cx:pt>
          <cx:pt idx="86012">4</cx:pt>
          <cx:pt idx="86013">4</cx:pt>
          <cx:pt idx="86014">2</cx:pt>
          <cx:pt idx="86015">4</cx:pt>
          <cx:pt idx="86016">2</cx:pt>
          <cx:pt idx="86017">4</cx:pt>
          <cx:pt idx="86018">2</cx:pt>
          <cx:pt idx="86019">3</cx:pt>
          <cx:pt idx="86020">4</cx:pt>
          <cx:pt idx="86021">5</cx:pt>
          <cx:pt idx="86022">3</cx:pt>
          <cx:pt idx="86023">4</cx:pt>
          <cx:pt idx="86024">3</cx:pt>
          <cx:pt idx="86025">2</cx:pt>
          <cx:pt idx="86026">2</cx:pt>
          <cx:pt idx="86027">5</cx:pt>
          <cx:pt idx="86028">5</cx:pt>
          <cx:pt idx="86029">3</cx:pt>
          <cx:pt idx="86030">3</cx:pt>
          <cx:pt idx="86031">4</cx:pt>
          <cx:pt idx="86032">4</cx:pt>
          <cx:pt idx="86033">5</cx:pt>
          <cx:pt idx="86034">5</cx:pt>
          <cx:pt idx="86035">5</cx:pt>
          <cx:pt idx="86036">4</cx:pt>
          <cx:pt idx="86037">5</cx:pt>
          <cx:pt idx="86038">4</cx:pt>
          <cx:pt idx="86039">3</cx:pt>
          <cx:pt idx="86040">4</cx:pt>
          <cx:pt idx="86041">1</cx:pt>
          <cx:pt idx="86042">4</cx:pt>
          <cx:pt idx="86043">3</cx:pt>
          <cx:pt idx="86044">5</cx:pt>
          <cx:pt idx="86045">4</cx:pt>
          <cx:pt idx="86046">2</cx:pt>
          <cx:pt idx="86047">3</cx:pt>
          <cx:pt idx="86048">4</cx:pt>
          <cx:pt idx="86049">2</cx:pt>
          <cx:pt idx="86050">3</cx:pt>
          <cx:pt idx="86051">2</cx:pt>
          <cx:pt idx="86052">5</cx:pt>
          <cx:pt idx="86053">4</cx:pt>
          <cx:pt idx="86054">4</cx:pt>
          <cx:pt idx="86055">2</cx:pt>
          <cx:pt idx="86056">4</cx:pt>
          <cx:pt idx="86057">3</cx:pt>
          <cx:pt idx="86058">4</cx:pt>
          <cx:pt idx="86059">5</cx:pt>
          <cx:pt idx="86060">4</cx:pt>
          <cx:pt idx="86061">3</cx:pt>
          <cx:pt idx="86062">5</cx:pt>
          <cx:pt idx="86063">2</cx:pt>
          <cx:pt idx="86064">5</cx:pt>
          <cx:pt idx="86065">4</cx:pt>
          <cx:pt idx="86066">3</cx:pt>
          <cx:pt idx="86067">2</cx:pt>
          <cx:pt idx="86068">5</cx:pt>
          <cx:pt idx="86069">1</cx:pt>
          <cx:pt idx="86070">3</cx:pt>
          <cx:pt idx="86071">5</cx:pt>
          <cx:pt idx="86072">5</cx:pt>
          <cx:pt idx="86073">2</cx:pt>
          <cx:pt idx="86074">3</cx:pt>
          <cx:pt idx="86075">5</cx:pt>
          <cx:pt idx="86076">5</cx:pt>
          <cx:pt idx="86077">3</cx:pt>
          <cx:pt idx="86078">2</cx:pt>
          <cx:pt idx="86079">4</cx:pt>
          <cx:pt idx="86080">4</cx:pt>
          <cx:pt idx="86081">5</cx:pt>
          <cx:pt idx="86082">3</cx:pt>
          <cx:pt idx="86083">3</cx:pt>
          <cx:pt idx="86084">1</cx:pt>
          <cx:pt idx="86085">5</cx:pt>
          <cx:pt idx="86086">5</cx:pt>
          <cx:pt idx="86087">4</cx:pt>
          <cx:pt idx="86088">5</cx:pt>
          <cx:pt idx="86089">4</cx:pt>
          <cx:pt idx="86090">4</cx:pt>
          <cx:pt idx="86091">1</cx:pt>
          <cx:pt idx="86092">2</cx:pt>
          <cx:pt idx="86093">4</cx:pt>
          <cx:pt idx="86094">1</cx:pt>
          <cx:pt idx="86095">5</cx:pt>
          <cx:pt idx="86096">3</cx:pt>
          <cx:pt idx="86097">5</cx:pt>
          <cx:pt idx="86098">3</cx:pt>
          <cx:pt idx="86099">3</cx:pt>
          <cx:pt idx="86100">5</cx:pt>
          <cx:pt idx="86101">2</cx:pt>
          <cx:pt idx="86102">5</cx:pt>
          <cx:pt idx="86103">2</cx:pt>
          <cx:pt idx="86104">5</cx:pt>
          <cx:pt idx="86105">5</cx:pt>
          <cx:pt idx="86106">2</cx:pt>
          <cx:pt idx="86107">4</cx:pt>
          <cx:pt idx="86108">2</cx:pt>
          <cx:pt idx="86109">2</cx:pt>
          <cx:pt idx="86110">4</cx:pt>
          <cx:pt idx="86111">5</cx:pt>
          <cx:pt idx="86112">3</cx:pt>
          <cx:pt idx="86113">5</cx:pt>
          <cx:pt idx="86114">3</cx:pt>
          <cx:pt idx="86115">3</cx:pt>
          <cx:pt idx="86116">2</cx:pt>
          <cx:pt idx="86117">3</cx:pt>
          <cx:pt idx="86118">4</cx:pt>
          <cx:pt idx="86119">2</cx:pt>
          <cx:pt idx="86120">3</cx:pt>
          <cx:pt idx="86121">5</cx:pt>
          <cx:pt idx="86122">4</cx:pt>
          <cx:pt idx="86123">4</cx:pt>
          <cx:pt idx="86124">4</cx:pt>
          <cx:pt idx="86125">5</cx:pt>
          <cx:pt idx="86126">4</cx:pt>
          <cx:pt idx="86127">5</cx:pt>
          <cx:pt idx="86128">1</cx:pt>
          <cx:pt idx="86129">4</cx:pt>
          <cx:pt idx="86130">4</cx:pt>
          <cx:pt idx="86131">4</cx:pt>
          <cx:pt idx="86132">2</cx:pt>
          <cx:pt idx="86133">4</cx:pt>
          <cx:pt idx="86134">1</cx:pt>
          <cx:pt idx="86135">4</cx:pt>
          <cx:pt idx="86136">4</cx:pt>
          <cx:pt idx="86137">5</cx:pt>
          <cx:pt idx="86138">5</cx:pt>
          <cx:pt idx="86139">2</cx:pt>
          <cx:pt idx="86140">3</cx:pt>
          <cx:pt idx="86141">1</cx:pt>
          <cx:pt idx="86142">5</cx:pt>
          <cx:pt idx="86143">4</cx:pt>
          <cx:pt idx="86144">2</cx:pt>
          <cx:pt idx="86145">3</cx:pt>
          <cx:pt idx="86146">4</cx:pt>
          <cx:pt idx="86147">3</cx:pt>
          <cx:pt idx="86148">3</cx:pt>
          <cx:pt idx="86149">5</cx:pt>
          <cx:pt idx="86150">2</cx:pt>
          <cx:pt idx="86151">4</cx:pt>
          <cx:pt idx="86152">2</cx:pt>
          <cx:pt idx="86153">4</cx:pt>
          <cx:pt idx="86154">3</cx:pt>
          <cx:pt idx="86155">3</cx:pt>
          <cx:pt idx="86156">4</cx:pt>
          <cx:pt idx="86157">5</cx:pt>
          <cx:pt idx="86158">1</cx:pt>
          <cx:pt idx="86159">5</cx:pt>
          <cx:pt idx="86160">4</cx:pt>
          <cx:pt idx="86161">3</cx:pt>
          <cx:pt idx="86162">4</cx:pt>
          <cx:pt idx="86163">5</cx:pt>
          <cx:pt idx="86164">3</cx:pt>
          <cx:pt idx="86165">4</cx:pt>
          <cx:pt idx="86166">5</cx:pt>
          <cx:pt idx="86167">2</cx:pt>
          <cx:pt idx="86168">3</cx:pt>
          <cx:pt idx="86169">5</cx:pt>
          <cx:pt idx="86170">4</cx:pt>
          <cx:pt idx="86171">4</cx:pt>
          <cx:pt idx="86172">4</cx:pt>
          <cx:pt idx="86173">5</cx:pt>
          <cx:pt idx="86174">5</cx:pt>
          <cx:pt idx="86175">2</cx:pt>
          <cx:pt idx="86176">3</cx:pt>
          <cx:pt idx="86177">5</cx:pt>
          <cx:pt idx="86178">3</cx:pt>
          <cx:pt idx="86179">2</cx:pt>
          <cx:pt idx="86180">2</cx:pt>
          <cx:pt idx="86181">2</cx:pt>
          <cx:pt idx="86182">1</cx:pt>
          <cx:pt idx="86183">5</cx:pt>
          <cx:pt idx="86184">3</cx:pt>
          <cx:pt idx="86185">4</cx:pt>
          <cx:pt idx="86186">4</cx:pt>
          <cx:pt idx="86187">4</cx:pt>
          <cx:pt idx="86188">4</cx:pt>
          <cx:pt idx="86189">3</cx:pt>
          <cx:pt idx="86190">3</cx:pt>
          <cx:pt idx="86191">5</cx:pt>
          <cx:pt idx="86192">4</cx:pt>
          <cx:pt idx="86193">3</cx:pt>
          <cx:pt idx="86194">4</cx:pt>
          <cx:pt idx="86195">5</cx:pt>
          <cx:pt idx="86196">4</cx:pt>
          <cx:pt idx="86197">5</cx:pt>
          <cx:pt idx="86198">1</cx:pt>
          <cx:pt idx="86199">5</cx:pt>
          <cx:pt idx="86200">4</cx:pt>
          <cx:pt idx="86201">3</cx:pt>
          <cx:pt idx="86202">2</cx:pt>
          <cx:pt idx="86203">2</cx:pt>
          <cx:pt idx="86204">1</cx:pt>
          <cx:pt idx="86205">1</cx:pt>
          <cx:pt idx="86206">5</cx:pt>
          <cx:pt idx="86207">4</cx:pt>
          <cx:pt idx="86208">5</cx:pt>
          <cx:pt idx="86209">1</cx:pt>
          <cx:pt idx="86210">3</cx:pt>
          <cx:pt idx="86211">5</cx:pt>
          <cx:pt idx="86212">5</cx:pt>
          <cx:pt idx="86213">1</cx:pt>
          <cx:pt idx="86214">3</cx:pt>
          <cx:pt idx="86215">5</cx:pt>
          <cx:pt idx="86216">4</cx:pt>
          <cx:pt idx="86217">1</cx:pt>
          <cx:pt idx="86218">4</cx:pt>
          <cx:pt idx="86219">4</cx:pt>
          <cx:pt idx="86220">2</cx:pt>
          <cx:pt idx="86221">4</cx:pt>
          <cx:pt idx="86222">2</cx:pt>
          <cx:pt idx="86223">2</cx:pt>
          <cx:pt idx="86224">1</cx:pt>
          <cx:pt idx="86225">1</cx:pt>
          <cx:pt idx="86226">3</cx:pt>
          <cx:pt idx="86227">4</cx:pt>
          <cx:pt idx="86228">4</cx:pt>
          <cx:pt idx="86229">5</cx:pt>
          <cx:pt idx="86230">3</cx:pt>
          <cx:pt idx="86231">2</cx:pt>
          <cx:pt idx="86232">4</cx:pt>
          <cx:pt idx="86233">2</cx:pt>
          <cx:pt idx="86234">5</cx:pt>
          <cx:pt idx="86235">3</cx:pt>
          <cx:pt idx="86236">4</cx:pt>
          <cx:pt idx="86237">2</cx:pt>
          <cx:pt idx="86238">2</cx:pt>
          <cx:pt idx="86239">5</cx:pt>
          <cx:pt idx="86240">3</cx:pt>
          <cx:pt idx="86241">5</cx:pt>
          <cx:pt idx="86242">3</cx:pt>
          <cx:pt idx="86243">4</cx:pt>
          <cx:pt idx="86244">3</cx:pt>
          <cx:pt idx="86245">5</cx:pt>
          <cx:pt idx="86246">5</cx:pt>
          <cx:pt idx="86247">5</cx:pt>
          <cx:pt idx="86248">1</cx:pt>
          <cx:pt idx="86249">4</cx:pt>
          <cx:pt idx="86250">5</cx:pt>
          <cx:pt idx="86251">5</cx:pt>
          <cx:pt idx="86252">3</cx:pt>
          <cx:pt idx="86253">3</cx:pt>
          <cx:pt idx="86254">1</cx:pt>
          <cx:pt idx="86255">5</cx:pt>
          <cx:pt idx="86256">2</cx:pt>
          <cx:pt idx="86257">5</cx:pt>
          <cx:pt idx="86258">4</cx:pt>
          <cx:pt idx="86259">3</cx:pt>
          <cx:pt idx="86260">4</cx:pt>
          <cx:pt idx="86261">3</cx:pt>
          <cx:pt idx="86262">5</cx:pt>
          <cx:pt idx="86263">1</cx:pt>
          <cx:pt idx="86264">3</cx:pt>
          <cx:pt idx="86265">3</cx:pt>
          <cx:pt idx="86266">5</cx:pt>
          <cx:pt idx="86267">5</cx:pt>
          <cx:pt idx="86268">5</cx:pt>
          <cx:pt idx="86269">2</cx:pt>
          <cx:pt idx="86270">3</cx:pt>
          <cx:pt idx="86271">2</cx:pt>
          <cx:pt idx="86272">4</cx:pt>
          <cx:pt idx="86273">2</cx:pt>
          <cx:pt idx="86274">4</cx:pt>
          <cx:pt idx="86275">5</cx:pt>
          <cx:pt idx="86276">2</cx:pt>
          <cx:pt idx="86277">2</cx:pt>
          <cx:pt idx="86278">1</cx:pt>
          <cx:pt idx="86279">1</cx:pt>
          <cx:pt idx="86280">5</cx:pt>
          <cx:pt idx="86281">1</cx:pt>
          <cx:pt idx="86282">5</cx:pt>
          <cx:pt idx="86283">2</cx:pt>
          <cx:pt idx="86284">5</cx:pt>
          <cx:pt idx="86285">3</cx:pt>
          <cx:pt idx="86286">4</cx:pt>
          <cx:pt idx="86287">3</cx:pt>
          <cx:pt idx="86288">1</cx:pt>
          <cx:pt idx="86289">2</cx:pt>
          <cx:pt idx="86290">2</cx:pt>
          <cx:pt idx="86291">5</cx:pt>
          <cx:pt idx="86292">2</cx:pt>
          <cx:pt idx="86293">3</cx:pt>
          <cx:pt idx="86294">5</cx:pt>
          <cx:pt idx="86295">2</cx:pt>
          <cx:pt idx="86296">5</cx:pt>
          <cx:pt idx="86297">4</cx:pt>
          <cx:pt idx="86298">2</cx:pt>
          <cx:pt idx="86299">4</cx:pt>
          <cx:pt idx="86300">3</cx:pt>
          <cx:pt idx="86301">3</cx:pt>
          <cx:pt idx="86302">5</cx:pt>
          <cx:pt idx="86303">4</cx:pt>
          <cx:pt idx="86304">5</cx:pt>
          <cx:pt idx="86305">1</cx:pt>
          <cx:pt idx="86306">4</cx:pt>
          <cx:pt idx="86307">5</cx:pt>
          <cx:pt idx="86308">4</cx:pt>
          <cx:pt idx="86309">3</cx:pt>
          <cx:pt idx="86310">5</cx:pt>
          <cx:pt idx="86311">3</cx:pt>
          <cx:pt idx="86312">5</cx:pt>
          <cx:pt idx="86313">1</cx:pt>
          <cx:pt idx="86314">5</cx:pt>
          <cx:pt idx="86315">4</cx:pt>
          <cx:pt idx="86316">5</cx:pt>
          <cx:pt idx="86317">4</cx:pt>
          <cx:pt idx="86318">4</cx:pt>
          <cx:pt idx="86319">4</cx:pt>
          <cx:pt idx="86320">5</cx:pt>
          <cx:pt idx="86321">5</cx:pt>
          <cx:pt idx="86322">2</cx:pt>
          <cx:pt idx="86323">4</cx:pt>
          <cx:pt idx="86324">2</cx:pt>
          <cx:pt idx="86325">4</cx:pt>
          <cx:pt idx="86326">4</cx:pt>
          <cx:pt idx="86327">4</cx:pt>
          <cx:pt idx="86328">3</cx:pt>
          <cx:pt idx="86329">3</cx:pt>
          <cx:pt idx="86330">2</cx:pt>
          <cx:pt idx="86331">4</cx:pt>
          <cx:pt idx="86332">2</cx:pt>
          <cx:pt idx="86333">5</cx:pt>
          <cx:pt idx="86334">4</cx:pt>
          <cx:pt idx="86335">5</cx:pt>
          <cx:pt idx="86336">1</cx:pt>
          <cx:pt idx="86337">2</cx:pt>
          <cx:pt idx="86338">3</cx:pt>
          <cx:pt idx="86339">4</cx:pt>
          <cx:pt idx="86340">2</cx:pt>
          <cx:pt idx="86341">4</cx:pt>
          <cx:pt idx="86342">4</cx:pt>
          <cx:pt idx="86343">4</cx:pt>
          <cx:pt idx="86344">3</cx:pt>
          <cx:pt idx="86345">5</cx:pt>
          <cx:pt idx="86346">1</cx:pt>
          <cx:pt idx="86347">4</cx:pt>
          <cx:pt idx="86348">3</cx:pt>
          <cx:pt idx="86349">4</cx:pt>
          <cx:pt idx="86350">5</cx:pt>
          <cx:pt idx="86351">3</cx:pt>
          <cx:pt idx="86352">1</cx:pt>
          <cx:pt idx="86353">4</cx:pt>
          <cx:pt idx="86354">3</cx:pt>
          <cx:pt idx="86355">5</cx:pt>
          <cx:pt idx="86356">2</cx:pt>
          <cx:pt idx="86357">4</cx:pt>
          <cx:pt idx="86358">5</cx:pt>
          <cx:pt idx="86359">4</cx:pt>
          <cx:pt idx="86360">3</cx:pt>
          <cx:pt idx="86361">4</cx:pt>
          <cx:pt idx="86362">5</cx:pt>
          <cx:pt idx="86363">5</cx:pt>
          <cx:pt idx="86364">4</cx:pt>
          <cx:pt idx="86365">5</cx:pt>
          <cx:pt idx="86366">1</cx:pt>
          <cx:pt idx="86367">2</cx:pt>
          <cx:pt idx="86368">3</cx:pt>
          <cx:pt idx="86369">1</cx:pt>
          <cx:pt idx="86370">5</cx:pt>
          <cx:pt idx="86371">5</cx:pt>
          <cx:pt idx="86372">2</cx:pt>
          <cx:pt idx="86373">1</cx:pt>
          <cx:pt idx="86374">4</cx:pt>
          <cx:pt idx="86375">4</cx:pt>
          <cx:pt idx="86376">2</cx:pt>
          <cx:pt idx="86377">3</cx:pt>
          <cx:pt idx="86378">1</cx:pt>
          <cx:pt idx="86379">3</cx:pt>
          <cx:pt idx="86380">1</cx:pt>
          <cx:pt idx="86381">5</cx:pt>
          <cx:pt idx="86382">3</cx:pt>
          <cx:pt idx="86383">2</cx:pt>
          <cx:pt idx="86384">4</cx:pt>
          <cx:pt idx="86385">5</cx:pt>
          <cx:pt idx="86386">5</cx:pt>
          <cx:pt idx="86387">3</cx:pt>
          <cx:pt idx="86388">5</cx:pt>
          <cx:pt idx="86389">5</cx:pt>
          <cx:pt idx="86390">4</cx:pt>
          <cx:pt idx="86391">4</cx:pt>
          <cx:pt idx="86392">1</cx:pt>
          <cx:pt idx="86393">4</cx:pt>
          <cx:pt idx="86394">4</cx:pt>
          <cx:pt idx="86395">4</cx:pt>
          <cx:pt idx="86396">1</cx:pt>
          <cx:pt idx="86397">3</cx:pt>
          <cx:pt idx="86398">5</cx:pt>
          <cx:pt idx="86399">3</cx:pt>
          <cx:pt idx="86400">3</cx:pt>
          <cx:pt idx="86401">5</cx:pt>
          <cx:pt idx="86402">3</cx:pt>
          <cx:pt idx="86403">3</cx:pt>
          <cx:pt idx="86404">4</cx:pt>
          <cx:pt idx="86405">5</cx:pt>
          <cx:pt idx="86406">3</cx:pt>
          <cx:pt idx="86407">4</cx:pt>
          <cx:pt idx="86408">2</cx:pt>
          <cx:pt idx="86409">5</cx:pt>
          <cx:pt idx="86410">2</cx:pt>
          <cx:pt idx="86411">4</cx:pt>
          <cx:pt idx="86412">4</cx:pt>
          <cx:pt idx="86413">5</cx:pt>
          <cx:pt idx="86414">4</cx:pt>
          <cx:pt idx="86415">2</cx:pt>
          <cx:pt idx="86416">2</cx:pt>
          <cx:pt idx="86417">5</cx:pt>
          <cx:pt idx="86418">2</cx:pt>
          <cx:pt idx="86419">5</cx:pt>
          <cx:pt idx="86420">4</cx:pt>
          <cx:pt idx="86421">5</cx:pt>
          <cx:pt idx="86422">5</cx:pt>
          <cx:pt idx="86423">4</cx:pt>
          <cx:pt idx="86424">3</cx:pt>
          <cx:pt idx="86425">4</cx:pt>
          <cx:pt idx="86426">4</cx:pt>
          <cx:pt idx="86427">5</cx:pt>
          <cx:pt idx="86428">5</cx:pt>
          <cx:pt idx="86429">5</cx:pt>
          <cx:pt idx="86430">3</cx:pt>
          <cx:pt idx="86431">4</cx:pt>
          <cx:pt idx="86432">3</cx:pt>
          <cx:pt idx="86433">3</cx:pt>
          <cx:pt idx="86434">5</cx:pt>
          <cx:pt idx="86435">3</cx:pt>
          <cx:pt idx="86436">5</cx:pt>
          <cx:pt idx="86437">2</cx:pt>
          <cx:pt idx="86438">4</cx:pt>
          <cx:pt idx="86439">1</cx:pt>
          <cx:pt idx="86440">5</cx:pt>
          <cx:pt idx="86441">5</cx:pt>
          <cx:pt idx="86442">2</cx:pt>
          <cx:pt idx="86443">5</cx:pt>
          <cx:pt idx="86444">3</cx:pt>
          <cx:pt idx="86445">1</cx:pt>
          <cx:pt idx="86446">1</cx:pt>
          <cx:pt idx="86447">3</cx:pt>
          <cx:pt idx="86448">5</cx:pt>
          <cx:pt idx="86449">5</cx:pt>
          <cx:pt idx="86450">1</cx:pt>
          <cx:pt idx="86451">4</cx:pt>
          <cx:pt idx="86452">1</cx:pt>
          <cx:pt idx="86453">1</cx:pt>
          <cx:pt idx="86454">2</cx:pt>
          <cx:pt idx="86455">3</cx:pt>
          <cx:pt idx="86456">5</cx:pt>
          <cx:pt idx="86457">3</cx:pt>
          <cx:pt idx="86458">4</cx:pt>
          <cx:pt idx="86459">3</cx:pt>
          <cx:pt idx="86460">1</cx:pt>
          <cx:pt idx="86461">5</cx:pt>
          <cx:pt idx="86462">5</cx:pt>
          <cx:pt idx="86463">1</cx:pt>
          <cx:pt idx="86464">5</cx:pt>
          <cx:pt idx="86465">5</cx:pt>
          <cx:pt idx="86466">4</cx:pt>
          <cx:pt idx="86467">5</cx:pt>
          <cx:pt idx="86468">4</cx:pt>
          <cx:pt idx="86469">1</cx:pt>
          <cx:pt idx="86470">2</cx:pt>
          <cx:pt idx="86471">5</cx:pt>
          <cx:pt idx="86472">2</cx:pt>
          <cx:pt idx="86473">2</cx:pt>
          <cx:pt idx="86474">4</cx:pt>
          <cx:pt idx="86475">4</cx:pt>
          <cx:pt idx="86476">5</cx:pt>
          <cx:pt idx="86477">4</cx:pt>
          <cx:pt idx="86478">3</cx:pt>
          <cx:pt idx="86479">3</cx:pt>
          <cx:pt idx="86480">3</cx:pt>
          <cx:pt idx="86481">2</cx:pt>
          <cx:pt idx="86482">4</cx:pt>
          <cx:pt idx="86483">2</cx:pt>
          <cx:pt idx="86484">5</cx:pt>
          <cx:pt idx="86485">4</cx:pt>
          <cx:pt idx="86486">4</cx:pt>
          <cx:pt idx="86487">5</cx:pt>
          <cx:pt idx="86488">3</cx:pt>
          <cx:pt idx="86489">2</cx:pt>
          <cx:pt idx="86490">3</cx:pt>
          <cx:pt idx="86491">4</cx:pt>
          <cx:pt idx="86492">5</cx:pt>
          <cx:pt idx="86493">3</cx:pt>
          <cx:pt idx="86494">5</cx:pt>
          <cx:pt idx="86495">5</cx:pt>
          <cx:pt idx="86496">4</cx:pt>
          <cx:pt idx="86497">5</cx:pt>
          <cx:pt idx="86498">4</cx:pt>
          <cx:pt idx="86499">5</cx:pt>
          <cx:pt idx="86500">3</cx:pt>
          <cx:pt idx="86501">2</cx:pt>
          <cx:pt idx="86502">4</cx:pt>
          <cx:pt idx="86503">5</cx:pt>
          <cx:pt idx="86504">4</cx:pt>
          <cx:pt idx="86505">2</cx:pt>
          <cx:pt idx="86506">4</cx:pt>
          <cx:pt idx="86507">5</cx:pt>
          <cx:pt idx="86508">5</cx:pt>
          <cx:pt idx="86509">4</cx:pt>
          <cx:pt idx="86510">2</cx:pt>
          <cx:pt idx="86511">1</cx:pt>
          <cx:pt idx="86512">4</cx:pt>
          <cx:pt idx="86513">3</cx:pt>
          <cx:pt idx="86514">3</cx:pt>
          <cx:pt idx="86515">1</cx:pt>
          <cx:pt idx="86516">4</cx:pt>
          <cx:pt idx="86517">5</cx:pt>
          <cx:pt idx="86518">1</cx:pt>
          <cx:pt idx="86519">5</cx:pt>
          <cx:pt idx="86520">3</cx:pt>
          <cx:pt idx="86521">2</cx:pt>
          <cx:pt idx="86522">4</cx:pt>
          <cx:pt idx="86523">5</cx:pt>
          <cx:pt idx="86524">4</cx:pt>
          <cx:pt idx="86525">4</cx:pt>
          <cx:pt idx="86526">4</cx:pt>
          <cx:pt idx="86527">2</cx:pt>
          <cx:pt idx="86528">5</cx:pt>
          <cx:pt idx="86529">3</cx:pt>
          <cx:pt idx="86530">4</cx:pt>
          <cx:pt idx="86531">2</cx:pt>
          <cx:pt idx="86532">3</cx:pt>
          <cx:pt idx="86533">4</cx:pt>
          <cx:pt idx="86534">4</cx:pt>
          <cx:pt idx="86535">4</cx:pt>
          <cx:pt idx="86536">4</cx:pt>
          <cx:pt idx="86537">4</cx:pt>
          <cx:pt idx="86538">2</cx:pt>
          <cx:pt idx="86539">1</cx:pt>
          <cx:pt idx="86540">3</cx:pt>
          <cx:pt idx="86541">4</cx:pt>
          <cx:pt idx="86542">2</cx:pt>
          <cx:pt idx="86543">4</cx:pt>
          <cx:pt idx="86544">2</cx:pt>
          <cx:pt idx="86545">4</cx:pt>
          <cx:pt idx="86546">5</cx:pt>
          <cx:pt idx="86547">3</cx:pt>
          <cx:pt idx="86548">5</cx:pt>
          <cx:pt idx="86549">4</cx:pt>
          <cx:pt idx="86550">3</cx:pt>
          <cx:pt idx="86551">5</cx:pt>
          <cx:pt idx="86552">2</cx:pt>
          <cx:pt idx="86553">2</cx:pt>
          <cx:pt idx="86554">4</cx:pt>
          <cx:pt idx="86555">5</cx:pt>
          <cx:pt idx="86556">2</cx:pt>
          <cx:pt idx="86557">5</cx:pt>
          <cx:pt idx="86558">5</cx:pt>
          <cx:pt idx="86559">1</cx:pt>
          <cx:pt idx="86560">2</cx:pt>
          <cx:pt idx="86561">4</cx:pt>
          <cx:pt idx="86562">3</cx:pt>
          <cx:pt idx="86563">5</cx:pt>
          <cx:pt idx="86564">4</cx:pt>
          <cx:pt idx="86565">3</cx:pt>
          <cx:pt idx="86566">5</cx:pt>
          <cx:pt idx="86567">3</cx:pt>
          <cx:pt idx="86568">4</cx:pt>
          <cx:pt idx="86569">5</cx:pt>
          <cx:pt idx="86570">4</cx:pt>
          <cx:pt idx="86571">4</cx:pt>
          <cx:pt idx="86572">3</cx:pt>
          <cx:pt idx="86573">5</cx:pt>
          <cx:pt idx="86574">5</cx:pt>
          <cx:pt idx="86575">4</cx:pt>
          <cx:pt idx="86576">4</cx:pt>
          <cx:pt idx="86577">4</cx:pt>
          <cx:pt idx="86578">4</cx:pt>
          <cx:pt idx="86579">4</cx:pt>
          <cx:pt idx="86580">5</cx:pt>
          <cx:pt idx="86581">4</cx:pt>
          <cx:pt idx="86582">4</cx:pt>
          <cx:pt idx="86583">2</cx:pt>
          <cx:pt idx="86584">5</cx:pt>
          <cx:pt idx="86585">5</cx:pt>
          <cx:pt idx="86586">5</cx:pt>
          <cx:pt idx="86587">4</cx:pt>
          <cx:pt idx="86588">4</cx:pt>
          <cx:pt idx="86589">3</cx:pt>
          <cx:pt idx="86590">2</cx:pt>
          <cx:pt idx="86591">2</cx:pt>
          <cx:pt idx="86592">4</cx:pt>
          <cx:pt idx="86593">3</cx:pt>
          <cx:pt idx="86594">1</cx:pt>
          <cx:pt idx="86595">4</cx:pt>
          <cx:pt idx="86596">1</cx:pt>
          <cx:pt idx="86597">4</cx:pt>
          <cx:pt idx="86598">3</cx:pt>
          <cx:pt idx="86599">3</cx:pt>
          <cx:pt idx="86600">3</cx:pt>
          <cx:pt idx="86601">3</cx:pt>
          <cx:pt idx="86602">5</cx:pt>
          <cx:pt idx="86603">3</cx:pt>
          <cx:pt idx="86604">2</cx:pt>
          <cx:pt idx="86605">4</cx:pt>
          <cx:pt idx="86606">5</cx:pt>
          <cx:pt idx="86607">5</cx:pt>
          <cx:pt idx="86608">4</cx:pt>
          <cx:pt idx="86609">5</cx:pt>
          <cx:pt idx="86610">2</cx:pt>
          <cx:pt idx="86611">5</cx:pt>
          <cx:pt idx="86612">5</cx:pt>
          <cx:pt idx="86613">5</cx:pt>
          <cx:pt idx="86614">2</cx:pt>
          <cx:pt idx="86615">5</cx:pt>
          <cx:pt idx="86616">1</cx:pt>
          <cx:pt idx="86617">3</cx:pt>
          <cx:pt idx="86618">5</cx:pt>
          <cx:pt idx="86619">4</cx:pt>
          <cx:pt idx="86620">1</cx:pt>
          <cx:pt idx="86621">4</cx:pt>
          <cx:pt idx="86622">5</cx:pt>
          <cx:pt idx="86623">4</cx:pt>
          <cx:pt idx="86624">3</cx:pt>
          <cx:pt idx="86625">2</cx:pt>
          <cx:pt idx="86626">4</cx:pt>
          <cx:pt idx="86627">3</cx:pt>
          <cx:pt idx="86628">5</cx:pt>
          <cx:pt idx="86629">5</cx:pt>
          <cx:pt idx="86630">4</cx:pt>
          <cx:pt idx="86631">1</cx:pt>
          <cx:pt idx="86632">2</cx:pt>
          <cx:pt idx="86633">4</cx:pt>
          <cx:pt idx="86634">5</cx:pt>
          <cx:pt idx="86635">4</cx:pt>
          <cx:pt idx="86636">4</cx:pt>
          <cx:pt idx="86637">5</cx:pt>
          <cx:pt idx="86638">1</cx:pt>
          <cx:pt idx="86639">2</cx:pt>
          <cx:pt idx="86640">5</cx:pt>
          <cx:pt idx="86641">5</cx:pt>
          <cx:pt idx="86642">3</cx:pt>
          <cx:pt idx="86643">2</cx:pt>
          <cx:pt idx="86644">1</cx:pt>
          <cx:pt idx="86645">4</cx:pt>
          <cx:pt idx="86646">5</cx:pt>
          <cx:pt idx="86647">1</cx:pt>
          <cx:pt idx="86648">3</cx:pt>
          <cx:pt idx="86649">4</cx:pt>
          <cx:pt idx="86650">5</cx:pt>
          <cx:pt idx="86651">3</cx:pt>
          <cx:pt idx="86652">4</cx:pt>
          <cx:pt idx="86653">1</cx:pt>
          <cx:pt idx="86654">4</cx:pt>
          <cx:pt idx="86655">3</cx:pt>
          <cx:pt idx="86656">5</cx:pt>
          <cx:pt idx="86657">2</cx:pt>
          <cx:pt idx="86658">5</cx:pt>
          <cx:pt idx="86659">3</cx:pt>
          <cx:pt idx="86660">3</cx:pt>
          <cx:pt idx="86661">2</cx:pt>
          <cx:pt idx="86662">2</cx:pt>
          <cx:pt idx="86663">4</cx:pt>
          <cx:pt idx="86664">3</cx:pt>
          <cx:pt idx="86665">4</cx:pt>
          <cx:pt idx="86666">1</cx:pt>
          <cx:pt idx="86667">5</cx:pt>
          <cx:pt idx="86668">1</cx:pt>
          <cx:pt idx="86669">5</cx:pt>
          <cx:pt idx="86670">4</cx:pt>
          <cx:pt idx="86671">5</cx:pt>
          <cx:pt idx="86672">5</cx:pt>
          <cx:pt idx="86673">3</cx:pt>
          <cx:pt idx="86674">5</cx:pt>
          <cx:pt idx="86675">2</cx:pt>
          <cx:pt idx="86676">4</cx:pt>
          <cx:pt idx="86677">2</cx:pt>
          <cx:pt idx="86678">2</cx:pt>
          <cx:pt idx="86679">1</cx:pt>
          <cx:pt idx="86680">2</cx:pt>
          <cx:pt idx="86681">2</cx:pt>
          <cx:pt idx="86682">5</cx:pt>
          <cx:pt idx="86683">5</cx:pt>
          <cx:pt idx="86684">4</cx:pt>
          <cx:pt idx="86685">4</cx:pt>
          <cx:pt idx="86686">5</cx:pt>
          <cx:pt idx="86687">1</cx:pt>
          <cx:pt idx="86688">3</cx:pt>
          <cx:pt idx="86689">3</cx:pt>
          <cx:pt idx="86690">4</cx:pt>
          <cx:pt idx="86691">4</cx:pt>
          <cx:pt idx="86692">2</cx:pt>
          <cx:pt idx="86693">1</cx:pt>
          <cx:pt idx="86694">4</cx:pt>
          <cx:pt idx="86695">5</cx:pt>
          <cx:pt idx="86696">5</cx:pt>
          <cx:pt idx="86697">4</cx:pt>
          <cx:pt idx="86698">5</cx:pt>
          <cx:pt idx="86699">3</cx:pt>
          <cx:pt idx="86700">4</cx:pt>
          <cx:pt idx="86701">2</cx:pt>
          <cx:pt idx="86702">4</cx:pt>
          <cx:pt idx="86703">2</cx:pt>
          <cx:pt idx="86704">4</cx:pt>
          <cx:pt idx="86705">5</cx:pt>
          <cx:pt idx="86706">5</cx:pt>
          <cx:pt idx="86707">4</cx:pt>
          <cx:pt idx="86708">2</cx:pt>
          <cx:pt idx="86709">4</cx:pt>
          <cx:pt idx="86710">2</cx:pt>
          <cx:pt idx="86711">4</cx:pt>
          <cx:pt idx="86712">5</cx:pt>
          <cx:pt idx="86713">4</cx:pt>
          <cx:pt idx="86714">5</cx:pt>
          <cx:pt idx="86715">2</cx:pt>
          <cx:pt idx="86716">3</cx:pt>
          <cx:pt idx="86717">4</cx:pt>
          <cx:pt idx="86718">5</cx:pt>
          <cx:pt idx="86719">4</cx:pt>
          <cx:pt idx="86720">3</cx:pt>
          <cx:pt idx="86721">5</cx:pt>
          <cx:pt idx="86722">4</cx:pt>
          <cx:pt idx="86723">3</cx:pt>
          <cx:pt idx="86724">3</cx:pt>
          <cx:pt idx="86725">2</cx:pt>
          <cx:pt idx="86726">4</cx:pt>
          <cx:pt idx="86727">1</cx:pt>
          <cx:pt idx="86728">5</cx:pt>
          <cx:pt idx="86729">5</cx:pt>
          <cx:pt idx="86730">4</cx:pt>
          <cx:pt idx="86731">3</cx:pt>
          <cx:pt idx="86732">2</cx:pt>
          <cx:pt idx="86733">4</cx:pt>
          <cx:pt idx="86734">5</cx:pt>
          <cx:pt idx="86735">3</cx:pt>
          <cx:pt idx="86736">4</cx:pt>
          <cx:pt idx="86737">3</cx:pt>
          <cx:pt idx="86738">1</cx:pt>
          <cx:pt idx="86739">2</cx:pt>
          <cx:pt idx="86740">4</cx:pt>
          <cx:pt idx="86741">5</cx:pt>
          <cx:pt idx="86742">3</cx:pt>
          <cx:pt idx="86743">2</cx:pt>
          <cx:pt idx="86744">3</cx:pt>
          <cx:pt idx="86745">1</cx:pt>
          <cx:pt idx="86746">3</cx:pt>
          <cx:pt idx="86747">4</cx:pt>
          <cx:pt idx="86748">1</cx:pt>
          <cx:pt idx="86749">1</cx:pt>
          <cx:pt idx="86750">2</cx:pt>
          <cx:pt idx="86751">2</cx:pt>
          <cx:pt idx="86752">1</cx:pt>
          <cx:pt idx="86753">5</cx:pt>
          <cx:pt idx="86754">4</cx:pt>
          <cx:pt idx="86755">4</cx:pt>
          <cx:pt idx="86756">1</cx:pt>
          <cx:pt idx="86757">5</cx:pt>
          <cx:pt idx="86758">4</cx:pt>
          <cx:pt idx="86759">4</cx:pt>
          <cx:pt idx="86760">5</cx:pt>
          <cx:pt idx="86761">2</cx:pt>
          <cx:pt idx="86762">4</cx:pt>
          <cx:pt idx="86763">4</cx:pt>
          <cx:pt idx="86764">4</cx:pt>
          <cx:pt idx="86765">2</cx:pt>
          <cx:pt idx="86766">2</cx:pt>
          <cx:pt idx="86767">5</cx:pt>
          <cx:pt idx="86768">2</cx:pt>
          <cx:pt idx="86769">2</cx:pt>
          <cx:pt idx="86770">3</cx:pt>
          <cx:pt idx="86771">4</cx:pt>
          <cx:pt idx="86772">3</cx:pt>
          <cx:pt idx="86773">2</cx:pt>
          <cx:pt idx="86774">3</cx:pt>
          <cx:pt idx="86775">5</cx:pt>
          <cx:pt idx="86776">1</cx:pt>
          <cx:pt idx="86777">4</cx:pt>
          <cx:pt idx="86778">5</cx:pt>
          <cx:pt idx="86779">4</cx:pt>
          <cx:pt idx="86780">5</cx:pt>
          <cx:pt idx="86781">4</cx:pt>
          <cx:pt idx="86782">2</cx:pt>
          <cx:pt idx="86783">4</cx:pt>
          <cx:pt idx="86784">4</cx:pt>
          <cx:pt idx="86785">5</cx:pt>
          <cx:pt idx="86786">1</cx:pt>
          <cx:pt idx="86787">3</cx:pt>
          <cx:pt idx="86788">5</cx:pt>
          <cx:pt idx="86789">4</cx:pt>
          <cx:pt idx="86790">5</cx:pt>
          <cx:pt idx="86791">4</cx:pt>
          <cx:pt idx="86792">2</cx:pt>
          <cx:pt idx="86793">5</cx:pt>
          <cx:pt idx="86794">2</cx:pt>
          <cx:pt idx="86795">5</cx:pt>
          <cx:pt idx="86796">4</cx:pt>
          <cx:pt idx="86797">2</cx:pt>
          <cx:pt idx="86798">4</cx:pt>
          <cx:pt idx="86799">5</cx:pt>
          <cx:pt idx="86800">5</cx:pt>
          <cx:pt idx="86801">5</cx:pt>
          <cx:pt idx="86802">3</cx:pt>
          <cx:pt idx="86803">1</cx:pt>
          <cx:pt idx="86804">3</cx:pt>
          <cx:pt idx="86805">2</cx:pt>
          <cx:pt idx="86806">3</cx:pt>
          <cx:pt idx="86807">5</cx:pt>
          <cx:pt idx="86808">1</cx:pt>
          <cx:pt idx="86809">5</cx:pt>
          <cx:pt idx="86810">5</cx:pt>
          <cx:pt idx="86811">5</cx:pt>
          <cx:pt idx="86812">4</cx:pt>
          <cx:pt idx="86813">4</cx:pt>
          <cx:pt idx="86814">4</cx:pt>
          <cx:pt idx="86815">5</cx:pt>
          <cx:pt idx="86816">4</cx:pt>
          <cx:pt idx="86817">5</cx:pt>
          <cx:pt idx="86818">5</cx:pt>
          <cx:pt idx="86819">5</cx:pt>
          <cx:pt idx="86820">3</cx:pt>
          <cx:pt idx="86821">4</cx:pt>
          <cx:pt idx="86822">5</cx:pt>
          <cx:pt idx="86823">3</cx:pt>
          <cx:pt idx="86824">1</cx:pt>
          <cx:pt idx="86825">3</cx:pt>
          <cx:pt idx="86826">2</cx:pt>
          <cx:pt idx="86827">2</cx:pt>
          <cx:pt idx="86828">1</cx:pt>
          <cx:pt idx="86829">3</cx:pt>
          <cx:pt idx="86830">3</cx:pt>
          <cx:pt idx="86831">2</cx:pt>
          <cx:pt idx="86832">3</cx:pt>
          <cx:pt idx="86833">5</cx:pt>
          <cx:pt idx="86834">5</cx:pt>
          <cx:pt idx="86835">2</cx:pt>
          <cx:pt idx="86836">4</cx:pt>
          <cx:pt idx="86837">3</cx:pt>
          <cx:pt idx="86838">3</cx:pt>
          <cx:pt idx="86839">1</cx:pt>
          <cx:pt idx="86840">2</cx:pt>
          <cx:pt idx="86841">1</cx:pt>
          <cx:pt idx="86842">5</cx:pt>
          <cx:pt idx="86843">4</cx:pt>
          <cx:pt idx="86844">4</cx:pt>
          <cx:pt idx="86845">3</cx:pt>
          <cx:pt idx="86846">1</cx:pt>
          <cx:pt idx="86847">4</cx:pt>
          <cx:pt idx="86848">4</cx:pt>
          <cx:pt idx="86849">4</cx:pt>
          <cx:pt idx="86850">4</cx:pt>
          <cx:pt idx="86851">4</cx:pt>
          <cx:pt idx="86852">5</cx:pt>
          <cx:pt idx="86853">4</cx:pt>
          <cx:pt idx="86854">1</cx:pt>
          <cx:pt idx="86855">1</cx:pt>
          <cx:pt idx="86856">4</cx:pt>
          <cx:pt idx="86857">2</cx:pt>
          <cx:pt idx="86858">5</cx:pt>
          <cx:pt idx="86859">5</cx:pt>
          <cx:pt idx="86860">5</cx:pt>
          <cx:pt idx="86861">4</cx:pt>
          <cx:pt idx="86862">5</cx:pt>
          <cx:pt idx="86863">3</cx:pt>
          <cx:pt idx="86864">4</cx:pt>
          <cx:pt idx="86865">5</cx:pt>
          <cx:pt idx="86866">2</cx:pt>
          <cx:pt idx="86867">2</cx:pt>
          <cx:pt idx="86868">5</cx:pt>
          <cx:pt idx="86869">5</cx:pt>
          <cx:pt idx="86870">5</cx:pt>
          <cx:pt idx="86871">5</cx:pt>
          <cx:pt idx="86872">5</cx:pt>
          <cx:pt idx="86873">1</cx:pt>
          <cx:pt idx="86874">4</cx:pt>
          <cx:pt idx="86875">3</cx:pt>
          <cx:pt idx="86876">5</cx:pt>
          <cx:pt idx="86877">5</cx:pt>
          <cx:pt idx="86878">1</cx:pt>
          <cx:pt idx="86879">3</cx:pt>
          <cx:pt idx="86880">3</cx:pt>
          <cx:pt idx="86881">5</cx:pt>
          <cx:pt idx="86882">4</cx:pt>
          <cx:pt idx="86883">5</cx:pt>
          <cx:pt idx="86884">2</cx:pt>
          <cx:pt idx="86885">3</cx:pt>
          <cx:pt idx="86886">4</cx:pt>
          <cx:pt idx="86887">5</cx:pt>
          <cx:pt idx="86888">4</cx:pt>
          <cx:pt idx="86889">2</cx:pt>
          <cx:pt idx="86890">4</cx:pt>
          <cx:pt idx="86891">3</cx:pt>
          <cx:pt idx="86892">4</cx:pt>
          <cx:pt idx="86893">3</cx:pt>
          <cx:pt idx="86894">3</cx:pt>
          <cx:pt idx="86895">2</cx:pt>
          <cx:pt idx="86896">1</cx:pt>
          <cx:pt idx="86897">4</cx:pt>
          <cx:pt idx="86898">1</cx:pt>
          <cx:pt idx="86899">2</cx:pt>
          <cx:pt idx="86900">4</cx:pt>
          <cx:pt idx="86901">5</cx:pt>
          <cx:pt idx="86902">3</cx:pt>
          <cx:pt idx="86903">5</cx:pt>
          <cx:pt idx="86904">2</cx:pt>
          <cx:pt idx="86905">5</cx:pt>
          <cx:pt idx="86906">4</cx:pt>
          <cx:pt idx="86907">2</cx:pt>
          <cx:pt idx="86908">1</cx:pt>
          <cx:pt idx="86909">5</cx:pt>
          <cx:pt idx="86910">1</cx:pt>
          <cx:pt idx="86911">3</cx:pt>
          <cx:pt idx="86912">4</cx:pt>
          <cx:pt idx="86913">4</cx:pt>
          <cx:pt idx="86914">5</cx:pt>
          <cx:pt idx="86915">2</cx:pt>
          <cx:pt idx="86916">2</cx:pt>
          <cx:pt idx="86917">5</cx:pt>
          <cx:pt idx="86918">4</cx:pt>
          <cx:pt idx="86919">2</cx:pt>
          <cx:pt idx="86920">2</cx:pt>
          <cx:pt idx="86921">4</cx:pt>
          <cx:pt idx="86922">1</cx:pt>
          <cx:pt idx="86923">5</cx:pt>
          <cx:pt idx="86924">5</cx:pt>
          <cx:pt idx="86925">4</cx:pt>
          <cx:pt idx="86926">3</cx:pt>
          <cx:pt idx="86927">4</cx:pt>
          <cx:pt idx="86928">4</cx:pt>
          <cx:pt idx="86929">5</cx:pt>
          <cx:pt idx="86930">1</cx:pt>
          <cx:pt idx="86931">3</cx:pt>
          <cx:pt idx="86932">5</cx:pt>
          <cx:pt idx="86933">2</cx:pt>
          <cx:pt idx="86934">4</cx:pt>
          <cx:pt idx="86935">2</cx:pt>
          <cx:pt idx="86936">5</cx:pt>
          <cx:pt idx="86937">1</cx:pt>
          <cx:pt idx="86938">4</cx:pt>
          <cx:pt idx="86939">2</cx:pt>
          <cx:pt idx="86940">2</cx:pt>
          <cx:pt idx="86941">2</cx:pt>
          <cx:pt idx="86942">4</cx:pt>
          <cx:pt idx="86943">3</cx:pt>
          <cx:pt idx="86944">2</cx:pt>
          <cx:pt idx="86945">4</cx:pt>
          <cx:pt idx="86946">2</cx:pt>
          <cx:pt idx="86947">5</cx:pt>
          <cx:pt idx="86948">4</cx:pt>
          <cx:pt idx="86949">2</cx:pt>
          <cx:pt idx="86950">5</cx:pt>
          <cx:pt idx="86951">3</cx:pt>
          <cx:pt idx="86952">3</cx:pt>
          <cx:pt idx="86953">1</cx:pt>
          <cx:pt idx="86954">4</cx:pt>
          <cx:pt idx="86955">5</cx:pt>
          <cx:pt idx="86956">4</cx:pt>
          <cx:pt idx="86957">3</cx:pt>
          <cx:pt idx="86958">5</cx:pt>
          <cx:pt idx="86959">2</cx:pt>
          <cx:pt idx="86960">4</cx:pt>
          <cx:pt idx="86961">5</cx:pt>
          <cx:pt idx="86962">4</cx:pt>
          <cx:pt idx="86963">4</cx:pt>
          <cx:pt idx="86964">4</cx:pt>
          <cx:pt idx="86965">2</cx:pt>
          <cx:pt idx="86966">4</cx:pt>
          <cx:pt idx="86967">1</cx:pt>
          <cx:pt idx="86968">4</cx:pt>
          <cx:pt idx="86969">4</cx:pt>
          <cx:pt idx="86970">1</cx:pt>
          <cx:pt idx="86971">1</cx:pt>
          <cx:pt idx="86972">3</cx:pt>
          <cx:pt idx="86973">4</cx:pt>
          <cx:pt idx="86974">5</cx:pt>
          <cx:pt idx="86975">3</cx:pt>
          <cx:pt idx="86976">4</cx:pt>
          <cx:pt idx="86977">5</cx:pt>
          <cx:pt idx="86978">3</cx:pt>
          <cx:pt idx="86979">5</cx:pt>
          <cx:pt idx="86980">4</cx:pt>
          <cx:pt idx="86981">4</cx:pt>
          <cx:pt idx="86982">5</cx:pt>
          <cx:pt idx="86983">5</cx:pt>
          <cx:pt idx="86984">4</cx:pt>
          <cx:pt idx="86985">2</cx:pt>
          <cx:pt idx="86986">4</cx:pt>
          <cx:pt idx="86987">4</cx:pt>
          <cx:pt idx="86988">4</cx:pt>
          <cx:pt idx="86989">5</cx:pt>
          <cx:pt idx="86990">3</cx:pt>
          <cx:pt idx="86991">5</cx:pt>
          <cx:pt idx="86992">5</cx:pt>
          <cx:pt idx="86993">3</cx:pt>
          <cx:pt idx="86994">2</cx:pt>
          <cx:pt idx="86995">4</cx:pt>
          <cx:pt idx="86996">3</cx:pt>
          <cx:pt idx="86997">5</cx:pt>
          <cx:pt idx="86998">4</cx:pt>
          <cx:pt idx="86999">4</cx:pt>
          <cx:pt idx="87000">5</cx:pt>
          <cx:pt idx="87001">5</cx:pt>
          <cx:pt idx="87002">1</cx:pt>
          <cx:pt idx="87003">2</cx:pt>
          <cx:pt idx="87004">3</cx:pt>
          <cx:pt idx="87005">3</cx:pt>
          <cx:pt idx="87006">5</cx:pt>
          <cx:pt idx="87007">4</cx:pt>
          <cx:pt idx="87008">3</cx:pt>
          <cx:pt idx="87009">4</cx:pt>
          <cx:pt idx="87010">5</cx:pt>
          <cx:pt idx="87011">2</cx:pt>
          <cx:pt idx="87012">4</cx:pt>
          <cx:pt idx="87013">4</cx:pt>
          <cx:pt idx="87014">5</cx:pt>
          <cx:pt idx="87015">3</cx:pt>
          <cx:pt idx="87016">2</cx:pt>
          <cx:pt idx="87017">4</cx:pt>
          <cx:pt idx="87018">4</cx:pt>
          <cx:pt idx="87019">1</cx:pt>
          <cx:pt idx="87020">3</cx:pt>
          <cx:pt idx="87021">1</cx:pt>
          <cx:pt idx="87022">5</cx:pt>
          <cx:pt idx="87023">1</cx:pt>
          <cx:pt idx="87024">5</cx:pt>
          <cx:pt idx="87025">4</cx:pt>
          <cx:pt idx="87026">2</cx:pt>
          <cx:pt idx="87027">4</cx:pt>
          <cx:pt idx="87028">2</cx:pt>
          <cx:pt idx="87029">3</cx:pt>
          <cx:pt idx="87030">1</cx:pt>
          <cx:pt idx="87031">2</cx:pt>
          <cx:pt idx="87032">1</cx:pt>
          <cx:pt idx="87033">4</cx:pt>
          <cx:pt idx="87034">4</cx:pt>
          <cx:pt idx="87035">3</cx:pt>
          <cx:pt idx="87036">3</cx:pt>
          <cx:pt idx="87037">4</cx:pt>
          <cx:pt idx="87038">2</cx:pt>
          <cx:pt idx="87039">1</cx:pt>
          <cx:pt idx="87040">4</cx:pt>
          <cx:pt idx="87041">1</cx:pt>
          <cx:pt idx="87042">4</cx:pt>
          <cx:pt idx="87043">5</cx:pt>
          <cx:pt idx="87044">1</cx:pt>
          <cx:pt idx="87045">4</cx:pt>
          <cx:pt idx="87046">3</cx:pt>
          <cx:pt idx="87047">4</cx:pt>
          <cx:pt idx="87048">5</cx:pt>
          <cx:pt idx="87049">5</cx:pt>
          <cx:pt idx="87050">4</cx:pt>
          <cx:pt idx="87051">3</cx:pt>
          <cx:pt idx="87052">3</cx:pt>
          <cx:pt idx="87053">3</cx:pt>
          <cx:pt idx="87054">4</cx:pt>
          <cx:pt idx="87055">3</cx:pt>
          <cx:pt idx="87056">5</cx:pt>
          <cx:pt idx="87057">2</cx:pt>
          <cx:pt idx="87058">4</cx:pt>
          <cx:pt idx="87059">5</cx:pt>
          <cx:pt idx="87060">2</cx:pt>
          <cx:pt idx="87061">4</cx:pt>
          <cx:pt idx="87062">3</cx:pt>
          <cx:pt idx="87063">4</cx:pt>
          <cx:pt idx="87064">3</cx:pt>
          <cx:pt idx="87065">5</cx:pt>
          <cx:pt idx="87066">3</cx:pt>
          <cx:pt idx="87067">1</cx:pt>
          <cx:pt idx="87068">1</cx:pt>
          <cx:pt idx="87069">2</cx:pt>
          <cx:pt idx="87070">2</cx:pt>
          <cx:pt idx="87071">5</cx:pt>
          <cx:pt idx="87072">2</cx:pt>
          <cx:pt idx="87073">1</cx:pt>
          <cx:pt idx="87074">3</cx:pt>
          <cx:pt idx="87075">4</cx:pt>
          <cx:pt idx="87076">1</cx:pt>
          <cx:pt idx="87077">3</cx:pt>
          <cx:pt idx="87078">1</cx:pt>
          <cx:pt idx="87079">3</cx:pt>
          <cx:pt idx="87080">5</cx:pt>
          <cx:pt idx="87081">4</cx:pt>
          <cx:pt idx="87082">5</cx:pt>
          <cx:pt idx="87083">4</cx:pt>
          <cx:pt idx="87084">5</cx:pt>
          <cx:pt idx="87085">1</cx:pt>
          <cx:pt idx="87086">2</cx:pt>
          <cx:pt idx="87087">5</cx:pt>
          <cx:pt idx="87088">2</cx:pt>
          <cx:pt idx="87089">2</cx:pt>
          <cx:pt idx="87090">5</cx:pt>
          <cx:pt idx="87091">3</cx:pt>
          <cx:pt idx="87092">3</cx:pt>
          <cx:pt idx="87093">1</cx:pt>
          <cx:pt idx="87094">5</cx:pt>
          <cx:pt idx="87095">4</cx:pt>
          <cx:pt idx="87096">5</cx:pt>
          <cx:pt idx="87097">4</cx:pt>
          <cx:pt idx="87098">2</cx:pt>
          <cx:pt idx="87099">5</cx:pt>
          <cx:pt idx="87100">4</cx:pt>
          <cx:pt idx="87101">2</cx:pt>
          <cx:pt idx="87102">5</cx:pt>
          <cx:pt idx="87103">5</cx:pt>
          <cx:pt idx="87104">5</cx:pt>
          <cx:pt idx="87105">4</cx:pt>
          <cx:pt idx="87106">3</cx:pt>
          <cx:pt idx="87107">5</cx:pt>
          <cx:pt idx="87108">5</cx:pt>
          <cx:pt idx="87109">5</cx:pt>
          <cx:pt idx="87110">1</cx:pt>
          <cx:pt idx="87111">4</cx:pt>
          <cx:pt idx="87112">3</cx:pt>
          <cx:pt idx="87113">2</cx:pt>
          <cx:pt idx="87114">1</cx:pt>
          <cx:pt idx="87115">4</cx:pt>
          <cx:pt idx="87116">4</cx:pt>
          <cx:pt idx="87117">2</cx:pt>
          <cx:pt idx="87118">5</cx:pt>
          <cx:pt idx="87119">3</cx:pt>
          <cx:pt idx="87120">4</cx:pt>
          <cx:pt idx="87121">4</cx:pt>
          <cx:pt idx="87122">2</cx:pt>
          <cx:pt idx="87123">4</cx:pt>
          <cx:pt idx="87124">1</cx:pt>
          <cx:pt idx="87125">1</cx:pt>
          <cx:pt idx="87126">3</cx:pt>
          <cx:pt idx="87127">5</cx:pt>
          <cx:pt idx="87128">5</cx:pt>
          <cx:pt idx="87129">4</cx:pt>
          <cx:pt idx="87130">1</cx:pt>
          <cx:pt idx="87131">1</cx:pt>
          <cx:pt idx="87132">4</cx:pt>
          <cx:pt idx="87133">4</cx:pt>
          <cx:pt idx="87134">4</cx:pt>
          <cx:pt idx="87135">5</cx:pt>
          <cx:pt idx="87136">4</cx:pt>
          <cx:pt idx="87137">4</cx:pt>
          <cx:pt idx="87138">5</cx:pt>
          <cx:pt idx="87139">4</cx:pt>
          <cx:pt idx="87140">5</cx:pt>
          <cx:pt idx="87141">5</cx:pt>
          <cx:pt idx="87142">2</cx:pt>
          <cx:pt idx="87143">3</cx:pt>
          <cx:pt idx="87144">4</cx:pt>
          <cx:pt idx="87145">4</cx:pt>
          <cx:pt idx="87146">3</cx:pt>
          <cx:pt idx="87147">4</cx:pt>
          <cx:pt idx="87148">4</cx:pt>
          <cx:pt idx="87149">5</cx:pt>
          <cx:pt idx="87150">3</cx:pt>
          <cx:pt idx="87151">3</cx:pt>
          <cx:pt idx="87152">4</cx:pt>
          <cx:pt idx="87153">3</cx:pt>
          <cx:pt idx="87154">5</cx:pt>
          <cx:pt idx="87155">4</cx:pt>
          <cx:pt idx="87156">5</cx:pt>
          <cx:pt idx="87157">4</cx:pt>
          <cx:pt idx="87158">5</cx:pt>
          <cx:pt idx="87159">3</cx:pt>
          <cx:pt idx="87160">1</cx:pt>
          <cx:pt idx="87161">4</cx:pt>
          <cx:pt idx="87162">5</cx:pt>
          <cx:pt idx="87163">4</cx:pt>
          <cx:pt idx="87164">3</cx:pt>
          <cx:pt idx="87165">5</cx:pt>
          <cx:pt idx="87166">3</cx:pt>
          <cx:pt idx="87167">4</cx:pt>
          <cx:pt idx="87168">1</cx:pt>
          <cx:pt idx="87169">3</cx:pt>
          <cx:pt idx="87170">4</cx:pt>
          <cx:pt idx="87171">3</cx:pt>
          <cx:pt idx="87172">4</cx:pt>
          <cx:pt idx="87173">3</cx:pt>
          <cx:pt idx="87174">2</cx:pt>
          <cx:pt idx="87175">4</cx:pt>
          <cx:pt idx="87176">4</cx:pt>
          <cx:pt idx="87177">3</cx:pt>
          <cx:pt idx="87178">1</cx:pt>
          <cx:pt idx="87179">4</cx:pt>
          <cx:pt idx="87180">5</cx:pt>
          <cx:pt idx="87181">4</cx:pt>
          <cx:pt idx="87182">4</cx:pt>
          <cx:pt idx="87183">5</cx:pt>
          <cx:pt idx="87184">3</cx:pt>
          <cx:pt idx="87185">5</cx:pt>
          <cx:pt idx="87186">4</cx:pt>
          <cx:pt idx="87187">2</cx:pt>
          <cx:pt idx="87188">4</cx:pt>
          <cx:pt idx="87189">2</cx:pt>
          <cx:pt idx="87190">2</cx:pt>
          <cx:pt idx="87191">4</cx:pt>
          <cx:pt idx="87192">4</cx:pt>
          <cx:pt idx="87193">4</cx:pt>
          <cx:pt idx="87194">3</cx:pt>
          <cx:pt idx="87195">1</cx:pt>
          <cx:pt idx="87196">5</cx:pt>
          <cx:pt idx="87197">3</cx:pt>
          <cx:pt idx="87198">1</cx:pt>
          <cx:pt idx="87199">1</cx:pt>
          <cx:pt idx="87200">1</cx:pt>
          <cx:pt idx="87201">3</cx:pt>
          <cx:pt idx="87202">5</cx:pt>
          <cx:pt idx="87203">5</cx:pt>
          <cx:pt idx="87204">3</cx:pt>
          <cx:pt idx="87205">1</cx:pt>
          <cx:pt idx="87206">5</cx:pt>
          <cx:pt idx="87207">4</cx:pt>
          <cx:pt idx="87208">3</cx:pt>
          <cx:pt idx="87209">3</cx:pt>
          <cx:pt idx="87210">5</cx:pt>
          <cx:pt idx="87211">1</cx:pt>
          <cx:pt idx="87212">3</cx:pt>
          <cx:pt idx="87213">3</cx:pt>
          <cx:pt idx="87214">1</cx:pt>
          <cx:pt idx="87215">3</cx:pt>
          <cx:pt idx="87216">4</cx:pt>
          <cx:pt idx="87217">3</cx:pt>
          <cx:pt idx="87218">2</cx:pt>
          <cx:pt idx="87219">4</cx:pt>
          <cx:pt idx="87220">4</cx:pt>
          <cx:pt idx="87221">2</cx:pt>
          <cx:pt idx="87222">5</cx:pt>
          <cx:pt idx="87223">3</cx:pt>
          <cx:pt idx="87224">5</cx:pt>
          <cx:pt idx="87225">4</cx:pt>
          <cx:pt idx="87226">5</cx:pt>
          <cx:pt idx="87227">5</cx:pt>
          <cx:pt idx="87228">2</cx:pt>
          <cx:pt idx="87229">4</cx:pt>
          <cx:pt idx="87230">1</cx:pt>
          <cx:pt idx="87231">5</cx:pt>
          <cx:pt idx="87232">5</cx:pt>
          <cx:pt idx="87233">3</cx:pt>
          <cx:pt idx="87234">5</cx:pt>
          <cx:pt idx="87235">3</cx:pt>
          <cx:pt idx="87236">3</cx:pt>
          <cx:pt idx="87237">4</cx:pt>
          <cx:pt idx="87238">4</cx:pt>
          <cx:pt idx="87239">5</cx:pt>
          <cx:pt idx="87240">5</cx:pt>
          <cx:pt idx="87241">5</cx:pt>
          <cx:pt idx="87242">5</cx:pt>
          <cx:pt idx="87243">4</cx:pt>
          <cx:pt idx="87244">4</cx:pt>
          <cx:pt idx="87245">4</cx:pt>
          <cx:pt idx="87246">4</cx:pt>
          <cx:pt idx="87247">4</cx:pt>
          <cx:pt idx="87248">5</cx:pt>
          <cx:pt idx="87249">1</cx:pt>
          <cx:pt idx="87250">2</cx:pt>
          <cx:pt idx="87251">4</cx:pt>
          <cx:pt idx="87252">2</cx:pt>
          <cx:pt idx="87253">5</cx:pt>
          <cx:pt idx="87254">4</cx:pt>
          <cx:pt idx="87255">2</cx:pt>
          <cx:pt idx="87256">5</cx:pt>
          <cx:pt idx="87257">4</cx:pt>
          <cx:pt idx="87258">4</cx:pt>
          <cx:pt idx="87259">5</cx:pt>
          <cx:pt idx="87260">3</cx:pt>
          <cx:pt idx="87261">1</cx:pt>
          <cx:pt idx="87262">5</cx:pt>
          <cx:pt idx="87263">2</cx:pt>
          <cx:pt idx="87264">3</cx:pt>
          <cx:pt idx="87265">3</cx:pt>
          <cx:pt idx="87266">1</cx:pt>
          <cx:pt idx="87267">3</cx:pt>
          <cx:pt idx="87268">5</cx:pt>
          <cx:pt idx="87269">5</cx:pt>
          <cx:pt idx="87270">4</cx:pt>
          <cx:pt idx="87271">4</cx:pt>
          <cx:pt idx="87272">3</cx:pt>
          <cx:pt idx="87273">3</cx:pt>
          <cx:pt idx="87274">3</cx:pt>
          <cx:pt idx="87275">3</cx:pt>
          <cx:pt idx="87276">3</cx:pt>
          <cx:pt idx="87277">2</cx:pt>
          <cx:pt idx="87278">4</cx:pt>
          <cx:pt idx="87279">2</cx:pt>
          <cx:pt idx="87280">1</cx:pt>
          <cx:pt idx="87281">4</cx:pt>
          <cx:pt idx="87282">2</cx:pt>
          <cx:pt idx="87283">5</cx:pt>
          <cx:pt idx="87284">4</cx:pt>
          <cx:pt idx="87285">2</cx:pt>
          <cx:pt idx="87286">4</cx:pt>
          <cx:pt idx="87287">2</cx:pt>
          <cx:pt idx="87288">4</cx:pt>
          <cx:pt idx="87289">4</cx:pt>
          <cx:pt idx="87290">1</cx:pt>
          <cx:pt idx="87291">5</cx:pt>
          <cx:pt idx="87292">3</cx:pt>
          <cx:pt idx="87293">4</cx:pt>
          <cx:pt idx="87294">5</cx:pt>
          <cx:pt idx="87295">1</cx:pt>
          <cx:pt idx="87296">3</cx:pt>
          <cx:pt idx="87297">4</cx:pt>
          <cx:pt idx="87298">5</cx:pt>
          <cx:pt idx="87299">2</cx:pt>
          <cx:pt idx="87300">3</cx:pt>
          <cx:pt idx="87301">4</cx:pt>
          <cx:pt idx="87302">4</cx:pt>
          <cx:pt idx="87303">3</cx:pt>
          <cx:pt idx="87304">5</cx:pt>
          <cx:pt idx="87305">1</cx:pt>
          <cx:pt idx="87306">3</cx:pt>
          <cx:pt idx="87307">3</cx:pt>
          <cx:pt idx="87308">2</cx:pt>
          <cx:pt idx="87309">5</cx:pt>
          <cx:pt idx="87310">3</cx:pt>
          <cx:pt idx="87311">5</cx:pt>
          <cx:pt idx="87312">5</cx:pt>
          <cx:pt idx="87313">3</cx:pt>
          <cx:pt idx="87314">5</cx:pt>
          <cx:pt idx="87315">2</cx:pt>
          <cx:pt idx="87316">3</cx:pt>
          <cx:pt idx="87317">5</cx:pt>
          <cx:pt idx="87318">4</cx:pt>
          <cx:pt idx="87319">5</cx:pt>
          <cx:pt idx="87320">3</cx:pt>
          <cx:pt idx="87321">3</cx:pt>
          <cx:pt idx="87322">5</cx:pt>
          <cx:pt idx="87323">1</cx:pt>
          <cx:pt idx="87324">4</cx:pt>
          <cx:pt idx="87325">3</cx:pt>
          <cx:pt idx="87326">5</cx:pt>
          <cx:pt idx="87327">3</cx:pt>
          <cx:pt idx="87328">5</cx:pt>
          <cx:pt idx="87329">1</cx:pt>
          <cx:pt idx="87330">3</cx:pt>
          <cx:pt idx="87331">4</cx:pt>
          <cx:pt idx="87332">5</cx:pt>
          <cx:pt idx="87333">3</cx:pt>
          <cx:pt idx="87334">3</cx:pt>
          <cx:pt idx="87335">2</cx:pt>
          <cx:pt idx="87336">1</cx:pt>
          <cx:pt idx="87337">5</cx:pt>
          <cx:pt idx="87338">4</cx:pt>
          <cx:pt idx="87339">5</cx:pt>
          <cx:pt idx="87340">4</cx:pt>
          <cx:pt idx="87341">3</cx:pt>
          <cx:pt idx="87342">2</cx:pt>
          <cx:pt idx="87343">2</cx:pt>
          <cx:pt idx="87344">1</cx:pt>
          <cx:pt idx="87345">5</cx:pt>
          <cx:pt idx="87346">3</cx:pt>
          <cx:pt idx="87347">5</cx:pt>
          <cx:pt idx="87348">4</cx:pt>
          <cx:pt idx="87349">5</cx:pt>
          <cx:pt idx="87350">2</cx:pt>
          <cx:pt idx="87351">4</cx:pt>
          <cx:pt idx="87352">2</cx:pt>
          <cx:pt idx="87353">1</cx:pt>
          <cx:pt idx="87354">1</cx:pt>
          <cx:pt idx="87355">2</cx:pt>
          <cx:pt idx="87356">3</cx:pt>
          <cx:pt idx="87357">4</cx:pt>
          <cx:pt idx="87358">5</cx:pt>
          <cx:pt idx="87359">3</cx:pt>
          <cx:pt idx="87360">1</cx:pt>
          <cx:pt idx="87361">3</cx:pt>
          <cx:pt idx="87362">4</cx:pt>
          <cx:pt idx="87363">4</cx:pt>
          <cx:pt idx="87364">4</cx:pt>
          <cx:pt idx="87365">5</cx:pt>
          <cx:pt idx="87366">2</cx:pt>
          <cx:pt idx="87367">5</cx:pt>
          <cx:pt idx="87368">2</cx:pt>
          <cx:pt idx="87369">4</cx:pt>
          <cx:pt idx="87370">3</cx:pt>
          <cx:pt idx="87371">3</cx:pt>
          <cx:pt idx="87372">1</cx:pt>
          <cx:pt idx="87373">5</cx:pt>
          <cx:pt idx="87374">1</cx:pt>
          <cx:pt idx="87375">3</cx:pt>
          <cx:pt idx="87376">2</cx:pt>
          <cx:pt idx="87377">2</cx:pt>
          <cx:pt idx="87378">5</cx:pt>
          <cx:pt idx="87379">5</cx:pt>
          <cx:pt idx="87380">2</cx:pt>
          <cx:pt idx="87381">4</cx:pt>
          <cx:pt idx="87382">4</cx:pt>
          <cx:pt idx="87383">3</cx:pt>
          <cx:pt idx="87384">5</cx:pt>
          <cx:pt idx="87385">3</cx:pt>
          <cx:pt idx="87386">2</cx:pt>
          <cx:pt idx="87387">4</cx:pt>
          <cx:pt idx="87388">4</cx:pt>
          <cx:pt idx="87389">1</cx:pt>
          <cx:pt idx="87390">5</cx:pt>
          <cx:pt idx="87391">5</cx:pt>
          <cx:pt idx="87392">5</cx:pt>
          <cx:pt idx="87393">4</cx:pt>
          <cx:pt idx="87394">1</cx:pt>
          <cx:pt idx="87395">4</cx:pt>
          <cx:pt idx="87396">3</cx:pt>
          <cx:pt idx="87397">5</cx:pt>
          <cx:pt idx="87398">4</cx:pt>
          <cx:pt idx="87399">1</cx:pt>
          <cx:pt idx="87400">5</cx:pt>
          <cx:pt idx="87401">5</cx:pt>
          <cx:pt idx="87402">2</cx:pt>
          <cx:pt idx="87403">5</cx:pt>
          <cx:pt idx="87404">4</cx:pt>
          <cx:pt idx="87405">2</cx:pt>
          <cx:pt idx="87406">1</cx:pt>
          <cx:pt idx="87407">4</cx:pt>
          <cx:pt idx="87408">4</cx:pt>
          <cx:pt idx="87409">2</cx:pt>
          <cx:pt idx="87410">4</cx:pt>
          <cx:pt idx="87411">4</cx:pt>
          <cx:pt idx="87412">4</cx:pt>
          <cx:pt idx="87413">3</cx:pt>
          <cx:pt idx="87414">4</cx:pt>
          <cx:pt idx="87415">3</cx:pt>
          <cx:pt idx="87416">5</cx:pt>
          <cx:pt idx="87417">5</cx:pt>
          <cx:pt idx="87418">5</cx:pt>
          <cx:pt idx="87419">3</cx:pt>
          <cx:pt idx="87420">4</cx:pt>
          <cx:pt idx="87421">5</cx:pt>
          <cx:pt idx="87422">3</cx:pt>
          <cx:pt idx="87423">5</cx:pt>
          <cx:pt idx="87424">4</cx:pt>
          <cx:pt idx="87425">5</cx:pt>
          <cx:pt idx="87426">2</cx:pt>
          <cx:pt idx="87427">4</cx:pt>
          <cx:pt idx="87428">3</cx:pt>
          <cx:pt idx="87429">5</cx:pt>
          <cx:pt idx="87430">5</cx:pt>
          <cx:pt idx="87431">3</cx:pt>
          <cx:pt idx="87432">1</cx:pt>
          <cx:pt idx="87433">5</cx:pt>
          <cx:pt idx="87434">4</cx:pt>
          <cx:pt idx="87435">3</cx:pt>
          <cx:pt idx="87436">5</cx:pt>
          <cx:pt idx="87437">4</cx:pt>
          <cx:pt idx="87438">4</cx:pt>
          <cx:pt idx="87439">5</cx:pt>
          <cx:pt idx="87440">1</cx:pt>
          <cx:pt idx="87441">3</cx:pt>
          <cx:pt idx="87442">3</cx:pt>
          <cx:pt idx="87443">5</cx:pt>
          <cx:pt idx="87444">4</cx:pt>
          <cx:pt idx="87445">1</cx:pt>
          <cx:pt idx="87446">4</cx:pt>
          <cx:pt idx="87447">4</cx:pt>
          <cx:pt idx="87448">3</cx:pt>
          <cx:pt idx="87449">3</cx:pt>
          <cx:pt idx="87450">4</cx:pt>
          <cx:pt idx="87451">2</cx:pt>
          <cx:pt idx="87452">4</cx:pt>
          <cx:pt idx="87453">3</cx:pt>
          <cx:pt idx="87454">3</cx:pt>
          <cx:pt idx="87455">5</cx:pt>
          <cx:pt idx="87456">5</cx:pt>
          <cx:pt idx="87457">3</cx:pt>
          <cx:pt idx="87458">4</cx:pt>
          <cx:pt idx="87459">4</cx:pt>
          <cx:pt idx="87460">5</cx:pt>
          <cx:pt idx="87461">3</cx:pt>
          <cx:pt idx="87462">4</cx:pt>
          <cx:pt idx="87463">5</cx:pt>
          <cx:pt idx="87464">5</cx:pt>
          <cx:pt idx="87465">5</cx:pt>
          <cx:pt idx="87466">5</cx:pt>
          <cx:pt idx="87467">4</cx:pt>
          <cx:pt idx="87468">4</cx:pt>
          <cx:pt idx="87469">3</cx:pt>
          <cx:pt idx="87470">1</cx:pt>
          <cx:pt idx="87471">3</cx:pt>
          <cx:pt idx="87472">3</cx:pt>
          <cx:pt idx="87473">2</cx:pt>
          <cx:pt idx="87474">4</cx:pt>
          <cx:pt idx="87475">4</cx:pt>
          <cx:pt idx="87476">4</cx:pt>
          <cx:pt idx="87477">5</cx:pt>
          <cx:pt idx="87478">1</cx:pt>
          <cx:pt idx="87479">2</cx:pt>
          <cx:pt idx="87480">5</cx:pt>
          <cx:pt idx="87481">5</cx:pt>
          <cx:pt idx="87482">3</cx:pt>
          <cx:pt idx="87483">4</cx:pt>
          <cx:pt idx="87484">4</cx:pt>
          <cx:pt idx="87485">5</cx:pt>
          <cx:pt idx="87486">4</cx:pt>
          <cx:pt idx="87487">3</cx:pt>
          <cx:pt idx="87488">5</cx:pt>
          <cx:pt idx="87489">4</cx:pt>
          <cx:pt idx="87490">5</cx:pt>
          <cx:pt idx="87491">4</cx:pt>
          <cx:pt idx="87492">3</cx:pt>
          <cx:pt idx="87493">5</cx:pt>
          <cx:pt idx="87494">4</cx:pt>
          <cx:pt idx="87495">5</cx:pt>
          <cx:pt idx="87496">5</cx:pt>
          <cx:pt idx="87497">4</cx:pt>
          <cx:pt idx="87498">2</cx:pt>
          <cx:pt idx="87499">4</cx:pt>
          <cx:pt idx="87500">1</cx:pt>
          <cx:pt idx="87501">3</cx:pt>
          <cx:pt idx="87502">5</cx:pt>
          <cx:pt idx="87503">2</cx:pt>
          <cx:pt idx="87504">5</cx:pt>
          <cx:pt idx="87505">4</cx:pt>
          <cx:pt idx="87506">4</cx:pt>
          <cx:pt idx="87507">4</cx:pt>
          <cx:pt idx="87508">4</cx:pt>
          <cx:pt idx="87509">4</cx:pt>
          <cx:pt idx="87510">4</cx:pt>
          <cx:pt idx="87511">4</cx:pt>
          <cx:pt idx="87512">4</cx:pt>
          <cx:pt idx="87513">5</cx:pt>
          <cx:pt idx="87514">4</cx:pt>
          <cx:pt idx="87515">4</cx:pt>
          <cx:pt idx="87516">4</cx:pt>
          <cx:pt idx="87517">5</cx:pt>
          <cx:pt idx="87518">4</cx:pt>
          <cx:pt idx="87519">5</cx:pt>
          <cx:pt idx="87520">3</cx:pt>
          <cx:pt idx="87521">1</cx:pt>
          <cx:pt idx="87522">2</cx:pt>
          <cx:pt idx="87523">4</cx:pt>
          <cx:pt idx="87524">1</cx:pt>
          <cx:pt idx="87525">3</cx:pt>
          <cx:pt idx="87526">2</cx:pt>
          <cx:pt idx="87527">4</cx:pt>
          <cx:pt idx="87528">4</cx:pt>
          <cx:pt idx="87529">4</cx:pt>
          <cx:pt idx="87530">1</cx:pt>
          <cx:pt idx="87531">4</cx:pt>
          <cx:pt idx="87532">1</cx:pt>
          <cx:pt idx="87533">4</cx:pt>
          <cx:pt idx="87534">1</cx:pt>
          <cx:pt idx="87535">5</cx:pt>
          <cx:pt idx="87536">4</cx:pt>
          <cx:pt idx="87537">4</cx:pt>
          <cx:pt idx="87538">3</cx:pt>
          <cx:pt idx="87539">4</cx:pt>
          <cx:pt idx="87540">4</cx:pt>
          <cx:pt idx="87541">1</cx:pt>
          <cx:pt idx="87542">2</cx:pt>
          <cx:pt idx="87543">3</cx:pt>
          <cx:pt idx="87544">3</cx:pt>
          <cx:pt idx="87545">3</cx:pt>
          <cx:pt idx="87546">2</cx:pt>
          <cx:pt idx="87547">4</cx:pt>
          <cx:pt idx="87548">4</cx:pt>
          <cx:pt idx="87549">2</cx:pt>
          <cx:pt idx="87550">5</cx:pt>
          <cx:pt idx="87551">3</cx:pt>
          <cx:pt idx="87552">3</cx:pt>
          <cx:pt idx="87553">2</cx:pt>
          <cx:pt idx="87554">3</cx:pt>
          <cx:pt idx="87555">4</cx:pt>
          <cx:pt idx="87556">5</cx:pt>
          <cx:pt idx="87557">5</cx:pt>
          <cx:pt idx="87558">5</cx:pt>
          <cx:pt idx="87559">3</cx:pt>
          <cx:pt idx="87560">5</cx:pt>
          <cx:pt idx="87561">4</cx:pt>
          <cx:pt idx="87562">4</cx:pt>
          <cx:pt idx="87563">2</cx:pt>
          <cx:pt idx="87564">5</cx:pt>
          <cx:pt idx="87565">2</cx:pt>
          <cx:pt idx="87566">5</cx:pt>
          <cx:pt idx="87567">2</cx:pt>
          <cx:pt idx="87568">5</cx:pt>
          <cx:pt idx="87569">4</cx:pt>
          <cx:pt idx="87570">3</cx:pt>
          <cx:pt idx="87571">3</cx:pt>
          <cx:pt idx="87572">3</cx:pt>
          <cx:pt idx="87573">1</cx:pt>
          <cx:pt idx="87574">4</cx:pt>
          <cx:pt idx="87575">1</cx:pt>
          <cx:pt idx="87576">3</cx:pt>
          <cx:pt idx="87577">1</cx:pt>
          <cx:pt idx="87578">4</cx:pt>
          <cx:pt idx="87579">3</cx:pt>
          <cx:pt idx="87580">4</cx:pt>
          <cx:pt idx="87581">2</cx:pt>
          <cx:pt idx="87582">5</cx:pt>
          <cx:pt idx="87583">5</cx:pt>
          <cx:pt idx="87584">3</cx:pt>
          <cx:pt idx="87585">4</cx:pt>
          <cx:pt idx="87586">5</cx:pt>
          <cx:pt idx="87587">3</cx:pt>
          <cx:pt idx="87588">3</cx:pt>
          <cx:pt idx="87589">3</cx:pt>
          <cx:pt idx="87590">5</cx:pt>
          <cx:pt idx="87591">4</cx:pt>
          <cx:pt idx="87592">2</cx:pt>
          <cx:pt idx="87593">4</cx:pt>
          <cx:pt idx="87594">4</cx:pt>
          <cx:pt idx="87595">3</cx:pt>
          <cx:pt idx="87596">4</cx:pt>
          <cx:pt idx="87597">5</cx:pt>
          <cx:pt idx="87598">1</cx:pt>
          <cx:pt idx="87599">3</cx:pt>
          <cx:pt idx="87600">3</cx:pt>
          <cx:pt idx="87601">3</cx:pt>
          <cx:pt idx="87602">4</cx:pt>
          <cx:pt idx="87603">3</cx:pt>
          <cx:pt idx="87604">1</cx:pt>
          <cx:pt idx="87605">5</cx:pt>
          <cx:pt idx="87606">4</cx:pt>
          <cx:pt idx="87607">4</cx:pt>
          <cx:pt idx="87608">4</cx:pt>
          <cx:pt idx="87609">1</cx:pt>
          <cx:pt idx="87610">3</cx:pt>
          <cx:pt idx="87611">1</cx:pt>
          <cx:pt idx="87612">5</cx:pt>
          <cx:pt idx="87613">3</cx:pt>
          <cx:pt idx="87614">5</cx:pt>
          <cx:pt idx="87615">3</cx:pt>
          <cx:pt idx="87616">4</cx:pt>
          <cx:pt idx="87617">1</cx:pt>
          <cx:pt idx="87618">5</cx:pt>
          <cx:pt idx="87619">5</cx:pt>
          <cx:pt idx="87620">4</cx:pt>
          <cx:pt idx="87621">2</cx:pt>
          <cx:pt idx="87622">3</cx:pt>
          <cx:pt idx="87623">5</cx:pt>
          <cx:pt idx="87624">4</cx:pt>
          <cx:pt idx="87625">1</cx:pt>
          <cx:pt idx="87626">5</cx:pt>
          <cx:pt idx="87627">3</cx:pt>
          <cx:pt idx="87628">2</cx:pt>
          <cx:pt idx="87629">5</cx:pt>
          <cx:pt idx="87630">2</cx:pt>
          <cx:pt idx="87631">2</cx:pt>
          <cx:pt idx="87632">4</cx:pt>
          <cx:pt idx="87633">3</cx:pt>
          <cx:pt idx="87634">4</cx:pt>
          <cx:pt idx="87635">2</cx:pt>
          <cx:pt idx="87636">3</cx:pt>
          <cx:pt idx="87637">5</cx:pt>
          <cx:pt idx="87638">4</cx:pt>
          <cx:pt idx="87639">4</cx:pt>
          <cx:pt idx="87640">3</cx:pt>
          <cx:pt idx="87641">1</cx:pt>
          <cx:pt idx="87642">3</cx:pt>
          <cx:pt idx="87643">4</cx:pt>
          <cx:pt idx="87644">4</cx:pt>
          <cx:pt idx="87645">2</cx:pt>
          <cx:pt idx="87646">3</cx:pt>
          <cx:pt idx="87647">1</cx:pt>
          <cx:pt idx="87648">4</cx:pt>
          <cx:pt idx="87649">3</cx:pt>
          <cx:pt idx="87650">4</cx:pt>
          <cx:pt idx="87651">4</cx:pt>
          <cx:pt idx="87652">2</cx:pt>
          <cx:pt idx="87653">5</cx:pt>
          <cx:pt idx="87654">5</cx:pt>
          <cx:pt idx="87655">3</cx:pt>
          <cx:pt idx="87656">5</cx:pt>
          <cx:pt idx="87657">5</cx:pt>
          <cx:pt idx="87658">2</cx:pt>
          <cx:pt idx="87659">5</cx:pt>
          <cx:pt idx="87660">1</cx:pt>
          <cx:pt idx="87661">3</cx:pt>
          <cx:pt idx="87662">3</cx:pt>
          <cx:pt idx="87663">3</cx:pt>
          <cx:pt idx="87664">3</cx:pt>
          <cx:pt idx="87665">5</cx:pt>
          <cx:pt idx="87666">3</cx:pt>
          <cx:pt idx="87667">5</cx:pt>
          <cx:pt idx="87668">2</cx:pt>
          <cx:pt idx="87669">2</cx:pt>
          <cx:pt idx="87670">5</cx:pt>
          <cx:pt idx="87671">5</cx:pt>
          <cx:pt idx="87672">1</cx:pt>
          <cx:pt idx="87673">4</cx:pt>
          <cx:pt idx="87674">3</cx:pt>
          <cx:pt idx="87675">3</cx:pt>
          <cx:pt idx="87676">5</cx:pt>
          <cx:pt idx="87677">4</cx:pt>
          <cx:pt idx="87678">4</cx:pt>
          <cx:pt idx="87679">3</cx:pt>
          <cx:pt idx="87680">3</cx:pt>
          <cx:pt idx="87681">5</cx:pt>
          <cx:pt idx="87682">4</cx:pt>
          <cx:pt idx="87683">2</cx:pt>
          <cx:pt idx="87684">5</cx:pt>
          <cx:pt idx="87685">2</cx:pt>
          <cx:pt idx="87686">2</cx:pt>
          <cx:pt idx="87687">1</cx:pt>
          <cx:pt idx="87688">4</cx:pt>
          <cx:pt idx="87689">3</cx:pt>
          <cx:pt idx="87690">4</cx:pt>
          <cx:pt idx="87691">2</cx:pt>
          <cx:pt idx="87692">1</cx:pt>
          <cx:pt idx="87693">5</cx:pt>
          <cx:pt idx="87694">5</cx:pt>
          <cx:pt idx="87695">2</cx:pt>
          <cx:pt idx="87696">5</cx:pt>
          <cx:pt idx="87697">1</cx:pt>
          <cx:pt idx="87698">5</cx:pt>
          <cx:pt idx="87699">4</cx:pt>
          <cx:pt idx="87700">1</cx:pt>
          <cx:pt idx="87701">3</cx:pt>
          <cx:pt idx="87702">3</cx:pt>
          <cx:pt idx="87703">3</cx:pt>
          <cx:pt idx="87704">4</cx:pt>
          <cx:pt idx="87705">5</cx:pt>
          <cx:pt idx="87706">1</cx:pt>
          <cx:pt idx="87707">4</cx:pt>
          <cx:pt idx="87708">4</cx:pt>
          <cx:pt idx="87709">3</cx:pt>
          <cx:pt idx="87710">3</cx:pt>
          <cx:pt idx="87711">4</cx:pt>
          <cx:pt idx="87712">5</cx:pt>
          <cx:pt idx="87713">3</cx:pt>
          <cx:pt idx="87714">1</cx:pt>
          <cx:pt idx="87715">5</cx:pt>
          <cx:pt idx="87716">4</cx:pt>
          <cx:pt idx="87717">4</cx:pt>
          <cx:pt idx="87718">3</cx:pt>
          <cx:pt idx="87719">5</cx:pt>
          <cx:pt idx="87720">4</cx:pt>
          <cx:pt idx="87721">5</cx:pt>
          <cx:pt idx="87722">4</cx:pt>
          <cx:pt idx="87723">3</cx:pt>
          <cx:pt idx="87724">4</cx:pt>
          <cx:pt idx="87725">5</cx:pt>
          <cx:pt idx="87726">5</cx:pt>
          <cx:pt idx="87727">4</cx:pt>
          <cx:pt idx="87728">2</cx:pt>
          <cx:pt idx="87729">5</cx:pt>
          <cx:pt idx="87730">3</cx:pt>
          <cx:pt idx="87731">4</cx:pt>
          <cx:pt idx="87732">5</cx:pt>
          <cx:pt idx="87733">5</cx:pt>
          <cx:pt idx="87734">3</cx:pt>
          <cx:pt idx="87735">4</cx:pt>
          <cx:pt idx="87736">3</cx:pt>
          <cx:pt idx="87737">4</cx:pt>
          <cx:pt idx="87738">3</cx:pt>
          <cx:pt idx="87739">2</cx:pt>
          <cx:pt idx="87740">4</cx:pt>
          <cx:pt idx="87741">5</cx:pt>
          <cx:pt idx="87742">1</cx:pt>
          <cx:pt idx="87743">1</cx:pt>
          <cx:pt idx="87744">5</cx:pt>
          <cx:pt idx="87745">1</cx:pt>
          <cx:pt idx="87746">4</cx:pt>
          <cx:pt idx="87747">5</cx:pt>
          <cx:pt idx="87748">2</cx:pt>
          <cx:pt idx="87749">2</cx:pt>
          <cx:pt idx="87750">3</cx:pt>
          <cx:pt idx="87751">3</cx:pt>
          <cx:pt idx="87752">3</cx:pt>
          <cx:pt idx="87753">4</cx:pt>
          <cx:pt idx="87754">2</cx:pt>
          <cx:pt idx="87755">4</cx:pt>
          <cx:pt idx="87756">2</cx:pt>
          <cx:pt idx="87757">4</cx:pt>
          <cx:pt idx="87758">2</cx:pt>
          <cx:pt idx="87759">5</cx:pt>
          <cx:pt idx="87760">5</cx:pt>
          <cx:pt idx="87761">5</cx:pt>
          <cx:pt idx="87762">4</cx:pt>
          <cx:pt idx="87763">3</cx:pt>
          <cx:pt idx="87764">5</cx:pt>
          <cx:pt idx="87765">5</cx:pt>
          <cx:pt idx="87766">3</cx:pt>
          <cx:pt idx="87767">3</cx:pt>
          <cx:pt idx="87768">5</cx:pt>
          <cx:pt idx="87769">4</cx:pt>
          <cx:pt idx="87770">4</cx:pt>
          <cx:pt idx="87771">5</cx:pt>
          <cx:pt idx="87772">3</cx:pt>
          <cx:pt idx="87773">5</cx:pt>
          <cx:pt idx="87774">5</cx:pt>
          <cx:pt idx="87775">5</cx:pt>
          <cx:pt idx="87776">3</cx:pt>
          <cx:pt idx="87777">4</cx:pt>
          <cx:pt idx="87778">5</cx:pt>
          <cx:pt idx="87779">4</cx:pt>
          <cx:pt idx="87780">1</cx:pt>
          <cx:pt idx="87781">2</cx:pt>
          <cx:pt idx="87782">4</cx:pt>
          <cx:pt idx="87783">4</cx:pt>
          <cx:pt idx="87784">4</cx:pt>
          <cx:pt idx="87785">4</cx:pt>
          <cx:pt idx="87786">4</cx:pt>
          <cx:pt idx="87787">2</cx:pt>
          <cx:pt idx="87788">4</cx:pt>
          <cx:pt idx="87789">4</cx:pt>
          <cx:pt idx="87790">1</cx:pt>
          <cx:pt idx="87791">4</cx:pt>
          <cx:pt idx="87792">5</cx:pt>
          <cx:pt idx="87793">5</cx:pt>
          <cx:pt idx="87794">4</cx:pt>
          <cx:pt idx="87795">4</cx:pt>
          <cx:pt idx="87796">4</cx:pt>
          <cx:pt idx="87797">5</cx:pt>
          <cx:pt idx="87798">1</cx:pt>
          <cx:pt idx="87799">2</cx:pt>
          <cx:pt idx="87800">4</cx:pt>
          <cx:pt idx="87801">2</cx:pt>
          <cx:pt idx="87802">2</cx:pt>
          <cx:pt idx="87803">3</cx:pt>
          <cx:pt idx="87804">4</cx:pt>
          <cx:pt idx="87805">5</cx:pt>
          <cx:pt idx="87806">4</cx:pt>
          <cx:pt idx="87807">1</cx:pt>
          <cx:pt idx="87808">2</cx:pt>
          <cx:pt idx="87809">4</cx:pt>
          <cx:pt idx="87810">4</cx:pt>
          <cx:pt idx="87811">4</cx:pt>
          <cx:pt idx="87812">4</cx:pt>
          <cx:pt idx="87813">1</cx:pt>
          <cx:pt idx="87814">2</cx:pt>
          <cx:pt idx="87815">3</cx:pt>
          <cx:pt idx="87816">2</cx:pt>
          <cx:pt idx="87817">3</cx:pt>
          <cx:pt idx="87818">3</cx:pt>
          <cx:pt idx="87819">4</cx:pt>
          <cx:pt idx="87820">4</cx:pt>
          <cx:pt idx="87821">5</cx:pt>
          <cx:pt idx="87822">5</cx:pt>
          <cx:pt idx="87823">1</cx:pt>
          <cx:pt idx="87824">4</cx:pt>
          <cx:pt idx="87825">2</cx:pt>
          <cx:pt idx="87826">4</cx:pt>
          <cx:pt idx="87827">3</cx:pt>
          <cx:pt idx="87828">2</cx:pt>
          <cx:pt idx="87829">4</cx:pt>
          <cx:pt idx="87830">5</cx:pt>
          <cx:pt idx="87831">5</cx:pt>
          <cx:pt idx="87832">5</cx:pt>
          <cx:pt idx="87833">1</cx:pt>
          <cx:pt idx="87834">5</cx:pt>
          <cx:pt idx="87835">4</cx:pt>
          <cx:pt idx="87836">3</cx:pt>
          <cx:pt idx="87837">3</cx:pt>
          <cx:pt idx="87838">4</cx:pt>
          <cx:pt idx="87839">4</cx:pt>
          <cx:pt idx="87840">1</cx:pt>
          <cx:pt idx="87841">2</cx:pt>
          <cx:pt idx="87842">4</cx:pt>
          <cx:pt idx="87843">4</cx:pt>
          <cx:pt idx="87844">2</cx:pt>
          <cx:pt idx="87845">5</cx:pt>
          <cx:pt idx="87846">5</cx:pt>
          <cx:pt idx="87847">4</cx:pt>
          <cx:pt idx="87848">1</cx:pt>
          <cx:pt idx="87849">2</cx:pt>
          <cx:pt idx="87850">5</cx:pt>
          <cx:pt idx="87851">3</cx:pt>
          <cx:pt idx="87852">3</cx:pt>
          <cx:pt idx="87853">4</cx:pt>
          <cx:pt idx="87854">5</cx:pt>
          <cx:pt idx="87855">4</cx:pt>
          <cx:pt idx="87856">1</cx:pt>
          <cx:pt idx="87857">3</cx:pt>
          <cx:pt idx="87858">3</cx:pt>
          <cx:pt idx="87859">3</cx:pt>
          <cx:pt idx="87860">5</cx:pt>
          <cx:pt idx="87861">5</cx:pt>
          <cx:pt idx="87862">3</cx:pt>
          <cx:pt idx="87863">4</cx:pt>
          <cx:pt idx="87864">4</cx:pt>
          <cx:pt idx="87865">4</cx:pt>
          <cx:pt idx="87866">4</cx:pt>
          <cx:pt idx="87867">1</cx:pt>
          <cx:pt idx="87868">5</cx:pt>
          <cx:pt idx="87869">2</cx:pt>
          <cx:pt idx="87870">5</cx:pt>
          <cx:pt idx="87871">4</cx:pt>
          <cx:pt idx="87872">2</cx:pt>
          <cx:pt idx="87873">5</cx:pt>
          <cx:pt idx="87874">1</cx:pt>
          <cx:pt idx="87875">5</cx:pt>
          <cx:pt idx="87876">2</cx:pt>
          <cx:pt idx="87877">1</cx:pt>
          <cx:pt idx="87878">1</cx:pt>
          <cx:pt idx="87879">4</cx:pt>
          <cx:pt idx="87880">4</cx:pt>
          <cx:pt idx="87881">5</cx:pt>
          <cx:pt idx="87882">4</cx:pt>
          <cx:pt idx="87883">5</cx:pt>
          <cx:pt idx="87884">5</cx:pt>
          <cx:pt idx="87885">5</cx:pt>
          <cx:pt idx="87886">3</cx:pt>
          <cx:pt idx="87887">5</cx:pt>
          <cx:pt idx="87888">5</cx:pt>
          <cx:pt idx="87889">4</cx:pt>
          <cx:pt idx="87890">5</cx:pt>
          <cx:pt idx="87891">1</cx:pt>
          <cx:pt idx="87892">5</cx:pt>
          <cx:pt idx="87893">5</cx:pt>
          <cx:pt idx="87894">4</cx:pt>
          <cx:pt idx="87895">5</cx:pt>
          <cx:pt idx="87896">2</cx:pt>
          <cx:pt idx="87897">5</cx:pt>
          <cx:pt idx="87898">4</cx:pt>
          <cx:pt idx="87899">5</cx:pt>
          <cx:pt idx="87900">4</cx:pt>
          <cx:pt idx="87901">1</cx:pt>
          <cx:pt idx="87902">3</cx:pt>
          <cx:pt idx="87903">4</cx:pt>
          <cx:pt idx="87904">5</cx:pt>
          <cx:pt idx="87905">5</cx:pt>
          <cx:pt idx="87906">4</cx:pt>
          <cx:pt idx="87907">2</cx:pt>
          <cx:pt idx="87908">3</cx:pt>
          <cx:pt idx="87909">3</cx:pt>
          <cx:pt idx="87910">4</cx:pt>
          <cx:pt idx="87911">5</cx:pt>
          <cx:pt idx="87912">2</cx:pt>
          <cx:pt idx="87913">5</cx:pt>
          <cx:pt idx="87914">3</cx:pt>
          <cx:pt idx="87915">3</cx:pt>
          <cx:pt idx="87916">3</cx:pt>
          <cx:pt idx="87917">1</cx:pt>
          <cx:pt idx="87918">3</cx:pt>
          <cx:pt idx="87919">1</cx:pt>
          <cx:pt idx="87920">4</cx:pt>
          <cx:pt idx="87921">5</cx:pt>
          <cx:pt idx="87922">5</cx:pt>
          <cx:pt idx="87923">3</cx:pt>
          <cx:pt idx="87924">4</cx:pt>
          <cx:pt idx="87925">3</cx:pt>
          <cx:pt idx="87926">5</cx:pt>
          <cx:pt idx="87927">2</cx:pt>
          <cx:pt idx="87928">3</cx:pt>
          <cx:pt idx="87929">2</cx:pt>
          <cx:pt idx="87930">3</cx:pt>
          <cx:pt idx="87931">1</cx:pt>
          <cx:pt idx="87932">1</cx:pt>
          <cx:pt idx="87933">4</cx:pt>
          <cx:pt idx="87934">3</cx:pt>
          <cx:pt idx="87935">3</cx:pt>
          <cx:pt idx="87936">5</cx:pt>
          <cx:pt idx="87937">3</cx:pt>
          <cx:pt idx="87938">4</cx:pt>
          <cx:pt idx="87939">4</cx:pt>
          <cx:pt idx="87940">4</cx:pt>
          <cx:pt idx="87941">4</cx:pt>
          <cx:pt idx="87942">2</cx:pt>
          <cx:pt idx="87943">4</cx:pt>
          <cx:pt idx="87944">4</cx:pt>
          <cx:pt idx="87945">4</cx:pt>
          <cx:pt idx="87946">4</cx:pt>
          <cx:pt idx="87947">4</cx:pt>
          <cx:pt idx="87948">5</cx:pt>
          <cx:pt idx="87949">3</cx:pt>
          <cx:pt idx="87950">1</cx:pt>
          <cx:pt idx="87951">4</cx:pt>
          <cx:pt idx="87952">5</cx:pt>
          <cx:pt idx="87953">4</cx:pt>
          <cx:pt idx="87954">4</cx:pt>
          <cx:pt idx="87955">4</cx:pt>
          <cx:pt idx="87956">5</cx:pt>
          <cx:pt idx="87957">2</cx:pt>
          <cx:pt idx="87958">4</cx:pt>
          <cx:pt idx="87959">4</cx:pt>
          <cx:pt idx="87960">2</cx:pt>
          <cx:pt idx="87961">4</cx:pt>
          <cx:pt idx="87962">1</cx:pt>
          <cx:pt idx="87963">5</cx:pt>
          <cx:pt idx="87964">3</cx:pt>
          <cx:pt idx="87965">2</cx:pt>
          <cx:pt idx="87966">2</cx:pt>
          <cx:pt idx="87967">5</cx:pt>
          <cx:pt idx="87968">4</cx:pt>
          <cx:pt idx="87969">3</cx:pt>
          <cx:pt idx="87970">4</cx:pt>
          <cx:pt idx="87971">5</cx:pt>
          <cx:pt idx="87972">5</cx:pt>
          <cx:pt idx="87973">1</cx:pt>
          <cx:pt idx="87974">5</cx:pt>
          <cx:pt idx="87975">3</cx:pt>
          <cx:pt idx="87976">2</cx:pt>
          <cx:pt idx="87977">1</cx:pt>
          <cx:pt idx="87978">5</cx:pt>
          <cx:pt idx="87979">2</cx:pt>
          <cx:pt idx="87980">5</cx:pt>
          <cx:pt idx="87981">4</cx:pt>
          <cx:pt idx="87982">5</cx:pt>
          <cx:pt idx="87983">4</cx:pt>
          <cx:pt idx="87984">4</cx:pt>
          <cx:pt idx="87985">4</cx:pt>
          <cx:pt idx="87986">2</cx:pt>
          <cx:pt idx="87987">5</cx:pt>
          <cx:pt idx="87988">2</cx:pt>
          <cx:pt idx="87989">2</cx:pt>
          <cx:pt idx="87990">3</cx:pt>
          <cx:pt idx="87991">3</cx:pt>
          <cx:pt idx="87992">4</cx:pt>
          <cx:pt idx="87993">5</cx:pt>
          <cx:pt idx="87994">4</cx:pt>
          <cx:pt idx="87995">1</cx:pt>
          <cx:pt idx="87996">3</cx:pt>
          <cx:pt idx="87997">4</cx:pt>
          <cx:pt idx="87998">4</cx:pt>
          <cx:pt idx="87999">3</cx:pt>
          <cx:pt idx="88000">1</cx:pt>
          <cx:pt idx="88001">5</cx:pt>
          <cx:pt idx="88002">3</cx:pt>
          <cx:pt idx="88003">5</cx:pt>
          <cx:pt idx="88004">2</cx:pt>
          <cx:pt idx="88005">4</cx:pt>
          <cx:pt idx="88006">2</cx:pt>
          <cx:pt idx="88007">5</cx:pt>
          <cx:pt idx="88008">4</cx:pt>
          <cx:pt idx="88009">5</cx:pt>
          <cx:pt idx="88010">4</cx:pt>
          <cx:pt idx="88011">1</cx:pt>
          <cx:pt idx="88012">2</cx:pt>
          <cx:pt idx="88013">1</cx:pt>
          <cx:pt idx="88014">5</cx:pt>
          <cx:pt idx="88015">3</cx:pt>
          <cx:pt idx="88016">4</cx:pt>
          <cx:pt idx="88017">3</cx:pt>
          <cx:pt idx="88018">4</cx:pt>
          <cx:pt idx="88019">2</cx:pt>
          <cx:pt idx="88020">2</cx:pt>
          <cx:pt idx="88021">5</cx:pt>
          <cx:pt idx="88022">5</cx:pt>
          <cx:pt idx="88023">4</cx:pt>
          <cx:pt idx="88024">5</cx:pt>
          <cx:pt idx="88025">5</cx:pt>
          <cx:pt idx="88026">4</cx:pt>
          <cx:pt idx="88027">3</cx:pt>
          <cx:pt idx="88028">5</cx:pt>
          <cx:pt idx="88029">2</cx:pt>
          <cx:pt idx="88030">1</cx:pt>
          <cx:pt idx="88031">4</cx:pt>
          <cx:pt idx="88032">2</cx:pt>
          <cx:pt idx="88033">1</cx:pt>
          <cx:pt idx="88034">3</cx:pt>
          <cx:pt idx="88035">3</cx:pt>
          <cx:pt idx="88036">3</cx:pt>
          <cx:pt idx="88037">4</cx:pt>
          <cx:pt idx="88038">3</cx:pt>
          <cx:pt idx="88039">3</cx:pt>
          <cx:pt idx="88040">5</cx:pt>
          <cx:pt idx="88041">4</cx:pt>
          <cx:pt idx="88042">2</cx:pt>
          <cx:pt idx="88043">2</cx:pt>
          <cx:pt idx="88044">3</cx:pt>
          <cx:pt idx="88045">2</cx:pt>
          <cx:pt idx="88046">3</cx:pt>
          <cx:pt idx="88047">1</cx:pt>
          <cx:pt idx="88048">3</cx:pt>
          <cx:pt idx="88049">5</cx:pt>
          <cx:pt idx="88050">3</cx:pt>
          <cx:pt idx="88051">2</cx:pt>
          <cx:pt idx="88052">4</cx:pt>
          <cx:pt idx="88053">2</cx:pt>
          <cx:pt idx="88054">5</cx:pt>
          <cx:pt idx="88055">2</cx:pt>
          <cx:pt idx="88056">5</cx:pt>
          <cx:pt idx="88057">2</cx:pt>
          <cx:pt idx="88058">5</cx:pt>
          <cx:pt idx="88059">3</cx:pt>
          <cx:pt idx="88060">2</cx:pt>
          <cx:pt idx="88061">5</cx:pt>
          <cx:pt idx="88062">1</cx:pt>
          <cx:pt idx="88063">2</cx:pt>
          <cx:pt idx="88064">1</cx:pt>
          <cx:pt idx="88065">4</cx:pt>
          <cx:pt idx="88066">4</cx:pt>
          <cx:pt idx="88067">4</cx:pt>
          <cx:pt idx="88068">4</cx:pt>
          <cx:pt idx="88069">5</cx:pt>
          <cx:pt idx="88070">4</cx:pt>
          <cx:pt idx="88071">3</cx:pt>
          <cx:pt idx="88072">2</cx:pt>
          <cx:pt idx="88073">5</cx:pt>
          <cx:pt idx="88074">4</cx:pt>
          <cx:pt idx="88075">1</cx:pt>
          <cx:pt idx="88076">4</cx:pt>
          <cx:pt idx="88077">4</cx:pt>
          <cx:pt idx="88078">2</cx:pt>
          <cx:pt idx="88079">3</cx:pt>
          <cx:pt idx="88080">1</cx:pt>
          <cx:pt idx="88081">4</cx:pt>
          <cx:pt idx="88082">3</cx:pt>
          <cx:pt idx="88083">1</cx:pt>
          <cx:pt idx="88084">5</cx:pt>
          <cx:pt idx="88085">5</cx:pt>
          <cx:pt idx="88086">3</cx:pt>
          <cx:pt idx="88087">5</cx:pt>
          <cx:pt idx="88088">2</cx:pt>
          <cx:pt idx="88089">2</cx:pt>
          <cx:pt idx="88090">1</cx:pt>
          <cx:pt idx="88091">2</cx:pt>
          <cx:pt idx="88092">4</cx:pt>
          <cx:pt idx="88093">5</cx:pt>
          <cx:pt idx="88094">3</cx:pt>
          <cx:pt idx="88095">5</cx:pt>
          <cx:pt idx="88096">3</cx:pt>
          <cx:pt idx="88097">5</cx:pt>
          <cx:pt idx="88098">1</cx:pt>
          <cx:pt idx="88099">5</cx:pt>
          <cx:pt idx="88100">5</cx:pt>
          <cx:pt idx="88101">3</cx:pt>
          <cx:pt idx="88102">3</cx:pt>
          <cx:pt idx="88103">5</cx:pt>
          <cx:pt idx="88104">4</cx:pt>
          <cx:pt idx="88105">1</cx:pt>
          <cx:pt idx="88106">5</cx:pt>
          <cx:pt idx="88107">1</cx:pt>
          <cx:pt idx="88108">1</cx:pt>
          <cx:pt idx="88109">3</cx:pt>
          <cx:pt idx="88110">3</cx:pt>
          <cx:pt idx="88111">2</cx:pt>
          <cx:pt idx="88112">3</cx:pt>
          <cx:pt idx="88113">4</cx:pt>
          <cx:pt idx="88114">3</cx:pt>
          <cx:pt idx="88115">3</cx:pt>
          <cx:pt idx="88116">1</cx:pt>
          <cx:pt idx="88117">5</cx:pt>
          <cx:pt idx="88118">5</cx:pt>
          <cx:pt idx="88119">1</cx:pt>
          <cx:pt idx="88120">4</cx:pt>
          <cx:pt idx="88121">1</cx:pt>
          <cx:pt idx="88122">3</cx:pt>
          <cx:pt idx="88123">4</cx:pt>
          <cx:pt idx="88124">2</cx:pt>
          <cx:pt idx="88125">2</cx:pt>
          <cx:pt idx="88126">4</cx:pt>
          <cx:pt idx="88127">1</cx:pt>
          <cx:pt idx="88128">5</cx:pt>
          <cx:pt idx="88129">4</cx:pt>
          <cx:pt idx="88130">2</cx:pt>
          <cx:pt idx="88131">4</cx:pt>
          <cx:pt idx="88132">1</cx:pt>
          <cx:pt idx="88133">5</cx:pt>
          <cx:pt idx="88134">3</cx:pt>
          <cx:pt idx="88135">4</cx:pt>
          <cx:pt idx="88136">3</cx:pt>
          <cx:pt idx="88137">3</cx:pt>
          <cx:pt idx="88138">5</cx:pt>
          <cx:pt idx="88139">5</cx:pt>
          <cx:pt idx="88140">3</cx:pt>
          <cx:pt idx="88141">5</cx:pt>
          <cx:pt idx="88142">4</cx:pt>
          <cx:pt idx="88143">2</cx:pt>
          <cx:pt idx="88144">5</cx:pt>
          <cx:pt idx="88145">5</cx:pt>
          <cx:pt idx="88146">4</cx:pt>
          <cx:pt idx="88147">5</cx:pt>
          <cx:pt idx="88148">5</cx:pt>
          <cx:pt idx="88149">2</cx:pt>
          <cx:pt idx="88150">2</cx:pt>
          <cx:pt idx="88151">2</cx:pt>
          <cx:pt idx="88152">4</cx:pt>
          <cx:pt idx="88153">5</cx:pt>
          <cx:pt idx="88154">3</cx:pt>
          <cx:pt idx="88155">5</cx:pt>
          <cx:pt idx="88156">5</cx:pt>
          <cx:pt idx="88157">4</cx:pt>
          <cx:pt idx="88158">5</cx:pt>
          <cx:pt idx="88159">2</cx:pt>
          <cx:pt idx="88160">1</cx:pt>
          <cx:pt idx="88161">5</cx:pt>
          <cx:pt idx="88162">5</cx:pt>
          <cx:pt idx="88163">5</cx:pt>
          <cx:pt idx="88164">1</cx:pt>
          <cx:pt idx="88165">4</cx:pt>
          <cx:pt idx="88166">2</cx:pt>
          <cx:pt idx="88167">4</cx:pt>
          <cx:pt idx="88168">4</cx:pt>
          <cx:pt idx="88169">4</cx:pt>
          <cx:pt idx="88170">3</cx:pt>
          <cx:pt idx="88171">5</cx:pt>
          <cx:pt idx="88172">3</cx:pt>
          <cx:pt idx="88173">3</cx:pt>
          <cx:pt idx="88174">2</cx:pt>
          <cx:pt idx="88175">5</cx:pt>
          <cx:pt idx="88176">5</cx:pt>
          <cx:pt idx="88177">5</cx:pt>
          <cx:pt idx="88178">4</cx:pt>
          <cx:pt idx="88179">2</cx:pt>
          <cx:pt idx="88180">5</cx:pt>
          <cx:pt idx="88181">5</cx:pt>
          <cx:pt idx="88182">5</cx:pt>
          <cx:pt idx="88183">5</cx:pt>
          <cx:pt idx="88184">2</cx:pt>
          <cx:pt idx="88185">5</cx:pt>
          <cx:pt idx="88186">3</cx:pt>
          <cx:pt idx="88187">4</cx:pt>
          <cx:pt idx="88188">4</cx:pt>
          <cx:pt idx="88189">2</cx:pt>
          <cx:pt idx="88190">4</cx:pt>
          <cx:pt idx="88191">3</cx:pt>
          <cx:pt idx="88192">4</cx:pt>
          <cx:pt idx="88193">4</cx:pt>
          <cx:pt idx="88194">4</cx:pt>
          <cx:pt idx="88195">4</cx:pt>
          <cx:pt idx="88196">3</cx:pt>
          <cx:pt idx="88197">3</cx:pt>
          <cx:pt idx="88198">1</cx:pt>
          <cx:pt idx="88199">5</cx:pt>
          <cx:pt idx="88200">2</cx:pt>
          <cx:pt idx="88201">3</cx:pt>
          <cx:pt idx="88202">4</cx:pt>
          <cx:pt idx="88203">4</cx:pt>
          <cx:pt idx="88204">3</cx:pt>
          <cx:pt idx="88205">5</cx:pt>
          <cx:pt idx="88206">2</cx:pt>
          <cx:pt idx="88207">1</cx:pt>
          <cx:pt idx="88208">5</cx:pt>
          <cx:pt idx="88209">5</cx:pt>
          <cx:pt idx="88210">4</cx:pt>
          <cx:pt idx="88211">4</cx:pt>
          <cx:pt idx="88212">4</cx:pt>
          <cx:pt idx="88213">5</cx:pt>
          <cx:pt idx="88214">5</cx:pt>
          <cx:pt idx="88215">5</cx:pt>
          <cx:pt idx="88216">3</cx:pt>
          <cx:pt idx="88217">1</cx:pt>
          <cx:pt idx="88218">2</cx:pt>
          <cx:pt idx="88219">1</cx:pt>
          <cx:pt idx="88220">2</cx:pt>
          <cx:pt idx="88221">4</cx:pt>
          <cx:pt idx="88222">2</cx:pt>
          <cx:pt idx="88223">5</cx:pt>
          <cx:pt idx="88224">4</cx:pt>
          <cx:pt idx="88225">3</cx:pt>
          <cx:pt idx="88226">1</cx:pt>
          <cx:pt idx="88227">1</cx:pt>
          <cx:pt idx="88228">2</cx:pt>
          <cx:pt idx="88229">1</cx:pt>
          <cx:pt idx="88230">5</cx:pt>
          <cx:pt idx="88231">1</cx:pt>
          <cx:pt idx="88232">4</cx:pt>
          <cx:pt idx="88233">3</cx:pt>
          <cx:pt idx="88234">1</cx:pt>
          <cx:pt idx="88235">5</cx:pt>
          <cx:pt idx="88236">4</cx:pt>
          <cx:pt idx="88237">3</cx:pt>
          <cx:pt idx="88238">3</cx:pt>
          <cx:pt idx="88239">3</cx:pt>
          <cx:pt idx="88240">3</cx:pt>
          <cx:pt idx="88241">4</cx:pt>
          <cx:pt idx="88242">4</cx:pt>
          <cx:pt idx="88243">5</cx:pt>
          <cx:pt idx="88244">5</cx:pt>
          <cx:pt idx="88245">4</cx:pt>
          <cx:pt idx="88246">5</cx:pt>
          <cx:pt idx="88247">5</cx:pt>
          <cx:pt idx="88248">5</cx:pt>
          <cx:pt idx="88249">4</cx:pt>
          <cx:pt idx="88250">4</cx:pt>
          <cx:pt idx="88251">4</cx:pt>
          <cx:pt idx="88252">2</cx:pt>
          <cx:pt idx="88253">5</cx:pt>
          <cx:pt idx="88254">5</cx:pt>
          <cx:pt idx="88255">4</cx:pt>
          <cx:pt idx="88256">1</cx:pt>
          <cx:pt idx="88257">4</cx:pt>
          <cx:pt idx="88258">5</cx:pt>
          <cx:pt idx="88259">4</cx:pt>
          <cx:pt idx="88260">4</cx:pt>
          <cx:pt idx="88261">4</cx:pt>
          <cx:pt idx="88262">4</cx:pt>
          <cx:pt idx="88263">4</cx:pt>
          <cx:pt idx="88264">5</cx:pt>
          <cx:pt idx="88265">4</cx:pt>
          <cx:pt idx="88266">2</cx:pt>
          <cx:pt idx="88267">4</cx:pt>
          <cx:pt idx="88268">4</cx:pt>
          <cx:pt idx="88269">1</cx:pt>
          <cx:pt idx="88270">4</cx:pt>
          <cx:pt idx="88271">4</cx:pt>
          <cx:pt idx="88272">4</cx:pt>
          <cx:pt idx="88273">5</cx:pt>
          <cx:pt idx="88274">4</cx:pt>
          <cx:pt idx="88275">5</cx:pt>
          <cx:pt idx="88276">5</cx:pt>
          <cx:pt idx="88277">4</cx:pt>
          <cx:pt idx="88278">1</cx:pt>
          <cx:pt idx="88279">5</cx:pt>
          <cx:pt idx="88280">4</cx:pt>
          <cx:pt idx="88281">4</cx:pt>
          <cx:pt idx="88282">5</cx:pt>
          <cx:pt idx="88283">4</cx:pt>
          <cx:pt idx="88284">3</cx:pt>
          <cx:pt idx="88285">4</cx:pt>
          <cx:pt idx="88286">5</cx:pt>
          <cx:pt idx="88287">4</cx:pt>
          <cx:pt idx="88288">1</cx:pt>
          <cx:pt idx="88289">5</cx:pt>
          <cx:pt idx="88290">3</cx:pt>
          <cx:pt idx="88291">2</cx:pt>
          <cx:pt idx="88292">4</cx:pt>
          <cx:pt idx="88293">1</cx:pt>
          <cx:pt idx="88294">4</cx:pt>
          <cx:pt idx="88295">4</cx:pt>
          <cx:pt idx="88296">5</cx:pt>
          <cx:pt idx="88297">4</cx:pt>
          <cx:pt idx="88298">3</cx:pt>
          <cx:pt idx="88299">1</cx:pt>
          <cx:pt idx="88300">4</cx:pt>
          <cx:pt idx="88301">2</cx:pt>
          <cx:pt idx="88302">4</cx:pt>
          <cx:pt idx="88303">4</cx:pt>
          <cx:pt idx="88304">4</cx:pt>
          <cx:pt idx="88305">3</cx:pt>
          <cx:pt idx="88306">4</cx:pt>
          <cx:pt idx="88307">3</cx:pt>
          <cx:pt idx="88308">2</cx:pt>
          <cx:pt idx="88309">4</cx:pt>
          <cx:pt idx="88310">4</cx:pt>
          <cx:pt idx="88311">5</cx:pt>
          <cx:pt idx="88312">5</cx:pt>
          <cx:pt idx="88313">1</cx:pt>
          <cx:pt idx="88314">4</cx:pt>
          <cx:pt idx="88315">5</cx:pt>
          <cx:pt idx="88316">5</cx:pt>
          <cx:pt idx="88317">3</cx:pt>
          <cx:pt idx="88318">1</cx:pt>
          <cx:pt idx="88319">5</cx:pt>
          <cx:pt idx="88320">4</cx:pt>
          <cx:pt idx="88321">5</cx:pt>
          <cx:pt idx="88322">4</cx:pt>
          <cx:pt idx="88323">4</cx:pt>
          <cx:pt idx="88324">5</cx:pt>
          <cx:pt idx="88325">1</cx:pt>
          <cx:pt idx="88326">5</cx:pt>
          <cx:pt idx="88327">4</cx:pt>
          <cx:pt idx="88328">3</cx:pt>
          <cx:pt idx="88329">4</cx:pt>
          <cx:pt idx="88330">4</cx:pt>
          <cx:pt idx="88331">1</cx:pt>
          <cx:pt idx="88332">5</cx:pt>
          <cx:pt idx="88333">1</cx:pt>
          <cx:pt idx="88334">3</cx:pt>
          <cx:pt idx="88335">2</cx:pt>
          <cx:pt idx="88336">3</cx:pt>
          <cx:pt idx="88337">4</cx:pt>
          <cx:pt idx="88338">5</cx:pt>
          <cx:pt idx="88339">5</cx:pt>
          <cx:pt idx="88340">4</cx:pt>
          <cx:pt idx="88341">4</cx:pt>
          <cx:pt idx="88342">5</cx:pt>
          <cx:pt idx="88343">5</cx:pt>
          <cx:pt idx="88344">1</cx:pt>
          <cx:pt idx="88345">2</cx:pt>
          <cx:pt idx="88346">5</cx:pt>
          <cx:pt idx="88347">4</cx:pt>
          <cx:pt idx="88348">3</cx:pt>
          <cx:pt idx="88349">2</cx:pt>
          <cx:pt idx="88350">2</cx:pt>
          <cx:pt idx="88351">3</cx:pt>
          <cx:pt idx="88352">3</cx:pt>
          <cx:pt idx="88353">4</cx:pt>
          <cx:pt idx="88354">5</cx:pt>
          <cx:pt idx="88355">5</cx:pt>
          <cx:pt idx="88356">3</cx:pt>
          <cx:pt idx="88357">4</cx:pt>
          <cx:pt idx="88358">2</cx:pt>
          <cx:pt idx="88359">3</cx:pt>
          <cx:pt idx="88360">5</cx:pt>
          <cx:pt idx="88361">4</cx:pt>
          <cx:pt idx="88362">3</cx:pt>
          <cx:pt idx="88363">3</cx:pt>
          <cx:pt idx="88364">2</cx:pt>
          <cx:pt idx="88365">4</cx:pt>
          <cx:pt idx="88366">3</cx:pt>
          <cx:pt idx="88367">4</cx:pt>
          <cx:pt idx="88368">4</cx:pt>
          <cx:pt idx="88369">4</cx:pt>
          <cx:pt idx="88370">5</cx:pt>
          <cx:pt idx="88371">4</cx:pt>
          <cx:pt idx="88372">5</cx:pt>
          <cx:pt idx="88373">4</cx:pt>
          <cx:pt idx="88374">5</cx:pt>
          <cx:pt idx="88375">5</cx:pt>
          <cx:pt idx="88376">4</cx:pt>
          <cx:pt idx="88377">3</cx:pt>
          <cx:pt idx="88378">5</cx:pt>
          <cx:pt idx="88379">5</cx:pt>
          <cx:pt idx="88380">5</cx:pt>
          <cx:pt idx="88381">3</cx:pt>
          <cx:pt idx="88382">5</cx:pt>
          <cx:pt idx="88383">1</cx:pt>
          <cx:pt idx="88384">4</cx:pt>
          <cx:pt idx="88385">5</cx:pt>
          <cx:pt idx="88386">4</cx:pt>
          <cx:pt idx="88387">4</cx:pt>
          <cx:pt idx="88388">5</cx:pt>
          <cx:pt idx="88389">3</cx:pt>
          <cx:pt idx="88390">4</cx:pt>
          <cx:pt idx="88391">5</cx:pt>
          <cx:pt idx="88392">5</cx:pt>
          <cx:pt idx="88393">1</cx:pt>
          <cx:pt idx="88394">3</cx:pt>
          <cx:pt idx="88395">5</cx:pt>
          <cx:pt idx="88396">5</cx:pt>
          <cx:pt idx="88397">2</cx:pt>
          <cx:pt idx="88398">3</cx:pt>
          <cx:pt idx="88399">5</cx:pt>
          <cx:pt idx="88400">4</cx:pt>
          <cx:pt idx="88401">1</cx:pt>
          <cx:pt idx="88402">3</cx:pt>
          <cx:pt idx="88403">3</cx:pt>
          <cx:pt idx="88404">5</cx:pt>
          <cx:pt idx="88405">3</cx:pt>
          <cx:pt idx="88406">4</cx:pt>
          <cx:pt idx="88407">4</cx:pt>
          <cx:pt idx="88408">1</cx:pt>
          <cx:pt idx="88409">1</cx:pt>
          <cx:pt idx="88410">4</cx:pt>
          <cx:pt idx="88411">3</cx:pt>
          <cx:pt idx="88412">5</cx:pt>
          <cx:pt idx="88413">4</cx:pt>
          <cx:pt idx="88414">5</cx:pt>
          <cx:pt idx="88415">4</cx:pt>
          <cx:pt idx="88416">1</cx:pt>
          <cx:pt idx="88417">3</cx:pt>
          <cx:pt idx="88418">5</cx:pt>
          <cx:pt idx="88419">3</cx:pt>
          <cx:pt idx="88420">5</cx:pt>
          <cx:pt idx="88421">3</cx:pt>
          <cx:pt idx="88422">4</cx:pt>
          <cx:pt idx="88423">4</cx:pt>
          <cx:pt idx="88424">3</cx:pt>
          <cx:pt idx="88425">5</cx:pt>
          <cx:pt idx="88426">4</cx:pt>
          <cx:pt idx="88427">5</cx:pt>
          <cx:pt idx="88428">3</cx:pt>
          <cx:pt idx="88429">2</cx:pt>
          <cx:pt idx="88430">2</cx:pt>
          <cx:pt idx="88431">5</cx:pt>
          <cx:pt idx="88432">3</cx:pt>
          <cx:pt idx="88433">2</cx:pt>
          <cx:pt idx="88434">3</cx:pt>
          <cx:pt idx="88435">1</cx:pt>
          <cx:pt idx="88436">5</cx:pt>
          <cx:pt idx="88437">4</cx:pt>
          <cx:pt idx="88438">4</cx:pt>
          <cx:pt idx="88439">4</cx:pt>
          <cx:pt idx="88440">2</cx:pt>
          <cx:pt idx="88441">3</cx:pt>
          <cx:pt idx="88442">5</cx:pt>
          <cx:pt idx="88443">2</cx:pt>
          <cx:pt idx="88444">5</cx:pt>
          <cx:pt idx="88445">4</cx:pt>
          <cx:pt idx="88446">2</cx:pt>
          <cx:pt idx="88447">2</cx:pt>
          <cx:pt idx="88448">4</cx:pt>
          <cx:pt idx="88449">3</cx:pt>
          <cx:pt idx="88450">4</cx:pt>
          <cx:pt idx="88451">2</cx:pt>
          <cx:pt idx="88452">4</cx:pt>
          <cx:pt idx="88453">4</cx:pt>
          <cx:pt idx="88454">5</cx:pt>
          <cx:pt idx="88455">3</cx:pt>
          <cx:pt idx="88456">3</cx:pt>
          <cx:pt idx="88457">5</cx:pt>
          <cx:pt idx="88458">4</cx:pt>
          <cx:pt idx="88459">2</cx:pt>
          <cx:pt idx="88460">3</cx:pt>
          <cx:pt idx="88461">5</cx:pt>
          <cx:pt idx="88462">4</cx:pt>
          <cx:pt idx="88463">5</cx:pt>
          <cx:pt idx="88464">4</cx:pt>
          <cx:pt idx="88465">5</cx:pt>
          <cx:pt idx="88466">4</cx:pt>
          <cx:pt idx="88467">4</cx:pt>
          <cx:pt idx="88468">5</cx:pt>
          <cx:pt idx="88469">1</cx:pt>
          <cx:pt idx="88470">3</cx:pt>
          <cx:pt idx="88471">5</cx:pt>
          <cx:pt idx="88472">4</cx:pt>
          <cx:pt idx="88473">2</cx:pt>
          <cx:pt idx="88474">5</cx:pt>
          <cx:pt idx="88475">4</cx:pt>
          <cx:pt idx="88476">3</cx:pt>
          <cx:pt idx="88477">1</cx:pt>
          <cx:pt idx="88478">4</cx:pt>
          <cx:pt idx="88479">4</cx:pt>
          <cx:pt idx="88480">2</cx:pt>
          <cx:pt idx="88481">4</cx:pt>
          <cx:pt idx="88482">3</cx:pt>
          <cx:pt idx="88483">4</cx:pt>
          <cx:pt idx="88484">5</cx:pt>
          <cx:pt idx="88485">4</cx:pt>
          <cx:pt idx="88486">5</cx:pt>
          <cx:pt idx="88487">5</cx:pt>
          <cx:pt idx="88488">5</cx:pt>
          <cx:pt idx="88489">2</cx:pt>
          <cx:pt idx="88490">4</cx:pt>
          <cx:pt idx="88491">3</cx:pt>
          <cx:pt idx="88492">5</cx:pt>
          <cx:pt idx="88493">5</cx:pt>
          <cx:pt idx="88494">5</cx:pt>
          <cx:pt idx="88495">2</cx:pt>
          <cx:pt idx="88496">3</cx:pt>
          <cx:pt idx="88497">5</cx:pt>
          <cx:pt idx="88498">5</cx:pt>
          <cx:pt idx="88499">3</cx:pt>
          <cx:pt idx="88500">2</cx:pt>
          <cx:pt idx="88501">4</cx:pt>
          <cx:pt idx="88502">4</cx:pt>
          <cx:pt idx="88503">3</cx:pt>
          <cx:pt idx="88504">1</cx:pt>
          <cx:pt idx="88505">5</cx:pt>
          <cx:pt idx="88506">4</cx:pt>
          <cx:pt idx="88507">3</cx:pt>
          <cx:pt idx="88508">5</cx:pt>
          <cx:pt idx="88509">5</cx:pt>
          <cx:pt idx="88510">3</cx:pt>
          <cx:pt idx="88511">2</cx:pt>
          <cx:pt idx="88512">4</cx:pt>
          <cx:pt idx="88513">3</cx:pt>
          <cx:pt idx="88514">2</cx:pt>
          <cx:pt idx="88515">3</cx:pt>
          <cx:pt idx="88516">3</cx:pt>
          <cx:pt idx="88517">5</cx:pt>
          <cx:pt idx="88518">5</cx:pt>
          <cx:pt idx="88519">2</cx:pt>
          <cx:pt idx="88520">4</cx:pt>
          <cx:pt idx="88521">4</cx:pt>
          <cx:pt idx="88522">5</cx:pt>
          <cx:pt idx="88523">5</cx:pt>
          <cx:pt idx="88524">5</cx:pt>
          <cx:pt idx="88525">4</cx:pt>
          <cx:pt idx="88526">5</cx:pt>
          <cx:pt idx="88527">4</cx:pt>
          <cx:pt idx="88528">4</cx:pt>
          <cx:pt idx="88529">2</cx:pt>
          <cx:pt idx="88530">3</cx:pt>
          <cx:pt idx="88531">2</cx:pt>
          <cx:pt idx="88532">4</cx:pt>
          <cx:pt idx="88533">3</cx:pt>
          <cx:pt idx="88534">5</cx:pt>
          <cx:pt idx="88535">1</cx:pt>
          <cx:pt idx="88536">2</cx:pt>
          <cx:pt idx="88537">1</cx:pt>
          <cx:pt idx="88538">4</cx:pt>
          <cx:pt idx="88539">1</cx:pt>
          <cx:pt idx="88540">3</cx:pt>
          <cx:pt idx="88541">5</cx:pt>
          <cx:pt idx="88542">4</cx:pt>
          <cx:pt idx="88543">5</cx:pt>
          <cx:pt idx="88544">5</cx:pt>
          <cx:pt idx="88545">5</cx:pt>
          <cx:pt idx="88546">5</cx:pt>
          <cx:pt idx="88547">4</cx:pt>
          <cx:pt idx="88548">4</cx:pt>
          <cx:pt idx="88549">4</cx:pt>
          <cx:pt idx="88550">4</cx:pt>
          <cx:pt idx="88551">5</cx:pt>
          <cx:pt idx="88552">4</cx:pt>
          <cx:pt idx="88553">2</cx:pt>
          <cx:pt idx="88554">1</cx:pt>
          <cx:pt idx="88555">4</cx:pt>
          <cx:pt idx="88556">2</cx:pt>
          <cx:pt idx="88557">5</cx:pt>
          <cx:pt idx="88558">5</cx:pt>
          <cx:pt idx="88559">1</cx:pt>
          <cx:pt idx="88560">4</cx:pt>
          <cx:pt idx="88561">2</cx:pt>
          <cx:pt idx="88562">5</cx:pt>
          <cx:pt idx="88563">4</cx:pt>
          <cx:pt idx="88564">5</cx:pt>
          <cx:pt idx="88565">1</cx:pt>
          <cx:pt idx="88566">2</cx:pt>
          <cx:pt idx="88567">3</cx:pt>
          <cx:pt idx="88568">2</cx:pt>
          <cx:pt idx="88569">4</cx:pt>
          <cx:pt idx="88570">4</cx:pt>
          <cx:pt idx="88571">3</cx:pt>
          <cx:pt idx="88572">1</cx:pt>
          <cx:pt idx="88573">5</cx:pt>
          <cx:pt idx="88574">4</cx:pt>
          <cx:pt idx="88575">4</cx:pt>
          <cx:pt idx="88576">2</cx:pt>
          <cx:pt idx="88577">2</cx:pt>
          <cx:pt idx="88578">4</cx:pt>
          <cx:pt idx="88579">4</cx:pt>
          <cx:pt idx="88580">4</cx:pt>
          <cx:pt idx="88581">3</cx:pt>
          <cx:pt idx="88582">2</cx:pt>
          <cx:pt idx="88583">2</cx:pt>
          <cx:pt idx="88584">4</cx:pt>
          <cx:pt idx="88585">3</cx:pt>
          <cx:pt idx="88586">4</cx:pt>
          <cx:pt idx="88587">5</cx:pt>
          <cx:pt idx="88588">2</cx:pt>
          <cx:pt idx="88589">5</cx:pt>
          <cx:pt idx="88590">2</cx:pt>
          <cx:pt idx="88591">1</cx:pt>
          <cx:pt idx="88592">3</cx:pt>
          <cx:pt idx="88593">3</cx:pt>
          <cx:pt idx="88594">5</cx:pt>
          <cx:pt idx="88595">1</cx:pt>
          <cx:pt idx="88596">1</cx:pt>
          <cx:pt idx="88597">3</cx:pt>
          <cx:pt idx="88598">3</cx:pt>
          <cx:pt idx="88599">2</cx:pt>
          <cx:pt idx="88600">3</cx:pt>
          <cx:pt idx="88601">4</cx:pt>
          <cx:pt idx="88602">5</cx:pt>
          <cx:pt idx="88603">2</cx:pt>
          <cx:pt idx="88604">5</cx:pt>
          <cx:pt idx="88605">5</cx:pt>
          <cx:pt idx="88606">5</cx:pt>
          <cx:pt idx="88607">2</cx:pt>
          <cx:pt idx="88608">1</cx:pt>
          <cx:pt idx="88609">2</cx:pt>
          <cx:pt idx="88610">1</cx:pt>
          <cx:pt idx="88611">4</cx:pt>
          <cx:pt idx="88612">5</cx:pt>
          <cx:pt idx="88613">2</cx:pt>
          <cx:pt idx="88614">4</cx:pt>
          <cx:pt idx="88615">5</cx:pt>
          <cx:pt idx="88616">2</cx:pt>
          <cx:pt idx="88617">5</cx:pt>
          <cx:pt idx="88618">3</cx:pt>
          <cx:pt idx="88619">4</cx:pt>
          <cx:pt idx="88620">5</cx:pt>
          <cx:pt idx="88621">5</cx:pt>
          <cx:pt idx="88622">1</cx:pt>
          <cx:pt idx="88623">4</cx:pt>
          <cx:pt idx="88624">5</cx:pt>
          <cx:pt idx="88625">4</cx:pt>
          <cx:pt idx="88626">5</cx:pt>
          <cx:pt idx="88627">4</cx:pt>
          <cx:pt idx="88628">5</cx:pt>
          <cx:pt idx="88629">4</cx:pt>
          <cx:pt idx="88630">5</cx:pt>
          <cx:pt idx="88631">5</cx:pt>
          <cx:pt idx="88632">4</cx:pt>
          <cx:pt idx="88633">5</cx:pt>
          <cx:pt idx="88634">4</cx:pt>
          <cx:pt idx="88635">4</cx:pt>
          <cx:pt idx="88636">3</cx:pt>
          <cx:pt idx="88637">2</cx:pt>
          <cx:pt idx="88638">4</cx:pt>
          <cx:pt idx="88639">2</cx:pt>
          <cx:pt idx="88640">1</cx:pt>
          <cx:pt idx="88641">5</cx:pt>
          <cx:pt idx="88642">5</cx:pt>
          <cx:pt idx="88643">1</cx:pt>
          <cx:pt idx="88644">4</cx:pt>
          <cx:pt idx="88645">3</cx:pt>
          <cx:pt idx="88646">2</cx:pt>
          <cx:pt idx="88647">4</cx:pt>
          <cx:pt idx="88648">1</cx:pt>
          <cx:pt idx="88649">4</cx:pt>
          <cx:pt idx="88650">5</cx:pt>
          <cx:pt idx="88651">4</cx:pt>
          <cx:pt idx="88652">4</cx:pt>
          <cx:pt idx="88653">3</cx:pt>
          <cx:pt idx="88654">2</cx:pt>
          <cx:pt idx="88655">2</cx:pt>
          <cx:pt idx="88656">3</cx:pt>
          <cx:pt idx="88657">4</cx:pt>
          <cx:pt idx="88658">4</cx:pt>
          <cx:pt idx="88659">4</cx:pt>
          <cx:pt idx="88660">4</cx:pt>
          <cx:pt idx="88661">2</cx:pt>
          <cx:pt idx="88662">1</cx:pt>
          <cx:pt idx="88663">4</cx:pt>
          <cx:pt idx="88664">2</cx:pt>
          <cx:pt idx="88665">4</cx:pt>
          <cx:pt idx="88666">4</cx:pt>
          <cx:pt idx="88667">5</cx:pt>
          <cx:pt idx="88668">4</cx:pt>
          <cx:pt idx="88669">5</cx:pt>
          <cx:pt idx="88670">3</cx:pt>
          <cx:pt idx="88671">1</cx:pt>
          <cx:pt idx="88672">1</cx:pt>
          <cx:pt idx="88673">3</cx:pt>
          <cx:pt idx="88674">2</cx:pt>
          <cx:pt idx="88675">3</cx:pt>
          <cx:pt idx="88676">4</cx:pt>
          <cx:pt idx="88677">5</cx:pt>
          <cx:pt idx="88678">4</cx:pt>
          <cx:pt idx="88679">5</cx:pt>
          <cx:pt idx="88680">4</cx:pt>
          <cx:pt idx="88681">4</cx:pt>
          <cx:pt idx="88682">1</cx:pt>
          <cx:pt idx="88683">5</cx:pt>
          <cx:pt idx="88684">4</cx:pt>
          <cx:pt idx="88685">4</cx:pt>
          <cx:pt idx="88686">3</cx:pt>
          <cx:pt idx="88687">5</cx:pt>
          <cx:pt idx="88688">5</cx:pt>
          <cx:pt idx="88689">2</cx:pt>
          <cx:pt idx="88690">2</cx:pt>
          <cx:pt idx="88691">5</cx:pt>
          <cx:pt idx="88692">3</cx:pt>
          <cx:pt idx="88693">1</cx:pt>
          <cx:pt idx="88694">5</cx:pt>
          <cx:pt idx="88695">1</cx:pt>
          <cx:pt idx="88696">3</cx:pt>
          <cx:pt idx="88697">4</cx:pt>
          <cx:pt idx="88698">1</cx:pt>
          <cx:pt idx="88699">5</cx:pt>
          <cx:pt idx="88700">5</cx:pt>
          <cx:pt idx="88701">2</cx:pt>
          <cx:pt idx="88702">4</cx:pt>
          <cx:pt idx="88703">1</cx:pt>
          <cx:pt idx="88704">5</cx:pt>
          <cx:pt idx="88705">1</cx:pt>
          <cx:pt idx="88706">5</cx:pt>
          <cx:pt idx="88707">1</cx:pt>
          <cx:pt idx="88708">1</cx:pt>
          <cx:pt idx="88709">1</cx:pt>
          <cx:pt idx="88710">5</cx:pt>
          <cx:pt idx="88711">1</cx:pt>
          <cx:pt idx="88712">5</cx:pt>
          <cx:pt idx="88713">4</cx:pt>
          <cx:pt idx="88714">3</cx:pt>
          <cx:pt idx="88715">4</cx:pt>
          <cx:pt idx="88716">5</cx:pt>
          <cx:pt idx="88717">1</cx:pt>
          <cx:pt idx="88718">5</cx:pt>
          <cx:pt idx="88719">4</cx:pt>
          <cx:pt idx="88720">2</cx:pt>
          <cx:pt idx="88721">4</cx:pt>
          <cx:pt idx="88722">3</cx:pt>
          <cx:pt idx="88723">4</cx:pt>
          <cx:pt idx="88724">5</cx:pt>
          <cx:pt idx="88725">3</cx:pt>
          <cx:pt idx="88726">5</cx:pt>
          <cx:pt idx="88727">5</cx:pt>
          <cx:pt idx="88728">2</cx:pt>
          <cx:pt idx="88729">3</cx:pt>
          <cx:pt idx="88730">4</cx:pt>
          <cx:pt idx="88731">1</cx:pt>
          <cx:pt idx="88732">4</cx:pt>
          <cx:pt idx="88733">5</cx:pt>
          <cx:pt idx="88734">2</cx:pt>
          <cx:pt idx="88735">5</cx:pt>
          <cx:pt idx="88736">5</cx:pt>
          <cx:pt idx="88737">5</cx:pt>
          <cx:pt idx="88738">4</cx:pt>
          <cx:pt idx="88739">5</cx:pt>
          <cx:pt idx="88740">5</cx:pt>
          <cx:pt idx="88741">4</cx:pt>
          <cx:pt idx="88742">1</cx:pt>
          <cx:pt idx="88743">4</cx:pt>
          <cx:pt idx="88744">5</cx:pt>
          <cx:pt idx="88745">4</cx:pt>
          <cx:pt idx="88746">4</cx:pt>
          <cx:pt idx="88747">2</cx:pt>
          <cx:pt idx="88748">5</cx:pt>
          <cx:pt idx="88749">4</cx:pt>
          <cx:pt idx="88750">3</cx:pt>
          <cx:pt idx="88751">5</cx:pt>
          <cx:pt idx="88752">5</cx:pt>
          <cx:pt idx="88753">2</cx:pt>
          <cx:pt idx="88754">5</cx:pt>
          <cx:pt idx="88755">4</cx:pt>
          <cx:pt idx="88756">3</cx:pt>
          <cx:pt idx="88757">2</cx:pt>
          <cx:pt idx="88758">4</cx:pt>
          <cx:pt idx="88759">5</cx:pt>
          <cx:pt idx="88760">3</cx:pt>
          <cx:pt idx="88761">5</cx:pt>
          <cx:pt idx="88762">4</cx:pt>
          <cx:pt idx="88763">2</cx:pt>
          <cx:pt idx="88764">3</cx:pt>
          <cx:pt idx="88765">5</cx:pt>
          <cx:pt idx="88766">1</cx:pt>
          <cx:pt idx="88767">3</cx:pt>
          <cx:pt idx="88768">5</cx:pt>
          <cx:pt idx="88769">4</cx:pt>
          <cx:pt idx="88770">4</cx:pt>
          <cx:pt idx="88771">5</cx:pt>
          <cx:pt idx="88772">5</cx:pt>
          <cx:pt idx="88773">2</cx:pt>
          <cx:pt idx="88774">3</cx:pt>
          <cx:pt idx="88775">1</cx:pt>
          <cx:pt idx="88776">5</cx:pt>
          <cx:pt idx="88777">4</cx:pt>
          <cx:pt idx="88778">4</cx:pt>
          <cx:pt idx="88779">3</cx:pt>
          <cx:pt idx="88780">4</cx:pt>
          <cx:pt idx="88781">3</cx:pt>
          <cx:pt idx="88782">4</cx:pt>
          <cx:pt idx="88783">5</cx:pt>
          <cx:pt idx="88784">5</cx:pt>
          <cx:pt idx="88785">4</cx:pt>
          <cx:pt idx="88786">4</cx:pt>
          <cx:pt idx="88787">3</cx:pt>
          <cx:pt idx="88788">1</cx:pt>
          <cx:pt idx="88789">3</cx:pt>
          <cx:pt idx="88790">5</cx:pt>
          <cx:pt idx="88791">4</cx:pt>
          <cx:pt idx="88792">2</cx:pt>
          <cx:pt idx="88793">5</cx:pt>
          <cx:pt idx="88794">4</cx:pt>
          <cx:pt idx="88795">4</cx:pt>
          <cx:pt idx="88796">5</cx:pt>
          <cx:pt idx="88797">3</cx:pt>
          <cx:pt idx="88798">2</cx:pt>
          <cx:pt idx="88799">4</cx:pt>
          <cx:pt idx="88800">3</cx:pt>
          <cx:pt idx="88801">2</cx:pt>
          <cx:pt idx="88802">5</cx:pt>
          <cx:pt idx="88803">3</cx:pt>
          <cx:pt idx="88804">4</cx:pt>
          <cx:pt idx="88805">1</cx:pt>
          <cx:pt idx="88806">2</cx:pt>
          <cx:pt idx="88807">4</cx:pt>
          <cx:pt idx="88808">4</cx:pt>
          <cx:pt idx="88809">4</cx:pt>
          <cx:pt idx="88810">1</cx:pt>
          <cx:pt idx="88811">1</cx:pt>
          <cx:pt idx="88812">2</cx:pt>
          <cx:pt idx="88813">4</cx:pt>
          <cx:pt idx="88814">2</cx:pt>
          <cx:pt idx="88815">5</cx:pt>
          <cx:pt idx="88816">5</cx:pt>
          <cx:pt idx="88817">5</cx:pt>
          <cx:pt idx="88818">4</cx:pt>
          <cx:pt idx="88819">2</cx:pt>
          <cx:pt idx="88820">1</cx:pt>
          <cx:pt idx="88821">5</cx:pt>
          <cx:pt idx="88822">3</cx:pt>
          <cx:pt idx="88823">1</cx:pt>
          <cx:pt idx="88824">4</cx:pt>
          <cx:pt idx="88825">5</cx:pt>
          <cx:pt idx="88826">3</cx:pt>
          <cx:pt idx="88827">5</cx:pt>
          <cx:pt idx="88828">5</cx:pt>
          <cx:pt idx="88829">3</cx:pt>
          <cx:pt idx="88830">1</cx:pt>
          <cx:pt idx="88831">5</cx:pt>
          <cx:pt idx="88832">2</cx:pt>
          <cx:pt idx="88833">4</cx:pt>
          <cx:pt idx="88834">3</cx:pt>
          <cx:pt idx="88835">2</cx:pt>
          <cx:pt idx="88836">5</cx:pt>
          <cx:pt idx="88837">3</cx:pt>
          <cx:pt idx="88838">2</cx:pt>
          <cx:pt idx="88839">5</cx:pt>
          <cx:pt idx="88840">2</cx:pt>
          <cx:pt idx="88841">4</cx:pt>
          <cx:pt idx="88842">3</cx:pt>
          <cx:pt idx="88843">1</cx:pt>
          <cx:pt idx="88844">1</cx:pt>
          <cx:pt idx="88845">4</cx:pt>
          <cx:pt idx="88846">4</cx:pt>
          <cx:pt idx="88847">5</cx:pt>
          <cx:pt idx="88848">3</cx:pt>
          <cx:pt idx="88849">4</cx:pt>
          <cx:pt idx="88850">5</cx:pt>
          <cx:pt idx="88851">5</cx:pt>
          <cx:pt idx="88852">4</cx:pt>
          <cx:pt idx="88853">4</cx:pt>
          <cx:pt idx="88854">4</cx:pt>
          <cx:pt idx="88855">4</cx:pt>
          <cx:pt idx="88856">5</cx:pt>
          <cx:pt idx="88857">2</cx:pt>
          <cx:pt idx="88858">4</cx:pt>
          <cx:pt idx="88859">5</cx:pt>
          <cx:pt idx="88860">5</cx:pt>
          <cx:pt idx="88861">5</cx:pt>
          <cx:pt idx="88862">2</cx:pt>
          <cx:pt idx="88863">2</cx:pt>
          <cx:pt idx="88864">5</cx:pt>
          <cx:pt idx="88865">4</cx:pt>
          <cx:pt idx="88866">2</cx:pt>
          <cx:pt idx="88867">4</cx:pt>
          <cx:pt idx="88868">4</cx:pt>
          <cx:pt idx="88869">5</cx:pt>
          <cx:pt idx="88870">1</cx:pt>
          <cx:pt idx="88871">2</cx:pt>
          <cx:pt idx="88872">5</cx:pt>
          <cx:pt idx="88873">3</cx:pt>
          <cx:pt idx="88874">2</cx:pt>
          <cx:pt idx="88875">3</cx:pt>
          <cx:pt idx="88876">4</cx:pt>
          <cx:pt idx="88877">1</cx:pt>
          <cx:pt idx="88878">5</cx:pt>
          <cx:pt idx="88879">3</cx:pt>
          <cx:pt idx="88880">4</cx:pt>
          <cx:pt idx="88881">4</cx:pt>
          <cx:pt idx="88882">4</cx:pt>
          <cx:pt idx="88883">5</cx:pt>
          <cx:pt idx="88884">3</cx:pt>
          <cx:pt idx="88885">4</cx:pt>
          <cx:pt idx="88886">5</cx:pt>
          <cx:pt idx="88887">5</cx:pt>
          <cx:pt idx="88888">3</cx:pt>
          <cx:pt idx="88889">4</cx:pt>
          <cx:pt idx="88890">1</cx:pt>
          <cx:pt idx="88891">4</cx:pt>
          <cx:pt idx="88892">4</cx:pt>
          <cx:pt idx="88893">4</cx:pt>
          <cx:pt idx="88894">3</cx:pt>
          <cx:pt idx="88895">3</cx:pt>
          <cx:pt idx="88896">4</cx:pt>
          <cx:pt idx="88897">5</cx:pt>
          <cx:pt idx="88898">1</cx:pt>
          <cx:pt idx="88899">3</cx:pt>
          <cx:pt idx="88900">5</cx:pt>
          <cx:pt idx="88901">5</cx:pt>
          <cx:pt idx="88902">1</cx:pt>
          <cx:pt idx="88903">4</cx:pt>
          <cx:pt idx="88904">1</cx:pt>
          <cx:pt idx="88905">4</cx:pt>
          <cx:pt idx="88906">2</cx:pt>
          <cx:pt idx="88907">1</cx:pt>
          <cx:pt idx="88908">4</cx:pt>
          <cx:pt idx="88909">2</cx:pt>
          <cx:pt idx="88910">4</cx:pt>
          <cx:pt idx="88911">5</cx:pt>
          <cx:pt idx="88912">2</cx:pt>
          <cx:pt idx="88913">3</cx:pt>
          <cx:pt idx="88914">5</cx:pt>
          <cx:pt idx="88915">2</cx:pt>
          <cx:pt idx="88916">5</cx:pt>
          <cx:pt idx="88917">2</cx:pt>
          <cx:pt idx="88918">1</cx:pt>
          <cx:pt idx="88919">5</cx:pt>
          <cx:pt idx="88920">1</cx:pt>
          <cx:pt idx="88921">2</cx:pt>
          <cx:pt idx="88922">2</cx:pt>
          <cx:pt idx="88923">2</cx:pt>
          <cx:pt idx="88924">3</cx:pt>
          <cx:pt idx="88925">2</cx:pt>
          <cx:pt idx="88926">4</cx:pt>
          <cx:pt idx="88927">5</cx:pt>
          <cx:pt idx="88928">1</cx:pt>
          <cx:pt idx="88929">5</cx:pt>
          <cx:pt idx="88930">5</cx:pt>
          <cx:pt idx="88931">3</cx:pt>
          <cx:pt idx="88932">4</cx:pt>
          <cx:pt idx="88933">5</cx:pt>
          <cx:pt idx="88934">5</cx:pt>
          <cx:pt idx="88935">5</cx:pt>
          <cx:pt idx="88936">2</cx:pt>
          <cx:pt idx="88937">1</cx:pt>
          <cx:pt idx="88938">4</cx:pt>
          <cx:pt idx="88939">5</cx:pt>
          <cx:pt idx="88940">4</cx:pt>
          <cx:pt idx="88941">5</cx:pt>
          <cx:pt idx="88942">4</cx:pt>
          <cx:pt idx="88943">1</cx:pt>
          <cx:pt idx="88944">2</cx:pt>
          <cx:pt idx="88945">2</cx:pt>
          <cx:pt idx="88946">4</cx:pt>
          <cx:pt idx="88947">5</cx:pt>
          <cx:pt idx="88948">4</cx:pt>
          <cx:pt idx="88949">3</cx:pt>
          <cx:pt idx="88950">5</cx:pt>
          <cx:pt idx="88951">4</cx:pt>
          <cx:pt idx="88952">5</cx:pt>
          <cx:pt idx="88953">5</cx:pt>
          <cx:pt idx="88954">4</cx:pt>
          <cx:pt idx="88955">5</cx:pt>
          <cx:pt idx="88956">4</cx:pt>
          <cx:pt idx="88957">4</cx:pt>
          <cx:pt idx="88958">3</cx:pt>
          <cx:pt idx="88959">4</cx:pt>
          <cx:pt idx="88960">2</cx:pt>
          <cx:pt idx="88961">4</cx:pt>
          <cx:pt idx="88962">5</cx:pt>
          <cx:pt idx="88963">4</cx:pt>
          <cx:pt idx="88964">2</cx:pt>
          <cx:pt idx="88965">4</cx:pt>
          <cx:pt idx="88966">5</cx:pt>
          <cx:pt idx="88967">3</cx:pt>
          <cx:pt idx="88968">4</cx:pt>
          <cx:pt idx="88969">2</cx:pt>
          <cx:pt idx="88970">3</cx:pt>
          <cx:pt idx="88971">1</cx:pt>
          <cx:pt idx="88972">1</cx:pt>
          <cx:pt idx="88973">4</cx:pt>
          <cx:pt idx="88974">3</cx:pt>
          <cx:pt idx="88975">3</cx:pt>
          <cx:pt idx="88976">5</cx:pt>
          <cx:pt idx="88977">5</cx:pt>
          <cx:pt idx="88978">2</cx:pt>
          <cx:pt idx="88979">5</cx:pt>
          <cx:pt idx="88980">5</cx:pt>
          <cx:pt idx="88981">1</cx:pt>
          <cx:pt idx="88982">5</cx:pt>
          <cx:pt idx="88983">2</cx:pt>
          <cx:pt idx="88984">3</cx:pt>
          <cx:pt idx="88985">1</cx:pt>
          <cx:pt idx="88986">4</cx:pt>
          <cx:pt idx="88987">5</cx:pt>
          <cx:pt idx="88988">4</cx:pt>
          <cx:pt idx="88989">5</cx:pt>
          <cx:pt idx="88990">3</cx:pt>
          <cx:pt idx="88991">5</cx:pt>
          <cx:pt idx="88992">2</cx:pt>
          <cx:pt idx="88993">3</cx:pt>
          <cx:pt idx="88994">5</cx:pt>
          <cx:pt idx="88995">5</cx:pt>
          <cx:pt idx="88996">3</cx:pt>
          <cx:pt idx="88997">3</cx:pt>
          <cx:pt idx="88998">4</cx:pt>
          <cx:pt idx="88999">3</cx:pt>
          <cx:pt idx="89000">4</cx:pt>
          <cx:pt idx="89001">4</cx:pt>
          <cx:pt idx="89002">1</cx:pt>
          <cx:pt idx="89003">3</cx:pt>
          <cx:pt idx="89004">5</cx:pt>
          <cx:pt idx="89005">3</cx:pt>
          <cx:pt idx="89006">3</cx:pt>
          <cx:pt idx="89007">4</cx:pt>
          <cx:pt idx="89008">5</cx:pt>
          <cx:pt idx="89009">3</cx:pt>
          <cx:pt idx="89010">2</cx:pt>
          <cx:pt idx="89011">4</cx:pt>
          <cx:pt idx="89012">5</cx:pt>
          <cx:pt idx="89013">4</cx:pt>
          <cx:pt idx="89014">3</cx:pt>
          <cx:pt idx="89015">3</cx:pt>
          <cx:pt idx="89016">3</cx:pt>
          <cx:pt idx="89017">1</cx:pt>
          <cx:pt idx="89018">5</cx:pt>
          <cx:pt idx="89019">2</cx:pt>
          <cx:pt idx="89020">5</cx:pt>
          <cx:pt idx="89021">4</cx:pt>
          <cx:pt idx="89022">5</cx:pt>
          <cx:pt idx="89023">5</cx:pt>
          <cx:pt idx="89024">1</cx:pt>
          <cx:pt idx="89025">3</cx:pt>
          <cx:pt idx="89026">2</cx:pt>
          <cx:pt idx="89027">1</cx:pt>
          <cx:pt idx="89028">4</cx:pt>
          <cx:pt idx="89029">1</cx:pt>
          <cx:pt idx="89030">5</cx:pt>
          <cx:pt idx="89031">2</cx:pt>
          <cx:pt idx="89032">4</cx:pt>
          <cx:pt idx="89033">4</cx:pt>
          <cx:pt idx="89034">5</cx:pt>
          <cx:pt idx="89035">4</cx:pt>
          <cx:pt idx="89036">2</cx:pt>
          <cx:pt idx="89037">5</cx:pt>
          <cx:pt idx="89038">2</cx:pt>
          <cx:pt idx="89039">4</cx:pt>
          <cx:pt idx="89040">2</cx:pt>
          <cx:pt idx="89041">2</cx:pt>
          <cx:pt idx="89042">5</cx:pt>
          <cx:pt idx="89043">1</cx:pt>
          <cx:pt idx="89044">5</cx:pt>
          <cx:pt idx="89045">4</cx:pt>
          <cx:pt idx="89046">3</cx:pt>
          <cx:pt idx="89047">2</cx:pt>
          <cx:pt idx="89048">5</cx:pt>
          <cx:pt idx="89049">4</cx:pt>
          <cx:pt idx="89050">1</cx:pt>
          <cx:pt idx="89051">5</cx:pt>
          <cx:pt idx="89052">5</cx:pt>
          <cx:pt idx="89053">4</cx:pt>
          <cx:pt idx="89054">4</cx:pt>
          <cx:pt idx="89055">5</cx:pt>
          <cx:pt idx="89056">3</cx:pt>
          <cx:pt idx="89057">5</cx:pt>
          <cx:pt idx="89058">4</cx:pt>
          <cx:pt idx="89059">5</cx:pt>
          <cx:pt idx="89060">4</cx:pt>
          <cx:pt idx="89061">4</cx:pt>
          <cx:pt idx="89062">5</cx:pt>
          <cx:pt idx="89063">4</cx:pt>
          <cx:pt idx="89064">5</cx:pt>
          <cx:pt idx="89065">4</cx:pt>
          <cx:pt idx="89066">4</cx:pt>
          <cx:pt idx="89067">5</cx:pt>
          <cx:pt idx="89068">1</cx:pt>
          <cx:pt idx="89069">1</cx:pt>
          <cx:pt idx="89070">3</cx:pt>
          <cx:pt idx="89071">1</cx:pt>
          <cx:pt idx="89072">3</cx:pt>
          <cx:pt idx="89073">3</cx:pt>
          <cx:pt idx="89074">4</cx:pt>
          <cx:pt idx="89075">4</cx:pt>
          <cx:pt idx="89076">3</cx:pt>
          <cx:pt idx="89077">1</cx:pt>
          <cx:pt idx="89078">4</cx:pt>
          <cx:pt idx="89079">5</cx:pt>
          <cx:pt idx="89080">4</cx:pt>
          <cx:pt idx="89081">4</cx:pt>
          <cx:pt idx="89082">2</cx:pt>
          <cx:pt idx="89083">5</cx:pt>
          <cx:pt idx="89084">4</cx:pt>
          <cx:pt idx="89085">5</cx:pt>
          <cx:pt idx="89086">5</cx:pt>
          <cx:pt idx="89087">3</cx:pt>
          <cx:pt idx="89088">1</cx:pt>
          <cx:pt idx="89089">2</cx:pt>
          <cx:pt idx="89090">5</cx:pt>
          <cx:pt idx="89091">4</cx:pt>
          <cx:pt idx="89092">5</cx:pt>
          <cx:pt idx="89093">5</cx:pt>
          <cx:pt idx="89094">4</cx:pt>
          <cx:pt idx="89095">5</cx:pt>
          <cx:pt idx="89096">5</cx:pt>
          <cx:pt idx="89097">2</cx:pt>
          <cx:pt idx="89098">2</cx:pt>
          <cx:pt idx="89099">3</cx:pt>
          <cx:pt idx="89100">1</cx:pt>
          <cx:pt idx="89101">3</cx:pt>
          <cx:pt idx="89102">1</cx:pt>
          <cx:pt idx="89103">1</cx:pt>
          <cx:pt idx="89104">4</cx:pt>
          <cx:pt idx="89105">3</cx:pt>
          <cx:pt idx="89106">1</cx:pt>
          <cx:pt idx="89107">3</cx:pt>
          <cx:pt idx="89108">1</cx:pt>
          <cx:pt idx="89109">4</cx:pt>
          <cx:pt idx="89110">2</cx:pt>
          <cx:pt idx="89111">4</cx:pt>
          <cx:pt idx="89112">5</cx:pt>
          <cx:pt idx="89113">5</cx:pt>
          <cx:pt idx="89114">3</cx:pt>
          <cx:pt idx="89115">1</cx:pt>
          <cx:pt idx="89116">2</cx:pt>
          <cx:pt idx="89117">4</cx:pt>
          <cx:pt idx="89118">2</cx:pt>
          <cx:pt idx="89119">1</cx:pt>
          <cx:pt idx="89120">2</cx:pt>
          <cx:pt idx="89121">4</cx:pt>
          <cx:pt idx="89122">4</cx:pt>
          <cx:pt idx="89123">4</cx:pt>
          <cx:pt idx="89124">2</cx:pt>
          <cx:pt idx="89125">2</cx:pt>
          <cx:pt idx="89126">2</cx:pt>
          <cx:pt idx="89127">2</cx:pt>
          <cx:pt idx="89128">3</cx:pt>
          <cx:pt idx="89129">3</cx:pt>
          <cx:pt idx="89130">5</cx:pt>
          <cx:pt idx="89131">2</cx:pt>
          <cx:pt idx="89132">5</cx:pt>
          <cx:pt idx="89133">2</cx:pt>
          <cx:pt idx="89134">5</cx:pt>
          <cx:pt idx="89135">2</cx:pt>
          <cx:pt idx="89136">2</cx:pt>
          <cx:pt idx="89137">4</cx:pt>
          <cx:pt idx="89138">5</cx:pt>
          <cx:pt idx="89139">5</cx:pt>
          <cx:pt idx="89140">1</cx:pt>
          <cx:pt idx="89141">2</cx:pt>
          <cx:pt idx="89142">2</cx:pt>
          <cx:pt idx="89143">5</cx:pt>
          <cx:pt idx="89144">5</cx:pt>
          <cx:pt idx="89145">4</cx:pt>
          <cx:pt idx="89146">4</cx:pt>
          <cx:pt idx="89147">4</cx:pt>
          <cx:pt idx="89148">3</cx:pt>
          <cx:pt idx="89149">5</cx:pt>
          <cx:pt idx="89150">1</cx:pt>
          <cx:pt idx="89151">5</cx:pt>
          <cx:pt idx="89152">5</cx:pt>
          <cx:pt idx="89153">4</cx:pt>
          <cx:pt idx="89154">4</cx:pt>
          <cx:pt idx="89155">1</cx:pt>
          <cx:pt idx="89156">3</cx:pt>
          <cx:pt idx="89157">5</cx:pt>
          <cx:pt idx="89158">5</cx:pt>
          <cx:pt idx="89159">4</cx:pt>
          <cx:pt idx="89160">5</cx:pt>
          <cx:pt idx="89161">4</cx:pt>
          <cx:pt idx="89162">3</cx:pt>
          <cx:pt idx="89163">5</cx:pt>
          <cx:pt idx="89164">3</cx:pt>
          <cx:pt idx="89165">5</cx:pt>
          <cx:pt idx="89166">1</cx:pt>
          <cx:pt idx="89167">5</cx:pt>
          <cx:pt idx="89168">5</cx:pt>
          <cx:pt idx="89169">1</cx:pt>
          <cx:pt idx="89170">4</cx:pt>
          <cx:pt idx="89171">2</cx:pt>
          <cx:pt idx="89172">4</cx:pt>
          <cx:pt idx="89173">4</cx:pt>
          <cx:pt idx="89174">5</cx:pt>
          <cx:pt idx="89175">3</cx:pt>
          <cx:pt idx="89176">3</cx:pt>
          <cx:pt idx="89177">4</cx:pt>
          <cx:pt idx="89178">2</cx:pt>
          <cx:pt idx="89179">5</cx:pt>
          <cx:pt idx="89180">4</cx:pt>
          <cx:pt idx="89181">2</cx:pt>
          <cx:pt idx="89182">1</cx:pt>
          <cx:pt idx="89183">2</cx:pt>
          <cx:pt idx="89184">5</cx:pt>
          <cx:pt idx="89185">4</cx:pt>
          <cx:pt idx="89186">5</cx:pt>
          <cx:pt idx="89187">5</cx:pt>
          <cx:pt idx="89188">3</cx:pt>
          <cx:pt idx="89189">4</cx:pt>
          <cx:pt idx="89190">4</cx:pt>
          <cx:pt idx="89191">2</cx:pt>
          <cx:pt idx="89192">4</cx:pt>
          <cx:pt idx="89193">5</cx:pt>
          <cx:pt idx="89194">4</cx:pt>
          <cx:pt idx="89195">4</cx:pt>
          <cx:pt idx="89196">5</cx:pt>
          <cx:pt idx="89197">1</cx:pt>
          <cx:pt idx="89198">5</cx:pt>
          <cx:pt idx="89199">4</cx:pt>
          <cx:pt idx="89200">3</cx:pt>
          <cx:pt idx="89201">3</cx:pt>
          <cx:pt idx="89202">1</cx:pt>
          <cx:pt idx="89203">4</cx:pt>
          <cx:pt idx="89204">5</cx:pt>
          <cx:pt idx="89205">5</cx:pt>
          <cx:pt idx="89206">4</cx:pt>
          <cx:pt idx="89207">4</cx:pt>
          <cx:pt idx="89208">4</cx:pt>
          <cx:pt idx="89209">2</cx:pt>
          <cx:pt idx="89210">1</cx:pt>
          <cx:pt idx="89211">3</cx:pt>
          <cx:pt idx="89212">3</cx:pt>
          <cx:pt idx="89213">5</cx:pt>
          <cx:pt idx="89214">2</cx:pt>
          <cx:pt idx="89215">4</cx:pt>
          <cx:pt idx="89216">4</cx:pt>
          <cx:pt idx="89217">1</cx:pt>
          <cx:pt idx="89218">2</cx:pt>
          <cx:pt idx="89219">4</cx:pt>
          <cx:pt idx="89220">4</cx:pt>
          <cx:pt idx="89221">4</cx:pt>
          <cx:pt idx="89222">5</cx:pt>
          <cx:pt idx="89223">5</cx:pt>
          <cx:pt idx="89224">4</cx:pt>
          <cx:pt idx="89225">4</cx:pt>
          <cx:pt idx="89226">5</cx:pt>
          <cx:pt idx="89227">3</cx:pt>
          <cx:pt idx="89228">4</cx:pt>
          <cx:pt idx="89229">5</cx:pt>
          <cx:pt idx="89230">4</cx:pt>
          <cx:pt idx="89231">4</cx:pt>
          <cx:pt idx="89232">4</cx:pt>
          <cx:pt idx="89233">4</cx:pt>
          <cx:pt idx="89234">5</cx:pt>
          <cx:pt idx="89235">5</cx:pt>
          <cx:pt idx="89236">2</cx:pt>
          <cx:pt idx="89237">3</cx:pt>
          <cx:pt idx="89238">4</cx:pt>
          <cx:pt idx="89239">3</cx:pt>
          <cx:pt idx="89240">5</cx:pt>
          <cx:pt idx="89241">4</cx:pt>
          <cx:pt idx="89242">1</cx:pt>
          <cx:pt idx="89243">4</cx:pt>
          <cx:pt idx="89244">1</cx:pt>
          <cx:pt idx="89245">3</cx:pt>
          <cx:pt idx="89246">3</cx:pt>
          <cx:pt idx="89247">4</cx:pt>
          <cx:pt idx="89248">2</cx:pt>
          <cx:pt idx="89249">2</cx:pt>
          <cx:pt idx="89250">3</cx:pt>
          <cx:pt idx="89251">5</cx:pt>
          <cx:pt idx="89252">5</cx:pt>
          <cx:pt idx="89253">3</cx:pt>
          <cx:pt idx="89254">1</cx:pt>
          <cx:pt idx="89255">4</cx:pt>
          <cx:pt idx="89256">5</cx:pt>
          <cx:pt idx="89257">5</cx:pt>
          <cx:pt idx="89258">3</cx:pt>
          <cx:pt idx="89259">3</cx:pt>
          <cx:pt idx="89260">4</cx:pt>
          <cx:pt idx="89261">4</cx:pt>
          <cx:pt idx="89262">3</cx:pt>
          <cx:pt idx="89263">5</cx:pt>
          <cx:pt idx="89264">1</cx:pt>
          <cx:pt idx="89265">4</cx:pt>
          <cx:pt idx="89266">3</cx:pt>
          <cx:pt idx="89267">5</cx:pt>
          <cx:pt idx="89268">3</cx:pt>
          <cx:pt idx="89269">3</cx:pt>
          <cx:pt idx="89270">5</cx:pt>
          <cx:pt idx="89271">4</cx:pt>
          <cx:pt idx="89272">4</cx:pt>
          <cx:pt idx="89273">1</cx:pt>
          <cx:pt idx="89274">4</cx:pt>
          <cx:pt idx="89275">1</cx:pt>
          <cx:pt idx="89276">4</cx:pt>
          <cx:pt idx="89277">5</cx:pt>
          <cx:pt idx="89278">5</cx:pt>
          <cx:pt idx="89279">5</cx:pt>
          <cx:pt idx="89280">3</cx:pt>
          <cx:pt idx="89281">2</cx:pt>
          <cx:pt idx="89282">4</cx:pt>
          <cx:pt idx="89283">1</cx:pt>
          <cx:pt idx="89284">3</cx:pt>
          <cx:pt idx="89285">4</cx:pt>
          <cx:pt idx="89286">3</cx:pt>
          <cx:pt idx="89287">4</cx:pt>
          <cx:pt idx="89288">2</cx:pt>
          <cx:pt idx="89289">4</cx:pt>
          <cx:pt idx="89290">4</cx:pt>
          <cx:pt idx="89291">5</cx:pt>
          <cx:pt idx="89292">1</cx:pt>
          <cx:pt idx="89293">3</cx:pt>
          <cx:pt idx="89294">1</cx:pt>
          <cx:pt idx="89295">1</cx:pt>
          <cx:pt idx="89296">5</cx:pt>
          <cx:pt idx="89297">5</cx:pt>
          <cx:pt idx="89298">4</cx:pt>
          <cx:pt idx="89299">4</cx:pt>
          <cx:pt idx="89300">3</cx:pt>
          <cx:pt idx="89301">1</cx:pt>
          <cx:pt idx="89302">2</cx:pt>
          <cx:pt idx="89303">3</cx:pt>
          <cx:pt idx="89304">4</cx:pt>
          <cx:pt idx="89305">4</cx:pt>
          <cx:pt idx="89306">5</cx:pt>
          <cx:pt idx="89307">4</cx:pt>
          <cx:pt idx="89308">5</cx:pt>
          <cx:pt idx="89309">4</cx:pt>
          <cx:pt idx="89310">4</cx:pt>
          <cx:pt idx="89311">3</cx:pt>
          <cx:pt idx="89312">4</cx:pt>
          <cx:pt idx="89313">4</cx:pt>
          <cx:pt idx="89314">2</cx:pt>
          <cx:pt idx="89315">3</cx:pt>
          <cx:pt idx="89316">5</cx:pt>
          <cx:pt idx="89317">1</cx:pt>
          <cx:pt idx="89318">4</cx:pt>
          <cx:pt idx="89319">4</cx:pt>
          <cx:pt idx="89320">3</cx:pt>
          <cx:pt idx="89321">4</cx:pt>
          <cx:pt idx="89322">3</cx:pt>
          <cx:pt idx="89323">4</cx:pt>
          <cx:pt idx="89324">2</cx:pt>
          <cx:pt idx="89325">1</cx:pt>
          <cx:pt idx="89326">3</cx:pt>
          <cx:pt idx="89327">3</cx:pt>
          <cx:pt idx="89328">5</cx:pt>
          <cx:pt idx="89329">5</cx:pt>
          <cx:pt idx="89330">2</cx:pt>
          <cx:pt idx="89331">4</cx:pt>
          <cx:pt idx="89332">2</cx:pt>
          <cx:pt idx="89333">1</cx:pt>
          <cx:pt idx="89334">5</cx:pt>
          <cx:pt idx="89335">1</cx:pt>
          <cx:pt idx="89336">4</cx:pt>
          <cx:pt idx="89337">4</cx:pt>
          <cx:pt idx="89338">4</cx:pt>
          <cx:pt idx="89339">3</cx:pt>
          <cx:pt idx="89340">2</cx:pt>
          <cx:pt idx="89341">4</cx:pt>
          <cx:pt idx="89342">2</cx:pt>
          <cx:pt idx="89343">4</cx:pt>
          <cx:pt idx="89344">4</cx:pt>
          <cx:pt idx="89345">5</cx:pt>
          <cx:pt idx="89346">3</cx:pt>
          <cx:pt idx="89347">5</cx:pt>
          <cx:pt idx="89348">3</cx:pt>
          <cx:pt idx="89349">3</cx:pt>
          <cx:pt idx="89350">5</cx:pt>
          <cx:pt idx="89351">2</cx:pt>
          <cx:pt idx="89352">5</cx:pt>
          <cx:pt idx="89353">4</cx:pt>
          <cx:pt idx="89354">4</cx:pt>
          <cx:pt idx="89355">4</cx:pt>
          <cx:pt idx="89356">5</cx:pt>
          <cx:pt idx="89357">5</cx:pt>
          <cx:pt idx="89358">4</cx:pt>
          <cx:pt idx="89359">3</cx:pt>
          <cx:pt idx="89360">4</cx:pt>
          <cx:pt idx="89361">5</cx:pt>
          <cx:pt idx="89362">3</cx:pt>
          <cx:pt idx="89363">3</cx:pt>
          <cx:pt idx="89364">4</cx:pt>
          <cx:pt idx="89365">5</cx:pt>
          <cx:pt idx="89366">4</cx:pt>
          <cx:pt idx="89367">4</cx:pt>
          <cx:pt idx="89368">2</cx:pt>
          <cx:pt idx="89369">5</cx:pt>
          <cx:pt idx="89370">4</cx:pt>
          <cx:pt idx="89371">3</cx:pt>
          <cx:pt idx="89372">3</cx:pt>
          <cx:pt idx="89373">1</cx:pt>
          <cx:pt idx="89374">2</cx:pt>
          <cx:pt idx="89375">3</cx:pt>
          <cx:pt idx="89376">4</cx:pt>
          <cx:pt idx="89377">2</cx:pt>
          <cx:pt idx="89378">3</cx:pt>
          <cx:pt idx="89379">5</cx:pt>
          <cx:pt idx="89380">4</cx:pt>
          <cx:pt idx="89381">5</cx:pt>
          <cx:pt idx="89382">5</cx:pt>
          <cx:pt idx="89383">5</cx:pt>
          <cx:pt idx="89384">2</cx:pt>
          <cx:pt idx="89385">3</cx:pt>
          <cx:pt idx="89386">3</cx:pt>
          <cx:pt idx="89387">3</cx:pt>
          <cx:pt idx="89388">2</cx:pt>
          <cx:pt idx="89389">4</cx:pt>
          <cx:pt idx="89390">3</cx:pt>
          <cx:pt idx="89391">4</cx:pt>
          <cx:pt idx="89392">4</cx:pt>
          <cx:pt idx="89393">1</cx:pt>
          <cx:pt idx="89394">5</cx:pt>
          <cx:pt idx="89395">5</cx:pt>
          <cx:pt idx="89396">5</cx:pt>
          <cx:pt idx="89397">4</cx:pt>
          <cx:pt idx="89398">5</cx:pt>
          <cx:pt idx="89399">1</cx:pt>
          <cx:pt idx="89400">1</cx:pt>
          <cx:pt idx="89401">5</cx:pt>
          <cx:pt idx="89402">4</cx:pt>
          <cx:pt idx="89403">4</cx:pt>
          <cx:pt idx="89404">4</cx:pt>
          <cx:pt idx="89405">3</cx:pt>
          <cx:pt idx="89406">4</cx:pt>
          <cx:pt idx="89407">4</cx:pt>
          <cx:pt idx="89408">2</cx:pt>
          <cx:pt idx="89409">1</cx:pt>
          <cx:pt idx="89410">2</cx:pt>
          <cx:pt idx="89411">4</cx:pt>
          <cx:pt idx="89412">4</cx:pt>
          <cx:pt idx="89413">2</cx:pt>
          <cx:pt idx="89414">5</cx:pt>
          <cx:pt idx="89415">1</cx:pt>
          <cx:pt idx="89416">5</cx:pt>
          <cx:pt idx="89417">5</cx:pt>
          <cx:pt idx="89418">3</cx:pt>
          <cx:pt idx="89419">5</cx:pt>
          <cx:pt idx="89420">5</cx:pt>
          <cx:pt idx="89421">2</cx:pt>
          <cx:pt idx="89422">5</cx:pt>
          <cx:pt idx="89423">1</cx:pt>
          <cx:pt idx="89424">5</cx:pt>
          <cx:pt idx="89425">2</cx:pt>
          <cx:pt idx="89426">3</cx:pt>
          <cx:pt idx="89427">5</cx:pt>
          <cx:pt idx="89428">5</cx:pt>
          <cx:pt idx="89429">4</cx:pt>
          <cx:pt idx="89430">1</cx:pt>
          <cx:pt idx="89431">5</cx:pt>
          <cx:pt idx="89432">4</cx:pt>
          <cx:pt idx="89433">4</cx:pt>
          <cx:pt idx="89434">3</cx:pt>
          <cx:pt idx="89435">5</cx:pt>
          <cx:pt idx="89436">4</cx:pt>
          <cx:pt idx="89437">4</cx:pt>
          <cx:pt idx="89438">4</cx:pt>
          <cx:pt idx="89439">5</cx:pt>
          <cx:pt idx="89440">1</cx:pt>
          <cx:pt idx="89441">2</cx:pt>
          <cx:pt idx="89442">1</cx:pt>
          <cx:pt idx="89443">3</cx:pt>
          <cx:pt idx="89444">5</cx:pt>
          <cx:pt idx="89445">5</cx:pt>
          <cx:pt idx="89446">4</cx:pt>
          <cx:pt idx="89447">5</cx:pt>
          <cx:pt idx="89448">1</cx:pt>
          <cx:pt idx="89449">2</cx:pt>
          <cx:pt idx="89450">5</cx:pt>
          <cx:pt idx="89451">4</cx:pt>
          <cx:pt idx="89452">4</cx:pt>
          <cx:pt idx="89453">4</cx:pt>
          <cx:pt idx="89454">5</cx:pt>
          <cx:pt idx="89455">3</cx:pt>
          <cx:pt idx="89456">2</cx:pt>
          <cx:pt idx="89457">4</cx:pt>
          <cx:pt idx="89458">3</cx:pt>
          <cx:pt idx="89459">5</cx:pt>
          <cx:pt idx="89460">4</cx:pt>
          <cx:pt idx="89461">4</cx:pt>
          <cx:pt idx="89462">4</cx:pt>
          <cx:pt idx="89463">3</cx:pt>
          <cx:pt idx="89464">4</cx:pt>
          <cx:pt idx="89465">1</cx:pt>
          <cx:pt idx="89466">5</cx:pt>
          <cx:pt idx="89467">1</cx:pt>
          <cx:pt idx="89468">5</cx:pt>
          <cx:pt idx="89469">4</cx:pt>
          <cx:pt idx="89470">4</cx:pt>
          <cx:pt idx="89471">1</cx:pt>
          <cx:pt idx="89472">4</cx:pt>
          <cx:pt idx="89473">3</cx:pt>
          <cx:pt idx="89474">2</cx:pt>
          <cx:pt idx="89475">5</cx:pt>
          <cx:pt idx="89476">4</cx:pt>
          <cx:pt idx="89477">3</cx:pt>
          <cx:pt idx="89478">3</cx:pt>
          <cx:pt idx="89479">5</cx:pt>
          <cx:pt idx="89480">2</cx:pt>
          <cx:pt idx="89481">3</cx:pt>
          <cx:pt idx="89482">1</cx:pt>
          <cx:pt idx="89483">4</cx:pt>
          <cx:pt idx="89484">1</cx:pt>
          <cx:pt idx="89485">5</cx:pt>
          <cx:pt idx="89486">5</cx:pt>
          <cx:pt idx="89487">1</cx:pt>
          <cx:pt idx="89488">1</cx:pt>
          <cx:pt idx="89489">1</cx:pt>
          <cx:pt idx="89490">4</cx:pt>
          <cx:pt idx="89491">2</cx:pt>
          <cx:pt idx="89492">1</cx:pt>
          <cx:pt idx="89493">4</cx:pt>
          <cx:pt idx="89494">5</cx:pt>
          <cx:pt idx="89495">4</cx:pt>
          <cx:pt idx="89496">3</cx:pt>
          <cx:pt idx="89497">3</cx:pt>
          <cx:pt idx="89498">4</cx:pt>
          <cx:pt idx="89499">3</cx:pt>
          <cx:pt idx="89500">3</cx:pt>
          <cx:pt idx="89501">5</cx:pt>
          <cx:pt idx="89502">1</cx:pt>
          <cx:pt idx="89503">3</cx:pt>
          <cx:pt idx="89504">5</cx:pt>
          <cx:pt idx="89505">4</cx:pt>
          <cx:pt idx="89506">4</cx:pt>
          <cx:pt idx="89507">5</cx:pt>
          <cx:pt idx="89508">4</cx:pt>
          <cx:pt idx="89509">1</cx:pt>
          <cx:pt idx="89510">4</cx:pt>
          <cx:pt idx="89511">4</cx:pt>
          <cx:pt idx="89512">5</cx:pt>
          <cx:pt idx="89513">4</cx:pt>
          <cx:pt idx="89514">4</cx:pt>
          <cx:pt idx="89515">5</cx:pt>
          <cx:pt idx="89516">2</cx:pt>
          <cx:pt idx="89517">5</cx:pt>
          <cx:pt idx="89518">4</cx:pt>
          <cx:pt idx="89519">2</cx:pt>
          <cx:pt idx="89520">3</cx:pt>
          <cx:pt idx="89521">3</cx:pt>
          <cx:pt idx="89522">5</cx:pt>
          <cx:pt idx="89523">5</cx:pt>
          <cx:pt idx="89524">1</cx:pt>
          <cx:pt idx="89525">4</cx:pt>
          <cx:pt idx="89526">4</cx:pt>
          <cx:pt idx="89527">3</cx:pt>
          <cx:pt idx="89528">3</cx:pt>
          <cx:pt idx="89529">2</cx:pt>
          <cx:pt idx="89530">1</cx:pt>
          <cx:pt idx="89531">3</cx:pt>
          <cx:pt idx="89532">4</cx:pt>
          <cx:pt idx="89533">5</cx:pt>
          <cx:pt idx="89534">4</cx:pt>
          <cx:pt idx="89535">2</cx:pt>
          <cx:pt idx="89536">4</cx:pt>
          <cx:pt idx="89537">4</cx:pt>
          <cx:pt idx="89538">5</cx:pt>
          <cx:pt idx="89539">3</cx:pt>
          <cx:pt idx="89540">5</cx:pt>
          <cx:pt idx="89541">5</cx:pt>
          <cx:pt idx="89542">1</cx:pt>
          <cx:pt idx="89543">3</cx:pt>
          <cx:pt idx="89544">4</cx:pt>
          <cx:pt idx="89545">4</cx:pt>
          <cx:pt idx="89546">2</cx:pt>
          <cx:pt idx="89547">3</cx:pt>
          <cx:pt idx="89548">5</cx:pt>
          <cx:pt idx="89549">4</cx:pt>
          <cx:pt idx="89550">2</cx:pt>
          <cx:pt idx="89551">4</cx:pt>
          <cx:pt idx="89552">3</cx:pt>
          <cx:pt idx="89553">2</cx:pt>
          <cx:pt idx="89554">1</cx:pt>
          <cx:pt idx="89555">4</cx:pt>
          <cx:pt idx="89556">4</cx:pt>
          <cx:pt idx="89557">5</cx:pt>
          <cx:pt idx="89558">5</cx:pt>
          <cx:pt idx="89559">2</cx:pt>
          <cx:pt idx="89560">4</cx:pt>
          <cx:pt idx="89561">3</cx:pt>
          <cx:pt idx="89562">5</cx:pt>
          <cx:pt idx="89563">5</cx:pt>
          <cx:pt idx="89564">1</cx:pt>
          <cx:pt idx="89565">1</cx:pt>
          <cx:pt idx="89566">4</cx:pt>
          <cx:pt idx="89567">4</cx:pt>
          <cx:pt idx="89568">4</cx:pt>
          <cx:pt idx="89569">4</cx:pt>
          <cx:pt idx="89570">4</cx:pt>
          <cx:pt idx="89571">4</cx:pt>
          <cx:pt idx="89572">3</cx:pt>
          <cx:pt idx="89573">5</cx:pt>
          <cx:pt idx="89574">1</cx:pt>
          <cx:pt idx="89575">2</cx:pt>
          <cx:pt idx="89576">2</cx:pt>
          <cx:pt idx="89577">4</cx:pt>
          <cx:pt idx="89578">4</cx:pt>
          <cx:pt idx="89579">3</cx:pt>
          <cx:pt idx="89580">4</cx:pt>
          <cx:pt idx="89581">4</cx:pt>
          <cx:pt idx="89582">3</cx:pt>
          <cx:pt idx="89583">4</cx:pt>
          <cx:pt idx="89584">4</cx:pt>
          <cx:pt idx="89585">5</cx:pt>
          <cx:pt idx="89586">3</cx:pt>
          <cx:pt idx="89587">2</cx:pt>
          <cx:pt idx="89588">3</cx:pt>
          <cx:pt idx="89589">4</cx:pt>
          <cx:pt idx="89590">4</cx:pt>
          <cx:pt idx="89591">4</cx:pt>
          <cx:pt idx="89592">4</cx:pt>
          <cx:pt idx="89593">3</cx:pt>
          <cx:pt idx="89594">3</cx:pt>
          <cx:pt idx="89595">2</cx:pt>
          <cx:pt idx="89596">3</cx:pt>
          <cx:pt idx="89597">4</cx:pt>
          <cx:pt idx="89598">2</cx:pt>
          <cx:pt idx="89599">2</cx:pt>
          <cx:pt idx="89600">1</cx:pt>
          <cx:pt idx="89601">5</cx:pt>
          <cx:pt idx="89602">5</cx:pt>
          <cx:pt idx="89603">5</cx:pt>
          <cx:pt idx="89604">4</cx:pt>
          <cx:pt idx="89605">5</cx:pt>
          <cx:pt idx="89606">2</cx:pt>
          <cx:pt idx="89607">5</cx:pt>
          <cx:pt idx="89608">5</cx:pt>
          <cx:pt idx="89609">3</cx:pt>
          <cx:pt idx="89610">4</cx:pt>
          <cx:pt idx="89611">5</cx:pt>
          <cx:pt idx="89612">4</cx:pt>
          <cx:pt idx="89613">4</cx:pt>
          <cx:pt idx="89614">5</cx:pt>
          <cx:pt idx="89615">3</cx:pt>
          <cx:pt idx="89616">1</cx:pt>
          <cx:pt idx="89617">5</cx:pt>
          <cx:pt idx="89618">5</cx:pt>
          <cx:pt idx="89619">2</cx:pt>
          <cx:pt idx="89620">2</cx:pt>
          <cx:pt idx="89621">4</cx:pt>
          <cx:pt idx="89622">3</cx:pt>
          <cx:pt idx="89623">2</cx:pt>
          <cx:pt idx="89624">3</cx:pt>
          <cx:pt idx="89625">3</cx:pt>
          <cx:pt idx="89626">4</cx:pt>
          <cx:pt idx="89627">5</cx:pt>
          <cx:pt idx="89628">3</cx:pt>
          <cx:pt idx="89629">4</cx:pt>
          <cx:pt idx="89630">3</cx:pt>
          <cx:pt idx="89631">4</cx:pt>
          <cx:pt idx="89632">5</cx:pt>
          <cx:pt idx="89633">5</cx:pt>
          <cx:pt idx="89634">2</cx:pt>
          <cx:pt idx="89635">3</cx:pt>
          <cx:pt idx="89636">4</cx:pt>
          <cx:pt idx="89637">5</cx:pt>
          <cx:pt idx="89638">4</cx:pt>
          <cx:pt idx="89639">3</cx:pt>
          <cx:pt idx="89640">4</cx:pt>
          <cx:pt idx="89641">2</cx:pt>
          <cx:pt idx="89642">3</cx:pt>
          <cx:pt idx="89643">2</cx:pt>
          <cx:pt idx="89644">4</cx:pt>
          <cx:pt idx="89645">4</cx:pt>
          <cx:pt idx="89646">4</cx:pt>
          <cx:pt idx="89647">4</cx:pt>
          <cx:pt idx="89648">1</cx:pt>
          <cx:pt idx="89649">1</cx:pt>
          <cx:pt idx="89650">5</cx:pt>
          <cx:pt idx="89651">4</cx:pt>
          <cx:pt idx="89652">4</cx:pt>
          <cx:pt idx="89653">4</cx:pt>
          <cx:pt idx="89654">5</cx:pt>
          <cx:pt idx="89655">2</cx:pt>
          <cx:pt idx="89656">5</cx:pt>
          <cx:pt idx="89657">3</cx:pt>
          <cx:pt idx="89658">2</cx:pt>
          <cx:pt idx="89659">5</cx:pt>
          <cx:pt idx="89660">4</cx:pt>
          <cx:pt idx="89661">5</cx:pt>
          <cx:pt idx="89662">4</cx:pt>
          <cx:pt idx="89663">2</cx:pt>
          <cx:pt idx="89664">1</cx:pt>
          <cx:pt idx="89665">1</cx:pt>
          <cx:pt idx="89666">3</cx:pt>
          <cx:pt idx="89667">4</cx:pt>
          <cx:pt idx="89668">5</cx:pt>
          <cx:pt idx="89669">5</cx:pt>
          <cx:pt idx="89670">3</cx:pt>
          <cx:pt idx="89671">4</cx:pt>
          <cx:pt idx="89672">1</cx:pt>
          <cx:pt idx="89673">4</cx:pt>
          <cx:pt idx="89674">4</cx:pt>
          <cx:pt idx="89675">3</cx:pt>
          <cx:pt idx="89676">5</cx:pt>
          <cx:pt idx="89677">4</cx:pt>
          <cx:pt idx="89678">2</cx:pt>
          <cx:pt idx="89679">5</cx:pt>
          <cx:pt idx="89680">3</cx:pt>
          <cx:pt idx="89681">5</cx:pt>
          <cx:pt idx="89682">3</cx:pt>
          <cx:pt idx="89683">5</cx:pt>
          <cx:pt idx="89684">2</cx:pt>
          <cx:pt idx="89685">5</cx:pt>
          <cx:pt idx="89686">3</cx:pt>
          <cx:pt idx="89687">4</cx:pt>
          <cx:pt idx="89688">4</cx:pt>
          <cx:pt idx="89689">5</cx:pt>
          <cx:pt idx="89690">2</cx:pt>
          <cx:pt idx="89691">4</cx:pt>
          <cx:pt idx="89692">3</cx:pt>
          <cx:pt idx="89693">4</cx:pt>
          <cx:pt idx="89694">3</cx:pt>
          <cx:pt idx="89695">4</cx:pt>
          <cx:pt idx="89696">5</cx:pt>
          <cx:pt idx="89697">5</cx:pt>
          <cx:pt idx="89698">4</cx:pt>
          <cx:pt idx="89699">3</cx:pt>
          <cx:pt idx="89700">2</cx:pt>
          <cx:pt idx="89701">4</cx:pt>
          <cx:pt idx="89702">3</cx:pt>
          <cx:pt idx="89703">4</cx:pt>
          <cx:pt idx="89704">2</cx:pt>
          <cx:pt idx="89705">3</cx:pt>
          <cx:pt idx="89706">3</cx:pt>
          <cx:pt idx="89707">1</cx:pt>
          <cx:pt idx="89708">3</cx:pt>
          <cx:pt idx="89709">3</cx:pt>
          <cx:pt idx="89710">4</cx:pt>
          <cx:pt idx="89711">5</cx:pt>
          <cx:pt idx="89712">5</cx:pt>
          <cx:pt idx="89713">3</cx:pt>
          <cx:pt idx="89714">3</cx:pt>
          <cx:pt idx="89715">3</cx:pt>
          <cx:pt idx="89716">4</cx:pt>
          <cx:pt idx="89717">3</cx:pt>
          <cx:pt idx="89718">4</cx:pt>
          <cx:pt idx="89719">3</cx:pt>
          <cx:pt idx="89720">5</cx:pt>
          <cx:pt idx="89721">1</cx:pt>
          <cx:pt idx="89722">4</cx:pt>
          <cx:pt idx="89723">4</cx:pt>
          <cx:pt idx="89724">3</cx:pt>
          <cx:pt idx="89725">5</cx:pt>
          <cx:pt idx="89726">3</cx:pt>
          <cx:pt idx="89727">5</cx:pt>
          <cx:pt idx="89728">5</cx:pt>
          <cx:pt idx="89729">4</cx:pt>
          <cx:pt idx="89730">5</cx:pt>
          <cx:pt idx="89731">3</cx:pt>
          <cx:pt idx="89732">4</cx:pt>
          <cx:pt idx="89733">5</cx:pt>
          <cx:pt idx="89734">5</cx:pt>
          <cx:pt idx="89735">5</cx:pt>
          <cx:pt idx="89736">4</cx:pt>
          <cx:pt idx="89737">4</cx:pt>
          <cx:pt idx="89738">4</cx:pt>
          <cx:pt idx="89739">5</cx:pt>
          <cx:pt idx="89740">4</cx:pt>
          <cx:pt idx="89741">2</cx:pt>
          <cx:pt idx="89742">1</cx:pt>
          <cx:pt idx="89743">3</cx:pt>
          <cx:pt idx="89744">4</cx:pt>
          <cx:pt idx="89745">2</cx:pt>
          <cx:pt idx="89746">4</cx:pt>
          <cx:pt idx="89747">4</cx:pt>
          <cx:pt idx="89748">4</cx:pt>
          <cx:pt idx="89749">5</cx:pt>
          <cx:pt idx="89750">5</cx:pt>
          <cx:pt idx="89751">4</cx:pt>
          <cx:pt idx="89752">1</cx:pt>
          <cx:pt idx="89753">1</cx:pt>
          <cx:pt idx="89754">2</cx:pt>
          <cx:pt idx="89755">3</cx:pt>
          <cx:pt idx="89756">3</cx:pt>
          <cx:pt idx="89757">5</cx:pt>
          <cx:pt idx="89758">2</cx:pt>
          <cx:pt idx="89759">2</cx:pt>
          <cx:pt idx="89760">2</cx:pt>
          <cx:pt idx="89761">2</cx:pt>
          <cx:pt idx="89762">4</cx:pt>
          <cx:pt idx="89763">1</cx:pt>
          <cx:pt idx="89764">4</cx:pt>
          <cx:pt idx="89765">4</cx:pt>
          <cx:pt idx="89766">2</cx:pt>
          <cx:pt idx="89767">5</cx:pt>
          <cx:pt idx="89768">1</cx:pt>
          <cx:pt idx="89769">2</cx:pt>
          <cx:pt idx="89770">1</cx:pt>
          <cx:pt idx="89771">2</cx:pt>
          <cx:pt idx="89772">4</cx:pt>
          <cx:pt idx="89773">5</cx:pt>
          <cx:pt idx="89774">2</cx:pt>
          <cx:pt idx="89775">1</cx:pt>
          <cx:pt idx="89776">5</cx:pt>
          <cx:pt idx="89777">5</cx:pt>
          <cx:pt idx="89778">3</cx:pt>
          <cx:pt idx="89779">2</cx:pt>
          <cx:pt idx="89780">4</cx:pt>
          <cx:pt idx="89781">1</cx:pt>
          <cx:pt idx="89782">2</cx:pt>
          <cx:pt idx="89783">3</cx:pt>
          <cx:pt idx="89784">2</cx:pt>
          <cx:pt idx="89785">2</cx:pt>
          <cx:pt idx="89786">4</cx:pt>
          <cx:pt idx="89787">3</cx:pt>
          <cx:pt idx="89788">3</cx:pt>
          <cx:pt idx="89789">4</cx:pt>
          <cx:pt idx="89790">5</cx:pt>
          <cx:pt idx="89791">4</cx:pt>
          <cx:pt idx="89792">4</cx:pt>
          <cx:pt idx="89793">5</cx:pt>
          <cx:pt idx="89794">4</cx:pt>
          <cx:pt idx="89795">5</cx:pt>
          <cx:pt idx="89796">4</cx:pt>
          <cx:pt idx="89797">5</cx:pt>
          <cx:pt idx="89798">2</cx:pt>
          <cx:pt idx="89799">2</cx:pt>
          <cx:pt idx="89800">1</cx:pt>
          <cx:pt idx="89801">5</cx:pt>
          <cx:pt idx="89802">4</cx:pt>
          <cx:pt idx="89803">4</cx:pt>
          <cx:pt idx="89804">4</cx:pt>
          <cx:pt idx="89805">1</cx:pt>
          <cx:pt idx="89806">1</cx:pt>
          <cx:pt idx="89807">4</cx:pt>
          <cx:pt idx="89808">3</cx:pt>
          <cx:pt idx="89809">5</cx:pt>
          <cx:pt idx="89810">4</cx:pt>
          <cx:pt idx="89811">4</cx:pt>
          <cx:pt idx="89812">2</cx:pt>
          <cx:pt idx="89813">4</cx:pt>
          <cx:pt idx="89814">4</cx:pt>
          <cx:pt idx="89815">1</cx:pt>
          <cx:pt idx="89816">5</cx:pt>
          <cx:pt idx="89817">5</cx:pt>
          <cx:pt idx="89818">4</cx:pt>
          <cx:pt idx="89819">4</cx:pt>
          <cx:pt idx="89820">4</cx:pt>
          <cx:pt idx="89821">4</cx:pt>
          <cx:pt idx="89822">1</cx:pt>
          <cx:pt idx="89823">4</cx:pt>
          <cx:pt idx="89824">4</cx:pt>
          <cx:pt idx="89825">4</cx:pt>
          <cx:pt idx="89826">3</cx:pt>
          <cx:pt idx="89827">1</cx:pt>
          <cx:pt idx="89828">5</cx:pt>
          <cx:pt idx="89829">4</cx:pt>
          <cx:pt idx="89830">5</cx:pt>
          <cx:pt idx="89831">5</cx:pt>
          <cx:pt idx="89832">2</cx:pt>
          <cx:pt idx="89833">3</cx:pt>
          <cx:pt idx="89834">4</cx:pt>
          <cx:pt idx="89835">5</cx:pt>
          <cx:pt idx="89836">4</cx:pt>
          <cx:pt idx="89837">4</cx:pt>
          <cx:pt idx="89838">4</cx:pt>
          <cx:pt idx="89839">2</cx:pt>
          <cx:pt idx="89840">4</cx:pt>
          <cx:pt idx="89841">5</cx:pt>
          <cx:pt idx="89842">5</cx:pt>
          <cx:pt idx="89843">3</cx:pt>
          <cx:pt idx="89844">5</cx:pt>
          <cx:pt idx="89845">5</cx:pt>
          <cx:pt idx="89846">5</cx:pt>
          <cx:pt idx="89847">3</cx:pt>
          <cx:pt idx="89848">1</cx:pt>
          <cx:pt idx="89849">4</cx:pt>
          <cx:pt idx="89850">2</cx:pt>
          <cx:pt idx="89851">4</cx:pt>
          <cx:pt idx="89852">2</cx:pt>
          <cx:pt idx="89853">5</cx:pt>
          <cx:pt idx="89854">5</cx:pt>
          <cx:pt idx="89855">5</cx:pt>
          <cx:pt idx="89856">1</cx:pt>
          <cx:pt idx="89857">4</cx:pt>
          <cx:pt idx="89858">1</cx:pt>
          <cx:pt idx="89859">3</cx:pt>
          <cx:pt idx="89860">5</cx:pt>
          <cx:pt idx="89861">4</cx:pt>
          <cx:pt idx="89862">4</cx:pt>
          <cx:pt idx="89863">3</cx:pt>
          <cx:pt idx="89864">5</cx:pt>
          <cx:pt idx="89865">4</cx:pt>
          <cx:pt idx="89866">3</cx:pt>
          <cx:pt idx="89867">2</cx:pt>
          <cx:pt idx="89868">2</cx:pt>
          <cx:pt idx="89869">4</cx:pt>
          <cx:pt idx="89870">5</cx:pt>
          <cx:pt idx="89871">2</cx:pt>
          <cx:pt idx="89872">3</cx:pt>
          <cx:pt idx="89873">2</cx:pt>
          <cx:pt idx="89874">2</cx:pt>
          <cx:pt idx="89875">5</cx:pt>
          <cx:pt idx="89876">4</cx:pt>
          <cx:pt idx="89877">3</cx:pt>
          <cx:pt idx="89878">4</cx:pt>
          <cx:pt idx="89879">3</cx:pt>
          <cx:pt idx="89880">2</cx:pt>
          <cx:pt idx="89881">1</cx:pt>
          <cx:pt idx="89882">4</cx:pt>
          <cx:pt idx="89883">2</cx:pt>
          <cx:pt idx="89884">5</cx:pt>
          <cx:pt idx="89885">5</cx:pt>
          <cx:pt idx="89886">3</cx:pt>
          <cx:pt idx="89887">2</cx:pt>
          <cx:pt idx="89888">2</cx:pt>
          <cx:pt idx="89889">4</cx:pt>
          <cx:pt idx="89890">4</cx:pt>
          <cx:pt idx="89891">2</cx:pt>
          <cx:pt idx="89892">5</cx:pt>
          <cx:pt idx="89893">3</cx:pt>
          <cx:pt idx="89894">4</cx:pt>
          <cx:pt idx="89895">1</cx:pt>
          <cx:pt idx="89896">5</cx:pt>
          <cx:pt idx="89897">4</cx:pt>
          <cx:pt idx="89898">4</cx:pt>
          <cx:pt idx="89899">3</cx:pt>
          <cx:pt idx="89900">3</cx:pt>
          <cx:pt idx="89901">5</cx:pt>
          <cx:pt idx="89902">4</cx:pt>
          <cx:pt idx="89903">5</cx:pt>
          <cx:pt idx="89904">4</cx:pt>
          <cx:pt idx="89905">3</cx:pt>
          <cx:pt idx="89906">4</cx:pt>
          <cx:pt idx="89907">5</cx:pt>
          <cx:pt idx="89908">4</cx:pt>
          <cx:pt idx="89909">2</cx:pt>
          <cx:pt idx="89910">2</cx:pt>
          <cx:pt idx="89911">1</cx:pt>
          <cx:pt idx="89912">4</cx:pt>
          <cx:pt idx="89913">5</cx:pt>
          <cx:pt idx="89914">2</cx:pt>
          <cx:pt idx="89915">4</cx:pt>
          <cx:pt idx="89916">1</cx:pt>
          <cx:pt idx="89917">5</cx:pt>
          <cx:pt idx="89918">4</cx:pt>
          <cx:pt idx="89919">5</cx:pt>
          <cx:pt idx="89920">4</cx:pt>
          <cx:pt idx="89921">5</cx:pt>
          <cx:pt idx="89922">5</cx:pt>
          <cx:pt idx="89923">3</cx:pt>
          <cx:pt idx="89924">4</cx:pt>
          <cx:pt idx="89925">5</cx:pt>
          <cx:pt idx="89926">4</cx:pt>
          <cx:pt idx="89927">1</cx:pt>
          <cx:pt idx="89928">4</cx:pt>
          <cx:pt idx="89929">4</cx:pt>
          <cx:pt idx="89930">1</cx:pt>
          <cx:pt idx="89931">3</cx:pt>
          <cx:pt idx="89932">4</cx:pt>
          <cx:pt idx="89933">5</cx:pt>
          <cx:pt idx="89934">1</cx:pt>
          <cx:pt idx="89935">1</cx:pt>
          <cx:pt idx="89936">1</cx:pt>
          <cx:pt idx="89937">3</cx:pt>
          <cx:pt idx="89938">3</cx:pt>
          <cx:pt idx="89939">3</cx:pt>
          <cx:pt idx="89940">5</cx:pt>
          <cx:pt idx="89941">5</cx:pt>
          <cx:pt idx="89942">5</cx:pt>
          <cx:pt idx="89943">4</cx:pt>
          <cx:pt idx="89944">3</cx:pt>
          <cx:pt idx="89945">5</cx:pt>
          <cx:pt idx="89946">4</cx:pt>
          <cx:pt idx="89947">2</cx:pt>
          <cx:pt idx="89948">4</cx:pt>
          <cx:pt idx="89949">2</cx:pt>
          <cx:pt idx="89950">1</cx:pt>
          <cx:pt idx="89951">5</cx:pt>
          <cx:pt idx="89952">3</cx:pt>
          <cx:pt idx="89953">1</cx:pt>
          <cx:pt idx="89954">2</cx:pt>
          <cx:pt idx="89955">1</cx:pt>
          <cx:pt idx="89956">2</cx:pt>
          <cx:pt idx="89957">5</cx:pt>
          <cx:pt idx="89958">5</cx:pt>
          <cx:pt idx="89959">5</cx:pt>
          <cx:pt idx="89960">4</cx:pt>
          <cx:pt idx="89961">3</cx:pt>
          <cx:pt idx="89962">5</cx:pt>
          <cx:pt idx="89963">5</cx:pt>
          <cx:pt idx="89964">2</cx:pt>
          <cx:pt idx="89965">2</cx:pt>
          <cx:pt idx="89966">4</cx:pt>
          <cx:pt idx="89967">3</cx:pt>
          <cx:pt idx="89968">2</cx:pt>
          <cx:pt idx="89969">1</cx:pt>
          <cx:pt idx="89970">4</cx:pt>
          <cx:pt idx="89971">5</cx:pt>
          <cx:pt idx="89972">5</cx:pt>
          <cx:pt idx="89973">5</cx:pt>
          <cx:pt idx="89974">1</cx:pt>
          <cx:pt idx="89975">2</cx:pt>
          <cx:pt idx="89976">4</cx:pt>
          <cx:pt idx="89977">4</cx:pt>
          <cx:pt idx="89978">4</cx:pt>
          <cx:pt idx="89979">5</cx:pt>
          <cx:pt idx="89980">1</cx:pt>
          <cx:pt idx="89981">2</cx:pt>
          <cx:pt idx="89982">4</cx:pt>
          <cx:pt idx="89983">4</cx:pt>
          <cx:pt idx="89984">1</cx:pt>
          <cx:pt idx="89985">4</cx:pt>
          <cx:pt idx="89986">4</cx:pt>
          <cx:pt idx="89987">1</cx:pt>
          <cx:pt idx="89988">3</cx:pt>
          <cx:pt idx="89989">5</cx:pt>
          <cx:pt idx="89990">3</cx:pt>
          <cx:pt idx="89991">3</cx:pt>
          <cx:pt idx="89992">3</cx:pt>
          <cx:pt idx="89993">2</cx:pt>
          <cx:pt idx="89994">3</cx:pt>
          <cx:pt idx="89995">4</cx:pt>
          <cx:pt idx="89996">3</cx:pt>
          <cx:pt idx="89997">5</cx:pt>
          <cx:pt idx="89998">3</cx:pt>
          <cx:pt idx="89999">4</cx:pt>
          <cx:pt idx="90000">3</cx:pt>
          <cx:pt idx="90001">1</cx:pt>
          <cx:pt idx="90002">2</cx:pt>
          <cx:pt idx="90003">5</cx:pt>
          <cx:pt idx="90004">5</cx:pt>
          <cx:pt idx="90005">2</cx:pt>
          <cx:pt idx="90006">5</cx:pt>
          <cx:pt idx="90007">2</cx:pt>
          <cx:pt idx="90008">2</cx:pt>
          <cx:pt idx="90009">1</cx:pt>
          <cx:pt idx="90010">4</cx:pt>
          <cx:pt idx="90011">4</cx:pt>
          <cx:pt idx="90012">1</cx:pt>
          <cx:pt idx="90013">4</cx:pt>
          <cx:pt idx="90014">5</cx:pt>
          <cx:pt idx="90015">1</cx:pt>
          <cx:pt idx="90016">5</cx:pt>
          <cx:pt idx="90017">4</cx:pt>
          <cx:pt idx="90018">5</cx:pt>
          <cx:pt idx="90019">4</cx:pt>
          <cx:pt idx="90020">4</cx:pt>
          <cx:pt idx="90021">5</cx:pt>
          <cx:pt idx="90022">3</cx:pt>
          <cx:pt idx="90023">4</cx:pt>
          <cx:pt idx="90024">4</cx:pt>
          <cx:pt idx="90025">2</cx:pt>
          <cx:pt idx="90026">4</cx:pt>
          <cx:pt idx="90027">4</cx:pt>
          <cx:pt idx="90028">4</cx:pt>
          <cx:pt idx="90029">3</cx:pt>
          <cx:pt idx="90030">3</cx:pt>
          <cx:pt idx="90031">5</cx:pt>
          <cx:pt idx="90032">3</cx:pt>
          <cx:pt idx="90033">5</cx:pt>
          <cx:pt idx="90034">5</cx:pt>
          <cx:pt idx="90035">4</cx:pt>
          <cx:pt idx="90036">2</cx:pt>
          <cx:pt idx="90037">2</cx:pt>
          <cx:pt idx="90038">4</cx:pt>
          <cx:pt idx="90039">4</cx:pt>
          <cx:pt idx="90040">4</cx:pt>
          <cx:pt idx="90041">3</cx:pt>
          <cx:pt idx="90042">4</cx:pt>
          <cx:pt idx="90043">4</cx:pt>
          <cx:pt idx="90044">5</cx:pt>
          <cx:pt idx="90045">3</cx:pt>
          <cx:pt idx="90046">5</cx:pt>
          <cx:pt idx="90047">5</cx:pt>
          <cx:pt idx="90048">4</cx:pt>
          <cx:pt idx="90049">3</cx:pt>
          <cx:pt idx="90050">3</cx:pt>
          <cx:pt idx="90051">3</cx:pt>
          <cx:pt idx="90052">4</cx:pt>
          <cx:pt idx="90053">4</cx:pt>
          <cx:pt idx="90054">1</cx:pt>
          <cx:pt idx="90055">4</cx:pt>
          <cx:pt idx="90056">4</cx:pt>
          <cx:pt idx="90057">4</cx:pt>
          <cx:pt idx="90058">4</cx:pt>
          <cx:pt idx="90059">4</cx:pt>
          <cx:pt idx="90060">5</cx:pt>
          <cx:pt idx="90061">1</cx:pt>
          <cx:pt idx="90062">4</cx:pt>
          <cx:pt idx="90063">5</cx:pt>
          <cx:pt idx="90064">3</cx:pt>
          <cx:pt idx="90065">5</cx:pt>
          <cx:pt idx="90066">4</cx:pt>
          <cx:pt idx="90067">1</cx:pt>
          <cx:pt idx="90068">3</cx:pt>
          <cx:pt idx="90069">3</cx:pt>
          <cx:pt idx="90070">5</cx:pt>
          <cx:pt idx="90071">4</cx:pt>
          <cx:pt idx="90072">5</cx:pt>
          <cx:pt idx="90073">4</cx:pt>
          <cx:pt idx="90074">4</cx:pt>
          <cx:pt idx="90075">4</cx:pt>
          <cx:pt idx="90076">4</cx:pt>
          <cx:pt idx="90077">1</cx:pt>
          <cx:pt idx="90078">2</cx:pt>
          <cx:pt idx="90079">5</cx:pt>
          <cx:pt idx="90080">4</cx:pt>
          <cx:pt idx="90081">2</cx:pt>
          <cx:pt idx="90082">5</cx:pt>
          <cx:pt idx="90083">3</cx:pt>
          <cx:pt idx="90084">3</cx:pt>
          <cx:pt idx="90085">3</cx:pt>
          <cx:pt idx="90086">5</cx:pt>
          <cx:pt idx="90087">4</cx:pt>
          <cx:pt idx="90088">4</cx:pt>
          <cx:pt idx="90089">4</cx:pt>
          <cx:pt idx="90090">3</cx:pt>
          <cx:pt idx="90091">3</cx:pt>
          <cx:pt idx="90092">5</cx:pt>
          <cx:pt idx="90093">2</cx:pt>
          <cx:pt idx="90094">2</cx:pt>
          <cx:pt idx="90095">5</cx:pt>
          <cx:pt idx="90096">3</cx:pt>
          <cx:pt idx="90097">2</cx:pt>
          <cx:pt idx="90098">1</cx:pt>
          <cx:pt idx="90099">3</cx:pt>
          <cx:pt idx="90100">3</cx:pt>
          <cx:pt idx="90101">2</cx:pt>
          <cx:pt idx="90102">3</cx:pt>
          <cx:pt idx="90103">3</cx:pt>
          <cx:pt idx="90104">5</cx:pt>
          <cx:pt idx="90105">4</cx:pt>
          <cx:pt idx="90106">4</cx:pt>
          <cx:pt idx="90107">3</cx:pt>
          <cx:pt idx="90108">5</cx:pt>
          <cx:pt idx="90109">4</cx:pt>
          <cx:pt idx="90110">5</cx:pt>
          <cx:pt idx="90111">3</cx:pt>
          <cx:pt idx="90112">3</cx:pt>
          <cx:pt idx="90113">3</cx:pt>
          <cx:pt idx="90114">5</cx:pt>
          <cx:pt idx="90115">3</cx:pt>
          <cx:pt idx="90116">1</cx:pt>
          <cx:pt idx="90117">3</cx:pt>
          <cx:pt idx="90118">3</cx:pt>
          <cx:pt idx="90119">4</cx:pt>
          <cx:pt idx="90120">2</cx:pt>
          <cx:pt idx="90121">5</cx:pt>
          <cx:pt idx="90122">2</cx:pt>
          <cx:pt idx="90123">4</cx:pt>
          <cx:pt idx="90124">4</cx:pt>
          <cx:pt idx="90125">2</cx:pt>
          <cx:pt idx="90126">4</cx:pt>
          <cx:pt idx="90127">2</cx:pt>
          <cx:pt idx="90128">4</cx:pt>
          <cx:pt idx="90129">4</cx:pt>
          <cx:pt idx="90130">3</cx:pt>
          <cx:pt idx="90131">5</cx:pt>
          <cx:pt idx="90132">3</cx:pt>
          <cx:pt idx="90133">5</cx:pt>
          <cx:pt idx="90134">5</cx:pt>
          <cx:pt idx="90135">4</cx:pt>
          <cx:pt idx="90136">5</cx:pt>
          <cx:pt idx="90137">5</cx:pt>
          <cx:pt idx="90138">1</cx:pt>
          <cx:pt idx="90139">4</cx:pt>
          <cx:pt idx="90140">2</cx:pt>
          <cx:pt idx="90141">3</cx:pt>
          <cx:pt idx="90142">3</cx:pt>
          <cx:pt idx="90143">5</cx:pt>
          <cx:pt idx="90144">5</cx:pt>
          <cx:pt idx="90145">5</cx:pt>
          <cx:pt idx="90146">5</cx:pt>
          <cx:pt idx="90147">4</cx:pt>
          <cx:pt idx="90148">5</cx:pt>
          <cx:pt idx="90149">4</cx:pt>
          <cx:pt idx="90150">3</cx:pt>
          <cx:pt idx="90151">4</cx:pt>
          <cx:pt idx="90152">4</cx:pt>
          <cx:pt idx="90153">4</cx:pt>
          <cx:pt idx="90154">1</cx:pt>
          <cx:pt idx="90155">1</cx:pt>
          <cx:pt idx="90156">4</cx:pt>
          <cx:pt idx="90157">5</cx:pt>
          <cx:pt idx="90158">4</cx:pt>
          <cx:pt idx="90159">5</cx:pt>
          <cx:pt idx="90160">2</cx:pt>
          <cx:pt idx="90161">4</cx:pt>
          <cx:pt idx="90162">3</cx:pt>
          <cx:pt idx="90163">2</cx:pt>
          <cx:pt idx="90164">4</cx:pt>
          <cx:pt idx="90165">3</cx:pt>
          <cx:pt idx="90166">5</cx:pt>
          <cx:pt idx="90167">4</cx:pt>
          <cx:pt idx="90168">3</cx:pt>
          <cx:pt idx="90169">5</cx:pt>
          <cx:pt idx="90170">3</cx:pt>
          <cx:pt idx="90171">1</cx:pt>
          <cx:pt idx="90172">3</cx:pt>
          <cx:pt idx="90173">3</cx:pt>
          <cx:pt idx="90174">4</cx:pt>
          <cx:pt idx="90175">1</cx:pt>
          <cx:pt idx="90176">4</cx:pt>
          <cx:pt idx="90177">4</cx:pt>
          <cx:pt idx="90178">2</cx:pt>
          <cx:pt idx="90179">4</cx:pt>
          <cx:pt idx="90180">5</cx:pt>
          <cx:pt idx="90181">2</cx:pt>
          <cx:pt idx="90182">1</cx:pt>
          <cx:pt idx="90183">4</cx:pt>
          <cx:pt idx="90184">5</cx:pt>
          <cx:pt idx="90185">1</cx:pt>
          <cx:pt idx="90186">5</cx:pt>
          <cx:pt idx="90187">4</cx:pt>
          <cx:pt idx="90188">5</cx:pt>
          <cx:pt idx="90189">2</cx:pt>
          <cx:pt idx="90190">3</cx:pt>
          <cx:pt idx="90191">1</cx:pt>
          <cx:pt idx="90192">1</cx:pt>
          <cx:pt idx="90193">2</cx:pt>
          <cx:pt idx="90194">3</cx:pt>
          <cx:pt idx="90195">5</cx:pt>
          <cx:pt idx="90196">1</cx:pt>
          <cx:pt idx="90197">4</cx:pt>
          <cx:pt idx="90198">5</cx:pt>
          <cx:pt idx="90199">3</cx:pt>
          <cx:pt idx="90200">5</cx:pt>
          <cx:pt idx="90201">3</cx:pt>
          <cx:pt idx="90202">5</cx:pt>
          <cx:pt idx="90203">3</cx:pt>
          <cx:pt idx="90204">5</cx:pt>
          <cx:pt idx="90205">5</cx:pt>
          <cx:pt idx="90206">3</cx:pt>
          <cx:pt idx="90207">1</cx:pt>
          <cx:pt idx="90208">5</cx:pt>
          <cx:pt idx="90209">3</cx:pt>
          <cx:pt idx="90210">4</cx:pt>
          <cx:pt idx="90211">4</cx:pt>
          <cx:pt idx="90212">1</cx:pt>
          <cx:pt idx="90213">4</cx:pt>
          <cx:pt idx="90214">4</cx:pt>
          <cx:pt idx="90215">4</cx:pt>
          <cx:pt idx="90216">4</cx:pt>
          <cx:pt idx="90217">4</cx:pt>
          <cx:pt idx="90218">4</cx:pt>
          <cx:pt idx="90219">5</cx:pt>
          <cx:pt idx="90220">4</cx:pt>
          <cx:pt idx="90221">3</cx:pt>
          <cx:pt idx="90222">4</cx:pt>
          <cx:pt idx="90223">3</cx:pt>
          <cx:pt idx="90224">5</cx:pt>
          <cx:pt idx="90225">3</cx:pt>
          <cx:pt idx="90226">4</cx:pt>
          <cx:pt idx="90227">3</cx:pt>
          <cx:pt idx="90228">4</cx:pt>
          <cx:pt idx="90229">4</cx:pt>
          <cx:pt idx="90230">5</cx:pt>
          <cx:pt idx="90231">1</cx:pt>
          <cx:pt idx="90232">4</cx:pt>
          <cx:pt idx="90233">4</cx:pt>
          <cx:pt idx="90234">3</cx:pt>
          <cx:pt idx="90235">2</cx:pt>
          <cx:pt idx="90236">3</cx:pt>
          <cx:pt idx="90237">2</cx:pt>
          <cx:pt idx="90238">5</cx:pt>
          <cx:pt idx="90239">4</cx:pt>
          <cx:pt idx="90240">5</cx:pt>
          <cx:pt idx="90241">5</cx:pt>
          <cx:pt idx="90242">4</cx:pt>
          <cx:pt idx="90243">4</cx:pt>
          <cx:pt idx="90244">4</cx:pt>
          <cx:pt idx="90245">5</cx:pt>
          <cx:pt idx="90246">5</cx:pt>
          <cx:pt idx="90247">4</cx:pt>
          <cx:pt idx="90248">4</cx:pt>
          <cx:pt idx="90249">4</cx:pt>
          <cx:pt idx="90250">4</cx:pt>
          <cx:pt idx="90251">2</cx:pt>
          <cx:pt idx="90252">3</cx:pt>
          <cx:pt idx="90253">2</cx:pt>
          <cx:pt idx="90254">1</cx:pt>
          <cx:pt idx="90255">3</cx:pt>
          <cx:pt idx="90256">5</cx:pt>
          <cx:pt idx="90257">5</cx:pt>
          <cx:pt idx="90258">4</cx:pt>
          <cx:pt idx="90259">4</cx:pt>
          <cx:pt idx="90260">1</cx:pt>
          <cx:pt idx="90261">5</cx:pt>
          <cx:pt idx="90262">5</cx:pt>
          <cx:pt idx="90263">5</cx:pt>
          <cx:pt idx="90264">2</cx:pt>
          <cx:pt idx="90265">4</cx:pt>
          <cx:pt idx="90266">2</cx:pt>
          <cx:pt idx="90267">4</cx:pt>
          <cx:pt idx="90268">4</cx:pt>
          <cx:pt idx="90269">1</cx:pt>
          <cx:pt idx="90270">4</cx:pt>
          <cx:pt idx="90271">4</cx:pt>
          <cx:pt idx="90272">4</cx:pt>
          <cx:pt idx="90273">2</cx:pt>
          <cx:pt idx="90274">5</cx:pt>
          <cx:pt idx="90275">3</cx:pt>
          <cx:pt idx="90276">5</cx:pt>
          <cx:pt idx="90277">2</cx:pt>
          <cx:pt idx="90278">4</cx:pt>
          <cx:pt idx="90279">1</cx:pt>
          <cx:pt idx="90280">5</cx:pt>
          <cx:pt idx="90281">5</cx:pt>
          <cx:pt idx="90282">1</cx:pt>
          <cx:pt idx="90283">3</cx:pt>
          <cx:pt idx="90284">5</cx:pt>
          <cx:pt idx="90285">3</cx:pt>
          <cx:pt idx="90286">4</cx:pt>
          <cx:pt idx="90287">5</cx:pt>
          <cx:pt idx="90288">4</cx:pt>
          <cx:pt idx="90289">2</cx:pt>
          <cx:pt idx="90290">5</cx:pt>
          <cx:pt idx="90291">4</cx:pt>
          <cx:pt idx="90292">3</cx:pt>
          <cx:pt idx="90293">5</cx:pt>
          <cx:pt idx="90294">4</cx:pt>
          <cx:pt idx="90295">4</cx:pt>
          <cx:pt idx="90296">4</cx:pt>
          <cx:pt idx="90297">5</cx:pt>
          <cx:pt idx="90298">5</cx:pt>
          <cx:pt idx="90299">3</cx:pt>
          <cx:pt idx="90300">1</cx:pt>
          <cx:pt idx="90301">2</cx:pt>
          <cx:pt idx="90302">1</cx:pt>
          <cx:pt idx="90303">5</cx:pt>
          <cx:pt idx="90304">5</cx:pt>
          <cx:pt idx="90305">5</cx:pt>
          <cx:pt idx="90306">2</cx:pt>
          <cx:pt idx="90307">3</cx:pt>
          <cx:pt idx="90308">3</cx:pt>
          <cx:pt idx="90309">2</cx:pt>
          <cx:pt idx="90310">4</cx:pt>
          <cx:pt idx="90311">5</cx:pt>
          <cx:pt idx="90312">5</cx:pt>
          <cx:pt idx="90313">2</cx:pt>
          <cx:pt idx="90314">5</cx:pt>
          <cx:pt idx="90315">4</cx:pt>
          <cx:pt idx="90316">3</cx:pt>
          <cx:pt idx="90317">2</cx:pt>
          <cx:pt idx="90318">1</cx:pt>
          <cx:pt idx="90319">2</cx:pt>
          <cx:pt idx="90320">1</cx:pt>
          <cx:pt idx="90321">2</cx:pt>
          <cx:pt idx="90322">4</cx:pt>
          <cx:pt idx="90323">5</cx:pt>
          <cx:pt idx="90324">5</cx:pt>
          <cx:pt idx="90325">5</cx:pt>
          <cx:pt idx="90326">4</cx:pt>
          <cx:pt idx="90327">2</cx:pt>
          <cx:pt idx="90328">5</cx:pt>
          <cx:pt idx="90329">3</cx:pt>
          <cx:pt idx="90330">4</cx:pt>
          <cx:pt idx="90331">5</cx:pt>
          <cx:pt idx="90332">2</cx:pt>
          <cx:pt idx="90333">3</cx:pt>
          <cx:pt idx="90334">4</cx:pt>
          <cx:pt idx="90335">5</cx:pt>
          <cx:pt idx="90336">4</cx:pt>
          <cx:pt idx="90337">5</cx:pt>
          <cx:pt idx="90338">5</cx:pt>
          <cx:pt idx="90339">3</cx:pt>
          <cx:pt idx="90340">3</cx:pt>
          <cx:pt idx="90341">4</cx:pt>
          <cx:pt idx="90342">3</cx:pt>
          <cx:pt idx="90343">4</cx:pt>
          <cx:pt idx="90344">3</cx:pt>
          <cx:pt idx="90345">5</cx:pt>
          <cx:pt idx="90346">4</cx:pt>
          <cx:pt idx="90347">5</cx:pt>
          <cx:pt idx="90348">3</cx:pt>
          <cx:pt idx="90349">2</cx:pt>
          <cx:pt idx="90350">4</cx:pt>
          <cx:pt idx="90351">3</cx:pt>
          <cx:pt idx="90352">5</cx:pt>
          <cx:pt idx="90353">3</cx:pt>
          <cx:pt idx="90354">2</cx:pt>
          <cx:pt idx="90355">4</cx:pt>
          <cx:pt idx="90356">3</cx:pt>
          <cx:pt idx="90357">2</cx:pt>
          <cx:pt idx="90358">5</cx:pt>
          <cx:pt idx="90359">2</cx:pt>
          <cx:pt idx="90360">2</cx:pt>
          <cx:pt idx="90361">3</cx:pt>
          <cx:pt idx="90362">1</cx:pt>
          <cx:pt idx="90363">3</cx:pt>
          <cx:pt idx="90364">5</cx:pt>
          <cx:pt idx="90365">4</cx:pt>
          <cx:pt idx="90366">2</cx:pt>
          <cx:pt idx="90367">4</cx:pt>
          <cx:pt idx="90368">3</cx:pt>
          <cx:pt idx="90369">5</cx:pt>
          <cx:pt idx="90370">4</cx:pt>
          <cx:pt idx="90371">2</cx:pt>
          <cx:pt idx="90372">3</cx:pt>
          <cx:pt idx="90373">1</cx:pt>
          <cx:pt idx="90374">5</cx:pt>
          <cx:pt idx="90375">3</cx:pt>
          <cx:pt idx="90376">4</cx:pt>
          <cx:pt idx="90377">3</cx:pt>
          <cx:pt idx="90378">4</cx:pt>
          <cx:pt idx="90379">4</cx:pt>
          <cx:pt idx="90380">5</cx:pt>
          <cx:pt idx="90381">4</cx:pt>
          <cx:pt idx="90382">2</cx:pt>
          <cx:pt idx="90383">4</cx:pt>
          <cx:pt idx="90384">5</cx:pt>
          <cx:pt idx="90385">5</cx:pt>
          <cx:pt idx="90386">3</cx:pt>
          <cx:pt idx="90387">3</cx:pt>
          <cx:pt idx="90388">2</cx:pt>
          <cx:pt idx="90389">4</cx:pt>
          <cx:pt idx="90390">3</cx:pt>
          <cx:pt idx="90391">4</cx:pt>
          <cx:pt idx="90392">5</cx:pt>
          <cx:pt idx="90393">4</cx:pt>
          <cx:pt idx="90394">4</cx:pt>
          <cx:pt idx="90395">2</cx:pt>
          <cx:pt idx="90396">4</cx:pt>
          <cx:pt idx="90397">4</cx:pt>
          <cx:pt idx="90398">1</cx:pt>
          <cx:pt idx="90399">5</cx:pt>
          <cx:pt idx="90400">3</cx:pt>
          <cx:pt idx="90401">5</cx:pt>
          <cx:pt idx="90402">5</cx:pt>
          <cx:pt idx="90403">3</cx:pt>
          <cx:pt idx="90404">3</cx:pt>
          <cx:pt idx="90405">1</cx:pt>
          <cx:pt idx="90406">3</cx:pt>
          <cx:pt idx="90407">4</cx:pt>
          <cx:pt idx="90408">4</cx:pt>
          <cx:pt idx="90409">1</cx:pt>
          <cx:pt idx="90410">4</cx:pt>
          <cx:pt idx="90411">4</cx:pt>
          <cx:pt idx="90412">3</cx:pt>
          <cx:pt idx="90413">5</cx:pt>
          <cx:pt idx="90414">1</cx:pt>
          <cx:pt idx="90415">4</cx:pt>
          <cx:pt idx="90416">3</cx:pt>
          <cx:pt idx="90417">4</cx:pt>
          <cx:pt idx="90418">3</cx:pt>
          <cx:pt idx="90419">4</cx:pt>
          <cx:pt idx="90420">1</cx:pt>
          <cx:pt idx="90421">4</cx:pt>
          <cx:pt idx="90422">4</cx:pt>
          <cx:pt idx="90423">1</cx:pt>
          <cx:pt idx="90424">4</cx:pt>
          <cx:pt idx="90425">4</cx:pt>
          <cx:pt idx="90426">3</cx:pt>
          <cx:pt idx="90427">4</cx:pt>
          <cx:pt idx="90428">3</cx:pt>
          <cx:pt idx="90429">2</cx:pt>
          <cx:pt idx="90430">3</cx:pt>
          <cx:pt idx="90431">1</cx:pt>
          <cx:pt idx="90432">3</cx:pt>
          <cx:pt idx="90433">1</cx:pt>
          <cx:pt idx="90434">4</cx:pt>
          <cx:pt idx="90435">4</cx:pt>
          <cx:pt idx="90436">1</cx:pt>
          <cx:pt idx="90437">5</cx:pt>
          <cx:pt idx="90438">3</cx:pt>
          <cx:pt idx="90439">4</cx:pt>
          <cx:pt idx="90440">3</cx:pt>
          <cx:pt idx="90441">4</cx:pt>
          <cx:pt idx="90442">4</cx:pt>
          <cx:pt idx="90443">1</cx:pt>
          <cx:pt idx="90444">1</cx:pt>
          <cx:pt idx="90445">4</cx:pt>
          <cx:pt idx="90446">4</cx:pt>
          <cx:pt idx="90447">4</cx:pt>
          <cx:pt idx="90448">5</cx:pt>
          <cx:pt idx="90449">1</cx:pt>
          <cx:pt idx="90450">3</cx:pt>
          <cx:pt idx="90451">5</cx:pt>
          <cx:pt idx="90452">4</cx:pt>
          <cx:pt idx="90453">5</cx:pt>
          <cx:pt idx="90454">5</cx:pt>
          <cx:pt idx="90455">4</cx:pt>
          <cx:pt idx="90456">4</cx:pt>
          <cx:pt idx="90457">5</cx:pt>
          <cx:pt idx="90458">5</cx:pt>
          <cx:pt idx="90459">2</cx:pt>
          <cx:pt idx="90460">5</cx:pt>
          <cx:pt idx="90461">4</cx:pt>
          <cx:pt idx="90462">1</cx:pt>
          <cx:pt idx="90463">2</cx:pt>
          <cx:pt idx="90464">5</cx:pt>
          <cx:pt idx="90465">5</cx:pt>
          <cx:pt idx="90466">4</cx:pt>
          <cx:pt idx="90467">4</cx:pt>
          <cx:pt idx="90468">5</cx:pt>
          <cx:pt idx="90469">2</cx:pt>
          <cx:pt idx="90470">4</cx:pt>
          <cx:pt idx="90471">5</cx:pt>
          <cx:pt idx="90472">4</cx:pt>
          <cx:pt idx="90473">1</cx:pt>
          <cx:pt idx="90474">4</cx:pt>
          <cx:pt idx="90475">4</cx:pt>
          <cx:pt idx="90476">5</cx:pt>
          <cx:pt idx="90477">1</cx:pt>
          <cx:pt idx="90478">4</cx:pt>
          <cx:pt idx="90479">5</cx:pt>
          <cx:pt idx="90480">4</cx:pt>
          <cx:pt idx="90481">5</cx:pt>
          <cx:pt idx="90482">5</cx:pt>
          <cx:pt idx="90483">2</cx:pt>
          <cx:pt idx="90484">4</cx:pt>
          <cx:pt idx="90485">4</cx:pt>
          <cx:pt idx="90486">3</cx:pt>
          <cx:pt idx="90487">4</cx:pt>
          <cx:pt idx="90488">4</cx:pt>
          <cx:pt idx="90489">5</cx:pt>
          <cx:pt idx="90490">1</cx:pt>
          <cx:pt idx="90491">1</cx:pt>
          <cx:pt idx="90492">3</cx:pt>
          <cx:pt idx="90493">4</cx:pt>
          <cx:pt idx="90494">4</cx:pt>
          <cx:pt idx="90495">4</cx:pt>
          <cx:pt idx="90496">4</cx:pt>
          <cx:pt idx="90497">3</cx:pt>
          <cx:pt idx="90498">5</cx:pt>
          <cx:pt idx="90499">3</cx:pt>
          <cx:pt idx="90500">3</cx:pt>
          <cx:pt idx="90501">5</cx:pt>
          <cx:pt idx="90502">4</cx:pt>
          <cx:pt idx="90503">5</cx:pt>
          <cx:pt idx="90504">2</cx:pt>
          <cx:pt idx="90505">2</cx:pt>
          <cx:pt idx="90506">5</cx:pt>
          <cx:pt idx="90507">4</cx:pt>
          <cx:pt idx="90508">4</cx:pt>
          <cx:pt idx="90509">5</cx:pt>
          <cx:pt idx="90510">5</cx:pt>
          <cx:pt idx="90511">4</cx:pt>
          <cx:pt idx="90512">5</cx:pt>
          <cx:pt idx="90513">5</cx:pt>
          <cx:pt idx="90514">5</cx:pt>
          <cx:pt idx="90515">2</cx:pt>
          <cx:pt idx="90516">4</cx:pt>
          <cx:pt idx="90517">4</cx:pt>
          <cx:pt idx="90518">1</cx:pt>
          <cx:pt idx="90519">4</cx:pt>
          <cx:pt idx="90520">3</cx:pt>
          <cx:pt idx="90521">3</cx:pt>
          <cx:pt idx="90522">2</cx:pt>
          <cx:pt idx="90523">1</cx:pt>
          <cx:pt idx="90524">5</cx:pt>
          <cx:pt idx="90525">1</cx:pt>
          <cx:pt idx="90526">5</cx:pt>
          <cx:pt idx="90527">4</cx:pt>
          <cx:pt idx="90528">4</cx:pt>
          <cx:pt idx="90529">5</cx:pt>
          <cx:pt idx="90530">4</cx:pt>
          <cx:pt idx="90531">3</cx:pt>
          <cx:pt idx="90532">5</cx:pt>
          <cx:pt idx="90533">1</cx:pt>
          <cx:pt idx="90534">2</cx:pt>
          <cx:pt idx="90535">2</cx:pt>
          <cx:pt idx="90536">5</cx:pt>
          <cx:pt idx="90537">3</cx:pt>
          <cx:pt idx="90538">1</cx:pt>
          <cx:pt idx="90539">2</cx:pt>
          <cx:pt idx="90540">4</cx:pt>
          <cx:pt idx="90541">4</cx:pt>
          <cx:pt idx="90542">5</cx:pt>
          <cx:pt idx="90543">4</cx:pt>
          <cx:pt idx="90544">3</cx:pt>
          <cx:pt idx="90545">4</cx:pt>
          <cx:pt idx="90546">5</cx:pt>
          <cx:pt idx="90547">3</cx:pt>
          <cx:pt idx="90548">5</cx:pt>
          <cx:pt idx="90549">5</cx:pt>
          <cx:pt idx="90550">4</cx:pt>
          <cx:pt idx="90551">5</cx:pt>
          <cx:pt idx="90552">2</cx:pt>
          <cx:pt idx="90553">4</cx:pt>
          <cx:pt idx="90554">4</cx:pt>
          <cx:pt idx="90555">5</cx:pt>
          <cx:pt idx="90556">4</cx:pt>
          <cx:pt idx="90557">2</cx:pt>
          <cx:pt idx="90558">1</cx:pt>
          <cx:pt idx="90559">5</cx:pt>
          <cx:pt idx="90560">4</cx:pt>
          <cx:pt idx="90561">3</cx:pt>
          <cx:pt idx="90562">3</cx:pt>
          <cx:pt idx="90563">4</cx:pt>
          <cx:pt idx="90564">5</cx:pt>
          <cx:pt idx="90565">4</cx:pt>
          <cx:pt idx="90566">2</cx:pt>
          <cx:pt idx="90567">5</cx:pt>
          <cx:pt idx="90568">4</cx:pt>
          <cx:pt idx="90569">4</cx:pt>
          <cx:pt idx="90570">1</cx:pt>
          <cx:pt idx="90571">4</cx:pt>
          <cx:pt idx="90572">3</cx:pt>
          <cx:pt idx="90573">2</cx:pt>
          <cx:pt idx="90574">3</cx:pt>
          <cx:pt idx="90575">5</cx:pt>
          <cx:pt idx="90576">3</cx:pt>
          <cx:pt idx="90577">3</cx:pt>
          <cx:pt idx="90578">3</cx:pt>
          <cx:pt idx="90579">2</cx:pt>
          <cx:pt idx="90580">4</cx:pt>
          <cx:pt idx="90581">5</cx:pt>
          <cx:pt idx="90582">5</cx:pt>
          <cx:pt idx="90583">4</cx:pt>
          <cx:pt idx="90584">5</cx:pt>
          <cx:pt idx="90585">3</cx:pt>
          <cx:pt idx="90586">5</cx:pt>
          <cx:pt idx="90587">4</cx:pt>
          <cx:pt idx="90588">5</cx:pt>
          <cx:pt idx="90589">4</cx:pt>
          <cx:pt idx="90590">2</cx:pt>
          <cx:pt idx="90591">2</cx:pt>
          <cx:pt idx="90592">3</cx:pt>
          <cx:pt idx="90593">4</cx:pt>
          <cx:pt idx="90594">3</cx:pt>
          <cx:pt idx="90595">5</cx:pt>
          <cx:pt idx="90596">2</cx:pt>
          <cx:pt idx="90597">5</cx:pt>
          <cx:pt idx="90598">5</cx:pt>
          <cx:pt idx="90599">4</cx:pt>
          <cx:pt idx="90600">5</cx:pt>
          <cx:pt idx="90601">2</cx:pt>
          <cx:pt idx="90602">1</cx:pt>
          <cx:pt idx="90603">1</cx:pt>
          <cx:pt idx="90604">5</cx:pt>
          <cx:pt idx="90605">4</cx:pt>
          <cx:pt idx="90606">3</cx:pt>
          <cx:pt idx="90607">5</cx:pt>
          <cx:pt idx="90608">5</cx:pt>
          <cx:pt idx="90609">4</cx:pt>
          <cx:pt idx="90610">3</cx:pt>
          <cx:pt idx="90611">5</cx:pt>
          <cx:pt idx="90612">3</cx:pt>
          <cx:pt idx="90613">4</cx:pt>
          <cx:pt idx="90614">4</cx:pt>
          <cx:pt idx="90615">5</cx:pt>
          <cx:pt idx="90616">4</cx:pt>
          <cx:pt idx="90617">3</cx:pt>
          <cx:pt idx="90618">2</cx:pt>
          <cx:pt idx="90619">2</cx:pt>
          <cx:pt idx="90620">5</cx:pt>
          <cx:pt idx="90621">3</cx:pt>
          <cx:pt idx="90622">2</cx:pt>
          <cx:pt idx="90623">3</cx:pt>
          <cx:pt idx="90624">4</cx:pt>
          <cx:pt idx="90625">2</cx:pt>
          <cx:pt idx="90626">5</cx:pt>
          <cx:pt idx="90627">1</cx:pt>
          <cx:pt idx="90628">5</cx:pt>
          <cx:pt idx="90629">3</cx:pt>
          <cx:pt idx="90630">3</cx:pt>
          <cx:pt idx="90631">2</cx:pt>
          <cx:pt idx="90632">5</cx:pt>
          <cx:pt idx="90633">4</cx:pt>
          <cx:pt idx="90634">3</cx:pt>
          <cx:pt idx="90635">3</cx:pt>
          <cx:pt idx="90636">3</cx:pt>
          <cx:pt idx="90637">4</cx:pt>
          <cx:pt idx="90638">5</cx:pt>
          <cx:pt idx="90639">1</cx:pt>
          <cx:pt idx="90640">4</cx:pt>
          <cx:pt idx="90641">4</cx:pt>
          <cx:pt idx="90642">1</cx:pt>
          <cx:pt idx="90643">5</cx:pt>
          <cx:pt idx="90644">1</cx:pt>
          <cx:pt idx="90645">3</cx:pt>
          <cx:pt idx="90646">1</cx:pt>
          <cx:pt idx="90647">4</cx:pt>
          <cx:pt idx="90648">4</cx:pt>
          <cx:pt idx="90649">1</cx:pt>
          <cx:pt idx="90650">4</cx:pt>
          <cx:pt idx="90651">4</cx:pt>
          <cx:pt idx="90652">3</cx:pt>
          <cx:pt idx="90653">3</cx:pt>
          <cx:pt idx="90654">4</cx:pt>
          <cx:pt idx="90655">3</cx:pt>
          <cx:pt idx="90656">3</cx:pt>
          <cx:pt idx="90657">3</cx:pt>
          <cx:pt idx="90658">4</cx:pt>
          <cx:pt idx="90659">5</cx:pt>
          <cx:pt idx="90660">5</cx:pt>
          <cx:pt idx="90661">4</cx:pt>
          <cx:pt idx="90662">4</cx:pt>
          <cx:pt idx="90663">3</cx:pt>
          <cx:pt idx="90664">4</cx:pt>
          <cx:pt idx="90665">4</cx:pt>
          <cx:pt idx="90666">4</cx:pt>
          <cx:pt idx="90667">5</cx:pt>
          <cx:pt idx="90668">1</cx:pt>
          <cx:pt idx="90669">2</cx:pt>
          <cx:pt idx="90670">3</cx:pt>
          <cx:pt idx="90671">2</cx:pt>
          <cx:pt idx="90672">5</cx:pt>
          <cx:pt idx="90673">3</cx:pt>
          <cx:pt idx="90674">5</cx:pt>
          <cx:pt idx="90675">4</cx:pt>
          <cx:pt idx="90676">5</cx:pt>
          <cx:pt idx="90677">5</cx:pt>
          <cx:pt idx="90678">4</cx:pt>
          <cx:pt idx="90679">1</cx:pt>
          <cx:pt idx="90680">5</cx:pt>
          <cx:pt idx="90681">4</cx:pt>
          <cx:pt idx="90682">1</cx:pt>
          <cx:pt idx="90683">2</cx:pt>
          <cx:pt idx="90684">5</cx:pt>
          <cx:pt idx="90685">5</cx:pt>
          <cx:pt idx="90686">5</cx:pt>
          <cx:pt idx="90687">4</cx:pt>
          <cx:pt idx="90688">5</cx:pt>
          <cx:pt idx="90689">5</cx:pt>
          <cx:pt idx="90690">1</cx:pt>
          <cx:pt idx="90691">3</cx:pt>
          <cx:pt idx="90692">1</cx:pt>
          <cx:pt idx="90693">3</cx:pt>
          <cx:pt idx="90694">2</cx:pt>
          <cx:pt idx="90695">4</cx:pt>
          <cx:pt idx="90696">4</cx:pt>
          <cx:pt idx="90697">1</cx:pt>
          <cx:pt idx="90698">4</cx:pt>
          <cx:pt idx="90699">4</cx:pt>
          <cx:pt idx="90700">2</cx:pt>
          <cx:pt idx="90701">2</cx:pt>
          <cx:pt idx="90702">4</cx:pt>
          <cx:pt idx="90703">3</cx:pt>
          <cx:pt idx="90704">1</cx:pt>
          <cx:pt idx="90705">4</cx:pt>
          <cx:pt idx="90706">4</cx:pt>
          <cx:pt idx="90707">3</cx:pt>
          <cx:pt idx="90708">4</cx:pt>
          <cx:pt idx="90709">4</cx:pt>
          <cx:pt idx="90710">5</cx:pt>
          <cx:pt idx="90711">5</cx:pt>
          <cx:pt idx="90712">2</cx:pt>
          <cx:pt idx="90713">2</cx:pt>
          <cx:pt idx="90714">2</cx:pt>
          <cx:pt idx="90715">3</cx:pt>
          <cx:pt idx="90716">2</cx:pt>
          <cx:pt idx="90717">5</cx:pt>
          <cx:pt idx="90718">4</cx:pt>
          <cx:pt idx="90719">2</cx:pt>
          <cx:pt idx="90720">3</cx:pt>
          <cx:pt idx="90721">4</cx:pt>
          <cx:pt idx="90722">5</cx:pt>
          <cx:pt idx="90723">1</cx:pt>
          <cx:pt idx="90724">3</cx:pt>
          <cx:pt idx="90725">5</cx:pt>
          <cx:pt idx="90726">5</cx:pt>
          <cx:pt idx="90727">5</cx:pt>
          <cx:pt idx="90728">4</cx:pt>
          <cx:pt idx="90729">5</cx:pt>
          <cx:pt idx="90730">5</cx:pt>
          <cx:pt idx="90731">5</cx:pt>
          <cx:pt idx="90732">2</cx:pt>
          <cx:pt idx="90733">3</cx:pt>
          <cx:pt idx="90734">2</cx:pt>
          <cx:pt idx="90735">2</cx:pt>
          <cx:pt idx="90736">5</cx:pt>
          <cx:pt idx="90737">4</cx:pt>
          <cx:pt idx="90738">4</cx:pt>
          <cx:pt idx="90739">5</cx:pt>
          <cx:pt idx="90740">5</cx:pt>
          <cx:pt idx="90741">4</cx:pt>
          <cx:pt idx="90742">1</cx:pt>
          <cx:pt idx="90743">1</cx:pt>
          <cx:pt idx="90744">5</cx:pt>
          <cx:pt idx="90745">2</cx:pt>
          <cx:pt idx="90746">5</cx:pt>
          <cx:pt idx="90747">5</cx:pt>
          <cx:pt idx="90748">1</cx:pt>
          <cx:pt idx="90749">3</cx:pt>
          <cx:pt idx="90750">2</cx:pt>
          <cx:pt idx="90751">3</cx:pt>
          <cx:pt idx="90752">5</cx:pt>
          <cx:pt idx="90753">3</cx:pt>
          <cx:pt idx="90754">5</cx:pt>
          <cx:pt idx="90755">3</cx:pt>
          <cx:pt idx="90756">4</cx:pt>
          <cx:pt idx="90757">4</cx:pt>
          <cx:pt idx="90758">4</cx:pt>
          <cx:pt idx="90759">4</cx:pt>
          <cx:pt idx="90760">5</cx:pt>
          <cx:pt idx="90761">3</cx:pt>
          <cx:pt idx="90762">5</cx:pt>
          <cx:pt idx="90763">5</cx:pt>
          <cx:pt idx="90764">4</cx:pt>
          <cx:pt idx="90765">1</cx:pt>
          <cx:pt idx="90766">3</cx:pt>
          <cx:pt idx="90767">3</cx:pt>
          <cx:pt idx="90768">2</cx:pt>
          <cx:pt idx="90769">5</cx:pt>
          <cx:pt idx="90770">4</cx:pt>
          <cx:pt idx="90771">1</cx:pt>
          <cx:pt idx="90772">3</cx:pt>
          <cx:pt idx="90773">5</cx:pt>
          <cx:pt idx="90774">4</cx:pt>
          <cx:pt idx="90775">3</cx:pt>
          <cx:pt idx="90776">2</cx:pt>
          <cx:pt idx="90777">5</cx:pt>
          <cx:pt idx="90778">2</cx:pt>
          <cx:pt idx="90779">1</cx:pt>
          <cx:pt idx="90780">2</cx:pt>
          <cx:pt idx="90781">2</cx:pt>
          <cx:pt idx="90782">3</cx:pt>
          <cx:pt idx="90783">3</cx:pt>
          <cx:pt idx="90784">4</cx:pt>
          <cx:pt idx="90785">3</cx:pt>
          <cx:pt idx="90786">1</cx:pt>
          <cx:pt idx="90787">5</cx:pt>
          <cx:pt idx="90788">3</cx:pt>
          <cx:pt idx="90789">2</cx:pt>
          <cx:pt idx="90790">5</cx:pt>
          <cx:pt idx="90791">3</cx:pt>
          <cx:pt idx="90792">3</cx:pt>
          <cx:pt idx="90793">3</cx:pt>
          <cx:pt idx="90794">5</cx:pt>
          <cx:pt idx="90795">4</cx:pt>
          <cx:pt idx="90796">5</cx:pt>
          <cx:pt idx="90797">4</cx:pt>
          <cx:pt idx="90798">4</cx:pt>
          <cx:pt idx="90799">2</cx:pt>
          <cx:pt idx="90800">2</cx:pt>
          <cx:pt idx="90801">4</cx:pt>
          <cx:pt idx="90802">3</cx:pt>
          <cx:pt idx="90803">1</cx:pt>
          <cx:pt idx="90804">5</cx:pt>
          <cx:pt idx="90805">1</cx:pt>
          <cx:pt idx="90806">2</cx:pt>
          <cx:pt idx="90807">4</cx:pt>
          <cx:pt idx="90808">4</cx:pt>
          <cx:pt idx="90809">3</cx:pt>
          <cx:pt idx="90810">1</cx:pt>
          <cx:pt idx="90811">2</cx:pt>
          <cx:pt idx="90812">2</cx:pt>
          <cx:pt idx="90813">4</cx:pt>
          <cx:pt idx="90814">4</cx:pt>
          <cx:pt idx="90815">4</cx:pt>
          <cx:pt idx="90816">5</cx:pt>
          <cx:pt idx="90817">4</cx:pt>
          <cx:pt idx="90818">1</cx:pt>
          <cx:pt idx="90819">5</cx:pt>
          <cx:pt idx="90820">4</cx:pt>
          <cx:pt idx="90821">3</cx:pt>
          <cx:pt idx="90822">3</cx:pt>
          <cx:pt idx="90823">5</cx:pt>
          <cx:pt idx="90824">3</cx:pt>
          <cx:pt idx="90825">3</cx:pt>
          <cx:pt idx="90826">5</cx:pt>
          <cx:pt idx="90827">1</cx:pt>
          <cx:pt idx="90828">4</cx:pt>
          <cx:pt idx="90829">2</cx:pt>
          <cx:pt idx="90830">2</cx:pt>
          <cx:pt idx="90831">5</cx:pt>
          <cx:pt idx="90832">5</cx:pt>
          <cx:pt idx="90833">5</cx:pt>
          <cx:pt idx="90834">5</cx:pt>
          <cx:pt idx="90835">4</cx:pt>
          <cx:pt idx="90836">4</cx:pt>
          <cx:pt idx="90837">2</cx:pt>
          <cx:pt idx="90838">3</cx:pt>
          <cx:pt idx="90839">1</cx:pt>
          <cx:pt idx="90840">5</cx:pt>
          <cx:pt idx="90841">1</cx:pt>
          <cx:pt idx="90842">4</cx:pt>
          <cx:pt idx="90843">1</cx:pt>
          <cx:pt idx="90844">4</cx:pt>
          <cx:pt idx="90845">3</cx:pt>
          <cx:pt idx="90846">4</cx:pt>
          <cx:pt idx="90847">1</cx:pt>
          <cx:pt idx="90848">3</cx:pt>
          <cx:pt idx="90849">4</cx:pt>
          <cx:pt idx="90850">4</cx:pt>
          <cx:pt idx="90851">3</cx:pt>
          <cx:pt idx="90852">3</cx:pt>
          <cx:pt idx="90853">2</cx:pt>
          <cx:pt idx="90854">4</cx:pt>
          <cx:pt idx="90855">4</cx:pt>
          <cx:pt idx="90856">3</cx:pt>
          <cx:pt idx="90857">2</cx:pt>
          <cx:pt idx="90858">2</cx:pt>
          <cx:pt idx="90859">4</cx:pt>
          <cx:pt idx="90860">4</cx:pt>
          <cx:pt idx="90861">2</cx:pt>
          <cx:pt idx="90862">4</cx:pt>
          <cx:pt idx="90863">4</cx:pt>
          <cx:pt idx="90864">1</cx:pt>
          <cx:pt idx="90865">2</cx:pt>
          <cx:pt idx="90866">2</cx:pt>
          <cx:pt idx="90867">5</cx:pt>
          <cx:pt idx="90868">3</cx:pt>
          <cx:pt idx="90869">2</cx:pt>
          <cx:pt idx="90870">5</cx:pt>
          <cx:pt idx="90871">3</cx:pt>
          <cx:pt idx="90872">1</cx:pt>
          <cx:pt idx="90873">3</cx:pt>
          <cx:pt idx="90874">3</cx:pt>
          <cx:pt idx="90875">4</cx:pt>
          <cx:pt idx="90876">4</cx:pt>
          <cx:pt idx="90877">2</cx:pt>
          <cx:pt idx="90878">1</cx:pt>
          <cx:pt idx="90879">5</cx:pt>
          <cx:pt idx="90880">2</cx:pt>
          <cx:pt idx="90881">4</cx:pt>
          <cx:pt idx="90882">5</cx:pt>
          <cx:pt idx="90883">1</cx:pt>
          <cx:pt idx="90884">2</cx:pt>
          <cx:pt idx="90885">2</cx:pt>
          <cx:pt idx="90886">5</cx:pt>
          <cx:pt idx="90887">5</cx:pt>
          <cx:pt idx="90888">5</cx:pt>
          <cx:pt idx="90889">4</cx:pt>
          <cx:pt idx="90890">5</cx:pt>
          <cx:pt idx="90891">5</cx:pt>
          <cx:pt idx="90892">2</cx:pt>
          <cx:pt idx="90893">4</cx:pt>
          <cx:pt idx="90894">5</cx:pt>
          <cx:pt idx="90895">4</cx:pt>
          <cx:pt idx="90896">2</cx:pt>
          <cx:pt idx="90897">4</cx:pt>
          <cx:pt idx="90898">3</cx:pt>
          <cx:pt idx="90899">2</cx:pt>
          <cx:pt idx="90900">5</cx:pt>
          <cx:pt idx="90901">5</cx:pt>
          <cx:pt idx="90902">5</cx:pt>
          <cx:pt idx="90903">5</cx:pt>
          <cx:pt idx="90904">4</cx:pt>
          <cx:pt idx="90905">5</cx:pt>
          <cx:pt idx="90906">2</cx:pt>
          <cx:pt idx="90907">4</cx:pt>
          <cx:pt idx="90908">4</cx:pt>
          <cx:pt idx="90909">2</cx:pt>
          <cx:pt idx="90910">5</cx:pt>
          <cx:pt idx="90911">3</cx:pt>
          <cx:pt idx="90912">3</cx:pt>
          <cx:pt idx="90913">5</cx:pt>
          <cx:pt idx="90914">4</cx:pt>
          <cx:pt idx="90915">1</cx:pt>
          <cx:pt idx="90916">2</cx:pt>
          <cx:pt idx="90917">5</cx:pt>
          <cx:pt idx="90918">4</cx:pt>
          <cx:pt idx="90919">4</cx:pt>
          <cx:pt idx="90920">4</cx:pt>
          <cx:pt idx="90921">3</cx:pt>
          <cx:pt idx="90922">4</cx:pt>
          <cx:pt idx="90923">3</cx:pt>
          <cx:pt idx="90924">5</cx:pt>
          <cx:pt idx="90925">4</cx:pt>
          <cx:pt idx="90926">4</cx:pt>
          <cx:pt idx="90927">4</cx:pt>
          <cx:pt idx="90928">4</cx:pt>
          <cx:pt idx="90929">4</cx:pt>
          <cx:pt idx="90930">4</cx:pt>
          <cx:pt idx="90931">4</cx:pt>
          <cx:pt idx="90932">2</cx:pt>
          <cx:pt idx="90933">3</cx:pt>
          <cx:pt idx="90934">5</cx:pt>
          <cx:pt idx="90935">5</cx:pt>
          <cx:pt idx="90936">4</cx:pt>
          <cx:pt idx="90937">4</cx:pt>
          <cx:pt idx="90938">5</cx:pt>
          <cx:pt idx="90939">5</cx:pt>
          <cx:pt idx="90940">1</cx:pt>
          <cx:pt idx="90941">5</cx:pt>
          <cx:pt idx="90942">3</cx:pt>
          <cx:pt idx="90943">5</cx:pt>
          <cx:pt idx="90944">5</cx:pt>
          <cx:pt idx="90945">4</cx:pt>
          <cx:pt idx="90946">5</cx:pt>
          <cx:pt idx="90947">3</cx:pt>
          <cx:pt idx="90948">1</cx:pt>
          <cx:pt idx="90949">5</cx:pt>
          <cx:pt idx="90950">5</cx:pt>
          <cx:pt idx="90951">5</cx:pt>
          <cx:pt idx="90952">5</cx:pt>
          <cx:pt idx="90953">1</cx:pt>
          <cx:pt idx="90954">4</cx:pt>
          <cx:pt idx="90955">4</cx:pt>
          <cx:pt idx="90956">3</cx:pt>
          <cx:pt idx="90957">4</cx:pt>
          <cx:pt idx="90958">4</cx:pt>
          <cx:pt idx="90959">5</cx:pt>
          <cx:pt idx="90960">5</cx:pt>
          <cx:pt idx="90961">5</cx:pt>
          <cx:pt idx="90962">3</cx:pt>
          <cx:pt idx="90963">1</cx:pt>
          <cx:pt idx="90964">3</cx:pt>
          <cx:pt idx="90965">4</cx:pt>
          <cx:pt idx="90966">5</cx:pt>
          <cx:pt idx="90967">2</cx:pt>
          <cx:pt idx="90968">5</cx:pt>
          <cx:pt idx="90969">3</cx:pt>
          <cx:pt idx="90970">2</cx:pt>
          <cx:pt idx="90971">3</cx:pt>
          <cx:pt idx="90972">4</cx:pt>
          <cx:pt idx="90973">4</cx:pt>
          <cx:pt idx="90974">5</cx:pt>
          <cx:pt idx="90975">5</cx:pt>
          <cx:pt idx="90976">4</cx:pt>
          <cx:pt idx="90977">5</cx:pt>
          <cx:pt idx="90978">3</cx:pt>
          <cx:pt idx="90979">4</cx:pt>
          <cx:pt idx="90980">4</cx:pt>
          <cx:pt idx="90981">1</cx:pt>
          <cx:pt idx="90982">4</cx:pt>
          <cx:pt idx="90983">5</cx:pt>
          <cx:pt idx="90984">4</cx:pt>
          <cx:pt idx="90985">3</cx:pt>
          <cx:pt idx="90986">4</cx:pt>
          <cx:pt idx="90987">4</cx:pt>
          <cx:pt idx="90988">3</cx:pt>
          <cx:pt idx="90989">5</cx:pt>
          <cx:pt idx="90990">2</cx:pt>
          <cx:pt idx="90991">5</cx:pt>
          <cx:pt idx="90992">3</cx:pt>
          <cx:pt idx="90993">1</cx:pt>
          <cx:pt idx="90994">4</cx:pt>
          <cx:pt idx="90995">2</cx:pt>
          <cx:pt idx="90996">5</cx:pt>
          <cx:pt idx="90997">4</cx:pt>
          <cx:pt idx="90998">5</cx:pt>
          <cx:pt idx="90999">3</cx:pt>
          <cx:pt idx="91000">4</cx:pt>
          <cx:pt idx="91001">4</cx:pt>
          <cx:pt idx="91002">4</cx:pt>
          <cx:pt idx="91003">3</cx:pt>
          <cx:pt idx="91004">1</cx:pt>
          <cx:pt idx="91005">1</cx:pt>
          <cx:pt idx="91006">4</cx:pt>
          <cx:pt idx="91007">3</cx:pt>
          <cx:pt idx="91008">4</cx:pt>
          <cx:pt idx="91009">3</cx:pt>
          <cx:pt idx="91010">4</cx:pt>
          <cx:pt idx="91011">4</cx:pt>
          <cx:pt idx="91012">5</cx:pt>
          <cx:pt idx="91013">5</cx:pt>
          <cx:pt idx="91014">2</cx:pt>
          <cx:pt idx="91015">4</cx:pt>
          <cx:pt idx="91016">2</cx:pt>
          <cx:pt idx="91017">4</cx:pt>
          <cx:pt idx="91018">4</cx:pt>
          <cx:pt idx="91019">3</cx:pt>
          <cx:pt idx="91020">5</cx:pt>
          <cx:pt idx="91021">4</cx:pt>
          <cx:pt idx="91022">3</cx:pt>
          <cx:pt idx="91023">5</cx:pt>
          <cx:pt idx="91024">5</cx:pt>
          <cx:pt idx="91025">1</cx:pt>
          <cx:pt idx="91026">4</cx:pt>
          <cx:pt idx="91027">2</cx:pt>
          <cx:pt idx="91028">4</cx:pt>
          <cx:pt idx="91029">1</cx:pt>
          <cx:pt idx="91030">4</cx:pt>
          <cx:pt idx="91031">1</cx:pt>
          <cx:pt idx="91032">5</cx:pt>
          <cx:pt idx="91033">4</cx:pt>
          <cx:pt idx="91034">2</cx:pt>
          <cx:pt idx="91035">1</cx:pt>
          <cx:pt idx="91036">4</cx:pt>
          <cx:pt idx="91037">4</cx:pt>
          <cx:pt idx="91038">1</cx:pt>
          <cx:pt idx="91039">3</cx:pt>
          <cx:pt idx="91040">4</cx:pt>
          <cx:pt idx="91041">3</cx:pt>
          <cx:pt idx="91042">5</cx:pt>
          <cx:pt idx="91043">2</cx:pt>
          <cx:pt idx="91044">5</cx:pt>
          <cx:pt idx="91045">3</cx:pt>
          <cx:pt idx="91046">2</cx:pt>
          <cx:pt idx="91047">5</cx:pt>
          <cx:pt idx="91048">4</cx:pt>
          <cx:pt idx="91049">3</cx:pt>
          <cx:pt idx="91050">2</cx:pt>
          <cx:pt idx="91051">2</cx:pt>
          <cx:pt idx="91052">5</cx:pt>
          <cx:pt idx="91053">2</cx:pt>
          <cx:pt idx="91054">4</cx:pt>
          <cx:pt idx="91055">3</cx:pt>
          <cx:pt idx="91056">3</cx:pt>
          <cx:pt idx="91057">4</cx:pt>
          <cx:pt idx="91058">5</cx:pt>
          <cx:pt idx="91059">4</cx:pt>
          <cx:pt idx="91060">5</cx:pt>
          <cx:pt idx="91061">4</cx:pt>
          <cx:pt idx="91062">4</cx:pt>
          <cx:pt idx="91063">5</cx:pt>
          <cx:pt idx="91064">1</cx:pt>
          <cx:pt idx="91065">1</cx:pt>
          <cx:pt idx="91066">4</cx:pt>
          <cx:pt idx="91067">4</cx:pt>
          <cx:pt idx="91068">1</cx:pt>
          <cx:pt idx="91069">3</cx:pt>
          <cx:pt idx="91070">5</cx:pt>
          <cx:pt idx="91071">3</cx:pt>
          <cx:pt idx="91072">2</cx:pt>
          <cx:pt idx="91073">4</cx:pt>
          <cx:pt idx="91074">3</cx:pt>
          <cx:pt idx="91075">5</cx:pt>
          <cx:pt idx="91076">3</cx:pt>
          <cx:pt idx="91077">3</cx:pt>
          <cx:pt idx="91078">4</cx:pt>
          <cx:pt idx="91079">5</cx:pt>
          <cx:pt idx="91080">2</cx:pt>
          <cx:pt idx="91081">4</cx:pt>
          <cx:pt idx="91082">5</cx:pt>
          <cx:pt idx="91083">4</cx:pt>
          <cx:pt idx="91084">3</cx:pt>
          <cx:pt idx="91085">4</cx:pt>
          <cx:pt idx="91086">3</cx:pt>
          <cx:pt idx="91087">3</cx:pt>
          <cx:pt idx="91088">4</cx:pt>
          <cx:pt idx="91089">5</cx:pt>
          <cx:pt idx="91090">2</cx:pt>
          <cx:pt idx="91091">5</cx:pt>
          <cx:pt idx="91092">5</cx:pt>
          <cx:pt idx="91093">5</cx:pt>
          <cx:pt idx="91094">4</cx:pt>
          <cx:pt idx="91095">5</cx:pt>
          <cx:pt idx="91096">5</cx:pt>
          <cx:pt idx="91097">3</cx:pt>
          <cx:pt idx="91098">4</cx:pt>
          <cx:pt idx="91099">2</cx:pt>
          <cx:pt idx="91100">1</cx:pt>
          <cx:pt idx="91101">3</cx:pt>
          <cx:pt idx="91102">2</cx:pt>
          <cx:pt idx="91103">4</cx:pt>
          <cx:pt idx="91104">3</cx:pt>
          <cx:pt idx="91105">2</cx:pt>
          <cx:pt idx="91106">5</cx:pt>
          <cx:pt idx="91107">2</cx:pt>
          <cx:pt idx="91108">5</cx:pt>
          <cx:pt idx="91109">5</cx:pt>
          <cx:pt idx="91110">1</cx:pt>
          <cx:pt idx="91111">1</cx:pt>
          <cx:pt idx="91112">2</cx:pt>
          <cx:pt idx="91113">3</cx:pt>
          <cx:pt idx="91114">5</cx:pt>
          <cx:pt idx="91115">4</cx:pt>
          <cx:pt idx="91116">5</cx:pt>
          <cx:pt idx="91117">3</cx:pt>
          <cx:pt idx="91118">4</cx:pt>
          <cx:pt idx="91119">5</cx:pt>
          <cx:pt idx="91120">1</cx:pt>
          <cx:pt idx="91121">3</cx:pt>
          <cx:pt idx="91122">1</cx:pt>
          <cx:pt idx="91123">3</cx:pt>
          <cx:pt idx="91124">1</cx:pt>
          <cx:pt idx="91125">2</cx:pt>
          <cx:pt idx="91126">5</cx:pt>
          <cx:pt idx="91127">3</cx:pt>
          <cx:pt idx="91128">1</cx:pt>
          <cx:pt idx="91129">4</cx:pt>
          <cx:pt idx="91130">5</cx:pt>
          <cx:pt idx="91131">3</cx:pt>
          <cx:pt idx="91132">2</cx:pt>
          <cx:pt idx="91133">2</cx:pt>
          <cx:pt idx="91134">1</cx:pt>
          <cx:pt idx="91135">3</cx:pt>
          <cx:pt idx="91136">3</cx:pt>
          <cx:pt idx="91137">1</cx:pt>
          <cx:pt idx="91138">4</cx:pt>
          <cx:pt idx="91139">4</cx:pt>
          <cx:pt idx="91140">2</cx:pt>
          <cx:pt idx="91141">5</cx:pt>
          <cx:pt idx="91142">1</cx:pt>
          <cx:pt idx="91143">5</cx:pt>
          <cx:pt idx="91144">2</cx:pt>
          <cx:pt idx="91145">4</cx:pt>
          <cx:pt idx="91146">5</cx:pt>
          <cx:pt idx="91147">4</cx:pt>
          <cx:pt idx="91148">4</cx:pt>
          <cx:pt idx="91149">1</cx:pt>
          <cx:pt idx="91150">4</cx:pt>
          <cx:pt idx="91151">5</cx:pt>
          <cx:pt idx="91152">5</cx:pt>
          <cx:pt idx="91153">5</cx:pt>
          <cx:pt idx="91154">3</cx:pt>
          <cx:pt idx="91155">3</cx:pt>
          <cx:pt idx="91156">5</cx:pt>
          <cx:pt idx="91157">2</cx:pt>
          <cx:pt idx="91158">5</cx:pt>
          <cx:pt idx="91159">4</cx:pt>
          <cx:pt idx="91160">5</cx:pt>
          <cx:pt idx="91161">5</cx:pt>
          <cx:pt idx="91162">2</cx:pt>
          <cx:pt idx="91163">2</cx:pt>
          <cx:pt idx="91164">1</cx:pt>
          <cx:pt idx="91165">2</cx:pt>
          <cx:pt idx="91166">1</cx:pt>
          <cx:pt idx="91167">2</cx:pt>
          <cx:pt idx="91168">5</cx:pt>
          <cx:pt idx="91169">4</cx:pt>
          <cx:pt idx="91170">5</cx:pt>
          <cx:pt idx="91171">5</cx:pt>
          <cx:pt idx="91172">2</cx:pt>
          <cx:pt idx="91173">2</cx:pt>
          <cx:pt idx="91174">5</cx:pt>
          <cx:pt idx="91175">2</cx:pt>
          <cx:pt idx="91176">4</cx:pt>
          <cx:pt idx="91177">5</cx:pt>
          <cx:pt idx="91178">5</cx:pt>
          <cx:pt idx="91179">5</cx:pt>
          <cx:pt idx="91180">5</cx:pt>
          <cx:pt idx="91181">5</cx:pt>
          <cx:pt idx="91182">5</cx:pt>
          <cx:pt idx="91183">4</cx:pt>
          <cx:pt idx="91184">4</cx:pt>
          <cx:pt idx="91185">1</cx:pt>
          <cx:pt idx="91186">5</cx:pt>
          <cx:pt idx="91187">2</cx:pt>
          <cx:pt idx="91188">5</cx:pt>
          <cx:pt idx="91189">5</cx:pt>
          <cx:pt idx="91190">4</cx:pt>
          <cx:pt idx="91191">1</cx:pt>
          <cx:pt idx="91192">5</cx:pt>
          <cx:pt idx="91193">4</cx:pt>
          <cx:pt idx="91194">1</cx:pt>
          <cx:pt idx="91195">2</cx:pt>
          <cx:pt idx="91196">4</cx:pt>
          <cx:pt idx="91197">5</cx:pt>
          <cx:pt idx="91198">5</cx:pt>
          <cx:pt idx="91199">1</cx:pt>
          <cx:pt idx="91200">5</cx:pt>
          <cx:pt idx="91201">5</cx:pt>
          <cx:pt idx="91202">4</cx:pt>
          <cx:pt idx="91203">4</cx:pt>
          <cx:pt idx="91204">4</cx:pt>
          <cx:pt idx="91205">3</cx:pt>
          <cx:pt idx="91206">2</cx:pt>
          <cx:pt idx="91207">4</cx:pt>
          <cx:pt idx="91208">4</cx:pt>
          <cx:pt idx="91209">5</cx:pt>
          <cx:pt idx="91210">2</cx:pt>
          <cx:pt idx="91211">1</cx:pt>
          <cx:pt idx="91212">4</cx:pt>
          <cx:pt idx="91213">4</cx:pt>
          <cx:pt idx="91214">5</cx:pt>
          <cx:pt idx="91215">4</cx:pt>
          <cx:pt idx="91216">5</cx:pt>
          <cx:pt idx="91217">1</cx:pt>
          <cx:pt idx="91218">5</cx:pt>
          <cx:pt idx="91219">4</cx:pt>
          <cx:pt idx="91220">4</cx:pt>
          <cx:pt idx="91221">5</cx:pt>
          <cx:pt idx="91222">4</cx:pt>
          <cx:pt idx="91223">2</cx:pt>
          <cx:pt idx="91224">4</cx:pt>
          <cx:pt idx="91225">5</cx:pt>
          <cx:pt idx="91226">3</cx:pt>
          <cx:pt idx="91227">4</cx:pt>
          <cx:pt idx="91228">3</cx:pt>
          <cx:pt idx="91229">5</cx:pt>
          <cx:pt idx="91230">3</cx:pt>
          <cx:pt idx="91231">1</cx:pt>
          <cx:pt idx="91232">4</cx:pt>
          <cx:pt idx="91233">4</cx:pt>
          <cx:pt idx="91234">1</cx:pt>
          <cx:pt idx="91235">1</cx:pt>
          <cx:pt idx="91236">4</cx:pt>
          <cx:pt idx="91237">2</cx:pt>
          <cx:pt idx="91238">4</cx:pt>
          <cx:pt idx="91239">3</cx:pt>
          <cx:pt idx="91240">5</cx:pt>
          <cx:pt idx="91241">3</cx:pt>
          <cx:pt idx="91242">4</cx:pt>
          <cx:pt idx="91243">3</cx:pt>
          <cx:pt idx="91244">2</cx:pt>
          <cx:pt idx="91245">2</cx:pt>
          <cx:pt idx="91246">3</cx:pt>
          <cx:pt idx="91247">5</cx:pt>
          <cx:pt idx="91248">3</cx:pt>
          <cx:pt idx="91249">3</cx:pt>
          <cx:pt idx="91250">4</cx:pt>
          <cx:pt idx="91251">4</cx:pt>
          <cx:pt idx="91252">5</cx:pt>
          <cx:pt idx="91253">4</cx:pt>
          <cx:pt idx="91254">4</cx:pt>
          <cx:pt idx="91255">2</cx:pt>
          <cx:pt idx="91256">3</cx:pt>
          <cx:pt idx="91257">3</cx:pt>
          <cx:pt idx="91258">4</cx:pt>
          <cx:pt idx="91259">4</cx:pt>
          <cx:pt idx="91260">5</cx:pt>
          <cx:pt idx="91261">5</cx:pt>
          <cx:pt idx="91262">4</cx:pt>
          <cx:pt idx="91263">3</cx:pt>
          <cx:pt idx="91264">3</cx:pt>
          <cx:pt idx="91265">1</cx:pt>
          <cx:pt idx="91266">2</cx:pt>
          <cx:pt idx="91267">4</cx:pt>
          <cx:pt idx="91268">1</cx:pt>
          <cx:pt idx="91269">4</cx:pt>
          <cx:pt idx="91270">5</cx:pt>
          <cx:pt idx="91271">1</cx:pt>
          <cx:pt idx="91272">5</cx:pt>
          <cx:pt idx="91273">3</cx:pt>
          <cx:pt idx="91274">5</cx:pt>
          <cx:pt idx="91275">1</cx:pt>
          <cx:pt idx="91276">5</cx:pt>
          <cx:pt idx="91277">4</cx:pt>
          <cx:pt idx="91278">4</cx:pt>
          <cx:pt idx="91279">4</cx:pt>
          <cx:pt idx="91280">3</cx:pt>
          <cx:pt idx="91281">4</cx:pt>
          <cx:pt idx="91282">4</cx:pt>
          <cx:pt idx="91283">1</cx:pt>
          <cx:pt idx="91284">2</cx:pt>
          <cx:pt idx="91285">2</cx:pt>
          <cx:pt idx="91286">3</cx:pt>
          <cx:pt idx="91287">1</cx:pt>
          <cx:pt idx="91288">2</cx:pt>
          <cx:pt idx="91289">4</cx:pt>
          <cx:pt idx="91290">2</cx:pt>
          <cx:pt idx="91291">4</cx:pt>
          <cx:pt idx="91292">2</cx:pt>
          <cx:pt idx="91293">5</cx:pt>
          <cx:pt idx="91294">2</cx:pt>
          <cx:pt idx="91295">5</cx:pt>
          <cx:pt idx="91296">4</cx:pt>
          <cx:pt idx="91297">3</cx:pt>
          <cx:pt idx="91298">3</cx:pt>
          <cx:pt idx="91299">5</cx:pt>
          <cx:pt idx="91300">3</cx:pt>
          <cx:pt idx="91301">3</cx:pt>
          <cx:pt idx="91302">4</cx:pt>
          <cx:pt idx="91303">2</cx:pt>
          <cx:pt idx="91304">4</cx:pt>
          <cx:pt idx="91305">5</cx:pt>
          <cx:pt idx="91306">4</cx:pt>
          <cx:pt idx="91307">5</cx:pt>
          <cx:pt idx="91308">3</cx:pt>
          <cx:pt idx="91309">5</cx:pt>
          <cx:pt idx="91310">3</cx:pt>
          <cx:pt idx="91311">4</cx:pt>
          <cx:pt idx="91312">3</cx:pt>
          <cx:pt idx="91313">4</cx:pt>
          <cx:pt idx="91314">4</cx:pt>
          <cx:pt idx="91315">3</cx:pt>
          <cx:pt idx="91316">4</cx:pt>
          <cx:pt idx="91317">4</cx:pt>
          <cx:pt idx="91318">1</cx:pt>
          <cx:pt idx="91319">5</cx:pt>
          <cx:pt idx="91320">2</cx:pt>
          <cx:pt idx="91321">5</cx:pt>
          <cx:pt idx="91322">1</cx:pt>
          <cx:pt idx="91323">2</cx:pt>
          <cx:pt idx="91324">5</cx:pt>
          <cx:pt idx="91325">2</cx:pt>
          <cx:pt idx="91326">4</cx:pt>
          <cx:pt idx="91327">5</cx:pt>
          <cx:pt idx="91328">2</cx:pt>
          <cx:pt idx="91329">3</cx:pt>
          <cx:pt idx="91330">3</cx:pt>
          <cx:pt idx="91331">4</cx:pt>
          <cx:pt idx="91332">4</cx:pt>
          <cx:pt idx="91333">3</cx:pt>
          <cx:pt idx="91334">3</cx:pt>
          <cx:pt idx="91335">5</cx:pt>
          <cx:pt idx="91336">5</cx:pt>
          <cx:pt idx="91337">5</cx:pt>
          <cx:pt idx="91338">1</cx:pt>
          <cx:pt idx="91339">5</cx:pt>
          <cx:pt idx="91340">5</cx:pt>
          <cx:pt idx="91341">4</cx:pt>
          <cx:pt idx="91342">4</cx:pt>
          <cx:pt idx="91343">3</cx:pt>
          <cx:pt idx="91344">4</cx:pt>
          <cx:pt idx="91345">5</cx:pt>
          <cx:pt idx="91346">4</cx:pt>
          <cx:pt idx="91347">3</cx:pt>
          <cx:pt idx="91348">5</cx:pt>
          <cx:pt idx="91349">2</cx:pt>
          <cx:pt idx="91350">3</cx:pt>
          <cx:pt idx="91351">5</cx:pt>
          <cx:pt idx="91352">4</cx:pt>
          <cx:pt idx="91353">1</cx:pt>
          <cx:pt idx="91354">4</cx:pt>
          <cx:pt idx="91355">4</cx:pt>
          <cx:pt idx="91356">1</cx:pt>
          <cx:pt idx="91357">1</cx:pt>
          <cx:pt idx="91358">4</cx:pt>
          <cx:pt idx="91359">1</cx:pt>
          <cx:pt idx="91360">4</cx:pt>
          <cx:pt idx="91361">5</cx:pt>
          <cx:pt idx="91362">3</cx:pt>
          <cx:pt idx="91363">2</cx:pt>
          <cx:pt idx="91364">1</cx:pt>
          <cx:pt idx="91365">4</cx:pt>
          <cx:pt idx="91366">4</cx:pt>
          <cx:pt idx="91367">4</cx:pt>
          <cx:pt idx="91368">5</cx:pt>
          <cx:pt idx="91369">2</cx:pt>
          <cx:pt idx="91370">2</cx:pt>
          <cx:pt idx="91371">5</cx:pt>
          <cx:pt idx="91372">5</cx:pt>
          <cx:pt idx="91373">3</cx:pt>
          <cx:pt idx="91374">5</cx:pt>
          <cx:pt idx="91375">5</cx:pt>
          <cx:pt idx="91376">5</cx:pt>
          <cx:pt idx="91377">5</cx:pt>
          <cx:pt idx="91378">3</cx:pt>
          <cx:pt idx="91379">3</cx:pt>
          <cx:pt idx="91380">1</cx:pt>
          <cx:pt idx="91381">2</cx:pt>
          <cx:pt idx="91382">5</cx:pt>
          <cx:pt idx="91383">4</cx:pt>
          <cx:pt idx="91384">5</cx:pt>
          <cx:pt idx="91385">5</cx:pt>
          <cx:pt idx="91386">2</cx:pt>
          <cx:pt idx="91387">5</cx:pt>
          <cx:pt idx="91388">4</cx:pt>
          <cx:pt idx="91389">3</cx:pt>
          <cx:pt idx="91390">4</cx:pt>
          <cx:pt idx="91391">4</cx:pt>
          <cx:pt idx="91392">4</cx:pt>
          <cx:pt idx="91393">4</cx:pt>
          <cx:pt idx="91394">4</cx:pt>
          <cx:pt idx="91395">4</cx:pt>
          <cx:pt idx="91396">2</cx:pt>
          <cx:pt idx="91397">2</cx:pt>
          <cx:pt idx="91398">4</cx:pt>
          <cx:pt idx="91399">4</cx:pt>
          <cx:pt idx="91400">5</cx:pt>
          <cx:pt idx="91401">5</cx:pt>
          <cx:pt idx="91402">4</cx:pt>
          <cx:pt idx="91403">1</cx:pt>
          <cx:pt idx="91404">4</cx:pt>
          <cx:pt idx="91405">2</cx:pt>
          <cx:pt idx="91406">1</cx:pt>
          <cx:pt idx="91407">4</cx:pt>
          <cx:pt idx="91408">5</cx:pt>
          <cx:pt idx="91409">1</cx:pt>
          <cx:pt idx="91410">4</cx:pt>
          <cx:pt idx="91411">1</cx:pt>
          <cx:pt idx="91412">2</cx:pt>
          <cx:pt idx="91413">5</cx:pt>
          <cx:pt idx="91414">4</cx:pt>
          <cx:pt idx="91415">1</cx:pt>
          <cx:pt idx="91416">1</cx:pt>
          <cx:pt idx="91417">5</cx:pt>
          <cx:pt idx="91418">2</cx:pt>
          <cx:pt idx="91419">4</cx:pt>
          <cx:pt idx="91420">2</cx:pt>
          <cx:pt idx="91421">5</cx:pt>
          <cx:pt idx="91422">4</cx:pt>
          <cx:pt idx="91423">4</cx:pt>
          <cx:pt idx="91424">4</cx:pt>
          <cx:pt idx="91425">3</cx:pt>
          <cx:pt idx="91426">1</cx:pt>
          <cx:pt idx="91427">2</cx:pt>
          <cx:pt idx="91428">3</cx:pt>
          <cx:pt idx="91429">2</cx:pt>
          <cx:pt idx="91430">5</cx:pt>
          <cx:pt idx="91431">5</cx:pt>
          <cx:pt idx="91432">4</cx:pt>
          <cx:pt idx="91433">4</cx:pt>
          <cx:pt idx="91434">4</cx:pt>
          <cx:pt idx="91435">3</cx:pt>
          <cx:pt idx="91436">2</cx:pt>
          <cx:pt idx="91437">3</cx:pt>
          <cx:pt idx="91438">4</cx:pt>
          <cx:pt idx="91439">4</cx:pt>
          <cx:pt idx="91440">5</cx:pt>
          <cx:pt idx="91441">4</cx:pt>
          <cx:pt idx="91442">4</cx:pt>
          <cx:pt idx="91443">4</cx:pt>
          <cx:pt idx="91444">5</cx:pt>
          <cx:pt idx="91445">4</cx:pt>
          <cx:pt idx="91446">5</cx:pt>
          <cx:pt idx="91447">4</cx:pt>
          <cx:pt idx="91448">5</cx:pt>
          <cx:pt idx="91449">4</cx:pt>
          <cx:pt idx="91450">4</cx:pt>
          <cx:pt idx="91451">5</cx:pt>
          <cx:pt idx="91452">3</cx:pt>
          <cx:pt idx="91453">4</cx:pt>
          <cx:pt idx="91454">4</cx:pt>
          <cx:pt idx="91455">2</cx:pt>
          <cx:pt idx="91456">3</cx:pt>
          <cx:pt idx="91457">3</cx:pt>
          <cx:pt idx="91458">4</cx:pt>
          <cx:pt idx="91459">1</cx:pt>
          <cx:pt idx="91460">3</cx:pt>
          <cx:pt idx="91461">5</cx:pt>
          <cx:pt idx="91462">4</cx:pt>
          <cx:pt idx="91463">4</cx:pt>
          <cx:pt idx="91464">2</cx:pt>
          <cx:pt idx="91465">2</cx:pt>
          <cx:pt idx="91466">4</cx:pt>
          <cx:pt idx="91467">3</cx:pt>
          <cx:pt idx="91468">1</cx:pt>
          <cx:pt idx="91469">5</cx:pt>
          <cx:pt idx="91470">1</cx:pt>
          <cx:pt idx="91471">5</cx:pt>
          <cx:pt idx="91472">4</cx:pt>
          <cx:pt idx="91473">3</cx:pt>
          <cx:pt idx="91474">5</cx:pt>
          <cx:pt idx="91475">4</cx:pt>
          <cx:pt idx="91476">5</cx:pt>
          <cx:pt idx="91477">4</cx:pt>
          <cx:pt idx="91478">4</cx:pt>
          <cx:pt idx="91479">3</cx:pt>
          <cx:pt idx="91480">4</cx:pt>
          <cx:pt idx="91481">4</cx:pt>
          <cx:pt idx="91482">5</cx:pt>
          <cx:pt idx="91483">5</cx:pt>
          <cx:pt idx="91484">5</cx:pt>
          <cx:pt idx="91485">5</cx:pt>
          <cx:pt idx="91486">3</cx:pt>
          <cx:pt idx="91487">2</cx:pt>
          <cx:pt idx="91488">1</cx:pt>
          <cx:pt idx="91489">5</cx:pt>
          <cx:pt idx="91490">5</cx:pt>
          <cx:pt idx="91491">4</cx:pt>
          <cx:pt idx="91492">4</cx:pt>
          <cx:pt idx="91493">4</cx:pt>
          <cx:pt idx="91494">2</cx:pt>
          <cx:pt idx="91495">5</cx:pt>
          <cx:pt idx="91496">1</cx:pt>
          <cx:pt idx="91497">3</cx:pt>
          <cx:pt idx="91498">3</cx:pt>
          <cx:pt idx="91499">3</cx:pt>
          <cx:pt idx="91500">5</cx:pt>
          <cx:pt idx="91501">5</cx:pt>
          <cx:pt idx="91502">5</cx:pt>
          <cx:pt idx="91503">2</cx:pt>
          <cx:pt idx="91504">4</cx:pt>
          <cx:pt idx="91505">4</cx:pt>
          <cx:pt idx="91506">3</cx:pt>
          <cx:pt idx="91507">4</cx:pt>
          <cx:pt idx="91508">2</cx:pt>
          <cx:pt idx="91509">3</cx:pt>
          <cx:pt idx="91510">3</cx:pt>
          <cx:pt idx="91511">5</cx:pt>
          <cx:pt idx="91512">4</cx:pt>
          <cx:pt idx="91513">5</cx:pt>
          <cx:pt idx="91514">1</cx:pt>
          <cx:pt idx="91515">3</cx:pt>
          <cx:pt idx="91516">4</cx:pt>
          <cx:pt idx="91517">5</cx:pt>
          <cx:pt idx="91518">4</cx:pt>
          <cx:pt idx="91519">5</cx:pt>
          <cx:pt idx="91520">4</cx:pt>
          <cx:pt idx="91521">4</cx:pt>
          <cx:pt idx="91522">5</cx:pt>
          <cx:pt idx="91523">4</cx:pt>
          <cx:pt idx="91524">4</cx:pt>
          <cx:pt idx="91525">1</cx:pt>
          <cx:pt idx="91526">3</cx:pt>
          <cx:pt idx="91527">2</cx:pt>
          <cx:pt idx="91528">5</cx:pt>
          <cx:pt idx="91529">2</cx:pt>
          <cx:pt idx="91530">1</cx:pt>
          <cx:pt idx="91531">5</cx:pt>
          <cx:pt idx="91532">2</cx:pt>
          <cx:pt idx="91533">1</cx:pt>
          <cx:pt idx="91534">5</cx:pt>
          <cx:pt idx="91535">3</cx:pt>
          <cx:pt idx="91536">4</cx:pt>
          <cx:pt idx="91537">4</cx:pt>
          <cx:pt idx="91538">1</cx:pt>
          <cx:pt idx="91539">5</cx:pt>
          <cx:pt idx="91540">3</cx:pt>
          <cx:pt idx="91541">1</cx:pt>
          <cx:pt idx="91542">4</cx:pt>
          <cx:pt idx="91543">2</cx:pt>
          <cx:pt idx="91544">3</cx:pt>
          <cx:pt idx="91545">5</cx:pt>
          <cx:pt idx="91546">5</cx:pt>
          <cx:pt idx="91547">4</cx:pt>
          <cx:pt idx="91548">4</cx:pt>
          <cx:pt idx="91549">1</cx:pt>
          <cx:pt idx="91550">3</cx:pt>
          <cx:pt idx="91551">4</cx:pt>
          <cx:pt idx="91552">1</cx:pt>
          <cx:pt idx="91553">3</cx:pt>
          <cx:pt idx="91554">4</cx:pt>
          <cx:pt idx="91555">1</cx:pt>
          <cx:pt idx="91556">4</cx:pt>
          <cx:pt idx="91557">1</cx:pt>
          <cx:pt idx="91558">3</cx:pt>
          <cx:pt idx="91559">5</cx:pt>
          <cx:pt idx="91560">3</cx:pt>
          <cx:pt idx="91561">2</cx:pt>
          <cx:pt idx="91562">3</cx:pt>
          <cx:pt idx="91563">4</cx:pt>
          <cx:pt idx="91564">3</cx:pt>
          <cx:pt idx="91565">4</cx:pt>
          <cx:pt idx="91566">2</cx:pt>
          <cx:pt idx="91567">4</cx:pt>
          <cx:pt idx="91568">4</cx:pt>
          <cx:pt idx="91569">1</cx:pt>
          <cx:pt idx="91570">2</cx:pt>
          <cx:pt idx="91571">4</cx:pt>
          <cx:pt idx="91572">3</cx:pt>
          <cx:pt idx="91573">2</cx:pt>
          <cx:pt idx="91574">1</cx:pt>
          <cx:pt idx="91575">2</cx:pt>
          <cx:pt idx="91576">3</cx:pt>
          <cx:pt idx="91577">3</cx:pt>
          <cx:pt idx="91578">2</cx:pt>
          <cx:pt idx="91579">3</cx:pt>
          <cx:pt idx="91580">2</cx:pt>
          <cx:pt idx="91581">4</cx:pt>
          <cx:pt idx="91582">4</cx:pt>
          <cx:pt idx="91583">5</cx:pt>
          <cx:pt idx="91584">3</cx:pt>
          <cx:pt idx="91585">4</cx:pt>
          <cx:pt idx="91586">5</cx:pt>
          <cx:pt idx="91587">5</cx:pt>
          <cx:pt idx="91588">1</cx:pt>
          <cx:pt idx="91589">2</cx:pt>
          <cx:pt idx="91590">2</cx:pt>
          <cx:pt idx="91591">4</cx:pt>
          <cx:pt idx="91592">3</cx:pt>
          <cx:pt idx="91593">5</cx:pt>
          <cx:pt idx="91594">4</cx:pt>
          <cx:pt idx="91595">4</cx:pt>
          <cx:pt idx="91596">5</cx:pt>
          <cx:pt idx="91597">2</cx:pt>
          <cx:pt idx="91598">4</cx:pt>
          <cx:pt idx="91599">4</cx:pt>
          <cx:pt idx="91600">3</cx:pt>
          <cx:pt idx="91601">2</cx:pt>
          <cx:pt idx="91602">3</cx:pt>
          <cx:pt idx="91603">1</cx:pt>
          <cx:pt idx="91604">3</cx:pt>
          <cx:pt idx="91605">3</cx:pt>
          <cx:pt idx="91606">4</cx:pt>
          <cx:pt idx="91607">2</cx:pt>
          <cx:pt idx="91608">3</cx:pt>
          <cx:pt idx="91609">5</cx:pt>
          <cx:pt idx="91610">5</cx:pt>
          <cx:pt idx="91611">3</cx:pt>
          <cx:pt idx="91612">5</cx:pt>
          <cx:pt idx="91613">3</cx:pt>
          <cx:pt idx="91614">4</cx:pt>
          <cx:pt idx="91615">5</cx:pt>
          <cx:pt idx="91616">4</cx:pt>
          <cx:pt idx="91617">4</cx:pt>
          <cx:pt idx="91618">1</cx:pt>
          <cx:pt idx="91619">5</cx:pt>
          <cx:pt idx="91620">5</cx:pt>
          <cx:pt idx="91621">5</cx:pt>
          <cx:pt idx="91622">2</cx:pt>
          <cx:pt idx="91623">3</cx:pt>
          <cx:pt idx="91624">5</cx:pt>
          <cx:pt idx="91625">3</cx:pt>
          <cx:pt idx="91626">3</cx:pt>
          <cx:pt idx="91627">3</cx:pt>
          <cx:pt idx="91628">3</cx:pt>
          <cx:pt idx="91629">4</cx:pt>
          <cx:pt idx="91630">4</cx:pt>
          <cx:pt idx="91631">5</cx:pt>
          <cx:pt idx="91632">5</cx:pt>
          <cx:pt idx="91633">4</cx:pt>
          <cx:pt idx="91634">1</cx:pt>
          <cx:pt idx="91635">5</cx:pt>
          <cx:pt idx="91636">5</cx:pt>
          <cx:pt idx="91637">3</cx:pt>
          <cx:pt idx="91638">5</cx:pt>
          <cx:pt idx="91639">4</cx:pt>
          <cx:pt idx="91640">4</cx:pt>
          <cx:pt idx="91641">5</cx:pt>
          <cx:pt idx="91642">4</cx:pt>
          <cx:pt idx="91643">4</cx:pt>
          <cx:pt idx="91644">1</cx:pt>
          <cx:pt idx="91645">2</cx:pt>
          <cx:pt idx="91646">4</cx:pt>
          <cx:pt idx="91647">5</cx:pt>
          <cx:pt idx="91648">5</cx:pt>
          <cx:pt idx="91649">5</cx:pt>
          <cx:pt idx="91650">5</cx:pt>
          <cx:pt idx="91651">4</cx:pt>
          <cx:pt idx="91652">5</cx:pt>
          <cx:pt idx="91653">5</cx:pt>
          <cx:pt idx="91654">3</cx:pt>
          <cx:pt idx="91655">3</cx:pt>
          <cx:pt idx="91656">2</cx:pt>
          <cx:pt idx="91657">5</cx:pt>
          <cx:pt idx="91658">2</cx:pt>
          <cx:pt idx="91659">5</cx:pt>
          <cx:pt idx="91660">3</cx:pt>
          <cx:pt idx="91661">2</cx:pt>
          <cx:pt idx="91662">4</cx:pt>
          <cx:pt idx="91663">4</cx:pt>
          <cx:pt idx="91664">3</cx:pt>
          <cx:pt idx="91665">5</cx:pt>
          <cx:pt idx="91666">5</cx:pt>
          <cx:pt idx="91667">4</cx:pt>
          <cx:pt idx="91668">2</cx:pt>
          <cx:pt idx="91669">5</cx:pt>
          <cx:pt idx="91670">4</cx:pt>
          <cx:pt idx="91671">3</cx:pt>
          <cx:pt idx="91672">2</cx:pt>
          <cx:pt idx="91673">5</cx:pt>
          <cx:pt idx="91674">3</cx:pt>
          <cx:pt idx="91675">5</cx:pt>
          <cx:pt idx="91676">4</cx:pt>
          <cx:pt idx="91677">5</cx:pt>
          <cx:pt idx="91678">5</cx:pt>
          <cx:pt idx="91679">3</cx:pt>
          <cx:pt idx="91680">2</cx:pt>
          <cx:pt idx="91681">3</cx:pt>
          <cx:pt idx="91682">5</cx:pt>
          <cx:pt idx="91683">4</cx:pt>
          <cx:pt idx="91684">5</cx:pt>
          <cx:pt idx="91685">5</cx:pt>
          <cx:pt idx="91686">5</cx:pt>
          <cx:pt idx="91687">5</cx:pt>
          <cx:pt idx="91688">5</cx:pt>
          <cx:pt idx="91689">4</cx:pt>
          <cx:pt idx="91690">3</cx:pt>
          <cx:pt idx="91691">4</cx:pt>
          <cx:pt idx="91692">2</cx:pt>
          <cx:pt idx="91693">1</cx:pt>
          <cx:pt idx="91694">5</cx:pt>
          <cx:pt idx="91695">4</cx:pt>
          <cx:pt idx="91696">1</cx:pt>
          <cx:pt idx="91697">5</cx:pt>
          <cx:pt idx="91698">5</cx:pt>
          <cx:pt idx="91699">4</cx:pt>
          <cx:pt idx="91700">5</cx:pt>
          <cx:pt idx="91701">2</cx:pt>
          <cx:pt idx="91702">4</cx:pt>
          <cx:pt idx="91703">1</cx:pt>
          <cx:pt idx="91704">5</cx:pt>
          <cx:pt idx="91705">3</cx:pt>
          <cx:pt idx="91706">5</cx:pt>
          <cx:pt idx="91707">1</cx:pt>
          <cx:pt idx="91708">5</cx:pt>
          <cx:pt idx="91709">3</cx:pt>
          <cx:pt idx="91710">5</cx:pt>
          <cx:pt idx="91711">5</cx:pt>
          <cx:pt idx="91712">4</cx:pt>
          <cx:pt idx="91713">3</cx:pt>
          <cx:pt idx="91714">4</cx:pt>
          <cx:pt idx="91715">4</cx:pt>
          <cx:pt idx="91716">4</cx:pt>
          <cx:pt idx="91717">3</cx:pt>
          <cx:pt idx="91718">5</cx:pt>
          <cx:pt idx="91719">2</cx:pt>
          <cx:pt idx="91720">4</cx:pt>
          <cx:pt idx="91721">3</cx:pt>
          <cx:pt idx="91722">1</cx:pt>
          <cx:pt idx="91723">2</cx:pt>
          <cx:pt idx="91724">4</cx:pt>
          <cx:pt idx="91725">4</cx:pt>
          <cx:pt idx="91726">3</cx:pt>
          <cx:pt idx="91727">2</cx:pt>
          <cx:pt idx="91728">4</cx:pt>
          <cx:pt idx="91729">4</cx:pt>
          <cx:pt idx="91730">2</cx:pt>
          <cx:pt idx="91731">5</cx:pt>
          <cx:pt idx="91732">3</cx:pt>
          <cx:pt idx="91733">5</cx:pt>
          <cx:pt idx="91734">1</cx:pt>
          <cx:pt idx="91735">2</cx:pt>
          <cx:pt idx="91736">1</cx:pt>
          <cx:pt idx="91737">5</cx:pt>
          <cx:pt idx="91738">4</cx:pt>
          <cx:pt idx="91739">3</cx:pt>
          <cx:pt idx="91740">5</cx:pt>
          <cx:pt idx="91741">3</cx:pt>
          <cx:pt idx="91742">4</cx:pt>
          <cx:pt idx="91743">4</cx:pt>
          <cx:pt idx="91744">2</cx:pt>
          <cx:pt idx="91745">4</cx:pt>
          <cx:pt idx="91746">4</cx:pt>
          <cx:pt idx="91747">5</cx:pt>
          <cx:pt idx="91748">5</cx:pt>
          <cx:pt idx="91749">4</cx:pt>
          <cx:pt idx="91750">2</cx:pt>
          <cx:pt idx="91751">4</cx:pt>
          <cx:pt idx="91752">4</cx:pt>
          <cx:pt idx="91753">3</cx:pt>
          <cx:pt idx="91754">4</cx:pt>
          <cx:pt idx="91755">4</cx:pt>
          <cx:pt idx="91756">3</cx:pt>
          <cx:pt idx="91757">5</cx:pt>
          <cx:pt idx="91758">1</cx:pt>
          <cx:pt idx="91759">2</cx:pt>
          <cx:pt idx="91760">3</cx:pt>
          <cx:pt idx="91761">4</cx:pt>
          <cx:pt idx="91762">5</cx:pt>
          <cx:pt idx="91763">4</cx:pt>
          <cx:pt idx="91764">3</cx:pt>
          <cx:pt idx="91765">4</cx:pt>
          <cx:pt idx="91766">5</cx:pt>
          <cx:pt idx="91767">4</cx:pt>
          <cx:pt idx="91768">3</cx:pt>
          <cx:pt idx="91769">1</cx:pt>
          <cx:pt idx="91770">5</cx:pt>
          <cx:pt idx="91771">5</cx:pt>
          <cx:pt idx="91772">2</cx:pt>
          <cx:pt idx="91773">1</cx:pt>
          <cx:pt idx="91774">1</cx:pt>
          <cx:pt idx="91775">4</cx:pt>
          <cx:pt idx="91776">4</cx:pt>
          <cx:pt idx="91777">4</cx:pt>
          <cx:pt idx="91778">5</cx:pt>
          <cx:pt idx="91779">3</cx:pt>
          <cx:pt idx="91780">4</cx:pt>
          <cx:pt idx="91781">5</cx:pt>
          <cx:pt idx="91782">3</cx:pt>
          <cx:pt idx="91783">3</cx:pt>
          <cx:pt idx="91784">3</cx:pt>
          <cx:pt idx="91785">3</cx:pt>
          <cx:pt idx="91786">5</cx:pt>
          <cx:pt idx="91787">5</cx:pt>
          <cx:pt idx="91788">4</cx:pt>
          <cx:pt idx="91789">3</cx:pt>
          <cx:pt idx="91790">3</cx:pt>
          <cx:pt idx="91791">1</cx:pt>
          <cx:pt idx="91792">3</cx:pt>
          <cx:pt idx="91793">4</cx:pt>
          <cx:pt idx="91794">5</cx:pt>
          <cx:pt idx="91795">5</cx:pt>
          <cx:pt idx="91796">3</cx:pt>
          <cx:pt idx="91797">4</cx:pt>
          <cx:pt idx="91798">4</cx:pt>
          <cx:pt idx="91799">4</cx:pt>
          <cx:pt idx="91800">4</cx:pt>
          <cx:pt idx="91801">5</cx:pt>
          <cx:pt idx="91802">2</cx:pt>
          <cx:pt idx="91803">1</cx:pt>
          <cx:pt idx="91804">5</cx:pt>
          <cx:pt idx="91805">4</cx:pt>
          <cx:pt idx="91806">5</cx:pt>
          <cx:pt idx="91807">3</cx:pt>
          <cx:pt idx="91808">4</cx:pt>
          <cx:pt idx="91809">1</cx:pt>
          <cx:pt idx="91810">5</cx:pt>
          <cx:pt idx="91811">3</cx:pt>
          <cx:pt idx="91812">5</cx:pt>
          <cx:pt idx="91813">4</cx:pt>
          <cx:pt idx="91814">5</cx:pt>
          <cx:pt idx="91815">5</cx:pt>
          <cx:pt idx="91816">5</cx:pt>
          <cx:pt idx="91817">1</cx:pt>
          <cx:pt idx="91818">2</cx:pt>
          <cx:pt idx="91819">3</cx:pt>
          <cx:pt idx="91820">2</cx:pt>
          <cx:pt idx="91821">4</cx:pt>
          <cx:pt idx="91822">4</cx:pt>
          <cx:pt idx="91823">2</cx:pt>
          <cx:pt idx="91824">3</cx:pt>
          <cx:pt idx="91825">3</cx:pt>
          <cx:pt idx="91826">1</cx:pt>
          <cx:pt idx="91827">5</cx:pt>
          <cx:pt idx="91828">4</cx:pt>
          <cx:pt idx="91829">1</cx:pt>
          <cx:pt idx="91830">2</cx:pt>
          <cx:pt idx="91831">4</cx:pt>
          <cx:pt idx="91832">2</cx:pt>
          <cx:pt idx="91833">3</cx:pt>
          <cx:pt idx="91834">4</cx:pt>
          <cx:pt idx="91835">5</cx:pt>
          <cx:pt idx="91836">4</cx:pt>
          <cx:pt idx="91837">5</cx:pt>
          <cx:pt idx="91838">2</cx:pt>
          <cx:pt idx="91839">2</cx:pt>
          <cx:pt idx="91840">2</cx:pt>
          <cx:pt idx="91841">2</cx:pt>
          <cx:pt idx="91842">5</cx:pt>
          <cx:pt idx="91843">3</cx:pt>
          <cx:pt idx="91844">5</cx:pt>
          <cx:pt idx="91845">4</cx:pt>
          <cx:pt idx="91846">5</cx:pt>
          <cx:pt idx="91847">4</cx:pt>
          <cx:pt idx="91848">2</cx:pt>
          <cx:pt idx="91849">1</cx:pt>
          <cx:pt idx="91850">4</cx:pt>
          <cx:pt idx="91851">4</cx:pt>
          <cx:pt idx="91852">4</cx:pt>
          <cx:pt idx="91853">5</cx:pt>
          <cx:pt idx="91854">4</cx:pt>
          <cx:pt idx="91855">4</cx:pt>
          <cx:pt idx="91856">4</cx:pt>
          <cx:pt idx="91857">4</cx:pt>
          <cx:pt idx="91858">3</cx:pt>
          <cx:pt idx="91859">1</cx:pt>
          <cx:pt idx="91860">1</cx:pt>
          <cx:pt idx="91861">3</cx:pt>
          <cx:pt idx="91862">4</cx:pt>
          <cx:pt idx="91863">4</cx:pt>
          <cx:pt idx="91864">1</cx:pt>
          <cx:pt idx="91865">2</cx:pt>
          <cx:pt idx="91866">3</cx:pt>
          <cx:pt idx="91867">2</cx:pt>
          <cx:pt idx="91868">2</cx:pt>
          <cx:pt idx="91869">4</cx:pt>
          <cx:pt idx="91870">3</cx:pt>
          <cx:pt idx="91871">1</cx:pt>
          <cx:pt idx="91872">4</cx:pt>
          <cx:pt idx="91873">2</cx:pt>
          <cx:pt idx="91874">1</cx:pt>
          <cx:pt idx="91875">3</cx:pt>
          <cx:pt idx="91876">1</cx:pt>
          <cx:pt idx="91877">5</cx:pt>
          <cx:pt idx="91878">4</cx:pt>
          <cx:pt idx="91879">4</cx:pt>
          <cx:pt idx="91880">1</cx:pt>
          <cx:pt idx="91881">2</cx:pt>
          <cx:pt idx="91882">2</cx:pt>
          <cx:pt idx="91883">5</cx:pt>
          <cx:pt idx="91884">5</cx:pt>
          <cx:pt idx="91885">1</cx:pt>
          <cx:pt idx="91886">4</cx:pt>
          <cx:pt idx="91887">5</cx:pt>
          <cx:pt idx="91888">1</cx:pt>
          <cx:pt idx="91889">4</cx:pt>
          <cx:pt idx="91890">3</cx:pt>
          <cx:pt idx="91891">3</cx:pt>
          <cx:pt idx="91892">2</cx:pt>
          <cx:pt idx="91893">3</cx:pt>
          <cx:pt idx="91894">5</cx:pt>
          <cx:pt idx="91895">3</cx:pt>
          <cx:pt idx="91896">4</cx:pt>
          <cx:pt idx="91897">3</cx:pt>
          <cx:pt idx="91898">2</cx:pt>
          <cx:pt idx="91899">5</cx:pt>
          <cx:pt idx="91900">5</cx:pt>
          <cx:pt idx="91901">1</cx:pt>
          <cx:pt idx="91902">1</cx:pt>
          <cx:pt idx="91903">2</cx:pt>
          <cx:pt idx="91904">3</cx:pt>
          <cx:pt idx="91905">3</cx:pt>
          <cx:pt idx="91906">5</cx:pt>
          <cx:pt idx="91907">2</cx:pt>
          <cx:pt idx="91908">5</cx:pt>
          <cx:pt idx="91909">1</cx:pt>
          <cx:pt idx="91910">4</cx:pt>
          <cx:pt idx="91911">2</cx:pt>
          <cx:pt idx="91912">2</cx:pt>
          <cx:pt idx="91913">5</cx:pt>
          <cx:pt idx="91914">5</cx:pt>
          <cx:pt idx="91915">5</cx:pt>
          <cx:pt idx="91916">4</cx:pt>
          <cx:pt idx="91917">5</cx:pt>
          <cx:pt idx="91918">5</cx:pt>
          <cx:pt idx="91919">4</cx:pt>
          <cx:pt idx="91920">1</cx:pt>
          <cx:pt idx="91921">3</cx:pt>
          <cx:pt idx="91922">4</cx:pt>
          <cx:pt idx="91923">4</cx:pt>
          <cx:pt idx="91924">1</cx:pt>
          <cx:pt idx="91925">3</cx:pt>
          <cx:pt idx="91926">3</cx:pt>
          <cx:pt idx="91927">4</cx:pt>
          <cx:pt idx="91928">3</cx:pt>
          <cx:pt idx="91929">5</cx:pt>
          <cx:pt idx="91930">4</cx:pt>
          <cx:pt idx="91931">1</cx:pt>
          <cx:pt idx="91932">5</cx:pt>
          <cx:pt idx="91933">4</cx:pt>
          <cx:pt idx="91934">1</cx:pt>
          <cx:pt idx="91935">5</cx:pt>
          <cx:pt idx="91936">1</cx:pt>
          <cx:pt idx="91937">4</cx:pt>
          <cx:pt idx="91938">5</cx:pt>
          <cx:pt idx="91939">4</cx:pt>
          <cx:pt idx="91940">4</cx:pt>
          <cx:pt idx="91941">5</cx:pt>
          <cx:pt idx="91942">4</cx:pt>
          <cx:pt idx="91943">4</cx:pt>
          <cx:pt idx="91944">5</cx:pt>
          <cx:pt idx="91945">2</cx:pt>
          <cx:pt idx="91946">4</cx:pt>
          <cx:pt idx="91947">2</cx:pt>
          <cx:pt idx="91948">4</cx:pt>
          <cx:pt idx="91949">3</cx:pt>
          <cx:pt idx="91950">4</cx:pt>
          <cx:pt idx="91951">2</cx:pt>
          <cx:pt idx="91952">1</cx:pt>
          <cx:pt idx="91953">5</cx:pt>
          <cx:pt idx="91954">2</cx:pt>
          <cx:pt idx="91955">5</cx:pt>
          <cx:pt idx="91956">4</cx:pt>
          <cx:pt idx="91957">4</cx:pt>
          <cx:pt idx="91958">5</cx:pt>
          <cx:pt idx="91959">5</cx:pt>
          <cx:pt idx="91960">4</cx:pt>
          <cx:pt idx="91961">4</cx:pt>
          <cx:pt idx="91962">4</cx:pt>
          <cx:pt idx="91963">2</cx:pt>
          <cx:pt idx="91964">2</cx:pt>
          <cx:pt idx="91965">3</cx:pt>
          <cx:pt idx="91966">2</cx:pt>
          <cx:pt idx="91967">4</cx:pt>
          <cx:pt idx="91968">2</cx:pt>
          <cx:pt idx="91969">4</cx:pt>
          <cx:pt idx="91970">3</cx:pt>
          <cx:pt idx="91971">1</cx:pt>
          <cx:pt idx="91972">5</cx:pt>
          <cx:pt idx="91973">1</cx:pt>
          <cx:pt idx="91974">1</cx:pt>
          <cx:pt idx="91975">4</cx:pt>
          <cx:pt idx="91976">5</cx:pt>
          <cx:pt idx="91977">5</cx:pt>
          <cx:pt idx="91978">2</cx:pt>
          <cx:pt idx="91979">4</cx:pt>
          <cx:pt idx="91980">4</cx:pt>
          <cx:pt idx="91981">5</cx:pt>
          <cx:pt idx="91982">5</cx:pt>
          <cx:pt idx="91983">5</cx:pt>
          <cx:pt idx="91984">5</cx:pt>
          <cx:pt idx="91985">5</cx:pt>
          <cx:pt idx="91986">3</cx:pt>
          <cx:pt idx="91987">2</cx:pt>
          <cx:pt idx="91988">4</cx:pt>
          <cx:pt idx="91989">5</cx:pt>
          <cx:pt idx="91990">4</cx:pt>
          <cx:pt idx="91991">3</cx:pt>
          <cx:pt idx="91992">2</cx:pt>
          <cx:pt idx="91993">2</cx:pt>
          <cx:pt idx="91994">4</cx:pt>
          <cx:pt idx="91995">5</cx:pt>
          <cx:pt idx="91996">4</cx:pt>
          <cx:pt idx="91997">4</cx:pt>
          <cx:pt idx="91998">2</cx:pt>
          <cx:pt idx="91999">2</cx:pt>
          <cx:pt idx="92000">5</cx:pt>
          <cx:pt idx="92001">4</cx:pt>
          <cx:pt idx="92002">4</cx:pt>
          <cx:pt idx="92003">4</cx:pt>
          <cx:pt idx="92004">4</cx:pt>
          <cx:pt idx="92005">5</cx:pt>
          <cx:pt idx="92006">3</cx:pt>
          <cx:pt idx="92007">5</cx:pt>
          <cx:pt idx="92008">3</cx:pt>
          <cx:pt idx="92009">4</cx:pt>
          <cx:pt idx="92010">4</cx:pt>
          <cx:pt idx="92011">1</cx:pt>
          <cx:pt idx="92012">4</cx:pt>
          <cx:pt idx="92013">2</cx:pt>
          <cx:pt idx="92014">5</cx:pt>
          <cx:pt idx="92015">4</cx:pt>
          <cx:pt idx="92016">4</cx:pt>
          <cx:pt idx="92017">3</cx:pt>
          <cx:pt idx="92018">4</cx:pt>
          <cx:pt idx="92019">5</cx:pt>
          <cx:pt idx="92020">5</cx:pt>
          <cx:pt idx="92021">4</cx:pt>
          <cx:pt idx="92022">2</cx:pt>
          <cx:pt idx="92023">2</cx:pt>
          <cx:pt idx="92024">4</cx:pt>
          <cx:pt idx="92025">2</cx:pt>
          <cx:pt idx="92026">2</cx:pt>
          <cx:pt idx="92027">4</cx:pt>
          <cx:pt idx="92028">4</cx:pt>
          <cx:pt idx="92029">4</cx:pt>
          <cx:pt idx="92030">1</cx:pt>
          <cx:pt idx="92031">4</cx:pt>
          <cx:pt idx="92032">5</cx:pt>
          <cx:pt idx="92033">5</cx:pt>
          <cx:pt idx="92034">2</cx:pt>
          <cx:pt idx="92035">5</cx:pt>
          <cx:pt idx="92036">5</cx:pt>
          <cx:pt idx="92037">1</cx:pt>
          <cx:pt idx="92038">4</cx:pt>
          <cx:pt idx="92039">5</cx:pt>
          <cx:pt idx="92040">5</cx:pt>
          <cx:pt idx="92041">4</cx:pt>
          <cx:pt idx="92042">5</cx:pt>
          <cx:pt idx="92043">5</cx:pt>
          <cx:pt idx="92044">4</cx:pt>
          <cx:pt idx="92045">4</cx:pt>
          <cx:pt idx="92046">4</cx:pt>
          <cx:pt idx="92047">5</cx:pt>
          <cx:pt idx="92048">3</cx:pt>
          <cx:pt idx="92049">3</cx:pt>
          <cx:pt idx="92050">4</cx:pt>
          <cx:pt idx="92051">2</cx:pt>
          <cx:pt idx="92052">2</cx:pt>
          <cx:pt idx="92053">3</cx:pt>
          <cx:pt idx="92054">4</cx:pt>
          <cx:pt idx="92055">4</cx:pt>
          <cx:pt idx="92056">4</cx:pt>
          <cx:pt idx="92057">2</cx:pt>
          <cx:pt idx="92058">3</cx:pt>
          <cx:pt idx="92059">5</cx:pt>
          <cx:pt idx="92060">5</cx:pt>
          <cx:pt idx="92061">5</cx:pt>
          <cx:pt idx="92062">4</cx:pt>
          <cx:pt idx="92063">5</cx:pt>
          <cx:pt idx="92064">3</cx:pt>
          <cx:pt idx="92065">3</cx:pt>
          <cx:pt idx="92066">1</cx:pt>
          <cx:pt idx="92067">4</cx:pt>
          <cx:pt idx="92068">4</cx:pt>
          <cx:pt idx="92069">4</cx:pt>
          <cx:pt idx="92070">4</cx:pt>
          <cx:pt idx="92071">2</cx:pt>
          <cx:pt idx="92072">5</cx:pt>
          <cx:pt idx="92073">3</cx:pt>
          <cx:pt idx="92074">1</cx:pt>
          <cx:pt idx="92075">3</cx:pt>
          <cx:pt idx="92076">2</cx:pt>
          <cx:pt idx="92077">2</cx:pt>
          <cx:pt idx="92078">4</cx:pt>
          <cx:pt idx="92079">4</cx:pt>
          <cx:pt idx="92080">4</cx:pt>
          <cx:pt idx="92081">4</cx:pt>
          <cx:pt idx="92082">2</cx:pt>
          <cx:pt idx="92083">5</cx:pt>
          <cx:pt idx="92084">4</cx:pt>
          <cx:pt idx="92085">5</cx:pt>
          <cx:pt idx="92086">2</cx:pt>
          <cx:pt idx="92087">1</cx:pt>
          <cx:pt idx="92088">5</cx:pt>
          <cx:pt idx="92089">2</cx:pt>
          <cx:pt idx="92090">4</cx:pt>
          <cx:pt idx="92091">5</cx:pt>
          <cx:pt idx="92092">5</cx:pt>
          <cx:pt idx="92093">4</cx:pt>
          <cx:pt idx="92094">4</cx:pt>
          <cx:pt idx="92095">1</cx:pt>
          <cx:pt idx="92096">5</cx:pt>
          <cx:pt idx="92097">1</cx:pt>
          <cx:pt idx="92098">5</cx:pt>
          <cx:pt idx="92099">5</cx:pt>
          <cx:pt idx="92100">3</cx:pt>
          <cx:pt idx="92101">4</cx:pt>
          <cx:pt idx="92102">5</cx:pt>
          <cx:pt idx="92103">2</cx:pt>
          <cx:pt idx="92104">3</cx:pt>
          <cx:pt idx="92105">4</cx:pt>
          <cx:pt idx="92106">4</cx:pt>
          <cx:pt idx="92107">3</cx:pt>
          <cx:pt idx="92108">2</cx:pt>
          <cx:pt idx="92109">4</cx:pt>
          <cx:pt idx="92110">5</cx:pt>
          <cx:pt idx="92111">4</cx:pt>
          <cx:pt idx="92112">5</cx:pt>
          <cx:pt idx="92113">4</cx:pt>
          <cx:pt idx="92114">5</cx:pt>
          <cx:pt idx="92115">2</cx:pt>
          <cx:pt idx="92116">5</cx:pt>
          <cx:pt idx="92117">1</cx:pt>
          <cx:pt idx="92118">4</cx:pt>
          <cx:pt idx="92119">1</cx:pt>
          <cx:pt idx="92120">4</cx:pt>
          <cx:pt idx="92121">1</cx:pt>
          <cx:pt idx="92122">4</cx:pt>
          <cx:pt idx="92123">4</cx:pt>
          <cx:pt idx="92124">2</cx:pt>
          <cx:pt idx="92125">4</cx:pt>
          <cx:pt idx="92126">5</cx:pt>
          <cx:pt idx="92127">5</cx:pt>
          <cx:pt idx="92128">2</cx:pt>
          <cx:pt idx="92129">3</cx:pt>
          <cx:pt idx="92130">4</cx:pt>
          <cx:pt idx="92131">4</cx:pt>
          <cx:pt idx="92132">4</cx:pt>
          <cx:pt idx="92133">5</cx:pt>
          <cx:pt idx="92134">5</cx:pt>
          <cx:pt idx="92135">2</cx:pt>
          <cx:pt idx="92136">2</cx:pt>
          <cx:pt idx="92137">1</cx:pt>
          <cx:pt idx="92138">4</cx:pt>
          <cx:pt idx="92139">4</cx:pt>
          <cx:pt idx="92140">4</cx:pt>
          <cx:pt idx="92141">4</cx:pt>
          <cx:pt idx="92142">3</cx:pt>
          <cx:pt idx="92143">1</cx:pt>
          <cx:pt idx="92144">4</cx:pt>
          <cx:pt idx="92145">5</cx:pt>
          <cx:pt idx="92146">2</cx:pt>
          <cx:pt idx="92147">3</cx:pt>
          <cx:pt idx="92148">2</cx:pt>
          <cx:pt idx="92149">4</cx:pt>
          <cx:pt idx="92150">5</cx:pt>
          <cx:pt idx="92151">5</cx:pt>
          <cx:pt idx="92152">4</cx:pt>
          <cx:pt idx="92153">2</cx:pt>
          <cx:pt idx="92154">4</cx:pt>
          <cx:pt idx="92155">4</cx:pt>
          <cx:pt idx="92156">4</cx:pt>
          <cx:pt idx="92157">1</cx:pt>
          <cx:pt idx="92158">5</cx:pt>
          <cx:pt idx="92159">3</cx:pt>
          <cx:pt idx="92160">4</cx:pt>
          <cx:pt idx="92161">5</cx:pt>
          <cx:pt idx="92162">5</cx:pt>
          <cx:pt idx="92163">4</cx:pt>
          <cx:pt idx="92164">3</cx:pt>
          <cx:pt idx="92165">3</cx:pt>
          <cx:pt idx="92166">5</cx:pt>
          <cx:pt idx="92167">1</cx:pt>
          <cx:pt idx="92168">2</cx:pt>
          <cx:pt idx="92169">4</cx:pt>
          <cx:pt idx="92170">3</cx:pt>
          <cx:pt idx="92171">5</cx:pt>
          <cx:pt idx="92172">4</cx:pt>
          <cx:pt idx="92173">4</cx:pt>
          <cx:pt idx="92174">2</cx:pt>
          <cx:pt idx="92175">5</cx:pt>
          <cx:pt idx="92176">4</cx:pt>
          <cx:pt idx="92177">4</cx:pt>
          <cx:pt idx="92178">3</cx:pt>
          <cx:pt idx="92179">4</cx:pt>
          <cx:pt idx="92180">2</cx:pt>
          <cx:pt idx="92181">3</cx:pt>
          <cx:pt idx="92182">4</cx:pt>
          <cx:pt idx="92183">1</cx:pt>
          <cx:pt idx="92184">5</cx:pt>
          <cx:pt idx="92185">3</cx:pt>
          <cx:pt idx="92186">2</cx:pt>
          <cx:pt idx="92187">4</cx:pt>
          <cx:pt idx="92188">5</cx:pt>
          <cx:pt idx="92189">1</cx:pt>
          <cx:pt idx="92190">4</cx:pt>
          <cx:pt idx="92191">2</cx:pt>
          <cx:pt idx="92192">4</cx:pt>
          <cx:pt idx="92193">1</cx:pt>
          <cx:pt idx="92194">5</cx:pt>
          <cx:pt idx="92195">2</cx:pt>
          <cx:pt idx="92196">4</cx:pt>
          <cx:pt idx="92197">5</cx:pt>
          <cx:pt idx="92198">2</cx:pt>
          <cx:pt idx="92199">4</cx:pt>
          <cx:pt idx="92200">3</cx:pt>
          <cx:pt idx="92201">3</cx:pt>
          <cx:pt idx="92202">2</cx:pt>
          <cx:pt idx="92203">3</cx:pt>
          <cx:pt idx="92204">4</cx:pt>
          <cx:pt idx="92205">4</cx:pt>
          <cx:pt idx="92206">2</cx:pt>
          <cx:pt idx="92207">5</cx:pt>
          <cx:pt idx="92208">5</cx:pt>
          <cx:pt idx="92209">4</cx:pt>
          <cx:pt idx="92210">3</cx:pt>
          <cx:pt idx="92211">4</cx:pt>
          <cx:pt idx="92212">3</cx:pt>
          <cx:pt idx="92213">5</cx:pt>
          <cx:pt idx="92214">5</cx:pt>
          <cx:pt idx="92215">2</cx:pt>
          <cx:pt idx="92216">3</cx:pt>
          <cx:pt idx="92217">2</cx:pt>
          <cx:pt idx="92218">1</cx:pt>
          <cx:pt idx="92219">5</cx:pt>
          <cx:pt idx="92220">5</cx:pt>
          <cx:pt idx="92221">4</cx:pt>
          <cx:pt idx="92222">3</cx:pt>
          <cx:pt idx="92223">2</cx:pt>
          <cx:pt idx="92224">5</cx:pt>
          <cx:pt idx="92225">1</cx:pt>
          <cx:pt idx="92226">2</cx:pt>
          <cx:pt idx="92227">5</cx:pt>
          <cx:pt idx="92228">4</cx:pt>
          <cx:pt idx="92229">4</cx:pt>
          <cx:pt idx="92230">4</cx:pt>
          <cx:pt idx="92231">5</cx:pt>
          <cx:pt idx="92232">3</cx:pt>
          <cx:pt idx="92233">4</cx:pt>
          <cx:pt idx="92234">5</cx:pt>
          <cx:pt idx="92235">4</cx:pt>
          <cx:pt idx="92236">3</cx:pt>
          <cx:pt idx="92237">5</cx:pt>
          <cx:pt idx="92238">5</cx:pt>
          <cx:pt idx="92239">4</cx:pt>
          <cx:pt idx="92240">5</cx:pt>
          <cx:pt idx="92241">5</cx:pt>
          <cx:pt idx="92242">2</cx:pt>
          <cx:pt idx="92243">5</cx:pt>
          <cx:pt idx="92244">4</cx:pt>
          <cx:pt idx="92245">4</cx:pt>
          <cx:pt idx="92246">3</cx:pt>
          <cx:pt idx="92247">3</cx:pt>
          <cx:pt idx="92248">4</cx:pt>
          <cx:pt idx="92249">3</cx:pt>
          <cx:pt idx="92250">2</cx:pt>
          <cx:pt idx="92251">3</cx:pt>
          <cx:pt idx="92252">5</cx:pt>
          <cx:pt idx="92253">5</cx:pt>
          <cx:pt idx="92254">2</cx:pt>
          <cx:pt idx="92255">2</cx:pt>
          <cx:pt idx="92256">4</cx:pt>
          <cx:pt idx="92257">4</cx:pt>
          <cx:pt idx="92258">2</cx:pt>
          <cx:pt idx="92259">2</cx:pt>
          <cx:pt idx="92260">4</cx:pt>
          <cx:pt idx="92261">4</cx:pt>
          <cx:pt idx="92262">5</cx:pt>
          <cx:pt idx="92263">4</cx:pt>
          <cx:pt idx="92264">3</cx:pt>
          <cx:pt idx="92265">4</cx:pt>
          <cx:pt idx="92266">3</cx:pt>
          <cx:pt idx="92267">4</cx:pt>
          <cx:pt idx="92268">1</cx:pt>
          <cx:pt idx="92269">2</cx:pt>
          <cx:pt idx="92270">4</cx:pt>
          <cx:pt idx="92271">2</cx:pt>
          <cx:pt idx="92272">3</cx:pt>
          <cx:pt idx="92273">4</cx:pt>
          <cx:pt idx="92274">4</cx:pt>
          <cx:pt idx="92275">4</cx:pt>
          <cx:pt idx="92276">3</cx:pt>
          <cx:pt idx="92277">4</cx:pt>
          <cx:pt idx="92278">4</cx:pt>
          <cx:pt idx="92279">4</cx:pt>
          <cx:pt idx="92280">5</cx:pt>
          <cx:pt idx="92281">4</cx:pt>
          <cx:pt idx="92282">4</cx:pt>
          <cx:pt idx="92283">2</cx:pt>
          <cx:pt idx="92284">3</cx:pt>
          <cx:pt idx="92285">3</cx:pt>
          <cx:pt idx="92286">5</cx:pt>
          <cx:pt idx="92287">4</cx:pt>
          <cx:pt idx="92288">4</cx:pt>
          <cx:pt idx="92289">4</cx:pt>
          <cx:pt idx="92290">5</cx:pt>
          <cx:pt idx="92291">3</cx:pt>
          <cx:pt idx="92292">2</cx:pt>
          <cx:pt idx="92293">4</cx:pt>
          <cx:pt idx="92294">2</cx:pt>
          <cx:pt idx="92295">4</cx:pt>
          <cx:pt idx="92296">4</cx:pt>
          <cx:pt idx="92297">4</cx:pt>
          <cx:pt idx="92298">1</cx:pt>
          <cx:pt idx="92299">3</cx:pt>
          <cx:pt idx="92300">4</cx:pt>
          <cx:pt idx="92301">4</cx:pt>
          <cx:pt idx="92302">4</cx:pt>
          <cx:pt idx="92303">4</cx:pt>
          <cx:pt idx="92304">2</cx:pt>
          <cx:pt idx="92305">2</cx:pt>
          <cx:pt idx="92306">4</cx:pt>
          <cx:pt idx="92307">1</cx:pt>
          <cx:pt idx="92308">1</cx:pt>
          <cx:pt idx="92309">1</cx:pt>
          <cx:pt idx="92310">4</cx:pt>
          <cx:pt idx="92311">3</cx:pt>
          <cx:pt idx="92312">3</cx:pt>
          <cx:pt idx="92313">5</cx:pt>
          <cx:pt idx="92314">2</cx:pt>
          <cx:pt idx="92315">2</cx:pt>
          <cx:pt idx="92316">5</cx:pt>
          <cx:pt idx="92317">5</cx:pt>
          <cx:pt idx="92318">5</cx:pt>
          <cx:pt idx="92319">4</cx:pt>
          <cx:pt idx="92320">4</cx:pt>
          <cx:pt idx="92321">3</cx:pt>
          <cx:pt idx="92322">3</cx:pt>
          <cx:pt idx="92323">4</cx:pt>
          <cx:pt idx="92324">5</cx:pt>
          <cx:pt idx="92325">5</cx:pt>
          <cx:pt idx="92326">5</cx:pt>
          <cx:pt idx="92327">5</cx:pt>
          <cx:pt idx="92328">5</cx:pt>
          <cx:pt idx="92329">5</cx:pt>
          <cx:pt idx="92330">4</cx:pt>
          <cx:pt idx="92331">2</cx:pt>
          <cx:pt idx="92332">3</cx:pt>
          <cx:pt idx="92333">4</cx:pt>
          <cx:pt idx="92334">4</cx:pt>
          <cx:pt idx="92335">5</cx:pt>
          <cx:pt idx="92336">1</cx:pt>
          <cx:pt idx="92337">3</cx:pt>
          <cx:pt idx="92338">2</cx:pt>
          <cx:pt idx="92339">5</cx:pt>
          <cx:pt idx="92340">2</cx:pt>
          <cx:pt idx="92341">5</cx:pt>
          <cx:pt idx="92342">4</cx:pt>
          <cx:pt idx="92343">4</cx:pt>
          <cx:pt idx="92344">5</cx:pt>
          <cx:pt idx="92345">5</cx:pt>
          <cx:pt idx="92346">4</cx:pt>
          <cx:pt idx="92347">2</cx:pt>
          <cx:pt idx="92348">3</cx:pt>
          <cx:pt idx="92349">1</cx:pt>
          <cx:pt idx="92350">2</cx:pt>
          <cx:pt idx="92351">4</cx:pt>
          <cx:pt idx="92352">4</cx:pt>
          <cx:pt idx="92353">3</cx:pt>
          <cx:pt idx="92354">4</cx:pt>
          <cx:pt idx="92355">5</cx:pt>
          <cx:pt idx="92356">3</cx:pt>
          <cx:pt idx="92357">5</cx:pt>
          <cx:pt idx="92358">5</cx:pt>
          <cx:pt idx="92359">4</cx:pt>
          <cx:pt idx="92360">1</cx:pt>
          <cx:pt idx="92361">1</cx:pt>
          <cx:pt idx="92362">5</cx:pt>
          <cx:pt idx="92363">4</cx:pt>
          <cx:pt idx="92364">1</cx:pt>
          <cx:pt idx="92365">2</cx:pt>
          <cx:pt idx="92366">2</cx:pt>
          <cx:pt idx="92367">2</cx:pt>
          <cx:pt idx="92368">1</cx:pt>
          <cx:pt idx="92369">4</cx:pt>
          <cx:pt idx="92370">2</cx:pt>
          <cx:pt idx="92371">4</cx:pt>
          <cx:pt idx="92372">4</cx:pt>
          <cx:pt idx="92373">2</cx:pt>
          <cx:pt idx="92374">3</cx:pt>
          <cx:pt idx="92375">3</cx:pt>
          <cx:pt idx="92376">3</cx:pt>
          <cx:pt idx="92377">5</cx:pt>
          <cx:pt idx="92378">4</cx:pt>
          <cx:pt idx="92379">4</cx:pt>
          <cx:pt idx="92380">1</cx:pt>
          <cx:pt idx="92381">5</cx:pt>
          <cx:pt idx="92382">4</cx:pt>
          <cx:pt idx="92383">2</cx:pt>
          <cx:pt idx="92384">3</cx:pt>
          <cx:pt idx="92385">4</cx:pt>
          <cx:pt idx="92386">4</cx:pt>
          <cx:pt idx="92387">3</cx:pt>
          <cx:pt idx="92388">5</cx:pt>
          <cx:pt idx="92389">3</cx:pt>
          <cx:pt idx="92390">1</cx:pt>
          <cx:pt idx="92391">4</cx:pt>
          <cx:pt idx="92392">2</cx:pt>
          <cx:pt idx="92393">3</cx:pt>
          <cx:pt idx="92394">3</cx:pt>
          <cx:pt idx="92395">4</cx:pt>
          <cx:pt idx="92396">2</cx:pt>
          <cx:pt idx="92397">2</cx:pt>
          <cx:pt idx="92398">5</cx:pt>
          <cx:pt idx="92399">2</cx:pt>
          <cx:pt idx="92400">4</cx:pt>
          <cx:pt idx="92401">1</cx:pt>
          <cx:pt idx="92402">3</cx:pt>
          <cx:pt idx="92403">4</cx:pt>
          <cx:pt idx="92404">3</cx:pt>
          <cx:pt idx="92405">4</cx:pt>
          <cx:pt idx="92406">5</cx:pt>
          <cx:pt idx="92407">3</cx:pt>
          <cx:pt idx="92408">2</cx:pt>
          <cx:pt idx="92409">4</cx:pt>
          <cx:pt idx="92410">4</cx:pt>
          <cx:pt idx="92411">4</cx:pt>
          <cx:pt idx="92412">3</cx:pt>
          <cx:pt idx="92413">5</cx:pt>
          <cx:pt idx="92414">4</cx:pt>
          <cx:pt idx="92415">5</cx:pt>
          <cx:pt idx="92416">4</cx:pt>
          <cx:pt idx="92417">5</cx:pt>
          <cx:pt idx="92418">2</cx:pt>
          <cx:pt idx="92419">4</cx:pt>
          <cx:pt idx="92420">5</cx:pt>
          <cx:pt idx="92421">5</cx:pt>
          <cx:pt idx="92422">4</cx:pt>
          <cx:pt idx="92423">1</cx:pt>
          <cx:pt idx="92424">4</cx:pt>
          <cx:pt idx="92425">4</cx:pt>
          <cx:pt idx="92426">3</cx:pt>
          <cx:pt idx="92427">3</cx:pt>
          <cx:pt idx="92428">2</cx:pt>
          <cx:pt idx="92429">2</cx:pt>
          <cx:pt idx="92430">5</cx:pt>
          <cx:pt idx="92431">2</cx:pt>
          <cx:pt idx="92432">1</cx:pt>
          <cx:pt idx="92433">2</cx:pt>
          <cx:pt idx="92434">3</cx:pt>
          <cx:pt idx="92435">3</cx:pt>
          <cx:pt idx="92436">4</cx:pt>
          <cx:pt idx="92437">1</cx:pt>
          <cx:pt idx="92438">3</cx:pt>
          <cx:pt idx="92439">4</cx:pt>
          <cx:pt idx="92440">5</cx:pt>
          <cx:pt idx="92441">4</cx:pt>
          <cx:pt idx="92442">4</cx:pt>
          <cx:pt idx="92443">5</cx:pt>
          <cx:pt idx="92444">4</cx:pt>
          <cx:pt idx="92445">5</cx:pt>
          <cx:pt idx="92446">4</cx:pt>
          <cx:pt idx="92447">4</cx:pt>
          <cx:pt idx="92448">4</cx:pt>
          <cx:pt idx="92449">5</cx:pt>
          <cx:pt idx="92450">1</cx:pt>
          <cx:pt idx="92451">4</cx:pt>
          <cx:pt idx="92452">4</cx:pt>
          <cx:pt idx="92453">4</cx:pt>
          <cx:pt idx="92454">5</cx:pt>
          <cx:pt idx="92455">4</cx:pt>
          <cx:pt idx="92456">5</cx:pt>
          <cx:pt idx="92457">2</cx:pt>
          <cx:pt idx="92458">4</cx:pt>
          <cx:pt idx="92459">5</cx:pt>
          <cx:pt idx="92460">5</cx:pt>
          <cx:pt idx="92461">2</cx:pt>
          <cx:pt idx="92462">2</cx:pt>
          <cx:pt idx="92463">3</cx:pt>
          <cx:pt idx="92464">2</cx:pt>
          <cx:pt idx="92465">1</cx:pt>
          <cx:pt idx="92466">5</cx:pt>
          <cx:pt idx="92467">2</cx:pt>
          <cx:pt idx="92468">2</cx:pt>
          <cx:pt idx="92469">5</cx:pt>
          <cx:pt idx="92470">4</cx:pt>
          <cx:pt idx="92471">5</cx:pt>
          <cx:pt idx="92472">4</cx:pt>
          <cx:pt idx="92473">2</cx:pt>
          <cx:pt idx="92474">3</cx:pt>
          <cx:pt idx="92475">4</cx:pt>
          <cx:pt idx="92476">1</cx:pt>
          <cx:pt idx="92477">5</cx:pt>
          <cx:pt idx="92478">5</cx:pt>
          <cx:pt idx="92479">2</cx:pt>
          <cx:pt idx="92480">3</cx:pt>
          <cx:pt idx="92481">5</cx:pt>
          <cx:pt idx="92482">4</cx:pt>
          <cx:pt idx="92483">3</cx:pt>
          <cx:pt idx="92484">4</cx:pt>
          <cx:pt idx="92485">1</cx:pt>
          <cx:pt idx="92486">5</cx:pt>
          <cx:pt idx="92487">4</cx:pt>
          <cx:pt idx="92488">4</cx:pt>
          <cx:pt idx="92489">4</cx:pt>
          <cx:pt idx="92490">3</cx:pt>
          <cx:pt idx="92491">3</cx:pt>
          <cx:pt idx="92492">2</cx:pt>
          <cx:pt idx="92493">4</cx:pt>
          <cx:pt idx="92494">3</cx:pt>
          <cx:pt idx="92495">1</cx:pt>
          <cx:pt idx="92496">3</cx:pt>
          <cx:pt idx="92497">4</cx:pt>
          <cx:pt idx="92498">4</cx:pt>
          <cx:pt idx="92499">4</cx:pt>
          <cx:pt idx="92500">5</cx:pt>
          <cx:pt idx="92501">5</cx:pt>
          <cx:pt idx="92502">4</cx:pt>
          <cx:pt idx="92503">5</cx:pt>
          <cx:pt idx="92504">5</cx:pt>
          <cx:pt idx="92505">5</cx:pt>
          <cx:pt idx="92506">3</cx:pt>
          <cx:pt idx="92507">4</cx:pt>
          <cx:pt idx="92508">4</cx:pt>
          <cx:pt idx="92509">1</cx:pt>
          <cx:pt idx="92510">2</cx:pt>
          <cx:pt idx="92511">5</cx:pt>
          <cx:pt idx="92512">4</cx:pt>
          <cx:pt idx="92513">5</cx:pt>
          <cx:pt idx="92514">4</cx:pt>
          <cx:pt idx="92515">3</cx:pt>
          <cx:pt idx="92516">4</cx:pt>
          <cx:pt idx="92517">5</cx:pt>
          <cx:pt idx="92518">5</cx:pt>
          <cx:pt idx="92519">3</cx:pt>
          <cx:pt idx="92520">5</cx:pt>
          <cx:pt idx="92521">3</cx:pt>
          <cx:pt idx="92522">5</cx:pt>
          <cx:pt idx="92523">2</cx:pt>
          <cx:pt idx="92524">1</cx:pt>
          <cx:pt idx="92525">2</cx:pt>
          <cx:pt idx="92526">5</cx:pt>
          <cx:pt idx="92527">3</cx:pt>
          <cx:pt idx="92528">4</cx:pt>
          <cx:pt idx="92529">1</cx:pt>
          <cx:pt idx="92530">2</cx:pt>
          <cx:pt idx="92531">5</cx:pt>
          <cx:pt idx="92532">4</cx:pt>
          <cx:pt idx="92533">1</cx:pt>
          <cx:pt idx="92534">1</cx:pt>
          <cx:pt idx="92535">3</cx:pt>
          <cx:pt idx="92536">3</cx:pt>
          <cx:pt idx="92537">3</cx:pt>
          <cx:pt idx="92538">4</cx:pt>
          <cx:pt idx="92539">3</cx:pt>
          <cx:pt idx="92540">1</cx:pt>
          <cx:pt idx="92541">5</cx:pt>
          <cx:pt idx="92542">4</cx:pt>
          <cx:pt idx="92543">1</cx:pt>
          <cx:pt idx="92544">3</cx:pt>
          <cx:pt idx="92545">4</cx:pt>
          <cx:pt idx="92546">1</cx:pt>
          <cx:pt idx="92547">4</cx:pt>
          <cx:pt idx="92548">5</cx:pt>
          <cx:pt idx="92549">4</cx:pt>
          <cx:pt idx="92550">4</cx:pt>
          <cx:pt idx="92551">4</cx:pt>
          <cx:pt idx="92552">3</cx:pt>
          <cx:pt idx="92553">4</cx:pt>
          <cx:pt idx="92554">4</cx:pt>
          <cx:pt idx="92555">2</cx:pt>
          <cx:pt idx="92556">3</cx:pt>
          <cx:pt idx="92557">4</cx:pt>
          <cx:pt idx="92558">3</cx:pt>
          <cx:pt idx="92559">1</cx:pt>
          <cx:pt idx="92560">4</cx:pt>
          <cx:pt idx="92561">3</cx:pt>
          <cx:pt idx="92562">5</cx:pt>
          <cx:pt idx="92563">2</cx:pt>
          <cx:pt idx="92564">4</cx:pt>
          <cx:pt idx="92565">4</cx:pt>
          <cx:pt idx="92566">4</cx:pt>
          <cx:pt idx="92567">4</cx:pt>
          <cx:pt idx="92568">1</cx:pt>
          <cx:pt idx="92569">3</cx:pt>
          <cx:pt idx="92570">5</cx:pt>
          <cx:pt idx="92571">3</cx:pt>
          <cx:pt idx="92572">5</cx:pt>
          <cx:pt idx="92573">4</cx:pt>
          <cx:pt idx="92574">1</cx:pt>
          <cx:pt idx="92575">4</cx:pt>
          <cx:pt idx="92576">4</cx:pt>
          <cx:pt idx="92577">5</cx:pt>
          <cx:pt idx="92578">4</cx:pt>
          <cx:pt idx="92579">3</cx:pt>
          <cx:pt idx="92580">3</cx:pt>
          <cx:pt idx="92581">5</cx:pt>
          <cx:pt idx="92582">1</cx:pt>
          <cx:pt idx="92583">3</cx:pt>
          <cx:pt idx="92584">3</cx:pt>
          <cx:pt idx="92585">5</cx:pt>
          <cx:pt idx="92586">5</cx:pt>
          <cx:pt idx="92587">5</cx:pt>
          <cx:pt idx="92588">1</cx:pt>
          <cx:pt idx="92589">3</cx:pt>
          <cx:pt idx="92590">2</cx:pt>
          <cx:pt idx="92591">2</cx:pt>
          <cx:pt idx="92592">3</cx:pt>
          <cx:pt idx="92593">1</cx:pt>
          <cx:pt idx="92594">3</cx:pt>
          <cx:pt idx="92595">1</cx:pt>
          <cx:pt idx="92596">2</cx:pt>
          <cx:pt idx="92597">4</cx:pt>
          <cx:pt idx="92598">2</cx:pt>
          <cx:pt idx="92599">3</cx:pt>
          <cx:pt idx="92600">4</cx:pt>
          <cx:pt idx="92601">4</cx:pt>
          <cx:pt idx="92602">4</cx:pt>
          <cx:pt idx="92603">4</cx:pt>
          <cx:pt idx="92604">3</cx:pt>
          <cx:pt idx="92605">2</cx:pt>
          <cx:pt idx="92606">4</cx:pt>
          <cx:pt idx="92607">5</cx:pt>
          <cx:pt idx="92608">5</cx:pt>
          <cx:pt idx="92609">3</cx:pt>
          <cx:pt idx="92610">2</cx:pt>
          <cx:pt idx="92611">1</cx:pt>
          <cx:pt idx="92612">2</cx:pt>
          <cx:pt idx="92613">5</cx:pt>
          <cx:pt idx="92614">5</cx:pt>
          <cx:pt idx="92615">3</cx:pt>
          <cx:pt idx="92616">2</cx:pt>
          <cx:pt idx="92617">4</cx:pt>
          <cx:pt idx="92618">4</cx:pt>
          <cx:pt idx="92619">4</cx:pt>
          <cx:pt idx="92620">4</cx:pt>
          <cx:pt idx="92621">4</cx:pt>
          <cx:pt idx="92622">3</cx:pt>
          <cx:pt idx="92623">2</cx:pt>
          <cx:pt idx="92624">4</cx:pt>
          <cx:pt idx="92625">5</cx:pt>
          <cx:pt idx="92626">5</cx:pt>
          <cx:pt idx="92627">2</cx:pt>
          <cx:pt idx="92628">5</cx:pt>
          <cx:pt idx="92629">4</cx:pt>
          <cx:pt idx="92630">4</cx:pt>
          <cx:pt idx="92631">4</cx:pt>
          <cx:pt idx="92632">2</cx:pt>
          <cx:pt idx="92633">2</cx:pt>
          <cx:pt idx="92634">5</cx:pt>
          <cx:pt idx="92635">2</cx:pt>
          <cx:pt idx="92636">3</cx:pt>
          <cx:pt idx="92637">2</cx:pt>
          <cx:pt idx="92638">4</cx:pt>
          <cx:pt idx="92639">3</cx:pt>
          <cx:pt idx="92640">5</cx:pt>
          <cx:pt idx="92641">5</cx:pt>
          <cx:pt idx="92642">1</cx:pt>
          <cx:pt idx="92643">3</cx:pt>
          <cx:pt idx="92644">4</cx:pt>
          <cx:pt idx="92645">3</cx:pt>
          <cx:pt idx="92646">1</cx:pt>
          <cx:pt idx="92647">3</cx:pt>
          <cx:pt idx="92648">2</cx:pt>
          <cx:pt idx="92649">2</cx:pt>
          <cx:pt idx="92650">3</cx:pt>
          <cx:pt idx="92651">4</cx:pt>
          <cx:pt idx="92652">2</cx:pt>
          <cx:pt idx="92653">5</cx:pt>
          <cx:pt idx="92654">3</cx:pt>
          <cx:pt idx="92655">3</cx:pt>
          <cx:pt idx="92656">5</cx:pt>
          <cx:pt idx="92657">1</cx:pt>
          <cx:pt idx="92658">5</cx:pt>
          <cx:pt idx="92659">4</cx:pt>
          <cx:pt idx="92660">4</cx:pt>
          <cx:pt idx="92661">4</cx:pt>
          <cx:pt idx="92662">3</cx:pt>
          <cx:pt idx="92663">3</cx:pt>
          <cx:pt idx="92664">5</cx:pt>
          <cx:pt idx="92665">3</cx:pt>
          <cx:pt idx="92666">3</cx:pt>
          <cx:pt idx="92667">4</cx:pt>
          <cx:pt idx="92668">5</cx:pt>
          <cx:pt idx="92669">3</cx:pt>
          <cx:pt idx="92670">2</cx:pt>
          <cx:pt idx="92671">2</cx:pt>
          <cx:pt idx="92672">4</cx:pt>
          <cx:pt idx="92673">2</cx:pt>
          <cx:pt idx="92674">3</cx:pt>
          <cx:pt idx="92675">1</cx:pt>
          <cx:pt idx="92676">2</cx:pt>
          <cx:pt idx="92677">3</cx:pt>
          <cx:pt idx="92678">5</cx:pt>
          <cx:pt idx="92679">5</cx:pt>
          <cx:pt idx="92680">4</cx:pt>
          <cx:pt idx="92681">5</cx:pt>
          <cx:pt idx="92682">4</cx:pt>
          <cx:pt idx="92683">4</cx:pt>
          <cx:pt idx="92684">4</cx:pt>
          <cx:pt idx="92685">4</cx:pt>
          <cx:pt idx="92686">4</cx:pt>
          <cx:pt idx="92687">5</cx:pt>
          <cx:pt idx="92688">4</cx:pt>
          <cx:pt idx="92689">5</cx:pt>
          <cx:pt idx="92690">5</cx:pt>
          <cx:pt idx="92691">5</cx:pt>
          <cx:pt idx="92692">2</cx:pt>
          <cx:pt idx="92693">4</cx:pt>
          <cx:pt idx="92694">4</cx:pt>
          <cx:pt idx="92695">4</cx:pt>
          <cx:pt idx="92696">3</cx:pt>
          <cx:pt idx="92697">1</cx:pt>
          <cx:pt idx="92698">5</cx:pt>
          <cx:pt idx="92699">5</cx:pt>
          <cx:pt idx="92700">5</cx:pt>
          <cx:pt idx="92701">5</cx:pt>
          <cx:pt idx="92702">1</cx:pt>
          <cx:pt idx="92703">5</cx:pt>
          <cx:pt idx="92704">2</cx:pt>
          <cx:pt idx="92705">4</cx:pt>
          <cx:pt idx="92706">1</cx:pt>
          <cx:pt idx="92707">4</cx:pt>
          <cx:pt idx="92708">2</cx:pt>
          <cx:pt idx="92709">1</cx:pt>
          <cx:pt idx="92710">4</cx:pt>
          <cx:pt idx="92711">3</cx:pt>
          <cx:pt idx="92712">2</cx:pt>
          <cx:pt idx="92713">1</cx:pt>
          <cx:pt idx="92714">5</cx:pt>
          <cx:pt idx="92715">5</cx:pt>
          <cx:pt idx="92716">4</cx:pt>
          <cx:pt idx="92717">4</cx:pt>
          <cx:pt idx="92718">4</cx:pt>
          <cx:pt idx="92719">4</cx:pt>
          <cx:pt idx="92720">1</cx:pt>
          <cx:pt idx="92721">5</cx:pt>
          <cx:pt idx="92722">2</cx:pt>
          <cx:pt idx="92723">5</cx:pt>
          <cx:pt idx="92724">4</cx:pt>
          <cx:pt idx="92725">3</cx:pt>
          <cx:pt idx="92726">5</cx:pt>
          <cx:pt idx="92727">2</cx:pt>
          <cx:pt idx="92728">4</cx:pt>
          <cx:pt idx="92729">5</cx:pt>
          <cx:pt idx="92730">4</cx:pt>
          <cx:pt idx="92731">4</cx:pt>
          <cx:pt idx="92732">5</cx:pt>
          <cx:pt idx="92733">5</cx:pt>
          <cx:pt idx="92734">2</cx:pt>
          <cx:pt idx="92735">4</cx:pt>
          <cx:pt idx="92736">5</cx:pt>
          <cx:pt idx="92737">1</cx:pt>
          <cx:pt idx="92738">4</cx:pt>
          <cx:pt idx="92739">3</cx:pt>
          <cx:pt idx="92740">3</cx:pt>
          <cx:pt idx="92741">1</cx:pt>
          <cx:pt idx="92742">1</cx:pt>
          <cx:pt idx="92743">1</cx:pt>
          <cx:pt idx="92744">4</cx:pt>
          <cx:pt idx="92745">1</cx:pt>
          <cx:pt idx="92746">1</cx:pt>
          <cx:pt idx="92747">1</cx:pt>
          <cx:pt idx="92748">1</cx:pt>
          <cx:pt idx="92749">5</cx:pt>
          <cx:pt idx="92750">3</cx:pt>
          <cx:pt idx="92751">3</cx:pt>
          <cx:pt idx="92752">3</cx:pt>
          <cx:pt idx="92753">2</cx:pt>
          <cx:pt idx="92754">2</cx:pt>
          <cx:pt idx="92755">4</cx:pt>
          <cx:pt idx="92756">3</cx:pt>
          <cx:pt idx="92757">4</cx:pt>
          <cx:pt idx="92758">4</cx:pt>
          <cx:pt idx="92759">3</cx:pt>
          <cx:pt idx="92760">4</cx:pt>
          <cx:pt idx="92761">5</cx:pt>
          <cx:pt idx="92762">4</cx:pt>
          <cx:pt idx="92763">4</cx:pt>
          <cx:pt idx="92764">5</cx:pt>
          <cx:pt idx="92765">1</cx:pt>
          <cx:pt idx="92766">4</cx:pt>
          <cx:pt idx="92767">3</cx:pt>
          <cx:pt idx="92768">1</cx:pt>
          <cx:pt idx="92769">3</cx:pt>
          <cx:pt idx="92770">5</cx:pt>
          <cx:pt idx="92771">1</cx:pt>
          <cx:pt idx="92772">1</cx:pt>
          <cx:pt idx="92773">5</cx:pt>
          <cx:pt idx="92774">1</cx:pt>
          <cx:pt idx="92775">5</cx:pt>
          <cx:pt idx="92776">3</cx:pt>
          <cx:pt idx="92777">5</cx:pt>
          <cx:pt idx="92778">2</cx:pt>
          <cx:pt idx="92779">2</cx:pt>
          <cx:pt idx="92780">4</cx:pt>
          <cx:pt idx="92781">4</cx:pt>
          <cx:pt idx="92782">4</cx:pt>
          <cx:pt idx="92783">3</cx:pt>
          <cx:pt idx="92784">2</cx:pt>
          <cx:pt idx="92785">2</cx:pt>
          <cx:pt idx="92786">1</cx:pt>
          <cx:pt idx="92787">1</cx:pt>
          <cx:pt idx="92788">4</cx:pt>
          <cx:pt idx="92789">4</cx:pt>
          <cx:pt idx="92790">2</cx:pt>
          <cx:pt idx="92791">1</cx:pt>
          <cx:pt idx="92792">2</cx:pt>
          <cx:pt idx="92793">3</cx:pt>
          <cx:pt idx="92794">4</cx:pt>
          <cx:pt idx="92795">5</cx:pt>
          <cx:pt idx="92796">4</cx:pt>
          <cx:pt idx="92797">1</cx:pt>
          <cx:pt idx="92798">4</cx:pt>
          <cx:pt idx="92799">3</cx:pt>
          <cx:pt idx="92800">3</cx:pt>
          <cx:pt idx="92801">3</cx:pt>
          <cx:pt idx="92802">3</cx:pt>
          <cx:pt idx="92803">4</cx:pt>
          <cx:pt idx="92804">4</cx:pt>
          <cx:pt idx="92805">5</cx:pt>
          <cx:pt idx="92806">5</cx:pt>
          <cx:pt idx="92807">5</cx:pt>
          <cx:pt idx="92808">5</cx:pt>
          <cx:pt idx="92809">2</cx:pt>
          <cx:pt idx="92810">4</cx:pt>
          <cx:pt idx="92811">1</cx:pt>
          <cx:pt idx="92812">5</cx:pt>
          <cx:pt idx="92813">4</cx:pt>
          <cx:pt idx="92814">5</cx:pt>
          <cx:pt idx="92815">4</cx:pt>
          <cx:pt idx="92816">3</cx:pt>
          <cx:pt idx="92817">3</cx:pt>
          <cx:pt idx="92818">4</cx:pt>
          <cx:pt idx="92819">2</cx:pt>
          <cx:pt idx="92820">4</cx:pt>
          <cx:pt idx="92821">3</cx:pt>
          <cx:pt idx="92822">4</cx:pt>
          <cx:pt idx="92823">4</cx:pt>
          <cx:pt idx="92824">4</cx:pt>
          <cx:pt idx="92825">5</cx:pt>
          <cx:pt idx="92826">5</cx:pt>
          <cx:pt idx="92827">1</cx:pt>
          <cx:pt idx="92828">5</cx:pt>
          <cx:pt idx="92829">5</cx:pt>
          <cx:pt idx="92830">2</cx:pt>
          <cx:pt idx="92831">3</cx:pt>
          <cx:pt idx="92832">5</cx:pt>
          <cx:pt idx="92833">5</cx:pt>
          <cx:pt idx="92834">5</cx:pt>
          <cx:pt idx="92835">5</cx:pt>
          <cx:pt idx="92836">3</cx:pt>
          <cx:pt idx="92837">2</cx:pt>
          <cx:pt idx="92838">5</cx:pt>
          <cx:pt idx="92839">3</cx:pt>
          <cx:pt idx="92840">5</cx:pt>
          <cx:pt idx="92841">5</cx:pt>
          <cx:pt idx="92842">2</cx:pt>
          <cx:pt idx="92843">3</cx:pt>
          <cx:pt idx="92844">4</cx:pt>
          <cx:pt idx="92845">5</cx:pt>
          <cx:pt idx="92846">3</cx:pt>
          <cx:pt idx="92847">4</cx:pt>
          <cx:pt idx="92848">4</cx:pt>
          <cx:pt idx="92849">2</cx:pt>
          <cx:pt idx="92850">2</cx:pt>
          <cx:pt idx="92851">3</cx:pt>
          <cx:pt idx="92852">2</cx:pt>
          <cx:pt idx="92853">5</cx:pt>
          <cx:pt idx="92854">2</cx:pt>
          <cx:pt idx="92855">3</cx:pt>
          <cx:pt idx="92856">2</cx:pt>
          <cx:pt idx="92857">5</cx:pt>
          <cx:pt idx="92858">2</cx:pt>
          <cx:pt idx="92859">5</cx:pt>
          <cx:pt idx="92860">1</cx:pt>
          <cx:pt idx="92861">3</cx:pt>
          <cx:pt idx="92862">4</cx:pt>
          <cx:pt idx="92863">4</cx:pt>
          <cx:pt idx="92864">3</cx:pt>
          <cx:pt idx="92865">4</cx:pt>
          <cx:pt idx="92866">3</cx:pt>
          <cx:pt idx="92867">5</cx:pt>
          <cx:pt idx="92868">1</cx:pt>
          <cx:pt idx="92869">5</cx:pt>
          <cx:pt idx="92870">4</cx:pt>
          <cx:pt idx="92871">2</cx:pt>
          <cx:pt idx="92872">2</cx:pt>
          <cx:pt idx="92873">4</cx:pt>
          <cx:pt idx="92874">3</cx:pt>
          <cx:pt idx="92875">5</cx:pt>
          <cx:pt idx="92876">5</cx:pt>
          <cx:pt idx="92877">5</cx:pt>
          <cx:pt idx="92878">4</cx:pt>
          <cx:pt idx="92879">3</cx:pt>
          <cx:pt idx="92880">4</cx:pt>
          <cx:pt idx="92881">5</cx:pt>
          <cx:pt idx="92882">2</cx:pt>
          <cx:pt idx="92883">3</cx:pt>
          <cx:pt idx="92884">5</cx:pt>
          <cx:pt idx="92885">1</cx:pt>
          <cx:pt idx="92886">4</cx:pt>
          <cx:pt idx="92887">4</cx:pt>
          <cx:pt idx="92888">1</cx:pt>
          <cx:pt idx="92889">5</cx:pt>
          <cx:pt idx="92890">4</cx:pt>
          <cx:pt idx="92891">2</cx:pt>
          <cx:pt idx="92892">2</cx:pt>
          <cx:pt idx="92893">1</cx:pt>
          <cx:pt idx="92894">1</cx:pt>
          <cx:pt idx="92895">5</cx:pt>
          <cx:pt idx="92896">1</cx:pt>
          <cx:pt idx="92897">5</cx:pt>
          <cx:pt idx="92898">3</cx:pt>
          <cx:pt idx="92899">4</cx:pt>
          <cx:pt idx="92900">4</cx:pt>
          <cx:pt idx="92901">3</cx:pt>
          <cx:pt idx="92902">4</cx:pt>
          <cx:pt idx="92903">2</cx:pt>
          <cx:pt idx="92904">2</cx:pt>
          <cx:pt idx="92905">5</cx:pt>
          <cx:pt idx="92906">5</cx:pt>
          <cx:pt idx="92907">5</cx:pt>
          <cx:pt idx="92908">5</cx:pt>
          <cx:pt idx="92909">4</cx:pt>
          <cx:pt idx="92910">4</cx:pt>
          <cx:pt idx="92911">4</cx:pt>
          <cx:pt idx="92912">3</cx:pt>
          <cx:pt idx="92913">4</cx:pt>
          <cx:pt idx="92914">2</cx:pt>
          <cx:pt idx="92915">2</cx:pt>
          <cx:pt idx="92916">5</cx:pt>
          <cx:pt idx="92917">2</cx:pt>
          <cx:pt idx="92918">5</cx:pt>
          <cx:pt idx="92919">4</cx:pt>
          <cx:pt idx="92920">5</cx:pt>
          <cx:pt idx="92921">5</cx:pt>
          <cx:pt idx="92922">3</cx:pt>
          <cx:pt idx="92923">5</cx:pt>
          <cx:pt idx="92924">1</cx:pt>
          <cx:pt idx="92925">4</cx:pt>
          <cx:pt idx="92926">5</cx:pt>
          <cx:pt idx="92927">5</cx:pt>
          <cx:pt idx="92928">4</cx:pt>
          <cx:pt idx="92929">3</cx:pt>
          <cx:pt idx="92930">3</cx:pt>
          <cx:pt idx="92931">3</cx:pt>
          <cx:pt idx="92932">3</cx:pt>
          <cx:pt idx="92933">5</cx:pt>
          <cx:pt idx="92934">3</cx:pt>
          <cx:pt idx="92935">5</cx:pt>
          <cx:pt idx="92936">1</cx:pt>
          <cx:pt idx="92937">5</cx:pt>
          <cx:pt idx="92938">5</cx:pt>
          <cx:pt idx="92939">3</cx:pt>
          <cx:pt idx="92940">5</cx:pt>
          <cx:pt idx="92941">1</cx:pt>
          <cx:pt idx="92942">3</cx:pt>
          <cx:pt idx="92943">2</cx:pt>
          <cx:pt idx="92944">1</cx:pt>
          <cx:pt idx="92945">4</cx:pt>
          <cx:pt idx="92946">5</cx:pt>
          <cx:pt idx="92947">4</cx:pt>
          <cx:pt idx="92948">4</cx:pt>
          <cx:pt idx="92949">4</cx:pt>
          <cx:pt idx="92950">2</cx:pt>
          <cx:pt idx="92951">1</cx:pt>
          <cx:pt idx="92952">5</cx:pt>
          <cx:pt idx="92953">4</cx:pt>
          <cx:pt idx="92954">4</cx:pt>
          <cx:pt idx="92955">4</cx:pt>
          <cx:pt idx="92956">5</cx:pt>
          <cx:pt idx="92957">5</cx:pt>
          <cx:pt idx="92958">2</cx:pt>
          <cx:pt idx="92959">1</cx:pt>
          <cx:pt idx="92960">4</cx:pt>
          <cx:pt idx="92961">5</cx:pt>
          <cx:pt idx="92962">4</cx:pt>
          <cx:pt idx="92963">3</cx:pt>
          <cx:pt idx="92964">5</cx:pt>
          <cx:pt idx="92965">4</cx:pt>
          <cx:pt idx="92966">4</cx:pt>
          <cx:pt idx="92967">4</cx:pt>
          <cx:pt idx="92968">4</cx:pt>
          <cx:pt idx="92969">4</cx:pt>
          <cx:pt idx="92970">1</cx:pt>
          <cx:pt idx="92971">4</cx:pt>
          <cx:pt idx="92972">5</cx:pt>
          <cx:pt idx="92973">1</cx:pt>
          <cx:pt idx="92974">4</cx:pt>
          <cx:pt idx="92975">5</cx:pt>
          <cx:pt idx="92976">2</cx:pt>
          <cx:pt idx="92977">5</cx:pt>
          <cx:pt idx="92978">3</cx:pt>
          <cx:pt idx="92979">5</cx:pt>
          <cx:pt idx="92980">5</cx:pt>
          <cx:pt idx="92981">5</cx:pt>
          <cx:pt idx="92982">3</cx:pt>
          <cx:pt idx="92983">4</cx:pt>
          <cx:pt idx="92984">4</cx:pt>
          <cx:pt idx="92985">3</cx:pt>
          <cx:pt idx="92986">5</cx:pt>
          <cx:pt idx="92987">3</cx:pt>
          <cx:pt idx="92988">5</cx:pt>
          <cx:pt idx="92989">1</cx:pt>
          <cx:pt idx="92990">4</cx:pt>
          <cx:pt idx="92991">2</cx:pt>
          <cx:pt idx="92992">4</cx:pt>
          <cx:pt idx="92993">5</cx:pt>
          <cx:pt idx="92994">5</cx:pt>
          <cx:pt idx="92995">1</cx:pt>
          <cx:pt idx="92996">4</cx:pt>
          <cx:pt idx="92997">2</cx:pt>
          <cx:pt idx="92998">5</cx:pt>
          <cx:pt idx="92999">3</cx:pt>
          <cx:pt idx="93000">5</cx:pt>
          <cx:pt idx="93001">1</cx:pt>
          <cx:pt idx="93002">4</cx:pt>
          <cx:pt idx="93003">2</cx:pt>
          <cx:pt idx="93004">2</cx:pt>
          <cx:pt idx="93005">3</cx:pt>
          <cx:pt idx="93006">2</cx:pt>
          <cx:pt idx="93007">4</cx:pt>
          <cx:pt idx="93008">2</cx:pt>
          <cx:pt idx="93009">4</cx:pt>
          <cx:pt idx="93010">5</cx:pt>
          <cx:pt idx="93011">4</cx:pt>
          <cx:pt idx="93012">1</cx:pt>
          <cx:pt idx="93013">5</cx:pt>
          <cx:pt idx="93014">3</cx:pt>
          <cx:pt idx="93015">2</cx:pt>
          <cx:pt idx="93016">3</cx:pt>
          <cx:pt idx="93017">4</cx:pt>
          <cx:pt idx="93018">4</cx:pt>
          <cx:pt idx="93019">3</cx:pt>
          <cx:pt idx="93020">3</cx:pt>
          <cx:pt idx="93021">1</cx:pt>
          <cx:pt idx="93022">4</cx:pt>
          <cx:pt idx="93023">5</cx:pt>
          <cx:pt idx="93024">4</cx:pt>
          <cx:pt idx="93025">5</cx:pt>
          <cx:pt idx="93026">4</cx:pt>
          <cx:pt idx="93027">5</cx:pt>
          <cx:pt idx="93028">3</cx:pt>
          <cx:pt idx="93029">4</cx:pt>
          <cx:pt idx="93030">3</cx:pt>
          <cx:pt idx="93031">5</cx:pt>
          <cx:pt idx="93032">3</cx:pt>
          <cx:pt idx="93033">3</cx:pt>
          <cx:pt idx="93034">4</cx:pt>
          <cx:pt idx="93035">3</cx:pt>
          <cx:pt idx="93036">5</cx:pt>
          <cx:pt idx="93037">3</cx:pt>
          <cx:pt idx="93038">5</cx:pt>
          <cx:pt idx="93039">3</cx:pt>
          <cx:pt idx="93040">5</cx:pt>
          <cx:pt idx="93041">4</cx:pt>
          <cx:pt idx="93042">4</cx:pt>
          <cx:pt idx="93043">2</cx:pt>
          <cx:pt idx="93044">1</cx:pt>
          <cx:pt idx="93045">1</cx:pt>
          <cx:pt idx="93046">3</cx:pt>
          <cx:pt idx="93047">1</cx:pt>
          <cx:pt idx="93048">5</cx:pt>
          <cx:pt idx="93049">4</cx:pt>
          <cx:pt idx="93050">4</cx:pt>
          <cx:pt idx="93051">4</cx:pt>
          <cx:pt idx="93052">4</cx:pt>
          <cx:pt idx="93053">4</cx:pt>
          <cx:pt idx="93054">5</cx:pt>
          <cx:pt idx="93055">4</cx:pt>
          <cx:pt idx="93056">5</cx:pt>
          <cx:pt idx="93057">2</cx:pt>
          <cx:pt idx="93058">2</cx:pt>
          <cx:pt idx="93059">2</cx:pt>
          <cx:pt idx="93060">3</cx:pt>
          <cx:pt idx="93061">1</cx:pt>
          <cx:pt idx="93062">1</cx:pt>
          <cx:pt idx="93063">2</cx:pt>
          <cx:pt idx="93064">3</cx:pt>
          <cx:pt idx="93065">4</cx:pt>
          <cx:pt idx="93066">4</cx:pt>
          <cx:pt idx="93067">5</cx:pt>
          <cx:pt idx="93068">4</cx:pt>
          <cx:pt idx="93069">5</cx:pt>
          <cx:pt idx="93070">5</cx:pt>
          <cx:pt idx="93071">4</cx:pt>
          <cx:pt idx="93072">5</cx:pt>
          <cx:pt idx="93073">4</cx:pt>
          <cx:pt idx="93074">4</cx:pt>
          <cx:pt idx="93075">4</cx:pt>
          <cx:pt idx="93076">5</cx:pt>
          <cx:pt idx="93077">3</cx:pt>
          <cx:pt idx="93078">3</cx:pt>
          <cx:pt idx="93079">4</cx:pt>
          <cx:pt idx="93080">3</cx:pt>
          <cx:pt idx="93081">4</cx:pt>
          <cx:pt idx="93082">2</cx:pt>
          <cx:pt idx="93083">2</cx:pt>
          <cx:pt idx="93084">2</cx:pt>
          <cx:pt idx="93085">3</cx:pt>
          <cx:pt idx="93086">5</cx:pt>
          <cx:pt idx="93087">1</cx:pt>
          <cx:pt idx="93088">2</cx:pt>
          <cx:pt idx="93089">4</cx:pt>
          <cx:pt idx="93090">1</cx:pt>
          <cx:pt idx="93091">4</cx:pt>
          <cx:pt idx="93092">1</cx:pt>
          <cx:pt idx="93093">5</cx:pt>
          <cx:pt idx="93094">4</cx:pt>
          <cx:pt idx="93095">5</cx:pt>
          <cx:pt idx="93096">5</cx:pt>
          <cx:pt idx="93097">4</cx:pt>
          <cx:pt idx="93098">5</cx:pt>
          <cx:pt idx="93099">2</cx:pt>
          <cx:pt idx="93100">1</cx:pt>
          <cx:pt idx="93101">5</cx:pt>
          <cx:pt idx="93102">2</cx:pt>
          <cx:pt idx="93103">5</cx:pt>
          <cx:pt idx="93104">4</cx:pt>
          <cx:pt idx="93105">5</cx:pt>
          <cx:pt idx="93106">2</cx:pt>
          <cx:pt idx="93107">4</cx:pt>
          <cx:pt idx="93108">4</cx:pt>
          <cx:pt idx="93109">4</cx:pt>
          <cx:pt idx="93110">3</cx:pt>
          <cx:pt idx="93111">4</cx:pt>
          <cx:pt idx="93112">4</cx:pt>
          <cx:pt idx="93113">5</cx:pt>
          <cx:pt idx="93114">4</cx:pt>
          <cx:pt idx="93115">2</cx:pt>
          <cx:pt idx="93116">5</cx:pt>
          <cx:pt idx="93117">4</cx:pt>
          <cx:pt idx="93118">4</cx:pt>
          <cx:pt idx="93119">5</cx:pt>
          <cx:pt idx="93120">1</cx:pt>
          <cx:pt idx="93121">3</cx:pt>
          <cx:pt idx="93122">2</cx:pt>
          <cx:pt idx="93123">3</cx:pt>
          <cx:pt idx="93124">4</cx:pt>
          <cx:pt idx="93125">4</cx:pt>
          <cx:pt idx="93126">4</cx:pt>
          <cx:pt idx="93127">5</cx:pt>
          <cx:pt idx="93128">3</cx:pt>
          <cx:pt idx="93129">5</cx:pt>
          <cx:pt idx="93130">5</cx:pt>
          <cx:pt idx="93131">2</cx:pt>
          <cx:pt idx="93132">3</cx:pt>
          <cx:pt idx="93133">3</cx:pt>
          <cx:pt idx="93134">4</cx:pt>
          <cx:pt idx="93135">5</cx:pt>
          <cx:pt idx="93136">2</cx:pt>
          <cx:pt idx="93137">3</cx:pt>
          <cx:pt idx="93138">5</cx:pt>
          <cx:pt idx="93139">5</cx:pt>
          <cx:pt idx="93140">4</cx:pt>
          <cx:pt idx="93141">4</cx:pt>
          <cx:pt idx="93142">4</cx:pt>
          <cx:pt idx="93143">4</cx:pt>
          <cx:pt idx="93144">4</cx:pt>
          <cx:pt idx="93145">4</cx:pt>
          <cx:pt idx="93146">5</cx:pt>
          <cx:pt idx="93147">5</cx:pt>
          <cx:pt idx="93148">5</cx:pt>
          <cx:pt idx="93149">3</cx:pt>
          <cx:pt idx="93150">2</cx:pt>
          <cx:pt idx="93151">4</cx:pt>
          <cx:pt idx="93152">2</cx:pt>
          <cx:pt idx="93153">3</cx:pt>
          <cx:pt idx="93154">5</cx:pt>
          <cx:pt idx="93155">5</cx:pt>
          <cx:pt idx="93156">2</cx:pt>
          <cx:pt idx="93157">4</cx:pt>
          <cx:pt idx="93158">3</cx:pt>
          <cx:pt idx="93159">4</cx:pt>
          <cx:pt idx="93160">4</cx:pt>
          <cx:pt idx="93161">4</cx:pt>
          <cx:pt idx="93162">5</cx:pt>
          <cx:pt idx="93163">2</cx:pt>
          <cx:pt idx="93164">4</cx:pt>
          <cx:pt idx="93165">3</cx:pt>
          <cx:pt idx="93166">1</cx:pt>
          <cx:pt idx="93167">1</cx:pt>
          <cx:pt idx="93168">4</cx:pt>
          <cx:pt idx="93169">5</cx:pt>
          <cx:pt idx="93170">5</cx:pt>
          <cx:pt idx="93171">4</cx:pt>
          <cx:pt idx="93172">5</cx:pt>
          <cx:pt idx="93173">5</cx:pt>
          <cx:pt idx="93174">3</cx:pt>
          <cx:pt idx="93175">5</cx:pt>
          <cx:pt idx="93176">1</cx:pt>
          <cx:pt idx="93177">5</cx:pt>
          <cx:pt idx="93178">3</cx:pt>
          <cx:pt idx="93179">5</cx:pt>
          <cx:pt idx="93180">2</cx:pt>
          <cx:pt idx="93181">3</cx:pt>
          <cx:pt idx="93182">4</cx:pt>
          <cx:pt idx="93183">2</cx:pt>
          <cx:pt idx="93184">1</cx:pt>
          <cx:pt idx="93185">4</cx:pt>
          <cx:pt idx="93186">4</cx:pt>
          <cx:pt idx="93187">5</cx:pt>
          <cx:pt idx="93188">3</cx:pt>
          <cx:pt idx="93189">4</cx:pt>
          <cx:pt idx="93190">2</cx:pt>
          <cx:pt idx="93191">4</cx:pt>
          <cx:pt idx="93192">5</cx:pt>
          <cx:pt idx="93193">5</cx:pt>
          <cx:pt idx="93194">2</cx:pt>
          <cx:pt idx="93195">4</cx:pt>
          <cx:pt idx="93196">5</cx:pt>
          <cx:pt idx="93197">4</cx:pt>
          <cx:pt idx="93198">5</cx:pt>
          <cx:pt idx="93199">2</cx:pt>
          <cx:pt idx="93200">4</cx:pt>
          <cx:pt idx="93201">1</cx:pt>
          <cx:pt idx="93202">5</cx:pt>
          <cx:pt idx="93203">5</cx:pt>
          <cx:pt idx="93204">4</cx:pt>
          <cx:pt idx="93205">1</cx:pt>
          <cx:pt idx="93206">2</cx:pt>
          <cx:pt idx="93207">3</cx:pt>
          <cx:pt idx="93208">4</cx:pt>
          <cx:pt idx="93209">4</cx:pt>
          <cx:pt idx="93210">3</cx:pt>
          <cx:pt idx="93211">1</cx:pt>
          <cx:pt idx="93212">4</cx:pt>
          <cx:pt idx="93213">5</cx:pt>
          <cx:pt idx="93214">5</cx:pt>
          <cx:pt idx="93215">4</cx:pt>
          <cx:pt idx="93216">1</cx:pt>
          <cx:pt idx="93217">5</cx:pt>
          <cx:pt idx="93218">4</cx:pt>
          <cx:pt idx="93219">4</cx:pt>
          <cx:pt idx="93220">2</cx:pt>
          <cx:pt idx="93221">3</cx:pt>
          <cx:pt idx="93222">4</cx:pt>
          <cx:pt idx="93223">3</cx:pt>
          <cx:pt idx="93224">4</cx:pt>
          <cx:pt idx="93225">3</cx:pt>
          <cx:pt idx="93226">4</cx:pt>
          <cx:pt idx="93227">2</cx:pt>
          <cx:pt idx="93228">3</cx:pt>
          <cx:pt idx="93229">4</cx:pt>
          <cx:pt idx="93230">3</cx:pt>
          <cx:pt idx="93231">2</cx:pt>
          <cx:pt idx="93232">5</cx:pt>
          <cx:pt idx="93233">2</cx:pt>
          <cx:pt idx="93234">1</cx:pt>
          <cx:pt idx="93235">3</cx:pt>
          <cx:pt idx="93236">2</cx:pt>
          <cx:pt idx="93237">4</cx:pt>
          <cx:pt idx="93238">5</cx:pt>
          <cx:pt idx="93239">5</cx:pt>
          <cx:pt idx="93240">2</cx:pt>
          <cx:pt idx="93241">4</cx:pt>
          <cx:pt idx="93242">5</cx:pt>
          <cx:pt idx="93243">3</cx:pt>
          <cx:pt idx="93244">3</cx:pt>
          <cx:pt idx="93245">3</cx:pt>
          <cx:pt idx="93246">3</cx:pt>
          <cx:pt idx="93247">5</cx:pt>
          <cx:pt idx="93248">5</cx:pt>
          <cx:pt idx="93249">2</cx:pt>
          <cx:pt idx="93250">2</cx:pt>
          <cx:pt idx="93251">2</cx:pt>
          <cx:pt idx="93252">3</cx:pt>
          <cx:pt idx="93253">4</cx:pt>
          <cx:pt idx="93254">4</cx:pt>
          <cx:pt idx="93255">4</cx:pt>
          <cx:pt idx="93256">5</cx:pt>
          <cx:pt idx="93257">2</cx:pt>
          <cx:pt idx="93258">4</cx:pt>
          <cx:pt idx="93259">4</cx:pt>
          <cx:pt idx="93260">2</cx:pt>
          <cx:pt idx="93261">5</cx:pt>
          <cx:pt idx="93262">2</cx:pt>
          <cx:pt idx="93263">1</cx:pt>
          <cx:pt idx="93264">2</cx:pt>
          <cx:pt idx="93265">4</cx:pt>
          <cx:pt idx="93266">2</cx:pt>
          <cx:pt idx="93267">1</cx:pt>
          <cx:pt idx="93268">2</cx:pt>
          <cx:pt idx="93269">1</cx:pt>
          <cx:pt idx="93270">1</cx:pt>
          <cx:pt idx="93271">5</cx:pt>
          <cx:pt idx="93272">5</cx:pt>
          <cx:pt idx="93273">4</cx:pt>
          <cx:pt idx="93274">5</cx:pt>
          <cx:pt idx="93275">3</cx:pt>
          <cx:pt idx="93276">4</cx:pt>
          <cx:pt idx="93277">5</cx:pt>
          <cx:pt idx="93278">4</cx:pt>
          <cx:pt idx="93279">1</cx:pt>
          <cx:pt idx="93280">4</cx:pt>
          <cx:pt idx="93281">5</cx:pt>
          <cx:pt idx="93282">4</cx:pt>
          <cx:pt idx="93283">4</cx:pt>
          <cx:pt idx="93284">4</cx:pt>
          <cx:pt idx="93285">5</cx:pt>
          <cx:pt idx="93286">3</cx:pt>
          <cx:pt idx="93287">4</cx:pt>
          <cx:pt idx="93288">1</cx:pt>
          <cx:pt idx="93289">2</cx:pt>
          <cx:pt idx="93290">4</cx:pt>
          <cx:pt idx="93291">2</cx:pt>
          <cx:pt idx="93292">3</cx:pt>
          <cx:pt idx="93293">1</cx:pt>
          <cx:pt idx="93294">2</cx:pt>
          <cx:pt idx="93295">2</cx:pt>
          <cx:pt idx="93296">3</cx:pt>
          <cx:pt idx="93297">4</cx:pt>
          <cx:pt idx="93298">3</cx:pt>
          <cx:pt idx="93299">2</cx:pt>
          <cx:pt idx="93300">1</cx:pt>
          <cx:pt idx="93301">4</cx:pt>
          <cx:pt idx="93302">2</cx:pt>
          <cx:pt idx="93303">5</cx:pt>
          <cx:pt idx="93304">3</cx:pt>
          <cx:pt idx="93305">4</cx:pt>
          <cx:pt idx="93306">3</cx:pt>
          <cx:pt idx="93307">2</cx:pt>
          <cx:pt idx="93308">3</cx:pt>
          <cx:pt idx="93309">5</cx:pt>
          <cx:pt idx="93310">3</cx:pt>
          <cx:pt idx="93311">2</cx:pt>
          <cx:pt idx="93312">4</cx:pt>
          <cx:pt idx="93313">3</cx:pt>
          <cx:pt idx="93314">4</cx:pt>
          <cx:pt idx="93315">5</cx:pt>
          <cx:pt idx="93316">3</cx:pt>
          <cx:pt idx="93317">2</cx:pt>
          <cx:pt idx="93318">2</cx:pt>
          <cx:pt idx="93319">5</cx:pt>
          <cx:pt idx="93320">5</cx:pt>
          <cx:pt idx="93321">1</cx:pt>
          <cx:pt idx="93322">1</cx:pt>
          <cx:pt idx="93323">3</cx:pt>
          <cx:pt idx="93324">1</cx:pt>
          <cx:pt idx="93325">1</cx:pt>
          <cx:pt idx="93326">5</cx:pt>
          <cx:pt idx="93327">1</cx:pt>
          <cx:pt idx="93328">3</cx:pt>
          <cx:pt idx="93329">2</cx:pt>
          <cx:pt idx="93330">3</cx:pt>
          <cx:pt idx="93331">5</cx:pt>
          <cx:pt idx="93332">4</cx:pt>
          <cx:pt idx="93333">3</cx:pt>
          <cx:pt idx="93334">4</cx:pt>
          <cx:pt idx="93335">3</cx:pt>
          <cx:pt idx="93336">3</cx:pt>
          <cx:pt idx="93337">2</cx:pt>
          <cx:pt idx="93338">4</cx:pt>
          <cx:pt idx="93339">3</cx:pt>
          <cx:pt idx="93340">2</cx:pt>
          <cx:pt idx="93341">2</cx:pt>
          <cx:pt idx="93342">4</cx:pt>
          <cx:pt idx="93343">4</cx:pt>
          <cx:pt idx="93344">5</cx:pt>
          <cx:pt idx="93345">5</cx:pt>
          <cx:pt idx="93346">1</cx:pt>
          <cx:pt idx="93347">4</cx:pt>
          <cx:pt idx="93348">5</cx:pt>
          <cx:pt idx="93349">3</cx:pt>
          <cx:pt idx="93350">4</cx:pt>
          <cx:pt idx="93351">5</cx:pt>
          <cx:pt idx="93352">4</cx:pt>
          <cx:pt idx="93353">2</cx:pt>
          <cx:pt idx="93354">5</cx:pt>
          <cx:pt idx="93355">3</cx:pt>
          <cx:pt idx="93356">5</cx:pt>
          <cx:pt idx="93357">5</cx:pt>
          <cx:pt idx="93358">2</cx:pt>
          <cx:pt idx="93359">1</cx:pt>
          <cx:pt idx="93360">3</cx:pt>
          <cx:pt idx="93361">4</cx:pt>
          <cx:pt idx="93362">5</cx:pt>
          <cx:pt idx="93363">3</cx:pt>
          <cx:pt idx="93364">4</cx:pt>
          <cx:pt idx="93365">4</cx:pt>
          <cx:pt idx="93366">3</cx:pt>
          <cx:pt idx="93367">4</cx:pt>
          <cx:pt idx="93368">4</cx:pt>
          <cx:pt idx="93369">5</cx:pt>
          <cx:pt idx="93370">1</cx:pt>
          <cx:pt idx="93371">4</cx:pt>
          <cx:pt idx="93372">4</cx:pt>
          <cx:pt idx="93373">3</cx:pt>
          <cx:pt idx="93374">4</cx:pt>
          <cx:pt idx="93375">5</cx:pt>
          <cx:pt idx="93376">3</cx:pt>
          <cx:pt idx="93377">3</cx:pt>
          <cx:pt idx="93378">4</cx:pt>
          <cx:pt idx="93379">4</cx:pt>
          <cx:pt idx="93380">4</cx:pt>
          <cx:pt idx="93381">4</cx:pt>
          <cx:pt idx="93382">2</cx:pt>
          <cx:pt idx="93383">3</cx:pt>
          <cx:pt idx="93384">3</cx:pt>
          <cx:pt idx="93385">5</cx:pt>
          <cx:pt idx="93386">2</cx:pt>
          <cx:pt idx="93387">5</cx:pt>
          <cx:pt idx="93388">4</cx:pt>
          <cx:pt idx="93389">4</cx:pt>
          <cx:pt idx="93390">5</cx:pt>
          <cx:pt idx="93391">5</cx:pt>
          <cx:pt idx="93392">4</cx:pt>
          <cx:pt idx="93393">4</cx:pt>
          <cx:pt idx="93394">3</cx:pt>
          <cx:pt idx="93395">5</cx:pt>
          <cx:pt idx="93396">2</cx:pt>
          <cx:pt idx="93397">1</cx:pt>
          <cx:pt idx="93398">2</cx:pt>
          <cx:pt idx="93399">4</cx:pt>
          <cx:pt idx="93400">5</cx:pt>
          <cx:pt idx="93401">4</cx:pt>
          <cx:pt idx="93402">5</cx:pt>
          <cx:pt idx="93403">2</cx:pt>
          <cx:pt idx="93404">5</cx:pt>
          <cx:pt idx="93405">4</cx:pt>
          <cx:pt idx="93406">5</cx:pt>
          <cx:pt idx="93407">5</cx:pt>
          <cx:pt idx="93408">4</cx:pt>
          <cx:pt idx="93409">4</cx:pt>
          <cx:pt idx="93410">1</cx:pt>
          <cx:pt idx="93411">3</cx:pt>
          <cx:pt idx="93412">5</cx:pt>
          <cx:pt idx="93413">1</cx:pt>
          <cx:pt idx="93414">4</cx:pt>
          <cx:pt idx="93415">1</cx:pt>
          <cx:pt idx="93416">4</cx:pt>
          <cx:pt idx="93417">5</cx:pt>
          <cx:pt idx="93418">5</cx:pt>
          <cx:pt idx="93419">4</cx:pt>
          <cx:pt idx="93420">5</cx:pt>
          <cx:pt idx="93421">1</cx:pt>
          <cx:pt idx="93422">5</cx:pt>
          <cx:pt idx="93423">4</cx:pt>
          <cx:pt idx="93424">5</cx:pt>
          <cx:pt idx="93425">4</cx:pt>
          <cx:pt idx="93426">5</cx:pt>
          <cx:pt idx="93427">3</cx:pt>
          <cx:pt idx="93428">5</cx:pt>
          <cx:pt idx="93429">4</cx:pt>
          <cx:pt idx="93430">1</cx:pt>
          <cx:pt idx="93431">3</cx:pt>
          <cx:pt idx="93432">1</cx:pt>
          <cx:pt idx="93433">4</cx:pt>
          <cx:pt idx="93434">5</cx:pt>
          <cx:pt idx="93435">4</cx:pt>
          <cx:pt idx="93436">3</cx:pt>
          <cx:pt idx="93437">1</cx:pt>
          <cx:pt idx="93438">2</cx:pt>
          <cx:pt idx="93439">3</cx:pt>
          <cx:pt idx="93440">5</cx:pt>
          <cx:pt idx="93441">3</cx:pt>
          <cx:pt idx="93442">4</cx:pt>
          <cx:pt idx="93443">4</cx:pt>
          <cx:pt idx="93444">2</cx:pt>
          <cx:pt idx="93445">4</cx:pt>
          <cx:pt idx="93446">1</cx:pt>
          <cx:pt idx="93447">4</cx:pt>
          <cx:pt idx="93448">4</cx:pt>
          <cx:pt idx="93449">4</cx:pt>
          <cx:pt idx="93450">4</cx:pt>
          <cx:pt idx="93451">4</cx:pt>
          <cx:pt idx="93452">3</cx:pt>
          <cx:pt idx="93453">4</cx:pt>
          <cx:pt idx="93454">5</cx:pt>
          <cx:pt idx="93455">5</cx:pt>
          <cx:pt idx="93456">5</cx:pt>
          <cx:pt idx="93457">4</cx:pt>
          <cx:pt idx="93458">2</cx:pt>
          <cx:pt idx="93459">5</cx:pt>
          <cx:pt idx="93460">5</cx:pt>
          <cx:pt idx="93461">1</cx:pt>
          <cx:pt idx="93462">5</cx:pt>
          <cx:pt idx="93463">5</cx:pt>
          <cx:pt idx="93464">1</cx:pt>
          <cx:pt idx="93465">5</cx:pt>
          <cx:pt idx="93466">5</cx:pt>
          <cx:pt idx="93467">5</cx:pt>
          <cx:pt idx="93468">2</cx:pt>
          <cx:pt idx="93469">4</cx:pt>
          <cx:pt idx="93470">5</cx:pt>
          <cx:pt idx="93471">2</cx:pt>
          <cx:pt idx="93472">4</cx:pt>
          <cx:pt idx="93473">5</cx:pt>
          <cx:pt idx="93474">5</cx:pt>
          <cx:pt idx="93475">2</cx:pt>
          <cx:pt idx="93476">3</cx:pt>
          <cx:pt idx="93477">1</cx:pt>
          <cx:pt idx="93478">5</cx:pt>
          <cx:pt idx="93479">1</cx:pt>
          <cx:pt idx="93480">3</cx:pt>
          <cx:pt idx="93481">3</cx:pt>
          <cx:pt idx="93482">1</cx:pt>
          <cx:pt idx="93483">4</cx:pt>
          <cx:pt idx="93484">3</cx:pt>
          <cx:pt idx="93485">5</cx:pt>
          <cx:pt idx="93486">4</cx:pt>
          <cx:pt idx="93487">5</cx:pt>
          <cx:pt idx="93488">2</cx:pt>
          <cx:pt idx="93489">4</cx:pt>
          <cx:pt idx="93490">2</cx:pt>
          <cx:pt idx="93491">2</cx:pt>
          <cx:pt idx="93492">2</cx:pt>
          <cx:pt idx="93493">3</cx:pt>
          <cx:pt idx="93494">2</cx:pt>
          <cx:pt idx="93495">3</cx:pt>
          <cx:pt idx="93496">4</cx:pt>
          <cx:pt idx="93497">4</cx:pt>
          <cx:pt idx="93498">2</cx:pt>
          <cx:pt idx="93499">2</cx:pt>
          <cx:pt idx="93500">5</cx:pt>
          <cx:pt idx="93501">3</cx:pt>
          <cx:pt idx="93502">3</cx:pt>
          <cx:pt idx="93503">3</cx:pt>
          <cx:pt idx="93504">1</cx:pt>
          <cx:pt idx="93505">5</cx:pt>
          <cx:pt idx="93506">4</cx:pt>
          <cx:pt idx="93507">2</cx:pt>
          <cx:pt idx="93508">5</cx:pt>
          <cx:pt idx="93509">3</cx:pt>
          <cx:pt idx="93510">5</cx:pt>
          <cx:pt idx="93511">2</cx:pt>
          <cx:pt idx="93512">4</cx:pt>
          <cx:pt idx="93513">3</cx:pt>
          <cx:pt idx="93514">5</cx:pt>
          <cx:pt idx="93515">2</cx:pt>
          <cx:pt idx="93516">4</cx:pt>
          <cx:pt idx="93517">4</cx:pt>
          <cx:pt idx="93518">3</cx:pt>
          <cx:pt idx="93519">3</cx:pt>
          <cx:pt idx="93520">2</cx:pt>
          <cx:pt idx="93521">2</cx:pt>
          <cx:pt idx="93522">3</cx:pt>
          <cx:pt idx="93523">4</cx:pt>
          <cx:pt idx="93524">3</cx:pt>
          <cx:pt idx="93525">2</cx:pt>
          <cx:pt idx="93526">3</cx:pt>
          <cx:pt idx="93527">3</cx:pt>
          <cx:pt idx="93528">3</cx:pt>
          <cx:pt idx="93529">1</cx:pt>
          <cx:pt idx="93530">3</cx:pt>
          <cx:pt idx="93531">1</cx:pt>
          <cx:pt idx="93532">5</cx:pt>
          <cx:pt idx="93533">4</cx:pt>
          <cx:pt idx="93534">1</cx:pt>
          <cx:pt idx="93535">5</cx:pt>
          <cx:pt idx="93536">3</cx:pt>
          <cx:pt idx="93537">5</cx:pt>
          <cx:pt idx="93538">3</cx:pt>
          <cx:pt idx="93539">2</cx:pt>
          <cx:pt idx="93540">4</cx:pt>
          <cx:pt idx="93541">3</cx:pt>
          <cx:pt idx="93542">1</cx:pt>
          <cx:pt idx="93543">5</cx:pt>
          <cx:pt idx="93544">1</cx:pt>
          <cx:pt idx="93545">4</cx:pt>
          <cx:pt idx="93546">2</cx:pt>
          <cx:pt idx="93547">5</cx:pt>
          <cx:pt idx="93548">5</cx:pt>
          <cx:pt idx="93549">5</cx:pt>
          <cx:pt idx="93550">3</cx:pt>
          <cx:pt idx="93551">4</cx:pt>
          <cx:pt idx="93552">2</cx:pt>
          <cx:pt idx="93553">5</cx:pt>
          <cx:pt idx="93554">2</cx:pt>
          <cx:pt idx="93555">5</cx:pt>
          <cx:pt idx="93556">4</cx:pt>
          <cx:pt idx="93557">1</cx:pt>
          <cx:pt idx="93558">1</cx:pt>
          <cx:pt idx="93559">1</cx:pt>
          <cx:pt idx="93560">2</cx:pt>
          <cx:pt idx="93561">4</cx:pt>
          <cx:pt idx="93562">5</cx:pt>
          <cx:pt idx="93563">4</cx:pt>
          <cx:pt idx="93564">5</cx:pt>
          <cx:pt idx="93565">4</cx:pt>
          <cx:pt idx="93566">4</cx:pt>
          <cx:pt idx="93567">3</cx:pt>
          <cx:pt idx="93568">3</cx:pt>
          <cx:pt idx="93569">5</cx:pt>
          <cx:pt idx="93570">4</cx:pt>
          <cx:pt idx="93571">5</cx:pt>
          <cx:pt idx="93572">5</cx:pt>
          <cx:pt idx="93573">3</cx:pt>
          <cx:pt idx="93574">5</cx:pt>
          <cx:pt idx="93575">4</cx:pt>
          <cx:pt idx="93576">2</cx:pt>
          <cx:pt idx="93577">4</cx:pt>
          <cx:pt idx="93578">4</cx:pt>
          <cx:pt idx="93579">4</cx:pt>
          <cx:pt idx="93580">3</cx:pt>
          <cx:pt idx="93581">5</cx:pt>
          <cx:pt idx="93582">1</cx:pt>
          <cx:pt idx="93583">4</cx:pt>
          <cx:pt idx="93584">2</cx:pt>
          <cx:pt idx="93585">4</cx:pt>
          <cx:pt idx="93586">4</cx:pt>
          <cx:pt idx="93587">4</cx:pt>
          <cx:pt idx="93588">3</cx:pt>
          <cx:pt idx="93589">5</cx:pt>
          <cx:pt idx="93590">5</cx:pt>
          <cx:pt idx="93591">5</cx:pt>
          <cx:pt idx="93592">4</cx:pt>
          <cx:pt idx="93593">4</cx:pt>
          <cx:pt idx="93594">5</cx:pt>
          <cx:pt idx="93595">3</cx:pt>
          <cx:pt idx="93596">4</cx:pt>
          <cx:pt idx="93597">4</cx:pt>
          <cx:pt idx="93598">1</cx:pt>
          <cx:pt idx="93599">5</cx:pt>
          <cx:pt idx="93600">4</cx:pt>
          <cx:pt idx="93601">4</cx:pt>
          <cx:pt idx="93602">1</cx:pt>
          <cx:pt idx="93603">4</cx:pt>
          <cx:pt idx="93604">1</cx:pt>
          <cx:pt idx="93605">4</cx:pt>
          <cx:pt idx="93606">4</cx:pt>
          <cx:pt idx="93607">2</cx:pt>
          <cx:pt idx="93608">4</cx:pt>
          <cx:pt idx="93609">1</cx:pt>
          <cx:pt idx="93610">4</cx:pt>
          <cx:pt idx="93611">3</cx:pt>
          <cx:pt idx="93612">2</cx:pt>
          <cx:pt idx="93613">5</cx:pt>
          <cx:pt idx="93614">4</cx:pt>
          <cx:pt idx="93615">3</cx:pt>
          <cx:pt idx="93616">4</cx:pt>
          <cx:pt idx="93617">4</cx:pt>
          <cx:pt idx="93618">4</cx:pt>
          <cx:pt idx="93619">5</cx:pt>
          <cx:pt idx="93620">4</cx:pt>
          <cx:pt idx="93621">3</cx:pt>
          <cx:pt idx="93622">5</cx:pt>
          <cx:pt idx="93623">3</cx:pt>
          <cx:pt idx="93624">3</cx:pt>
          <cx:pt idx="93625">5</cx:pt>
          <cx:pt idx="93626">1</cx:pt>
          <cx:pt idx="93627">1</cx:pt>
          <cx:pt idx="93628">1</cx:pt>
          <cx:pt idx="93629">1</cx:pt>
          <cx:pt idx="93630">3</cx:pt>
          <cx:pt idx="93631">3</cx:pt>
          <cx:pt idx="93632">1</cx:pt>
          <cx:pt idx="93633">1</cx:pt>
          <cx:pt idx="93634">2</cx:pt>
          <cx:pt idx="93635">5</cx:pt>
          <cx:pt idx="93636">5</cx:pt>
          <cx:pt idx="93637">5</cx:pt>
          <cx:pt idx="93638">3</cx:pt>
          <cx:pt idx="93639">4</cx:pt>
          <cx:pt idx="93640">4</cx:pt>
          <cx:pt idx="93641">2</cx:pt>
          <cx:pt idx="93642">2</cx:pt>
          <cx:pt idx="93643">5</cx:pt>
          <cx:pt idx="93644">3</cx:pt>
          <cx:pt idx="93645">5</cx:pt>
          <cx:pt idx="93646">5</cx:pt>
          <cx:pt idx="93647">4</cx:pt>
          <cx:pt idx="93648">3</cx:pt>
          <cx:pt idx="93649">4</cx:pt>
          <cx:pt idx="93650">4</cx:pt>
          <cx:pt idx="93651">5</cx:pt>
          <cx:pt idx="93652">5</cx:pt>
          <cx:pt idx="93653">5</cx:pt>
          <cx:pt idx="93654">5</cx:pt>
          <cx:pt idx="93655">4</cx:pt>
          <cx:pt idx="93656">2</cx:pt>
          <cx:pt idx="93657">2</cx:pt>
          <cx:pt idx="93658">5</cx:pt>
          <cx:pt idx="93659">2</cx:pt>
          <cx:pt idx="93660">4</cx:pt>
          <cx:pt idx="93661">1</cx:pt>
          <cx:pt idx="93662">1</cx:pt>
          <cx:pt idx="93663">2</cx:pt>
          <cx:pt idx="93664">3</cx:pt>
          <cx:pt idx="93665">4</cx:pt>
          <cx:pt idx="93666">4</cx:pt>
          <cx:pt idx="93667">4</cx:pt>
          <cx:pt idx="93668">1</cx:pt>
          <cx:pt idx="93669">5</cx:pt>
          <cx:pt idx="93670">2</cx:pt>
          <cx:pt idx="93671">4</cx:pt>
          <cx:pt idx="93672">3</cx:pt>
          <cx:pt idx="93673">2</cx:pt>
          <cx:pt idx="93674">1</cx:pt>
          <cx:pt idx="93675">4</cx:pt>
          <cx:pt idx="93676">4</cx:pt>
          <cx:pt idx="93677">4</cx:pt>
          <cx:pt idx="93678">4</cx:pt>
          <cx:pt idx="93679">4</cx:pt>
          <cx:pt idx="93680">2</cx:pt>
          <cx:pt idx="93681">3</cx:pt>
          <cx:pt idx="93682">1</cx:pt>
          <cx:pt idx="93683">2</cx:pt>
          <cx:pt idx="93684">4</cx:pt>
          <cx:pt idx="93685">4</cx:pt>
          <cx:pt idx="93686">5</cx:pt>
          <cx:pt idx="93687">5</cx:pt>
          <cx:pt idx="93688">2</cx:pt>
          <cx:pt idx="93689">4</cx:pt>
          <cx:pt idx="93690">1</cx:pt>
          <cx:pt idx="93691">2</cx:pt>
          <cx:pt idx="93692">4</cx:pt>
          <cx:pt idx="93693">5</cx:pt>
          <cx:pt idx="93694">5</cx:pt>
          <cx:pt idx="93695">1</cx:pt>
          <cx:pt idx="93696">4</cx:pt>
          <cx:pt idx="93697">2</cx:pt>
          <cx:pt idx="93698">3</cx:pt>
          <cx:pt idx="93699">4</cx:pt>
          <cx:pt idx="93700">3</cx:pt>
          <cx:pt idx="93701">1</cx:pt>
          <cx:pt idx="93702">4</cx:pt>
          <cx:pt idx="93703">2</cx:pt>
          <cx:pt idx="93704">3</cx:pt>
          <cx:pt idx="93705">5</cx:pt>
          <cx:pt idx="93706">5</cx:pt>
          <cx:pt idx="93707">1</cx:pt>
          <cx:pt idx="93708">5</cx:pt>
          <cx:pt idx="93709">5</cx:pt>
          <cx:pt idx="93710">4</cx:pt>
          <cx:pt idx="93711">3</cx:pt>
          <cx:pt idx="93712">5</cx:pt>
          <cx:pt idx="93713">4</cx:pt>
          <cx:pt idx="93714">5</cx:pt>
          <cx:pt idx="93715">5</cx:pt>
          <cx:pt idx="93716">3</cx:pt>
          <cx:pt idx="93717">4</cx:pt>
          <cx:pt idx="93718">5</cx:pt>
          <cx:pt idx="93719">4</cx:pt>
          <cx:pt idx="93720">3</cx:pt>
          <cx:pt idx="93721">5</cx:pt>
          <cx:pt idx="93722">2</cx:pt>
          <cx:pt idx="93723">5</cx:pt>
          <cx:pt idx="93724">4</cx:pt>
          <cx:pt idx="93725">5</cx:pt>
          <cx:pt idx="93726">5</cx:pt>
          <cx:pt idx="93727">5</cx:pt>
          <cx:pt idx="93728">3</cx:pt>
          <cx:pt idx="93729">4</cx:pt>
          <cx:pt idx="93730">2</cx:pt>
          <cx:pt idx="93731">3</cx:pt>
          <cx:pt idx="93732">1</cx:pt>
          <cx:pt idx="93733">2</cx:pt>
          <cx:pt idx="93734">5</cx:pt>
          <cx:pt idx="93735">4</cx:pt>
          <cx:pt idx="93736">4</cx:pt>
          <cx:pt idx="93737">4</cx:pt>
          <cx:pt idx="93738">4</cx:pt>
          <cx:pt idx="93739">3</cx:pt>
          <cx:pt idx="93740">3</cx:pt>
          <cx:pt idx="93741">2</cx:pt>
          <cx:pt idx="93742">2</cx:pt>
          <cx:pt idx="93743">5</cx:pt>
          <cx:pt idx="93744">5</cx:pt>
          <cx:pt idx="93745">4</cx:pt>
          <cx:pt idx="93746">5</cx:pt>
          <cx:pt idx="93747">4</cx:pt>
          <cx:pt idx="93748">5</cx:pt>
          <cx:pt idx="93749">2</cx:pt>
          <cx:pt idx="93750">5</cx:pt>
          <cx:pt idx="93751">2</cx:pt>
          <cx:pt idx="93752">2</cx:pt>
          <cx:pt idx="93753">4</cx:pt>
          <cx:pt idx="93754">2</cx:pt>
          <cx:pt idx="93755">4</cx:pt>
          <cx:pt idx="93756">2</cx:pt>
          <cx:pt idx="93757">2</cx:pt>
          <cx:pt idx="93758">3</cx:pt>
          <cx:pt idx="93759">4</cx:pt>
          <cx:pt idx="93760">4</cx:pt>
          <cx:pt idx="93761">3</cx:pt>
          <cx:pt idx="93762">4</cx:pt>
          <cx:pt idx="93763">2</cx:pt>
          <cx:pt idx="93764">4</cx:pt>
          <cx:pt idx="93765">2</cx:pt>
          <cx:pt idx="93766">3</cx:pt>
          <cx:pt idx="93767">3</cx:pt>
          <cx:pt idx="93768">2</cx:pt>
          <cx:pt idx="93769">3</cx:pt>
          <cx:pt idx="93770">5</cx:pt>
          <cx:pt idx="93771">5</cx:pt>
          <cx:pt idx="93772">1</cx:pt>
          <cx:pt idx="93773">5</cx:pt>
          <cx:pt idx="93774">4</cx:pt>
          <cx:pt idx="93775">3</cx:pt>
          <cx:pt idx="93776">2</cx:pt>
          <cx:pt idx="93777">3</cx:pt>
          <cx:pt idx="93778">4</cx:pt>
          <cx:pt idx="93779">4</cx:pt>
          <cx:pt idx="93780">4</cx:pt>
          <cx:pt idx="93781">5</cx:pt>
          <cx:pt idx="93782">1</cx:pt>
          <cx:pt idx="93783">3</cx:pt>
          <cx:pt idx="93784">5</cx:pt>
          <cx:pt idx="93785">3</cx:pt>
          <cx:pt idx="93786">2</cx:pt>
          <cx:pt idx="93787">4</cx:pt>
          <cx:pt idx="93788">5</cx:pt>
          <cx:pt idx="93789">5</cx:pt>
          <cx:pt idx="93790">2</cx:pt>
          <cx:pt idx="93791">4</cx:pt>
          <cx:pt idx="93792">3</cx:pt>
          <cx:pt idx="93793">2</cx:pt>
          <cx:pt idx="93794">4</cx:pt>
          <cx:pt idx="93795">4</cx:pt>
          <cx:pt idx="93796">5</cx:pt>
          <cx:pt idx="93797">2</cx:pt>
          <cx:pt idx="93798">3</cx:pt>
          <cx:pt idx="93799">4</cx:pt>
          <cx:pt idx="93800">4</cx:pt>
          <cx:pt idx="93801">4</cx:pt>
          <cx:pt idx="93802">5</cx:pt>
          <cx:pt idx="93803">4</cx:pt>
          <cx:pt idx="93804">4</cx:pt>
          <cx:pt idx="93805">3</cx:pt>
          <cx:pt idx="93806">4</cx:pt>
          <cx:pt idx="93807">3</cx:pt>
          <cx:pt idx="93808">5</cx:pt>
          <cx:pt idx="93809">2</cx:pt>
          <cx:pt idx="93810">3</cx:pt>
          <cx:pt idx="93811">5</cx:pt>
          <cx:pt idx="93812">5</cx:pt>
          <cx:pt idx="93813">5</cx:pt>
          <cx:pt idx="93814">5</cx:pt>
          <cx:pt idx="93815">4</cx:pt>
          <cx:pt idx="93816">3</cx:pt>
          <cx:pt idx="93817">5</cx:pt>
          <cx:pt idx="93818">2</cx:pt>
          <cx:pt idx="93819">5</cx:pt>
          <cx:pt idx="93820">2</cx:pt>
          <cx:pt idx="93821">4</cx:pt>
          <cx:pt idx="93822">3</cx:pt>
          <cx:pt idx="93823">4</cx:pt>
          <cx:pt idx="93824">4</cx:pt>
          <cx:pt idx="93825">1</cx:pt>
          <cx:pt idx="93826">2</cx:pt>
          <cx:pt idx="93827">4</cx:pt>
          <cx:pt idx="93828">5</cx:pt>
          <cx:pt idx="93829">5</cx:pt>
          <cx:pt idx="93830">1</cx:pt>
          <cx:pt idx="93831">4</cx:pt>
          <cx:pt idx="93832">2</cx:pt>
          <cx:pt idx="93833">3</cx:pt>
          <cx:pt idx="93834">3</cx:pt>
          <cx:pt idx="93835">4</cx:pt>
          <cx:pt idx="93836">2</cx:pt>
          <cx:pt idx="93837">3</cx:pt>
          <cx:pt idx="93838">1</cx:pt>
          <cx:pt idx="93839">2</cx:pt>
          <cx:pt idx="93840">5</cx:pt>
          <cx:pt idx="93841">2</cx:pt>
          <cx:pt idx="93842">2</cx:pt>
          <cx:pt idx="93843">4</cx:pt>
          <cx:pt idx="93844">1</cx:pt>
          <cx:pt idx="93845">2</cx:pt>
          <cx:pt idx="93846">1</cx:pt>
          <cx:pt idx="93847">5</cx:pt>
          <cx:pt idx="93848">5</cx:pt>
          <cx:pt idx="93849">5</cx:pt>
          <cx:pt idx="93850">5</cx:pt>
          <cx:pt idx="93851">5</cx:pt>
          <cx:pt idx="93852">2</cx:pt>
          <cx:pt idx="93853">4</cx:pt>
          <cx:pt idx="93854">4</cx:pt>
          <cx:pt idx="93855">4</cx:pt>
          <cx:pt idx="93856">5</cx:pt>
          <cx:pt idx="93857">5</cx:pt>
          <cx:pt idx="93858">4</cx:pt>
          <cx:pt idx="93859">5</cx:pt>
          <cx:pt idx="93860">3</cx:pt>
          <cx:pt idx="93861">4</cx:pt>
          <cx:pt idx="93862">4</cx:pt>
          <cx:pt idx="93863">2</cx:pt>
          <cx:pt idx="93864">5</cx:pt>
          <cx:pt idx="93865">2</cx:pt>
          <cx:pt idx="93866">3</cx:pt>
          <cx:pt idx="93867">4</cx:pt>
          <cx:pt idx="93868">3</cx:pt>
          <cx:pt idx="93869">1</cx:pt>
          <cx:pt idx="93870">5</cx:pt>
          <cx:pt idx="93871">4</cx:pt>
          <cx:pt idx="93872">3</cx:pt>
          <cx:pt idx="93873">2</cx:pt>
          <cx:pt idx="93874">3</cx:pt>
          <cx:pt idx="93875">4</cx:pt>
          <cx:pt idx="93876">4</cx:pt>
          <cx:pt idx="93877">5</cx:pt>
          <cx:pt idx="93878">4</cx:pt>
          <cx:pt idx="93879">3</cx:pt>
          <cx:pt idx="93880">4</cx:pt>
          <cx:pt idx="93881">2</cx:pt>
          <cx:pt idx="93882">4</cx:pt>
          <cx:pt idx="93883">4</cx:pt>
          <cx:pt idx="93884">5</cx:pt>
          <cx:pt idx="93885">1</cx:pt>
          <cx:pt idx="93886">2</cx:pt>
          <cx:pt idx="93887">5</cx:pt>
          <cx:pt idx="93888">5</cx:pt>
          <cx:pt idx="93889">4</cx:pt>
          <cx:pt idx="93890">3</cx:pt>
          <cx:pt idx="93891">2</cx:pt>
          <cx:pt idx="93892">5</cx:pt>
          <cx:pt idx="93893">1</cx:pt>
          <cx:pt idx="93894">2</cx:pt>
          <cx:pt idx="93895">5</cx:pt>
          <cx:pt idx="93896">1</cx:pt>
          <cx:pt idx="93897">3</cx:pt>
          <cx:pt idx="93898">1</cx:pt>
          <cx:pt idx="93899">5</cx:pt>
          <cx:pt idx="93900">5</cx:pt>
          <cx:pt idx="93901">2</cx:pt>
          <cx:pt idx="93902">4</cx:pt>
          <cx:pt idx="93903">1</cx:pt>
          <cx:pt idx="93904">1</cx:pt>
          <cx:pt idx="93905">2</cx:pt>
          <cx:pt idx="93906">2</cx:pt>
          <cx:pt idx="93907">3</cx:pt>
          <cx:pt idx="93908">2</cx:pt>
          <cx:pt idx="93909">1</cx:pt>
          <cx:pt idx="93910">3</cx:pt>
          <cx:pt idx="93911">5</cx:pt>
          <cx:pt idx="93912">4</cx:pt>
          <cx:pt idx="93913">2</cx:pt>
          <cx:pt idx="93914">5</cx:pt>
          <cx:pt idx="93915">5</cx:pt>
          <cx:pt idx="93916">5</cx:pt>
          <cx:pt idx="93917">5</cx:pt>
          <cx:pt idx="93918">2</cx:pt>
          <cx:pt idx="93919">4</cx:pt>
          <cx:pt idx="93920">3</cx:pt>
          <cx:pt idx="93921">3</cx:pt>
          <cx:pt idx="93922">4</cx:pt>
          <cx:pt idx="93923">5</cx:pt>
          <cx:pt idx="93924">4</cx:pt>
          <cx:pt idx="93925">4</cx:pt>
          <cx:pt idx="93926">4</cx:pt>
          <cx:pt idx="93927">2</cx:pt>
          <cx:pt idx="93928">5</cx:pt>
          <cx:pt idx="93929">4</cx:pt>
          <cx:pt idx="93930">4</cx:pt>
          <cx:pt idx="93931">4</cx:pt>
          <cx:pt idx="93932">4</cx:pt>
          <cx:pt idx="93933">3</cx:pt>
          <cx:pt idx="93934">5</cx:pt>
          <cx:pt idx="93935">5</cx:pt>
          <cx:pt idx="93936">1</cx:pt>
          <cx:pt idx="93937">2</cx:pt>
          <cx:pt idx="93938">1</cx:pt>
          <cx:pt idx="93939">4</cx:pt>
          <cx:pt idx="93940">5</cx:pt>
          <cx:pt idx="93941">4</cx:pt>
          <cx:pt idx="93942">4</cx:pt>
          <cx:pt idx="93943">4</cx:pt>
          <cx:pt idx="93944">5</cx:pt>
          <cx:pt idx="93945">5</cx:pt>
          <cx:pt idx="93946">3</cx:pt>
          <cx:pt idx="93947">5</cx:pt>
          <cx:pt idx="93948">2</cx:pt>
          <cx:pt idx="93949">5</cx:pt>
          <cx:pt idx="93950">3</cx:pt>
          <cx:pt idx="93951">5</cx:pt>
          <cx:pt idx="93952">4</cx:pt>
          <cx:pt idx="93953">4</cx:pt>
          <cx:pt idx="93954">5</cx:pt>
          <cx:pt idx="93955">5</cx:pt>
          <cx:pt idx="93956">3</cx:pt>
          <cx:pt idx="93957">3</cx:pt>
          <cx:pt idx="93958">5</cx:pt>
          <cx:pt idx="93959">5</cx:pt>
          <cx:pt idx="93960">1</cx:pt>
          <cx:pt idx="93961">3</cx:pt>
          <cx:pt idx="93962">1</cx:pt>
          <cx:pt idx="93963">3</cx:pt>
          <cx:pt idx="93964">5</cx:pt>
          <cx:pt idx="93965">3</cx:pt>
          <cx:pt idx="93966">4</cx:pt>
          <cx:pt idx="93967">2</cx:pt>
          <cx:pt idx="93968">2</cx:pt>
          <cx:pt idx="93969">5</cx:pt>
          <cx:pt idx="93970">4</cx:pt>
          <cx:pt idx="93971">4</cx:pt>
          <cx:pt idx="93972">5</cx:pt>
          <cx:pt idx="93973">3</cx:pt>
          <cx:pt idx="93974">3</cx:pt>
          <cx:pt idx="93975">3</cx:pt>
          <cx:pt idx="93976">3</cx:pt>
          <cx:pt idx="93977">4</cx:pt>
          <cx:pt idx="93978">4</cx:pt>
          <cx:pt idx="93979">1</cx:pt>
          <cx:pt idx="93980">2</cx:pt>
          <cx:pt idx="93981">2</cx:pt>
          <cx:pt idx="93982">5</cx:pt>
          <cx:pt idx="93983">3</cx:pt>
          <cx:pt idx="93984">5</cx:pt>
          <cx:pt idx="93985">1</cx:pt>
          <cx:pt idx="93986">3</cx:pt>
          <cx:pt idx="93987">1</cx:pt>
          <cx:pt idx="93988">4</cx:pt>
          <cx:pt idx="93989">4</cx:pt>
          <cx:pt idx="93990">1</cx:pt>
          <cx:pt idx="93991">5</cx:pt>
          <cx:pt idx="93992">4</cx:pt>
          <cx:pt idx="93993">3</cx:pt>
          <cx:pt idx="93994">5</cx:pt>
          <cx:pt idx="93995">4</cx:pt>
          <cx:pt idx="93996">2</cx:pt>
          <cx:pt idx="93997">5</cx:pt>
          <cx:pt idx="93998">5</cx:pt>
          <cx:pt idx="93999">4</cx:pt>
          <cx:pt idx="94000">5</cx:pt>
          <cx:pt idx="94001">4</cx:pt>
          <cx:pt idx="94002">2</cx:pt>
          <cx:pt idx="94003">4</cx:pt>
          <cx:pt idx="94004">1</cx:pt>
          <cx:pt idx="94005">1</cx:pt>
          <cx:pt idx="94006">4</cx:pt>
          <cx:pt idx="94007">2</cx:pt>
          <cx:pt idx="94008">3</cx:pt>
          <cx:pt idx="94009">1</cx:pt>
          <cx:pt idx="94010">3</cx:pt>
          <cx:pt idx="94011">5</cx:pt>
          <cx:pt idx="94012">2</cx:pt>
          <cx:pt idx="94013">4</cx:pt>
          <cx:pt idx="94014">4</cx:pt>
          <cx:pt idx="94015">5</cx:pt>
          <cx:pt idx="94016">3</cx:pt>
          <cx:pt idx="94017">5</cx:pt>
          <cx:pt idx="94018">4</cx:pt>
          <cx:pt idx="94019">4</cx:pt>
          <cx:pt idx="94020">2</cx:pt>
          <cx:pt idx="94021">3</cx:pt>
          <cx:pt idx="94022">4</cx:pt>
          <cx:pt idx="94023">5</cx:pt>
          <cx:pt idx="94024">3</cx:pt>
          <cx:pt idx="94025">4</cx:pt>
          <cx:pt idx="94026">4</cx:pt>
          <cx:pt idx="94027">5</cx:pt>
          <cx:pt idx="94028">4</cx:pt>
          <cx:pt idx="94029">2</cx:pt>
          <cx:pt idx="94030">3</cx:pt>
          <cx:pt idx="94031">5</cx:pt>
          <cx:pt idx="94032">5</cx:pt>
          <cx:pt idx="94033">1</cx:pt>
          <cx:pt idx="94034">5</cx:pt>
          <cx:pt idx="94035">1</cx:pt>
          <cx:pt idx="94036">3</cx:pt>
          <cx:pt idx="94037">5</cx:pt>
          <cx:pt idx="94038">4</cx:pt>
          <cx:pt idx="94039">2</cx:pt>
          <cx:pt idx="94040">4</cx:pt>
          <cx:pt idx="94041">2</cx:pt>
          <cx:pt idx="94042">4</cx:pt>
          <cx:pt idx="94043">2</cx:pt>
          <cx:pt idx="94044">4</cx:pt>
          <cx:pt idx="94045">5</cx:pt>
          <cx:pt idx="94046">4</cx:pt>
          <cx:pt idx="94047">5</cx:pt>
          <cx:pt idx="94048">2</cx:pt>
          <cx:pt idx="94049">2</cx:pt>
          <cx:pt idx="94050">5</cx:pt>
          <cx:pt idx="94051">4</cx:pt>
          <cx:pt idx="94052">5</cx:pt>
          <cx:pt idx="94053">5</cx:pt>
          <cx:pt idx="94054">3</cx:pt>
          <cx:pt idx="94055">4</cx:pt>
          <cx:pt idx="94056">5</cx:pt>
          <cx:pt idx="94057">5</cx:pt>
          <cx:pt idx="94058">4</cx:pt>
          <cx:pt idx="94059">2</cx:pt>
          <cx:pt idx="94060">5</cx:pt>
          <cx:pt idx="94061">3</cx:pt>
          <cx:pt idx="94062">1</cx:pt>
          <cx:pt idx="94063">1</cx:pt>
          <cx:pt idx="94064">4</cx:pt>
          <cx:pt idx="94065">3</cx:pt>
          <cx:pt idx="94066">5</cx:pt>
          <cx:pt idx="94067">3</cx:pt>
          <cx:pt idx="94068">4</cx:pt>
          <cx:pt idx="94069">5</cx:pt>
          <cx:pt idx="94070">2</cx:pt>
          <cx:pt idx="94071">4</cx:pt>
          <cx:pt idx="94072">4</cx:pt>
          <cx:pt idx="94073">4</cx:pt>
          <cx:pt idx="94074">3</cx:pt>
          <cx:pt idx="94075">4</cx:pt>
          <cx:pt idx="94076">4</cx:pt>
          <cx:pt idx="94077">2</cx:pt>
          <cx:pt idx="94078">3</cx:pt>
          <cx:pt idx="94079">3</cx:pt>
          <cx:pt idx="94080">3</cx:pt>
          <cx:pt idx="94081">1</cx:pt>
          <cx:pt idx="94082">2</cx:pt>
          <cx:pt idx="94083">3</cx:pt>
          <cx:pt idx="94084">3</cx:pt>
          <cx:pt idx="94085">3</cx:pt>
          <cx:pt idx="94086">5</cx:pt>
          <cx:pt idx="94087">2</cx:pt>
          <cx:pt idx="94088">2</cx:pt>
          <cx:pt idx="94089">3</cx:pt>
          <cx:pt idx="94090">5</cx:pt>
          <cx:pt idx="94091">5</cx:pt>
          <cx:pt idx="94092">3</cx:pt>
          <cx:pt idx="94093">4</cx:pt>
          <cx:pt idx="94094">4</cx:pt>
          <cx:pt idx="94095">4</cx:pt>
          <cx:pt idx="94096">5</cx:pt>
          <cx:pt idx="94097">5</cx:pt>
          <cx:pt idx="94098">2</cx:pt>
          <cx:pt idx="94099">3</cx:pt>
          <cx:pt idx="94100">3</cx:pt>
          <cx:pt idx="94101">5</cx:pt>
          <cx:pt idx="94102">2</cx:pt>
          <cx:pt idx="94103">3</cx:pt>
          <cx:pt idx="94104">2</cx:pt>
          <cx:pt idx="94105">5</cx:pt>
          <cx:pt idx="94106">4</cx:pt>
          <cx:pt idx="94107">1</cx:pt>
          <cx:pt idx="94108">2</cx:pt>
          <cx:pt idx="94109">5</cx:pt>
          <cx:pt idx="94110">4</cx:pt>
          <cx:pt idx="94111">3</cx:pt>
          <cx:pt idx="94112">4</cx:pt>
          <cx:pt idx="94113">3</cx:pt>
          <cx:pt idx="94114">3</cx:pt>
          <cx:pt idx="94115">3</cx:pt>
          <cx:pt idx="94116">4</cx:pt>
          <cx:pt idx="94117">3</cx:pt>
          <cx:pt idx="94118">4</cx:pt>
          <cx:pt idx="94119">2</cx:pt>
          <cx:pt idx="94120">5</cx:pt>
          <cx:pt idx="94121">4</cx:pt>
          <cx:pt idx="94122">2</cx:pt>
          <cx:pt idx="94123">5</cx:pt>
          <cx:pt idx="94124">5</cx:pt>
          <cx:pt idx="94125">4</cx:pt>
          <cx:pt idx="94126">4</cx:pt>
          <cx:pt idx="94127">4</cx:pt>
          <cx:pt idx="94128">3</cx:pt>
          <cx:pt idx="94129">4</cx:pt>
          <cx:pt idx="94130">3</cx:pt>
          <cx:pt idx="94131">4</cx:pt>
          <cx:pt idx="94132">1</cx:pt>
          <cx:pt idx="94133">4</cx:pt>
          <cx:pt idx="94134">2</cx:pt>
          <cx:pt idx="94135">4</cx:pt>
          <cx:pt idx="94136">5</cx:pt>
          <cx:pt idx="94137">4</cx:pt>
          <cx:pt idx="94138">3</cx:pt>
          <cx:pt idx="94139">5</cx:pt>
          <cx:pt idx="94140">2</cx:pt>
          <cx:pt idx="94141">4</cx:pt>
          <cx:pt idx="94142">4</cx:pt>
          <cx:pt idx="94143">3</cx:pt>
          <cx:pt idx="94144">5</cx:pt>
          <cx:pt idx="94145">5</cx:pt>
          <cx:pt idx="94146">2</cx:pt>
          <cx:pt idx="94147">4</cx:pt>
          <cx:pt idx="94148">3</cx:pt>
          <cx:pt idx="94149">2</cx:pt>
          <cx:pt idx="94150">4</cx:pt>
          <cx:pt idx="94151">4</cx:pt>
          <cx:pt idx="94152">2</cx:pt>
          <cx:pt idx="94153">2</cx:pt>
          <cx:pt idx="94154">3</cx:pt>
          <cx:pt idx="94155">3</cx:pt>
          <cx:pt idx="94156">4</cx:pt>
          <cx:pt idx="94157">5</cx:pt>
          <cx:pt idx="94158">3</cx:pt>
          <cx:pt idx="94159">5</cx:pt>
          <cx:pt idx="94160">1</cx:pt>
          <cx:pt idx="94161">5</cx:pt>
          <cx:pt idx="94162">5</cx:pt>
          <cx:pt idx="94163">2</cx:pt>
          <cx:pt idx="94164">4</cx:pt>
          <cx:pt idx="94165">4</cx:pt>
          <cx:pt idx="94166">1</cx:pt>
          <cx:pt idx="94167">4</cx:pt>
          <cx:pt idx="94168">1</cx:pt>
          <cx:pt idx="94169">5</cx:pt>
          <cx:pt idx="94170">5</cx:pt>
          <cx:pt idx="94171">2</cx:pt>
          <cx:pt idx="94172">4</cx:pt>
          <cx:pt idx="94173">1</cx:pt>
          <cx:pt idx="94174">3</cx:pt>
          <cx:pt idx="94175">5</cx:pt>
          <cx:pt idx="94176">2</cx:pt>
          <cx:pt idx="94177">3</cx:pt>
          <cx:pt idx="94178">2</cx:pt>
          <cx:pt idx="94179">4</cx:pt>
          <cx:pt idx="94180">4</cx:pt>
          <cx:pt idx="94181">4</cx:pt>
          <cx:pt idx="94182">3</cx:pt>
          <cx:pt idx="94183">5</cx:pt>
          <cx:pt idx="94184">4</cx:pt>
          <cx:pt idx="94185">3</cx:pt>
          <cx:pt idx="94186">4</cx:pt>
          <cx:pt idx="94187">5</cx:pt>
          <cx:pt idx="94188">5</cx:pt>
          <cx:pt idx="94189">4</cx:pt>
          <cx:pt idx="94190">2</cx:pt>
          <cx:pt idx="94191">5</cx:pt>
          <cx:pt idx="94192">4</cx:pt>
          <cx:pt idx="94193">5</cx:pt>
          <cx:pt idx="94194">1</cx:pt>
          <cx:pt idx="94195">2</cx:pt>
          <cx:pt idx="94196">2</cx:pt>
          <cx:pt idx="94197">4</cx:pt>
          <cx:pt idx="94198">2</cx:pt>
          <cx:pt idx="94199">4</cx:pt>
          <cx:pt idx="94200">5</cx:pt>
          <cx:pt idx="94201">5</cx:pt>
          <cx:pt idx="94202">4</cx:pt>
          <cx:pt idx="94203">3</cx:pt>
          <cx:pt idx="94204">3</cx:pt>
          <cx:pt idx="94205">5</cx:pt>
          <cx:pt idx="94206">3</cx:pt>
          <cx:pt idx="94207">1</cx:pt>
          <cx:pt idx="94208">4</cx:pt>
          <cx:pt idx="94209">4</cx:pt>
          <cx:pt idx="94210">3</cx:pt>
          <cx:pt idx="94211">2</cx:pt>
          <cx:pt idx="94212">4</cx:pt>
          <cx:pt idx="94213">5</cx:pt>
          <cx:pt idx="94214">3</cx:pt>
          <cx:pt idx="94215">3</cx:pt>
          <cx:pt idx="94216">5</cx:pt>
          <cx:pt idx="94217">1</cx:pt>
          <cx:pt idx="94218">5</cx:pt>
          <cx:pt idx="94219">5</cx:pt>
          <cx:pt idx="94220">2</cx:pt>
          <cx:pt idx="94221">2</cx:pt>
          <cx:pt idx="94222">5</cx:pt>
          <cx:pt idx="94223">4</cx:pt>
          <cx:pt idx="94224">4</cx:pt>
          <cx:pt idx="94225">1</cx:pt>
          <cx:pt idx="94226">1</cx:pt>
          <cx:pt idx="94227">5</cx:pt>
          <cx:pt idx="94228">5</cx:pt>
          <cx:pt idx="94229">3</cx:pt>
          <cx:pt idx="94230">4</cx:pt>
          <cx:pt idx="94231">4</cx:pt>
          <cx:pt idx="94232">1</cx:pt>
          <cx:pt idx="94233">3</cx:pt>
          <cx:pt idx="94234">4</cx:pt>
          <cx:pt idx="94235">2</cx:pt>
          <cx:pt idx="94236">2</cx:pt>
          <cx:pt idx="94237">5</cx:pt>
          <cx:pt idx="94238">3</cx:pt>
          <cx:pt idx="94239">1</cx:pt>
          <cx:pt idx="94240">3</cx:pt>
          <cx:pt idx="94241">4</cx:pt>
          <cx:pt idx="94242">1</cx:pt>
          <cx:pt idx="94243">5</cx:pt>
          <cx:pt idx="94244">2</cx:pt>
          <cx:pt idx="94245">4</cx:pt>
          <cx:pt idx="94246">5</cx:pt>
          <cx:pt idx="94247">4</cx:pt>
          <cx:pt idx="94248">4</cx:pt>
          <cx:pt idx="94249">4</cx:pt>
          <cx:pt idx="94250">4</cx:pt>
          <cx:pt idx="94251">4</cx:pt>
          <cx:pt idx="94252">1</cx:pt>
          <cx:pt idx="94253">5</cx:pt>
          <cx:pt idx="94254">4</cx:pt>
          <cx:pt idx="94255">4</cx:pt>
          <cx:pt idx="94256">1</cx:pt>
          <cx:pt idx="94257">3</cx:pt>
          <cx:pt idx="94258">3</cx:pt>
          <cx:pt idx="94259">5</cx:pt>
          <cx:pt idx="94260">2</cx:pt>
          <cx:pt idx="94261">2</cx:pt>
          <cx:pt idx="94262">5</cx:pt>
          <cx:pt idx="94263">4</cx:pt>
          <cx:pt idx="94264">2</cx:pt>
          <cx:pt idx="94265">4</cx:pt>
          <cx:pt idx="94266">5</cx:pt>
          <cx:pt idx="94267">1</cx:pt>
          <cx:pt idx="94268">1</cx:pt>
          <cx:pt idx="94269">4</cx:pt>
          <cx:pt idx="94270">5</cx:pt>
          <cx:pt idx="94271">2</cx:pt>
          <cx:pt idx="94272">2</cx:pt>
          <cx:pt idx="94273">3</cx:pt>
          <cx:pt idx="94274">1</cx:pt>
          <cx:pt idx="94275">3</cx:pt>
          <cx:pt idx="94276">5</cx:pt>
          <cx:pt idx="94277">1</cx:pt>
          <cx:pt idx="94278">2</cx:pt>
          <cx:pt idx="94279">4</cx:pt>
          <cx:pt idx="94280">1</cx:pt>
          <cx:pt idx="94281">5</cx:pt>
          <cx:pt idx="94282">1</cx:pt>
          <cx:pt idx="94283">4</cx:pt>
          <cx:pt idx="94284">2</cx:pt>
          <cx:pt idx="94285">5</cx:pt>
          <cx:pt idx="94286">4</cx:pt>
          <cx:pt idx="94287">3</cx:pt>
          <cx:pt idx="94288">4</cx:pt>
          <cx:pt idx="94289">3</cx:pt>
          <cx:pt idx="94290">3</cx:pt>
          <cx:pt idx="94291">2</cx:pt>
          <cx:pt idx="94292">2</cx:pt>
          <cx:pt idx="94293">2</cx:pt>
          <cx:pt idx="94294">1</cx:pt>
          <cx:pt idx="94295">3</cx:pt>
          <cx:pt idx="94296">4</cx:pt>
          <cx:pt idx="94297">2</cx:pt>
          <cx:pt idx="94298">3</cx:pt>
          <cx:pt idx="94299">5</cx:pt>
          <cx:pt idx="94300">5</cx:pt>
          <cx:pt idx="94301">5</cx:pt>
          <cx:pt idx="94302">4</cx:pt>
          <cx:pt idx="94303">3</cx:pt>
          <cx:pt idx="94304">4</cx:pt>
          <cx:pt idx="94305">2</cx:pt>
          <cx:pt idx="94306">4</cx:pt>
          <cx:pt idx="94307">2</cx:pt>
          <cx:pt idx="94308">5</cx:pt>
          <cx:pt idx="94309">5</cx:pt>
          <cx:pt idx="94310">5</cx:pt>
          <cx:pt idx="94311">5</cx:pt>
          <cx:pt idx="94312">4</cx:pt>
          <cx:pt idx="94313">5</cx:pt>
          <cx:pt idx="94314">4</cx:pt>
          <cx:pt idx="94315">4</cx:pt>
          <cx:pt idx="94316">2</cx:pt>
          <cx:pt idx="94317">3</cx:pt>
          <cx:pt idx="94318">3</cx:pt>
          <cx:pt idx="94319">5</cx:pt>
          <cx:pt idx="94320">3</cx:pt>
          <cx:pt idx="94321">1</cx:pt>
          <cx:pt idx="94322">4</cx:pt>
          <cx:pt idx="94323">3</cx:pt>
          <cx:pt idx="94324">3</cx:pt>
          <cx:pt idx="94325">3</cx:pt>
          <cx:pt idx="94326">3</cx:pt>
          <cx:pt idx="94327">2</cx:pt>
          <cx:pt idx="94328">2</cx:pt>
          <cx:pt idx="94329">3</cx:pt>
          <cx:pt idx="94330">4</cx:pt>
          <cx:pt idx="94331">3</cx:pt>
          <cx:pt idx="94332">5</cx:pt>
          <cx:pt idx="94333">5</cx:pt>
          <cx:pt idx="94334">5</cx:pt>
          <cx:pt idx="94335">1</cx:pt>
          <cx:pt idx="94336">4</cx:pt>
          <cx:pt idx="94337">1</cx:pt>
          <cx:pt idx="94338">3</cx:pt>
          <cx:pt idx="94339">3</cx:pt>
          <cx:pt idx="94340">5</cx:pt>
          <cx:pt idx="94341">1</cx:pt>
          <cx:pt idx="94342">5</cx:pt>
          <cx:pt idx="94343">1</cx:pt>
          <cx:pt idx="94344">4</cx:pt>
          <cx:pt idx="94345">4</cx:pt>
          <cx:pt idx="94346">3</cx:pt>
          <cx:pt idx="94347">5</cx:pt>
          <cx:pt idx="94348">3</cx:pt>
          <cx:pt idx="94349">3</cx:pt>
          <cx:pt idx="94350">2</cx:pt>
          <cx:pt idx="94351">4</cx:pt>
          <cx:pt idx="94352">1</cx:pt>
          <cx:pt idx="94353">2</cx:pt>
          <cx:pt idx="94354">4</cx:pt>
          <cx:pt idx="94355">4</cx:pt>
          <cx:pt idx="94356">4</cx:pt>
          <cx:pt idx="94357">4</cx:pt>
          <cx:pt idx="94358">2</cx:pt>
          <cx:pt idx="94359">1</cx:pt>
          <cx:pt idx="94360">1</cx:pt>
          <cx:pt idx="94361">5</cx:pt>
          <cx:pt idx="94362">4</cx:pt>
          <cx:pt idx="94363">3</cx:pt>
          <cx:pt idx="94364">2</cx:pt>
          <cx:pt idx="94365">2</cx:pt>
          <cx:pt idx="94366">4</cx:pt>
          <cx:pt idx="94367">3</cx:pt>
          <cx:pt idx="94368">2</cx:pt>
          <cx:pt idx="94369">4</cx:pt>
          <cx:pt idx="94370">5</cx:pt>
          <cx:pt idx="94371">1</cx:pt>
          <cx:pt idx="94372">4</cx:pt>
          <cx:pt idx="94373">5</cx:pt>
          <cx:pt idx="94374">2</cx:pt>
          <cx:pt idx="94375">4</cx:pt>
          <cx:pt idx="94376">5</cx:pt>
          <cx:pt idx="94377">3</cx:pt>
          <cx:pt idx="94378">2</cx:pt>
          <cx:pt idx="94379">5</cx:pt>
          <cx:pt idx="94380">1</cx:pt>
          <cx:pt idx="94381">2</cx:pt>
          <cx:pt idx="94382">4</cx:pt>
          <cx:pt idx="94383">5</cx:pt>
          <cx:pt idx="94384">4</cx:pt>
          <cx:pt idx="94385">3</cx:pt>
          <cx:pt idx="94386">5</cx:pt>
          <cx:pt idx="94387">4</cx:pt>
          <cx:pt idx="94388">5</cx:pt>
          <cx:pt idx="94389">4</cx:pt>
          <cx:pt idx="94390">3</cx:pt>
          <cx:pt idx="94391">4</cx:pt>
          <cx:pt idx="94392">1</cx:pt>
          <cx:pt idx="94393">5</cx:pt>
          <cx:pt idx="94394">1</cx:pt>
          <cx:pt idx="94395">4</cx:pt>
          <cx:pt idx="94396">5</cx:pt>
          <cx:pt idx="94397">5</cx:pt>
          <cx:pt idx="94398">4</cx:pt>
          <cx:pt idx="94399">4</cx:pt>
          <cx:pt idx="94400">1</cx:pt>
          <cx:pt idx="94401">4</cx:pt>
          <cx:pt idx="94402">2</cx:pt>
          <cx:pt idx="94403">2</cx:pt>
          <cx:pt idx="94404">3</cx:pt>
          <cx:pt idx="94405">3</cx:pt>
          <cx:pt idx="94406">5</cx:pt>
          <cx:pt idx="94407">4</cx:pt>
          <cx:pt idx="94408">4</cx:pt>
          <cx:pt idx="94409">5</cx:pt>
          <cx:pt idx="94410">5</cx:pt>
          <cx:pt idx="94411">4</cx:pt>
          <cx:pt idx="94412">4</cx:pt>
          <cx:pt idx="94413">5</cx:pt>
          <cx:pt idx="94414">4</cx:pt>
          <cx:pt idx="94415">2</cx:pt>
          <cx:pt idx="94416">2</cx:pt>
          <cx:pt idx="94417">4</cx:pt>
          <cx:pt idx="94418">3</cx:pt>
          <cx:pt idx="94419">2</cx:pt>
          <cx:pt idx="94420">1</cx:pt>
          <cx:pt idx="94421">5</cx:pt>
          <cx:pt idx="94422">4</cx:pt>
          <cx:pt idx="94423">5</cx:pt>
          <cx:pt idx="94424">2</cx:pt>
          <cx:pt idx="94425">3</cx:pt>
          <cx:pt idx="94426">4</cx:pt>
          <cx:pt idx="94427">3</cx:pt>
          <cx:pt idx="94428">3</cx:pt>
          <cx:pt idx="94429">5</cx:pt>
          <cx:pt idx="94430">5</cx:pt>
          <cx:pt idx="94431">4</cx:pt>
          <cx:pt idx="94432">3</cx:pt>
          <cx:pt idx="94433">5</cx:pt>
          <cx:pt idx="94434">4</cx:pt>
          <cx:pt idx="94435">2</cx:pt>
          <cx:pt idx="94436">5</cx:pt>
          <cx:pt idx="94437">5</cx:pt>
          <cx:pt idx="94438">4</cx:pt>
          <cx:pt idx="94439">5</cx:pt>
          <cx:pt idx="94440">3</cx:pt>
          <cx:pt idx="94441">2</cx:pt>
          <cx:pt idx="94442">2</cx:pt>
          <cx:pt idx="94443">3</cx:pt>
          <cx:pt idx="94444">3</cx:pt>
          <cx:pt idx="94445">4</cx:pt>
          <cx:pt idx="94446">4</cx:pt>
          <cx:pt idx="94447">4</cx:pt>
          <cx:pt idx="94448">2</cx:pt>
          <cx:pt idx="94449">4</cx:pt>
          <cx:pt idx="94450">4</cx:pt>
          <cx:pt idx="94451">3</cx:pt>
          <cx:pt idx="94452">2</cx:pt>
          <cx:pt idx="94453">3</cx:pt>
          <cx:pt idx="94454">5</cx:pt>
          <cx:pt idx="94455">2</cx:pt>
          <cx:pt idx="94456">2</cx:pt>
          <cx:pt idx="94457">3</cx:pt>
          <cx:pt idx="94458">2</cx:pt>
          <cx:pt idx="94459">5</cx:pt>
          <cx:pt idx="94460">5</cx:pt>
          <cx:pt idx="94461">3</cx:pt>
          <cx:pt idx="94462">5</cx:pt>
          <cx:pt idx="94463">5</cx:pt>
          <cx:pt idx="94464">1</cx:pt>
          <cx:pt idx="94465">1</cx:pt>
          <cx:pt idx="94466">1</cx:pt>
          <cx:pt idx="94467">5</cx:pt>
          <cx:pt idx="94468">5</cx:pt>
          <cx:pt idx="94469">1</cx:pt>
          <cx:pt idx="94470">1</cx:pt>
          <cx:pt idx="94471">4</cx:pt>
          <cx:pt idx="94472">1</cx:pt>
          <cx:pt idx="94473">3</cx:pt>
          <cx:pt idx="94474">2</cx:pt>
          <cx:pt idx="94475">4</cx:pt>
          <cx:pt idx="94476">5</cx:pt>
          <cx:pt idx="94477">1</cx:pt>
          <cx:pt idx="94478">4</cx:pt>
          <cx:pt idx="94479">5</cx:pt>
          <cx:pt idx="94480">1</cx:pt>
          <cx:pt idx="94481">4</cx:pt>
          <cx:pt idx="94482">5</cx:pt>
          <cx:pt idx="94483">4</cx:pt>
          <cx:pt idx="94484">1</cx:pt>
          <cx:pt idx="94485">1</cx:pt>
          <cx:pt idx="94486">2</cx:pt>
          <cx:pt idx="94487">4</cx:pt>
          <cx:pt idx="94488">2</cx:pt>
          <cx:pt idx="94489">3</cx:pt>
          <cx:pt idx="94490">4</cx:pt>
          <cx:pt idx="94491">3</cx:pt>
          <cx:pt idx="94492">4</cx:pt>
          <cx:pt idx="94493">2</cx:pt>
          <cx:pt idx="94494">1</cx:pt>
          <cx:pt idx="94495">4</cx:pt>
          <cx:pt idx="94496">4</cx:pt>
          <cx:pt idx="94497">5</cx:pt>
          <cx:pt idx="94498">1</cx:pt>
          <cx:pt idx="94499">3</cx:pt>
          <cx:pt idx="94500">4</cx:pt>
          <cx:pt idx="94501">2</cx:pt>
          <cx:pt idx="94502">5</cx:pt>
          <cx:pt idx="94503">5</cx:pt>
          <cx:pt idx="94504">4</cx:pt>
          <cx:pt idx="94505">1</cx:pt>
          <cx:pt idx="94506">5</cx:pt>
          <cx:pt idx="94507">5</cx:pt>
          <cx:pt idx="94508">5</cx:pt>
          <cx:pt idx="94509">1</cx:pt>
          <cx:pt idx="94510">4</cx:pt>
          <cx:pt idx="94511">5</cx:pt>
          <cx:pt idx="94512">5</cx:pt>
          <cx:pt idx="94513">4</cx:pt>
          <cx:pt idx="94514">4</cx:pt>
          <cx:pt idx="94515">5</cx:pt>
          <cx:pt idx="94516">5</cx:pt>
          <cx:pt idx="94517">4</cx:pt>
          <cx:pt idx="94518">4</cx:pt>
          <cx:pt idx="94519">1</cx:pt>
          <cx:pt idx="94520">4</cx:pt>
          <cx:pt idx="94521">3</cx:pt>
          <cx:pt idx="94522">3</cx:pt>
          <cx:pt idx="94523">4</cx:pt>
          <cx:pt idx="94524">3</cx:pt>
          <cx:pt idx="94525">3</cx:pt>
          <cx:pt idx="94526">3</cx:pt>
          <cx:pt idx="94527">1</cx:pt>
          <cx:pt idx="94528">5</cx:pt>
          <cx:pt idx="94529">4</cx:pt>
          <cx:pt idx="94530">4</cx:pt>
          <cx:pt idx="94531">4</cx:pt>
          <cx:pt idx="94532">3</cx:pt>
          <cx:pt idx="94533">3</cx:pt>
          <cx:pt idx="94534">1</cx:pt>
          <cx:pt idx="94535">3</cx:pt>
          <cx:pt idx="94536">4</cx:pt>
          <cx:pt idx="94537">3</cx:pt>
          <cx:pt idx="94538">4</cx:pt>
          <cx:pt idx="94539">4</cx:pt>
          <cx:pt idx="94540">5</cx:pt>
          <cx:pt idx="94541">3</cx:pt>
          <cx:pt idx="94542">5</cx:pt>
          <cx:pt idx="94543">4</cx:pt>
          <cx:pt idx="94544">5</cx:pt>
          <cx:pt idx="94545">4</cx:pt>
          <cx:pt idx="94546">3</cx:pt>
          <cx:pt idx="94547">4</cx:pt>
          <cx:pt idx="94548">5</cx:pt>
          <cx:pt idx="94549">5</cx:pt>
          <cx:pt idx="94550">4</cx:pt>
          <cx:pt idx="94551">2</cx:pt>
          <cx:pt idx="94552">5</cx:pt>
          <cx:pt idx="94553">5</cx:pt>
          <cx:pt idx="94554">1</cx:pt>
          <cx:pt idx="94555">5</cx:pt>
          <cx:pt idx="94556">1</cx:pt>
          <cx:pt idx="94557">5</cx:pt>
          <cx:pt idx="94558">1</cx:pt>
          <cx:pt idx="94559">4</cx:pt>
          <cx:pt idx="94560">4</cx:pt>
          <cx:pt idx="94561">3</cx:pt>
          <cx:pt idx="94562">3</cx:pt>
          <cx:pt idx="94563">1</cx:pt>
          <cx:pt idx="94564">3</cx:pt>
          <cx:pt idx="94565">1</cx:pt>
          <cx:pt idx="94566">4</cx:pt>
          <cx:pt idx="94567">2</cx:pt>
          <cx:pt idx="94568">2</cx:pt>
          <cx:pt idx="94569">5</cx:pt>
          <cx:pt idx="94570">5</cx:pt>
          <cx:pt idx="94571">5</cx:pt>
          <cx:pt idx="94572">1</cx:pt>
          <cx:pt idx="94573">4</cx:pt>
          <cx:pt idx="94574">5</cx:pt>
          <cx:pt idx="94575">3</cx:pt>
          <cx:pt idx="94576">5</cx:pt>
          <cx:pt idx="94577">2</cx:pt>
          <cx:pt idx="94578">2</cx:pt>
          <cx:pt idx="94579">5</cx:pt>
          <cx:pt idx="94580">1</cx:pt>
          <cx:pt idx="94581">1</cx:pt>
          <cx:pt idx="94582">5</cx:pt>
          <cx:pt idx="94583">4</cx:pt>
          <cx:pt idx="94584">4</cx:pt>
          <cx:pt idx="94585">4</cx:pt>
          <cx:pt idx="94586">5</cx:pt>
          <cx:pt idx="94587">2</cx:pt>
          <cx:pt idx="94588">2</cx:pt>
          <cx:pt idx="94589">3</cx:pt>
          <cx:pt idx="94590">2</cx:pt>
          <cx:pt idx="94591">4</cx:pt>
          <cx:pt idx="94592">2</cx:pt>
          <cx:pt idx="94593">3</cx:pt>
          <cx:pt idx="94594">5</cx:pt>
          <cx:pt idx="94595">4</cx:pt>
          <cx:pt idx="94596">2</cx:pt>
          <cx:pt idx="94597">4</cx:pt>
          <cx:pt idx="94598">5</cx:pt>
          <cx:pt idx="94599">5</cx:pt>
          <cx:pt idx="94600">3</cx:pt>
          <cx:pt idx="94601">3</cx:pt>
          <cx:pt idx="94602">3</cx:pt>
          <cx:pt idx="94603">5</cx:pt>
          <cx:pt idx="94604">4</cx:pt>
          <cx:pt idx="94605">4</cx:pt>
          <cx:pt idx="94606">4</cx:pt>
          <cx:pt idx="94607">4</cx:pt>
          <cx:pt idx="94608">4</cx:pt>
          <cx:pt idx="94609">2</cx:pt>
          <cx:pt idx="94610">4</cx:pt>
          <cx:pt idx="94611">2</cx:pt>
          <cx:pt idx="94612">1</cx:pt>
          <cx:pt idx="94613">5</cx:pt>
          <cx:pt idx="94614">3</cx:pt>
          <cx:pt idx="94615">5</cx:pt>
          <cx:pt idx="94616">2</cx:pt>
          <cx:pt idx="94617">1</cx:pt>
          <cx:pt idx="94618">5</cx:pt>
          <cx:pt idx="94619">2</cx:pt>
          <cx:pt idx="94620">4</cx:pt>
          <cx:pt idx="94621">5</cx:pt>
          <cx:pt idx="94622">3</cx:pt>
          <cx:pt idx="94623">5</cx:pt>
          <cx:pt idx="94624">2</cx:pt>
          <cx:pt idx="94625">3</cx:pt>
          <cx:pt idx="94626">4</cx:pt>
          <cx:pt idx="94627">5</cx:pt>
          <cx:pt idx="94628">3</cx:pt>
          <cx:pt idx="94629">1</cx:pt>
          <cx:pt idx="94630">5</cx:pt>
          <cx:pt idx="94631">4</cx:pt>
          <cx:pt idx="94632">3</cx:pt>
          <cx:pt idx="94633">2</cx:pt>
          <cx:pt idx="94634">3</cx:pt>
          <cx:pt idx="94635">4</cx:pt>
          <cx:pt idx="94636">3</cx:pt>
          <cx:pt idx="94637">4</cx:pt>
          <cx:pt idx="94638">5</cx:pt>
          <cx:pt idx="94639">5</cx:pt>
          <cx:pt idx="94640">1</cx:pt>
          <cx:pt idx="94641">4</cx:pt>
          <cx:pt idx="94642">4</cx:pt>
          <cx:pt idx="94643">4</cx:pt>
          <cx:pt idx="94644">3</cx:pt>
          <cx:pt idx="94645">1</cx:pt>
          <cx:pt idx="94646">5</cx:pt>
          <cx:pt idx="94647">2</cx:pt>
          <cx:pt idx="94648">4</cx:pt>
          <cx:pt idx="94649">3</cx:pt>
          <cx:pt idx="94650">2</cx:pt>
          <cx:pt idx="94651">1</cx:pt>
          <cx:pt idx="94652">4</cx:pt>
          <cx:pt idx="94653">4</cx:pt>
          <cx:pt idx="94654">4</cx:pt>
          <cx:pt idx="94655">1</cx:pt>
          <cx:pt idx="94656">4</cx:pt>
          <cx:pt idx="94657">5</cx:pt>
          <cx:pt idx="94658">3</cx:pt>
          <cx:pt idx="94659">4</cx:pt>
          <cx:pt idx="94660">4</cx:pt>
          <cx:pt idx="94661">5</cx:pt>
          <cx:pt idx="94662">1</cx:pt>
          <cx:pt idx="94663">3</cx:pt>
          <cx:pt idx="94664">3</cx:pt>
          <cx:pt idx="94665">3</cx:pt>
          <cx:pt idx="94666">5</cx:pt>
          <cx:pt idx="94667">5</cx:pt>
          <cx:pt idx="94668">5</cx:pt>
          <cx:pt idx="94669">5</cx:pt>
          <cx:pt idx="94670">4</cx:pt>
          <cx:pt idx="94671">3</cx:pt>
          <cx:pt idx="94672">2</cx:pt>
          <cx:pt idx="94673">3</cx:pt>
          <cx:pt idx="94674">4</cx:pt>
          <cx:pt idx="94675">5</cx:pt>
          <cx:pt idx="94676">5</cx:pt>
          <cx:pt idx="94677">5</cx:pt>
          <cx:pt idx="94678">3</cx:pt>
          <cx:pt idx="94679">2</cx:pt>
          <cx:pt idx="94680">1</cx:pt>
          <cx:pt idx="94681">4</cx:pt>
          <cx:pt idx="94682">3</cx:pt>
          <cx:pt idx="94683">5</cx:pt>
          <cx:pt idx="94684">2</cx:pt>
          <cx:pt idx="94685">4</cx:pt>
          <cx:pt idx="94686">4</cx:pt>
          <cx:pt idx="94687">4</cx:pt>
          <cx:pt idx="94688">4</cx:pt>
          <cx:pt idx="94689">5</cx:pt>
          <cx:pt idx="94690">5</cx:pt>
          <cx:pt idx="94691">5</cx:pt>
          <cx:pt idx="94692">2</cx:pt>
          <cx:pt idx="94693">4</cx:pt>
          <cx:pt idx="94694">3</cx:pt>
          <cx:pt idx="94695">5</cx:pt>
          <cx:pt idx="94696">1</cx:pt>
          <cx:pt idx="94697">5</cx:pt>
          <cx:pt idx="94698">5</cx:pt>
          <cx:pt idx="94699">5</cx:pt>
          <cx:pt idx="94700">2</cx:pt>
          <cx:pt idx="94701">2</cx:pt>
          <cx:pt idx="94702">2</cx:pt>
          <cx:pt idx="94703">3</cx:pt>
          <cx:pt idx="94704">3</cx:pt>
          <cx:pt idx="94705">3</cx:pt>
          <cx:pt idx="94706">5</cx:pt>
          <cx:pt idx="94707">2</cx:pt>
          <cx:pt idx="94708">1</cx:pt>
          <cx:pt idx="94709">5</cx:pt>
          <cx:pt idx="94710">3</cx:pt>
          <cx:pt idx="94711">5</cx:pt>
          <cx:pt idx="94712">5</cx:pt>
          <cx:pt idx="94713">5</cx:pt>
          <cx:pt idx="94714">4</cx:pt>
          <cx:pt idx="94715">4</cx:pt>
          <cx:pt idx="94716">2</cx:pt>
          <cx:pt idx="94717">5</cx:pt>
          <cx:pt idx="94718">1</cx:pt>
          <cx:pt idx="94719">3</cx:pt>
          <cx:pt idx="94720">5</cx:pt>
          <cx:pt idx="94721">5</cx:pt>
          <cx:pt idx="94722">2</cx:pt>
          <cx:pt idx="94723">3</cx:pt>
          <cx:pt idx="94724">3</cx:pt>
          <cx:pt idx="94725">4</cx:pt>
          <cx:pt idx="94726">4</cx:pt>
          <cx:pt idx="94727">4</cx:pt>
          <cx:pt idx="94728">3</cx:pt>
          <cx:pt idx="94729">4</cx:pt>
          <cx:pt idx="94730">4</cx:pt>
          <cx:pt idx="94731">4</cx:pt>
          <cx:pt idx="94732">4</cx:pt>
          <cx:pt idx="94733">1</cx:pt>
          <cx:pt idx="94734">5</cx:pt>
          <cx:pt idx="94735">3</cx:pt>
          <cx:pt idx="94736">1</cx:pt>
          <cx:pt idx="94737">4</cx:pt>
          <cx:pt idx="94738">4</cx:pt>
          <cx:pt idx="94739">1</cx:pt>
          <cx:pt idx="94740">4</cx:pt>
          <cx:pt idx="94741">2</cx:pt>
          <cx:pt idx="94742">4</cx:pt>
          <cx:pt idx="94743">5</cx:pt>
          <cx:pt idx="94744">4</cx:pt>
          <cx:pt idx="94745">4</cx:pt>
          <cx:pt idx="94746">1</cx:pt>
          <cx:pt idx="94747">3</cx:pt>
          <cx:pt idx="94748">5</cx:pt>
          <cx:pt idx="94749">3</cx:pt>
          <cx:pt idx="94750">4</cx:pt>
          <cx:pt idx="94751">5</cx:pt>
          <cx:pt idx="94752">5</cx:pt>
          <cx:pt idx="94753">5</cx:pt>
          <cx:pt idx="94754">5</cx:pt>
          <cx:pt idx="94755">1</cx:pt>
          <cx:pt idx="94756">3</cx:pt>
          <cx:pt idx="94757">1</cx:pt>
          <cx:pt idx="94758">3</cx:pt>
          <cx:pt idx="94759">4</cx:pt>
          <cx:pt idx="94760">5</cx:pt>
          <cx:pt idx="94761">3</cx:pt>
          <cx:pt idx="94762">4</cx:pt>
          <cx:pt idx="94763">3</cx:pt>
          <cx:pt idx="94764">4</cx:pt>
          <cx:pt idx="94765">1</cx:pt>
          <cx:pt idx="94766">5</cx:pt>
          <cx:pt idx="94767">5</cx:pt>
          <cx:pt idx="94768">3</cx:pt>
          <cx:pt idx="94769">4</cx:pt>
          <cx:pt idx="94770">3</cx:pt>
          <cx:pt idx="94771">5</cx:pt>
          <cx:pt idx="94772">5</cx:pt>
          <cx:pt idx="94773">2</cx:pt>
          <cx:pt idx="94774">3</cx:pt>
          <cx:pt idx="94775">2</cx:pt>
          <cx:pt idx="94776">2</cx:pt>
          <cx:pt idx="94777">5</cx:pt>
          <cx:pt idx="94778">3</cx:pt>
          <cx:pt idx="94779">1</cx:pt>
          <cx:pt idx="94780">1</cx:pt>
          <cx:pt idx="94781">2</cx:pt>
          <cx:pt idx="94782">3</cx:pt>
          <cx:pt idx="94783">3</cx:pt>
          <cx:pt idx="94784">5</cx:pt>
          <cx:pt idx="94785">5</cx:pt>
          <cx:pt idx="94786">3</cx:pt>
          <cx:pt idx="94787">3</cx:pt>
          <cx:pt idx="94788">4</cx:pt>
          <cx:pt idx="94789">4</cx:pt>
          <cx:pt idx="94790">5</cx:pt>
          <cx:pt idx="94791">4</cx:pt>
          <cx:pt idx="94792">5</cx:pt>
          <cx:pt idx="94793">5</cx:pt>
          <cx:pt idx="94794">1</cx:pt>
          <cx:pt idx="94795">1</cx:pt>
          <cx:pt idx="94796">1</cx:pt>
          <cx:pt idx="94797">5</cx:pt>
          <cx:pt idx="94798">4</cx:pt>
          <cx:pt idx="94799">5</cx:pt>
          <cx:pt idx="94800">3</cx:pt>
          <cx:pt idx="94801">5</cx:pt>
          <cx:pt idx="94802">1</cx:pt>
          <cx:pt idx="94803">5</cx:pt>
          <cx:pt idx="94804">2</cx:pt>
          <cx:pt idx="94805">4</cx:pt>
          <cx:pt idx="94806">4</cx:pt>
          <cx:pt idx="94807">2</cx:pt>
          <cx:pt idx="94808">5</cx:pt>
          <cx:pt idx="94809">4</cx:pt>
          <cx:pt idx="94810">5</cx:pt>
          <cx:pt idx="94811">1</cx:pt>
          <cx:pt idx="94812">5</cx:pt>
          <cx:pt idx="94813">5</cx:pt>
          <cx:pt idx="94814">3</cx:pt>
          <cx:pt idx="94815">2</cx:pt>
          <cx:pt idx="94816">5</cx:pt>
          <cx:pt idx="94817">5</cx:pt>
          <cx:pt idx="94818">1</cx:pt>
          <cx:pt idx="94819">2</cx:pt>
          <cx:pt idx="94820">3</cx:pt>
          <cx:pt idx="94821">5</cx:pt>
          <cx:pt idx="94822">5</cx:pt>
          <cx:pt idx="94823">5</cx:pt>
          <cx:pt idx="94824">4</cx:pt>
          <cx:pt idx="94825">2</cx:pt>
          <cx:pt idx="94826">5</cx:pt>
          <cx:pt idx="94827">2</cx:pt>
          <cx:pt idx="94828">4</cx:pt>
          <cx:pt idx="94829">5</cx:pt>
          <cx:pt idx="94830">2</cx:pt>
          <cx:pt idx="94831">2</cx:pt>
          <cx:pt idx="94832">3</cx:pt>
          <cx:pt idx="94833">1</cx:pt>
          <cx:pt idx="94834">1</cx:pt>
          <cx:pt idx="94835">1</cx:pt>
          <cx:pt idx="94836">5</cx:pt>
          <cx:pt idx="94837">3</cx:pt>
          <cx:pt idx="94838">3</cx:pt>
          <cx:pt idx="94839">5</cx:pt>
          <cx:pt idx="94840">2</cx:pt>
          <cx:pt idx="94841">4</cx:pt>
          <cx:pt idx="94842">1</cx:pt>
          <cx:pt idx="94843">2</cx:pt>
          <cx:pt idx="94844">2</cx:pt>
          <cx:pt idx="94845">5</cx:pt>
          <cx:pt idx="94846">4</cx:pt>
          <cx:pt idx="94847">3</cx:pt>
          <cx:pt idx="94848">5</cx:pt>
          <cx:pt idx="94849">4</cx:pt>
          <cx:pt idx="94850">1</cx:pt>
          <cx:pt idx="94851">4</cx:pt>
          <cx:pt idx="94852">3</cx:pt>
          <cx:pt idx="94853">2</cx:pt>
          <cx:pt idx="94854">5</cx:pt>
          <cx:pt idx="94855">2</cx:pt>
          <cx:pt idx="94856">4</cx:pt>
          <cx:pt idx="94857">4</cx:pt>
          <cx:pt idx="94858">4</cx:pt>
          <cx:pt idx="94859">5</cx:pt>
          <cx:pt idx="94860">5</cx:pt>
          <cx:pt idx="94861">2</cx:pt>
          <cx:pt idx="94862">1</cx:pt>
          <cx:pt idx="94863">5</cx:pt>
          <cx:pt idx="94864">5</cx:pt>
          <cx:pt idx="94865">2</cx:pt>
          <cx:pt idx="94866">3</cx:pt>
          <cx:pt idx="94867">4</cx:pt>
          <cx:pt idx="94868">4</cx:pt>
          <cx:pt idx="94869">5</cx:pt>
          <cx:pt idx="94870">2</cx:pt>
          <cx:pt idx="94871">3</cx:pt>
          <cx:pt idx="94872">1</cx:pt>
          <cx:pt idx="94873">5</cx:pt>
          <cx:pt idx="94874">5</cx:pt>
          <cx:pt idx="94875">5</cx:pt>
          <cx:pt idx="94876">1</cx:pt>
          <cx:pt idx="94877">2</cx:pt>
          <cx:pt idx="94878">5</cx:pt>
          <cx:pt idx="94879">5</cx:pt>
          <cx:pt idx="94880">4</cx:pt>
          <cx:pt idx="94881">3</cx:pt>
          <cx:pt idx="94882">4</cx:pt>
          <cx:pt idx="94883">5</cx:pt>
          <cx:pt idx="94884">4</cx:pt>
          <cx:pt idx="94885">4</cx:pt>
          <cx:pt idx="94886">3</cx:pt>
          <cx:pt idx="94887">4</cx:pt>
          <cx:pt idx="94888">4</cx:pt>
          <cx:pt idx="94889">4</cx:pt>
          <cx:pt idx="94890">2</cx:pt>
          <cx:pt idx="94891">2</cx:pt>
          <cx:pt idx="94892">5</cx:pt>
          <cx:pt idx="94893">5</cx:pt>
          <cx:pt idx="94894">4</cx:pt>
          <cx:pt idx="94895">5</cx:pt>
          <cx:pt idx="94896">5</cx:pt>
          <cx:pt idx="94897">4</cx:pt>
          <cx:pt idx="94898">2</cx:pt>
          <cx:pt idx="94899">3</cx:pt>
          <cx:pt idx="94900">1</cx:pt>
          <cx:pt idx="94901">3</cx:pt>
          <cx:pt idx="94902">3</cx:pt>
          <cx:pt idx="94903">4</cx:pt>
          <cx:pt idx="94904">4</cx:pt>
          <cx:pt idx="94905">2</cx:pt>
          <cx:pt idx="94906">3</cx:pt>
          <cx:pt idx="94907">1</cx:pt>
          <cx:pt idx="94908">2</cx:pt>
          <cx:pt idx="94909">1</cx:pt>
          <cx:pt idx="94910">4</cx:pt>
          <cx:pt idx="94911">4</cx:pt>
          <cx:pt idx="94912">3</cx:pt>
          <cx:pt idx="94913">5</cx:pt>
          <cx:pt idx="94914">3</cx:pt>
          <cx:pt idx="94915">5</cx:pt>
          <cx:pt idx="94916">3</cx:pt>
          <cx:pt idx="94917">5</cx:pt>
          <cx:pt idx="94918">3</cx:pt>
          <cx:pt idx="94919">5</cx:pt>
          <cx:pt idx="94920">3</cx:pt>
          <cx:pt idx="94921">2</cx:pt>
          <cx:pt idx="94922">3</cx:pt>
          <cx:pt idx="94923">4</cx:pt>
          <cx:pt idx="94924">4</cx:pt>
          <cx:pt idx="94925">3</cx:pt>
          <cx:pt idx="94926">5</cx:pt>
          <cx:pt idx="94927">5</cx:pt>
          <cx:pt idx="94928">5</cx:pt>
          <cx:pt idx="94929">3</cx:pt>
          <cx:pt idx="94930">5</cx:pt>
          <cx:pt idx="94931">5</cx:pt>
          <cx:pt idx="94932">5</cx:pt>
          <cx:pt idx="94933">2</cx:pt>
          <cx:pt idx="94934">5</cx:pt>
          <cx:pt idx="94935">4</cx:pt>
          <cx:pt idx="94936">5</cx:pt>
          <cx:pt idx="94937">3</cx:pt>
          <cx:pt idx="94938">2</cx:pt>
          <cx:pt idx="94939">3</cx:pt>
          <cx:pt idx="94940">4</cx:pt>
          <cx:pt idx="94941">3</cx:pt>
          <cx:pt idx="94942">4</cx:pt>
          <cx:pt idx="94943">5</cx:pt>
          <cx:pt idx="94944">2</cx:pt>
          <cx:pt idx="94945">4</cx:pt>
          <cx:pt idx="94946">4</cx:pt>
          <cx:pt idx="94947">3</cx:pt>
          <cx:pt idx="94948">3</cx:pt>
          <cx:pt idx="94949">3</cx:pt>
          <cx:pt idx="94950">5</cx:pt>
          <cx:pt idx="94951">5</cx:pt>
          <cx:pt idx="94952">1</cx:pt>
          <cx:pt idx="94953">4</cx:pt>
          <cx:pt idx="94954">3</cx:pt>
          <cx:pt idx="94955">5</cx:pt>
          <cx:pt idx="94956">5</cx:pt>
          <cx:pt idx="94957">4</cx:pt>
          <cx:pt idx="94958">3</cx:pt>
          <cx:pt idx="94959">4</cx:pt>
          <cx:pt idx="94960">4</cx:pt>
          <cx:pt idx="94961">4</cx:pt>
          <cx:pt idx="94962">5</cx:pt>
          <cx:pt idx="94963">3</cx:pt>
          <cx:pt idx="94964">4</cx:pt>
          <cx:pt idx="94965">5</cx:pt>
          <cx:pt idx="94966">1</cx:pt>
          <cx:pt idx="94967">1</cx:pt>
          <cx:pt idx="94968">2</cx:pt>
          <cx:pt idx="94969">4</cx:pt>
          <cx:pt idx="94970">4</cx:pt>
          <cx:pt idx="94971">2</cx:pt>
          <cx:pt idx="94972">2</cx:pt>
          <cx:pt idx="94973">4</cx:pt>
          <cx:pt idx="94974">3</cx:pt>
          <cx:pt idx="94975">4</cx:pt>
          <cx:pt idx="94976">4</cx:pt>
          <cx:pt idx="94977">4</cx:pt>
          <cx:pt idx="94978">4</cx:pt>
          <cx:pt idx="94979">4</cx:pt>
          <cx:pt idx="94980">4</cx:pt>
          <cx:pt idx="94981">4</cx:pt>
          <cx:pt idx="94982">5</cx:pt>
          <cx:pt idx="94983">4</cx:pt>
          <cx:pt idx="94984">4</cx:pt>
          <cx:pt idx="94985">1</cx:pt>
          <cx:pt idx="94986">2</cx:pt>
          <cx:pt idx="94987">2</cx:pt>
          <cx:pt idx="94988">5</cx:pt>
          <cx:pt idx="94989">1</cx:pt>
          <cx:pt idx="94990">4</cx:pt>
          <cx:pt idx="94991">5</cx:pt>
          <cx:pt idx="94992">4</cx:pt>
          <cx:pt idx="94993">2</cx:pt>
          <cx:pt idx="94994">4</cx:pt>
          <cx:pt idx="94995">4</cx:pt>
          <cx:pt idx="94996">4</cx:pt>
          <cx:pt idx="94997">5</cx:pt>
          <cx:pt idx="94998">2</cx:pt>
          <cx:pt idx="94999">5</cx:pt>
          <cx:pt idx="95000">5</cx:pt>
          <cx:pt idx="95001">4</cx:pt>
          <cx:pt idx="95002">4</cx:pt>
          <cx:pt idx="95003">1</cx:pt>
          <cx:pt idx="95004">3</cx:pt>
          <cx:pt idx="95005">2</cx:pt>
          <cx:pt idx="95006">3</cx:pt>
          <cx:pt idx="95007">4</cx:pt>
          <cx:pt idx="95008">5</cx:pt>
          <cx:pt idx="95009">5</cx:pt>
          <cx:pt idx="95010">1</cx:pt>
          <cx:pt idx="95011">4</cx:pt>
          <cx:pt idx="95012">4</cx:pt>
          <cx:pt idx="95013">4</cx:pt>
          <cx:pt idx="95014">2</cx:pt>
          <cx:pt idx="95015">4</cx:pt>
          <cx:pt idx="95016">4</cx:pt>
          <cx:pt idx="95017">3</cx:pt>
          <cx:pt idx="95018">5</cx:pt>
          <cx:pt idx="95019">4</cx:pt>
          <cx:pt idx="95020">3</cx:pt>
          <cx:pt idx="95021">4</cx:pt>
          <cx:pt idx="95022">4</cx:pt>
          <cx:pt idx="95023">5</cx:pt>
          <cx:pt idx="95024">4</cx:pt>
          <cx:pt idx="95025">3</cx:pt>
          <cx:pt idx="95026">4</cx:pt>
          <cx:pt idx="95027">2</cx:pt>
          <cx:pt idx="95028">4</cx:pt>
          <cx:pt idx="95029">2</cx:pt>
          <cx:pt idx="95030">4</cx:pt>
          <cx:pt idx="95031">1</cx:pt>
          <cx:pt idx="95032">1</cx:pt>
          <cx:pt idx="95033">5</cx:pt>
          <cx:pt idx="95034">3</cx:pt>
          <cx:pt idx="95035">5</cx:pt>
          <cx:pt idx="95036">5</cx:pt>
          <cx:pt idx="95037">3</cx:pt>
          <cx:pt idx="95038">4</cx:pt>
          <cx:pt idx="95039">4</cx:pt>
          <cx:pt idx="95040">5</cx:pt>
          <cx:pt idx="95041">3</cx:pt>
          <cx:pt idx="95042">4</cx:pt>
          <cx:pt idx="95043">2</cx:pt>
          <cx:pt idx="95044">5</cx:pt>
          <cx:pt idx="95045">3</cx:pt>
          <cx:pt idx="95046">3</cx:pt>
          <cx:pt idx="95047">4</cx:pt>
          <cx:pt idx="95048">2</cx:pt>
          <cx:pt idx="95049">4</cx:pt>
          <cx:pt idx="95050">4</cx:pt>
          <cx:pt idx="95051">5</cx:pt>
          <cx:pt idx="95052">5</cx:pt>
          <cx:pt idx="95053">2</cx:pt>
          <cx:pt idx="95054">1</cx:pt>
          <cx:pt idx="95055">3</cx:pt>
          <cx:pt idx="95056">4</cx:pt>
          <cx:pt idx="95057">1</cx:pt>
          <cx:pt idx="95058">3</cx:pt>
          <cx:pt idx="95059">2</cx:pt>
          <cx:pt idx="95060">4</cx:pt>
          <cx:pt idx="95061">5</cx:pt>
          <cx:pt idx="95062">2</cx:pt>
          <cx:pt idx="95063">2</cx:pt>
          <cx:pt idx="95064">2</cx:pt>
          <cx:pt idx="95065">2</cx:pt>
          <cx:pt idx="95066">4</cx:pt>
          <cx:pt idx="95067">3</cx:pt>
          <cx:pt idx="95068">5</cx:pt>
          <cx:pt idx="95069">3</cx:pt>
          <cx:pt idx="95070">5</cx:pt>
          <cx:pt idx="95071">5</cx:pt>
          <cx:pt idx="95072">4</cx:pt>
          <cx:pt idx="95073">4</cx:pt>
          <cx:pt idx="95074">1</cx:pt>
          <cx:pt idx="95075">4</cx:pt>
          <cx:pt idx="95076">2</cx:pt>
          <cx:pt idx="95077">3</cx:pt>
          <cx:pt idx="95078">3</cx:pt>
          <cx:pt idx="95079">1</cx:pt>
          <cx:pt idx="95080">4</cx:pt>
          <cx:pt idx="95081">3</cx:pt>
          <cx:pt idx="95082">5</cx:pt>
          <cx:pt idx="95083">2</cx:pt>
          <cx:pt idx="95084">4</cx:pt>
          <cx:pt idx="95085">5</cx:pt>
          <cx:pt idx="95086">2</cx:pt>
          <cx:pt idx="95087">4</cx:pt>
          <cx:pt idx="95088">4</cx:pt>
          <cx:pt idx="95089">2</cx:pt>
          <cx:pt idx="95090">5</cx:pt>
          <cx:pt idx="95091">5</cx:pt>
          <cx:pt idx="95092">4</cx:pt>
          <cx:pt idx="95093">4</cx:pt>
          <cx:pt idx="95094">2</cx:pt>
          <cx:pt idx="95095">1</cx:pt>
          <cx:pt idx="95096">2</cx:pt>
          <cx:pt idx="95097">4</cx:pt>
          <cx:pt idx="95098">1</cx:pt>
          <cx:pt idx="95099">4</cx:pt>
          <cx:pt idx="95100">5</cx:pt>
          <cx:pt idx="95101">4</cx:pt>
          <cx:pt idx="95102">3</cx:pt>
          <cx:pt idx="95103">1</cx:pt>
          <cx:pt idx="95104">5</cx:pt>
          <cx:pt idx="95105">4</cx:pt>
          <cx:pt idx="95106">2</cx:pt>
          <cx:pt idx="95107">4</cx:pt>
          <cx:pt idx="95108">5</cx:pt>
          <cx:pt idx="95109">5</cx:pt>
          <cx:pt idx="95110">5</cx:pt>
          <cx:pt idx="95111">4</cx:pt>
          <cx:pt idx="95112">2</cx:pt>
          <cx:pt idx="95113">3</cx:pt>
          <cx:pt idx="95114">5</cx:pt>
          <cx:pt idx="95115">5</cx:pt>
          <cx:pt idx="95116">4</cx:pt>
          <cx:pt idx="95117">3</cx:pt>
          <cx:pt idx="95118">4</cx:pt>
          <cx:pt idx="95119">5</cx:pt>
          <cx:pt idx="95120">2</cx:pt>
          <cx:pt idx="95121">5</cx:pt>
          <cx:pt idx="95122">4</cx:pt>
          <cx:pt idx="95123">2</cx:pt>
          <cx:pt idx="95124">4</cx:pt>
          <cx:pt idx="95125">5</cx:pt>
          <cx:pt idx="95126">2</cx:pt>
          <cx:pt idx="95127">3</cx:pt>
          <cx:pt idx="95128">5</cx:pt>
          <cx:pt idx="95129">1</cx:pt>
          <cx:pt idx="95130">5</cx:pt>
          <cx:pt idx="95131">4</cx:pt>
          <cx:pt idx="95132">4</cx:pt>
          <cx:pt idx="95133">3</cx:pt>
          <cx:pt idx="95134">4</cx:pt>
          <cx:pt idx="95135">3</cx:pt>
          <cx:pt idx="95136">2</cx:pt>
          <cx:pt idx="95137">3</cx:pt>
          <cx:pt idx="95138">4</cx:pt>
          <cx:pt idx="95139">4</cx:pt>
          <cx:pt idx="95140">2</cx:pt>
          <cx:pt idx="95141">4</cx:pt>
          <cx:pt idx="95142">5</cx:pt>
          <cx:pt idx="95143">4</cx:pt>
          <cx:pt idx="95144">5</cx:pt>
          <cx:pt idx="95145">3</cx:pt>
          <cx:pt idx="95146">3</cx:pt>
          <cx:pt idx="95147">4</cx:pt>
          <cx:pt idx="95148">5</cx:pt>
          <cx:pt idx="95149">2</cx:pt>
          <cx:pt idx="95150">2</cx:pt>
          <cx:pt idx="95151">4</cx:pt>
          <cx:pt idx="95152">1</cx:pt>
          <cx:pt idx="95153">1</cx:pt>
          <cx:pt idx="95154">5</cx:pt>
          <cx:pt idx="95155">4</cx:pt>
          <cx:pt idx="95156">4</cx:pt>
          <cx:pt idx="95157">4</cx:pt>
          <cx:pt idx="95158">4</cx:pt>
          <cx:pt idx="95159">1</cx:pt>
          <cx:pt idx="95160">4</cx:pt>
          <cx:pt idx="95161">2</cx:pt>
          <cx:pt idx="95162">3</cx:pt>
          <cx:pt idx="95163">2</cx:pt>
          <cx:pt idx="95164">5</cx:pt>
          <cx:pt idx="95165">3</cx:pt>
          <cx:pt idx="95166">4</cx:pt>
          <cx:pt idx="95167">3</cx:pt>
          <cx:pt idx="95168">1</cx:pt>
          <cx:pt idx="95169">4</cx:pt>
          <cx:pt idx="95170">3</cx:pt>
          <cx:pt idx="95171">3</cx:pt>
          <cx:pt idx="95172">4</cx:pt>
          <cx:pt idx="95173">2</cx:pt>
          <cx:pt idx="95174">4</cx:pt>
          <cx:pt idx="95175">4</cx:pt>
          <cx:pt idx="95176">1</cx:pt>
          <cx:pt idx="95177">4</cx:pt>
          <cx:pt idx="95178">3</cx:pt>
          <cx:pt idx="95179">5</cx:pt>
          <cx:pt idx="95180">5</cx:pt>
          <cx:pt idx="95181">2</cx:pt>
          <cx:pt idx="95182">2</cx:pt>
          <cx:pt idx="95183">5</cx:pt>
          <cx:pt idx="95184">2</cx:pt>
          <cx:pt idx="95185">3</cx:pt>
          <cx:pt idx="95186">5</cx:pt>
          <cx:pt idx="95187">3</cx:pt>
          <cx:pt idx="95188">4</cx:pt>
          <cx:pt idx="95189">5</cx:pt>
          <cx:pt idx="95190">5</cx:pt>
          <cx:pt idx="95191">2</cx:pt>
          <cx:pt idx="95192">4</cx:pt>
          <cx:pt idx="95193">5</cx:pt>
          <cx:pt idx="95194">5</cx:pt>
          <cx:pt idx="95195">2</cx:pt>
          <cx:pt idx="95196">5</cx:pt>
          <cx:pt idx="95197">4</cx:pt>
          <cx:pt idx="95198">5</cx:pt>
          <cx:pt idx="95199">2</cx:pt>
          <cx:pt idx="95200">1</cx:pt>
          <cx:pt idx="95201">2</cx:pt>
          <cx:pt idx="95202">5</cx:pt>
          <cx:pt idx="95203">2</cx:pt>
          <cx:pt idx="95204">2</cx:pt>
          <cx:pt idx="95205">3</cx:pt>
          <cx:pt idx="95206">4</cx:pt>
          <cx:pt idx="95207">3</cx:pt>
          <cx:pt idx="95208">5</cx:pt>
          <cx:pt idx="95209">2</cx:pt>
          <cx:pt idx="95210">3</cx:pt>
          <cx:pt idx="95211">5</cx:pt>
          <cx:pt idx="95212">5</cx:pt>
          <cx:pt idx="95213">4</cx:pt>
          <cx:pt idx="95214">2</cx:pt>
          <cx:pt idx="95215">5</cx:pt>
          <cx:pt idx="95216">2</cx:pt>
          <cx:pt idx="95217">4</cx:pt>
          <cx:pt idx="95218">2</cx:pt>
          <cx:pt idx="95219">4</cx:pt>
          <cx:pt idx="95220">2</cx:pt>
          <cx:pt idx="95221">3</cx:pt>
          <cx:pt idx="95222">5</cx:pt>
          <cx:pt idx="95223">1</cx:pt>
          <cx:pt idx="95224">5</cx:pt>
          <cx:pt idx="95225">3</cx:pt>
          <cx:pt idx="95226">4</cx:pt>
          <cx:pt idx="95227">4</cx:pt>
          <cx:pt idx="95228">4</cx:pt>
          <cx:pt idx="95229">5</cx:pt>
          <cx:pt idx="95230">2</cx:pt>
          <cx:pt idx="95231">5</cx:pt>
          <cx:pt idx="95232">1</cx:pt>
          <cx:pt idx="95233">5</cx:pt>
          <cx:pt idx="95234">4</cx:pt>
          <cx:pt idx="95235">5</cx:pt>
          <cx:pt idx="95236">2</cx:pt>
          <cx:pt idx="95237">2</cx:pt>
          <cx:pt idx="95238">5</cx:pt>
          <cx:pt idx="95239">2</cx:pt>
          <cx:pt idx="95240">5</cx:pt>
          <cx:pt idx="95241">4</cx:pt>
          <cx:pt idx="95242">4</cx:pt>
          <cx:pt idx="95243">2</cx:pt>
          <cx:pt idx="95244">4</cx:pt>
          <cx:pt idx="95245">3</cx:pt>
          <cx:pt idx="95246">4</cx:pt>
          <cx:pt idx="95247">3</cx:pt>
          <cx:pt idx="95248">1</cx:pt>
          <cx:pt idx="95249">3</cx:pt>
          <cx:pt idx="95250">2</cx:pt>
          <cx:pt idx="95251">1</cx:pt>
          <cx:pt idx="95252">2</cx:pt>
          <cx:pt idx="95253">4</cx:pt>
          <cx:pt idx="95254">4</cx:pt>
          <cx:pt idx="95255">1</cx:pt>
          <cx:pt idx="95256">3</cx:pt>
          <cx:pt idx="95257">1</cx:pt>
          <cx:pt idx="95258">3</cx:pt>
          <cx:pt idx="95259">2</cx:pt>
          <cx:pt idx="95260">5</cx:pt>
          <cx:pt idx="95261">5</cx:pt>
          <cx:pt idx="95262">3</cx:pt>
          <cx:pt idx="95263">4</cx:pt>
          <cx:pt idx="95264">4</cx:pt>
          <cx:pt idx="95265">4</cx:pt>
          <cx:pt idx="95266">2</cx:pt>
          <cx:pt idx="95267">1</cx:pt>
          <cx:pt idx="95268">1</cx:pt>
          <cx:pt idx="95269">1</cx:pt>
          <cx:pt idx="95270">5</cx:pt>
          <cx:pt idx="95271">2</cx:pt>
          <cx:pt idx="95272">4</cx:pt>
          <cx:pt idx="95273">5</cx:pt>
          <cx:pt idx="95274">2</cx:pt>
          <cx:pt idx="95275">5</cx:pt>
          <cx:pt idx="95276">3</cx:pt>
          <cx:pt idx="95277">1</cx:pt>
          <cx:pt idx="95278">3</cx:pt>
          <cx:pt idx="95279">3</cx:pt>
          <cx:pt idx="95280">4</cx:pt>
          <cx:pt idx="95281">1</cx:pt>
          <cx:pt idx="95282">1</cx:pt>
          <cx:pt idx="95283">3</cx:pt>
          <cx:pt idx="95284">2</cx:pt>
          <cx:pt idx="95285">3</cx:pt>
          <cx:pt idx="95286">3</cx:pt>
          <cx:pt idx="95287">3</cx:pt>
          <cx:pt idx="95288">4</cx:pt>
          <cx:pt idx="95289">3</cx:pt>
          <cx:pt idx="95290">3</cx:pt>
          <cx:pt idx="95291">3</cx:pt>
          <cx:pt idx="95292">4</cx:pt>
          <cx:pt idx="95293">3</cx:pt>
          <cx:pt idx="95294">5</cx:pt>
          <cx:pt idx="95295">3</cx:pt>
          <cx:pt idx="95296">3</cx:pt>
          <cx:pt idx="95297">5</cx:pt>
          <cx:pt idx="95298">3</cx:pt>
          <cx:pt idx="95299">4</cx:pt>
          <cx:pt idx="95300">5</cx:pt>
          <cx:pt idx="95301">3</cx:pt>
          <cx:pt idx="95302">1</cx:pt>
          <cx:pt idx="95303">4</cx:pt>
          <cx:pt idx="95304">4</cx:pt>
          <cx:pt idx="95305">3</cx:pt>
          <cx:pt idx="95306">5</cx:pt>
          <cx:pt idx="95307">4</cx:pt>
          <cx:pt idx="95308">2</cx:pt>
          <cx:pt idx="95309">5</cx:pt>
          <cx:pt idx="95310">4</cx:pt>
          <cx:pt idx="95311">3</cx:pt>
          <cx:pt idx="95312">2</cx:pt>
          <cx:pt idx="95313">4</cx:pt>
          <cx:pt idx="95314">3</cx:pt>
          <cx:pt idx="95315">2</cx:pt>
          <cx:pt idx="95316">5</cx:pt>
          <cx:pt idx="95317">3</cx:pt>
          <cx:pt idx="95318">5</cx:pt>
          <cx:pt idx="95319">3</cx:pt>
          <cx:pt idx="95320">4</cx:pt>
          <cx:pt idx="95321">5</cx:pt>
          <cx:pt idx="95322">5</cx:pt>
          <cx:pt idx="95323">3</cx:pt>
          <cx:pt idx="95324">4</cx:pt>
          <cx:pt idx="95325">4</cx:pt>
          <cx:pt idx="95326">1</cx:pt>
          <cx:pt idx="95327">4</cx:pt>
          <cx:pt idx="95328">4</cx:pt>
          <cx:pt idx="95329">3</cx:pt>
          <cx:pt idx="95330">3</cx:pt>
          <cx:pt idx="95331">5</cx:pt>
          <cx:pt idx="95332">2</cx:pt>
          <cx:pt idx="95333">5</cx:pt>
          <cx:pt idx="95334">4</cx:pt>
          <cx:pt idx="95335">2</cx:pt>
          <cx:pt idx="95336">5</cx:pt>
          <cx:pt idx="95337">1</cx:pt>
          <cx:pt idx="95338">5</cx:pt>
          <cx:pt idx="95339">2</cx:pt>
          <cx:pt idx="95340">5</cx:pt>
          <cx:pt idx="95341">1</cx:pt>
          <cx:pt idx="95342">4</cx:pt>
          <cx:pt idx="95343">3</cx:pt>
          <cx:pt idx="95344">3</cx:pt>
          <cx:pt idx="95345">3</cx:pt>
          <cx:pt idx="95346">4</cx:pt>
          <cx:pt idx="95347">3</cx:pt>
          <cx:pt idx="95348">5</cx:pt>
          <cx:pt idx="95349">5</cx:pt>
          <cx:pt idx="95350">3</cx:pt>
          <cx:pt idx="95351">1</cx:pt>
          <cx:pt idx="95352">2</cx:pt>
          <cx:pt idx="95353">4</cx:pt>
          <cx:pt idx="95354">4</cx:pt>
          <cx:pt idx="95355">1</cx:pt>
          <cx:pt idx="95356">1</cx:pt>
          <cx:pt idx="95357">5</cx:pt>
          <cx:pt idx="95358">4</cx:pt>
          <cx:pt idx="95359">4</cx:pt>
          <cx:pt idx="95360">4</cx:pt>
          <cx:pt idx="95361">4</cx:pt>
          <cx:pt idx="95362">3</cx:pt>
          <cx:pt idx="95363">2</cx:pt>
          <cx:pt idx="95364">4</cx:pt>
          <cx:pt idx="95365">5</cx:pt>
          <cx:pt idx="95366">4</cx:pt>
          <cx:pt idx="95367">5</cx:pt>
          <cx:pt idx="95368">5</cx:pt>
          <cx:pt idx="95369">5</cx:pt>
          <cx:pt idx="95370">1</cx:pt>
          <cx:pt idx="95371">1</cx:pt>
          <cx:pt idx="95372">1</cx:pt>
          <cx:pt idx="95373">2</cx:pt>
          <cx:pt idx="95374">5</cx:pt>
          <cx:pt idx="95375">4</cx:pt>
          <cx:pt idx="95376">4</cx:pt>
          <cx:pt idx="95377">4</cx:pt>
          <cx:pt idx="95378">4</cx:pt>
          <cx:pt idx="95379">2</cx:pt>
          <cx:pt idx="95380">4</cx:pt>
          <cx:pt idx="95381">3</cx:pt>
          <cx:pt idx="95382">5</cx:pt>
          <cx:pt idx="95383">1</cx:pt>
          <cx:pt idx="95384">3</cx:pt>
          <cx:pt idx="95385">1</cx:pt>
          <cx:pt idx="95386">3</cx:pt>
          <cx:pt idx="95387">4</cx:pt>
          <cx:pt idx="95388">3</cx:pt>
          <cx:pt idx="95389">2</cx:pt>
          <cx:pt idx="95390">4</cx:pt>
          <cx:pt idx="95391">1</cx:pt>
          <cx:pt idx="95392">4</cx:pt>
          <cx:pt idx="95393">5</cx:pt>
          <cx:pt idx="95394">2</cx:pt>
          <cx:pt idx="95395">4</cx:pt>
          <cx:pt idx="95396">5</cx:pt>
          <cx:pt idx="95397">4</cx:pt>
          <cx:pt idx="95398">2</cx:pt>
          <cx:pt idx="95399">1</cx:pt>
          <cx:pt idx="95400">5</cx:pt>
          <cx:pt idx="95401">4</cx:pt>
          <cx:pt idx="95402">2</cx:pt>
          <cx:pt idx="95403">3</cx:pt>
          <cx:pt idx="95404">4</cx:pt>
          <cx:pt idx="95405">5</cx:pt>
          <cx:pt idx="95406">3</cx:pt>
          <cx:pt idx="95407">1</cx:pt>
          <cx:pt idx="95408">5</cx:pt>
          <cx:pt idx="95409">4</cx:pt>
          <cx:pt idx="95410">3</cx:pt>
          <cx:pt idx="95411">5</cx:pt>
          <cx:pt idx="95412">2</cx:pt>
          <cx:pt idx="95413">2</cx:pt>
          <cx:pt idx="95414">5</cx:pt>
          <cx:pt idx="95415">5</cx:pt>
          <cx:pt idx="95416">4</cx:pt>
          <cx:pt idx="95417">5</cx:pt>
          <cx:pt idx="95418">5</cx:pt>
          <cx:pt idx="95419">4</cx:pt>
          <cx:pt idx="95420">3</cx:pt>
          <cx:pt idx="95421">4</cx:pt>
          <cx:pt idx="95422">4</cx:pt>
          <cx:pt idx="95423">3</cx:pt>
          <cx:pt idx="95424">3</cx:pt>
          <cx:pt idx="95425">4</cx:pt>
          <cx:pt idx="95426">3</cx:pt>
          <cx:pt idx="95427">4</cx:pt>
          <cx:pt idx="95428">4</cx:pt>
          <cx:pt idx="95429">4</cx:pt>
          <cx:pt idx="95430">5</cx:pt>
          <cx:pt idx="95431">3</cx:pt>
          <cx:pt idx="95432">5</cx:pt>
          <cx:pt idx="95433">4</cx:pt>
          <cx:pt idx="95434">3</cx:pt>
          <cx:pt idx="95435">5</cx:pt>
          <cx:pt idx="95436">1</cx:pt>
          <cx:pt idx="95437">4</cx:pt>
          <cx:pt idx="95438">1</cx:pt>
          <cx:pt idx="95439">2</cx:pt>
          <cx:pt idx="95440">4</cx:pt>
          <cx:pt idx="95441">5</cx:pt>
          <cx:pt idx="95442">4</cx:pt>
          <cx:pt idx="95443">3</cx:pt>
          <cx:pt idx="95444">2</cx:pt>
          <cx:pt idx="95445">4</cx:pt>
          <cx:pt idx="95446">1</cx:pt>
          <cx:pt idx="95447">2</cx:pt>
          <cx:pt idx="95448">2</cx:pt>
          <cx:pt idx="95449">5</cx:pt>
          <cx:pt idx="95450">1</cx:pt>
          <cx:pt idx="95451">2</cx:pt>
          <cx:pt idx="95452">4</cx:pt>
          <cx:pt idx="95453">2</cx:pt>
          <cx:pt idx="95454">5</cx:pt>
          <cx:pt idx="95455">4</cx:pt>
          <cx:pt idx="95456">4</cx:pt>
          <cx:pt idx="95457">3</cx:pt>
          <cx:pt idx="95458">3</cx:pt>
          <cx:pt idx="95459">4</cx:pt>
          <cx:pt idx="95460">5</cx:pt>
          <cx:pt idx="95461">5</cx:pt>
          <cx:pt idx="95462">5</cx:pt>
          <cx:pt idx="95463">5</cx:pt>
          <cx:pt idx="95464">5</cx:pt>
          <cx:pt idx="95465">2</cx:pt>
          <cx:pt idx="95466">1</cx:pt>
          <cx:pt idx="95467">4</cx:pt>
          <cx:pt idx="95468">1</cx:pt>
          <cx:pt idx="95469">4</cx:pt>
          <cx:pt idx="95470">1</cx:pt>
          <cx:pt idx="95471">2</cx:pt>
          <cx:pt idx="95472">5</cx:pt>
          <cx:pt idx="95473">3</cx:pt>
          <cx:pt idx="95474">1</cx:pt>
          <cx:pt idx="95475">4</cx:pt>
          <cx:pt idx="95476">1</cx:pt>
          <cx:pt idx="95477">2</cx:pt>
          <cx:pt idx="95478">4</cx:pt>
          <cx:pt idx="95479">5</cx:pt>
          <cx:pt idx="95480">3</cx:pt>
          <cx:pt idx="95481">3</cx:pt>
          <cx:pt idx="95482">2</cx:pt>
          <cx:pt idx="95483">2</cx:pt>
          <cx:pt idx="95484">2</cx:pt>
          <cx:pt idx="95485">4</cx:pt>
          <cx:pt idx="95486">3</cx:pt>
          <cx:pt idx="95487">4</cx:pt>
          <cx:pt idx="95488">3</cx:pt>
          <cx:pt idx="95489">4</cx:pt>
          <cx:pt idx="95490">5</cx:pt>
          <cx:pt idx="95491">3</cx:pt>
          <cx:pt idx="95492">5</cx:pt>
          <cx:pt idx="95493">4</cx:pt>
          <cx:pt idx="95494">5</cx:pt>
          <cx:pt idx="95495">5</cx:pt>
          <cx:pt idx="95496">2</cx:pt>
          <cx:pt idx="95497">4</cx:pt>
          <cx:pt idx="95498">3</cx:pt>
          <cx:pt idx="95499">4</cx:pt>
          <cx:pt idx="95500">5</cx:pt>
          <cx:pt idx="95501">4</cx:pt>
          <cx:pt idx="95502">5</cx:pt>
          <cx:pt idx="95503">3</cx:pt>
          <cx:pt idx="95504">2</cx:pt>
          <cx:pt idx="95505">1</cx:pt>
          <cx:pt idx="95506">1</cx:pt>
          <cx:pt idx="95507">1</cx:pt>
          <cx:pt idx="95508">4</cx:pt>
          <cx:pt idx="95509">2</cx:pt>
          <cx:pt idx="95510">5</cx:pt>
          <cx:pt idx="95511">2</cx:pt>
          <cx:pt idx="95512">2</cx:pt>
          <cx:pt idx="95513">4</cx:pt>
          <cx:pt idx="95514">5</cx:pt>
          <cx:pt idx="95515">2</cx:pt>
          <cx:pt idx="95516">2</cx:pt>
          <cx:pt idx="95517">5</cx:pt>
          <cx:pt idx="95518">5</cx:pt>
          <cx:pt idx="95519">2</cx:pt>
          <cx:pt idx="95520">4</cx:pt>
          <cx:pt idx="95521">4</cx:pt>
          <cx:pt idx="95522">5</cx:pt>
          <cx:pt idx="95523">3</cx:pt>
          <cx:pt idx="95524">4</cx:pt>
          <cx:pt idx="95525">4</cx:pt>
          <cx:pt idx="95526">2</cx:pt>
          <cx:pt idx="95527">4</cx:pt>
          <cx:pt idx="95528">2</cx:pt>
          <cx:pt idx="95529">3</cx:pt>
          <cx:pt idx="95530">4</cx:pt>
          <cx:pt idx="95531">1</cx:pt>
          <cx:pt idx="95532">4</cx:pt>
          <cx:pt idx="95533">1</cx:pt>
          <cx:pt idx="95534">4</cx:pt>
          <cx:pt idx="95535">1</cx:pt>
          <cx:pt idx="95536">3</cx:pt>
          <cx:pt idx="95537">2</cx:pt>
          <cx:pt idx="95538">1</cx:pt>
          <cx:pt idx="95539">2</cx:pt>
          <cx:pt idx="95540">3</cx:pt>
          <cx:pt idx="95541">5</cx:pt>
          <cx:pt idx="95542">4</cx:pt>
          <cx:pt idx="95543">3</cx:pt>
          <cx:pt idx="95544">4</cx:pt>
          <cx:pt idx="95545">4</cx:pt>
          <cx:pt idx="95546">3</cx:pt>
          <cx:pt idx="95547">5</cx:pt>
          <cx:pt idx="95548">4</cx:pt>
          <cx:pt idx="95549">5</cx:pt>
          <cx:pt idx="95550">5</cx:pt>
          <cx:pt idx="95551">1</cx:pt>
          <cx:pt idx="95552">3</cx:pt>
          <cx:pt idx="95553">4</cx:pt>
          <cx:pt idx="95554">5</cx:pt>
          <cx:pt idx="95555">5</cx:pt>
          <cx:pt idx="95556">1</cx:pt>
          <cx:pt idx="95557">3</cx:pt>
          <cx:pt idx="95558">1</cx:pt>
          <cx:pt idx="95559">2</cx:pt>
          <cx:pt idx="95560">4</cx:pt>
          <cx:pt idx="95561">3</cx:pt>
          <cx:pt idx="95562">2</cx:pt>
          <cx:pt idx="95563">5</cx:pt>
          <cx:pt idx="95564">5</cx:pt>
          <cx:pt idx="95565">4</cx:pt>
          <cx:pt idx="95566">4</cx:pt>
          <cx:pt idx="95567">1</cx:pt>
          <cx:pt idx="95568">2</cx:pt>
          <cx:pt idx="95569">5</cx:pt>
          <cx:pt idx="95570">5</cx:pt>
          <cx:pt idx="95571">2</cx:pt>
          <cx:pt idx="95572">5</cx:pt>
          <cx:pt idx="95573">5</cx:pt>
          <cx:pt idx="95574">1</cx:pt>
          <cx:pt idx="95575">1</cx:pt>
          <cx:pt idx="95576">3</cx:pt>
          <cx:pt idx="95577">5</cx:pt>
          <cx:pt idx="95578">5</cx:pt>
          <cx:pt idx="95579">5</cx:pt>
          <cx:pt idx="95580">1</cx:pt>
          <cx:pt idx="95581">5</cx:pt>
          <cx:pt idx="95582">1</cx:pt>
          <cx:pt idx="95583">5</cx:pt>
          <cx:pt idx="95584">4</cx:pt>
          <cx:pt idx="95585">5</cx:pt>
          <cx:pt idx="95586">4</cx:pt>
          <cx:pt idx="95587">4</cx:pt>
          <cx:pt idx="95588">4</cx:pt>
          <cx:pt idx="95589">4</cx:pt>
          <cx:pt idx="95590">4</cx:pt>
          <cx:pt idx="95591">5</cx:pt>
          <cx:pt idx="95592">1</cx:pt>
          <cx:pt idx="95593">2</cx:pt>
          <cx:pt idx="95594">5</cx:pt>
          <cx:pt idx="95595">4</cx:pt>
          <cx:pt idx="95596">4</cx:pt>
          <cx:pt idx="95597">4</cx:pt>
          <cx:pt idx="95598">5</cx:pt>
          <cx:pt idx="95599">5</cx:pt>
          <cx:pt idx="95600">5</cx:pt>
          <cx:pt idx="95601">3</cx:pt>
          <cx:pt idx="95602">4</cx:pt>
          <cx:pt idx="95603">4</cx:pt>
          <cx:pt idx="95604">5</cx:pt>
          <cx:pt idx="95605">4</cx:pt>
          <cx:pt idx="95606">4</cx:pt>
          <cx:pt idx="95607">3</cx:pt>
          <cx:pt idx="95608">4</cx:pt>
          <cx:pt idx="95609">1</cx:pt>
          <cx:pt idx="95610">5</cx:pt>
          <cx:pt idx="95611">1</cx:pt>
          <cx:pt idx="95612">3</cx:pt>
          <cx:pt idx="95613">5</cx:pt>
          <cx:pt idx="95614">4</cx:pt>
          <cx:pt idx="95615">3</cx:pt>
          <cx:pt idx="95616">5</cx:pt>
          <cx:pt idx="95617">2</cx:pt>
          <cx:pt idx="95618">3</cx:pt>
          <cx:pt idx="95619">1</cx:pt>
          <cx:pt idx="95620">5</cx:pt>
          <cx:pt idx="95621">5</cx:pt>
          <cx:pt idx="95622">5</cx:pt>
          <cx:pt idx="95623">5</cx:pt>
          <cx:pt idx="95624">4</cx:pt>
          <cx:pt idx="95625">5</cx:pt>
          <cx:pt idx="95626">2</cx:pt>
          <cx:pt idx="95627">3</cx:pt>
          <cx:pt idx="95628">3</cx:pt>
          <cx:pt idx="95629">3</cx:pt>
          <cx:pt idx="95630">4</cx:pt>
          <cx:pt idx="95631">4</cx:pt>
          <cx:pt idx="95632">2</cx:pt>
          <cx:pt idx="95633">1</cx:pt>
          <cx:pt idx="95634">4</cx:pt>
          <cx:pt idx="95635">5</cx:pt>
          <cx:pt idx="95636">5</cx:pt>
          <cx:pt idx="95637">2</cx:pt>
          <cx:pt idx="95638">5</cx:pt>
          <cx:pt idx="95639">1</cx:pt>
          <cx:pt idx="95640">3</cx:pt>
          <cx:pt idx="95641">4</cx:pt>
          <cx:pt idx="95642">4</cx:pt>
          <cx:pt idx="95643">3</cx:pt>
          <cx:pt idx="95644">5</cx:pt>
          <cx:pt idx="95645">2</cx:pt>
          <cx:pt idx="95646">1</cx:pt>
          <cx:pt idx="95647">4</cx:pt>
          <cx:pt idx="95648">4</cx:pt>
          <cx:pt idx="95649">4</cx:pt>
          <cx:pt idx="95650">5</cx:pt>
          <cx:pt idx="95651">4</cx:pt>
          <cx:pt idx="95652">5</cx:pt>
          <cx:pt idx="95653">4</cx:pt>
          <cx:pt idx="95654">4</cx:pt>
          <cx:pt idx="95655">3</cx:pt>
          <cx:pt idx="95656">4</cx:pt>
          <cx:pt idx="95657">3</cx:pt>
          <cx:pt idx="95658">5</cx:pt>
          <cx:pt idx="95659">3</cx:pt>
          <cx:pt idx="95660">5</cx:pt>
          <cx:pt idx="95661">5</cx:pt>
          <cx:pt idx="95662">4</cx:pt>
          <cx:pt idx="95663">3</cx:pt>
          <cx:pt idx="95664">5</cx:pt>
          <cx:pt idx="95665">4</cx:pt>
          <cx:pt idx="95666">3</cx:pt>
          <cx:pt idx="95667">4</cx:pt>
          <cx:pt idx="95668">5</cx:pt>
          <cx:pt idx="95669">5</cx:pt>
          <cx:pt idx="95670">5</cx:pt>
          <cx:pt idx="95671">5</cx:pt>
          <cx:pt idx="95672">5</cx:pt>
          <cx:pt idx="95673">3</cx:pt>
          <cx:pt idx="95674">5</cx:pt>
          <cx:pt idx="95675">5</cx:pt>
          <cx:pt idx="95676">5</cx:pt>
          <cx:pt idx="95677">5</cx:pt>
          <cx:pt idx="95678">5</cx:pt>
          <cx:pt idx="95679">4</cx:pt>
          <cx:pt idx="95680">3</cx:pt>
          <cx:pt idx="95681">5</cx:pt>
          <cx:pt idx="95682">5</cx:pt>
          <cx:pt idx="95683">1</cx:pt>
          <cx:pt idx="95684">3</cx:pt>
          <cx:pt idx="95685">2</cx:pt>
          <cx:pt idx="95686">5</cx:pt>
          <cx:pt idx="95687">4</cx:pt>
          <cx:pt idx="95688">4</cx:pt>
          <cx:pt idx="95689">4</cx:pt>
          <cx:pt idx="95690">3</cx:pt>
          <cx:pt idx="95691">3</cx:pt>
          <cx:pt idx="95692">4</cx:pt>
          <cx:pt idx="95693">3</cx:pt>
          <cx:pt idx="95694">5</cx:pt>
          <cx:pt idx="95695">4</cx:pt>
          <cx:pt idx="95696">5</cx:pt>
          <cx:pt idx="95697">1</cx:pt>
          <cx:pt idx="95698">3</cx:pt>
          <cx:pt idx="95699">2</cx:pt>
          <cx:pt idx="95700">5</cx:pt>
          <cx:pt idx="95701">5</cx:pt>
          <cx:pt idx="95702">4</cx:pt>
          <cx:pt idx="95703">4</cx:pt>
          <cx:pt idx="95704">1</cx:pt>
          <cx:pt idx="95705">1</cx:pt>
          <cx:pt idx="95706">4</cx:pt>
          <cx:pt idx="95707">5</cx:pt>
          <cx:pt idx="95708">5</cx:pt>
          <cx:pt idx="95709">3</cx:pt>
          <cx:pt idx="95710">4</cx:pt>
          <cx:pt idx="95711">2</cx:pt>
          <cx:pt idx="95712">2</cx:pt>
          <cx:pt idx="95713">1</cx:pt>
          <cx:pt idx="95714">4</cx:pt>
          <cx:pt idx="95715">4</cx:pt>
          <cx:pt idx="95716">3</cx:pt>
          <cx:pt idx="95717">3</cx:pt>
          <cx:pt idx="95718">4</cx:pt>
          <cx:pt idx="95719">5</cx:pt>
          <cx:pt idx="95720">4</cx:pt>
          <cx:pt idx="95721">5</cx:pt>
          <cx:pt idx="95722">2</cx:pt>
          <cx:pt idx="95723">4</cx:pt>
          <cx:pt idx="95724">3</cx:pt>
          <cx:pt idx="95725">3</cx:pt>
          <cx:pt idx="95726">1</cx:pt>
          <cx:pt idx="95727">4</cx:pt>
          <cx:pt idx="95728">1</cx:pt>
          <cx:pt idx="95729">4</cx:pt>
          <cx:pt idx="95730">3</cx:pt>
          <cx:pt idx="95731">5</cx:pt>
          <cx:pt idx="95732">4</cx:pt>
          <cx:pt idx="95733">5</cx:pt>
          <cx:pt idx="95734">4</cx:pt>
          <cx:pt idx="95735">1</cx:pt>
          <cx:pt idx="95736">5</cx:pt>
          <cx:pt idx="95737">4</cx:pt>
          <cx:pt idx="95738">5</cx:pt>
          <cx:pt idx="95739">3</cx:pt>
          <cx:pt idx="95740">4</cx:pt>
          <cx:pt idx="95741">4</cx:pt>
          <cx:pt idx="95742">3</cx:pt>
          <cx:pt idx="95743">5</cx:pt>
          <cx:pt idx="95744">5</cx:pt>
          <cx:pt idx="95745">1</cx:pt>
          <cx:pt idx="95746">4</cx:pt>
          <cx:pt idx="95747">3</cx:pt>
          <cx:pt idx="95748">1</cx:pt>
          <cx:pt idx="95749">5</cx:pt>
          <cx:pt idx="95750">3</cx:pt>
          <cx:pt idx="95751">2</cx:pt>
          <cx:pt idx="95752">5</cx:pt>
          <cx:pt idx="95753">2</cx:pt>
          <cx:pt idx="95754">4</cx:pt>
          <cx:pt idx="95755">1</cx:pt>
          <cx:pt idx="95756">3</cx:pt>
          <cx:pt idx="95757">4</cx:pt>
          <cx:pt idx="95758">3</cx:pt>
          <cx:pt idx="95759">1</cx:pt>
          <cx:pt idx="95760">2</cx:pt>
          <cx:pt idx="95761">4</cx:pt>
          <cx:pt idx="95762">4</cx:pt>
          <cx:pt idx="95763">1</cx:pt>
          <cx:pt idx="95764">5</cx:pt>
          <cx:pt idx="95765">1</cx:pt>
          <cx:pt idx="95766">5</cx:pt>
          <cx:pt idx="95767">5</cx:pt>
          <cx:pt idx="95768">3</cx:pt>
          <cx:pt idx="95769">3</cx:pt>
          <cx:pt idx="95770">2</cx:pt>
          <cx:pt idx="95771">4</cx:pt>
          <cx:pt idx="95772">1</cx:pt>
          <cx:pt idx="95773">3</cx:pt>
          <cx:pt idx="95774">3</cx:pt>
          <cx:pt idx="95775">3</cx:pt>
          <cx:pt idx="95776">5</cx:pt>
          <cx:pt idx="95777">4</cx:pt>
          <cx:pt idx="95778">4</cx:pt>
          <cx:pt idx="95779">2</cx:pt>
          <cx:pt idx="95780">5</cx:pt>
          <cx:pt idx="95781">5</cx:pt>
          <cx:pt idx="95782">3</cx:pt>
          <cx:pt idx="95783">4</cx:pt>
          <cx:pt idx="95784">5</cx:pt>
          <cx:pt idx="95785">2</cx:pt>
          <cx:pt idx="95786">3</cx:pt>
          <cx:pt idx="95787">4</cx:pt>
          <cx:pt idx="95788">4</cx:pt>
          <cx:pt idx="95789">1</cx:pt>
          <cx:pt idx="95790">5</cx:pt>
          <cx:pt idx="95791">1</cx:pt>
          <cx:pt idx="95792">1</cx:pt>
          <cx:pt idx="95793">4</cx:pt>
          <cx:pt idx="95794">5</cx:pt>
          <cx:pt idx="95795">4</cx:pt>
          <cx:pt idx="95796">3</cx:pt>
          <cx:pt idx="95797">5</cx:pt>
          <cx:pt idx="95798">3</cx:pt>
          <cx:pt idx="95799">4</cx:pt>
          <cx:pt idx="95800">5</cx:pt>
          <cx:pt idx="95801">1</cx:pt>
          <cx:pt idx="95802">4</cx:pt>
          <cx:pt idx="95803">2</cx:pt>
          <cx:pt idx="95804">2</cx:pt>
          <cx:pt idx="95805">5</cx:pt>
          <cx:pt idx="95806">4</cx:pt>
          <cx:pt idx="95807">3</cx:pt>
          <cx:pt idx="95808">1</cx:pt>
          <cx:pt idx="95809">1</cx:pt>
          <cx:pt idx="95810">1</cx:pt>
          <cx:pt idx="95811">4</cx:pt>
          <cx:pt idx="95812">4</cx:pt>
          <cx:pt idx="95813">2</cx:pt>
          <cx:pt idx="95814">4</cx:pt>
          <cx:pt idx="95815">1</cx:pt>
          <cx:pt idx="95816">3</cx:pt>
          <cx:pt idx="95817">5</cx:pt>
          <cx:pt idx="95818">4</cx:pt>
          <cx:pt idx="95819">5</cx:pt>
          <cx:pt idx="95820">4</cx:pt>
          <cx:pt idx="95821">4</cx:pt>
          <cx:pt idx="95822">1</cx:pt>
          <cx:pt idx="95823">4</cx:pt>
          <cx:pt idx="95824">5</cx:pt>
          <cx:pt idx="95825">2</cx:pt>
          <cx:pt idx="95826">5</cx:pt>
          <cx:pt idx="95827">3</cx:pt>
          <cx:pt idx="95828">4</cx:pt>
          <cx:pt idx="95829">5</cx:pt>
          <cx:pt idx="95830">4</cx:pt>
          <cx:pt idx="95831">4</cx:pt>
          <cx:pt idx="95832">3</cx:pt>
          <cx:pt idx="95833">3</cx:pt>
          <cx:pt idx="95834">3</cx:pt>
          <cx:pt idx="95835">2</cx:pt>
          <cx:pt idx="95836">1</cx:pt>
          <cx:pt idx="95837">2</cx:pt>
          <cx:pt idx="95838">5</cx:pt>
          <cx:pt idx="95839">5</cx:pt>
          <cx:pt idx="95840">2</cx:pt>
          <cx:pt idx="95841">4</cx:pt>
          <cx:pt idx="95842">4</cx:pt>
          <cx:pt idx="95843">2</cx:pt>
          <cx:pt idx="95844">5</cx:pt>
          <cx:pt idx="95845">4</cx:pt>
          <cx:pt idx="95846">4</cx:pt>
          <cx:pt idx="95847">1</cx:pt>
          <cx:pt idx="95848">2</cx:pt>
          <cx:pt idx="95849">1</cx:pt>
          <cx:pt idx="95850">4</cx:pt>
          <cx:pt idx="95851">2</cx:pt>
          <cx:pt idx="95852">4</cx:pt>
          <cx:pt idx="95853">1</cx:pt>
          <cx:pt idx="95854">2</cx:pt>
          <cx:pt idx="95855">4</cx:pt>
          <cx:pt idx="95856">1</cx:pt>
          <cx:pt idx="95857">5</cx:pt>
          <cx:pt idx="95858">5</cx:pt>
          <cx:pt idx="95859">5</cx:pt>
          <cx:pt idx="95860">4</cx:pt>
          <cx:pt idx="95861">5</cx:pt>
          <cx:pt idx="95862">3</cx:pt>
          <cx:pt idx="95863">2</cx:pt>
          <cx:pt idx="95864">5</cx:pt>
          <cx:pt idx="95865">4</cx:pt>
          <cx:pt idx="95866">5</cx:pt>
          <cx:pt idx="95867">1</cx:pt>
          <cx:pt idx="95868">4</cx:pt>
          <cx:pt idx="95869">1</cx:pt>
          <cx:pt idx="95870">4</cx:pt>
          <cx:pt idx="95871">4</cx:pt>
          <cx:pt idx="95872">4</cx:pt>
          <cx:pt idx="95873">5</cx:pt>
          <cx:pt idx="95874">3</cx:pt>
          <cx:pt idx="95875">2</cx:pt>
          <cx:pt idx="95876">2</cx:pt>
          <cx:pt idx="95877">4</cx:pt>
          <cx:pt idx="95878">4</cx:pt>
          <cx:pt idx="95879">4</cx:pt>
          <cx:pt idx="95880">5</cx:pt>
          <cx:pt idx="95881">4</cx:pt>
          <cx:pt idx="95882">1</cx:pt>
          <cx:pt idx="95883">1</cx:pt>
          <cx:pt idx="95884">4</cx:pt>
          <cx:pt idx="95885">5</cx:pt>
          <cx:pt idx="95886">4</cx:pt>
          <cx:pt idx="95887">4</cx:pt>
          <cx:pt idx="95888">2</cx:pt>
          <cx:pt idx="95889">4</cx:pt>
          <cx:pt idx="95890">5</cx:pt>
          <cx:pt idx="95891">5</cx:pt>
          <cx:pt idx="95892">5</cx:pt>
          <cx:pt idx="95893">2</cx:pt>
          <cx:pt idx="95894">5</cx:pt>
          <cx:pt idx="95895">4</cx:pt>
          <cx:pt idx="95896">2</cx:pt>
          <cx:pt idx="95897">3</cx:pt>
          <cx:pt idx="95898">5</cx:pt>
          <cx:pt idx="95899">2</cx:pt>
          <cx:pt idx="95900">4</cx:pt>
          <cx:pt idx="95901">3</cx:pt>
          <cx:pt idx="95902">2</cx:pt>
          <cx:pt idx="95903">5</cx:pt>
          <cx:pt idx="95904">4</cx:pt>
          <cx:pt idx="95905">4</cx:pt>
          <cx:pt idx="95906">1</cx:pt>
          <cx:pt idx="95907">3</cx:pt>
          <cx:pt idx="95908">3</cx:pt>
          <cx:pt idx="95909">4</cx:pt>
          <cx:pt idx="95910">2</cx:pt>
          <cx:pt idx="95911">5</cx:pt>
          <cx:pt idx="95912">4</cx:pt>
          <cx:pt idx="95913">3</cx:pt>
          <cx:pt idx="95914">5</cx:pt>
          <cx:pt idx="95915">5</cx:pt>
          <cx:pt idx="95916">5</cx:pt>
          <cx:pt idx="95917">4</cx:pt>
          <cx:pt idx="95918">4</cx:pt>
          <cx:pt idx="95919">4</cx:pt>
          <cx:pt idx="95920">4</cx:pt>
          <cx:pt idx="95921">4</cx:pt>
          <cx:pt idx="95922">1</cx:pt>
          <cx:pt idx="95923">1</cx:pt>
          <cx:pt idx="95924">5</cx:pt>
          <cx:pt idx="95925">5</cx:pt>
          <cx:pt idx="95926">1</cx:pt>
          <cx:pt idx="95927">3</cx:pt>
          <cx:pt idx="95928">2</cx:pt>
          <cx:pt idx="95929">2</cx:pt>
          <cx:pt idx="95930">5</cx:pt>
          <cx:pt idx="95931">4</cx:pt>
          <cx:pt idx="95932">5</cx:pt>
          <cx:pt idx="95933">4</cx:pt>
          <cx:pt idx="95934">3</cx:pt>
          <cx:pt idx="95935">4</cx:pt>
          <cx:pt idx="95936">5</cx:pt>
          <cx:pt idx="95937">4</cx:pt>
          <cx:pt idx="95938">4</cx:pt>
          <cx:pt idx="95939">5</cx:pt>
          <cx:pt idx="95940">4</cx:pt>
          <cx:pt idx="95941">1</cx:pt>
          <cx:pt idx="95942">5</cx:pt>
          <cx:pt idx="95943">4</cx:pt>
          <cx:pt idx="95944">5</cx:pt>
          <cx:pt idx="95945">4</cx:pt>
          <cx:pt idx="95946">3</cx:pt>
          <cx:pt idx="95947">5</cx:pt>
          <cx:pt idx="95948">2</cx:pt>
          <cx:pt idx="95949">4</cx:pt>
          <cx:pt idx="95950">2</cx:pt>
          <cx:pt idx="95951">5</cx:pt>
          <cx:pt idx="95952">5</cx:pt>
          <cx:pt idx="95953">1</cx:pt>
          <cx:pt idx="95954">4</cx:pt>
          <cx:pt idx="95955">5</cx:pt>
          <cx:pt idx="95956">5</cx:pt>
          <cx:pt idx="95957">1</cx:pt>
          <cx:pt idx="95958">4</cx:pt>
          <cx:pt idx="95959">1</cx:pt>
          <cx:pt idx="95960">1</cx:pt>
          <cx:pt idx="95961">4</cx:pt>
          <cx:pt idx="95962">4</cx:pt>
          <cx:pt idx="95963">5</cx:pt>
          <cx:pt idx="95964">4</cx:pt>
          <cx:pt idx="95965">3</cx:pt>
          <cx:pt idx="95966">2</cx:pt>
          <cx:pt idx="95967">2</cx:pt>
          <cx:pt idx="95968">2</cx:pt>
          <cx:pt idx="95969">5</cx:pt>
          <cx:pt idx="95970">4</cx:pt>
          <cx:pt idx="95971">2</cx:pt>
          <cx:pt idx="95972">4</cx:pt>
          <cx:pt idx="95973">5</cx:pt>
          <cx:pt idx="95974">1</cx:pt>
          <cx:pt idx="95975">2</cx:pt>
          <cx:pt idx="95976">3</cx:pt>
          <cx:pt idx="95977">4</cx:pt>
          <cx:pt idx="95978">3</cx:pt>
          <cx:pt idx="95979">5</cx:pt>
          <cx:pt idx="95980">2</cx:pt>
          <cx:pt idx="95981">4</cx:pt>
          <cx:pt idx="95982">4</cx:pt>
          <cx:pt idx="95983">5</cx:pt>
          <cx:pt idx="95984">3</cx:pt>
          <cx:pt idx="95985">2</cx:pt>
          <cx:pt idx="95986">5</cx:pt>
          <cx:pt idx="95987">4</cx:pt>
          <cx:pt idx="95988">4</cx:pt>
          <cx:pt idx="95989">2</cx:pt>
          <cx:pt idx="95990">2</cx:pt>
          <cx:pt idx="95991">3</cx:pt>
          <cx:pt idx="95992">3</cx:pt>
          <cx:pt idx="95993">3</cx:pt>
          <cx:pt idx="95994">5</cx:pt>
          <cx:pt idx="95995">5</cx:pt>
          <cx:pt idx="95996">4</cx:pt>
          <cx:pt idx="95997">5</cx:pt>
          <cx:pt idx="95998">4</cx:pt>
          <cx:pt idx="95999">2</cx:pt>
          <cx:pt idx="96000">3</cx:pt>
          <cx:pt idx="96001">3</cx:pt>
          <cx:pt idx="96002">3</cx:pt>
          <cx:pt idx="96003">4</cx:pt>
          <cx:pt idx="96004">4</cx:pt>
          <cx:pt idx="96005">5</cx:pt>
          <cx:pt idx="96006">4</cx:pt>
          <cx:pt idx="96007">5</cx:pt>
          <cx:pt idx="96008">4</cx:pt>
          <cx:pt idx="96009">2</cx:pt>
          <cx:pt idx="96010">3</cx:pt>
          <cx:pt idx="96011">4</cx:pt>
          <cx:pt idx="96012">3</cx:pt>
          <cx:pt idx="96013">2</cx:pt>
          <cx:pt idx="96014">3</cx:pt>
          <cx:pt idx="96015">4</cx:pt>
          <cx:pt idx="96016">4</cx:pt>
          <cx:pt idx="96017">2</cx:pt>
          <cx:pt idx="96018">3</cx:pt>
          <cx:pt idx="96019">3</cx:pt>
          <cx:pt idx="96020">3</cx:pt>
          <cx:pt idx="96021">1</cx:pt>
          <cx:pt idx="96022">4</cx:pt>
          <cx:pt idx="96023">2</cx:pt>
          <cx:pt idx="96024">5</cx:pt>
          <cx:pt idx="96025">3</cx:pt>
          <cx:pt idx="96026">4</cx:pt>
          <cx:pt idx="96027">4</cx:pt>
          <cx:pt idx="96028">2</cx:pt>
          <cx:pt idx="96029">4</cx:pt>
          <cx:pt idx="96030">5</cx:pt>
          <cx:pt idx="96031">1</cx:pt>
          <cx:pt idx="96032">4</cx:pt>
          <cx:pt idx="96033">4</cx:pt>
          <cx:pt idx="96034">4</cx:pt>
          <cx:pt idx="96035">5</cx:pt>
          <cx:pt idx="96036">5</cx:pt>
          <cx:pt idx="96037">4</cx:pt>
          <cx:pt idx="96038">3</cx:pt>
          <cx:pt idx="96039">3</cx:pt>
          <cx:pt idx="96040">5</cx:pt>
          <cx:pt idx="96041">3</cx:pt>
          <cx:pt idx="96042">3</cx:pt>
          <cx:pt idx="96043">5</cx:pt>
          <cx:pt idx="96044">4</cx:pt>
          <cx:pt idx="96045">4</cx:pt>
          <cx:pt idx="96046">1</cx:pt>
          <cx:pt idx="96047">1</cx:pt>
          <cx:pt idx="96048">4</cx:pt>
          <cx:pt idx="96049">5</cx:pt>
          <cx:pt idx="96050">4</cx:pt>
          <cx:pt idx="96051">4</cx:pt>
          <cx:pt idx="96052">5</cx:pt>
          <cx:pt idx="96053">4</cx:pt>
          <cx:pt idx="96054">4</cx:pt>
          <cx:pt idx="96055">3</cx:pt>
          <cx:pt idx="96056">3</cx:pt>
          <cx:pt idx="96057">3</cx:pt>
          <cx:pt idx="96058">2</cx:pt>
          <cx:pt idx="96059">5</cx:pt>
          <cx:pt idx="96060">4</cx:pt>
          <cx:pt idx="96061">4</cx:pt>
          <cx:pt idx="96062">2</cx:pt>
          <cx:pt idx="96063">2</cx:pt>
          <cx:pt idx="96064">4</cx:pt>
          <cx:pt idx="96065">4</cx:pt>
          <cx:pt idx="96066">3</cx:pt>
          <cx:pt idx="96067">5</cx:pt>
          <cx:pt idx="96068">2</cx:pt>
          <cx:pt idx="96069">3</cx:pt>
          <cx:pt idx="96070">4</cx:pt>
          <cx:pt idx="96071">3</cx:pt>
          <cx:pt idx="96072">2</cx:pt>
          <cx:pt idx="96073">5</cx:pt>
          <cx:pt idx="96074">2</cx:pt>
          <cx:pt idx="96075">2</cx:pt>
          <cx:pt idx="96076">4</cx:pt>
          <cx:pt idx="96077">3</cx:pt>
          <cx:pt idx="96078">3</cx:pt>
          <cx:pt idx="96079">5</cx:pt>
          <cx:pt idx="96080">2</cx:pt>
          <cx:pt idx="96081">5</cx:pt>
          <cx:pt idx="96082">4</cx:pt>
          <cx:pt idx="96083">4</cx:pt>
          <cx:pt idx="96084">1</cx:pt>
          <cx:pt idx="96085">3</cx:pt>
          <cx:pt idx="96086">2</cx:pt>
          <cx:pt idx="96087">1</cx:pt>
          <cx:pt idx="96088">3</cx:pt>
          <cx:pt idx="96089">5</cx:pt>
          <cx:pt idx="96090">5</cx:pt>
          <cx:pt idx="96091">4</cx:pt>
          <cx:pt idx="96092">3</cx:pt>
          <cx:pt idx="96093">4</cx:pt>
          <cx:pt idx="96094">1</cx:pt>
          <cx:pt idx="96095">3</cx:pt>
          <cx:pt idx="96096">2</cx:pt>
          <cx:pt idx="96097">3</cx:pt>
          <cx:pt idx="96098">4</cx:pt>
          <cx:pt idx="96099">4</cx:pt>
          <cx:pt idx="96100">1</cx:pt>
          <cx:pt idx="96101">1</cx:pt>
          <cx:pt idx="96102">3</cx:pt>
          <cx:pt idx="96103">1</cx:pt>
          <cx:pt idx="96104">2</cx:pt>
          <cx:pt idx="96105">5</cx:pt>
          <cx:pt idx="96106">3</cx:pt>
          <cx:pt idx="96107">3</cx:pt>
          <cx:pt idx="96108">5</cx:pt>
          <cx:pt idx="96109">3</cx:pt>
          <cx:pt idx="96110">5</cx:pt>
          <cx:pt idx="96111">1</cx:pt>
          <cx:pt idx="96112">4</cx:pt>
          <cx:pt idx="96113">5</cx:pt>
          <cx:pt idx="96114">2</cx:pt>
          <cx:pt idx="96115">3</cx:pt>
          <cx:pt idx="96116">4</cx:pt>
          <cx:pt idx="96117">5</cx:pt>
          <cx:pt idx="96118">1</cx:pt>
          <cx:pt idx="96119">5</cx:pt>
          <cx:pt idx="96120">4</cx:pt>
          <cx:pt idx="96121">3</cx:pt>
          <cx:pt idx="96122">4</cx:pt>
          <cx:pt idx="96123">2</cx:pt>
          <cx:pt idx="96124">4</cx:pt>
          <cx:pt idx="96125">4</cx:pt>
          <cx:pt idx="96126">5</cx:pt>
          <cx:pt idx="96127">4</cx:pt>
          <cx:pt idx="96128">4</cx:pt>
          <cx:pt idx="96129">5</cx:pt>
          <cx:pt idx="96130">3</cx:pt>
          <cx:pt idx="96131">2</cx:pt>
          <cx:pt idx="96132">4</cx:pt>
          <cx:pt idx="96133">2</cx:pt>
          <cx:pt idx="96134">3</cx:pt>
          <cx:pt idx="96135">5</cx:pt>
          <cx:pt idx="96136">4</cx:pt>
          <cx:pt idx="96137">3</cx:pt>
          <cx:pt idx="96138">2</cx:pt>
          <cx:pt idx="96139">4</cx:pt>
          <cx:pt idx="96140">1</cx:pt>
          <cx:pt idx="96141">5</cx:pt>
          <cx:pt idx="96142">2</cx:pt>
          <cx:pt idx="96143">5</cx:pt>
          <cx:pt idx="96144">3</cx:pt>
          <cx:pt idx="96145">3</cx:pt>
          <cx:pt idx="96146">5</cx:pt>
          <cx:pt idx="96147">5</cx:pt>
          <cx:pt idx="96148">4</cx:pt>
          <cx:pt idx="96149">2</cx:pt>
          <cx:pt idx="96150">4</cx:pt>
          <cx:pt idx="96151">3</cx:pt>
          <cx:pt idx="96152">3</cx:pt>
          <cx:pt idx="96153">3</cx:pt>
          <cx:pt idx="96154">5</cx:pt>
          <cx:pt idx="96155">3</cx:pt>
          <cx:pt idx="96156">1</cx:pt>
          <cx:pt idx="96157">2</cx:pt>
          <cx:pt idx="96158">2</cx:pt>
          <cx:pt idx="96159">1</cx:pt>
          <cx:pt idx="96160">5</cx:pt>
          <cx:pt idx="96161">2</cx:pt>
          <cx:pt idx="96162">2</cx:pt>
          <cx:pt idx="96163">4</cx:pt>
          <cx:pt idx="96164">4</cx:pt>
          <cx:pt idx="96165">3</cx:pt>
          <cx:pt idx="96166">2</cx:pt>
          <cx:pt idx="96167">2</cx:pt>
          <cx:pt idx="96168">4</cx:pt>
          <cx:pt idx="96169">3</cx:pt>
          <cx:pt idx="96170">3</cx:pt>
          <cx:pt idx="96171">4</cx:pt>
          <cx:pt idx="96172">1</cx:pt>
          <cx:pt idx="96173">2</cx:pt>
          <cx:pt idx="96174">5</cx:pt>
          <cx:pt idx="96175">4</cx:pt>
          <cx:pt idx="96176">1</cx:pt>
          <cx:pt idx="96177">5</cx:pt>
          <cx:pt idx="96178">1</cx:pt>
          <cx:pt idx="96179">4</cx:pt>
          <cx:pt idx="96180">3</cx:pt>
          <cx:pt idx="96181">4</cx:pt>
          <cx:pt idx="96182">4</cx:pt>
          <cx:pt idx="96183">4</cx:pt>
          <cx:pt idx="96184">4</cx:pt>
          <cx:pt idx="96185">5</cx:pt>
          <cx:pt idx="96186">5</cx:pt>
          <cx:pt idx="96187">4</cx:pt>
          <cx:pt idx="96188">3</cx:pt>
          <cx:pt idx="96189">3</cx:pt>
          <cx:pt idx="96190">2</cx:pt>
          <cx:pt idx="96191">1</cx:pt>
          <cx:pt idx="96192">4</cx:pt>
          <cx:pt idx="96193">4</cx:pt>
          <cx:pt idx="96194">4</cx:pt>
          <cx:pt idx="96195">4</cx:pt>
          <cx:pt idx="96196">4</cx:pt>
          <cx:pt idx="96197">1</cx:pt>
          <cx:pt idx="96198">5</cx:pt>
          <cx:pt idx="96199">1</cx:pt>
          <cx:pt idx="96200">4</cx:pt>
          <cx:pt idx="96201">3</cx:pt>
          <cx:pt idx="96202">1</cx:pt>
          <cx:pt idx="96203">2</cx:pt>
          <cx:pt idx="96204">4</cx:pt>
          <cx:pt idx="96205">4</cx:pt>
          <cx:pt idx="96206">4</cx:pt>
          <cx:pt idx="96207">3</cx:pt>
          <cx:pt idx="96208">3</cx:pt>
          <cx:pt idx="96209">5</cx:pt>
          <cx:pt idx="96210">4</cx:pt>
          <cx:pt idx="96211">1</cx:pt>
          <cx:pt idx="96212">3</cx:pt>
          <cx:pt idx="96213">4</cx:pt>
          <cx:pt idx="96214">2</cx:pt>
          <cx:pt idx="96215">4</cx:pt>
          <cx:pt idx="96216">5</cx:pt>
          <cx:pt idx="96217">1</cx:pt>
          <cx:pt idx="96218">4</cx:pt>
          <cx:pt idx="96219">4</cx:pt>
          <cx:pt idx="96220">3</cx:pt>
          <cx:pt idx="96221">5</cx:pt>
          <cx:pt idx="96222">5</cx:pt>
          <cx:pt idx="96223">4</cx:pt>
          <cx:pt idx="96224">2</cx:pt>
          <cx:pt idx="96225">4</cx:pt>
          <cx:pt idx="96226">1</cx:pt>
          <cx:pt idx="96227">2</cx:pt>
          <cx:pt idx="96228">2</cx:pt>
          <cx:pt idx="96229">2</cx:pt>
          <cx:pt idx="96230">4</cx:pt>
          <cx:pt idx="96231">3</cx:pt>
          <cx:pt idx="96232">1</cx:pt>
          <cx:pt idx="96233">3</cx:pt>
          <cx:pt idx="96234">3</cx:pt>
          <cx:pt idx="96235">1</cx:pt>
          <cx:pt idx="96236">1</cx:pt>
          <cx:pt idx="96237">4</cx:pt>
          <cx:pt idx="96238">1</cx:pt>
          <cx:pt idx="96239">1</cx:pt>
          <cx:pt idx="96240">3</cx:pt>
          <cx:pt idx="96241">5</cx:pt>
          <cx:pt idx="96242">4</cx:pt>
          <cx:pt idx="96243">3</cx:pt>
          <cx:pt idx="96244">1</cx:pt>
          <cx:pt idx="96245">5</cx:pt>
          <cx:pt idx="96246">5</cx:pt>
          <cx:pt idx="96247">5</cx:pt>
          <cx:pt idx="96248">5</cx:pt>
          <cx:pt idx="96249">1</cx:pt>
          <cx:pt idx="96250">1</cx:pt>
          <cx:pt idx="96251">5</cx:pt>
          <cx:pt idx="96252">2</cx:pt>
          <cx:pt idx="96253">2</cx:pt>
          <cx:pt idx="96254">5</cx:pt>
          <cx:pt idx="96255">4</cx:pt>
          <cx:pt idx="96256">4</cx:pt>
          <cx:pt idx="96257">4</cx:pt>
          <cx:pt idx="96258">3</cx:pt>
          <cx:pt idx="96259">2</cx:pt>
          <cx:pt idx="96260">4</cx:pt>
          <cx:pt idx="96261">3</cx:pt>
          <cx:pt idx="96262">2</cx:pt>
          <cx:pt idx="96263">5</cx:pt>
          <cx:pt idx="96264">3</cx:pt>
          <cx:pt idx="96265">5</cx:pt>
          <cx:pt idx="96266">5</cx:pt>
          <cx:pt idx="96267">5</cx:pt>
          <cx:pt idx="96268">2</cx:pt>
          <cx:pt idx="96269">4</cx:pt>
          <cx:pt idx="96270">4</cx:pt>
          <cx:pt idx="96271">5</cx:pt>
          <cx:pt idx="96272">1</cx:pt>
          <cx:pt idx="96273">3</cx:pt>
          <cx:pt idx="96274">5</cx:pt>
          <cx:pt idx="96275">5</cx:pt>
          <cx:pt idx="96276">4</cx:pt>
          <cx:pt idx="96277">4</cx:pt>
          <cx:pt idx="96278">3</cx:pt>
          <cx:pt idx="96279">3</cx:pt>
          <cx:pt idx="96280">5</cx:pt>
          <cx:pt idx="96281">5</cx:pt>
          <cx:pt idx="96282">4</cx:pt>
          <cx:pt idx="96283">4</cx:pt>
          <cx:pt idx="96284">4</cx:pt>
          <cx:pt idx="96285">5</cx:pt>
          <cx:pt idx="96286">3</cx:pt>
          <cx:pt idx="96287">5</cx:pt>
          <cx:pt idx="96288">3</cx:pt>
          <cx:pt idx="96289">3</cx:pt>
          <cx:pt idx="96290">2</cx:pt>
          <cx:pt idx="96291">3</cx:pt>
          <cx:pt idx="96292">5</cx:pt>
          <cx:pt idx="96293">2</cx:pt>
          <cx:pt idx="96294">3</cx:pt>
          <cx:pt idx="96295">2</cx:pt>
          <cx:pt idx="96296">3</cx:pt>
          <cx:pt idx="96297">4</cx:pt>
          <cx:pt idx="96298">3</cx:pt>
          <cx:pt idx="96299">3</cx:pt>
          <cx:pt idx="96300">5</cx:pt>
          <cx:pt idx="96301">2</cx:pt>
          <cx:pt idx="96302">4</cx:pt>
          <cx:pt idx="96303">2</cx:pt>
          <cx:pt idx="96304">5</cx:pt>
          <cx:pt idx="96305">1</cx:pt>
          <cx:pt idx="96306">4</cx:pt>
          <cx:pt idx="96307">4</cx:pt>
          <cx:pt idx="96308">4</cx:pt>
          <cx:pt idx="96309">3</cx:pt>
          <cx:pt idx="96310">5</cx:pt>
          <cx:pt idx="96311">1</cx:pt>
          <cx:pt idx="96312">1</cx:pt>
          <cx:pt idx="96313">5</cx:pt>
          <cx:pt idx="96314">4</cx:pt>
          <cx:pt idx="96315">5</cx:pt>
          <cx:pt idx="96316">1</cx:pt>
          <cx:pt idx="96317">1</cx:pt>
          <cx:pt idx="96318">2</cx:pt>
          <cx:pt idx="96319">2</cx:pt>
          <cx:pt idx="96320">4</cx:pt>
          <cx:pt idx="96321">3</cx:pt>
          <cx:pt idx="96322">1</cx:pt>
          <cx:pt idx="96323">2</cx:pt>
          <cx:pt idx="96324">3</cx:pt>
          <cx:pt idx="96325">5</cx:pt>
          <cx:pt idx="96326">4</cx:pt>
          <cx:pt idx="96327">5</cx:pt>
          <cx:pt idx="96328">4</cx:pt>
          <cx:pt idx="96329">5</cx:pt>
          <cx:pt idx="96330">5</cx:pt>
          <cx:pt idx="96331">3</cx:pt>
          <cx:pt idx="96332">4</cx:pt>
          <cx:pt idx="96333">4</cx:pt>
          <cx:pt idx="96334">2</cx:pt>
          <cx:pt idx="96335">4</cx:pt>
          <cx:pt idx="96336">4</cx:pt>
          <cx:pt idx="96337">4</cx:pt>
          <cx:pt idx="96338">3</cx:pt>
          <cx:pt idx="96339">4</cx:pt>
          <cx:pt idx="96340">4</cx:pt>
          <cx:pt idx="96341">4</cx:pt>
          <cx:pt idx="96342">4</cx:pt>
          <cx:pt idx="96343">2</cx:pt>
          <cx:pt idx="96344">4</cx:pt>
          <cx:pt idx="96345">2</cx:pt>
          <cx:pt idx="96346">4</cx:pt>
          <cx:pt idx="96347">3</cx:pt>
          <cx:pt idx="96348">5</cx:pt>
          <cx:pt idx="96349">3</cx:pt>
          <cx:pt idx="96350">5</cx:pt>
          <cx:pt idx="96351">1</cx:pt>
          <cx:pt idx="96352">4</cx:pt>
          <cx:pt idx="96353">3</cx:pt>
          <cx:pt idx="96354">3</cx:pt>
          <cx:pt idx="96355">5</cx:pt>
          <cx:pt idx="96356">5</cx:pt>
          <cx:pt idx="96357">2</cx:pt>
          <cx:pt idx="96358">5</cx:pt>
          <cx:pt idx="96359">2</cx:pt>
          <cx:pt idx="96360">3</cx:pt>
          <cx:pt idx="96361">2</cx:pt>
          <cx:pt idx="96362">4</cx:pt>
          <cx:pt idx="96363">5</cx:pt>
          <cx:pt idx="96364">5</cx:pt>
          <cx:pt idx="96365">3</cx:pt>
          <cx:pt idx="96366">2</cx:pt>
          <cx:pt idx="96367">3</cx:pt>
          <cx:pt idx="96368">5</cx:pt>
          <cx:pt idx="96369">3</cx:pt>
          <cx:pt idx="96370">4</cx:pt>
          <cx:pt idx="96371">3</cx:pt>
          <cx:pt idx="96372">1</cx:pt>
          <cx:pt idx="96373">4</cx:pt>
          <cx:pt idx="96374">5</cx:pt>
          <cx:pt idx="96375">2</cx:pt>
          <cx:pt idx="96376">5</cx:pt>
          <cx:pt idx="96377">5</cx:pt>
          <cx:pt idx="96378">4</cx:pt>
          <cx:pt idx="96379">5</cx:pt>
          <cx:pt idx="96380">3</cx:pt>
          <cx:pt idx="96381">5</cx:pt>
          <cx:pt idx="96382">4</cx:pt>
          <cx:pt idx="96383">3</cx:pt>
          <cx:pt idx="96384">5</cx:pt>
          <cx:pt idx="96385">5</cx:pt>
          <cx:pt idx="96386">5</cx:pt>
          <cx:pt idx="96387">4</cx:pt>
          <cx:pt idx="96388">4</cx:pt>
          <cx:pt idx="96389">5</cx:pt>
          <cx:pt idx="96390">3</cx:pt>
          <cx:pt idx="96391">4</cx:pt>
          <cx:pt idx="96392">2</cx:pt>
          <cx:pt idx="96393">2</cx:pt>
          <cx:pt idx="96394">1</cx:pt>
          <cx:pt idx="96395">3</cx:pt>
          <cx:pt idx="96396">2</cx:pt>
          <cx:pt idx="96397">3</cx:pt>
          <cx:pt idx="96398">4</cx:pt>
          <cx:pt idx="96399">1</cx:pt>
          <cx:pt idx="96400">2</cx:pt>
          <cx:pt idx="96401">5</cx:pt>
          <cx:pt idx="96402">2</cx:pt>
          <cx:pt idx="96403">1</cx:pt>
          <cx:pt idx="96404">3</cx:pt>
          <cx:pt idx="96405">5</cx:pt>
          <cx:pt idx="96406">3</cx:pt>
          <cx:pt idx="96407">2</cx:pt>
          <cx:pt idx="96408">3</cx:pt>
          <cx:pt idx="96409">5</cx:pt>
          <cx:pt idx="96410">3</cx:pt>
          <cx:pt idx="96411">4</cx:pt>
          <cx:pt idx="96412">4</cx:pt>
          <cx:pt idx="96413">2</cx:pt>
          <cx:pt idx="96414">3</cx:pt>
          <cx:pt idx="96415">1</cx:pt>
          <cx:pt idx="96416">2</cx:pt>
          <cx:pt idx="96417">3</cx:pt>
          <cx:pt idx="96418">4</cx:pt>
          <cx:pt idx="96419">4</cx:pt>
          <cx:pt idx="96420">5</cx:pt>
          <cx:pt idx="96421">4</cx:pt>
          <cx:pt idx="96422">3</cx:pt>
          <cx:pt idx="96423">4</cx:pt>
          <cx:pt idx="96424">5</cx:pt>
          <cx:pt idx="96425">4</cx:pt>
          <cx:pt idx="96426">1</cx:pt>
          <cx:pt idx="96427">4</cx:pt>
          <cx:pt idx="96428">3</cx:pt>
          <cx:pt idx="96429">2</cx:pt>
          <cx:pt idx="96430">3</cx:pt>
          <cx:pt idx="96431">3</cx:pt>
          <cx:pt idx="96432">3</cx:pt>
          <cx:pt idx="96433">2</cx:pt>
          <cx:pt idx="96434">3</cx:pt>
          <cx:pt idx="96435">1</cx:pt>
          <cx:pt idx="96436">3</cx:pt>
          <cx:pt idx="96437">5</cx:pt>
          <cx:pt idx="96438">3</cx:pt>
          <cx:pt idx="96439">3</cx:pt>
          <cx:pt idx="96440">2</cx:pt>
          <cx:pt idx="96441">4</cx:pt>
          <cx:pt idx="96442">5</cx:pt>
          <cx:pt idx="96443">2</cx:pt>
          <cx:pt idx="96444">3</cx:pt>
          <cx:pt idx="96445">3</cx:pt>
          <cx:pt idx="96446">2</cx:pt>
          <cx:pt idx="96447">1</cx:pt>
          <cx:pt idx="96448">5</cx:pt>
          <cx:pt idx="96449">4</cx:pt>
          <cx:pt idx="96450">5</cx:pt>
          <cx:pt idx="96451">3</cx:pt>
          <cx:pt idx="96452">2</cx:pt>
          <cx:pt idx="96453">2</cx:pt>
          <cx:pt idx="96454">4</cx:pt>
          <cx:pt idx="96455">4</cx:pt>
          <cx:pt idx="96456">2</cx:pt>
          <cx:pt idx="96457">1</cx:pt>
          <cx:pt idx="96458">4</cx:pt>
          <cx:pt idx="96459">5</cx:pt>
          <cx:pt idx="96460">2</cx:pt>
          <cx:pt idx="96461">5</cx:pt>
          <cx:pt idx="96462">5</cx:pt>
          <cx:pt idx="96463">4</cx:pt>
          <cx:pt idx="96464">3</cx:pt>
          <cx:pt idx="96465">5</cx:pt>
          <cx:pt idx="96466">1</cx:pt>
          <cx:pt idx="96467">4</cx:pt>
          <cx:pt idx="96468">4</cx:pt>
          <cx:pt idx="96469">2</cx:pt>
          <cx:pt idx="96470">5</cx:pt>
          <cx:pt idx="96471">5</cx:pt>
          <cx:pt idx="96472">3</cx:pt>
          <cx:pt idx="96473">5</cx:pt>
          <cx:pt idx="96474">1</cx:pt>
          <cx:pt idx="96475">3</cx:pt>
          <cx:pt idx="96476">4</cx:pt>
          <cx:pt idx="96477">5</cx:pt>
          <cx:pt idx="96478">3</cx:pt>
          <cx:pt idx="96479">5</cx:pt>
          <cx:pt idx="96480">5</cx:pt>
          <cx:pt idx="96481">2</cx:pt>
          <cx:pt idx="96482">2</cx:pt>
          <cx:pt idx="96483">4</cx:pt>
          <cx:pt idx="96484">5</cx:pt>
          <cx:pt idx="96485">5</cx:pt>
          <cx:pt idx="96486">5</cx:pt>
          <cx:pt idx="96487">5</cx:pt>
          <cx:pt idx="96488">4</cx:pt>
          <cx:pt idx="96489">2</cx:pt>
          <cx:pt idx="96490">4</cx:pt>
          <cx:pt idx="96491">3</cx:pt>
          <cx:pt idx="96492">3</cx:pt>
          <cx:pt idx="96493">4</cx:pt>
          <cx:pt idx="96494">3</cx:pt>
          <cx:pt idx="96495">3</cx:pt>
          <cx:pt idx="96496">1</cx:pt>
          <cx:pt idx="96497">4</cx:pt>
          <cx:pt idx="96498">3</cx:pt>
          <cx:pt idx="96499">4</cx:pt>
          <cx:pt idx="96500">1</cx:pt>
          <cx:pt idx="96501">2</cx:pt>
          <cx:pt idx="96502">3</cx:pt>
          <cx:pt idx="96503">3</cx:pt>
          <cx:pt idx="96504">1</cx:pt>
          <cx:pt idx="96505">4</cx:pt>
          <cx:pt idx="96506">3</cx:pt>
          <cx:pt idx="96507">4</cx:pt>
          <cx:pt idx="96508">5</cx:pt>
          <cx:pt idx="96509">4</cx:pt>
          <cx:pt idx="96510">5</cx:pt>
          <cx:pt idx="96511">5</cx:pt>
          <cx:pt idx="96512">4</cx:pt>
          <cx:pt idx="96513">3</cx:pt>
          <cx:pt idx="96514">4</cx:pt>
          <cx:pt idx="96515">3</cx:pt>
          <cx:pt idx="96516">3</cx:pt>
          <cx:pt idx="96517">2</cx:pt>
          <cx:pt idx="96518">4</cx:pt>
          <cx:pt idx="96519">4</cx:pt>
          <cx:pt idx="96520">4</cx:pt>
          <cx:pt idx="96521">5</cx:pt>
          <cx:pt idx="96522">4</cx:pt>
          <cx:pt idx="96523">4</cx:pt>
          <cx:pt idx="96524">1</cx:pt>
          <cx:pt idx="96525">1</cx:pt>
          <cx:pt idx="96526">3</cx:pt>
          <cx:pt idx="96527">4</cx:pt>
          <cx:pt idx="96528">1</cx:pt>
          <cx:pt idx="96529">5</cx:pt>
          <cx:pt idx="96530">4</cx:pt>
          <cx:pt idx="96531">1</cx:pt>
          <cx:pt idx="96532">5</cx:pt>
          <cx:pt idx="96533">3</cx:pt>
          <cx:pt idx="96534">5</cx:pt>
          <cx:pt idx="96535">3</cx:pt>
          <cx:pt idx="96536">4</cx:pt>
          <cx:pt idx="96537">4</cx:pt>
          <cx:pt idx="96538">3</cx:pt>
          <cx:pt idx="96539">2</cx:pt>
          <cx:pt idx="96540">4</cx:pt>
          <cx:pt idx="96541">4</cx:pt>
          <cx:pt idx="96542">5</cx:pt>
          <cx:pt idx="96543">5</cx:pt>
          <cx:pt idx="96544">2</cx:pt>
          <cx:pt idx="96545">4</cx:pt>
          <cx:pt idx="96546">5</cx:pt>
          <cx:pt idx="96547">4</cx:pt>
          <cx:pt idx="96548">4</cx:pt>
          <cx:pt idx="96549">4</cx:pt>
          <cx:pt idx="96550">4</cx:pt>
          <cx:pt idx="96551">1</cx:pt>
          <cx:pt idx="96552">3</cx:pt>
          <cx:pt idx="96553">3</cx:pt>
          <cx:pt idx="96554">1</cx:pt>
          <cx:pt idx="96555">3</cx:pt>
          <cx:pt idx="96556">1</cx:pt>
          <cx:pt idx="96557">5</cx:pt>
          <cx:pt idx="96558">1</cx:pt>
          <cx:pt idx="96559">3</cx:pt>
          <cx:pt idx="96560">3</cx:pt>
          <cx:pt idx="96561">5</cx:pt>
          <cx:pt idx="96562">5</cx:pt>
          <cx:pt idx="96563">4</cx:pt>
          <cx:pt idx="96564">1</cx:pt>
          <cx:pt idx="96565">5</cx:pt>
          <cx:pt idx="96566">5</cx:pt>
          <cx:pt idx="96567">3</cx:pt>
          <cx:pt idx="96568">2</cx:pt>
          <cx:pt idx="96569">3</cx:pt>
          <cx:pt idx="96570">5</cx:pt>
          <cx:pt idx="96571">2</cx:pt>
          <cx:pt idx="96572">4</cx:pt>
          <cx:pt idx="96573">2</cx:pt>
          <cx:pt idx="96574">4</cx:pt>
          <cx:pt idx="96575">4</cx:pt>
          <cx:pt idx="96576">3</cx:pt>
          <cx:pt idx="96577">4</cx:pt>
          <cx:pt idx="96578">5</cx:pt>
          <cx:pt idx="96579">1</cx:pt>
          <cx:pt idx="96580">5</cx:pt>
          <cx:pt idx="96581">4</cx:pt>
          <cx:pt idx="96582">4</cx:pt>
          <cx:pt idx="96583">3</cx:pt>
          <cx:pt idx="96584">5</cx:pt>
          <cx:pt idx="96585">1</cx:pt>
          <cx:pt idx="96586">2</cx:pt>
          <cx:pt idx="96587">3</cx:pt>
          <cx:pt idx="96588">4</cx:pt>
          <cx:pt idx="96589">2</cx:pt>
          <cx:pt idx="96590">4</cx:pt>
          <cx:pt idx="96591">5</cx:pt>
          <cx:pt idx="96592">5</cx:pt>
          <cx:pt idx="96593">5</cx:pt>
          <cx:pt idx="96594">3</cx:pt>
          <cx:pt idx="96595">3</cx:pt>
          <cx:pt idx="96596">3</cx:pt>
          <cx:pt idx="96597">5</cx:pt>
          <cx:pt idx="96598">2</cx:pt>
          <cx:pt idx="96599">4</cx:pt>
          <cx:pt idx="96600">1</cx:pt>
          <cx:pt idx="96601">4</cx:pt>
          <cx:pt idx="96602">4</cx:pt>
          <cx:pt idx="96603">4</cx:pt>
          <cx:pt idx="96604">4</cx:pt>
          <cx:pt idx="96605">2</cx:pt>
          <cx:pt idx="96606">3</cx:pt>
          <cx:pt idx="96607">3</cx:pt>
          <cx:pt idx="96608">2</cx:pt>
          <cx:pt idx="96609">3</cx:pt>
          <cx:pt idx="96610">4</cx:pt>
          <cx:pt idx="96611">5</cx:pt>
          <cx:pt idx="96612">4</cx:pt>
          <cx:pt idx="96613">3</cx:pt>
          <cx:pt idx="96614">2</cx:pt>
          <cx:pt idx="96615">4</cx:pt>
          <cx:pt idx="96616">1</cx:pt>
          <cx:pt idx="96617">4</cx:pt>
          <cx:pt idx="96618">4</cx:pt>
          <cx:pt idx="96619">1</cx:pt>
          <cx:pt idx="96620">2</cx:pt>
          <cx:pt idx="96621">5</cx:pt>
          <cx:pt idx="96622">5</cx:pt>
          <cx:pt idx="96623">5</cx:pt>
          <cx:pt idx="96624">5</cx:pt>
          <cx:pt idx="96625">5</cx:pt>
          <cx:pt idx="96626">4</cx:pt>
          <cx:pt idx="96627">5</cx:pt>
          <cx:pt idx="96628">4</cx:pt>
          <cx:pt idx="96629">4</cx:pt>
          <cx:pt idx="96630">3</cx:pt>
          <cx:pt idx="96631">5</cx:pt>
          <cx:pt idx="96632">5</cx:pt>
          <cx:pt idx="96633">4</cx:pt>
          <cx:pt idx="96634">5</cx:pt>
          <cx:pt idx="96635">4</cx:pt>
          <cx:pt idx="96636">4</cx:pt>
          <cx:pt idx="96637">2</cx:pt>
          <cx:pt idx="96638">3</cx:pt>
          <cx:pt idx="96639">3</cx:pt>
          <cx:pt idx="96640">5</cx:pt>
          <cx:pt idx="96641">2</cx:pt>
          <cx:pt idx="96642">1</cx:pt>
          <cx:pt idx="96643">3</cx:pt>
          <cx:pt idx="96644">5</cx:pt>
          <cx:pt idx="96645">5</cx:pt>
          <cx:pt idx="96646">5</cx:pt>
          <cx:pt idx="96647">4</cx:pt>
          <cx:pt idx="96648">5</cx:pt>
          <cx:pt idx="96649">4</cx:pt>
          <cx:pt idx="96650">4</cx:pt>
          <cx:pt idx="96651">4</cx:pt>
          <cx:pt idx="96652">5</cx:pt>
          <cx:pt idx="96653">2</cx:pt>
          <cx:pt idx="96654">3</cx:pt>
          <cx:pt idx="96655">5</cx:pt>
          <cx:pt idx="96656">5</cx:pt>
          <cx:pt idx="96657">4</cx:pt>
          <cx:pt idx="96658">5</cx:pt>
          <cx:pt idx="96659">1</cx:pt>
          <cx:pt idx="96660">3</cx:pt>
          <cx:pt idx="96661">3</cx:pt>
          <cx:pt idx="96662">4</cx:pt>
          <cx:pt idx="96663">3</cx:pt>
          <cx:pt idx="96664">3</cx:pt>
          <cx:pt idx="96665">5</cx:pt>
          <cx:pt idx="96666">2</cx:pt>
          <cx:pt idx="96667">5</cx:pt>
          <cx:pt idx="96668">5</cx:pt>
          <cx:pt idx="96669">4</cx:pt>
          <cx:pt idx="96670">5</cx:pt>
          <cx:pt idx="96671">2</cx:pt>
          <cx:pt idx="96672">5</cx:pt>
          <cx:pt idx="96673">2</cx:pt>
          <cx:pt idx="96674">4</cx:pt>
          <cx:pt idx="96675">5</cx:pt>
          <cx:pt idx="96676">2</cx:pt>
          <cx:pt idx="96677">2</cx:pt>
          <cx:pt idx="96678">5</cx:pt>
          <cx:pt idx="96679">3</cx:pt>
          <cx:pt idx="96680">3</cx:pt>
          <cx:pt idx="96681">3</cx:pt>
          <cx:pt idx="96682">3</cx:pt>
          <cx:pt idx="96683">3</cx:pt>
          <cx:pt idx="96684">5</cx:pt>
          <cx:pt idx="96685">3</cx:pt>
          <cx:pt idx="96686">5</cx:pt>
          <cx:pt idx="96687">3</cx:pt>
          <cx:pt idx="96688">2</cx:pt>
          <cx:pt idx="96689">5</cx:pt>
          <cx:pt idx="96690">3</cx:pt>
          <cx:pt idx="96691">3</cx:pt>
          <cx:pt idx="96692">5</cx:pt>
          <cx:pt idx="96693">4</cx:pt>
          <cx:pt idx="96694">5</cx:pt>
          <cx:pt idx="96695">1</cx:pt>
          <cx:pt idx="96696">1</cx:pt>
          <cx:pt idx="96697">3</cx:pt>
          <cx:pt idx="96698">4</cx:pt>
          <cx:pt idx="96699">2</cx:pt>
          <cx:pt idx="96700">5</cx:pt>
          <cx:pt idx="96701">3</cx:pt>
          <cx:pt idx="96702">5</cx:pt>
          <cx:pt idx="96703">5</cx:pt>
          <cx:pt idx="96704">4</cx:pt>
          <cx:pt idx="96705">2</cx:pt>
          <cx:pt idx="96706">4</cx:pt>
          <cx:pt idx="96707">5</cx:pt>
          <cx:pt idx="96708">4</cx:pt>
          <cx:pt idx="96709">2</cx:pt>
          <cx:pt idx="96710">5</cx:pt>
          <cx:pt idx="96711">3</cx:pt>
          <cx:pt idx="96712">5</cx:pt>
          <cx:pt idx="96713">2</cx:pt>
          <cx:pt idx="96714">5</cx:pt>
          <cx:pt idx="96715">5</cx:pt>
          <cx:pt idx="96716">4</cx:pt>
          <cx:pt idx="96717">4</cx:pt>
          <cx:pt idx="96718">3</cx:pt>
          <cx:pt idx="96719">4</cx:pt>
          <cx:pt idx="96720">3</cx:pt>
          <cx:pt idx="96721">4</cx:pt>
          <cx:pt idx="96722">4</cx:pt>
          <cx:pt idx="96723">4</cx:pt>
          <cx:pt idx="96724">1</cx:pt>
          <cx:pt idx="96725">4</cx:pt>
          <cx:pt idx="96726">3</cx:pt>
          <cx:pt idx="96727">4</cx:pt>
          <cx:pt idx="96728">4</cx:pt>
          <cx:pt idx="96729">3</cx:pt>
          <cx:pt idx="96730">1</cx:pt>
          <cx:pt idx="96731">5</cx:pt>
          <cx:pt idx="96732">2</cx:pt>
          <cx:pt idx="96733">2</cx:pt>
          <cx:pt idx="96734">4</cx:pt>
          <cx:pt idx="96735">1</cx:pt>
          <cx:pt idx="96736">1</cx:pt>
          <cx:pt idx="96737">4</cx:pt>
          <cx:pt idx="96738">5</cx:pt>
          <cx:pt idx="96739">1</cx:pt>
          <cx:pt idx="96740">4</cx:pt>
          <cx:pt idx="96741">4</cx:pt>
          <cx:pt idx="96742">4</cx:pt>
          <cx:pt idx="96743">5</cx:pt>
          <cx:pt idx="96744">5</cx:pt>
          <cx:pt idx="96745">3</cx:pt>
          <cx:pt idx="96746">4</cx:pt>
          <cx:pt idx="96747">5</cx:pt>
          <cx:pt idx="96748">3</cx:pt>
          <cx:pt idx="96749">3</cx:pt>
          <cx:pt idx="96750">5</cx:pt>
          <cx:pt idx="96751">5</cx:pt>
          <cx:pt idx="96752">4</cx:pt>
          <cx:pt idx="96753">5</cx:pt>
          <cx:pt idx="96754">3</cx:pt>
          <cx:pt idx="96755">4</cx:pt>
          <cx:pt idx="96756">4</cx:pt>
          <cx:pt idx="96757">5</cx:pt>
          <cx:pt idx="96758">3</cx:pt>
          <cx:pt idx="96759">4</cx:pt>
          <cx:pt idx="96760">4</cx:pt>
          <cx:pt idx="96761">5</cx:pt>
          <cx:pt idx="96762">2</cx:pt>
          <cx:pt idx="96763">4</cx:pt>
          <cx:pt idx="96764">1</cx:pt>
          <cx:pt idx="96765">4</cx:pt>
          <cx:pt idx="96766">5</cx:pt>
          <cx:pt idx="96767">4</cx:pt>
          <cx:pt idx="96768">3</cx:pt>
          <cx:pt idx="96769">2</cx:pt>
          <cx:pt idx="96770">5</cx:pt>
          <cx:pt idx="96771">3</cx:pt>
          <cx:pt idx="96772">3</cx:pt>
          <cx:pt idx="96773">5</cx:pt>
          <cx:pt idx="96774">4</cx:pt>
          <cx:pt idx="96775">2</cx:pt>
          <cx:pt idx="96776">5</cx:pt>
          <cx:pt idx="96777">3</cx:pt>
          <cx:pt idx="96778">3</cx:pt>
          <cx:pt idx="96779">3</cx:pt>
          <cx:pt idx="96780">2</cx:pt>
          <cx:pt idx="96781">4</cx:pt>
          <cx:pt idx="96782">5</cx:pt>
          <cx:pt idx="96783">4</cx:pt>
          <cx:pt idx="96784">3</cx:pt>
          <cx:pt idx="96785">4</cx:pt>
          <cx:pt idx="96786">2</cx:pt>
          <cx:pt idx="96787">4</cx:pt>
          <cx:pt idx="96788">5</cx:pt>
          <cx:pt idx="96789">3</cx:pt>
          <cx:pt idx="96790">4</cx:pt>
          <cx:pt idx="96791">5</cx:pt>
          <cx:pt idx="96792">1</cx:pt>
          <cx:pt idx="96793">1</cx:pt>
          <cx:pt idx="96794">1</cx:pt>
          <cx:pt idx="96795">2</cx:pt>
          <cx:pt idx="96796">3</cx:pt>
          <cx:pt idx="96797">2</cx:pt>
          <cx:pt idx="96798">5</cx:pt>
          <cx:pt idx="96799">5</cx:pt>
          <cx:pt idx="96800">3</cx:pt>
          <cx:pt idx="96801">4</cx:pt>
          <cx:pt idx="96802">4</cx:pt>
          <cx:pt idx="96803">1</cx:pt>
          <cx:pt idx="96804">4</cx:pt>
          <cx:pt idx="96805">3</cx:pt>
          <cx:pt idx="96806">4</cx:pt>
          <cx:pt idx="96807">4</cx:pt>
          <cx:pt idx="96808">4</cx:pt>
          <cx:pt idx="96809">1</cx:pt>
          <cx:pt idx="96810">4</cx:pt>
          <cx:pt idx="96811">4</cx:pt>
          <cx:pt idx="96812">5</cx:pt>
          <cx:pt idx="96813">4</cx:pt>
          <cx:pt idx="96814">1</cx:pt>
          <cx:pt idx="96815">2</cx:pt>
          <cx:pt idx="96816">4</cx:pt>
          <cx:pt idx="96817">5</cx:pt>
          <cx:pt idx="96818">3</cx:pt>
          <cx:pt idx="96819">2</cx:pt>
          <cx:pt idx="96820">4</cx:pt>
          <cx:pt idx="96821">5</cx:pt>
          <cx:pt idx="96822">2</cx:pt>
          <cx:pt idx="96823">1</cx:pt>
          <cx:pt idx="96824">2</cx:pt>
          <cx:pt idx="96825">5</cx:pt>
          <cx:pt idx="96826">2</cx:pt>
          <cx:pt idx="96827">4</cx:pt>
          <cx:pt idx="96828">5</cx:pt>
          <cx:pt idx="96829">3</cx:pt>
          <cx:pt idx="96830">4</cx:pt>
          <cx:pt idx="96831">2</cx:pt>
          <cx:pt idx="96832">3</cx:pt>
          <cx:pt idx="96833">4</cx:pt>
          <cx:pt idx="96834">5</cx:pt>
          <cx:pt idx="96835">5</cx:pt>
          <cx:pt idx="96836">2</cx:pt>
          <cx:pt idx="96837">4</cx:pt>
          <cx:pt idx="96838">3</cx:pt>
          <cx:pt idx="96839">4</cx:pt>
          <cx:pt idx="96840">2</cx:pt>
          <cx:pt idx="96841">5</cx:pt>
          <cx:pt idx="96842">2</cx:pt>
          <cx:pt idx="96843">2</cx:pt>
          <cx:pt idx="96844">1</cx:pt>
          <cx:pt idx="96845">2</cx:pt>
          <cx:pt idx="96846">4</cx:pt>
          <cx:pt idx="96847">2</cx:pt>
          <cx:pt idx="96848">5</cx:pt>
          <cx:pt idx="96849">3</cx:pt>
          <cx:pt idx="96850">5</cx:pt>
          <cx:pt idx="96851">2</cx:pt>
          <cx:pt idx="96852">3</cx:pt>
          <cx:pt idx="96853">4</cx:pt>
          <cx:pt idx="96854">5</cx:pt>
          <cx:pt idx="96855">1</cx:pt>
          <cx:pt idx="96856">3</cx:pt>
          <cx:pt idx="96857">4</cx:pt>
          <cx:pt idx="96858">4</cx:pt>
          <cx:pt idx="96859">5</cx:pt>
          <cx:pt idx="96860">4</cx:pt>
          <cx:pt idx="96861">3</cx:pt>
          <cx:pt idx="96862">3</cx:pt>
          <cx:pt idx="96863">3</cx:pt>
          <cx:pt idx="96864">4</cx:pt>
          <cx:pt idx="96865">4</cx:pt>
          <cx:pt idx="96866">2</cx:pt>
          <cx:pt idx="96867">3</cx:pt>
          <cx:pt idx="96868">5</cx:pt>
          <cx:pt idx="96869">5</cx:pt>
          <cx:pt idx="96870">5</cx:pt>
          <cx:pt idx="96871">3</cx:pt>
          <cx:pt idx="96872">2</cx:pt>
          <cx:pt idx="96873">5</cx:pt>
          <cx:pt idx="96874">2</cx:pt>
          <cx:pt idx="96875">5</cx:pt>
          <cx:pt idx="96876">4</cx:pt>
          <cx:pt idx="96877">5</cx:pt>
          <cx:pt idx="96878">2</cx:pt>
          <cx:pt idx="96879">4</cx:pt>
          <cx:pt idx="96880">4</cx:pt>
          <cx:pt idx="96881">1</cx:pt>
          <cx:pt idx="96882">5</cx:pt>
          <cx:pt idx="96883">2</cx:pt>
          <cx:pt idx="96884">4</cx:pt>
          <cx:pt idx="96885">3</cx:pt>
          <cx:pt idx="96886">1</cx:pt>
          <cx:pt idx="96887">3</cx:pt>
          <cx:pt idx="96888">3</cx:pt>
          <cx:pt idx="96889">3</cx:pt>
          <cx:pt idx="96890">5</cx:pt>
          <cx:pt idx="96891">5</cx:pt>
          <cx:pt idx="96892">2</cx:pt>
          <cx:pt idx="96893">5</cx:pt>
          <cx:pt idx="96894">2</cx:pt>
          <cx:pt idx="96895">4</cx:pt>
          <cx:pt idx="96896">5</cx:pt>
          <cx:pt idx="96897">3</cx:pt>
          <cx:pt idx="96898">4</cx:pt>
          <cx:pt idx="96899">3</cx:pt>
          <cx:pt idx="96900">3</cx:pt>
          <cx:pt idx="96901">5</cx:pt>
          <cx:pt idx="96902">1</cx:pt>
          <cx:pt idx="96903">2</cx:pt>
          <cx:pt idx="96904">1</cx:pt>
          <cx:pt idx="96905">4</cx:pt>
          <cx:pt idx="96906">2</cx:pt>
          <cx:pt idx="96907">2</cx:pt>
          <cx:pt idx="96908">5</cx:pt>
          <cx:pt idx="96909">3</cx:pt>
          <cx:pt idx="96910">4</cx:pt>
          <cx:pt idx="96911">5</cx:pt>
          <cx:pt idx="96912">1</cx:pt>
          <cx:pt idx="96913">4</cx:pt>
          <cx:pt idx="96914">4</cx:pt>
          <cx:pt idx="96915">5</cx:pt>
          <cx:pt idx="96916">4</cx:pt>
          <cx:pt idx="96917">4</cx:pt>
          <cx:pt idx="96918">4</cx:pt>
          <cx:pt idx="96919">3</cx:pt>
          <cx:pt idx="96920">4</cx:pt>
          <cx:pt idx="96921">3</cx:pt>
          <cx:pt idx="96922">3</cx:pt>
          <cx:pt idx="96923">5</cx:pt>
          <cx:pt idx="96924">4</cx:pt>
          <cx:pt idx="96925">4</cx:pt>
          <cx:pt idx="96926">1</cx:pt>
          <cx:pt idx="96927">2</cx:pt>
          <cx:pt idx="96928">2</cx:pt>
          <cx:pt idx="96929">4</cx:pt>
          <cx:pt idx="96930">5</cx:pt>
          <cx:pt idx="96931">5</cx:pt>
          <cx:pt idx="96932">1</cx:pt>
          <cx:pt idx="96933">3</cx:pt>
          <cx:pt idx="96934">4</cx:pt>
          <cx:pt idx="96935">4</cx:pt>
          <cx:pt idx="96936">5</cx:pt>
          <cx:pt idx="96937">4</cx:pt>
          <cx:pt idx="96938">4</cx:pt>
          <cx:pt idx="96939">4</cx:pt>
          <cx:pt idx="96940">4</cx:pt>
          <cx:pt idx="96941">4</cx:pt>
          <cx:pt idx="96942">5</cx:pt>
          <cx:pt idx="96943">2</cx:pt>
          <cx:pt idx="96944">4</cx:pt>
          <cx:pt idx="96945">2</cx:pt>
          <cx:pt idx="96946">3</cx:pt>
          <cx:pt idx="96947">4</cx:pt>
          <cx:pt idx="96948">1</cx:pt>
          <cx:pt idx="96949">5</cx:pt>
          <cx:pt idx="96950">5</cx:pt>
          <cx:pt idx="96951">5</cx:pt>
          <cx:pt idx="96952">4</cx:pt>
          <cx:pt idx="96953">3</cx:pt>
          <cx:pt idx="96954">3</cx:pt>
          <cx:pt idx="96955">5</cx:pt>
          <cx:pt idx="96956">5</cx:pt>
          <cx:pt idx="96957">4</cx:pt>
          <cx:pt idx="96958">4</cx:pt>
          <cx:pt idx="96959">4</cx:pt>
          <cx:pt idx="96960">5</cx:pt>
          <cx:pt idx="96961">2</cx:pt>
          <cx:pt idx="96962">2</cx:pt>
          <cx:pt idx="96963">5</cx:pt>
          <cx:pt idx="96964">4</cx:pt>
          <cx:pt idx="96965">5</cx:pt>
          <cx:pt idx="96966">2</cx:pt>
          <cx:pt idx="96967">5</cx:pt>
          <cx:pt idx="96968">3</cx:pt>
          <cx:pt idx="96969">4</cx:pt>
          <cx:pt idx="96970">2</cx:pt>
          <cx:pt idx="96971">1</cx:pt>
          <cx:pt idx="96972">4</cx:pt>
          <cx:pt idx="96973">2</cx:pt>
          <cx:pt idx="96974">3</cx:pt>
          <cx:pt idx="96975">2</cx:pt>
          <cx:pt idx="96976">5</cx:pt>
          <cx:pt idx="96977">5</cx:pt>
          <cx:pt idx="96978">3</cx:pt>
          <cx:pt idx="96979">5</cx:pt>
          <cx:pt idx="96980">5</cx:pt>
          <cx:pt idx="96981">3</cx:pt>
          <cx:pt idx="96982">4</cx:pt>
          <cx:pt idx="96983">3</cx:pt>
          <cx:pt idx="96984">4</cx:pt>
          <cx:pt idx="96985">3</cx:pt>
          <cx:pt idx="96986">5</cx:pt>
          <cx:pt idx="96987">3</cx:pt>
          <cx:pt idx="96988">5</cx:pt>
          <cx:pt idx="96989">5</cx:pt>
          <cx:pt idx="96990">4</cx:pt>
          <cx:pt idx="96991">4</cx:pt>
          <cx:pt idx="96992">5</cx:pt>
          <cx:pt idx="96993">2</cx:pt>
          <cx:pt idx="96994">4</cx:pt>
          <cx:pt idx="96995">3</cx:pt>
          <cx:pt idx="96996">5</cx:pt>
          <cx:pt idx="96997">5</cx:pt>
          <cx:pt idx="96998">5</cx:pt>
          <cx:pt idx="96999">1</cx:pt>
          <cx:pt idx="97000">3</cx:pt>
          <cx:pt idx="97001">1</cx:pt>
          <cx:pt idx="97002">4</cx:pt>
          <cx:pt idx="97003">4</cx:pt>
          <cx:pt idx="97004">3</cx:pt>
          <cx:pt idx="97005">3</cx:pt>
          <cx:pt idx="97006">4</cx:pt>
          <cx:pt idx="97007">5</cx:pt>
          <cx:pt idx="97008">5</cx:pt>
          <cx:pt idx="97009">3</cx:pt>
          <cx:pt idx="97010">1</cx:pt>
          <cx:pt idx="97011">4</cx:pt>
          <cx:pt idx="97012">5</cx:pt>
          <cx:pt idx="97013">3</cx:pt>
          <cx:pt idx="97014">1</cx:pt>
          <cx:pt idx="97015">4</cx:pt>
          <cx:pt idx="97016">1</cx:pt>
          <cx:pt idx="97017">3</cx:pt>
          <cx:pt idx="97018">4</cx:pt>
          <cx:pt idx="97019">5</cx:pt>
          <cx:pt idx="97020">2</cx:pt>
          <cx:pt idx="97021">4</cx:pt>
          <cx:pt idx="97022">1</cx:pt>
          <cx:pt idx="97023">3</cx:pt>
          <cx:pt idx="97024">3</cx:pt>
          <cx:pt idx="97025">3</cx:pt>
          <cx:pt idx="97026">4</cx:pt>
          <cx:pt idx="97027">1</cx:pt>
          <cx:pt idx="97028">4</cx:pt>
          <cx:pt idx="97029">5</cx:pt>
          <cx:pt idx="97030">4</cx:pt>
          <cx:pt idx="97031">2</cx:pt>
          <cx:pt idx="97032">5</cx:pt>
          <cx:pt idx="97033">5</cx:pt>
          <cx:pt idx="97034">2</cx:pt>
          <cx:pt idx="97035">1</cx:pt>
          <cx:pt idx="97036">5</cx:pt>
          <cx:pt idx="97037">4</cx:pt>
          <cx:pt idx="97038">2</cx:pt>
          <cx:pt idx="97039">5</cx:pt>
          <cx:pt idx="97040">2</cx:pt>
          <cx:pt idx="97041">1</cx:pt>
          <cx:pt idx="97042">4</cx:pt>
          <cx:pt idx="97043">4</cx:pt>
          <cx:pt idx="97044">1</cx:pt>
          <cx:pt idx="97045">2</cx:pt>
          <cx:pt idx="97046">5</cx:pt>
          <cx:pt idx="97047">4</cx:pt>
          <cx:pt idx="97048">3</cx:pt>
          <cx:pt idx="97049">5</cx:pt>
          <cx:pt idx="97050">4</cx:pt>
          <cx:pt idx="97051">4</cx:pt>
          <cx:pt idx="97052">4</cx:pt>
          <cx:pt idx="97053">5</cx:pt>
          <cx:pt idx="97054">4</cx:pt>
          <cx:pt idx="97055">1</cx:pt>
          <cx:pt idx="97056">2</cx:pt>
          <cx:pt idx="97057">4</cx:pt>
          <cx:pt idx="97058">1</cx:pt>
          <cx:pt idx="97059">3</cx:pt>
          <cx:pt idx="97060">4</cx:pt>
          <cx:pt idx="97061">4</cx:pt>
          <cx:pt idx="97062">5</cx:pt>
          <cx:pt idx="97063">4</cx:pt>
          <cx:pt idx="97064">4</cx:pt>
          <cx:pt idx="97065">4</cx:pt>
          <cx:pt idx="97066">4</cx:pt>
          <cx:pt idx="97067">1</cx:pt>
          <cx:pt idx="97068">4</cx:pt>
          <cx:pt idx="97069">3</cx:pt>
          <cx:pt idx="97070">4</cx:pt>
          <cx:pt idx="97071">1</cx:pt>
          <cx:pt idx="97072">4</cx:pt>
          <cx:pt idx="97073">3</cx:pt>
          <cx:pt idx="97074">3</cx:pt>
          <cx:pt idx="97075">2</cx:pt>
          <cx:pt idx="97076">3</cx:pt>
          <cx:pt idx="97077">5</cx:pt>
          <cx:pt idx="97078">4</cx:pt>
          <cx:pt idx="97079">2</cx:pt>
          <cx:pt idx="97080">3</cx:pt>
          <cx:pt idx="97081">1</cx:pt>
          <cx:pt idx="97082">2</cx:pt>
          <cx:pt idx="97083">4</cx:pt>
          <cx:pt idx="97084">1</cx:pt>
          <cx:pt idx="97085">4</cx:pt>
          <cx:pt idx="97086">3</cx:pt>
          <cx:pt idx="97087">4</cx:pt>
          <cx:pt idx="97088">2</cx:pt>
          <cx:pt idx="97089">4</cx:pt>
          <cx:pt idx="97090">4</cx:pt>
          <cx:pt idx="97091">4</cx:pt>
          <cx:pt idx="97092">4</cx:pt>
          <cx:pt idx="97093">1</cx:pt>
          <cx:pt idx="97094">3</cx:pt>
          <cx:pt idx="97095">4</cx:pt>
          <cx:pt idx="97096">4</cx:pt>
          <cx:pt idx="97097">3</cx:pt>
          <cx:pt idx="97098">3</cx:pt>
          <cx:pt idx="97099">3</cx:pt>
          <cx:pt idx="97100">5</cx:pt>
          <cx:pt idx="97101">5</cx:pt>
          <cx:pt idx="97102">2</cx:pt>
          <cx:pt idx="97103">1</cx:pt>
          <cx:pt idx="97104">4</cx:pt>
          <cx:pt idx="97105">5</cx:pt>
          <cx:pt idx="97106">5</cx:pt>
          <cx:pt idx="97107">4</cx:pt>
          <cx:pt idx="97108">4</cx:pt>
          <cx:pt idx="97109">4</cx:pt>
          <cx:pt idx="97110">1</cx:pt>
          <cx:pt idx="97111">1</cx:pt>
          <cx:pt idx="97112">4</cx:pt>
          <cx:pt idx="97113">5</cx:pt>
          <cx:pt idx="97114">3</cx:pt>
          <cx:pt idx="97115">3</cx:pt>
          <cx:pt idx="97116">2</cx:pt>
          <cx:pt idx="97117">3</cx:pt>
          <cx:pt idx="97118">4</cx:pt>
          <cx:pt idx="97119">4</cx:pt>
          <cx:pt idx="97120">4</cx:pt>
          <cx:pt idx="97121">5</cx:pt>
          <cx:pt idx="97122">3</cx:pt>
          <cx:pt idx="97123">4</cx:pt>
          <cx:pt idx="97124">2</cx:pt>
          <cx:pt idx="97125">4</cx:pt>
          <cx:pt idx="97126">3</cx:pt>
          <cx:pt idx="97127">5</cx:pt>
          <cx:pt idx="97128">2</cx:pt>
          <cx:pt idx="97129">1</cx:pt>
          <cx:pt idx="97130">5</cx:pt>
          <cx:pt idx="97131">5</cx:pt>
          <cx:pt idx="97132">4</cx:pt>
          <cx:pt idx="97133">3</cx:pt>
          <cx:pt idx="97134">2</cx:pt>
          <cx:pt idx="97135">2</cx:pt>
          <cx:pt idx="97136">1</cx:pt>
          <cx:pt idx="97137">4</cx:pt>
          <cx:pt idx="97138">5</cx:pt>
          <cx:pt idx="97139">5</cx:pt>
          <cx:pt idx="97140">4</cx:pt>
          <cx:pt idx="97141">1</cx:pt>
          <cx:pt idx="97142">5</cx:pt>
          <cx:pt idx="97143">4</cx:pt>
          <cx:pt idx="97144">4</cx:pt>
          <cx:pt idx="97145">5</cx:pt>
          <cx:pt idx="97146">3</cx:pt>
          <cx:pt idx="97147">5</cx:pt>
          <cx:pt idx="97148">4</cx:pt>
          <cx:pt idx="97149">4</cx:pt>
          <cx:pt idx="97150">5</cx:pt>
          <cx:pt idx="97151">3</cx:pt>
          <cx:pt idx="97152">1</cx:pt>
          <cx:pt idx="97153">4</cx:pt>
          <cx:pt idx="97154">2</cx:pt>
          <cx:pt idx="97155">2</cx:pt>
          <cx:pt idx="97156">2</cx:pt>
          <cx:pt idx="97157">4</cx:pt>
          <cx:pt idx="97158">4</cx:pt>
          <cx:pt idx="97159">5</cx:pt>
          <cx:pt idx="97160">2</cx:pt>
          <cx:pt idx="97161">4</cx:pt>
          <cx:pt idx="97162">1</cx:pt>
          <cx:pt idx="97163">4</cx:pt>
          <cx:pt idx="97164">1</cx:pt>
          <cx:pt idx="97165">2</cx:pt>
          <cx:pt idx="97166">4</cx:pt>
          <cx:pt idx="97167">4</cx:pt>
          <cx:pt idx="97168">4</cx:pt>
          <cx:pt idx="97169">3</cx:pt>
          <cx:pt idx="97170">5</cx:pt>
          <cx:pt idx="97171">5</cx:pt>
          <cx:pt idx="97172">1</cx:pt>
          <cx:pt idx="97173">4</cx:pt>
          <cx:pt idx="97174">4</cx:pt>
          <cx:pt idx="97175">5</cx:pt>
          <cx:pt idx="97176">5</cx:pt>
          <cx:pt idx="97177">4</cx:pt>
          <cx:pt idx="97178">3</cx:pt>
          <cx:pt idx="97179">5</cx:pt>
          <cx:pt idx="97180">5</cx:pt>
          <cx:pt idx="97181">4</cx:pt>
          <cx:pt idx="97182">3</cx:pt>
          <cx:pt idx="97183">4</cx:pt>
          <cx:pt idx="97184">3</cx:pt>
          <cx:pt idx="97185">2</cx:pt>
          <cx:pt idx="97186">4</cx:pt>
          <cx:pt idx="97187">4</cx:pt>
          <cx:pt idx="97188">4</cx:pt>
          <cx:pt idx="97189">4</cx:pt>
          <cx:pt idx="97190">5</cx:pt>
          <cx:pt idx="97191">3</cx:pt>
          <cx:pt idx="97192">2</cx:pt>
          <cx:pt idx="97193">2</cx:pt>
          <cx:pt idx="97194">4</cx:pt>
          <cx:pt idx="97195">4</cx:pt>
          <cx:pt idx="97196">4</cx:pt>
          <cx:pt idx="97197">4</cx:pt>
          <cx:pt idx="97198">3</cx:pt>
          <cx:pt idx="97199">4</cx:pt>
          <cx:pt idx="97200">4</cx:pt>
          <cx:pt idx="97201">4</cx:pt>
          <cx:pt idx="97202">2</cx:pt>
          <cx:pt idx="97203">3</cx:pt>
          <cx:pt idx="97204">4</cx:pt>
          <cx:pt idx="97205">1</cx:pt>
          <cx:pt idx="97206">3</cx:pt>
          <cx:pt idx="97207">4</cx:pt>
          <cx:pt idx="97208">4</cx:pt>
          <cx:pt idx="97209">2</cx:pt>
          <cx:pt idx="97210">4</cx:pt>
          <cx:pt idx="97211">4</cx:pt>
          <cx:pt idx="97212">5</cx:pt>
          <cx:pt idx="97213">4</cx:pt>
          <cx:pt idx="97214">1</cx:pt>
          <cx:pt idx="97215">2</cx:pt>
          <cx:pt idx="97216">5</cx:pt>
          <cx:pt idx="97217">4</cx:pt>
          <cx:pt idx="97218">3</cx:pt>
          <cx:pt idx="97219">1</cx:pt>
          <cx:pt idx="97220">1</cx:pt>
          <cx:pt idx="97221">2</cx:pt>
          <cx:pt idx="97222">5</cx:pt>
          <cx:pt idx="97223">1</cx:pt>
          <cx:pt idx="97224">4</cx:pt>
          <cx:pt idx="97225">3</cx:pt>
          <cx:pt idx="97226">4</cx:pt>
          <cx:pt idx="97227">5</cx:pt>
          <cx:pt idx="97228">4</cx:pt>
          <cx:pt idx="97229">3</cx:pt>
          <cx:pt idx="97230">1</cx:pt>
          <cx:pt idx="97231">4</cx:pt>
          <cx:pt idx="97232">1</cx:pt>
          <cx:pt idx="97233">4</cx:pt>
          <cx:pt idx="97234">5</cx:pt>
          <cx:pt idx="97235">4</cx:pt>
          <cx:pt idx="97236">2</cx:pt>
          <cx:pt idx="97237">2</cx:pt>
          <cx:pt idx="97238">4</cx:pt>
          <cx:pt idx="97239">1</cx:pt>
          <cx:pt idx="97240">2</cx:pt>
          <cx:pt idx="97241">5</cx:pt>
          <cx:pt idx="97242">4</cx:pt>
          <cx:pt idx="97243">3</cx:pt>
          <cx:pt idx="97244">2</cx:pt>
          <cx:pt idx="97245">1</cx:pt>
          <cx:pt idx="97246">3</cx:pt>
          <cx:pt idx="97247">2</cx:pt>
          <cx:pt idx="97248">5</cx:pt>
          <cx:pt idx="97249">3</cx:pt>
          <cx:pt idx="97250">5</cx:pt>
          <cx:pt idx="97251">4</cx:pt>
          <cx:pt idx="97252">2</cx:pt>
          <cx:pt idx="97253">5</cx:pt>
          <cx:pt idx="97254">2</cx:pt>
          <cx:pt idx="97255">5</cx:pt>
          <cx:pt idx="97256">4</cx:pt>
          <cx:pt idx="97257">5</cx:pt>
          <cx:pt idx="97258">4</cx:pt>
          <cx:pt idx="97259">2</cx:pt>
          <cx:pt idx="97260">1</cx:pt>
          <cx:pt idx="97261">5</cx:pt>
          <cx:pt idx="97262">2</cx:pt>
          <cx:pt idx="97263">3</cx:pt>
          <cx:pt idx="97264">5</cx:pt>
          <cx:pt idx="97265">5</cx:pt>
          <cx:pt idx="97266">1</cx:pt>
          <cx:pt idx="97267">3</cx:pt>
          <cx:pt idx="97268">5</cx:pt>
          <cx:pt idx="97269">1</cx:pt>
          <cx:pt idx="97270">1</cx:pt>
          <cx:pt idx="97271">1</cx:pt>
          <cx:pt idx="97272">2</cx:pt>
          <cx:pt idx="97273">5</cx:pt>
          <cx:pt idx="97274">4</cx:pt>
          <cx:pt idx="97275">5</cx:pt>
          <cx:pt idx="97276">4</cx:pt>
          <cx:pt idx="97277">5</cx:pt>
          <cx:pt idx="97278">4</cx:pt>
          <cx:pt idx="97279">3</cx:pt>
          <cx:pt idx="97280">4</cx:pt>
          <cx:pt idx="97281">5</cx:pt>
          <cx:pt idx="97282">4</cx:pt>
          <cx:pt idx="97283">4</cx:pt>
          <cx:pt idx="97284">2</cx:pt>
          <cx:pt idx="97285">4</cx:pt>
          <cx:pt idx="97286">1</cx:pt>
          <cx:pt idx="97287">4</cx:pt>
          <cx:pt idx="97288">3</cx:pt>
          <cx:pt idx="97289">4</cx:pt>
          <cx:pt idx="97290">4</cx:pt>
          <cx:pt idx="97291">5</cx:pt>
          <cx:pt idx="97292">3</cx:pt>
          <cx:pt idx="97293">4</cx:pt>
          <cx:pt idx="97294">4</cx:pt>
          <cx:pt idx="97295">4</cx:pt>
          <cx:pt idx="97296">2</cx:pt>
          <cx:pt idx="97297">2</cx:pt>
          <cx:pt idx="97298">4</cx:pt>
          <cx:pt idx="97299">2</cx:pt>
          <cx:pt idx="97300">3</cx:pt>
          <cx:pt idx="97301">5</cx:pt>
          <cx:pt idx="97302">2</cx:pt>
          <cx:pt idx="97303">3</cx:pt>
          <cx:pt idx="97304">4</cx:pt>
          <cx:pt idx="97305">4</cx:pt>
          <cx:pt idx="97306">1</cx:pt>
          <cx:pt idx="97307">4</cx:pt>
          <cx:pt idx="97308">2</cx:pt>
          <cx:pt idx="97309">3</cx:pt>
          <cx:pt idx="97310">4</cx:pt>
          <cx:pt idx="97311">2</cx:pt>
          <cx:pt idx="97312">4</cx:pt>
          <cx:pt idx="97313">4</cx:pt>
          <cx:pt idx="97314">5</cx:pt>
          <cx:pt idx="97315">3</cx:pt>
          <cx:pt idx="97316">5</cx:pt>
          <cx:pt idx="97317">2</cx:pt>
          <cx:pt idx="97318">5</cx:pt>
          <cx:pt idx="97319">4</cx:pt>
          <cx:pt idx="97320">2</cx:pt>
          <cx:pt idx="97321">4</cx:pt>
          <cx:pt idx="97322">2</cx:pt>
          <cx:pt idx="97323">1</cx:pt>
          <cx:pt idx="97324">1</cx:pt>
          <cx:pt idx="97325">2</cx:pt>
          <cx:pt idx="97326">2</cx:pt>
          <cx:pt idx="97327">4</cx:pt>
          <cx:pt idx="97328">4</cx:pt>
          <cx:pt idx="97329">2</cx:pt>
          <cx:pt idx="97330">3</cx:pt>
          <cx:pt idx="97331">5</cx:pt>
          <cx:pt idx="97332">5</cx:pt>
          <cx:pt idx="97333">2</cx:pt>
          <cx:pt idx="97334">5</cx:pt>
          <cx:pt idx="97335">4</cx:pt>
          <cx:pt idx="97336">4</cx:pt>
          <cx:pt idx="97337">2</cx:pt>
          <cx:pt idx="97338">3</cx:pt>
          <cx:pt idx="97339">1</cx:pt>
          <cx:pt idx="97340">5</cx:pt>
          <cx:pt idx="97341">2</cx:pt>
          <cx:pt idx="97342">3</cx:pt>
          <cx:pt idx="97343">4</cx:pt>
          <cx:pt idx="97344">4</cx:pt>
          <cx:pt idx="97345">3</cx:pt>
          <cx:pt idx="97346">5</cx:pt>
          <cx:pt idx="97347">5</cx:pt>
          <cx:pt idx="97348">2</cx:pt>
          <cx:pt idx="97349">3</cx:pt>
          <cx:pt idx="97350">2</cx:pt>
          <cx:pt idx="97351">1</cx:pt>
          <cx:pt idx="97352">4</cx:pt>
          <cx:pt idx="97353">5</cx:pt>
          <cx:pt idx="97354">1</cx:pt>
          <cx:pt idx="97355">4</cx:pt>
          <cx:pt idx="97356">1</cx:pt>
          <cx:pt idx="97357">5</cx:pt>
          <cx:pt idx="97358">4</cx:pt>
          <cx:pt idx="97359">5</cx:pt>
          <cx:pt idx="97360">5</cx:pt>
          <cx:pt idx="97361">3</cx:pt>
          <cx:pt idx="97362">5</cx:pt>
          <cx:pt idx="97363">5</cx:pt>
          <cx:pt idx="97364">5</cx:pt>
          <cx:pt idx="97365">5</cx:pt>
          <cx:pt idx="97366">4</cx:pt>
          <cx:pt idx="97367">3</cx:pt>
          <cx:pt idx="97368">4</cx:pt>
          <cx:pt idx="97369">5</cx:pt>
          <cx:pt idx="97370">4</cx:pt>
          <cx:pt idx="97371">4</cx:pt>
          <cx:pt idx="97372">4</cx:pt>
          <cx:pt idx="97373">4</cx:pt>
          <cx:pt idx="97374">5</cx:pt>
          <cx:pt idx="97375">5</cx:pt>
          <cx:pt idx="97376">5</cx:pt>
          <cx:pt idx="97377">4</cx:pt>
          <cx:pt idx="97378">5</cx:pt>
          <cx:pt idx="97379">4</cx:pt>
          <cx:pt idx="97380">5</cx:pt>
          <cx:pt idx="97381">2</cx:pt>
          <cx:pt idx="97382">2</cx:pt>
          <cx:pt idx="97383">2</cx:pt>
          <cx:pt idx="97384">4</cx:pt>
          <cx:pt idx="97385">4</cx:pt>
          <cx:pt idx="97386">4</cx:pt>
          <cx:pt idx="97387">4</cx:pt>
          <cx:pt idx="97388">3</cx:pt>
          <cx:pt idx="97389">2</cx:pt>
          <cx:pt idx="97390">2</cx:pt>
          <cx:pt idx="97391">5</cx:pt>
          <cx:pt idx="97392">4</cx:pt>
          <cx:pt idx="97393">2</cx:pt>
          <cx:pt idx="97394">2</cx:pt>
          <cx:pt idx="97395">5</cx:pt>
          <cx:pt idx="97396">5</cx:pt>
          <cx:pt idx="97397">3</cx:pt>
          <cx:pt idx="97398">4</cx:pt>
          <cx:pt idx="97399">3</cx:pt>
          <cx:pt idx="97400">4</cx:pt>
          <cx:pt idx="97401">4</cx:pt>
          <cx:pt idx="97402">2</cx:pt>
          <cx:pt idx="97403">5</cx:pt>
          <cx:pt idx="97404">4</cx:pt>
          <cx:pt idx="97405">5</cx:pt>
          <cx:pt idx="97406">4</cx:pt>
          <cx:pt idx="97407">4</cx:pt>
          <cx:pt idx="97408">1</cx:pt>
          <cx:pt idx="97409">4</cx:pt>
          <cx:pt idx="97410">1</cx:pt>
          <cx:pt idx="97411">1</cx:pt>
          <cx:pt idx="97412">4</cx:pt>
          <cx:pt idx="97413">5</cx:pt>
          <cx:pt idx="97414">4</cx:pt>
          <cx:pt idx="97415">5</cx:pt>
          <cx:pt idx="97416">4</cx:pt>
          <cx:pt idx="97417">3</cx:pt>
          <cx:pt idx="97418">1</cx:pt>
          <cx:pt idx="97419">3</cx:pt>
          <cx:pt idx="97420">5</cx:pt>
          <cx:pt idx="97421">3</cx:pt>
          <cx:pt idx="97422">3</cx:pt>
          <cx:pt idx="97423">5</cx:pt>
          <cx:pt idx="97424">4</cx:pt>
          <cx:pt idx="97425">4</cx:pt>
          <cx:pt idx="97426">4</cx:pt>
          <cx:pt idx="97427">4</cx:pt>
          <cx:pt idx="97428">5</cx:pt>
          <cx:pt idx="97429">5</cx:pt>
          <cx:pt idx="97430">5</cx:pt>
          <cx:pt idx="97431">1</cx:pt>
          <cx:pt idx="97432">3</cx:pt>
          <cx:pt idx="97433">5</cx:pt>
          <cx:pt idx="97434">4</cx:pt>
          <cx:pt idx="97435">5</cx:pt>
          <cx:pt idx="97436">4</cx:pt>
          <cx:pt idx="97437">5</cx:pt>
          <cx:pt idx="97438">3</cx:pt>
          <cx:pt idx="97439">4</cx:pt>
          <cx:pt idx="97440">1</cx:pt>
          <cx:pt idx="97441">4</cx:pt>
          <cx:pt idx="97442">5</cx:pt>
          <cx:pt idx="97443">1</cx:pt>
          <cx:pt idx="97444">2</cx:pt>
          <cx:pt idx="97445">3</cx:pt>
          <cx:pt idx="97446">3</cx:pt>
          <cx:pt idx="97447">4</cx:pt>
          <cx:pt idx="97448">1</cx:pt>
          <cx:pt idx="97449">4</cx:pt>
          <cx:pt idx="97450">4</cx:pt>
          <cx:pt idx="97451">4</cx:pt>
          <cx:pt idx="97452">2</cx:pt>
          <cx:pt idx="97453">4</cx:pt>
          <cx:pt idx="97454">3</cx:pt>
          <cx:pt idx="97455">4</cx:pt>
          <cx:pt idx="97456">5</cx:pt>
          <cx:pt idx="97457">4</cx:pt>
          <cx:pt idx="97458">4</cx:pt>
          <cx:pt idx="97459">1</cx:pt>
          <cx:pt idx="97460">4</cx:pt>
          <cx:pt idx="97461">3</cx:pt>
          <cx:pt idx="97462">2</cx:pt>
          <cx:pt idx="97463">1</cx:pt>
          <cx:pt idx="97464">1</cx:pt>
          <cx:pt idx="97465">4</cx:pt>
          <cx:pt idx="97466">5</cx:pt>
          <cx:pt idx="97467">3</cx:pt>
          <cx:pt idx="97468">5</cx:pt>
          <cx:pt idx="97469">5</cx:pt>
          <cx:pt idx="97470">4</cx:pt>
          <cx:pt idx="97471">5</cx:pt>
          <cx:pt idx="97472">5</cx:pt>
          <cx:pt idx="97473">5</cx:pt>
          <cx:pt idx="97474">5</cx:pt>
          <cx:pt idx="97475">5</cx:pt>
          <cx:pt idx="97476">4</cx:pt>
          <cx:pt idx="97477">5</cx:pt>
          <cx:pt idx="97478">5</cx:pt>
          <cx:pt idx="97479">4</cx:pt>
          <cx:pt idx="97480">2</cx:pt>
          <cx:pt idx="97481">3</cx:pt>
          <cx:pt idx="97482">3</cx:pt>
          <cx:pt idx="97483">3</cx:pt>
          <cx:pt idx="97484">4</cx:pt>
          <cx:pt idx="97485">3</cx:pt>
          <cx:pt idx="97486">5</cx:pt>
          <cx:pt idx="97487">4</cx:pt>
          <cx:pt idx="97488">4</cx:pt>
          <cx:pt idx="97489">2</cx:pt>
          <cx:pt idx="97490">2</cx:pt>
          <cx:pt idx="97491">5</cx:pt>
          <cx:pt idx="97492">2</cx:pt>
          <cx:pt idx="97493">3</cx:pt>
          <cx:pt idx="97494">3</cx:pt>
          <cx:pt idx="97495">5</cx:pt>
          <cx:pt idx="97496">2</cx:pt>
          <cx:pt idx="97497">3</cx:pt>
          <cx:pt idx="97498">4</cx:pt>
          <cx:pt idx="97499">4</cx:pt>
          <cx:pt idx="97500">1</cx:pt>
          <cx:pt idx="97501">4</cx:pt>
          <cx:pt idx="97502">5</cx:pt>
          <cx:pt idx="97503">3</cx:pt>
          <cx:pt idx="97504">5</cx:pt>
          <cx:pt idx="97505">5</cx:pt>
          <cx:pt idx="97506">2</cx:pt>
          <cx:pt idx="97507">3</cx:pt>
          <cx:pt idx="97508">3</cx:pt>
          <cx:pt idx="97509">5</cx:pt>
          <cx:pt idx="97510">5</cx:pt>
          <cx:pt idx="97511">1</cx:pt>
          <cx:pt idx="97512">5</cx:pt>
          <cx:pt idx="97513">3</cx:pt>
          <cx:pt idx="97514">5</cx:pt>
          <cx:pt idx="97515">1</cx:pt>
          <cx:pt idx="97516">3</cx:pt>
          <cx:pt idx="97517">2</cx:pt>
          <cx:pt idx="97518">1</cx:pt>
          <cx:pt idx="97519">4</cx:pt>
          <cx:pt idx="97520">1</cx:pt>
          <cx:pt idx="97521">2</cx:pt>
          <cx:pt idx="97522">5</cx:pt>
          <cx:pt idx="97523">3</cx:pt>
          <cx:pt idx="97524">3</cx:pt>
          <cx:pt idx="97525">5</cx:pt>
          <cx:pt idx="97526">1</cx:pt>
          <cx:pt idx="97527">3</cx:pt>
          <cx:pt idx="97528">1</cx:pt>
          <cx:pt idx="97529">4</cx:pt>
          <cx:pt idx="97530">5</cx:pt>
          <cx:pt idx="97531">1</cx:pt>
          <cx:pt idx="97532">2</cx:pt>
          <cx:pt idx="97533">5</cx:pt>
          <cx:pt idx="97534">2</cx:pt>
          <cx:pt idx="97535">2</cx:pt>
          <cx:pt idx="97536">4</cx:pt>
          <cx:pt idx="97537">5</cx:pt>
          <cx:pt idx="97538">4</cx:pt>
          <cx:pt idx="97539">4</cx:pt>
          <cx:pt idx="97540">5</cx:pt>
          <cx:pt idx="97541">2</cx:pt>
          <cx:pt idx="97542">5</cx:pt>
          <cx:pt idx="97543">5</cx:pt>
          <cx:pt idx="97544">5</cx:pt>
          <cx:pt idx="97545">3</cx:pt>
          <cx:pt idx="97546">4</cx:pt>
          <cx:pt idx="97547">1</cx:pt>
          <cx:pt idx="97548">1</cx:pt>
          <cx:pt idx="97549">4</cx:pt>
          <cx:pt idx="97550">4</cx:pt>
          <cx:pt idx="97551">2</cx:pt>
          <cx:pt idx="97552">4</cx:pt>
          <cx:pt idx="97553">1</cx:pt>
          <cx:pt idx="97554">5</cx:pt>
          <cx:pt idx="97555">4</cx:pt>
          <cx:pt idx="97556">1</cx:pt>
          <cx:pt idx="97557">4</cx:pt>
          <cx:pt idx="97558">5</cx:pt>
          <cx:pt idx="97559">3</cx:pt>
          <cx:pt idx="97560">5</cx:pt>
          <cx:pt idx="97561">4</cx:pt>
          <cx:pt idx="97562">4</cx:pt>
          <cx:pt idx="97563">4</cx:pt>
          <cx:pt idx="97564">3</cx:pt>
          <cx:pt idx="97565">3</cx:pt>
          <cx:pt idx="97566">3</cx:pt>
          <cx:pt idx="97567">5</cx:pt>
          <cx:pt idx="97568">4</cx:pt>
          <cx:pt idx="97569">4</cx:pt>
          <cx:pt idx="97570">5</cx:pt>
          <cx:pt idx="97571">1</cx:pt>
          <cx:pt idx="97572">5</cx:pt>
          <cx:pt idx="97573">5</cx:pt>
          <cx:pt idx="97574">2</cx:pt>
          <cx:pt idx="97575">3</cx:pt>
          <cx:pt idx="97576">5</cx:pt>
          <cx:pt idx="97577">4</cx:pt>
          <cx:pt idx="97578">4</cx:pt>
          <cx:pt idx="97579">2</cx:pt>
          <cx:pt idx="97580">1</cx:pt>
          <cx:pt idx="97581">4</cx:pt>
          <cx:pt idx="97582">5</cx:pt>
          <cx:pt idx="97583">3</cx:pt>
          <cx:pt idx="97584">2</cx:pt>
          <cx:pt idx="97585">5</cx:pt>
          <cx:pt idx="97586">4</cx:pt>
          <cx:pt idx="97587">5</cx:pt>
          <cx:pt idx="97588">4</cx:pt>
          <cx:pt idx="97589">5</cx:pt>
          <cx:pt idx="97590">3</cx:pt>
          <cx:pt idx="97591">4</cx:pt>
          <cx:pt idx="97592">2</cx:pt>
          <cx:pt idx="97593">1</cx:pt>
          <cx:pt idx="97594">4</cx:pt>
          <cx:pt idx="97595">5</cx:pt>
          <cx:pt idx="97596">4</cx:pt>
          <cx:pt idx="97597">5</cx:pt>
          <cx:pt idx="97598">4</cx:pt>
          <cx:pt idx="97599">2</cx:pt>
          <cx:pt idx="97600">1</cx:pt>
          <cx:pt idx="97601">4</cx:pt>
          <cx:pt idx="97602">3</cx:pt>
          <cx:pt idx="97603">5</cx:pt>
          <cx:pt idx="97604">4</cx:pt>
          <cx:pt idx="97605">4</cx:pt>
          <cx:pt idx="97606">4</cx:pt>
          <cx:pt idx="97607">3</cx:pt>
          <cx:pt idx="97608">3</cx:pt>
          <cx:pt idx="97609">2</cx:pt>
          <cx:pt idx="97610">4</cx:pt>
          <cx:pt idx="97611">4</cx:pt>
          <cx:pt idx="97612">4</cx:pt>
          <cx:pt idx="97613">1</cx:pt>
          <cx:pt idx="97614">2</cx:pt>
          <cx:pt idx="97615">4</cx:pt>
          <cx:pt idx="97616">5</cx:pt>
          <cx:pt idx="97617">2</cx:pt>
          <cx:pt idx="97618">5</cx:pt>
          <cx:pt idx="97619">2</cx:pt>
          <cx:pt idx="97620">4</cx:pt>
          <cx:pt idx="97621">1</cx:pt>
          <cx:pt idx="97622">3</cx:pt>
          <cx:pt idx="97623">4</cx:pt>
          <cx:pt idx="97624">4</cx:pt>
          <cx:pt idx="97625">5</cx:pt>
          <cx:pt idx="97626">1</cx:pt>
          <cx:pt idx="97627">5</cx:pt>
          <cx:pt idx="97628">3</cx:pt>
          <cx:pt idx="97629">3</cx:pt>
          <cx:pt idx="97630">4</cx:pt>
          <cx:pt idx="97631">1</cx:pt>
          <cx:pt idx="97632">5</cx:pt>
          <cx:pt idx="97633">5</cx:pt>
          <cx:pt idx="97634">5</cx:pt>
          <cx:pt idx="97635">2</cx:pt>
          <cx:pt idx="97636">4</cx:pt>
          <cx:pt idx="97637">5</cx:pt>
          <cx:pt idx="97638">5</cx:pt>
          <cx:pt idx="97639">4</cx:pt>
          <cx:pt idx="97640">3</cx:pt>
          <cx:pt idx="97641">3</cx:pt>
          <cx:pt idx="97642">3</cx:pt>
          <cx:pt idx="97643">5</cx:pt>
          <cx:pt idx="97644">2</cx:pt>
          <cx:pt idx="97645">3</cx:pt>
          <cx:pt idx="97646">4</cx:pt>
          <cx:pt idx="97647">5</cx:pt>
          <cx:pt idx="97648">4</cx:pt>
          <cx:pt idx="97649">2</cx:pt>
          <cx:pt idx="97650">3</cx:pt>
          <cx:pt idx="97651">1</cx:pt>
          <cx:pt idx="97652">4</cx:pt>
          <cx:pt idx="97653">4</cx:pt>
          <cx:pt idx="97654">4</cx:pt>
          <cx:pt idx="97655">5</cx:pt>
          <cx:pt idx="97656">5</cx:pt>
          <cx:pt idx="97657">3</cx:pt>
          <cx:pt idx="97658">5</cx:pt>
          <cx:pt idx="97659">4</cx:pt>
          <cx:pt idx="97660">1</cx:pt>
          <cx:pt idx="97661">4</cx:pt>
          <cx:pt idx="97662">5</cx:pt>
          <cx:pt idx="97663">4</cx:pt>
          <cx:pt idx="97664">2</cx:pt>
          <cx:pt idx="97665">1</cx:pt>
          <cx:pt idx="97666">3</cx:pt>
          <cx:pt idx="97667">3</cx:pt>
          <cx:pt idx="97668">1</cx:pt>
          <cx:pt idx="97669">4</cx:pt>
          <cx:pt idx="97670">4</cx:pt>
          <cx:pt idx="97671">1</cx:pt>
          <cx:pt idx="97672">4</cx:pt>
          <cx:pt idx="97673">1</cx:pt>
          <cx:pt idx="97674">3</cx:pt>
          <cx:pt idx="97675">3</cx:pt>
          <cx:pt idx="97676">4</cx:pt>
          <cx:pt idx="97677">5</cx:pt>
          <cx:pt idx="97678">2</cx:pt>
          <cx:pt idx="97679">5</cx:pt>
          <cx:pt idx="97680">4</cx:pt>
          <cx:pt idx="97681">1</cx:pt>
          <cx:pt idx="97682">4</cx:pt>
          <cx:pt idx="97683">1</cx:pt>
          <cx:pt idx="97684">4</cx:pt>
          <cx:pt idx="97685">1</cx:pt>
          <cx:pt idx="97686">4</cx:pt>
          <cx:pt idx="97687">5</cx:pt>
          <cx:pt idx="97688">4</cx:pt>
          <cx:pt idx="97689">2</cx:pt>
          <cx:pt idx="97690">4</cx:pt>
          <cx:pt idx="97691">5</cx:pt>
          <cx:pt idx="97692">4</cx:pt>
          <cx:pt idx="97693">3</cx:pt>
          <cx:pt idx="97694">5</cx:pt>
          <cx:pt idx="97695">1</cx:pt>
          <cx:pt idx="97696">3</cx:pt>
          <cx:pt idx="97697">2</cx:pt>
          <cx:pt idx="97698">2</cx:pt>
          <cx:pt idx="97699">3</cx:pt>
          <cx:pt idx="97700">2</cx:pt>
          <cx:pt idx="97701">2</cx:pt>
          <cx:pt idx="97702">4</cx:pt>
          <cx:pt idx="97703">1</cx:pt>
          <cx:pt idx="97704">4</cx:pt>
          <cx:pt idx="97705">4</cx:pt>
          <cx:pt idx="97706">4</cx:pt>
          <cx:pt idx="97707">1</cx:pt>
          <cx:pt idx="97708">5</cx:pt>
          <cx:pt idx="97709">2</cx:pt>
          <cx:pt idx="97710">3</cx:pt>
          <cx:pt idx="97711">3</cx:pt>
          <cx:pt idx="97712">3</cx:pt>
          <cx:pt idx="97713">4</cx:pt>
          <cx:pt idx="97714">4</cx:pt>
          <cx:pt idx="97715">5</cx:pt>
          <cx:pt idx="97716">5</cx:pt>
          <cx:pt idx="97717">3</cx:pt>
          <cx:pt idx="97718">5</cx:pt>
          <cx:pt idx="97719">5</cx:pt>
          <cx:pt idx="97720">5</cx:pt>
          <cx:pt idx="97721">2</cx:pt>
          <cx:pt idx="97722">4</cx:pt>
          <cx:pt idx="97723">2</cx:pt>
          <cx:pt idx="97724">4</cx:pt>
          <cx:pt idx="97725">4</cx:pt>
          <cx:pt idx="97726">5</cx:pt>
          <cx:pt idx="97727">4</cx:pt>
          <cx:pt idx="97728">1</cx:pt>
          <cx:pt idx="97729">2</cx:pt>
          <cx:pt idx="97730">5</cx:pt>
          <cx:pt idx="97731">5</cx:pt>
          <cx:pt idx="97732">4</cx:pt>
          <cx:pt idx="97733">3</cx:pt>
          <cx:pt idx="97734">4</cx:pt>
          <cx:pt idx="97735">4</cx:pt>
          <cx:pt idx="97736">5</cx:pt>
          <cx:pt idx="97737">1</cx:pt>
          <cx:pt idx="97738">3</cx:pt>
          <cx:pt idx="97739">5</cx:pt>
          <cx:pt idx="97740">4</cx:pt>
          <cx:pt idx="97741">2</cx:pt>
          <cx:pt idx="97742">2</cx:pt>
          <cx:pt idx="97743">5</cx:pt>
          <cx:pt idx="97744">5</cx:pt>
          <cx:pt idx="97745">3</cx:pt>
          <cx:pt idx="97746">1</cx:pt>
          <cx:pt idx="97747">4</cx:pt>
          <cx:pt idx="97748">4</cx:pt>
          <cx:pt idx="97749">3</cx:pt>
          <cx:pt idx="97750">4</cx:pt>
          <cx:pt idx="97751">4</cx:pt>
          <cx:pt idx="97752">2</cx:pt>
          <cx:pt idx="97753">5</cx:pt>
          <cx:pt idx="97754">5</cx:pt>
          <cx:pt idx="97755">5</cx:pt>
          <cx:pt idx="97756">3</cx:pt>
          <cx:pt idx="97757">1</cx:pt>
          <cx:pt idx="97758">5</cx:pt>
          <cx:pt idx="97759">4</cx:pt>
          <cx:pt idx="97760">5</cx:pt>
          <cx:pt idx="97761">4</cx:pt>
          <cx:pt idx="97762">4</cx:pt>
          <cx:pt idx="97763">3</cx:pt>
          <cx:pt idx="97764">5</cx:pt>
          <cx:pt idx="97765">3</cx:pt>
          <cx:pt idx="97766">2</cx:pt>
          <cx:pt idx="97767">3</cx:pt>
          <cx:pt idx="97768">2</cx:pt>
          <cx:pt idx="97769">3</cx:pt>
          <cx:pt idx="97770">5</cx:pt>
          <cx:pt idx="97771">4</cx:pt>
          <cx:pt idx="97772">3</cx:pt>
          <cx:pt idx="97773">4</cx:pt>
          <cx:pt idx="97774">3</cx:pt>
          <cx:pt idx="97775">2</cx:pt>
          <cx:pt idx="97776">3</cx:pt>
          <cx:pt idx="97777">5</cx:pt>
          <cx:pt idx="97778">4</cx:pt>
          <cx:pt idx="97779">4</cx:pt>
          <cx:pt idx="97780">2</cx:pt>
          <cx:pt idx="97781">4</cx:pt>
          <cx:pt idx="97782">4</cx:pt>
          <cx:pt idx="97783">1</cx:pt>
          <cx:pt idx="97784">4</cx:pt>
          <cx:pt idx="97785">2</cx:pt>
          <cx:pt idx="97786">3</cx:pt>
          <cx:pt idx="97787">3</cx:pt>
          <cx:pt idx="97788">2</cx:pt>
          <cx:pt idx="97789">3</cx:pt>
          <cx:pt idx="97790">4</cx:pt>
          <cx:pt idx="97791">3</cx:pt>
          <cx:pt idx="97792">3</cx:pt>
          <cx:pt idx="97793">4</cx:pt>
          <cx:pt idx="97794">4</cx:pt>
          <cx:pt idx="97795">4</cx:pt>
          <cx:pt idx="97796">3</cx:pt>
          <cx:pt idx="97797">3</cx:pt>
          <cx:pt idx="97798">3</cx:pt>
          <cx:pt idx="97799">3</cx:pt>
          <cx:pt idx="97800">5</cx:pt>
          <cx:pt idx="97801">3</cx:pt>
          <cx:pt idx="97802">2</cx:pt>
          <cx:pt idx="97803">2</cx:pt>
          <cx:pt idx="97804">5</cx:pt>
          <cx:pt idx="97805">1</cx:pt>
          <cx:pt idx="97806">3</cx:pt>
          <cx:pt idx="97807">4</cx:pt>
          <cx:pt idx="97808">5</cx:pt>
          <cx:pt idx="97809">4</cx:pt>
          <cx:pt idx="97810">3</cx:pt>
          <cx:pt idx="97811">2</cx:pt>
          <cx:pt idx="97812">2</cx:pt>
          <cx:pt idx="97813">4</cx:pt>
          <cx:pt idx="97814">4</cx:pt>
          <cx:pt idx="97815">1</cx:pt>
          <cx:pt idx="97816">5</cx:pt>
          <cx:pt idx="97817">2</cx:pt>
          <cx:pt idx="97818">4</cx:pt>
          <cx:pt idx="97819">4</cx:pt>
          <cx:pt idx="97820">3</cx:pt>
          <cx:pt idx="97821">3</cx:pt>
          <cx:pt idx="97822">1</cx:pt>
          <cx:pt idx="97823">1</cx:pt>
          <cx:pt idx="97824">3</cx:pt>
          <cx:pt idx="97825">4</cx:pt>
          <cx:pt idx="97826">4</cx:pt>
          <cx:pt idx="97827">3</cx:pt>
          <cx:pt idx="97828">3</cx:pt>
          <cx:pt idx="97829">4</cx:pt>
          <cx:pt idx="97830">3</cx:pt>
          <cx:pt idx="97831">4</cx:pt>
          <cx:pt idx="97832">5</cx:pt>
          <cx:pt idx="97833">3</cx:pt>
          <cx:pt idx="97834">2</cx:pt>
          <cx:pt idx="97835">4</cx:pt>
          <cx:pt idx="97836">5</cx:pt>
          <cx:pt idx="97837">5</cx:pt>
          <cx:pt idx="97838">2</cx:pt>
          <cx:pt idx="97839">5</cx:pt>
          <cx:pt idx="97840">2</cx:pt>
          <cx:pt idx="97841">4</cx:pt>
          <cx:pt idx="97842">3</cx:pt>
          <cx:pt idx="97843">3</cx:pt>
          <cx:pt idx="97844">5</cx:pt>
          <cx:pt idx="97845">1</cx:pt>
          <cx:pt idx="97846">5</cx:pt>
          <cx:pt idx="97847">5</cx:pt>
          <cx:pt idx="97848">1</cx:pt>
          <cx:pt idx="97849">3</cx:pt>
          <cx:pt idx="97850">5</cx:pt>
          <cx:pt idx="97851">5</cx:pt>
          <cx:pt idx="97852">5</cx:pt>
          <cx:pt idx="97853">4</cx:pt>
          <cx:pt idx="97854">4</cx:pt>
          <cx:pt idx="97855">4</cx:pt>
          <cx:pt idx="97856">3</cx:pt>
          <cx:pt idx="97857">4</cx:pt>
          <cx:pt idx="97858">5</cx:pt>
          <cx:pt idx="97859">2</cx:pt>
          <cx:pt idx="97860">3</cx:pt>
          <cx:pt idx="97861">4</cx:pt>
          <cx:pt idx="97862">5</cx:pt>
          <cx:pt idx="97863">2</cx:pt>
          <cx:pt idx="97864">3</cx:pt>
          <cx:pt idx="97865">4</cx:pt>
          <cx:pt idx="97866">1</cx:pt>
          <cx:pt idx="97867">5</cx:pt>
          <cx:pt idx="97868">5</cx:pt>
          <cx:pt idx="97869">2</cx:pt>
          <cx:pt idx="97870">3</cx:pt>
          <cx:pt idx="97871">5</cx:pt>
          <cx:pt idx="97872">3</cx:pt>
          <cx:pt idx="97873">4</cx:pt>
          <cx:pt idx="97874">3</cx:pt>
          <cx:pt idx="97875">4</cx:pt>
          <cx:pt idx="97876">5</cx:pt>
          <cx:pt idx="97877">1</cx:pt>
          <cx:pt idx="97878">4</cx:pt>
          <cx:pt idx="97879">5</cx:pt>
          <cx:pt idx="97880">4</cx:pt>
          <cx:pt idx="97881">3</cx:pt>
          <cx:pt idx="97882">3</cx:pt>
          <cx:pt idx="97883">5</cx:pt>
          <cx:pt idx="97884">2</cx:pt>
          <cx:pt idx="97885">4</cx:pt>
          <cx:pt idx="97886">5</cx:pt>
          <cx:pt idx="97887">5</cx:pt>
          <cx:pt idx="97888">4</cx:pt>
          <cx:pt idx="97889">2</cx:pt>
          <cx:pt idx="97890">3</cx:pt>
          <cx:pt idx="97891">4</cx:pt>
          <cx:pt idx="97892">5</cx:pt>
          <cx:pt idx="97893">3</cx:pt>
          <cx:pt idx="97894">4</cx:pt>
          <cx:pt idx="97895">4</cx:pt>
          <cx:pt idx="97896">4</cx:pt>
          <cx:pt idx="97897">4</cx:pt>
          <cx:pt idx="97898">4</cx:pt>
          <cx:pt idx="97899">1</cx:pt>
          <cx:pt idx="97900">1</cx:pt>
          <cx:pt idx="97901">1</cx:pt>
          <cx:pt idx="97902">5</cx:pt>
          <cx:pt idx="97903">3</cx:pt>
          <cx:pt idx="97904">1</cx:pt>
          <cx:pt idx="97905">4</cx:pt>
          <cx:pt idx="97906">5</cx:pt>
          <cx:pt idx="97907">2</cx:pt>
          <cx:pt idx="97908">5</cx:pt>
          <cx:pt idx="97909">4</cx:pt>
          <cx:pt idx="97910">5</cx:pt>
          <cx:pt idx="97911">5</cx:pt>
          <cx:pt idx="97912">5</cx:pt>
          <cx:pt idx="97913">3</cx:pt>
          <cx:pt idx="97914">4</cx:pt>
          <cx:pt idx="97915">5</cx:pt>
          <cx:pt idx="97916">5</cx:pt>
          <cx:pt idx="97917">3</cx:pt>
          <cx:pt idx="97918">4</cx:pt>
          <cx:pt idx="97919">3</cx:pt>
          <cx:pt idx="97920">2</cx:pt>
          <cx:pt idx="97921">1</cx:pt>
          <cx:pt idx="97922">5</cx:pt>
          <cx:pt idx="97923">4</cx:pt>
          <cx:pt idx="97924">3</cx:pt>
          <cx:pt idx="97925">5</cx:pt>
          <cx:pt idx="97926">3</cx:pt>
          <cx:pt idx="97927">1</cx:pt>
          <cx:pt idx="97928">4</cx:pt>
          <cx:pt idx="97929">2</cx:pt>
          <cx:pt idx="97930">4</cx:pt>
          <cx:pt idx="97931">1</cx:pt>
          <cx:pt idx="97932">4</cx:pt>
          <cx:pt idx="97933">2</cx:pt>
          <cx:pt idx="97934">4</cx:pt>
          <cx:pt idx="97935">4</cx:pt>
          <cx:pt idx="97936">4</cx:pt>
          <cx:pt idx="97937">2</cx:pt>
          <cx:pt idx="97938">3</cx:pt>
          <cx:pt idx="97939">5</cx:pt>
          <cx:pt idx="97940">1</cx:pt>
          <cx:pt idx="97941">1</cx:pt>
          <cx:pt idx="97942">5</cx:pt>
          <cx:pt idx="97943">5</cx:pt>
          <cx:pt idx="97944">4</cx:pt>
          <cx:pt idx="97945">2</cx:pt>
          <cx:pt idx="97946">4</cx:pt>
          <cx:pt idx="97947">5</cx:pt>
          <cx:pt idx="97948">5</cx:pt>
          <cx:pt idx="97949">4</cx:pt>
          <cx:pt idx="97950">5</cx:pt>
          <cx:pt idx="97951">4</cx:pt>
          <cx:pt idx="97952">3</cx:pt>
          <cx:pt idx="97953">3</cx:pt>
          <cx:pt idx="97954">4</cx:pt>
          <cx:pt idx="97955">4</cx:pt>
          <cx:pt idx="97956">3</cx:pt>
          <cx:pt idx="97957">2</cx:pt>
          <cx:pt idx="97958">4</cx:pt>
          <cx:pt idx="97959">5</cx:pt>
          <cx:pt idx="97960">3</cx:pt>
          <cx:pt idx="97961">5</cx:pt>
          <cx:pt idx="97962">2</cx:pt>
          <cx:pt idx="97963">1</cx:pt>
          <cx:pt idx="97964">1</cx:pt>
          <cx:pt idx="97965">4</cx:pt>
          <cx:pt idx="97966">4</cx:pt>
          <cx:pt idx="97967">3</cx:pt>
          <cx:pt idx="97968">3</cx:pt>
          <cx:pt idx="97969">3</cx:pt>
          <cx:pt idx="97970">3</cx:pt>
          <cx:pt idx="97971">5</cx:pt>
          <cx:pt idx="97972">3</cx:pt>
          <cx:pt idx="97973">2</cx:pt>
          <cx:pt idx="97974">3</cx:pt>
          <cx:pt idx="97975">3</cx:pt>
          <cx:pt idx="97976">4</cx:pt>
          <cx:pt idx="97977">5</cx:pt>
          <cx:pt idx="97978">5</cx:pt>
          <cx:pt idx="97979">4</cx:pt>
          <cx:pt idx="97980">1</cx:pt>
          <cx:pt idx="97981">2</cx:pt>
          <cx:pt idx="97982">4</cx:pt>
          <cx:pt idx="97983">3</cx:pt>
          <cx:pt idx="97984">2</cx:pt>
          <cx:pt idx="97985">3</cx:pt>
          <cx:pt idx="97986">1</cx:pt>
          <cx:pt idx="97987">5</cx:pt>
          <cx:pt idx="97988">3</cx:pt>
          <cx:pt idx="97989">5</cx:pt>
          <cx:pt idx="97990">2</cx:pt>
          <cx:pt idx="97991">3</cx:pt>
          <cx:pt idx="97992">5</cx:pt>
          <cx:pt idx="97993">3</cx:pt>
          <cx:pt idx="97994">2</cx:pt>
          <cx:pt idx="97995">4</cx:pt>
          <cx:pt idx="97996">4</cx:pt>
          <cx:pt idx="97997">4</cx:pt>
          <cx:pt idx="97998">4</cx:pt>
          <cx:pt idx="97999">2</cx:pt>
          <cx:pt idx="98000">5</cx:pt>
          <cx:pt idx="98001">5</cx:pt>
          <cx:pt idx="98002">4</cx:pt>
          <cx:pt idx="98003">5</cx:pt>
          <cx:pt idx="98004">1</cx:pt>
          <cx:pt idx="98005">5</cx:pt>
          <cx:pt idx="98006">5</cx:pt>
          <cx:pt idx="98007">5</cx:pt>
          <cx:pt idx="98008">3</cx:pt>
          <cx:pt idx="98009">4</cx:pt>
          <cx:pt idx="98010">4</cx:pt>
          <cx:pt idx="98011">1</cx:pt>
          <cx:pt idx="98012">5</cx:pt>
          <cx:pt idx="98013">5</cx:pt>
          <cx:pt idx="98014">5</cx:pt>
          <cx:pt idx="98015">4</cx:pt>
          <cx:pt idx="98016">5</cx:pt>
          <cx:pt idx="98017">5</cx:pt>
          <cx:pt idx="98018">5</cx:pt>
          <cx:pt idx="98019">1</cx:pt>
          <cx:pt idx="98020">5</cx:pt>
          <cx:pt idx="98021">5</cx:pt>
          <cx:pt idx="98022">5</cx:pt>
          <cx:pt idx="98023">4</cx:pt>
          <cx:pt idx="98024">4</cx:pt>
          <cx:pt idx="98025">4</cx:pt>
          <cx:pt idx="98026">5</cx:pt>
          <cx:pt idx="98027">1</cx:pt>
          <cx:pt idx="98028">4</cx:pt>
          <cx:pt idx="98029">5</cx:pt>
          <cx:pt idx="98030">4</cx:pt>
          <cx:pt idx="98031">4</cx:pt>
          <cx:pt idx="98032">1</cx:pt>
          <cx:pt idx="98033">5</cx:pt>
          <cx:pt idx="98034">4</cx:pt>
          <cx:pt idx="98035">3</cx:pt>
          <cx:pt idx="98036">4</cx:pt>
          <cx:pt idx="98037">3</cx:pt>
          <cx:pt idx="98038">4</cx:pt>
          <cx:pt idx="98039">4</cx:pt>
          <cx:pt idx="98040">1</cx:pt>
          <cx:pt idx="98041">2</cx:pt>
          <cx:pt idx="98042">4</cx:pt>
          <cx:pt idx="98043">3</cx:pt>
          <cx:pt idx="98044">2</cx:pt>
          <cx:pt idx="98045">4</cx:pt>
          <cx:pt idx="98046">4</cx:pt>
          <cx:pt idx="98047">4</cx:pt>
          <cx:pt idx="98048">5</cx:pt>
          <cx:pt idx="98049">2</cx:pt>
          <cx:pt idx="98050">3</cx:pt>
          <cx:pt idx="98051">1</cx:pt>
          <cx:pt idx="98052">4</cx:pt>
          <cx:pt idx="98053">4</cx:pt>
          <cx:pt idx="98054">1</cx:pt>
          <cx:pt idx="98055">4</cx:pt>
          <cx:pt idx="98056">1</cx:pt>
          <cx:pt idx="98057">2</cx:pt>
          <cx:pt idx="98058">4</cx:pt>
          <cx:pt idx="98059">2</cx:pt>
          <cx:pt idx="98060">4</cx:pt>
          <cx:pt idx="98061">3</cx:pt>
          <cx:pt idx="98062">2</cx:pt>
          <cx:pt idx="98063">5</cx:pt>
          <cx:pt idx="98064">5</cx:pt>
          <cx:pt idx="98065">4</cx:pt>
          <cx:pt idx="98066">2</cx:pt>
          <cx:pt idx="98067">3</cx:pt>
          <cx:pt idx="98068">2</cx:pt>
          <cx:pt idx="98069">5</cx:pt>
          <cx:pt idx="98070">1</cx:pt>
          <cx:pt idx="98071">4</cx:pt>
          <cx:pt idx="98072">2</cx:pt>
          <cx:pt idx="98073">1</cx:pt>
          <cx:pt idx="98074">3</cx:pt>
          <cx:pt idx="98075">2</cx:pt>
          <cx:pt idx="98076">2</cx:pt>
          <cx:pt idx="98077">3</cx:pt>
          <cx:pt idx="98078">3</cx:pt>
          <cx:pt idx="98079">4</cx:pt>
          <cx:pt idx="98080">4</cx:pt>
          <cx:pt idx="98081">4</cx:pt>
          <cx:pt idx="98082">3</cx:pt>
          <cx:pt idx="98083">4</cx:pt>
          <cx:pt idx="98084">4</cx:pt>
          <cx:pt idx="98085">4</cx:pt>
          <cx:pt idx="98086">3</cx:pt>
          <cx:pt idx="98087">2</cx:pt>
          <cx:pt idx="98088">2</cx:pt>
          <cx:pt idx="98089">5</cx:pt>
          <cx:pt idx="98090">4</cx:pt>
          <cx:pt idx="98091">5</cx:pt>
          <cx:pt idx="98092">4</cx:pt>
          <cx:pt idx="98093">3</cx:pt>
          <cx:pt idx="98094">4</cx:pt>
          <cx:pt idx="98095">5</cx:pt>
          <cx:pt idx="98096">5</cx:pt>
          <cx:pt idx="98097">5</cx:pt>
          <cx:pt idx="98098">5</cx:pt>
          <cx:pt idx="98099">5</cx:pt>
          <cx:pt idx="98100">5</cx:pt>
          <cx:pt idx="98101">2</cx:pt>
          <cx:pt idx="98102">5</cx:pt>
          <cx:pt idx="98103">5</cx:pt>
          <cx:pt idx="98104">2</cx:pt>
          <cx:pt idx="98105">1</cx:pt>
          <cx:pt idx="98106">4</cx:pt>
          <cx:pt idx="98107">1</cx:pt>
          <cx:pt idx="98108">1</cx:pt>
          <cx:pt idx="98109">5</cx:pt>
          <cx:pt idx="98110">2</cx:pt>
          <cx:pt idx="98111">4</cx:pt>
          <cx:pt idx="98112">5</cx:pt>
          <cx:pt idx="98113">3</cx:pt>
          <cx:pt idx="98114">4</cx:pt>
          <cx:pt idx="98115">4</cx:pt>
          <cx:pt idx="98116">2</cx:pt>
          <cx:pt idx="98117">5</cx:pt>
          <cx:pt idx="98118">5</cx:pt>
          <cx:pt idx="98119">5</cx:pt>
          <cx:pt idx="98120">4</cx:pt>
          <cx:pt idx="98121">3</cx:pt>
          <cx:pt idx="98122">5</cx:pt>
          <cx:pt idx="98123">5</cx:pt>
          <cx:pt idx="98124">5</cx:pt>
          <cx:pt idx="98125">3</cx:pt>
          <cx:pt idx="98126">3</cx:pt>
          <cx:pt idx="98127">4</cx:pt>
          <cx:pt idx="98128">4</cx:pt>
          <cx:pt idx="98129">5</cx:pt>
          <cx:pt idx="98130">5</cx:pt>
          <cx:pt idx="98131">5</cx:pt>
          <cx:pt idx="98132">4</cx:pt>
          <cx:pt idx="98133">4</cx:pt>
          <cx:pt idx="98134">4</cx:pt>
          <cx:pt idx="98135">3</cx:pt>
          <cx:pt idx="98136">1</cx:pt>
          <cx:pt idx="98137">2</cx:pt>
          <cx:pt idx="98138">4</cx:pt>
          <cx:pt idx="98139">1</cx:pt>
          <cx:pt idx="98140">4</cx:pt>
          <cx:pt idx="98141">1</cx:pt>
          <cx:pt idx="98142">3</cx:pt>
          <cx:pt idx="98143">2</cx:pt>
          <cx:pt idx="98144">1</cx:pt>
          <cx:pt idx="98145">4</cx:pt>
          <cx:pt idx="98146">5</cx:pt>
          <cx:pt idx="98147">3</cx:pt>
          <cx:pt idx="98148">1</cx:pt>
          <cx:pt idx="98149">5</cx:pt>
          <cx:pt idx="98150">5</cx:pt>
          <cx:pt idx="98151">4</cx:pt>
          <cx:pt idx="98152">3</cx:pt>
          <cx:pt idx="98153">4</cx:pt>
          <cx:pt idx="98154">3</cx:pt>
          <cx:pt idx="98155">1</cx:pt>
          <cx:pt idx="98156">3</cx:pt>
          <cx:pt idx="98157">3</cx:pt>
          <cx:pt idx="98158">1</cx:pt>
          <cx:pt idx="98159">4</cx:pt>
          <cx:pt idx="98160">1</cx:pt>
          <cx:pt idx="98161">4</cx:pt>
          <cx:pt idx="98162">4</cx:pt>
          <cx:pt idx="98163">2</cx:pt>
          <cx:pt idx="98164">4</cx:pt>
          <cx:pt idx="98165">4</cx:pt>
          <cx:pt idx="98166">2</cx:pt>
          <cx:pt idx="98167">2</cx:pt>
          <cx:pt idx="98168">1</cx:pt>
          <cx:pt idx="98169">1</cx:pt>
          <cx:pt idx="98170">4</cx:pt>
          <cx:pt idx="98171">1</cx:pt>
          <cx:pt idx="98172">4</cx:pt>
          <cx:pt idx="98173">5</cx:pt>
          <cx:pt idx="98174">5</cx:pt>
          <cx:pt idx="98175">2</cx:pt>
          <cx:pt idx="98176">4</cx:pt>
          <cx:pt idx="98177">4</cx:pt>
          <cx:pt idx="98178">2</cx:pt>
          <cx:pt idx="98179">4</cx:pt>
          <cx:pt idx="98180">3</cx:pt>
          <cx:pt idx="98181">2</cx:pt>
          <cx:pt idx="98182">3</cx:pt>
          <cx:pt idx="98183">3</cx:pt>
          <cx:pt idx="98184">4</cx:pt>
          <cx:pt idx="98185">5</cx:pt>
          <cx:pt idx="98186">3</cx:pt>
          <cx:pt idx="98187">4</cx:pt>
          <cx:pt idx="98188">4</cx:pt>
          <cx:pt idx="98189">4</cx:pt>
          <cx:pt idx="98190">2</cx:pt>
          <cx:pt idx="98191">4</cx:pt>
          <cx:pt idx="98192">5</cx:pt>
          <cx:pt idx="98193">4</cx:pt>
          <cx:pt idx="98194">5</cx:pt>
          <cx:pt idx="98195">5</cx:pt>
          <cx:pt idx="98196">3</cx:pt>
          <cx:pt idx="98197">4</cx:pt>
          <cx:pt idx="98198">5</cx:pt>
          <cx:pt idx="98199">3</cx:pt>
          <cx:pt idx="98200">4</cx:pt>
          <cx:pt idx="98201">2</cx:pt>
          <cx:pt idx="98202">4</cx:pt>
          <cx:pt idx="98203">1</cx:pt>
          <cx:pt idx="98204">3</cx:pt>
          <cx:pt idx="98205">5</cx:pt>
          <cx:pt idx="98206">4</cx:pt>
          <cx:pt idx="98207">4</cx:pt>
          <cx:pt idx="98208">4</cx:pt>
          <cx:pt idx="98209">4</cx:pt>
          <cx:pt idx="98210">4</cx:pt>
          <cx:pt idx="98211">4</cx:pt>
          <cx:pt idx="98212">4</cx:pt>
          <cx:pt idx="98213">4</cx:pt>
          <cx:pt idx="98214">2</cx:pt>
          <cx:pt idx="98215">1</cx:pt>
          <cx:pt idx="98216">3</cx:pt>
          <cx:pt idx="98217">1</cx:pt>
          <cx:pt idx="98218">4</cx:pt>
          <cx:pt idx="98219">5</cx:pt>
          <cx:pt idx="98220">1</cx:pt>
          <cx:pt idx="98221">3</cx:pt>
          <cx:pt idx="98222">4</cx:pt>
          <cx:pt idx="98223">4</cx:pt>
          <cx:pt idx="98224">2</cx:pt>
          <cx:pt idx="98225">5</cx:pt>
          <cx:pt idx="98226">4</cx:pt>
          <cx:pt idx="98227">2</cx:pt>
          <cx:pt idx="98228">5</cx:pt>
          <cx:pt idx="98229">5</cx:pt>
          <cx:pt idx="98230">4</cx:pt>
          <cx:pt idx="98231">4</cx:pt>
          <cx:pt idx="98232">4</cx:pt>
          <cx:pt idx="98233">1</cx:pt>
          <cx:pt idx="98234">4</cx:pt>
          <cx:pt idx="98235">5</cx:pt>
          <cx:pt idx="98236">1</cx:pt>
          <cx:pt idx="98237">5</cx:pt>
          <cx:pt idx="98238">2</cx:pt>
          <cx:pt idx="98239">1</cx:pt>
          <cx:pt idx="98240">2</cx:pt>
          <cx:pt idx="98241">4</cx:pt>
          <cx:pt idx="98242">4</cx:pt>
          <cx:pt idx="98243">5</cx:pt>
          <cx:pt idx="98244">3</cx:pt>
          <cx:pt idx="98245">4</cx:pt>
          <cx:pt idx="98246">5</cx:pt>
          <cx:pt idx="98247">1</cx:pt>
          <cx:pt idx="98248">3</cx:pt>
          <cx:pt idx="98249">4</cx:pt>
          <cx:pt idx="98250">1</cx:pt>
          <cx:pt idx="98251">5</cx:pt>
          <cx:pt idx="98252">4</cx:pt>
          <cx:pt idx="98253">4</cx:pt>
          <cx:pt idx="98254">2</cx:pt>
          <cx:pt idx="98255">4</cx:pt>
          <cx:pt idx="98256">4</cx:pt>
          <cx:pt idx="98257">5</cx:pt>
          <cx:pt idx="98258">4</cx:pt>
          <cx:pt idx="98259">5</cx:pt>
          <cx:pt idx="98260">4</cx:pt>
          <cx:pt idx="98261">3</cx:pt>
          <cx:pt idx="98262">4</cx:pt>
          <cx:pt idx="98263">5</cx:pt>
          <cx:pt idx="98264">4</cx:pt>
          <cx:pt idx="98265">2</cx:pt>
          <cx:pt idx="98266">4</cx:pt>
          <cx:pt idx="98267">2</cx:pt>
          <cx:pt idx="98268">4</cx:pt>
          <cx:pt idx="98269">1</cx:pt>
          <cx:pt idx="98270">1</cx:pt>
          <cx:pt idx="98271">1</cx:pt>
          <cx:pt idx="98272">4</cx:pt>
          <cx:pt idx="98273">2</cx:pt>
          <cx:pt idx="98274">4</cx:pt>
          <cx:pt idx="98275">5</cx:pt>
          <cx:pt idx="98276">4</cx:pt>
          <cx:pt idx="98277">3</cx:pt>
          <cx:pt idx="98278">4</cx:pt>
          <cx:pt idx="98279">4</cx:pt>
          <cx:pt idx="98280">4</cx:pt>
          <cx:pt idx="98281">5</cx:pt>
          <cx:pt idx="98282">4</cx:pt>
          <cx:pt idx="98283">5</cx:pt>
          <cx:pt idx="98284">3</cx:pt>
          <cx:pt idx="98285">4</cx:pt>
          <cx:pt idx="98286">5</cx:pt>
          <cx:pt idx="98287">3</cx:pt>
          <cx:pt idx="98288">5</cx:pt>
          <cx:pt idx="98289">2</cx:pt>
          <cx:pt idx="98290">4</cx:pt>
          <cx:pt idx="98291">3</cx:pt>
          <cx:pt idx="98292">5</cx:pt>
          <cx:pt idx="98293">4</cx:pt>
          <cx:pt idx="98294">4</cx:pt>
          <cx:pt idx="98295">2</cx:pt>
          <cx:pt idx="98296">5</cx:pt>
          <cx:pt idx="98297">4</cx:pt>
          <cx:pt idx="98298">4</cx:pt>
          <cx:pt idx="98299">5</cx:pt>
          <cx:pt idx="98300">3</cx:pt>
          <cx:pt idx="98301">4</cx:pt>
          <cx:pt idx="98302">5</cx:pt>
          <cx:pt idx="98303">4</cx:pt>
          <cx:pt idx="98304">4</cx:pt>
          <cx:pt idx="98305">4</cx:pt>
          <cx:pt idx="98306">5</cx:pt>
          <cx:pt idx="98307">2</cx:pt>
          <cx:pt idx="98308">5</cx:pt>
          <cx:pt idx="98309">5</cx:pt>
          <cx:pt idx="98310">1</cx:pt>
          <cx:pt idx="98311">2</cx:pt>
          <cx:pt idx="98312">1</cx:pt>
          <cx:pt idx="98313">3</cx:pt>
          <cx:pt idx="98314">3</cx:pt>
          <cx:pt idx="98315">4</cx:pt>
          <cx:pt idx="98316">5</cx:pt>
          <cx:pt idx="98317">1</cx:pt>
          <cx:pt idx="98318">4</cx:pt>
          <cx:pt idx="98319">3</cx:pt>
          <cx:pt idx="98320">4</cx:pt>
          <cx:pt idx="98321">4</cx:pt>
          <cx:pt idx="98322">4</cx:pt>
          <cx:pt idx="98323">1</cx:pt>
          <cx:pt idx="98324">5</cx:pt>
          <cx:pt idx="98325">1</cx:pt>
          <cx:pt idx="98326">1</cx:pt>
          <cx:pt idx="98327">5</cx:pt>
          <cx:pt idx="98328">1</cx:pt>
          <cx:pt idx="98329">2</cx:pt>
          <cx:pt idx="98330">5</cx:pt>
          <cx:pt idx="98331">5</cx:pt>
          <cx:pt idx="98332">2</cx:pt>
          <cx:pt idx="98333">2</cx:pt>
          <cx:pt idx="98334">4</cx:pt>
          <cx:pt idx="98335">1</cx:pt>
          <cx:pt idx="98336">3</cx:pt>
          <cx:pt idx="98337">5</cx:pt>
          <cx:pt idx="98338">1</cx:pt>
          <cx:pt idx="98339">4</cx:pt>
          <cx:pt idx="98340">4</cx:pt>
          <cx:pt idx="98341">4</cx:pt>
          <cx:pt idx="98342">3</cx:pt>
          <cx:pt idx="98343">1</cx:pt>
          <cx:pt idx="98344">1</cx:pt>
          <cx:pt idx="98345">4</cx:pt>
          <cx:pt idx="98346">5</cx:pt>
          <cx:pt idx="98347">1</cx:pt>
          <cx:pt idx="98348">4</cx:pt>
          <cx:pt idx="98349">5</cx:pt>
          <cx:pt idx="98350">5</cx:pt>
          <cx:pt idx="98351">3</cx:pt>
          <cx:pt idx="98352">4</cx:pt>
          <cx:pt idx="98353">4</cx:pt>
          <cx:pt idx="98354">3</cx:pt>
          <cx:pt idx="98355">2</cx:pt>
          <cx:pt idx="98356">4</cx:pt>
          <cx:pt idx="98357">4</cx:pt>
          <cx:pt idx="98358">5</cx:pt>
          <cx:pt idx="98359">5</cx:pt>
          <cx:pt idx="98360">1</cx:pt>
          <cx:pt idx="98361">3</cx:pt>
          <cx:pt idx="98362">5</cx:pt>
          <cx:pt idx="98363">4</cx:pt>
          <cx:pt idx="98364">4</cx:pt>
          <cx:pt idx="98365">4</cx:pt>
          <cx:pt idx="98366">3</cx:pt>
          <cx:pt idx="98367">1</cx:pt>
          <cx:pt idx="98368">1</cx:pt>
          <cx:pt idx="98369">4</cx:pt>
          <cx:pt idx="98370">3</cx:pt>
          <cx:pt idx="98371">3</cx:pt>
          <cx:pt idx="98372">3</cx:pt>
          <cx:pt idx="98373">3</cx:pt>
          <cx:pt idx="98374">3</cx:pt>
          <cx:pt idx="98375">2</cx:pt>
          <cx:pt idx="98376">1</cx:pt>
          <cx:pt idx="98377">4</cx:pt>
          <cx:pt idx="98378">4</cx:pt>
          <cx:pt idx="98379">4</cx:pt>
          <cx:pt idx="98380">2</cx:pt>
          <cx:pt idx="98381">4</cx:pt>
          <cx:pt idx="98382">3</cx:pt>
          <cx:pt idx="98383">2</cx:pt>
          <cx:pt idx="98384">1</cx:pt>
          <cx:pt idx="98385">3</cx:pt>
          <cx:pt idx="98386">4</cx:pt>
          <cx:pt idx="98387">1</cx:pt>
          <cx:pt idx="98388">4</cx:pt>
          <cx:pt idx="98389">2</cx:pt>
          <cx:pt idx="98390">2</cx:pt>
          <cx:pt idx="98391">4</cx:pt>
          <cx:pt idx="98392">4</cx:pt>
          <cx:pt idx="98393">4</cx:pt>
          <cx:pt idx="98394">4</cx:pt>
          <cx:pt idx="98395">2</cx:pt>
          <cx:pt idx="98396">1</cx:pt>
          <cx:pt idx="98397">1</cx:pt>
          <cx:pt idx="98398">5</cx:pt>
          <cx:pt idx="98399">4</cx:pt>
          <cx:pt idx="98400">5</cx:pt>
          <cx:pt idx="98401">5</cx:pt>
          <cx:pt idx="98402">3</cx:pt>
          <cx:pt idx="98403">1</cx:pt>
          <cx:pt idx="98404">4</cx:pt>
          <cx:pt idx="98405">5</cx:pt>
          <cx:pt idx="98406">4</cx:pt>
          <cx:pt idx="98407">4</cx:pt>
          <cx:pt idx="98408">4</cx:pt>
          <cx:pt idx="98409">4</cx:pt>
          <cx:pt idx="98410">4</cx:pt>
          <cx:pt idx="98411">4</cx:pt>
          <cx:pt idx="98412">3</cx:pt>
          <cx:pt idx="98413">3</cx:pt>
          <cx:pt idx="98414">5</cx:pt>
          <cx:pt idx="98415">4</cx:pt>
          <cx:pt idx="98416">3</cx:pt>
          <cx:pt idx="98417">5</cx:pt>
          <cx:pt idx="98418">4</cx:pt>
          <cx:pt idx="98419">5</cx:pt>
          <cx:pt idx="98420">1</cx:pt>
          <cx:pt idx="98421">1</cx:pt>
          <cx:pt idx="98422">5</cx:pt>
          <cx:pt idx="98423">5</cx:pt>
          <cx:pt idx="98424">3</cx:pt>
          <cx:pt idx="98425">3</cx:pt>
          <cx:pt idx="98426">3</cx:pt>
          <cx:pt idx="98427">5</cx:pt>
          <cx:pt idx="98428">2</cx:pt>
          <cx:pt idx="98429">5</cx:pt>
          <cx:pt idx="98430">5</cx:pt>
          <cx:pt idx="98431">4</cx:pt>
          <cx:pt idx="98432">5</cx:pt>
          <cx:pt idx="98433">4</cx:pt>
          <cx:pt idx="98434">2</cx:pt>
          <cx:pt idx="98435">2</cx:pt>
          <cx:pt idx="98436">5</cx:pt>
          <cx:pt idx="98437">1</cx:pt>
          <cx:pt idx="98438">5</cx:pt>
          <cx:pt idx="98439">4</cx:pt>
          <cx:pt idx="98440">1</cx:pt>
          <cx:pt idx="98441">3</cx:pt>
          <cx:pt idx="98442">2</cx:pt>
          <cx:pt idx="98443">3</cx:pt>
          <cx:pt idx="98444">4</cx:pt>
          <cx:pt idx="98445">2</cx:pt>
          <cx:pt idx="98446">5</cx:pt>
          <cx:pt idx="98447">4</cx:pt>
          <cx:pt idx="98448">4</cx:pt>
          <cx:pt idx="98449">5</cx:pt>
          <cx:pt idx="98450">3</cx:pt>
          <cx:pt idx="98451">3</cx:pt>
          <cx:pt idx="98452">1</cx:pt>
          <cx:pt idx="98453">4</cx:pt>
          <cx:pt idx="98454">1</cx:pt>
          <cx:pt idx="98455">3</cx:pt>
          <cx:pt idx="98456">1</cx:pt>
          <cx:pt idx="98457">1</cx:pt>
          <cx:pt idx="98458">5</cx:pt>
          <cx:pt idx="98459">5</cx:pt>
          <cx:pt idx="98460">3</cx:pt>
          <cx:pt idx="98461">3</cx:pt>
          <cx:pt idx="98462">3</cx:pt>
          <cx:pt idx="98463">5</cx:pt>
          <cx:pt idx="98464">3</cx:pt>
          <cx:pt idx="98465">5</cx:pt>
          <cx:pt idx="98466">4</cx:pt>
          <cx:pt idx="98467">4</cx:pt>
          <cx:pt idx="98468">4</cx:pt>
          <cx:pt idx="98469">5</cx:pt>
          <cx:pt idx="98470">3</cx:pt>
          <cx:pt idx="98471">4</cx:pt>
          <cx:pt idx="98472">4</cx:pt>
          <cx:pt idx="98473">5</cx:pt>
          <cx:pt idx="98474">4</cx:pt>
          <cx:pt idx="98475">2</cx:pt>
          <cx:pt idx="98476">5</cx:pt>
          <cx:pt idx="98477">5</cx:pt>
          <cx:pt idx="98478">2</cx:pt>
          <cx:pt idx="98479">4</cx:pt>
          <cx:pt idx="98480">2</cx:pt>
          <cx:pt idx="98481">4</cx:pt>
          <cx:pt idx="98482">5</cx:pt>
          <cx:pt idx="98483">5</cx:pt>
          <cx:pt idx="98484">5</cx:pt>
          <cx:pt idx="98485">2</cx:pt>
          <cx:pt idx="98486">4</cx:pt>
          <cx:pt idx="98487">3</cx:pt>
          <cx:pt idx="98488">4</cx:pt>
          <cx:pt idx="98489">5</cx:pt>
          <cx:pt idx="98490">5</cx:pt>
          <cx:pt idx="98491">5</cx:pt>
          <cx:pt idx="98492">5</cx:pt>
          <cx:pt idx="98493">3</cx:pt>
          <cx:pt idx="98494">3</cx:pt>
          <cx:pt idx="98495">3</cx:pt>
          <cx:pt idx="98496">4</cx:pt>
          <cx:pt idx="98497">1</cx:pt>
          <cx:pt idx="98498">4</cx:pt>
          <cx:pt idx="98499">3</cx:pt>
          <cx:pt idx="98500">5</cx:pt>
          <cx:pt idx="98501">5</cx:pt>
          <cx:pt idx="98502">2</cx:pt>
          <cx:pt idx="98503">4</cx:pt>
          <cx:pt idx="98504">3</cx:pt>
          <cx:pt idx="98505">4</cx:pt>
          <cx:pt idx="98506">5</cx:pt>
          <cx:pt idx="98507">3</cx:pt>
          <cx:pt idx="98508">2</cx:pt>
          <cx:pt idx="98509">4</cx:pt>
          <cx:pt idx="98510">2</cx:pt>
          <cx:pt idx="98511">4</cx:pt>
          <cx:pt idx="98512">3</cx:pt>
          <cx:pt idx="98513">5</cx:pt>
          <cx:pt idx="98514">4</cx:pt>
          <cx:pt idx="98515">5</cx:pt>
          <cx:pt idx="98516">2</cx:pt>
          <cx:pt idx="98517">1</cx:pt>
          <cx:pt idx="98518">4</cx:pt>
          <cx:pt idx="98519">2</cx:pt>
          <cx:pt idx="98520">1</cx:pt>
          <cx:pt idx="98521">3</cx:pt>
          <cx:pt idx="98522">4</cx:pt>
          <cx:pt idx="98523">3</cx:pt>
          <cx:pt idx="98524">5</cx:pt>
          <cx:pt idx="98525">5</cx:pt>
          <cx:pt idx="98526">1</cx:pt>
          <cx:pt idx="98527">2</cx:pt>
          <cx:pt idx="98528">1</cx:pt>
          <cx:pt idx="98529">4</cx:pt>
          <cx:pt idx="98530">3</cx:pt>
          <cx:pt idx="98531">2</cx:pt>
          <cx:pt idx="98532">3</cx:pt>
          <cx:pt idx="98533">4</cx:pt>
          <cx:pt idx="98534">4</cx:pt>
          <cx:pt idx="98535">5</cx:pt>
          <cx:pt idx="98536">5</cx:pt>
          <cx:pt idx="98537">4</cx:pt>
          <cx:pt idx="98538">4</cx:pt>
          <cx:pt idx="98539">4</cx:pt>
          <cx:pt idx="98540">5</cx:pt>
          <cx:pt idx="98541">3</cx:pt>
          <cx:pt idx="98542">1</cx:pt>
          <cx:pt idx="98543">3</cx:pt>
          <cx:pt idx="98544">5</cx:pt>
          <cx:pt idx="98545">4</cx:pt>
          <cx:pt idx="98546">4</cx:pt>
          <cx:pt idx="98547">2</cx:pt>
          <cx:pt idx="98548">3</cx:pt>
          <cx:pt idx="98549">5</cx:pt>
          <cx:pt idx="98550">5</cx:pt>
          <cx:pt idx="98551">2</cx:pt>
          <cx:pt idx="98552">4</cx:pt>
          <cx:pt idx="98553">3</cx:pt>
          <cx:pt idx="98554">4</cx:pt>
          <cx:pt idx="98555">2</cx:pt>
          <cx:pt idx="98556">3</cx:pt>
          <cx:pt idx="98557">2</cx:pt>
          <cx:pt idx="98558">2</cx:pt>
          <cx:pt idx="98559">5</cx:pt>
          <cx:pt idx="98560">3</cx:pt>
          <cx:pt idx="98561">1</cx:pt>
          <cx:pt idx="98562">3</cx:pt>
          <cx:pt idx="98563">2</cx:pt>
          <cx:pt idx="98564">5</cx:pt>
          <cx:pt idx="98565">2</cx:pt>
          <cx:pt idx="98566">4</cx:pt>
          <cx:pt idx="98567">5</cx:pt>
          <cx:pt idx="98568">3</cx:pt>
          <cx:pt idx="98569">4</cx:pt>
          <cx:pt idx="98570">5</cx:pt>
          <cx:pt idx="98571">4</cx:pt>
          <cx:pt idx="98572">5</cx:pt>
          <cx:pt idx="98573">3</cx:pt>
          <cx:pt idx="98574">2</cx:pt>
          <cx:pt idx="98575">3</cx:pt>
          <cx:pt idx="98576">3</cx:pt>
          <cx:pt idx="98577">4</cx:pt>
          <cx:pt idx="98578">4</cx:pt>
          <cx:pt idx="98579">2</cx:pt>
          <cx:pt idx="98580">3</cx:pt>
          <cx:pt idx="98581">5</cx:pt>
          <cx:pt idx="98582">1</cx:pt>
          <cx:pt idx="98583">5</cx:pt>
          <cx:pt idx="98584">4</cx:pt>
          <cx:pt idx="98585">5</cx:pt>
          <cx:pt idx="98586">5</cx:pt>
          <cx:pt idx="98587">3</cx:pt>
          <cx:pt idx="98588">5</cx:pt>
          <cx:pt idx="98589">4</cx:pt>
          <cx:pt idx="98590">1</cx:pt>
          <cx:pt idx="98591">5</cx:pt>
          <cx:pt idx="98592">5</cx:pt>
          <cx:pt idx="98593">4</cx:pt>
          <cx:pt idx="98594">3</cx:pt>
          <cx:pt idx="98595">1</cx:pt>
          <cx:pt idx="98596">3</cx:pt>
          <cx:pt idx="98597">2</cx:pt>
          <cx:pt idx="98598">5</cx:pt>
          <cx:pt idx="98599">3</cx:pt>
          <cx:pt idx="98600">5</cx:pt>
          <cx:pt idx="98601">2</cx:pt>
          <cx:pt idx="98602">5</cx:pt>
          <cx:pt idx="98603">4</cx:pt>
          <cx:pt idx="98604">5</cx:pt>
          <cx:pt idx="98605">4</cx:pt>
          <cx:pt idx="98606">2</cx:pt>
          <cx:pt idx="98607">4</cx:pt>
          <cx:pt idx="98608">3</cx:pt>
          <cx:pt idx="98609">2</cx:pt>
          <cx:pt idx="98610">3</cx:pt>
          <cx:pt idx="98611">5</cx:pt>
          <cx:pt idx="98612">5</cx:pt>
          <cx:pt idx="98613">4</cx:pt>
          <cx:pt idx="98614">2</cx:pt>
          <cx:pt idx="98615">2</cx:pt>
          <cx:pt idx="98616">1</cx:pt>
          <cx:pt idx="98617">4</cx:pt>
          <cx:pt idx="98618">4</cx:pt>
          <cx:pt idx="98619">3</cx:pt>
          <cx:pt idx="98620">5</cx:pt>
          <cx:pt idx="98621">4</cx:pt>
          <cx:pt idx="98622">3</cx:pt>
          <cx:pt idx="98623">2</cx:pt>
          <cx:pt idx="98624">3</cx:pt>
          <cx:pt idx="98625">5</cx:pt>
          <cx:pt idx="98626">1</cx:pt>
          <cx:pt idx="98627">2</cx:pt>
          <cx:pt idx="98628">3</cx:pt>
          <cx:pt idx="98629">4</cx:pt>
          <cx:pt idx="98630">4</cx:pt>
          <cx:pt idx="98631">4</cx:pt>
          <cx:pt idx="98632">5</cx:pt>
          <cx:pt idx="98633">4</cx:pt>
          <cx:pt idx="98634">4</cx:pt>
          <cx:pt idx="98635">4</cx:pt>
          <cx:pt idx="98636">2</cx:pt>
          <cx:pt idx="98637">4</cx:pt>
          <cx:pt idx="98638">5</cx:pt>
          <cx:pt idx="98639">3</cx:pt>
          <cx:pt idx="98640">3</cx:pt>
          <cx:pt idx="98641">2</cx:pt>
          <cx:pt idx="98642">5</cx:pt>
          <cx:pt idx="98643">4</cx:pt>
          <cx:pt idx="98644">3</cx:pt>
          <cx:pt idx="98645">3</cx:pt>
          <cx:pt idx="98646">4</cx:pt>
          <cx:pt idx="98647">3</cx:pt>
          <cx:pt idx="98648">5</cx:pt>
          <cx:pt idx="98649">5</cx:pt>
          <cx:pt idx="98650">4</cx:pt>
          <cx:pt idx="98651">5</cx:pt>
          <cx:pt idx="98652">4</cx:pt>
          <cx:pt idx="98653">2</cx:pt>
          <cx:pt idx="98654">4</cx:pt>
          <cx:pt idx="98655">5</cx:pt>
          <cx:pt idx="98656">4</cx:pt>
          <cx:pt idx="98657">4</cx:pt>
          <cx:pt idx="98658">4</cx:pt>
          <cx:pt idx="98659">5</cx:pt>
          <cx:pt idx="98660">3</cx:pt>
          <cx:pt idx="98661">5</cx:pt>
          <cx:pt idx="98662">5</cx:pt>
          <cx:pt idx="98663">4</cx:pt>
          <cx:pt idx="98664">5</cx:pt>
          <cx:pt idx="98665">5</cx:pt>
          <cx:pt idx="98666">4</cx:pt>
          <cx:pt idx="98667">4</cx:pt>
          <cx:pt idx="98668">4</cx:pt>
          <cx:pt idx="98669">4</cx:pt>
          <cx:pt idx="98670">1</cx:pt>
          <cx:pt idx="98671">5</cx:pt>
          <cx:pt idx="98672">4</cx:pt>
          <cx:pt idx="98673">2</cx:pt>
          <cx:pt idx="98674">5</cx:pt>
          <cx:pt idx="98675">5</cx:pt>
          <cx:pt idx="98676">1</cx:pt>
          <cx:pt idx="98677">3</cx:pt>
          <cx:pt idx="98678">4</cx:pt>
          <cx:pt idx="98679">5</cx:pt>
          <cx:pt idx="98680">5</cx:pt>
          <cx:pt idx="98681">2</cx:pt>
          <cx:pt idx="98682">5</cx:pt>
          <cx:pt idx="98683">4</cx:pt>
          <cx:pt idx="98684">4</cx:pt>
          <cx:pt idx="98685">3</cx:pt>
          <cx:pt idx="98686">4</cx:pt>
          <cx:pt idx="98687">2</cx:pt>
          <cx:pt idx="98688">1</cx:pt>
          <cx:pt idx="98689">3</cx:pt>
          <cx:pt idx="98690">4</cx:pt>
          <cx:pt idx="98691">4</cx:pt>
          <cx:pt idx="98692">4</cx:pt>
          <cx:pt idx="98693">4</cx:pt>
          <cx:pt idx="98694">4</cx:pt>
          <cx:pt idx="98695">1</cx:pt>
          <cx:pt idx="98696">3</cx:pt>
          <cx:pt idx="98697">5</cx:pt>
          <cx:pt idx="98698">5</cx:pt>
          <cx:pt idx="98699">4</cx:pt>
          <cx:pt idx="98700">2</cx:pt>
          <cx:pt idx="98701">5</cx:pt>
          <cx:pt idx="98702">5</cx:pt>
          <cx:pt idx="98703">5</cx:pt>
          <cx:pt idx="98704">5</cx:pt>
          <cx:pt idx="98705">3</cx:pt>
          <cx:pt idx="98706">4</cx:pt>
          <cx:pt idx="98707">4</cx:pt>
          <cx:pt idx="98708">4</cx:pt>
          <cx:pt idx="98709">4</cx:pt>
          <cx:pt idx="98710">5</cx:pt>
          <cx:pt idx="98711">1</cx:pt>
          <cx:pt idx="98712">4</cx:pt>
          <cx:pt idx="98713">2</cx:pt>
          <cx:pt idx="98714">5</cx:pt>
          <cx:pt idx="98715">2</cx:pt>
          <cx:pt idx="98716">5</cx:pt>
          <cx:pt idx="98717">1</cx:pt>
          <cx:pt idx="98718">1</cx:pt>
          <cx:pt idx="98719">5</cx:pt>
          <cx:pt idx="98720">5</cx:pt>
          <cx:pt idx="98721">4</cx:pt>
          <cx:pt idx="98722">3</cx:pt>
          <cx:pt idx="98723">4</cx:pt>
          <cx:pt idx="98724">4</cx:pt>
          <cx:pt idx="98725">1</cx:pt>
          <cx:pt idx="98726">4</cx:pt>
          <cx:pt idx="98727">1</cx:pt>
          <cx:pt idx="98728">5</cx:pt>
          <cx:pt idx="98729">3</cx:pt>
          <cx:pt idx="98730">2</cx:pt>
          <cx:pt idx="98731">2</cx:pt>
          <cx:pt idx="98732">5</cx:pt>
          <cx:pt idx="98733">3</cx:pt>
          <cx:pt idx="98734">2</cx:pt>
          <cx:pt idx="98735">1</cx:pt>
          <cx:pt idx="98736">5</cx:pt>
          <cx:pt idx="98737">5</cx:pt>
          <cx:pt idx="98738">3</cx:pt>
          <cx:pt idx="98739">5</cx:pt>
          <cx:pt idx="98740">1</cx:pt>
          <cx:pt idx="98741">4</cx:pt>
          <cx:pt idx="98742">2</cx:pt>
          <cx:pt idx="98743">3</cx:pt>
          <cx:pt idx="98744">1</cx:pt>
          <cx:pt idx="98745">4</cx:pt>
          <cx:pt idx="98746">4</cx:pt>
          <cx:pt idx="98747">5</cx:pt>
          <cx:pt idx="98748">5</cx:pt>
          <cx:pt idx="98749">5</cx:pt>
          <cx:pt idx="98750">5</cx:pt>
          <cx:pt idx="98751">1</cx:pt>
          <cx:pt idx="98752">5</cx:pt>
          <cx:pt idx="98753">4</cx:pt>
          <cx:pt idx="98754">2</cx:pt>
          <cx:pt idx="98755">1</cx:pt>
          <cx:pt idx="98756">4</cx:pt>
          <cx:pt idx="98757">5</cx:pt>
          <cx:pt idx="98758">1</cx:pt>
          <cx:pt idx="98759">4</cx:pt>
          <cx:pt idx="98760">5</cx:pt>
          <cx:pt idx="98761">2</cx:pt>
          <cx:pt idx="98762">4</cx:pt>
          <cx:pt idx="98763">2</cx:pt>
          <cx:pt idx="98764">4</cx:pt>
          <cx:pt idx="98765">2</cx:pt>
          <cx:pt idx="98766">4</cx:pt>
          <cx:pt idx="98767">1</cx:pt>
          <cx:pt idx="98768">5</cx:pt>
          <cx:pt idx="98769">5</cx:pt>
          <cx:pt idx="98770">4</cx:pt>
          <cx:pt idx="98771">5</cx:pt>
          <cx:pt idx="98772">5</cx:pt>
          <cx:pt idx="98773">4</cx:pt>
          <cx:pt idx="98774">3</cx:pt>
          <cx:pt idx="98775">1</cx:pt>
          <cx:pt idx="98776">4</cx:pt>
          <cx:pt idx="98777">2</cx:pt>
          <cx:pt idx="98778">3</cx:pt>
          <cx:pt idx="98779">4</cx:pt>
          <cx:pt idx="98780">5</cx:pt>
          <cx:pt idx="98781">4</cx:pt>
          <cx:pt idx="98782">1</cx:pt>
          <cx:pt idx="98783">5</cx:pt>
          <cx:pt idx="98784">3</cx:pt>
          <cx:pt idx="98785">4</cx:pt>
          <cx:pt idx="98786">1</cx:pt>
          <cx:pt idx="98787">1</cx:pt>
          <cx:pt idx="98788">4</cx:pt>
          <cx:pt idx="98789">4</cx:pt>
          <cx:pt idx="98790">3</cx:pt>
          <cx:pt idx="98791">3</cx:pt>
          <cx:pt idx="98792">4</cx:pt>
          <cx:pt idx="98793">1</cx:pt>
          <cx:pt idx="98794">5</cx:pt>
          <cx:pt idx="98795">5</cx:pt>
          <cx:pt idx="98796">5</cx:pt>
          <cx:pt idx="98797">3</cx:pt>
          <cx:pt idx="98798">4</cx:pt>
          <cx:pt idx="98799">5</cx:pt>
          <cx:pt idx="98800">3</cx:pt>
          <cx:pt idx="98801">5</cx:pt>
          <cx:pt idx="98802">4</cx:pt>
          <cx:pt idx="98803">3</cx:pt>
          <cx:pt idx="98804">4</cx:pt>
          <cx:pt idx="98805">2</cx:pt>
          <cx:pt idx="98806">1</cx:pt>
          <cx:pt idx="98807">4</cx:pt>
          <cx:pt idx="98808">3</cx:pt>
          <cx:pt idx="98809">5</cx:pt>
          <cx:pt idx="98810">3</cx:pt>
          <cx:pt idx="98811">5</cx:pt>
          <cx:pt idx="98812">2</cx:pt>
          <cx:pt idx="98813">5</cx:pt>
          <cx:pt idx="98814">1</cx:pt>
          <cx:pt idx="98815">4</cx:pt>
          <cx:pt idx="98816">5</cx:pt>
          <cx:pt idx="98817">5</cx:pt>
          <cx:pt idx="98818">4</cx:pt>
          <cx:pt idx="98819">3</cx:pt>
          <cx:pt idx="98820">2</cx:pt>
          <cx:pt idx="98821">2</cx:pt>
          <cx:pt idx="98822">3</cx:pt>
          <cx:pt idx="98823">3</cx:pt>
          <cx:pt idx="98824">2</cx:pt>
          <cx:pt idx="98825">1</cx:pt>
          <cx:pt idx="98826">1</cx:pt>
          <cx:pt idx="98827">4</cx:pt>
          <cx:pt idx="98828">5</cx:pt>
          <cx:pt idx="98829">4</cx:pt>
          <cx:pt idx="98830">5</cx:pt>
          <cx:pt idx="98831">4</cx:pt>
          <cx:pt idx="98832">2</cx:pt>
          <cx:pt idx="98833">3</cx:pt>
          <cx:pt idx="98834">5</cx:pt>
          <cx:pt idx="98835">4</cx:pt>
          <cx:pt idx="98836">3</cx:pt>
          <cx:pt idx="98837">4</cx:pt>
          <cx:pt idx="98838">3</cx:pt>
          <cx:pt idx="98839">2</cx:pt>
          <cx:pt idx="98840">5</cx:pt>
          <cx:pt idx="98841">2</cx:pt>
          <cx:pt idx="98842">5</cx:pt>
          <cx:pt idx="98843">3</cx:pt>
          <cx:pt idx="98844">2</cx:pt>
          <cx:pt idx="98845">3</cx:pt>
          <cx:pt idx="98846">4</cx:pt>
          <cx:pt idx="98847">5</cx:pt>
          <cx:pt idx="98848">5</cx:pt>
          <cx:pt idx="98849">5</cx:pt>
          <cx:pt idx="98850">5</cx:pt>
          <cx:pt idx="98851">2</cx:pt>
          <cx:pt idx="98852">3</cx:pt>
          <cx:pt idx="98853">4</cx:pt>
          <cx:pt idx="98854">1</cx:pt>
          <cx:pt idx="98855">5</cx:pt>
          <cx:pt idx="98856">4</cx:pt>
          <cx:pt idx="98857">5</cx:pt>
          <cx:pt idx="98858">4</cx:pt>
          <cx:pt idx="98859">4</cx:pt>
          <cx:pt idx="98860">5</cx:pt>
          <cx:pt idx="98861">5</cx:pt>
          <cx:pt idx="98862">4</cx:pt>
          <cx:pt idx="98863">3</cx:pt>
          <cx:pt idx="98864">2</cx:pt>
          <cx:pt idx="98865">5</cx:pt>
          <cx:pt idx="98866">4</cx:pt>
          <cx:pt idx="98867">3</cx:pt>
          <cx:pt idx="98868">4</cx:pt>
          <cx:pt idx="98869">2</cx:pt>
          <cx:pt idx="98870">4</cx:pt>
          <cx:pt idx="98871">4</cx:pt>
          <cx:pt idx="98872">4</cx:pt>
          <cx:pt idx="98873">5</cx:pt>
          <cx:pt idx="98874">1</cx:pt>
          <cx:pt idx="98875">5</cx:pt>
          <cx:pt idx="98876">5</cx:pt>
          <cx:pt idx="98877">2</cx:pt>
          <cx:pt idx="98878">2</cx:pt>
          <cx:pt idx="98879">5</cx:pt>
          <cx:pt idx="98880">2</cx:pt>
          <cx:pt idx="98881">5</cx:pt>
          <cx:pt idx="98882">1</cx:pt>
          <cx:pt idx="98883">3</cx:pt>
          <cx:pt idx="98884">5</cx:pt>
          <cx:pt idx="98885">5</cx:pt>
          <cx:pt idx="98886">4</cx:pt>
          <cx:pt idx="98887">4</cx:pt>
          <cx:pt idx="98888">5</cx:pt>
          <cx:pt idx="98889">3</cx:pt>
          <cx:pt idx="98890">3</cx:pt>
          <cx:pt idx="98891">2</cx:pt>
          <cx:pt idx="98892">4</cx:pt>
          <cx:pt idx="98893">4</cx:pt>
          <cx:pt idx="98894">5</cx:pt>
          <cx:pt idx="98895">5</cx:pt>
          <cx:pt idx="98896">2</cx:pt>
          <cx:pt idx="98897">4</cx:pt>
          <cx:pt idx="98898">4</cx:pt>
          <cx:pt idx="98899">2</cx:pt>
          <cx:pt idx="98900">1</cx:pt>
          <cx:pt idx="98901">5</cx:pt>
          <cx:pt idx="98902">2</cx:pt>
          <cx:pt idx="98903">1</cx:pt>
          <cx:pt idx="98904">2</cx:pt>
          <cx:pt idx="98905">3</cx:pt>
          <cx:pt idx="98906">3</cx:pt>
          <cx:pt idx="98907">5</cx:pt>
          <cx:pt idx="98908">3</cx:pt>
          <cx:pt idx="98909">1</cx:pt>
          <cx:pt idx="98910">1</cx:pt>
          <cx:pt idx="98911">1</cx:pt>
          <cx:pt idx="98912">2</cx:pt>
          <cx:pt idx="98913">5</cx:pt>
          <cx:pt idx="98914">4</cx:pt>
          <cx:pt idx="98915">3</cx:pt>
          <cx:pt idx="98916">1</cx:pt>
          <cx:pt idx="98917">4</cx:pt>
          <cx:pt idx="98918">4</cx:pt>
          <cx:pt idx="98919">4</cx:pt>
          <cx:pt idx="98920">4</cx:pt>
          <cx:pt idx="98921">3</cx:pt>
          <cx:pt idx="98922">5</cx:pt>
          <cx:pt idx="98923">3</cx:pt>
          <cx:pt idx="98924">1</cx:pt>
          <cx:pt idx="98925">4</cx:pt>
          <cx:pt idx="98926">5</cx:pt>
          <cx:pt idx="98927">5</cx:pt>
          <cx:pt idx="98928">4</cx:pt>
          <cx:pt idx="98929">1</cx:pt>
          <cx:pt idx="98930">5</cx:pt>
          <cx:pt idx="98931">5</cx:pt>
          <cx:pt idx="98932">2</cx:pt>
          <cx:pt idx="98933">5</cx:pt>
          <cx:pt idx="98934">2</cx:pt>
          <cx:pt idx="98935">3</cx:pt>
          <cx:pt idx="98936">5</cx:pt>
          <cx:pt idx="98937">4</cx:pt>
          <cx:pt idx="98938">1</cx:pt>
          <cx:pt idx="98939">2</cx:pt>
          <cx:pt idx="98940">4</cx:pt>
          <cx:pt idx="98941">1</cx:pt>
          <cx:pt idx="98942">3</cx:pt>
          <cx:pt idx="98943">4</cx:pt>
          <cx:pt idx="98944">5</cx:pt>
          <cx:pt idx="98945">4</cx:pt>
          <cx:pt idx="98946">3</cx:pt>
          <cx:pt idx="98947">3</cx:pt>
          <cx:pt idx="98948">3</cx:pt>
          <cx:pt idx="98949">5</cx:pt>
          <cx:pt idx="98950">1</cx:pt>
          <cx:pt idx="98951">4</cx:pt>
          <cx:pt idx="98952">1</cx:pt>
          <cx:pt idx="98953">1</cx:pt>
          <cx:pt idx="98954">4</cx:pt>
          <cx:pt idx="98955">4</cx:pt>
          <cx:pt idx="98956">1</cx:pt>
          <cx:pt idx="98957">5</cx:pt>
          <cx:pt idx="98958">3</cx:pt>
          <cx:pt idx="98959">2</cx:pt>
          <cx:pt idx="98960">4</cx:pt>
          <cx:pt idx="98961">5</cx:pt>
          <cx:pt idx="98962">5</cx:pt>
          <cx:pt idx="98963">3</cx:pt>
          <cx:pt idx="98964">5</cx:pt>
          <cx:pt idx="98965">2</cx:pt>
          <cx:pt idx="98966">4</cx:pt>
          <cx:pt idx="98967">5</cx:pt>
          <cx:pt idx="98968">5</cx:pt>
          <cx:pt idx="98969">4</cx:pt>
          <cx:pt idx="98970">1</cx:pt>
          <cx:pt idx="98971">5</cx:pt>
          <cx:pt idx="98972">5</cx:pt>
          <cx:pt idx="98973">4</cx:pt>
          <cx:pt idx="98974">2</cx:pt>
          <cx:pt idx="98975">2</cx:pt>
          <cx:pt idx="98976">5</cx:pt>
          <cx:pt idx="98977">4</cx:pt>
          <cx:pt idx="98978">4</cx:pt>
          <cx:pt idx="98979">5</cx:pt>
          <cx:pt idx="98980">4</cx:pt>
          <cx:pt idx="98981">4</cx:pt>
          <cx:pt idx="98982">5</cx:pt>
          <cx:pt idx="98983">2</cx:pt>
          <cx:pt idx="98984">3</cx:pt>
          <cx:pt idx="98985">2</cx:pt>
          <cx:pt idx="98986">3</cx:pt>
          <cx:pt idx="98987">4</cx:pt>
          <cx:pt idx="98988">1</cx:pt>
          <cx:pt idx="98989">1</cx:pt>
          <cx:pt idx="98990">5</cx:pt>
          <cx:pt idx="98991">4</cx:pt>
          <cx:pt idx="98992">3</cx:pt>
          <cx:pt idx="98993">2</cx:pt>
          <cx:pt idx="98994">5</cx:pt>
          <cx:pt idx="98995">4</cx:pt>
          <cx:pt idx="98996">5</cx:pt>
          <cx:pt idx="98997">5</cx:pt>
          <cx:pt idx="98998">5</cx:pt>
          <cx:pt idx="98999">4</cx:pt>
          <cx:pt idx="99000">2</cx:pt>
          <cx:pt idx="99001">1</cx:pt>
          <cx:pt idx="99002">3</cx:pt>
          <cx:pt idx="99003">4</cx:pt>
          <cx:pt idx="99004">1</cx:pt>
          <cx:pt idx="99005">5</cx:pt>
          <cx:pt idx="99006">4</cx:pt>
          <cx:pt idx="99007">3</cx:pt>
          <cx:pt idx="99008">2</cx:pt>
          <cx:pt idx="99009">5</cx:pt>
          <cx:pt idx="99010">3</cx:pt>
          <cx:pt idx="99011">2</cx:pt>
          <cx:pt idx="99012">4</cx:pt>
          <cx:pt idx="99013">3</cx:pt>
          <cx:pt idx="99014">3</cx:pt>
          <cx:pt idx="99015">4</cx:pt>
          <cx:pt idx="99016">1</cx:pt>
          <cx:pt idx="99017">4</cx:pt>
          <cx:pt idx="99018">3</cx:pt>
          <cx:pt idx="99019">4</cx:pt>
          <cx:pt idx="99020">2</cx:pt>
          <cx:pt idx="99021">4</cx:pt>
          <cx:pt idx="99022">5</cx:pt>
          <cx:pt idx="99023">5</cx:pt>
          <cx:pt idx="99024">4</cx:pt>
          <cx:pt idx="99025">1</cx:pt>
          <cx:pt idx="99026">1</cx:pt>
          <cx:pt idx="99027">3</cx:pt>
          <cx:pt idx="99028">5</cx:pt>
          <cx:pt idx="99029">1</cx:pt>
          <cx:pt idx="99030">4</cx:pt>
          <cx:pt idx="99031">2</cx:pt>
          <cx:pt idx="99032">5</cx:pt>
          <cx:pt idx="99033">3</cx:pt>
          <cx:pt idx="99034">5</cx:pt>
          <cx:pt idx="99035">5</cx:pt>
          <cx:pt idx="99036">5</cx:pt>
          <cx:pt idx="99037">2</cx:pt>
          <cx:pt idx="99038">4</cx:pt>
          <cx:pt idx="99039">2</cx:pt>
          <cx:pt idx="99040">3</cx:pt>
          <cx:pt idx="99041">2</cx:pt>
          <cx:pt idx="99042">4</cx:pt>
          <cx:pt idx="99043">3</cx:pt>
          <cx:pt idx="99044">4</cx:pt>
          <cx:pt idx="99045">3</cx:pt>
          <cx:pt idx="99046">3</cx:pt>
          <cx:pt idx="99047">3</cx:pt>
          <cx:pt idx="99048">3</cx:pt>
          <cx:pt idx="99049">5</cx:pt>
          <cx:pt idx="99050">4</cx:pt>
          <cx:pt idx="99051">2</cx:pt>
          <cx:pt idx="99052">3</cx:pt>
          <cx:pt idx="99053">5</cx:pt>
          <cx:pt idx="99054">1</cx:pt>
          <cx:pt idx="99055">1</cx:pt>
          <cx:pt idx="99056">4</cx:pt>
          <cx:pt idx="99057">5</cx:pt>
          <cx:pt idx="99058">4</cx:pt>
          <cx:pt idx="99059">3</cx:pt>
          <cx:pt idx="99060">5</cx:pt>
          <cx:pt idx="99061">5</cx:pt>
          <cx:pt idx="99062">3</cx:pt>
          <cx:pt idx="99063">3</cx:pt>
          <cx:pt idx="99064">4</cx:pt>
          <cx:pt idx="99065">5</cx:pt>
          <cx:pt idx="99066">4</cx:pt>
          <cx:pt idx="99067">5</cx:pt>
          <cx:pt idx="99068">4</cx:pt>
          <cx:pt idx="99069">3</cx:pt>
          <cx:pt idx="99070">4</cx:pt>
          <cx:pt idx="99071">5</cx:pt>
          <cx:pt idx="99072">4</cx:pt>
          <cx:pt idx="99073">5</cx:pt>
          <cx:pt idx="99074">4</cx:pt>
          <cx:pt idx="99075">3</cx:pt>
          <cx:pt idx="99076">3</cx:pt>
          <cx:pt idx="99077">2</cx:pt>
          <cx:pt idx="99078">4</cx:pt>
          <cx:pt idx="99079">4</cx:pt>
          <cx:pt idx="99080">5</cx:pt>
          <cx:pt idx="99081">5</cx:pt>
          <cx:pt idx="99082">2</cx:pt>
          <cx:pt idx="99083">1</cx:pt>
          <cx:pt idx="99084">5</cx:pt>
          <cx:pt idx="99085">4</cx:pt>
          <cx:pt idx="99086">3</cx:pt>
          <cx:pt idx="99087">5</cx:pt>
          <cx:pt idx="99088">5</cx:pt>
          <cx:pt idx="99089">3</cx:pt>
          <cx:pt idx="99090">3</cx:pt>
          <cx:pt idx="99091">3</cx:pt>
          <cx:pt idx="99092">5</cx:pt>
          <cx:pt idx="99093">3</cx:pt>
          <cx:pt idx="99094">4</cx:pt>
          <cx:pt idx="99095">4</cx:pt>
          <cx:pt idx="99096">4</cx:pt>
          <cx:pt idx="99097">4</cx:pt>
          <cx:pt idx="99098">4</cx:pt>
          <cx:pt idx="99099">5</cx:pt>
          <cx:pt idx="99100">4</cx:pt>
          <cx:pt idx="99101">5</cx:pt>
          <cx:pt idx="99102">4</cx:pt>
          <cx:pt idx="99103">2</cx:pt>
          <cx:pt idx="99104">4</cx:pt>
          <cx:pt idx="99105">5</cx:pt>
          <cx:pt idx="99106">5</cx:pt>
          <cx:pt idx="99107">4</cx:pt>
          <cx:pt idx="99108">1</cx:pt>
          <cx:pt idx="99109">4</cx:pt>
          <cx:pt idx="99110">5</cx:pt>
          <cx:pt idx="99111">4</cx:pt>
          <cx:pt idx="99112">3</cx:pt>
          <cx:pt idx="99113">3</cx:pt>
          <cx:pt idx="99114">4</cx:pt>
          <cx:pt idx="99115">4</cx:pt>
          <cx:pt idx="99116">2</cx:pt>
          <cx:pt idx="99117">2</cx:pt>
          <cx:pt idx="99118">4</cx:pt>
          <cx:pt idx="99119">4</cx:pt>
          <cx:pt idx="99120">5</cx:pt>
          <cx:pt idx="99121">1</cx:pt>
          <cx:pt idx="99122">3</cx:pt>
          <cx:pt idx="99123">4</cx:pt>
          <cx:pt idx="99124">5</cx:pt>
          <cx:pt idx="99125">5</cx:pt>
          <cx:pt idx="99126">5</cx:pt>
          <cx:pt idx="99127">4</cx:pt>
          <cx:pt idx="99128">2</cx:pt>
          <cx:pt idx="99129">5</cx:pt>
          <cx:pt idx="99130">2</cx:pt>
          <cx:pt idx="99131">3</cx:pt>
          <cx:pt idx="99132">2</cx:pt>
          <cx:pt idx="99133">1</cx:pt>
          <cx:pt idx="99134">3</cx:pt>
          <cx:pt idx="99135">5</cx:pt>
          <cx:pt idx="99136">4</cx:pt>
          <cx:pt idx="99137">3</cx:pt>
          <cx:pt idx="99138">4</cx:pt>
          <cx:pt idx="99139">4</cx:pt>
          <cx:pt idx="99140">2</cx:pt>
          <cx:pt idx="99141">4</cx:pt>
          <cx:pt idx="99142">2</cx:pt>
          <cx:pt idx="99143">3</cx:pt>
          <cx:pt idx="99144">2</cx:pt>
          <cx:pt idx="99145">5</cx:pt>
          <cx:pt idx="99146">1</cx:pt>
          <cx:pt idx="99147">4</cx:pt>
          <cx:pt idx="99148">5</cx:pt>
          <cx:pt idx="99149">4</cx:pt>
          <cx:pt idx="99150">1</cx:pt>
          <cx:pt idx="99151">4</cx:pt>
          <cx:pt idx="99152">3</cx:pt>
          <cx:pt idx="99153">2</cx:pt>
          <cx:pt idx="99154">4</cx:pt>
          <cx:pt idx="99155">2</cx:pt>
          <cx:pt idx="99156">2</cx:pt>
          <cx:pt idx="99157">1</cx:pt>
          <cx:pt idx="99158">5</cx:pt>
          <cx:pt idx="99159">4</cx:pt>
          <cx:pt idx="99160">5</cx:pt>
          <cx:pt idx="99161">4</cx:pt>
          <cx:pt idx="99162">5</cx:pt>
          <cx:pt idx="99163">1</cx:pt>
          <cx:pt idx="99164">4</cx:pt>
          <cx:pt idx="99165">4</cx:pt>
          <cx:pt idx="99166">5</cx:pt>
          <cx:pt idx="99167">4</cx:pt>
          <cx:pt idx="99168">4</cx:pt>
          <cx:pt idx="99169">1</cx:pt>
          <cx:pt idx="99170">4</cx:pt>
          <cx:pt idx="99171">5</cx:pt>
          <cx:pt idx="99172">5</cx:pt>
          <cx:pt idx="99173">5</cx:pt>
          <cx:pt idx="99174">5</cx:pt>
          <cx:pt idx="99175">4</cx:pt>
          <cx:pt idx="99176">4</cx:pt>
          <cx:pt idx="99177">5</cx:pt>
          <cx:pt idx="99178">4</cx:pt>
          <cx:pt idx="99179">2</cx:pt>
          <cx:pt idx="99180">5</cx:pt>
          <cx:pt idx="99181">3</cx:pt>
          <cx:pt idx="99182">3</cx:pt>
          <cx:pt idx="99183">1</cx:pt>
          <cx:pt idx="99184">5</cx:pt>
          <cx:pt idx="99185">4</cx:pt>
          <cx:pt idx="99186">4</cx:pt>
          <cx:pt idx="99187">4</cx:pt>
          <cx:pt idx="99188">4</cx:pt>
          <cx:pt idx="99189">4</cx:pt>
          <cx:pt idx="99190">5</cx:pt>
          <cx:pt idx="99191">2</cx:pt>
          <cx:pt idx="99192">3</cx:pt>
          <cx:pt idx="99193">1</cx:pt>
          <cx:pt idx="99194">5</cx:pt>
          <cx:pt idx="99195">3</cx:pt>
          <cx:pt idx="99196">4</cx:pt>
          <cx:pt idx="99197">4</cx:pt>
          <cx:pt idx="99198">4</cx:pt>
          <cx:pt idx="99199">4</cx:pt>
          <cx:pt idx="99200">5</cx:pt>
          <cx:pt idx="99201">4</cx:pt>
          <cx:pt idx="99202">5</cx:pt>
          <cx:pt idx="99203">4</cx:pt>
          <cx:pt idx="99204">2</cx:pt>
          <cx:pt idx="99205">5</cx:pt>
          <cx:pt idx="99206">3</cx:pt>
          <cx:pt idx="99207">5</cx:pt>
          <cx:pt idx="99208">5</cx:pt>
          <cx:pt idx="99209">2</cx:pt>
          <cx:pt idx="99210">5</cx:pt>
          <cx:pt idx="99211">2</cx:pt>
          <cx:pt idx="99212">4</cx:pt>
          <cx:pt idx="99213">3</cx:pt>
          <cx:pt idx="99214">5</cx:pt>
          <cx:pt idx="99215">4</cx:pt>
          <cx:pt idx="99216">5</cx:pt>
          <cx:pt idx="99217">4</cx:pt>
          <cx:pt idx="99218">4</cx:pt>
          <cx:pt idx="99219">5</cx:pt>
          <cx:pt idx="99220">1</cx:pt>
          <cx:pt idx="99221">4</cx:pt>
          <cx:pt idx="99222">2</cx:pt>
          <cx:pt idx="99223">1</cx:pt>
          <cx:pt idx="99224">4</cx:pt>
          <cx:pt idx="99225">5</cx:pt>
          <cx:pt idx="99226">5</cx:pt>
          <cx:pt idx="99227">2</cx:pt>
          <cx:pt idx="99228">5</cx:pt>
          <cx:pt idx="99229">5</cx:pt>
          <cx:pt idx="99230">2</cx:pt>
          <cx:pt idx="99231">3</cx:pt>
          <cx:pt idx="99232">3</cx:pt>
          <cx:pt idx="99233">3</cx:pt>
          <cx:pt idx="99234">3</cx:pt>
          <cx:pt idx="99235">4</cx:pt>
          <cx:pt idx="99236">5</cx:pt>
          <cx:pt idx="99237">1</cx:pt>
          <cx:pt idx="99238">3</cx:pt>
          <cx:pt idx="99239">4</cx:pt>
          <cx:pt idx="99240">4</cx:pt>
          <cx:pt idx="99241">4</cx:pt>
          <cx:pt idx="99242">2</cx:pt>
          <cx:pt idx="99243">1</cx:pt>
          <cx:pt idx="99244">2</cx:pt>
          <cx:pt idx="99245">2</cx:pt>
          <cx:pt idx="99246">2</cx:pt>
          <cx:pt idx="99247">3</cx:pt>
          <cx:pt idx="99248">1</cx:pt>
          <cx:pt idx="99249">2</cx:pt>
          <cx:pt idx="99250">3</cx:pt>
          <cx:pt idx="99251">4</cx:pt>
          <cx:pt idx="99252">4</cx:pt>
          <cx:pt idx="99253">1</cx:pt>
          <cx:pt idx="99254">5</cx:pt>
          <cx:pt idx="99255">4</cx:pt>
          <cx:pt idx="99256">3</cx:pt>
          <cx:pt idx="99257">1</cx:pt>
          <cx:pt idx="99258">1</cx:pt>
          <cx:pt idx="99259">2</cx:pt>
          <cx:pt idx="99260">4</cx:pt>
          <cx:pt idx="99261">5</cx:pt>
          <cx:pt idx="99262">3</cx:pt>
          <cx:pt idx="99263">2</cx:pt>
          <cx:pt idx="99264">4</cx:pt>
          <cx:pt idx="99265">3</cx:pt>
          <cx:pt idx="99266">5</cx:pt>
          <cx:pt idx="99267">4</cx:pt>
          <cx:pt idx="99268">3</cx:pt>
          <cx:pt idx="99269">4</cx:pt>
          <cx:pt idx="99270">5</cx:pt>
          <cx:pt idx="99271">5</cx:pt>
          <cx:pt idx="99272">3</cx:pt>
          <cx:pt idx="99273">4</cx:pt>
          <cx:pt idx="99274">4</cx:pt>
          <cx:pt idx="99275">5</cx:pt>
          <cx:pt idx="99276">2</cx:pt>
          <cx:pt idx="99277">4</cx:pt>
          <cx:pt idx="99278">4</cx:pt>
          <cx:pt idx="99279">1</cx:pt>
          <cx:pt idx="99280">4</cx:pt>
          <cx:pt idx="99281">4</cx:pt>
          <cx:pt idx="99282">4</cx:pt>
          <cx:pt idx="99283">1</cx:pt>
          <cx:pt idx="99284">3</cx:pt>
          <cx:pt idx="99285">2</cx:pt>
          <cx:pt idx="99286">2</cx:pt>
          <cx:pt idx="99287">2</cx:pt>
          <cx:pt idx="99288">4</cx:pt>
          <cx:pt idx="99289">2</cx:pt>
          <cx:pt idx="99290">1</cx:pt>
          <cx:pt idx="99291">2</cx:pt>
          <cx:pt idx="99292">3</cx:pt>
          <cx:pt idx="99293">4</cx:pt>
          <cx:pt idx="99294">3</cx:pt>
          <cx:pt idx="99295">4</cx:pt>
          <cx:pt idx="99296">3</cx:pt>
          <cx:pt idx="99297">3</cx:pt>
          <cx:pt idx="99298">3</cx:pt>
          <cx:pt idx="99299">5</cx:pt>
          <cx:pt idx="99300">2</cx:pt>
          <cx:pt idx="99301">2</cx:pt>
          <cx:pt idx="99302">4</cx:pt>
          <cx:pt idx="99303">5</cx:pt>
          <cx:pt idx="99304">5</cx:pt>
          <cx:pt idx="99305">4</cx:pt>
          <cx:pt idx="99306">5</cx:pt>
          <cx:pt idx="99307">3</cx:pt>
          <cx:pt idx="99308">5</cx:pt>
          <cx:pt idx="99309">1</cx:pt>
          <cx:pt idx="99310">5</cx:pt>
          <cx:pt idx="99311">5</cx:pt>
          <cx:pt idx="99312">4</cx:pt>
          <cx:pt idx="99313">1</cx:pt>
          <cx:pt idx="99314">5</cx:pt>
          <cx:pt idx="99315">4</cx:pt>
          <cx:pt idx="99316">3</cx:pt>
          <cx:pt idx="99317">1</cx:pt>
          <cx:pt idx="99318">5</cx:pt>
          <cx:pt idx="99319">5</cx:pt>
          <cx:pt idx="99320">4</cx:pt>
          <cx:pt idx="99321">4</cx:pt>
          <cx:pt idx="99322">2</cx:pt>
          <cx:pt idx="99323">5</cx:pt>
          <cx:pt idx="99324">4</cx:pt>
          <cx:pt idx="99325">3</cx:pt>
          <cx:pt idx="99326">2</cx:pt>
          <cx:pt idx="99327">5</cx:pt>
          <cx:pt idx="99328">4</cx:pt>
          <cx:pt idx="99329">1</cx:pt>
          <cx:pt idx="99330">5</cx:pt>
          <cx:pt idx="99331">4</cx:pt>
          <cx:pt idx="99332">1</cx:pt>
          <cx:pt idx="99333">3</cx:pt>
          <cx:pt idx="99334">4</cx:pt>
          <cx:pt idx="99335">3</cx:pt>
          <cx:pt idx="99336">5</cx:pt>
          <cx:pt idx="99337">5</cx:pt>
          <cx:pt idx="99338">1</cx:pt>
          <cx:pt idx="99339">2</cx:pt>
          <cx:pt idx="99340">1</cx:pt>
          <cx:pt idx="99341">3</cx:pt>
          <cx:pt idx="99342">5</cx:pt>
          <cx:pt idx="99343">5</cx:pt>
          <cx:pt idx="99344">3</cx:pt>
          <cx:pt idx="99345">2</cx:pt>
          <cx:pt idx="99346">3</cx:pt>
          <cx:pt idx="99347">2</cx:pt>
          <cx:pt idx="99348">4</cx:pt>
          <cx:pt idx="99349">4</cx:pt>
          <cx:pt idx="99350">4</cx:pt>
          <cx:pt idx="99351">4</cx:pt>
          <cx:pt idx="99352">4</cx:pt>
          <cx:pt idx="99353">4</cx:pt>
          <cx:pt idx="99354">4</cx:pt>
          <cx:pt idx="99355">4</cx:pt>
          <cx:pt idx="99356">5</cx:pt>
          <cx:pt idx="99357">3</cx:pt>
          <cx:pt idx="99358">4</cx:pt>
          <cx:pt idx="99359">5</cx:pt>
          <cx:pt idx="99360">2</cx:pt>
          <cx:pt idx="99361">4</cx:pt>
          <cx:pt idx="99362">5</cx:pt>
          <cx:pt idx="99363">5</cx:pt>
          <cx:pt idx="99364">2</cx:pt>
          <cx:pt idx="99365">5</cx:pt>
          <cx:pt idx="99366">5</cx:pt>
          <cx:pt idx="99367">5</cx:pt>
          <cx:pt idx="99368">4</cx:pt>
          <cx:pt idx="99369">5</cx:pt>
          <cx:pt idx="99370">3</cx:pt>
          <cx:pt idx="99371">4</cx:pt>
          <cx:pt idx="99372">4</cx:pt>
          <cx:pt idx="99373">2</cx:pt>
          <cx:pt idx="99374">5</cx:pt>
          <cx:pt idx="99375">5</cx:pt>
          <cx:pt idx="99376">5</cx:pt>
          <cx:pt idx="99377">4</cx:pt>
          <cx:pt idx="99378">5</cx:pt>
          <cx:pt idx="99379">4</cx:pt>
          <cx:pt idx="99380">4</cx:pt>
          <cx:pt idx="99381">2</cx:pt>
          <cx:pt idx="99382">4</cx:pt>
          <cx:pt idx="99383">2</cx:pt>
          <cx:pt idx="99384">5</cx:pt>
          <cx:pt idx="99385">1</cx:pt>
          <cx:pt idx="99386">5</cx:pt>
          <cx:pt idx="99387">5</cx:pt>
          <cx:pt idx="99388">2</cx:pt>
          <cx:pt idx="99389">3</cx:pt>
          <cx:pt idx="99390">3</cx:pt>
          <cx:pt idx="99391">5</cx:pt>
          <cx:pt idx="99392">2</cx:pt>
          <cx:pt idx="99393">2</cx:pt>
          <cx:pt idx="99394">2</cx:pt>
          <cx:pt idx="99395">2</cx:pt>
          <cx:pt idx="99396">5</cx:pt>
          <cx:pt idx="99397">4</cx:pt>
          <cx:pt idx="99398">2</cx:pt>
          <cx:pt idx="99399">3</cx:pt>
          <cx:pt idx="99400">4</cx:pt>
          <cx:pt idx="99401">5</cx:pt>
          <cx:pt idx="99402">5</cx:pt>
          <cx:pt idx="99403">3</cx:pt>
          <cx:pt idx="99404">4</cx:pt>
          <cx:pt idx="99405">4</cx:pt>
          <cx:pt idx="99406">4</cx:pt>
          <cx:pt idx="99407">5</cx:pt>
          <cx:pt idx="99408">2</cx:pt>
          <cx:pt idx="99409">4</cx:pt>
          <cx:pt idx="99410">3</cx:pt>
          <cx:pt idx="99411">4</cx:pt>
          <cx:pt idx="99412">4</cx:pt>
          <cx:pt idx="99413">2</cx:pt>
          <cx:pt idx="99414">4</cx:pt>
          <cx:pt idx="99415">4</cx:pt>
          <cx:pt idx="99416">1</cx:pt>
          <cx:pt idx="99417">5</cx:pt>
          <cx:pt idx="99418">3</cx:pt>
          <cx:pt idx="99419">1</cx:pt>
          <cx:pt idx="99420">3</cx:pt>
          <cx:pt idx="99421">3</cx:pt>
          <cx:pt idx="99422">3</cx:pt>
          <cx:pt idx="99423">5</cx:pt>
          <cx:pt idx="99424">3</cx:pt>
          <cx:pt idx="99425">3</cx:pt>
          <cx:pt idx="99426">5</cx:pt>
          <cx:pt idx="99427">3</cx:pt>
          <cx:pt idx="99428">4</cx:pt>
          <cx:pt idx="99429">4</cx:pt>
          <cx:pt idx="99430">4</cx:pt>
          <cx:pt idx="99431">1</cx:pt>
          <cx:pt idx="99432">2</cx:pt>
          <cx:pt idx="99433">5</cx:pt>
          <cx:pt idx="99434">4</cx:pt>
          <cx:pt idx="99435">2</cx:pt>
          <cx:pt idx="99436">3</cx:pt>
          <cx:pt idx="99437">3</cx:pt>
          <cx:pt idx="99438">5</cx:pt>
          <cx:pt idx="99439">5</cx:pt>
          <cx:pt idx="99440">1</cx:pt>
          <cx:pt idx="99441">2</cx:pt>
          <cx:pt idx="99442">4</cx:pt>
          <cx:pt idx="99443">4</cx:pt>
          <cx:pt idx="99444">5</cx:pt>
          <cx:pt idx="99445">1</cx:pt>
          <cx:pt idx="99446">4</cx:pt>
          <cx:pt idx="99447">3</cx:pt>
          <cx:pt idx="99448">1</cx:pt>
          <cx:pt idx="99449">5</cx:pt>
          <cx:pt idx="99450">4</cx:pt>
          <cx:pt idx="99451">5</cx:pt>
          <cx:pt idx="99452">5</cx:pt>
          <cx:pt idx="99453">4</cx:pt>
          <cx:pt idx="99454">5</cx:pt>
          <cx:pt idx="99455">4</cx:pt>
          <cx:pt idx="99456">5</cx:pt>
          <cx:pt idx="99457">4</cx:pt>
          <cx:pt idx="99458">5</cx:pt>
          <cx:pt idx="99459">3</cx:pt>
          <cx:pt idx="99460">3</cx:pt>
          <cx:pt idx="99461">5</cx:pt>
          <cx:pt idx="99462">3</cx:pt>
          <cx:pt idx="99463">4</cx:pt>
          <cx:pt idx="99464">4</cx:pt>
          <cx:pt idx="99465">4</cx:pt>
          <cx:pt idx="99466">3</cx:pt>
          <cx:pt idx="99467">2</cx:pt>
          <cx:pt idx="99468">5</cx:pt>
          <cx:pt idx="99469">2</cx:pt>
          <cx:pt idx="99470">4</cx:pt>
          <cx:pt idx="99471">3</cx:pt>
          <cx:pt idx="99472">3</cx:pt>
          <cx:pt idx="99473">1</cx:pt>
          <cx:pt idx="99474">5</cx:pt>
          <cx:pt idx="99475">1</cx:pt>
          <cx:pt idx="99476">2</cx:pt>
          <cx:pt idx="99477">4</cx:pt>
          <cx:pt idx="99478">4</cx:pt>
          <cx:pt idx="99479">2</cx:pt>
          <cx:pt idx="99480">4</cx:pt>
          <cx:pt idx="99481">5</cx:pt>
          <cx:pt idx="99482">4</cx:pt>
          <cx:pt idx="99483">3</cx:pt>
          <cx:pt idx="99484">4</cx:pt>
          <cx:pt idx="99485">2</cx:pt>
          <cx:pt idx="99486">3</cx:pt>
          <cx:pt idx="99487">3</cx:pt>
          <cx:pt idx="99488">3</cx:pt>
          <cx:pt idx="99489">4</cx:pt>
          <cx:pt idx="99490">2</cx:pt>
          <cx:pt idx="99491">4</cx:pt>
          <cx:pt idx="99492">2</cx:pt>
          <cx:pt idx="99493">2</cx:pt>
          <cx:pt idx="99494">4</cx:pt>
          <cx:pt idx="99495">3</cx:pt>
          <cx:pt idx="99496">1</cx:pt>
          <cx:pt idx="99497">1</cx:pt>
          <cx:pt idx="99498">4</cx:pt>
          <cx:pt idx="99499">2</cx:pt>
          <cx:pt idx="99500">3</cx:pt>
          <cx:pt idx="99501">5</cx:pt>
          <cx:pt idx="99502">2</cx:pt>
          <cx:pt idx="99503">4</cx:pt>
          <cx:pt idx="99504">3</cx:pt>
          <cx:pt idx="99505">4</cx:pt>
          <cx:pt idx="99506">4</cx:pt>
          <cx:pt idx="99507">4</cx:pt>
          <cx:pt idx="99508">1</cx:pt>
          <cx:pt idx="99509">2</cx:pt>
          <cx:pt idx="99510">5</cx:pt>
          <cx:pt idx="99511">4</cx:pt>
          <cx:pt idx="99512">5</cx:pt>
          <cx:pt idx="99513">2</cx:pt>
          <cx:pt idx="99514">4</cx:pt>
          <cx:pt idx="99515">1</cx:pt>
          <cx:pt idx="99516">4</cx:pt>
          <cx:pt idx="99517">3</cx:pt>
          <cx:pt idx="99518">3</cx:pt>
          <cx:pt idx="99519">3</cx:pt>
          <cx:pt idx="99520">4</cx:pt>
          <cx:pt idx="99521">5</cx:pt>
          <cx:pt idx="99522">4</cx:pt>
          <cx:pt idx="99523">5</cx:pt>
          <cx:pt idx="99524">5</cx:pt>
          <cx:pt idx="99525">5</cx:pt>
          <cx:pt idx="99526">4</cx:pt>
          <cx:pt idx="99527">5</cx:pt>
          <cx:pt idx="99528">5</cx:pt>
          <cx:pt idx="99529">1</cx:pt>
          <cx:pt idx="99530">4</cx:pt>
          <cx:pt idx="99531">1</cx:pt>
          <cx:pt idx="99532">4</cx:pt>
          <cx:pt idx="99533">2</cx:pt>
          <cx:pt idx="99534">2</cx:pt>
          <cx:pt idx="99535">4</cx:pt>
          <cx:pt idx="99536">3</cx:pt>
          <cx:pt idx="99537">4</cx:pt>
          <cx:pt idx="99538">2</cx:pt>
          <cx:pt idx="99539">4</cx:pt>
          <cx:pt idx="99540">1</cx:pt>
          <cx:pt idx="99541">3</cx:pt>
          <cx:pt idx="99542">5</cx:pt>
          <cx:pt idx="99543">3</cx:pt>
          <cx:pt idx="99544">1</cx:pt>
          <cx:pt idx="99545">5</cx:pt>
          <cx:pt idx="99546">1</cx:pt>
          <cx:pt idx="99547">3</cx:pt>
          <cx:pt idx="99548">3</cx:pt>
          <cx:pt idx="99549">2</cx:pt>
          <cx:pt idx="99550">5</cx:pt>
          <cx:pt idx="99551">1</cx:pt>
          <cx:pt idx="99552">4</cx:pt>
          <cx:pt idx="99553">4</cx:pt>
          <cx:pt idx="99554">3</cx:pt>
          <cx:pt idx="99555">5</cx:pt>
          <cx:pt idx="99556">2</cx:pt>
          <cx:pt idx="99557">3</cx:pt>
          <cx:pt idx="99558">5</cx:pt>
          <cx:pt idx="99559">5</cx:pt>
          <cx:pt idx="99560">1</cx:pt>
          <cx:pt idx="99561">4</cx:pt>
          <cx:pt idx="99562">3</cx:pt>
          <cx:pt idx="99563">5</cx:pt>
          <cx:pt idx="99564">1</cx:pt>
          <cx:pt idx="99565">5</cx:pt>
          <cx:pt idx="99566">5</cx:pt>
          <cx:pt idx="99567">2</cx:pt>
          <cx:pt idx="99568">3</cx:pt>
          <cx:pt idx="99569">4</cx:pt>
          <cx:pt idx="99570">3</cx:pt>
          <cx:pt idx="99571">5</cx:pt>
          <cx:pt idx="99572">4</cx:pt>
          <cx:pt idx="99573">2</cx:pt>
          <cx:pt idx="99574">4</cx:pt>
          <cx:pt idx="99575">4</cx:pt>
          <cx:pt idx="99576">1</cx:pt>
          <cx:pt idx="99577">3</cx:pt>
          <cx:pt idx="99578">4</cx:pt>
          <cx:pt idx="99579">4</cx:pt>
          <cx:pt idx="99580">4</cx:pt>
          <cx:pt idx="99581">4</cx:pt>
          <cx:pt idx="99582">4</cx:pt>
          <cx:pt idx="99583">4</cx:pt>
          <cx:pt idx="99584">5</cx:pt>
          <cx:pt idx="99585">5</cx:pt>
          <cx:pt idx="99586">4</cx:pt>
          <cx:pt idx="99587">2</cx:pt>
          <cx:pt idx="99588">5</cx:pt>
          <cx:pt idx="99589">1</cx:pt>
          <cx:pt idx="99590">5</cx:pt>
          <cx:pt idx="99591">3</cx:pt>
          <cx:pt idx="99592">3</cx:pt>
          <cx:pt idx="99593">3</cx:pt>
          <cx:pt idx="99594">5</cx:pt>
          <cx:pt idx="99595">4</cx:pt>
          <cx:pt idx="99596">5</cx:pt>
          <cx:pt idx="99597">5</cx:pt>
          <cx:pt idx="99598">3</cx:pt>
          <cx:pt idx="99599">5</cx:pt>
          <cx:pt idx="99600">1</cx:pt>
          <cx:pt idx="99601">3</cx:pt>
          <cx:pt idx="99602">5</cx:pt>
          <cx:pt idx="99603">3</cx:pt>
          <cx:pt idx="99604">4</cx:pt>
          <cx:pt idx="99605">5</cx:pt>
          <cx:pt idx="99606">2</cx:pt>
          <cx:pt idx="99607">5</cx:pt>
          <cx:pt idx="99608">5</cx:pt>
          <cx:pt idx="99609">2</cx:pt>
          <cx:pt idx="99610">3</cx:pt>
          <cx:pt idx="99611">5</cx:pt>
          <cx:pt idx="99612">4</cx:pt>
          <cx:pt idx="99613">4</cx:pt>
          <cx:pt idx="99614">5</cx:pt>
          <cx:pt idx="99615">4</cx:pt>
          <cx:pt idx="99616">5</cx:pt>
          <cx:pt idx="99617">5</cx:pt>
          <cx:pt idx="99618">5</cx:pt>
          <cx:pt idx="99619">5</cx:pt>
          <cx:pt idx="99620">5</cx:pt>
          <cx:pt idx="99621">5</cx:pt>
          <cx:pt idx="99622">3</cx:pt>
          <cx:pt idx="99623">4</cx:pt>
          <cx:pt idx="99624">1</cx:pt>
          <cx:pt idx="99625">2</cx:pt>
          <cx:pt idx="99626">3</cx:pt>
          <cx:pt idx="99627">5</cx:pt>
          <cx:pt idx="99628">4</cx:pt>
          <cx:pt idx="99629">3</cx:pt>
          <cx:pt idx="99630">2</cx:pt>
          <cx:pt idx="99631">5</cx:pt>
          <cx:pt idx="99632">4</cx:pt>
          <cx:pt idx="99633">4</cx:pt>
          <cx:pt idx="99634">4</cx:pt>
          <cx:pt idx="99635">4</cx:pt>
          <cx:pt idx="99636">1</cx:pt>
          <cx:pt idx="99637">4</cx:pt>
          <cx:pt idx="99638">2</cx:pt>
          <cx:pt idx="99639">5</cx:pt>
          <cx:pt idx="99640">3</cx:pt>
          <cx:pt idx="99641">3</cx:pt>
          <cx:pt idx="99642">5</cx:pt>
          <cx:pt idx="99643">4</cx:pt>
          <cx:pt idx="99644">5</cx:pt>
          <cx:pt idx="99645">5</cx:pt>
          <cx:pt idx="99646">2</cx:pt>
          <cx:pt idx="99647">4</cx:pt>
          <cx:pt idx="99648">5</cx:pt>
          <cx:pt idx="99649">5</cx:pt>
          <cx:pt idx="99650">1</cx:pt>
          <cx:pt idx="99651">5</cx:pt>
          <cx:pt idx="99652">3</cx:pt>
          <cx:pt idx="99653">3</cx:pt>
          <cx:pt idx="99654">5</cx:pt>
          <cx:pt idx="99655">2</cx:pt>
          <cx:pt idx="99656">4</cx:pt>
          <cx:pt idx="99657">4</cx:pt>
          <cx:pt idx="99658">3</cx:pt>
          <cx:pt idx="99659">3</cx:pt>
          <cx:pt idx="99660">5</cx:pt>
          <cx:pt idx="99661">4</cx:pt>
          <cx:pt idx="99662">5</cx:pt>
          <cx:pt idx="99663">3</cx:pt>
          <cx:pt idx="99664">4</cx:pt>
          <cx:pt idx="99665">3</cx:pt>
          <cx:pt idx="99666">5</cx:pt>
          <cx:pt idx="99667">5</cx:pt>
          <cx:pt idx="99668">3</cx:pt>
          <cx:pt idx="99669">4</cx:pt>
          <cx:pt idx="99670">1</cx:pt>
          <cx:pt idx="99671">2</cx:pt>
          <cx:pt idx="99672">3</cx:pt>
          <cx:pt idx="99673">5</cx:pt>
          <cx:pt idx="99674">4</cx:pt>
          <cx:pt idx="99675">3</cx:pt>
          <cx:pt idx="99676">1</cx:pt>
          <cx:pt idx="99677">4</cx:pt>
          <cx:pt idx="99678">4</cx:pt>
          <cx:pt idx="99679">5</cx:pt>
          <cx:pt idx="99680">2</cx:pt>
          <cx:pt idx="99681">5</cx:pt>
          <cx:pt idx="99682">5</cx:pt>
          <cx:pt idx="99683">2</cx:pt>
          <cx:pt idx="99684">5</cx:pt>
          <cx:pt idx="99685">5</cx:pt>
          <cx:pt idx="99686">4</cx:pt>
          <cx:pt idx="99687">4</cx:pt>
          <cx:pt idx="99688">1</cx:pt>
          <cx:pt idx="99689">4</cx:pt>
          <cx:pt idx="99690">5</cx:pt>
          <cx:pt idx="99691">2</cx:pt>
          <cx:pt idx="99692">4</cx:pt>
          <cx:pt idx="99693">4</cx:pt>
          <cx:pt idx="99694">4</cx:pt>
          <cx:pt idx="99695">2</cx:pt>
          <cx:pt idx="99696">2</cx:pt>
          <cx:pt idx="99697">3</cx:pt>
          <cx:pt idx="99698">1</cx:pt>
          <cx:pt idx="99699">2</cx:pt>
          <cx:pt idx="99700">2</cx:pt>
          <cx:pt idx="99701">5</cx:pt>
          <cx:pt idx="99702">1</cx:pt>
          <cx:pt idx="99703">5</cx:pt>
          <cx:pt idx="99704">2</cx:pt>
          <cx:pt idx="99705">5</cx:pt>
          <cx:pt idx="99706">4</cx:pt>
          <cx:pt idx="99707">4</cx:pt>
          <cx:pt idx="99708">4</cx:pt>
          <cx:pt idx="99709">3</cx:pt>
          <cx:pt idx="99710">4</cx:pt>
          <cx:pt idx="99711">3</cx:pt>
          <cx:pt idx="99712">4</cx:pt>
          <cx:pt idx="99713">4</cx:pt>
          <cx:pt idx="99714">1</cx:pt>
          <cx:pt idx="99715">5</cx:pt>
          <cx:pt idx="99716">4</cx:pt>
          <cx:pt idx="99717">2</cx:pt>
          <cx:pt idx="99718">3</cx:pt>
          <cx:pt idx="99719">2</cx:pt>
          <cx:pt idx="99720">5</cx:pt>
          <cx:pt idx="99721">3</cx:pt>
          <cx:pt idx="99722">5</cx:pt>
          <cx:pt idx="99723">3</cx:pt>
          <cx:pt idx="99724">2</cx:pt>
          <cx:pt idx="99725">2</cx:pt>
          <cx:pt idx="99726">2</cx:pt>
          <cx:pt idx="99727">2</cx:pt>
          <cx:pt idx="99728">3</cx:pt>
          <cx:pt idx="99729">3</cx:pt>
          <cx:pt idx="99730">4</cx:pt>
          <cx:pt idx="99731">2</cx:pt>
          <cx:pt idx="99732">4</cx:pt>
          <cx:pt idx="99733">5</cx:pt>
          <cx:pt idx="99734">2</cx:pt>
          <cx:pt idx="99735">3</cx:pt>
          <cx:pt idx="99736">1</cx:pt>
          <cx:pt idx="99737">5</cx:pt>
          <cx:pt idx="99738">5</cx:pt>
          <cx:pt idx="99739">4</cx:pt>
          <cx:pt idx="99740">3</cx:pt>
          <cx:pt idx="99741">3</cx:pt>
          <cx:pt idx="99742">3</cx:pt>
          <cx:pt idx="99743">5</cx:pt>
          <cx:pt idx="99744">5</cx:pt>
          <cx:pt idx="99745">3</cx:pt>
          <cx:pt idx="99746">1</cx:pt>
          <cx:pt idx="99747">5</cx:pt>
          <cx:pt idx="99748">4</cx:pt>
          <cx:pt idx="99749">5</cx:pt>
          <cx:pt idx="99750">5</cx:pt>
          <cx:pt idx="99751">4</cx:pt>
          <cx:pt idx="99752">1</cx:pt>
          <cx:pt idx="99753">1</cx:pt>
          <cx:pt idx="99754">5</cx:pt>
          <cx:pt idx="99755">5</cx:pt>
          <cx:pt idx="99756">3</cx:pt>
          <cx:pt idx="99757">3</cx:pt>
          <cx:pt idx="99758">1</cx:pt>
          <cx:pt idx="99759">2</cx:pt>
          <cx:pt idx="99760">3</cx:pt>
          <cx:pt idx="99761">5</cx:pt>
          <cx:pt idx="99762">3</cx:pt>
          <cx:pt idx="99763">5</cx:pt>
          <cx:pt idx="99764">3</cx:pt>
          <cx:pt idx="99765">1</cx:pt>
          <cx:pt idx="99766">1</cx:pt>
          <cx:pt idx="99767">5</cx:pt>
          <cx:pt idx="99768">2</cx:pt>
          <cx:pt idx="99769">2</cx:pt>
          <cx:pt idx="99770">3</cx:pt>
          <cx:pt idx="99771">5</cx:pt>
          <cx:pt idx="99772">5</cx:pt>
          <cx:pt idx="99773">3</cx:pt>
          <cx:pt idx="99774">5</cx:pt>
          <cx:pt idx="99775">2</cx:pt>
          <cx:pt idx="99776">4</cx:pt>
          <cx:pt idx="99777">3</cx:pt>
          <cx:pt idx="99778">4</cx:pt>
          <cx:pt idx="99779">2</cx:pt>
          <cx:pt idx="99780">2</cx:pt>
          <cx:pt idx="99781">1</cx:pt>
          <cx:pt idx="99782">5</cx:pt>
          <cx:pt idx="99783">3</cx:pt>
          <cx:pt idx="99784">1</cx:pt>
          <cx:pt idx="99785">4</cx:pt>
          <cx:pt idx="99786">5</cx:pt>
          <cx:pt idx="99787">3</cx:pt>
          <cx:pt idx="99788">4</cx:pt>
          <cx:pt idx="99789">5</cx:pt>
          <cx:pt idx="99790">3</cx:pt>
          <cx:pt idx="99791">4</cx:pt>
          <cx:pt idx="99792">3</cx:pt>
          <cx:pt idx="99793">4</cx:pt>
          <cx:pt idx="99794">2</cx:pt>
          <cx:pt idx="99795">2</cx:pt>
          <cx:pt idx="99796">5</cx:pt>
          <cx:pt idx="99797">5</cx:pt>
          <cx:pt idx="99798">4</cx:pt>
          <cx:pt idx="99799">4</cx:pt>
          <cx:pt idx="99800">4</cx:pt>
          <cx:pt idx="99801">2</cx:pt>
          <cx:pt idx="99802">1</cx:pt>
          <cx:pt idx="99803">3</cx:pt>
          <cx:pt idx="99804">4</cx:pt>
          <cx:pt idx="99805">1</cx:pt>
          <cx:pt idx="99806">4</cx:pt>
          <cx:pt idx="99807">4</cx:pt>
          <cx:pt idx="99808">1</cx:pt>
          <cx:pt idx="99809">5</cx:pt>
          <cx:pt idx="99810">4</cx:pt>
          <cx:pt idx="99811">3</cx:pt>
          <cx:pt idx="99812">1</cx:pt>
          <cx:pt idx="99813">2</cx:pt>
          <cx:pt idx="99814">4</cx:pt>
          <cx:pt idx="99815">5</cx:pt>
          <cx:pt idx="99816">4</cx:pt>
          <cx:pt idx="99817">5</cx:pt>
          <cx:pt idx="99818">4</cx:pt>
          <cx:pt idx="99819">5</cx:pt>
          <cx:pt idx="99820">4</cx:pt>
          <cx:pt idx="99821">3</cx:pt>
          <cx:pt idx="99822">1</cx:pt>
          <cx:pt idx="99823">1</cx:pt>
          <cx:pt idx="99824">4</cx:pt>
          <cx:pt idx="99825">4</cx:pt>
          <cx:pt idx="99826">3</cx:pt>
          <cx:pt idx="99827">5</cx:pt>
          <cx:pt idx="99828">5</cx:pt>
          <cx:pt idx="99829">1</cx:pt>
          <cx:pt idx="99830">1</cx:pt>
          <cx:pt idx="99831">1</cx:pt>
          <cx:pt idx="99832">4</cx:pt>
          <cx:pt idx="99833">1</cx:pt>
          <cx:pt idx="99834">5</cx:pt>
          <cx:pt idx="99835">4</cx:pt>
          <cx:pt idx="99836">3</cx:pt>
          <cx:pt idx="99837">2</cx:pt>
          <cx:pt idx="99838">4</cx:pt>
          <cx:pt idx="99839">4</cx:pt>
          <cx:pt idx="99840">4</cx:pt>
          <cx:pt idx="99841">3</cx:pt>
          <cx:pt idx="99842">4</cx:pt>
          <cx:pt idx="99843">1</cx:pt>
          <cx:pt idx="99844">5</cx:pt>
          <cx:pt idx="99845">3</cx:pt>
          <cx:pt idx="99846">1</cx:pt>
          <cx:pt idx="99847">4</cx:pt>
          <cx:pt idx="99848">5</cx:pt>
          <cx:pt idx="99849">5</cx:pt>
          <cx:pt idx="99850">4</cx:pt>
          <cx:pt idx="99851">5</cx:pt>
          <cx:pt idx="99852">1</cx:pt>
          <cx:pt idx="99853">3</cx:pt>
          <cx:pt idx="99854">5</cx:pt>
          <cx:pt idx="99855">4</cx:pt>
          <cx:pt idx="99856">4</cx:pt>
          <cx:pt idx="99857">4</cx:pt>
          <cx:pt idx="99858">3</cx:pt>
          <cx:pt idx="99859">3</cx:pt>
          <cx:pt idx="99860">2</cx:pt>
          <cx:pt idx="99861">4</cx:pt>
          <cx:pt idx="99862">4</cx:pt>
          <cx:pt idx="99863">3</cx:pt>
          <cx:pt idx="99864">3</cx:pt>
          <cx:pt idx="99865">5</cx:pt>
          <cx:pt idx="99866">1</cx:pt>
          <cx:pt idx="99867">3</cx:pt>
          <cx:pt idx="99868">5</cx:pt>
          <cx:pt idx="99869">5</cx:pt>
          <cx:pt idx="99870">4</cx:pt>
          <cx:pt idx="99871">4</cx:pt>
          <cx:pt idx="99872">3</cx:pt>
          <cx:pt idx="99873">2</cx:pt>
          <cx:pt idx="99874">5</cx:pt>
          <cx:pt idx="99875">4</cx:pt>
          <cx:pt idx="99876">4</cx:pt>
          <cx:pt idx="99877">4</cx:pt>
          <cx:pt idx="99878">4</cx:pt>
          <cx:pt idx="99879">5</cx:pt>
          <cx:pt idx="99880">1</cx:pt>
          <cx:pt idx="99881">4</cx:pt>
          <cx:pt idx="99882">5</cx:pt>
          <cx:pt idx="99883">4</cx:pt>
          <cx:pt idx="99884">5</cx:pt>
          <cx:pt idx="99885">2</cx:pt>
          <cx:pt idx="99886">2</cx:pt>
          <cx:pt idx="99887">3</cx:pt>
          <cx:pt idx="99888">1</cx:pt>
          <cx:pt idx="99889">4</cx:pt>
          <cx:pt idx="99890">5</cx:pt>
          <cx:pt idx="99891">4</cx:pt>
          <cx:pt idx="99892">2</cx:pt>
          <cx:pt idx="99893">5</cx:pt>
          <cx:pt idx="99894">4</cx:pt>
          <cx:pt idx="99895">4</cx:pt>
          <cx:pt idx="99896">4</cx:pt>
          <cx:pt idx="99897">3</cx:pt>
          <cx:pt idx="99898">4</cx:pt>
          <cx:pt idx="99899">2</cx:pt>
          <cx:pt idx="99900">4</cx:pt>
          <cx:pt idx="99901">5</cx:pt>
          <cx:pt idx="99902">3</cx:pt>
          <cx:pt idx="99903">1</cx:pt>
          <cx:pt idx="99904">5</cx:pt>
          <cx:pt idx="99905">2</cx:pt>
          <cx:pt idx="99906">2</cx:pt>
          <cx:pt idx="99907">1</cx:pt>
          <cx:pt idx="99908">2</cx:pt>
          <cx:pt idx="99909">3</cx:pt>
          <cx:pt idx="99910">2</cx:pt>
          <cx:pt idx="99911">2</cx:pt>
          <cx:pt idx="99912">5</cx:pt>
          <cx:pt idx="99913">3</cx:pt>
          <cx:pt idx="99914">1</cx:pt>
          <cx:pt idx="99915">5</cx:pt>
          <cx:pt idx="99916">2</cx:pt>
          <cx:pt idx="99917">5</cx:pt>
          <cx:pt idx="99918">5</cx:pt>
          <cx:pt idx="99919">5</cx:pt>
          <cx:pt idx="99920">1</cx:pt>
          <cx:pt idx="99921">5</cx:pt>
          <cx:pt idx="99922">4</cx:pt>
          <cx:pt idx="99923">2</cx:pt>
          <cx:pt idx="99924">2</cx:pt>
          <cx:pt idx="99925">5</cx:pt>
          <cx:pt idx="99926">5</cx:pt>
          <cx:pt idx="99927">2</cx:pt>
          <cx:pt idx="99928">4</cx:pt>
          <cx:pt idx="99929">3</cx:pt>
          <cx:pt idx="99930">5</cx:pt>
          <cx:pt idx="99931">4</cx:pt>
          <cx:pt idx="99932">4</cx:pt>
          <cx:pt idx="99933">3</cx:pt>
          <cx:pt idx="99934">1</cx:pt>
          <cx:pt idx="99935">5</cx:pt>
          <cx:pt idx="99936">3</cx:pt>
          <cx:pt idx="99937">2</cx:pt>
          <cx:pt idx="99938">5</cx:pt>
          <cx:pt idx="99939">4</cx:pt>
          <cx:pt idx="99940">2</cx:pt>
          <cx:pt idx="99941">1</cx:pt>
          <cx:pt idx="99942">5</cx:pt>
          <cx:pt idx="99943">5</cx:pt>
          <cx:pt idx="99944">4</cx:pt>
          <cx:pt idx="99945">3</cx:pt>
          <cx:pt idx="99946">5</cx:pt>
          <cx:pt idx="99947">4</cx:pt>
          <cx:pt idx="99948">3</cx:pt>
          <cx:pt idx="99949">3</cx:pt>
          <cx:pt idx="99950">5</cx:pt>
          <cx:pt idx="99951">5</cx:pt>
          <cx:pt idx="99952">5</cx:pt>
          <cx:pt idx="99953">5</cx:pt>
          <cx:pt idx="99954">5</cx:pt>
          <cx:pt idx="99955">5</cx:pt>
          <cx:pt idx="99956">3</cx:pt>
          <cx:pt idx="99957">5</cx:pt>
          <cx:pt idx="99958">5</cx:pt>
          <cx:pt idx="99959">2</cx:pt>
          <cx:pt idx="99960">3</cx:pt>
          <cx:pt idx="99961">1</cx:pt>
          <cx:pt idx="99962">2</cx:pt>
          <cx:pt idx="99963">4</cx:pt>
          <cx:pt idx="99964">2</cx:pt>
          <cx:pt idx="99965">5</cx:pt>
          <cx:pt idx="99966">4</cx:pt>
          <cx:pt idx="99967">1</cx:pt>
          <cx:pt idx="99968">5</cx:pt>
          <cx:pt idx="99969">3</cx:pt>
          <cx:pt idx="99970">4</cx:pt>
          <cx:pt idx="99971">3</cx:pt>
          <cx:pt idx="99972">5</cx:pt>
          <cx:pt idx="99973">2</cx:pt>
          <cx:pt idx="99974">4</cx:pt>
          <cx:pt idx="99975">5</cx:pt>
          <cx:pt idx="99976">5</cx:pt>
          <cx:pt idx="99977">2</cx:pt>
          <cx:pt idx="99978">1</cx:pt>
          <cx:pt idx="99979">2</cx:pt>
          <cx:pt idx="99980">4</cx:pt>
          <cx:pt idx="99981">5</cx:pt>
          <cx:pt idx="99982">5</cx:pt>
          <cx:pt idx="99983">2</cx:pt>
          <cx:pt idx="99984">2</cx:pt>
          <cx:pt idx="99985">5</cx:pt>
          <cx:pt idx="99986">5</cx:pt>
          <cx:pt idx="99987">2</cx:pt>
          <cx:pt idx="99988">5</cx:pt>
          <cx:pt idx="99989">1</cx:pt>
          <cx:pt idx="99990">5</cx:pt>
          <cx:pt idx="99991">1</cx:pt>
          <cx:pt idx="99992">3</cx:pt>
          <cx:pt idx="99993">5</cx:pt>
          <cx:pt idx="99994">4</cx:pt>
          <cx:pt idx="99995">4</cx:pt>
          <cx:pt idx="99996">3</cx:pt>
          <cx:pt idx="99997">1</cx:pt>
          <cx:pt idx="99998">2</cx:pt>
          <cx:pt idx="99999">4</cx:pt>
          <cx:pt idx="100000">4</cx:pt>
          <cx:pt idx="100001">2</cx:pt>
          <cx:pt idx="100002">5</cx:pt>
          <cx:pt idx="100003">3</cx:pt>
          <cx:pt idx="100004">5</cx:pt>
          <cx:pt idx="100005">4</cx:pt>
          <cx:pt idx="100006">3</cx:pt>
          <cx:pt idx="100007">3</cx:pt>
          <cx:pt idx="100008">2</cx:pt>
          <cx:pt idx="100009">4</cx:pt>
          <cx:pt idx="100010">3</cx:pt>
          <cx:pt idx="100011">3</cx:pt>
          <cx:pt idx="100012">5</cx:pt>
          <cx:pt idx="100013">2</cx:pt>
          <cx:pt idx="100014">5</cx:pt>
          <cx:pt idx="100015">3</cx:pt>
          <cx:pt idx="100016">2</cx:pt>
          <cx:pt idx="100017">4</cx:pt>
          <cx:pt idx="100018">4</cx:pt>
          <cx:pt idx="100019">5</cx:pt>
          <cx:pt idx="100020">4</cx:pt>
          <cx:pt idx="100021">2</cx:pt>
          <cx:pt idx="100022">2</cx:pt>
          <cx:pt idx="100023">1</cx:pt>
          <cx:pt idx="100024">2</cx:pt>
          <cx:pt idx="100025">1</cx:pt>
          <cx:pt idx="100026">5</cx:pt>
          <cx:pt idx="100027">4</cx:pt>
          <cx:pt idx="100028">4</cx:pt>
          <cx:pt idx="100029">4</cx:pt>
          <cx:pt idx="100030">3</cx:pt>
          <cx:pt idx="100031">2</cx:pt>
          <cx:pt idx="100032">3</cx:pt>
          <cx:pt idx="100033">1</cx:pt>
          <cx:pt idx="100034">5</cx:pt>
          <cx:pt idx="100035">3</cx:pt>
          <cx:pt idx="100036">4</cx:pt>
          <cx:pt idx="100037">4</cx:pt>
          <cx:pt idx="100038">3</cx:pt>
          <cx:pt idx="100039">4</cx:pt>
          <cx:pt idx="100040">5</cx:pt>
          <cx:pt idx="100041">4</cx:pt>
          <cx:pt idx="100042">3</cx:pt>
          <cx:pt idx="100043">3</cx:pt>
          <cx:pt idx="100044">5</cx:pt>
          <cx:pt idx="100045">1</cx:pt>
          <cx:pt idx="100046">1</cx:pt>
          <cx:pt idx="100047">1</cx:pt>
          <cx:pt idx="100048">3</cx:pt>
          <cx:pt idx="100049">1</cx:pt>
          <cx:pt idx="100050">3</cx:pt>
          <cx:pt idx="100051">2</cx:pt>
          <cx:pt idx="100052">5</cx:pt>
          <cx:pt idx="100053">4</cx:pt>
          <cx:pt idx="100054">1</cx:pt>
          <cx:pt idx="100055">4</cx:pt>
          <cx:pt idx="100056">2</cx:pt>
          <cx:pt idx="100057">4</cx:pt>
          <cx:pt idx="100058">5</cx:pt>
          <cx:pt idx="100059">1</cx:pt>
          <cx:pt idx="100060">5</cx:pt>
          <cx:pt idx="100061">5</cx:pt>
          <cx:pt idx="100062">4</cx:pt>
          <cx:pt idx="100063">3</cx:pt>
          <cx:pt idx="100064">5</cx:pt>
          <cx:pt idx="100065">2</cx:pt>
          <cx:pt idx="100066">3</cx:pt>
          <cx:pt idx="100067">4</cx:pt>
          <cx:pt idx="100068">2</cx:pt>
          <cx:pt idx="100069">4</cx:pt>
          <cx:pt idx="100070">3</cx:pt>
          <cx:pt idx="100071">5</cx:pt>
          <cx:pt idx="100072">2</cx:pt>
          <cx:pt idx="100073">4</cx:pt>
          <cx:pt idx="100074">1</cx:pt>
          <cx:pt idx="100075">5</cx:pt>
          <cx:pt idx="100076">3</cx:pt>
          <cx:pt idx="100077">1</cx:pt>
          <cx:pt idx="100078">4</cx:pt>
          <cx:pt idx="100079">4</cx:pt>
          <cx:pt idx="100080">3</cx:pt>
          <cx:pt idx="100081">3</cx:pt>
          <cx:pt idx="100082">2</cx:pt>
          <cx:pt idx="100083">5</cx:pt>
          <cx:pt idx="100084">3</cx:pt>
          <cx:pt idx="100085">3</cx:pt>
          <cx:pt idx="100086">5</cx:pt>
          <cx:pt idx="100087">1</cx:pt>
          <cx:pt idx="100088">1</cx:pt>
          <cx:pt idx="100089">5</cx:pt>
          <cx:pt idx="100090">3</cx:pt>
          <cx:pt idx="100091">4</cx:pt>
          <cx:pt idx="100092">5</cx:pt>
          <cx:pt idx="100093">5</cx:pt>
          <cx:pt idx="100094">4</cx:pt>
          <cx:pt idx="100095">4</cx:pt>
          <cx:pt idx="100096">3</cx:pt>
          <cx:pt idx="100097">4</cx:pt>
          <cx:pt idx="100098">4</cx:pt>
          <cx:pt idx="100099">1</cx:pt>
          <cx:pt idx="100100">5</cx:pt>
          <cx:pt idx="100101">1</cx:pt>
          <cx:pt idx="100102">2</cx:pt>
          <cx:pt idx="100103">2</cx:pt>
          <cx:pt idx="100104">2</cx:pt>
          <cx:pt idx="100105">2</cx:pt>
          <cx:pt idx="100106">4</cx:pt>
          <cx:pt idx="100107">5</cx:pt>
          <cx:pt idx="100108">4</cx:pt>
          <cx:pt idx="100109">1</cx:pt>
          <cx:pt idx="100110">3</cx:pt>
          <cx:pt idx="100111">3</cx:pt>
          <cx:pt idx="100112">5</cx:pt>
          <cx:pt idx="100113">3</cx:pt>
          <cx:pt idx="100114">1</cx:pt>
          <cx:pt idx="100115">3</cx:pt>
          <cx:pt idx="100116">4</cx:pt>
          <cx:pt idx="100117">3</cx:pt>
          <cx:pt idx="100118">2</cx:pt>
          <cx:pt idx="100119">5</cx:pt>
          <cx:pt idx="100120">5</cx:pt>
          <cx:pt idx="100121">1</cx:pt>
          <cx:pt idx="100122">5</cx:pt>
          <cx:pt idx="100123">5</cx:pt>
          <cx:pt idx="100124">3</cx:pt>
          <cx:pt idx="100125">2</cx:pt>
          <cx:pt idx="100126">2</cx:pt>
          <cx:pt idx="100127">1</cx:pt>
          <cx:pt idx="100128">4</cx:pt>
          <cx:pt idx="100129">4</cx:pt>
          <cx:pt idx="100130">5</cx:pt>
          <cx:pt idx="100131">4</cx:pt>
          <cx:pt idx="100132">3</cx:pt>
          <cx:pt idx="100133">1</cx:pt>
          <cx:pt idx="100134">5</cx:pt>
          <cx:pt idx="100135">3</cx:pt>
          <cx:pt idx="100136">4</cx:pt>
          <cx:pt idx="100137">5</cx:pt>
          <cx:pt idx="100138">4</cx:pt>
          <cx:pt idx="100139">3</cx:pt>
          <cx:pt idx="100140">4</cx:pt>
          <cx:pt idx="100141">2</cx:pt>
          <cx:pt idx="100142">5</cx:pt>
          <cx:pt idx="100143">2</cx:pt>
          <cx:pt idx="100144">5</cx:pt>
          <cx:pt idx="100145">2</cx:pt>
          <cx:pt idx="100146">5</cx:pt>
          <cx:pt idx="100147">4</cx:pt>
          <cx:pt idx="100148">4</cx:pt>
          <cx:pt idx="100149">1</cx:pt>
          <cx:pt idx="100150">3</cx:pt>
          <cx:pt idx="100151">3</cx:pt>
          <cx:pt idx="100152">3</cx:pt>
          <cx:pt idx="100153">5</cx:pt>
          <cx:pt idx="100154">5</cx:pt>
          <cx:pt idx="100155">2</cx:pt>
          <cx:pt idx="100156">4</cx:pt>
          <cx:pt idx="100157">4</cx:pt>
          <cx:pt idx="100158">1</cx:pt>
          <cx:pt idx="100159">5</cx:pt>
          <cx:pt idx="100160">4</cx:pt>
          <cx:pt idx="100161">2</cx:pt>
          <cx:pt idx="100162">5</cx:pt>
          <cx:pt idx="100163">1</cx:pt>
          <cx:pt idx="100164">3</cx:pt>
          <cx:pt idx="100165">3</cx:pt>
          <cx:pt idx="100166">4</cx:pt>
          <cx:pt idx="100167">3</cx:pt>
          <cx:pt idx="100168">4</cx:pt>
          <cx:pt idx="100169">1</cx:pt>
          <cx:pt idx="100170">1</cx:pt>
          <cx:pt idx="100171">5</cx:pt>
          <cx:pt idx="100172">5</cx:pt>
          <cx:pt idx="100173">4</cx:pt>
          <cx:pt idx="100174">4</cx:pt>
          <cx:pt idx="100175">4</cx:pt>
          <cx:pt idx="100176">5</cx:pt>
          <cx:pt idx="100177">5</cx:pt>
          <cx:pt idx="100178">5</cx:pt>
          <cx:pt idx="100179">4</cx:pt>
          <cx:pt idx="100180">5</cx:pt>
          <cx:pt idx="100181">4</cx:pt>
          <cx:pt idx="100182">3</cx:pt>
          <cx:pt idx="100183">3</cx:pt>
          <cx:pt idx="100184">1</cx:pt>
          <cx:pt idx="100185">1</cx:pt>
          <cx:pt idx="100186">1</cx:pt>
          <cx:pt idx="100187">2</cx:pt>
          <cx:pt idx="100188">4</cx:pt>
          <cx:pt idx="100189">5</cx:pt>
          <cx:pt idx="100190">3</cx:pt>
          <cx:pt idx="100191">4</cx:pt>
          <cx:pt idx="100192">5</cx:pt>
          <cx:pt idx="100193">4</cx:pt>
          <cx:pt idx="100194">4</cx:pt>
          <cx:pt idx="100195">3</cx:pt>
          <cx:pt idx="100196">5</cx:pt>
          <cx:pt idx="100197">2</cx:pt>
          <cx:pt idx="100198">3</cx:pt>
          <cx:pt idx="100199">3</cx:pt>
          <cx:pt idx="100200">5</cx:pt>
          <cx:pt idx="100201">4</cx:pt>
          <cx:pt idx="100202">5</cx:pt>
          <cx:pt idx="100203">3</cx:pt>
          <cx:pt idx="100204">2</cx:pt>
          <cx:pt idx="100205">5</cx:pt>
          <cx:pt idx="100206">3</cx:pt>
          <cx:pt idx="100207">3</cx:pt>
          <cx:pt idx="100208">3</cx:pt>
          <cx:pt idx="100209">5</cx:pt>
          <cx:pt idx="100210">3</cx:pt>
          <cx:pt idx="100211">5</cx:pt>
          <cx:pt idx="100212">3</cx:pt>
          <cx:pt idx="100213">4</cx:pt>
          <cx:pt idx="100214">5</cx:pt>
          <cx:pt idx="100215">3</cx:pt>
          <cx:pt idx="100216">4</cx:pt>
          <cx:pt idx="100217">5</cx:pt>
          <cx:pt idx="100218">1</cx:pt>
          <cx:pt idx="100219">4</cx:pt>
          <cx:pt idx="100220">1</cx:pt>
          <cx:pt idx="100221">1</cx:pt>
          <cx:pt idx="100222">2</cx:pt>
          <cx:pt idx="100223">4</cx:pt>
          <cx:pt idx="100224">5</cx:pt>
          <cx:pt idx="100225">4</cx:pt>
          <cx:pt idx="100226">3</cx:pt>
          <cx:pt idx="100227">2</cx:pt>
          <cx:pt idx="100228">4</cx:pt>
          <cx:pt idx="100229">2</cx:pt>
          <cx:pt idx="100230">5</cx:pt>
          <cx:pt idx="100231">1</cx:pt>
          <cx:pt idx="100232">2</cx:pt>
          <cx:pt idx="100233">4</cx:pt>
          <cx:pt idx="100234">4</cx:pt>
          <cx:pt idx="100235">5</cx:pt>
          <cx:pt idx="100236">3</cx:pt>
          <cx:pt idx="100237">4</cx:pt>
          <cx:pt idx="100238">5</cx:pt>
          <cx:pt idx="100239">4</cx:pt>
          <cx:pt idx="100240">5</cx:pt>
          <cx:pt idx="100241">3</cx:pt>
          <cx:pt idx="100242">4</cx:pt>
          <cx:pt idx="100243">5</cx:pt>
          <cx:pt idx="100244">5</cx:pt>
          <cx:pt idx="100245">5</cx:pt>
          <cx:pt idx="100246">4</cx:pt>
          <cx:pt idx="100247">1</cx:pt>
          <cx:pt idx="100248">4</cx:pt>
          <cx:pt idx="100249">4</cx:pt>
          <cx:pt idx="100250">5</cx:pt>
          <cx:pt idx="100251">1</cx:pt>
          <cx:pt idx="100252">4</cx:pt>
          <cx:pt idx="100253">1</cx:pt>
          <cx:pt idx="100254">5</cx:pt>
          <cx:pt idx="100255">4</cx:pt>
          <cx:pt idx="100256">5</cx:pt>
          <cx:pt idx="100257">5</cx:pt>
          <cx:pt idx="100258">3</cx:pt>
          <cx:pt idx="100259">4</cx:pt>
          <cx:pt idx="100260">2</cx:pt>
          <cx:pt idx="100261">4</cx:pt>
          <cx:pt idx="100262">3</cx:pt>
          <cx:pt idx="100263">5</cx:pt>
          <cx:pt idx="100264">1</cx:pt>
          <cx:pt idx="100265">1</cx:pt>
          <cx:pt idx="100266">1</cx:pt>
          <cx:pt idx="100267">3</cx:pt>
          <cx:pt idx="100268">2</cx:pt>
          <cx:pt idx="100269">4</cx:pt>
          <cx:pt idx="100270">1</cx:pt>
          <cx:pt idx="100271">5</cx:pt>
          <cx:pt idx="100272">4</cx:pt>
          <cx:pt idx="100273">1</cx:pt>
          <cx:pt idx="100274">5</cx:pt>
          <cx:pt idx="100275">3</cx:pt>
          <cx:pt idx="100276">4</cx:pt>
          <cx:pt idx="100277">4</cx:pt>
          <cx:pt idx="100278">5</cx:pt>
          <cx:pt idx="100279">4</cx:pt>
          <cx:pt idx="100280">5</cx:pt>
          <cx:pt idx="100281">2</cx:pt>
          <cx:pt idx="100282">4</cx:pt>
          <cx:pt idx="100283">5</cx:pt>
          <cx:pt idx="100284">3</cx:pt>
          <cx:pt idx="100285">4</cx:pt>
          <cx:pt idx="100286">5</cx:pt>
          <cx:pt idx="100287">1</cx:pt>
          <cx:pt idx="100288">5</cx:pt>
          <cx:pt idx="100289">4</cx:pt>
          <cx:pt idx="100290">2</cx:pt>
          <cx:pt idx="100291">2</cx:pt>
          <cx:pt idx="100292">3</cx:pt>
          <cx:pt idx="100293">4</cx:pt>
          <cx:pt idx="100294">4</cx:pt>
          <cx:pt idx="100295">3</cx:pt>
          <cx:pt idx="100296">3</cx:pt>
          <cx:pt idx="100297">2</cx:pt>
          <cx:pt idx="100298">5</cx:pt>
          <cx:pt idx="100299">5</cx:pt>
          <cx:pt idx="100300">5</cx:pt>
          <cx:pt idx="100301">2</cx:pt>
          <cx:pt idx="100302">4</cx:pt>
          <cx:pt idx="100303">5</cx:pt>
          <cx:pt idx="100304">4</cx:pt>
          <cx:pt idx="100305">5</cx:pt>
          <cx:pt idx="100306">3</cx:pt>
          <cx:pt idx="100307">1</cx:pt>
          <cx:pt idx="100308">5</cx:pt>
          <cx:pt idx="100309">5</cx:pt>
          <cx:pt idx="100310">3</cx:pt>
          <cx:pt idx="100311">4</cx:pt>
          <cx:pt idx="100312">5</cx:pt>
          <cx:pt idx="100313">2</cx:pt>
          <cx:pt idx="100314">2</cx:pt>
          <cx:pt idx="100315">5</cx:pt>
          <cx:pt idx="100316">4</cx:pt>
          <cx:pt idx="100317">4</cx:pt>
          <cx:pt idx="100318">5</cx:pt>
          <cx:pt idx="100319">2</cx:pt>
          <cx:pt idx="100320">4</cx:pt>
          <cx:pt idx="100321">2</cx:pt>
          <cx:pt idx="100322">2</cx:pt>
          <cx:pt idx="100323">3</cx:pt>
          <cx:pt idx="100324">2</cx:pt>
          <cx:pt idx="100325">1</cx:pt>
          <cx:pt idx="100326">3</cx:pt>
          <cx:pt idx="100327">1</cx:pt>
          <cx:pt idx="100328">5</cx:pt>
          <cx:pt idx="100329">3</cx:pt>
          <cx:pt idx="100330">1</cx:pt>
          <cx:pt idx="100331">5</cx:pt>
          <cx:pt idx="100332">5</cx:pt>
          <cx:pt idx="100333">1</cx:pt>
          <cx:pt idx="100334">4</cx:pt>
          <cx:pt idx="100335">5</cx:pt>
          <cx:pt idx="100336">4</cx:pt>
          <cx:pt idx="100337">5</cx:pt>
          <cx:pt idx="100338">4</cx:pt>
          <cx:pt idx="100339">4</cx:pt>
          <cx:pt idx="100340">5</cx:pt>
          <cx:pt idx="100341">4</cx:pt>
          <cx:pt idx="100342">5</cx:pt>
          <cx:pt idx="100343">1</cx:pt>
          <cx:pt idx="100344">5</cx:pt>
          <cx:pt idx="100345">4</cx:pt>
          <cx:pt idx="100346">2</cx:pt>
          <cx:pt idx="100347">5</cx:pt>
          <cx:pt idx="100348">5</cx:pt>
          <cx:pt idx="100349">4</cx:pt>
          <cx:pt idx="100350">4</cx:pt>
          <cx:pt idx="100351">4</cx:pt>
          <cx:pt idx="100352">2</cx:pt>
          <cx:pt idx="100353">4</cx:pt>
          <cx:pt idx="100354">1</cx:pt>
          <cx:pt idx="100355">3</cx:pt>
          <cx:pt idx="100356">4</cx:pt>
          <cx:pt idx="100357">2</cx:pt>
          <cx:pt idx="100358">1</cx:pt>
          <cx:pt idx="100359">4</cx:pt>
          <cx:pt idx="100360">4</cx:pt>
          <cx:pt idx="100361">2</cx:pt>
          <cx:pt idx="100362">4</cx:pt>
          <cx:pt idx="100363">5</cx:pt>
          <cx:pt idx="100364">4</cx:pt>
          <cx:pt idx="100365">5</cx:pt>
          <cx:pt idx="100366">4</cx:pt>
          <cx:pt idx="100367">2</cx:pt>
          <cx:pt idx="100368">5</cx:pt>
          <cx:pt idx="100369">4</cx:pt>
          <cx:pt idx="100370">2</cx:pt>
          <cx:pt idx="100371">5</cx:pt>
          <cx:pt idx="100372">4</cx:pt>
          <cx:pt idx="100373">4</cx:pt>
          <cx:pt idx="100374">5</cx:pt>
          <cx:pt idx="100375">2</cx:pt>
          <cx:pt idx="100376">5</cx:pt>
          <cx:pt idx="100377">4</cx:pt>
          <cx:pt idx="100378">3</cx:pt>
          <cx:pt idx="100379">3</cx:pt>
          <cx:pt idx="100380">4</cx:pt>
          <cx:pt idx="100381">4</cx:pt>
          <cx:pt idx="100382">1</cx:pt>
          <cx:pt idx="100383">3</cx:pt>
          <cx:pt idx="100384">5</cx:pt>
          <cx:pt idx="100385">4</cx:pt>
          <cx:pt idx="100386">3</cx:pt>
          <cx:pt idx="100387">3</cx:pt>
          <cx:pt idx="100388">3</cx:pt>
          <cx:pt idx="100389">5</cx:pt>
          <cx:pt idx="100390">4</cx:pt>
          <cx:pt idx="100391">2</cx:pt>
          <cx:pt idx="100392">4</cx:pt>
          <cx:pt idx="100393">4</cx:pt>
          <cx:pt idx="100394">1</cx:pt>
          <cx:pt idx="100395">2</cx:pt>
          <cx:pt idx="100396">4</cx:pt>
          <cx:pt idx="100397">1</cx:pt>
          <cx:pt idx="100398">3</cx:pt>
          <cx:pt idx="100399">2</cx:pt>
          <cx:pt idx="100400">2</cx:pt>
          <cx:pt idx="100401">1</cx:pt>
          <cx:pt idx="100402">4</cx:pt>
          <cx:pt idx="100403">1</cx:pt>
          <cx:pt idx="100404">5</cx:pt>
          <cx:pt idx="100405">3</cx:pt>
          <cx:pt idx="100406">4</cx:pt>
          <cx:pt idx="100407">1</cx:pt>
          <cx:pt idx="100408">5</cx:pt>
          <cx:pt idx="100409">5</cx:pt>
          <cx:pt idx="100410">4</cx:pt>
          <cx:pt idx="100411">2</cx:pt>
          <cx:pt idx="100412">2</cx:pt>
          <cx:pt idx="100413">4</cx:pt>
          <cx:pt idx="100414">2</cx:pt>
          <cx:pt idx="100415">5</cx:pt>
          <cx:pt idx="100416">1</cx:pt>
          <cx:pt idx="100417">2</cx:pt>
          <cx:pt idx="100418">3</cx:pt>
          <cx:pt idx="100419">4</cx:pt>
          <cx:pt idx="100420">2</cx:pt>
          <cx:pt idx="100421">5</cx:pt>
          <cx:pt idx="100422">3</cx:pt>
          <cx:pt idx="100423">3</cx:pt>
          <cx:pt idx="100424">2</cx:pt>
          <cx:pt idx="100425">4</cx:pt>
          <cx:pt idx="100426">4</cx:pt>
          <cx:pt idx="100427">5</cx:pt>
          <cx:pt idx="100428">5</cx:pt>
          <cx:pt idx="100429">4</cx:pt>
          <cx:pt idx="100430">5</cx:pt>
          <cx:pt idx="100431">1</cx:pt>
          <cx:pt idx="100432">2</cx:pt>
          <cx:pt idx="100433">2</cx:pt>
          <cx:pt idx="100434">3</cx:pt>
          <cx:pt idx="100435">2</cx:pt>
          <cx:pt idx="100436">3</cx:pt>
          <cx:pt idx="100437">4</cx:pt>
          <cx:pt idx="100438">5</cx:pt>
          <cx:pt idx="100439">3</cx:pt>
          <cx:pt idx="100440">5</cx:pt>
          <cx:pt idx="100441">5</cx:pt>
          <cx:pt idx="100442">1</cx:pt>
          <cx:pt idx="100443">5</cx:pt>
          <cx:pt idx="100444">5</cx:pt>
          <cx:pt idx="100445">2</cx:pt>
          <cx:pt idx="100446">5</cx:pt>
          <cx:pt idx="100447">3</cx:pt>
          <cx:pt idx="100448">3</cx:pt>
          <cx:pt idx="100449">4</cx:pt>
          <cx:pt idx="100450">1</cx:pt>
          <cx:pt idx="100451">2</cx:pt>
          <cx:pt idx="100452">4</cx:pt>
          <cx:pt idx="100453">1</cx:pt>
          <cx:pt idx="100454">3</cx:pt>
          <cx:pt idx="100455">4</cx:pt>
          <cx:pt idx="100456">5</cx:pt>
          <cx:pt idx="100457">2</cx:pt>
          <cx:pt idx="100458">2</cx:pt>
          <cx:pt idx="100459">3</cx:pt>
          <cx:pt idx="100460">4</cx:pt>
          <cx:pt idx="100461">4</cx:pt>
          <cx:pt idx="100462">5</cx:pt>
          <cx:pt idx="100463">4</cx:pt>
          <cx:pt idx="100464">3</cx:pt>
          <cx:pt idx="100465">3</cx:pt>
          <cx:pt idx="100466">3</cx:pt>
          <cx:pt idx="100467">4</cx:pt>
          <cx:pt idx="100468">3</cx:pt>
          <cx:pt idx="100469">2</cx:pt>
          <cx:pt idx="100470">2</cx:pt>
          <cx:pt idx="100471">5</cx:pt>
          <cx:pt idx="100472">2</cx:pt>
          <cx:pt idx="100473">3</cx:pt>
          <cx:pt idx="100474">5</cx:pt>
          <cx:pt idx="100475">1</cx:pt>
          <cx:pt idx="100476">5</cx:pt>
          <cx:pt idx="100477">2</cx:pt>
          <cx:pt idx="100478">5</cx:pt>
          <cx:pt idx="100479">4</cx:pt>
          <cx:pt idx="100480">3</cx:pt>
          <cx:pt idx="100481">4</cx:pt>
          <cx:pt idx="100482">4</cx:pt>
          <cx:pt idx="100483">1</cx:pt>
          <cx:pt idx="100484">2</cx:pt>
          <cx:pt idx="100485">2</cx:pt>
          <cx:pt idx="100486">2</cx:pt>
          <cx:pt idx="100487">2</cx:pt>
          <cx:pt idx="100488">4</cx:pt>
          <cx:pt idx="100489">3</cx:pt>
          <cx:pt idx="100490">3</cx:pt>
          <cx:pt idx="100491">2</cx:pt>
          <cx:pt idx="100492">2</cx:pt>
          <cx:pt idx="100493">1</cx:pt>
          <cx:pt idx="100494">3</cx:pt>
          <cx:pt idx="100495">2</cx:pt>
          <cx:pt idx="100496">4</cx:pt>
          <cx:pt idx="100497">3</cx:pt>
          <cx:pt idx="100498">2</cx:pt>
          <cx:pt idx="100499">2</cx:pt>
          <cx:pt idx="100500">5</cx:pt>
          <cx:pt idx="100501">4</cx:pt>
          <cx:pt idx="100502">2</cx:pt>
          <cx:pt idx="100503">2</cx:pt>
          <cx:pt idx="100504">2</cx:pt>
          <cx:pt idx="100505">3</cx:pt>
          <cx:pt idx="100506">3</cx:pt>
          <cx:pt idx="100507">4</cx:pt>
          <cx:pt idx="100508">4</cx:pt>
          <cx:pt idx="100509">2</cx:pt>
          <cx:pt idx="100510">2</cx:pt>
          <cx:pt idx="100511">1</cx:pt>
          <cx:pt idx="100512">3</cx:pt>
          <cx:pt idx="100513">5</cx:pt>
          <cx:pt idx="100514">5</cx:pt>
          <cx:pt idx="100515">5</cx:pt>
          <cx:pt idx="100516">2</cx:pt>
          <cx:pt idx="100517">3</cx:pt>
          <cx:pt idx="100518">4</cx:pt>
          <cx:pt idx="100519">3</cx:pt>
          <cx:pt idx="100520">2</cx:pt>
          <cx:pt idx="100521">5</cx:pt>
          <cx:pt idx="100522">3</cx:pt>
          <cx:pt idx="100523">5</cx:pt>
          <cx:pt idx="100524">4</cx:pt>
          <cx:pt idx="100525">2</cx:pt>
          <cx:pt idx="100526">5</cx:pt>
          <cx:pt idx="100527">4</cx:pt>
          <cx:pt idx="100528">5</cx:pt>
          <cx:pt idx="100529">4</cx:pt>
          <cx:pt idx="100530">5</cx:pt>
          <cx:pt idx="100531">1</cx:pt>
          <cx:pt idx="100532">2</cx:pt>
          <cx:pt idx="100533">4</cx:pt>
          <cx:pt idx="100534">4</cx:pt>
          <cx:pt idx="100535">4</cx:pt>
          <cx:pt idx="100536">4</cx:pt>
          <cx:pt idx="100537">2</cx:pt>
          <cx:pt idx="100538">4</cx:pt>
          <cx:pt idx="100539">3</cx:pt>
          <cx:pt idx="100540">4</cx:pt>
          <cx:pt idx="100541">3</cx:pt>
          <cx:pt idx="100542">2</cx:pt>
          <cx:pt idx="100543">4</cx:pt>
          <cx:pt idx="100544">2</cx:pt>
          <cx:pt idx="100545">5</cx:pt>
          <cx:pt idx="100546">5</cx:pt>
          <cx:pt idx="100547">4</cx:pt>
          <cx:pt idx="100548">4</cx:pt>
          <cx:pt idx="100549">1</cx:pt>
          <cx:pt idx="100550">1</cx:pt>
          <cx:pt idx="100551">5</cx:pt>
          <cx:pt idx="100552">4</cx:pt>
          <cx:pt idx="100553">3</cx:pt>
          <cx:pt idx="100554">3</cx:pt>
          <cx:pt idx="100555">2</cx:pt>
          <cx:pt idx="100556">2</cx:pt>
          <cx:pt idx="100557">2</cx:pt>
          <cx:pt idx="100558">3</cx:pt>
          <cx:pt idx="100559">5</cx:pt>
          <cx:pt idx="100560">4</cx:pt>
          <cx:pt idx="100561">1</cx:pt>
          <cx:pt idx="100562">5</cx:pt>
          <cx:pt idx="100563">2</cx:pt>
          <cx:pt idx="100564">2</cx:pt>
          <cx:pt idx="100565">5</cx:pt>
          <cx:pt idx="100566">4</cx:pt>
          <cx:pt idx="100567">4</cx:pt>
          <cx:pt idx="100568">5</cx:pt>
          <cx:pt idx="100569">2</cx:pt>
          <cx:pt idx="100570">5</cx:pt>
          <cx:pt idx="100571">3</cx:pt>
          <cx:pt idx="100572">4</cx:pt>
          <cx:pt idx="100573">2</cx:pt>
          <cx:pt idx="100574">2</cx:pt>
          <cx:pt idx="100575">3</cx:pt>
          <cx:pt idx="100576">3</cx:pt>
          <cx:pt idx="100577">4</cx:pt>
          <cx:pt idx="100578">1</cx:pt>
          <cx:pt idx="100579">3</cx:pt>
          <cx:pt idx="100580">5</cx:pt>
          <cx:pt idx="100581">4</cx:pt>
          <cx:pt idx="100582">3</cx:pt>
          <cx:pt idx="100583">3</cx:pt>
          <cx:pt idx="100584">4</cx:pt>
          <cx:pt idx="100585">2</cx:pt>
          <cx:pt idx="100586">5</cx:pt>
          <cx:pt idx="100587">5</cx:pt>
          <cx:pt idx="100588">4</cx:pt>
          <cx:pt idx="100589">4</cx:pt>
          <cx:pt idx="100590">5</cx:pt>
          <cx:pt idx="100591">3</cx:pt>
          <cx:pt idx="100592">3</cx:pt>
          <cx:pt idx="100593">4</cx:pt>
          <cx:pt idx="100594">3</cx:pt>
          <cx:pt idx="100595">3</cx:pt>
          <cx:pt idx="100596">3</cx:pt>
          <cx:pt idx="100597">2</cx:pt>
          <cx:pt idx="100598">3</cx:pt>
          <cx:pt idx="100599">4</cx:pt>
          <cx:pt idx="100600">1</cx:pt>
          <cx:pt idx="100601">1</cx:pt>
          <cx:pt idx="100602">2</cx:pt>
          <cx:pt idx="100603">5</cx:pt>
          <cx:pt idx="100604">4</cx:pt>
          <cx:pt idx="100605">5</cx:pt>
          <cx:pt idx="100606">5</cx:pt>
          <cx:pt idx="100607">4</cx:pt>
          <cx:pt idx="100608">4</cx:pt>
          <cx:pt idx="100609">2</cx:pt>
          <cx:pt idx="100610">5</cx:pt>
          <cx:pt idx="100611">5</cx:pt>
          <cx:pt idx="100612">3</cx:pt>
          <cx:pt idx="100613">4</cx:pt>
          <cx:pt idx="100614">1</cx:pt>
          <cx:pt idx="100615">4</cx:pt>
          <cx:pt idx="100616">4</cx:pt>
          <cx:pt idx="100617">5</cx:pt>
          <cx:pt idx="100618">3</cx:pt>
          <cx:pt idx="100619">3</cx:pt>
          <cx:pt idx="100620">3</cx:pt>
          <cx:pt idx="100621">4</cx:pt>
          <cx:pt idx="100622">3</cx:pt>
          <cx:pt idx="100623">3</cx:pt>
          <cx:pt idx="100624">1</cx:pt>
          <cx:pt idx="100625">4</cx:pt>
          <cx:pt idx="100626">4</cx:pt>
          <cx:pt idx="100627">1</cx:pt>
          <cx:pt idx="100628">5</cx:pt>
          <cx:pt idx="100629">4</cx:pt>
          <cx:pt idx="100630">4</cx:pt>
          <cx:pt idx="100631">5</cx:pt>
          <cx:pt idx="100632">4</cx:pt>
          <cx:pt idx="100633">2</cx:pt>
          <cx:pt idx="100634">4</cx:pt>
          <cx:pt idx="100635">2</cx:pt>
          <cx:pt idx="100636">4</cx:pt>
          <cx:pt idx="100637">4</cx:pt>
          <cx:pt idx="100638">3</cx:pt>
          <cx:pt idx="100639">5</cx:pt>
          <cx:pt idx="100640">4</cx:pt>
          <cx:pt idx="100641">3</cx:pt>
          <cx:pt idx="100642">3</cx:pt>
          <cx:pt idx="100643">4</cx:pt>
          <cx:pt idx="100644">1</cx:pt>
          <cx:pt idx="100645">2</cx:pt>
          <cx:pt idx="100646">5</cx:pt>
          <cx:pt idx="100647">5</cx:pt>
          <cx:pt idx="100648">2</cx:pt>
          <cx:pt idx="100649">4</cx:pt>
          <cx:pt idx="100650">3</cx:pt>
          <cx:pt idx="100651">2</cx:pt>
          <cx:pt idx="100652">5</cx:pt>
          <cx:pt idx="100653">4</cx:pt>
          <cx:pt idx="100654">4</cx:pt>
          <cx:pt idx="100655">5</cx:pt>
          <cx:pt idx="100656">4</cx:pt>
          <cx:pt idx="100657">4</cx:pt>
          <cx:pt idx="100658">5</cx:pt>
          <cx:pt idx="100659">2</cx:pt>
          <cx:pt idx="100660">4</cx:pt>
          <cx:pt idx="100661">2</cx:pt>
          <cx:pt idx="100662">5</cx:pt>
          <cx:pt idx="100663">1</cx:pt>
          <cx:pt idx="100664">3</cx:pt>
          <cx:pt idx="100665">5</cx:pt>
          <cx:pt idx="100666">5</cx:pt>
          <cx:pt idx="100667">5</cx:pt>
          <cx:pt idx="100668">3</cx:pt>
          <cx:pt idx="100669">4</cx:pt>
          <cx:pt idx="100670">2</cx:pt>
          <cx:pt idx="100671">3</cx:pt>
          <cx:pt idx="100672">1</cx:pt>
          <cx:pt idx="100673">4</cx:pt>
          <cx:pt idx="100674">4</cx:pt>
          <cx:pt idx="100675">3</cx:pt>
          <cx:pt idx="100676">5</cx:pt>
          <cx:pt idx="100677">3</cx:pt>
          <cx:pt idx="100678">2</cx:pt>
          <cx:pt idx="100679">3</cx:pt>
          <cx:pt idx="100680">4</cx:pt>
          <cx:pt idx="100681">4</cx:pt>
          <cx:pt idx="100682">5</cx:pt>
          <cx:pt idx="100683">5</cx:pt>
          <cx:pt idx="100684">5</cx:pt>
          <cx:pt idx="100685">5</cx:pt>
          <cx:pt idx="100686">3</cx:pt>
          <cx:pt idx="100687">3</cx:pt>
          <cx:pt idx="100688">4</cx:pt>
          <cx:pt idx="100689">4</cx:pt>
          <cx:pt idx="100690">4</cx:pt>
          <cx:pt idx="100691">4</cx:pt>
          <cx:pt idx="100692">4</cx:pt>
          <cx:pt idx="100693">5</cx:pt>
          <cx:pt idx="100694">5</cx:pt>
          <cx:pt idx="100695">3</cx:pt>
          <cx:pt idx="100696">4</cx:pt>
          <cx:pt idx="100697">2</cx:pt>
          <cx:pt idx="100698">2</cx:pt>
          <cx:pt idx="100699">5</cx:pt>
          <cx:pt idx="100700">5</cx:pt>
          <cx:pt idx="100701">1</cx:pt>
          <cx:pt idx="100702">5</cx:pt>
          <cx:pt idx="100703">5</cx:pt>
          <cx:pt idx="100704">4</cx:pt>
          <cx:pt idx="100705">5</cx:pt>
          <cx:pt idx="100706">4</cx:pt>
          <cx:pt idx="100707">3</cx:pt>
          <cx:pt idx="100708">2</cx:pt>
          <cx:pt idx="100709">5</cx:pt>
          <cx:pt idx="100710">3</cx:pt>
          <cx:pt idx="100711">4</cx:pt>
          <cx:pt idx="100712">4</cx:pt>
          <cx:pt idx="100713">4</cx:pt>
          <cx:pt idx="100714">2</cx:pt>
          <cx:pt idx="100715">4</cx:pt>
          <cx:pt idx="100716">3</cx:pt>
          <cx:pt idx="100717">4</cx:pt>
          <cx:pt idx="100718">2</cx:pt>
          <cx:pt idx="100719">4</cx:pt>
          <cx:pt idx="100720">1</cx:pt>
          <cx:pt idx="100721">5</cx:pt>
          <cx:pt idx="100722">4</cx:pt>
          <cx:pt idx="100723">5</cx:pt>
          <cx:pt idx="100724">5</cx:pt>
          <cx:pt idx="100725">3</cx:pt>
          <cx:pt idx="100726">2</cx:pt>
          <cx:pt idx="100727">5</cx:pt>
          <cx:pt idx="100728">2</cx:pt>
          <cx:pt idx="100729">4</cx:pt>
          <cx:pt idx="100730">4</cx:pt>
          <cx:pt idx="100731">5</cx:pt>
          <cx:pt idx="100732">4</cx:pt>
          <cx:pt idx="100733">5</cx:pt>
          <cx:pt idx="100734">2</cx:pt>
          <cx:pt idx="100735">3</cx:pt>
          <cx:pt idx="100736">1</cx:pt>
          <cx:pt idx="100737">1</cx:pt>
          <cx:pt idx="100738">3</cx:pt>
          <cx:pt idx="100739">5</cx:pt>
          <cx:pt idx="100740">4</cx:pt>
          <cx:pt idx="100741">3</cx:pt>
          <cx:pt idx="100742">4</cx:pt>
          <cx:pt idx="100743">1</cx:pt>
          <cx:pt idx="100744">5</cx:pt>
          <cx:pt idx="100745">3</cx:pt>
          <cx:pt idx="100746">5</cx:pt>
          <cx:pt idx="100747">5</cx:pt>
          <cx:pt idx="100748">2</cx:pt>
          <cx:pt idx="100749">3</cx:pt>
          <cx:pt idx="100750">4</cx:pt>
          <cx:pt idx="100751">5</cx:pt>
          <cx:pt idx="100752">5</cx:pt>
          <cx:pt idx="100753">5</cx:pt>
          <cx:pt idx="100754">4</cx:pt>
          <cx:pt idx="100755">1</cx:pt>
          <cx:pt idx="100756">4</cx:pt>
          <cx:pt idx="100757">4</cx:pt>
          <cx:pt idx="100758">5</cx:pt>
          <cx:pt idx="100759">5</cx:pt>
          <cx:pt idx="100760">5</cx:pt>
          <cx:pt idx="100761">4</cx:pt>
          <cx:pt idx="100762">4</cx:pt>
          <cx:pt idx="100763">4</cx:pt>
          <cx:pt idx="100764">5</cx:pt>
          <cx:pt idx="100765">5</cx:pt>
          <cx:pt idx="100766">4</cx:pt>
          <cx:pt idx="100767">3</cx:pt>
          <cx:pt idx="100768">3</cx:pt>
          <cx:pt idx="100769">4</cx:pt>
          <cx:pt idx="100770">5</cx:pt>
          <cx:pt idx="100771">5</cx:pt>
          <cx:pt idx="100772">4</cx:pt>
          <cx:pt idx="100773">4</cx:pt>
          <cx:pt idx="100774">3</cx:pt>
          <cx:pt idx="100775">2</cx:pt>
          <cx:pt idx="100776">3</cx:pt>
          <cx:pt idx="100777">4</cx:pt>
          <cx:pt idx="100778">3</cx:pt>
          <cx:pt idx="100779">4</cx:pt>
          <cx:pt idx="100780">3</cx:pt>
          <cx:pt idx="100781">5</cx:pt>
          <cx:pt idx="100782">4</cx:pt>
          <cx:pt idx="100783">1</cx:pt>
          <cx:pt idx="100784">2</cx:pt>
          <cx:pt idx="100785">4</cx:pt>
          <cx:pt idx="100786">2</cx:pt>
          <cx:pt idx="100787">5</cx:pt>
          <cx:pt idx="100788">5</cx:pt>
          <cx:pt idx="100789">1</cx:pt>
          <cx:pt idx="100790">5</cx:pt>
          <cx:pt idx="100791">5</cx:pt>
          <cx:pt idx="100792">5</cx:pt>
          <cx:pt idx="100793">4</cx:pt>
          <cx:pt idx="100794">2</cx:pt>
          <cx:pt idx="100795">3</cx:pt>
          <cx:pt idx="100796">5</cx:pt>
          <cx:pt idx="100797">2</cx:pt>
          <cx:pt idx="100798">3</cx:pt>
          <cx:pt idx="100799">4</cx:pt>
          <cx:pt idx="100800">5</cx:pt>
          <cx:pt idx="100801">4</cx:pt>
          <cx:pt idx="100802">4</cx:pt>
          <cx:pt idx="100803">5</cx:pt>
          <cx:pt idx="100804">4</cx:pt>
          <cx:pt idx="100805">4</cx:pt>
          <cx:pt idx="100806">3</cx:pt>
          <cx:pt idx="100807">4</cx:pt>
          <cx:pt idx="100808">5</cx:pt>
          <cx:pt idx="100809">1</cx:pt>
          <cx:pt idx="100810">2</cx:pt>
          <cx:pt idx="100811">5</cx:pt>
          <cx:pt idx="100812">4</cx:pt>
          <cx:pt idx="100813">3</cx:pt>
          <cx:pt idx="100814">4</cx:pt>
          <cx:pt idx="100815">1</cx:pt>
          <cx:pt idx="100816">3</cx:pt>
          <cx:pt idx="100817">4</cx:pt>
          <cx:pt idx="100818">5</cx:pt>
          <cx:pt idx="100819">3</cx:pt>
          <cx:pt idx="100820">3</cx:pt>
          <cx:pt idx="100821">4</cx:pt>
          <cx:pt idx="100822">3</cx:pt>
          <cx:pt idx="100823">2</cx:pt>
          <cx:pt idx="100824">3</cx:pt>
          <cx:pt idx="100825">3</cx:pt>
          <cx:pt idx="100826">1</cx:pt>
          <cx:pt idx="100827">2</cx:pt>
          <cx:pt idx="100828">5</cx:pt>
          <cx:pt idx="100829">5</cx:pt>
          <cx:pt idx="100830">2</cx:pt>
          <cx:pt idx="100831">4</cx:pt>
          <cx:pt idx="100832">5</cx:pt>
          <cx:pt idx="100833">4</cx:pt>
          <cx:pt idx="100834">5</cx:pt>
          <cx:pt idx="100835">1</cx:pt>
          <cx:pt idx="100836">4</cx:pt>
          <cx:pt idx="100837">5</cx:pt>
          <cx:pt idx="100838">3</cx:pt>
          <cx:pt idx="100839">4</cx:pt>
          <cx:pt idx="100840">5</cx:pt>
          <cx:pt idx="100841">5</cx:pt>
          <cx:pt idx="100842">1</cx:pt>
          <cx:pt idx="100843">1</cx:pt>
          <cx:pt idx="100844">2</cx:pt>
          <cx:pt idx="100845">3</cx:pt>
          <cx:pt idx="100846">4</cx:pt>
          <cx:pt idx="100847">5</cx:pt>
          <cx:pt idx="100848">2</cx:pt>
          <cx:pt idx="100849">5</cx:pt>
          <cx:pt idx="100850">2</cx:pt>
          <cx:pt idx="100851">1</cx:pt>
          <cx:pt idx="100852">3</cx:pt>
          <cx:pt idx="100853">4</cx:pt>
          <cx:pt idx="100854">1</cx:pt>
          <cx:pt idx="100855">5</cx:pt>
          <cx:pt idx="100856">5</cx:pt>
          <cx:pt idx="100857">2</cx:pt>
          <cx:pt idx="100858">4</cx:pt>
          <cx:pt idx="100859">5</cx:pt>
          <cx:pt idx="100860">3</cx:pt>
          <cx:pt idx="100861">5</cx:pt>
          <cx:pt idx="100862">3</cx:pt>
          <cx:pt idx="100863">4</cx:pt>
          <cx:pt idx="100864">5</cx:pt>
          <cx:pt idx="100865">1</cx:pt>
          <cx:pt idx="100866">1</cx:pt>
          <cx:pt idx="100867">5</cx:pt>
          <cx:pt idx="100868">1</cx:pt>
          <cx:pt idx="100869">2</cx:pt>
          <cx:pt idx="100870">2</cx:pt>
          <cx:pt idx="100871">3</cx:pt>
          <cx:pt idx="100872">4</cx:pt>
          <cx:pt idx="100873">3</cx:pt>
          <cx:pt idx="100874">4</cx:pt>
          <cx:pt idx="100875">2</cx:pt>
          <cx:pt idx="100876">4</cx:pt>
          <cx:pt idx="100877">2</cx:pt>
          <cx:pt idx="100878">5</cx:pt>
          <cx:pt idx="100879">4</cx:pt>
          <cx:pt idx="100880">3</cx:pt>
          <cx:pt idx="100881">5</cx:pt>
          <cx:pt idx="100882">5</cx:pt>
          <cx:pt idx="100883">4</cx:pt>
          <cx:pt idx="100884">2</cx:pt>
          <cx:pt idx="100885">4</cx:pt>
          <cx:pt idx="100886">4</cx:pt>
          <cx:pt idx="100887">4</cx:pt>
          <cx:pt idx="100888">4</cx:pt>
          <cx:pt idx="100889">2</cx:pt>
          <cx:pt idx="100890">4</cx:pt>
          <cx:pt idx="100891">3</cx:pt>
          <cx:pt idx="100892">3</cx:pt>
          <cx:pt idx="100893">2</cx:pt>
          <cx:pt idx="100894">2</cx:pt>
          <cx:pt idx="100895">4</cx:pt>
          <cx:pt idx="100896">4</cx:pt>
          <cx:pt idx="100897">5</cx:pt>
          <cx:pt idx="100898">2</cx:pt>
          <cx:pt idx="100899">5</cx:pt>
          <cx:pt idx="100900">4</cx:pt>
          <cx:pt idx="100901">3</cx:pt>
          <cx:pt idx="100902">5</cx:pt>
          <cx:pt idx="100903">4</cx:pt>
          <cx:pt idx="100904">4</cx:pt>
          <cx:pt idx="100905">4</cx:pt>
          <cx:pt idx="100906">2</cx:pt>
          <cx:pt idx="100907">4</cx:pt>
          <cx:pt idx="100908">5</cx:pt>
          <cx:pt idx="100909">3</cx:pt>
          <cx:pt idx="100910">5</cx:pt>
          <cx:pt idx="100911">2</cx:pt>
          <cx:pt idx="100912">5</cx:pt>
          <cx:pt idx="100913">4</cx:pt>
          <cx:pt idx="100914">5</cx:pt>
          <cx:pt idx="100915">3</cx:pt>
          <cx:pt idx="100916">1</cx:pt>
          <cx:pt idx="100917">5</cx:pt>
          <cx:pt idx="100918">5</cx:pt>
          <cx:pt idx="100919">4</cx:pt>
          <cx:pt idx="100920">2</cx:pt>
          <cx:pt idx="100921">3</cx:pt>
          <cx:pt idx="100922">5</cx:pt>
          <cx:pt idx="100923">5</cx:pt>
          <cx:pt idx="100924">2</cx:pt>
          <cx:pt idx="100925">2</cx:pt>
          <cx:pt idx="100926">4</cx:pt>
          <cx:pt idx="100927">1</cx:pt>
          <cx:pt idx="100928">1</cx:pt>
          <cx:pt idx="100929">4</cx:pt>
          <cx:pt idx="100930">2</cx:pt>
          <cx:pt idx="100931">1</cx:pt>
          <cx:pt idx="100932">3</cx:pt>
          <cx:pt idx="100933">4</cx:pt>
          <cx:pt idx="100934">5</cx:pt>
          <cx:pt idx="100935">4</cx:pt>
          <cx:pt idx="100936">3</cx:pt>
          <cx:pt idx="100937">4</cx:pt>
          <cx:pt idx="100938">3</cx:pt>
          <cx:pt idx="100939">2</cx:pt>
          <cx:pt idx="100940">3</cx:pt>
          <cx:pt idx="100941">5</cx:pt>
          <cx:pt idx="100942">3</cx:pt>
          <cx:pt idx="100943">5</cx:pt>
          <cx:pt idx="100944">4</cx:pt>
          <cx:pt idx="100945">3</cx:pt>
          <cx:pt idx="100946">4</cx:pt>
          <cx:pt idx="100947">5</cx:pt>
          <cx:pt idx="100948">5</cx:pt>
          <cx:pt idx="100949">1</cx:pt>
          <cx:pt idx="100950">4</cx:pt>
          <cx:pt idx="100951">3</cx:pt>
          <cx:pt idx="100952">3</cx:pt>
          <cx:pt idx="100953">3</cx:pt>
          <cx:pt idx="100954">3</cx:pt>
          <cx:pt idx="100955">2</cx:pt>
          <cx:pt idx="100956">5</cx:pt>
          <cx:pt idx="100957">2</cx:pt>
          <cx:pt idx="100958">4</cx:pt>
          <cx:pt idx="100959">4</cx:pt>
          <cx:pt idx="100960">4</cx:pt>
          <cx:pt idx="100961">4</cx:pt>
          <cx:pt idx="100962">3</cx:pt>
          <cx:pt idx="100963">5</cx:pt>
          <cx:pt idx="100964">4</cx:pt>
          <cx:pt idx="100965">3</cx:pt>
          <cx:pt idx="100966">3</cx:pt>
          <cx:pt idx="100967">3</cx:pt>
          <cx:pt idx="100968">4</cx:pt>
          <cx:pt idx="100969">4</cx:pt>
          <cx:pt idx="100970">2</cx:pt>
          <cx:pt idx="100971">2</cx:pt>
          <cx:pt idx="100972">2</cx:pt>
          <cx:pt idx="100973">3</cx:pt>
          <cx:pt idx="100974">4</cx:pt>
          <cx:pt idx="100975">2</cx:pt>
          <cx:pt idx="100976">4</cx:pt>
          <cx:pt idx="100977">4</cx:pt>
          <cx:pt idx="100978">5</cx:pt>
          <cx:pt idx="100979">4</cx:pt>
          <cx:pt idx="100980">2</cx:pt>
          <cx:pt idx="100981">4</cx:pt>
          <cx:pt idx="100982">4</cx:pt>
          <cx:pt idx="100983">4</cx:pt>
          <cx:pt idx="100984">4</cx:pt>
          <cx:pt idx="100985">4</cx:pt>
          <cx:pt idx="100986">5</cx:pt>
          <cx:pt idx="100987">3</cx:pt>
          <cx:pt idx="100988">4</cx:pt>
          <cx:pt idx="100989">3</cx:pt>
          <cx:pt idx="100990">4</cx:pt>
          <cx:pt idx="100991">4</cx:pt>
          <cx:pt idx="100992">1</cx:pt>
          <cx:pt idx="100993">2</cx:pt>
          <cx:pt idx="100994">5</cx:pt>
          <cx:pt idx="100995">4</cx:pt>
          <cx:pt idx="100996">4</cx:pt>
          <cx:pt idx="100997">2</cx:pt>
          <cx:pt idx="100998">3</cx:pt>
          <cx:pt idx="100999">1</cx:pt>
          <cx:pt idx="101000">4</cx:pt>
          <cx:pt idx="101001">4</cx:pt>
          <cx:pt idx="101002">2</cx:pt>
          <cx:pt idx="101003">2</cx:pt>
          <cx:pt idx="101004">2</cx:pt>
          <cx:pt idx="101005">3</cx:pt>
          <cx:pt idx="101006">2</cx:pt>
          <cx:pt idx="101007">4</cx:pt>
          <cx:pt idx="101008">2</cx:pt>
          <cx:pt idx="101009">2</cx:pt>
          <cx:pt idx="101010">4</cx:pt>
          <cx:pt idx="101011">5</cx:pt>
          <cx:pt idx="101012">5</cx:pt>
          <cx:pt idx="101013">1</cx:pt>
          <cx:pt idx="101014">3</cx:pt>
          <cx:pt idx="101015">4</cx:pt>
          <cx:pt idx="101016">4</cx:pt>
          <cx:pt idx="101017">2</cx:pt>
          <cx:pt idx="101018">4</cx:pt>
          <cx:pt idx="101019">4</cx:pt>
          <cx:pt idx="101020">1</cx:pt>
          <cx:pt idx="101021">4</cx:pt>
          <cx:pt idx="101022">2</cx:pt>
          <cx:pt idx="101023">5</cx:pt>
          <cx:pt idx="101024">2</cx:pt>
          <cx:pt idx="101025">3</cx:pt>
          <cx:pt idx="101026">2</cx:pt>
          <cx:pt idx="101027">5</cx:pt>
          <cx:pt idx="101028">3</cx:pt>
          <cx:pt idx="101029">3</cx:pt>
          <cx:pt idx="101030">2</cx:pt>
          <cx:pt idx="101031">5</cx:pt>
          <cx:pt idx="101032">5</cx:pt>
          <cx:pt idx="101033">4</cx:pt>
          <cx:pt idx="101034">3</cx:pt>
          <cx:pt idx="101035">4</cx:pt>
          <cx:pt idx="101036">4</cx:pt>
          <cx:pt idx="101037">3</cx:pt>
          <cx:pt idx="101038">5</cx:pt>
          <cx:pt idx="101039">2</cx:pt>
          <cx:pt idx="101040">3</cx:pt>
          <cx:pt idx="101041">4</cx:pt>
          <cx:pt idx="101042">3</cx:pt>
          <cx:pt idx="101043">4</cx:pt>
          <cx:pt idx="101044">1</cx:pt>
          <cx:pt idx="101045">4</cx:pt>
          <cx:pt idx="101046">2</cx:pt>
          <cx:pt idx="101047">4</cx:pt>
          <cx:pt idx="101048">4</cx:pt>
          <cx:pt idx="101049">4</cx:pt>
          <cx:pt idx="101050">1</cx:pt>
          <cx:pt idx="101051">1</cx:pt>
          <cx:pt idx="101052">3</cx:pt>
          <cx:pt idx="101053">2</cx:pt>
          <cx:pt idx="101054">2</cx:pt>
          <cx:pt idx="101055">4</cx:pt>
          <cx:pt idx="101056">4</cx:pt>
          <cx:pt idx="101057">2</cx:pt>
          <cx:pt idx="101058">1</cx:pt>
          <cx:pt idx="101059">2</cx:pt>
          <cx:pt idx="101060">4</cx:pt>
          <cx:pt idx="101061">4</cx:pt>
          <cx:pt idx="101062">4</cx:pt>
          <cx:pt idx="101063">5</cx:pt>
          <cx:pt idx="101064">4</cx:pt>
          <cx:pt idx="101065">5</cx:pt>
          <cx:pt idx="101066">4</cx:pt>
          <cx:pt idx="101067">1</cx:pt>
          <cx:pt idx="101068">3</cx:pt>
          <cx:pt idx="101069">2</cx:pt>
          <cx:pt idx="101070">2</cx:pt>
          <cx:pt idx="101071">3</cx:pt>
          <cx:pt idx="101072">5</cx:pt>
          <cx:pt idx="101073">2</cx:pt>
          <cx:pt idx="101074">4</cx:pt>
          <cx:pt idx="101075">1</cx:pt>
          <cx:pt idx="101076">4</cx:pt>
          <cx:pt idx="101077">2</cx:pt>
          <cx:pt idx="101078">2</cx:pt>
          <cx:pt idx="101079">5</cx:pt>
          <cx:pt idx="101080">3</cx:pt>
          <cx:pt idx="101081">2</cx:pt>
          <cx:pt idx="101082">5</cx:pt>
          <cx:pt idx="101083">3</cx:pt>
          <cx:pt idx="101084">3</cx:pt>
          <cx:pt idx="101085">4</cx:pt>
          <cx:pt idx="101086">4</cx:pt>
          <cx:pt idx="101087">4</cx:pt>
          <cx:pt idx="101088">5</cx:pt>
          <cx:pt idx="101089">5</cx:pt>
          <cx:pt idx="101090">2</cx:pt>
          <cx:pt idx="101091">5</cx:pt>
          <cx:pt idx="101092">1</cx:pt>
          <cx:pt idx="101093">4</cx:pt>
          <cx:pt idx="101094">2</cx:pt>
          <cx:pt idx="101095">4</cx:pt>
          <cx:pt idx="101096">4</cx:pt>
          <cx:pt idx="101097">3</cx:pt>
          <cx:pt idx="101098">2</cx:pt>
          <cx:pt idx="101099">5</cx:pt>
          <cx:pt idx="101100">2</cx:pt>
          <cx:pt idx="101101">5</cx:pt>
          <cx:pt idx="101102">2</cx:pt>
          <cx:pt idx="101103">1</cx:pt>
          <cx:pt idx="101104">5</cx:pt>
          <cx:pt idx="101105">2</cx:pt>
          <cx:pt idx="101106">4</cx:pt>
          <cx:pt idx="101107">3</cx:pt>
          <cx:pt idx="101108">5</cx:pt>
          <cx:pt idx="101109">5</cx:pt>
          <cx:pt idx="101110">3</cx:pt>
          <cx:pt idx="101111">5</cx:pt>
          <cx:pt idx="101112">5</cx:pt>
          <cx:pt idx="101113">1</cx:pt>
          <cx:pt idx="101114">4</cx:pt>
          <cx:pt idx="101115">3</cx:pt>
          <cx:pt idx="101116">2</cx:pt>
          <cx:pt idx="101117">4</cx:pt>
          <cx:pt idx="101118">5</cx:pt>
          <cx:pt idx="101119">5</cx:pt>
          <cx:pt idx="101120">4</cx:pt>
          <cx:pt idx="101121">4</cx:pt>
          <cx:pt idx="101122">4</cx:pt>
          <cx:pt idx="101123">4</cx:pt>
          <cx:pt idx="101124">5</cx:pt>
          <cx:pt idx="101125">4</cx:pt>
          <cx:pt idx="101126">4</cx:pt>
          <cx:pt idx="101127">4</cx:pt>
          <cx:pt idx="101128">5</cx:pt>
          <cx:pt idx="101129">5</cx:pt>
          <cx:pt idx="101130">2</cx:pt>
          <cx:pt idx="101131">5</cx:pt>
          <cx:pt idx="101132">3</cx:pt>
          <cx:pt idx="101133">3</cx:pt>
          <cx:pt idx="101134">5</cx:pt>
          <cx:pt idx="101135">1</cx:pt>
          <cx:pt idx="101136">5</cx:pt>
          <cx:pt idx="101137">4</cx:pt>
          <cx:pt idx="101138">5</cx:pt>
          <cx:pt idx="101139">4</cx:pt>
          <cx:pt idx="101140">2</cx:pt>
          <cx:pt idx="101141">2</cx:pt>
          <cx:pt idx="101142">4</cx:pt>
          <cx:pt idx="101143">5</cx:pt>
          <cx:pt idx="101144">5</cx:pt>
          <cx:pt idx="101145">5</cx:pt>
          <cx:pt idx="101146">4</cx:pt>
          <cx:pt idx="101147">2</cx:pt>
          <cx:pt idx="101148">2</cx:pt>
          <cx:pt idx="101149">2</cx:pt>
          <cx:pt idx="101150">4</cx:pt>
          <cx:pt idx="101151">5</cx:pt>
          <cx:pt idx="101152">1</cx:pt>
          <cx:pt idx="101153">5</cx:pt>
          <cx:pt idx="101154">1</cx:pt>
          <cx:pt idx="101155">4</cx:pt>
          <cx:pt idx="101156">5</cx:pt>
          <cx:pt idx="101157">2</cx:pt>
          <cx:pt idx="101158">4</cx:pt>
          <cx:pt idx="101159">1</cx:pt>
          <cx:pt idx="101160">2</cx:pt>
          <cx:pt idx="101161">5</cx:pt>
          <cx:pt idx="101162">5</cx:pt>
          <cx:pt idx="101163">4</cx:pt>
          <cx:pt idx="101164">5</cx:pt>
          <cx:pt idx="101165">3</cx:pt>
          <cx:pt idx="101166">4</cx:pt>
          <cx:pt idx="101167">5</cx:pt>
          <cx:pt idx="101168">4</cx:pt>
          <cx:pt idx="101169">4</cx:pt>
          <cx:pt idx="101170">1</cx:pt>
          <cx:pt idx="101171">1</cx:pt>
          <cx:pt idx="101172">3</cx:pt>
          <cx:pt idx="101173">2</cx:pt>
          <cx:pt idx="101174">1</cx:pt>
          <cx:pt idx="101175">5</cx:pt>
          <cx:pt idx="101176">3</cx:pt>
          <cx:pt idx="101177">4</cx:pt>
          <cx:pt idx="101178">3</cx:pt>
          <cx:pt idx="101179">2</cx:pt>
          <cx:pt idx="101180">4</cx:pt>
          <cx:pt idx="101181">1</cx:pt>
          <cx:pt idx="101182">5</cx:pt>
          <cx:pt idx="101183">5</cx:pt>
          <cx:pt idx="101184">5</cx:pt>
          <cx:pt idx="101185">4</cx:pt>
          <cx:pt idx="101186">5</cx:pt>
          <cx:pt idx="101187">4</cx:pt>
          <cx:pt idx="101188">2</cx:pt>
          <cx:pt idx="101189">1</cx:pt>
          <cx:pt idx="101190">5</cx:pt>
          <cx:pt idx="101191">1</cx:pt>
          <cx:pt idx="101192">5</cx:pt>
          <cx:pt idx="101193">3</cx:pt>
          <cx:pt idx="101194">5</cx:pt>
          <cx:pt idx="101195">4</cx:pt>
          <cx:pt idx="101196">4</cx:pt>
          <cx:pt idx="101197">4</cx:pt>
          <cx:pt idx="101198">4</cx:pt>
          <cx:pt idx="101199">5</cx:pt>
          <cx:pt idx="101200">1</cx:pt>
          <cx:pt idx="101201">4</cx:pt>
          <cx:pt idx="101202">4</cx:pt>
          <cx:pt idx="101203">5</cx:pt>
          <cx:pt idx="101204">5</cx:pt>
          <cx:pt idx="101205">3</cx:pt>
          <cx:pt idx="101206">3</cx:pt>
          <cx:pt idx="101207">3</cx:pt>
          <cx:pt idx="101208">4</cx:pt>
          <cx:pt idx="101209">1</cx:pt>
          <cx:pt idx="101210">3</cx:pt>
          <cx:pt idx="101211">5</cx:pt>
          <cx:pt idx="101212">5</cx:pt>
          <cx:pt idx="101213">3</cx:pt>
          <cx:pt idx="101214">3</cx:pt>
          <cx:pt idx="101215">5</cx:pt>
          <cx:pt idx="101216">1</cx:pt>
          <cx:pt idx="101217">5</cx:pt>
          <cx:pt idx="101218">2</cx:pt>
          <cx:pt idx="101219">1</cx:pt>
          <cx:pt idx="101220">1</cx:pt>
          <cx:pt idx="101221">2</cx:pt>
          <cx:pt idx="101222">1</cx:pt>
          <cx:pt idx="101223">4</cx:pt>
          <cx:pt idx="101224">3</cx:pt>
          <cx:pt idx="101225">1</cx:pt>
          <cx:pt idx="101226">1</cx:pt>
          <cx:pt idx="101227">3</cx:pt>
          <cx:pt idx="101228">4</cx:pt>
          <cx:pt idx="101229">4</cx:pt>
          <cx:pt idx="101230">4</cx:pt>
          <cx:pt idx="101231">4</cx:pt>
          <cx:pt idx="101232">5</cx:pt>
          <cx:pt idx="101233">5</cx:pt>
          <cx:pt idx="101234">5</cx:pt>
          <cx:pt idx="101235">1</cx:pt>
          <cx:pt idx="101236">4</cx:pt>
          <cx:pt idx="101237">4</cx:pt>
          <cx:pt idx="101238">5</cx:pt>
          <cx:pt idx="101239">3</cx:pt>
          <cx:pt idx="101240">1</cx:pt>
          <cx:pt idx="101241">2</cx:pt>
          <cx:pt idx="101242">5</cx:pt>
          <cx:pt idx="101243">5</cx:pt>
          <cx:pt idx="101244">3</cx:pt>
          <cx:pt idx="101245">5</cx:pt>
          <cx:pt idx="101246">5</cx:pt>
          <cx:pt idx="101247">2</cx:pt>
          <cx:pt idx="101248">4</cx:pt>
          <cx:pt idx="101249">3</cx:pt>
          <cx:pt idx="101250">4</cx:pt>
          <cx:pt idx="101251">5</cx:pt>
          <cx:pt idx="101252">1</cx:pt>
          <cx:pt idx="101253">4</cx:pt>
          <cx:pt idx="101254">5</cx:pt>
          <cx:pt idx="101255">2</cx:pt>
          <cx:pt idx="101256">5</cx:pt>
          <cx:pt idx="101257">3</cx:pt>
          <cx:pt idx="101258">5</cx:pt>
          <cx:pt idx="101259">5</cx:pt>
          <cx:pt idx="101260">3</cx:pt>
          <cx:pt idx="101261">5</cx:pt>
          <cx:pt idx="101262">1</cx:pt>
          <cx:pt idx="101263">3</cx:pt>
          <cx:pt idx="101264">5</cx:pt>
          <cx:pt idx="101265">4</cx:pt>
          <cx:pt idx="101266">5</cx:pt>
          <cx:pt idx="101267">4</cx:pt>
          <cx:pt idx="101268">3</cx:pt>
          <cx:pt idx="101269">5</cx:pt>
          <cx:pt idx="101270">3</cx:pt>
          <cx:pt idx="101271">3</cx:pt>
          <cx:pt idx="101272">5</cx:pt>
          <cx:pt idx="101273">5</cx:pt>
          <cx:pt idx="101274">5</cx:pt>
          <cx:pt idx="101275">3</cx:pt>
          <cx:pt idx="101276">5</cx:pt>
          <cx:pt idx="101277">4</cx:pt>
          <cx:pt idx="101278">5</cx:pt>
          <cx:pt idx="101279">4</cx:pt>
          <cx:pt idx="101280">4</cx:pt>
          <cx:pt idx="101281">2</cx:pt>
          <cx:pt idx="101282">1</cx:pt>
          <cx:pt idx="101283">4</cx:pt>
          <cx:pt idx="101284">1</cx:pt>
          <cx:pt idx="101285">4</cx:pt>
          <cx:pt idx="101286">1</cx:pt>
          <cx:pt idx="101287">5</cx:pt>
          <cx:pt idx="101288">2</cx:pt>
          <cx:pt idx="101289">4</cx:pt>
          <cx:pt idx="101290">3</cx:pt>
          <cx:pt idx="101291">5</cx:pt>
          <cx:pt idx="101292">3</cx:pt>
          <cx:pt idx="101293">4</cx:pt>
          <cx:pt idx="101294">2</cx:pt>
          <cx:pt idx="101295">2</cx:pt>
          <cx:pt idx="101296">2</cx:pt>
          <cx:pt idx="101297">3</cx:pt>
          <cx:pt idx="101298">4</cx:pt>
          <cx:pt idx="101299">5</cx:pt>
          <cx:pt idx="101300">2</cx:pt>
          <cx:pt idx="101301">2</cx:pt>
          <cx:pt idx="101302">2</cx:pt>
          <cx:pt idx="101303">2</cx:pt>
          <cx:pt idx="101304">5</cx:pt>
          <cx:pt idx="101305">3</cx:pt>
          <cx:pt idx="101306">5</cx:pt>
          <cx:pt idx="101307">4</cx:pt>
          <cx:pt idx="101308">4</cx:pt>
          <cx:pt idx="101309">2</cx:pt>
          <cx:pt idx="101310">4</cx:pt>
          <cx:pt idx="101311">4</cx:pt>
          <cx:pt idx="101312">4</cx:pt>
          <cx:pt idx="101313">4</cx:pt>
          <cx:pt idx="101314">5</cx:pt>
          <cx:pt idx="101315">1</cx:pt>
          <cx:pt idx="101316">5</cx:pt>
          <cx:pt idx="101317">5</cx:pt>
          <cx:pt idx="101318">4</cx:pt>
          <cx:pt idx="101319">1</cx:pt>
          <cx:pt idx="101320">3</cx:pt>
          <cx:pt idx="101321">3</cx:pt>
          <cx:pt idx="101322">2</cx:pt>
          <cx:pt idx="101323">4</cx:pt>
          <cx:pt idx="101324">2</cx:pt>
          <cx:pt idx="101325">4</cx:pt>
          <cx:pt idx="101326">1</cx:pt>
          <cx:pt idx="101327">3</cx:pt>
          <cx:pt idx="101328">4</cx:pt>
          <cx:pt idx="101329">1</cx:pt>
          <cx:pt idx="101330">4</cx:pt>
          <cx:pt idx="101331">4</cx:pt>
          <cx:pt idx="101332">3</cx:pt>
          <cx:pt idx="101333">2</cx:pt>
          <cx:pt idx="101334">4</cx:pt>
          <cx:pt idx="101335">5</cx:pt>
          <cx:pt idx="101336">5</cx:pt>
          <cx:pt idx="101337">4</cx:pt>
          <cx:pt idx="101338">2</cx:pt>
          <cx:pt idx="101339">4</cx:pt>
          <cx:pt idx="101340">3</cx:pt>
          <cx:pt idx="101341">3</cx:pt>
          <cx:pt idx="101342">5</cx:pt>
          <cx:pt idx="101343">4</cx:pt>
          <cx:pt idx="101344">4</cx:pt>
          <cx:pt idx="101345">1</cx:pt>
          <cx:pt idx="101346">3</cx:pt>
          <cx:pt idx="101347">3</cx:pt>
          <cx:pt idx="101348">4</cx:pt>
          <cx:pt idx="101349">1</cx:pt>
          <cx:pt idx="101350">1</cx:pt>
          <cx:pt idx="101351">2</cx:pt>
          <cx:pt idx="101352">5</cx:pt>
          <cx:pt idx="101353">2</cx:pt>
          <cx:pt idx="101354">2</cx:pt>
          <cx:pt idx="101355">2</cx:pt>
          <cx:pt idx="101356">4</cx:pt>
          <cx:pt idx="101357">4</cx:pt>
          <cx:pt idx="101358">4</cx:pt>
          <cx:pt idx="101359">3</cx:pt>
          <cx:pt idx="101360">5</cx:pt>
          <cx:pt idx="101361">4</cx:pt>
          <cx:pt idx="101362">2</cx:pt>
          <cx:pt idx="101363">4</cx:pt>
          <cx:pt idx="101364">3</cx:pt>
          <cx:pt idx="101365">4</cx:pt>
          <cx:pt idx="101366">5</cx:pt>
          <cx:pt idx="101367">3</cx:pt>
          <cx:pt idx="101368">2</cx:pt>
          <cx:pt idx="101369">4</cx:pt>
          <cx:pt idx="101370">4</cx:pt>
          <cx:pt idx="101371">5</cx:pt>
          <cx:pt idx="101372">5</cx:pt>
          <cx:pt idx="101373">3</cx:pt>
          <cx:pt idx="101374">1</cx:pt>
          <cx:pt idx="101375">4</cx:pt>
          <cx:pt idx="101376">5</cx:pt>
          <cx:pt idx="101377">1</cx:pt>
          <cx:pt idx="101378">3</cx:pt>
          <cx:pt idx="101379">4</cx:pt>
          <cx:pt idx="101380">3</cx:pt>
          <cx:pt idx="101381">3</cx:pt>
          <cx:pt idx="101382">1</cx:pt>
          <cx:pt idx="101383">4</cx:pt>
          <cx:pt idx="101384">5</cx:pt>
          <cx:pt idx="101385">3</cx:pt>
          <cx:pt idx="101386">5</cx:pt>
          <cx:pt idx="101387">2</cx:pt>
          <cx:pt idx="101388">1</cx:pt>
          <cx:pt idx="101389">2</cx:pt>
          <cx:pt idx="101390">5</cx:pt>
          <cx:pt idx="101391">4</cx:pt>
          <cx:pt idx="101392">4</cx:pt>
          <cx:pt idx="101393">3</cx:pt>
          <cx:pt idx="101394">4</cx:pt>
          <cx:pt idx="101395">5</cx:pt>
          <cx:pt idx="101396">4</cx:pt>
          <cx:pt idx="101397">2</cx:pt>
          <cx:pt idx="101398">2</cx:pt>
          <cx:pt idx="101399">4</cx:pt>
          <cx:pt idx="101400">4</cx:pt>
          <cx:pt idx="101401">4</cx:pt>
          <cx:pt idx="101402">4</cx:pt>
          <cx:pt idx="101403">3</cx:pt>
          <cx:pt idx="101404">4</cx:pt>
          <cx:pt idx="101405">2</cx:pt>
          <cx:pt idx="101406">2</cx:pt>
          <cx:pt idx="101407">3</cx:pt>
          <cx:pt idx="101408">1</cx:pt>
          <cx:pt idx="101409">4</cx:pt>
          <cx:pt idx="101410">5</cx:pt>
          <cx:pt idx="101411">4</cx:pt>
          <cx:pt idx="101412">4</cx:pt>
          <cx:pt idx="101413">5</cx:pt>
          <cx:pt idx="101414">2</cx:pt>
          <cx:pt idx="101415">3</cx:pt>
          <cx:pt idx="101416">4</cx:pt>
          <cx:pt idx="101417">1</cx:pt>
          <cx:pt idx="101418">4</cx:pt>
          <cx:pt idx="101419">5</cx:pt>
          <cx:pt idx="101420">2</cx:pt>
          <cx:pt idx="101421">1</cx:pt>
          <cx:pt idx="101422">3</cx:pt>
          <cx:pt idx="101423">4</cx:pt>
          <cx:pt idx="101424">4</cx:pt>
          <cx:pt idx="101425">5</cx:pt>
          <cx:pt idx="101426">1</cx:pt>
          <cx:pt idx="101427">4</cx:pt>
          <cx:pt idx="101428">5</cx:pt>
          <cx:pt idx="101429">4</cx:pt>
          <cx:pt idx="101430">3</cx:pt>
          <cx:pt idx="101431">3</cx:pt>
          <cx:pt idx="101432">4</cx:pt>
          <cx:pt idx="101433">5</cx:pt>
          <cx:pt idx="101434">2</cx:pt>
          <cx:pt idx="101435">3</cx:pt>
          <cx:pt idx="101436">1</cx:pt>
          <cx:pt idx="101437">4</cx:pt>
          <cx:pt idx="101438">1</cx:pt>
          <cx:pt idx="101439">3</cx:pt>
          <cx:pt idx="101440">3</cx:pt>
          <cx:pt idx="101441">3</cx:pt>
          <cx:pt idx="101442">5</cx:pt>
          <cx:pt idx="101443">4</cx:pt>
          <cx:pt idx="101444">4</cx:pt>
          <cx:pt idx="101445">4</cx:pt>
          <cx:pt idx="101446">3</cx:pt>
          <cx:pt idx="101447">5</cx:pt>
          <cx:pt idx="101448">2</cx:pt>
          <cx:pt idx="101449">3</cx:pt>
          <cx:pt idx="101450">1</cx:pt>
          <cx:pt idx="101451">3</cx:pt>
          <cx:pt idx="101452">3</cx:pt>
          <cx:pt idx="101453">4</cx:pt>
          <cx:pt idx="101454">2</cx:pt>
          <cx:pt idx="101455">4</cx:pt>
          <cx:pt idx="101456">3</cx:pt>
          <cx:pt idx="101457">4</cx:pt>
          <cx:pt idx="101458">5</cx:pt>
          <cx:pt idx="101459">4</cx:pt>
          <cx:pt idx="101460">5</cx:pt>
          <cx:pt idx="101461">4</cx:pt>
          <cx:pt idx="101462">3</cx:pt>
          <cx:pt idx="101463">5</cx:pt>
          <cx:pt idx="101464">4</cx:pt>
          <cx:pt idx="101465">4</cx:pt>
          <cx:pt idx="101466">3</cx:pt>
          <cx:pt idx="101467">4</cx:pt>
          <cx:pt idx="101468">1</cx:pt>
          <cx:pt idx="101469">2</cx:pt>
          <cx:pt idx="101470">5</cx:pt>
          <cx:pt idx="101471">4</cx:pt>
          <cx:pt idx="101472">2</cx:pt>
          <cx:pt idx="101473">4</cx:pt>
          <cx:pt idx="101474">1</cx:pt>
          <cx:pt idx="101475">1</cx:pt>
          <cx:pt idx="101476">5</cx:pt>
          <cx:pt idx="101477">5</cx:pt>
          <cx:pt idx="101478">4</cx:pt>
          <cx:pt idx="101479">1</cx:pt>
          <cx:pt idx="101480">4</cx:pt>
          <cx:pt idx="101481">4</cx:pt>
          <cx:pt idx="101482">1</cx:pt>
          <cx:pt idx="101483">5</cx:pt>
          <cx:pt idx="101484">1</cx:pt>
          <cx:pt idx="101485">4</cx:pt>
          <cx:pt idx="101486">4</cx:pt>
          <cx:pt idx="101487">5</cx:pt>
          <cx:pt idx="101488">5</cx:pt>
          <cx:pt idx="101489">5</cx:pt>
          <cx:pt idx="101490">1</cx:pt>
          <cx:pt idx="101491">3</cx:pt>
          <cx:pt idx="101492">5</cx:pt>
          <cx:pt idx="101493">1</cx:pt>
          <cx:pt idx="101494">4</cx:pt>
          <cx:pt idx="101495">3</cx:pt>
          <cx:pt idx="101496">5</cx:pt>
          <cx:pt idx="101497">4</cx:pt>
          <cx:pt idx="101498">5</cx:pt>
          <cx:pt idx="101499">4</cx:pt>
          <cx:pt idx="101500">3</cx:pt>
          <cx:pt idx="101501">5</cx:pt>
          <cx:pt idx="101502">3</cx:pt>
          <cx:pt idx="101503">5</cx:pt>
          <cx:pt idx="101504">5</cx:pt>
          <cx:pt idx="101505">2</cx:pt>
          <cx:pt idx="101506">5</cx:pt>
          <cx:pt idx="101507">5</cx:pt>
          <cx:pt idx="101508">5</cx:pt>
          <cx:pt idx="101509">4</cx:pt>
          <cx:pt idx="101510">3</cx:pt>
          <cx:pt idx="101511">3</cx:pt>
          <cx:pt idx="101512">4</cx:pt>
          <cx:pt idx="101513">4</cx:pt>
          <cx:pt idx="101514">5</cx:pt>
          <cx:pt idx="101515">4</cx:pt>
          <cx:pt idx="101516">4</cx:pt>
          <cx:pt idx="101517">2</cx:pt>
          <cx:pt idx="101518">5</cx:pt>
          <cx:pt idx="101519">5</cx:pt>
          <cx:pt idx="101520">5</cx:pt>
          <cx:pt idx="101521">4</cx:pt>
          <cx:pt idx="101522">3</cx:pt>
          <cx:pt idx="101523">4</cx:pt>
          <cx:pt idx="101524">5</cx:pt>
          <cx:pt idx="101525">2</cx:pt>
          <cx:pt idx="101526">3</cx:pt>
          <cx:pt idx="101527">1</cx:pt>
          <cx:pt idx="101528">5</cx:pt>
          <cx:pt idx="101529">3</cx:pt>
          <cx:pt idx="101530">1</cx:pt>
          <cx:pt idx="101531">4</cx:pt>
          <cx:pt idx="101532">3</cx:pt>
          <cx:pt idx="101533">1</cx:pt>
          <cx:pt idx="101534">5</cx:pt>
          <cx:pt idx="101535">4</cx:pt>
          <cx:pt idx="101536">4</cx:pt>
          <cx:pt idx="101537">4</cx:pt>
          <cx:pt idx="101538">4</cx:pt>
          <cx:pt idx="101539">5</cx:pt>
          <cx:pt idx="101540">4</cx:pt>
          <cx:pt idx="101541">3</cx:pt>
          <cx:pt idx="101542">5</cx:pt>
          <cx:pt idx="101543">3</cx:pt>
          <cx:pt idx="101544">4</cx:pt>
          <cx:pt idx="101545">1</cx:pt>
          <cx:pt idx="101546">4</cx:pt>
          <cx:pt idx="101547">4</cx:pt>
          <cx:pt idx="101548">5</cx:pt>
          <cx:pt idx="101549">4</cx:pt>
          <cx:pt idx="101550">1</cx:pt>
          <cx:pt idx="101551">4</cx:pt>
          <cx:pt idx="101552">2</cx:pt>
          <cx:pt idx="101553">3</cx:pt>
          <cx:pt idx="101554">5</cx:pt>
          <cx:pt idx="101555">4</cx:pt>
          <cx:pt idx="101556">1</cx:pt>
          <cx:pt idx="101557">3</cx:pt>
          <cx:pt idx="101558">1</cx:pt>
          <cx:pt idx="101559">2</cx:pt>
          <cx:pt idx="101560">3</cx:pt>
          <cx:pt idx="101561">2</cx:pt>
          <cx:pt idx="101562">3</cx:pt>
          <cx:pt idx="101563">4</cx:pt>
          <cx:pt idx="101564">4</cx:pt>
          <cx:pt idx="101565">5</cx:pt>
          <cx:pt idx="101566">5</cx:pt>
          <cx:pt idx="101567">3</cx:pt>
          <cx:pt idx="101568">1</cx:pt>
          <cx:pt idx="101569">2</cx:pt>
          <cx:pt idx="101570">5</cx:pt>
          <cx:pt idx="101571">3</cx:pt>
          <cx:pt idx="101572">4</cx:pt>
          <cx:pt idx="101573">4</cx:pt>
          <cx:pt idx="101574">4</cx:pt>
          <cx:pt idx="101575">4</cx:pt>
          <cx:pt idx="101576">2</cx:pt>
          <cx:pt idx="101577">3</cx:pt>
          <cx:pt idx="101578">3</cx:pt>
          <cx:pt idx="101579">4</cx:pt>
          <cx:pt idx="101580">5</cx:pt>
          <cx:pt idx="101581">5</cx:pt>
          <cx:pt idx="101582">4</cx:pt>
          <cx:pt idx="101583">1</cx:pt>
          <cx:pt idx="101584">3</cx:pt>
          <cx:pt idx="101585">5</cx:pt>
          <cx:pt idx="101586">3</cx:pt>
          <cx:pt idx="101587">4</cx:pt>
          <cx:pt idx="101588">3</cx:pt>
          <cx:pt idx="101589">3</cx:pt>
          <cx:pt idx="101590">5</cx:pt>
          <cx:pt idx="101591">2</cx:pt>
          <cx:pt idx="101592">4</cx:pt>
          <cx:pt idx="101593">4</cx:pt>
          <cx:pt idx="101594">4</cx:pt>
          <cx:pt idx="101595">2</cx:pt>
          <cx:pt idx="101596">5</cx:pt>
          <cx:pt idx="101597">2</cx:pt>
          <cx:pt idx="101598">5</cx:pt>
          <cx:pt idx="101599">2</cx:pt>
          <cx:pt idx="101600">2</cx:pt>
          <cx:pt idx="101601">5</cx:pt>
          <cx:pt idx="101602">3</cx:pt>
          <cx:pt idx="101603">3</cx:pt>
          <cx:pt idx="101604">4</cx:pt>
          <cx:pt idx="101605">4</cx:pt>
          <cx:pt idx="101606">5</cx:pt>
          <cx:pt idx="101607">1</cx:pt>
          <cx:pt idx="101608">3</cx:pt>
          <cx:pt idx="101609">5</cx:pt>
          <cx:pt idx="101610">4</cx:pt>
          <cx:pt idx="101611">5</cx:pt>
          <cx:pt idx="101612">4</cx:pt>
          <cx:pt idx="101613">3</cx:pt>
          <cx:pt idx="101614">4</cx:pt>
          <cx:pt idx="101615">3</cx:pt>
          <cx:pt idx="101616">5</cx:pt>
          <cx:pt idx="101617">4</cx:pt>
          <cx:pt idx="101618">3</cx:pt>
          <cx:pt idx="101619">1</cx:pt>
          <cx:pt idx="101620">4</cx:pt>
          <cx:pt idx="101621">4</cx:pt>
          <cx:pt idx="101622">2</cx:pt>
          <cx:pt idx="101623">5</cx:pt>
          <cx:pt idx="101624">5</cx:pt>
          <cx:pt idx="101625">4</cx:pt>
          <cx:pt idx="101626">5</cx:pt>
          <cx:pt idx="101627">5</cx:pt>
          <cx:pt idx="101628">4</cx:pt>
          <cx:pt idx="101629">5</cx:pt>
          <cx:pt idx="101630">4</cx:pt>
          <cx:pt idx="101631">4</cx:pt>
          <cx:pt idx="101632">2</cx:pt>
          <cx:pt idx="101633">5</cx:pt>
          <cx:pt idx="101634">3</cx:pt>
          <cx:pt idx="101635">5</cx:pt>
          <cx:pt idx="101636">4</cx:pt>
          <cx:pt idx="101637">4</cx:pt>
          <cx:pt idx="101638">2</cx:pt>
          <cx:pt idx="101639">5</cx:pt>
          <cx:pt idx="101640">1</cx:pt>
          <cx:pt idx="101641">4</cx:pt>
          <cx:pt idx="101642">3</cx:pt>
          <cx:pt idx="101643">1</cx:pt>
          <cx:pt idx="101644">4</cx:pt>
          <cx:pt idx="101645">5</cx:pt>
          <cx:pt idx="101646">1</cx:pt>
          <cx:pt idx="101647">1</cx:pt>
          <cx:pt idx="101648">4</cx:pt>
          <cx:pt idx="101649">5</cx:pt>
          <cx:pt idx="101650">4</cx:pt>
          <cx:pt idx="101651">3</cx:pt>
          <cx:pt idx="101652">1</cx:pt>
          <cx:pt idx="101653">5</cx:pt>
          <cx:pt idx="101654">4</cx:pt>
          <cx:pt idx="101655">5</cx:pt>
          <cx:pt idx="101656">4</cx:pt>
          <cx:pt idx="101657">3</cx:pt>
          <cx:pt idx="101658">4</cx:pt>
          <cx:pt idx="101659">5</cx:pt>
          <cx:pt idx="101660">4</cx:pt>
          <cx:pt idx="101661">3</cx:pt>
          <cx:pt idx="101662">5</cx:pt>
          <cx:pt idx="101663">5</cx:pt>
          <cx:pt idx="101664">4</cx:pt>
          <cx:pt idx="101665">1</cx:pt>
          <cx:pt idx="101666">5</cx:pt>
          <cx:pt idx="101667">2</cx:pt>
          <cx:pt idx="101668">3</cx:pt>
          <cx:pt idx="101669">3</cx:pt>
          <cx:pt idx="101670">4</cx:pt>
          <cx:pt idx="101671">3</cx:pt>
          <cx:pt idx="101672">5</cx:pt>
          <cx:pt idx="101673">3</cx:pt>
          <cx:pt idx="101674">3</cx:pt>
          <cx:pt idx="101675">4</cx:pt>
          <cx:pt idx="101676">2</cx:pt>
          <cx:pt idx="101677">5</cx:pt>
          <cx:pt idx="101678">2</cx:pt>
          <cx:pt idx="101679">5</cx:pt>
          <cx:pt idx="101680">3</cx:pt>
          <cx:pt idx="101681">5</cx:pt>
          <cx:pt idx="101682">2</cx:pt>
          <cx:pt idx="101683">3</cx:pt>
          <cx:pt idx="101684">4</cx:pt>
          <cx:pt idx="101685">4</cx:pt>
          <cx:pt idx="101686">5</cx:pt>
          <cx:pt idx="101687">4</cx:pt>
          <cx:pt idx="101688">4</cx:pt>
          <cx:pt idx="101689">4</cx:pt>
          <cx:pt idx="101690">2</cx:pt>
          <cx:pt idx="101691">4</cx:pt>
          <cx:pt idx="101692">1</cx:pt>
          <cx:pt idx="101693">2</cx:pt>
          <cx:pt idx="101694">4</cx:pt>
          <cx:pt idx="101695">3</cx:pt>
          <cx:pt idx="101696">3</cx:pt>
          <cx:pt idx="101697">4</cx:pt>
          <cx:pt idx="101698">4</cx:pt>
          <cx:pt idx="101699">5</cx:pt>
          <cx:pt idx="101700">5</cx:pt>
          <cx:pt idx="101701">4</cx:pt>
          <cx:pt idx="101702">2</cx:pt>
          <cx:pt idx="101703">4</cx:pt>
          <cx:pt idx="101704">4</cx:pt>
          <cx:pt idx="101705">1</cx:pt>
          <cx:pt idx="101706">5</cx:pt>
          <cx:pt idx="101707">2</cx:pt>
          <cx:pt idx="101708">3</cx:pt>
          <cx:pt idx="101709">5</cx:pt>
          <cx:pt idx="101710">4</cx:pt>
          <cx:pt idx="101711">4</cx:pt>
          <cx:pt idx="101712">1</cx:pt>
          <cx:pt idx="101713">4</cx:pt>
          <cx:pt idx="101714">3</cx:pt>
          <cx:pt idx="101715">2</cx:pt>
          <cx:pt idx="101716">4</cx:pt>
          <cx:pt idx="101717">4</cx:pt>
          <cx:pt idx="101718">1</cx:pt>
          <cx:pt idx="101719">1</cx:pt>
          <cx:pt idx="101720">5</cx:pt>
          <cx:pt idx="101721">1</cx:pt>
          <cx:pt idx="101722">2</cx:pt>
          <cx:pt idx="101723">4</cx:pt>
          <cx:pt idx="101724">1</cx:pt>
          <cx:pt idx="101725">2</cx:pt>
          <cx:pt idx="101726">1</cx:pt>
          <cx:pt idx="101727">5</cx:pt>
          <cx:pt idx="101728">4</cx:pt>
          <cx:pt idx="101729">3</cx:pt>
          <cx:pt idx="101730">4</cx:pt>
          <cx:pt idx="101731">3</cx:pt>
          <cx:pt idx="101732">5</cx:pt>
          <cx:pt idx="101733">1</cx:pt>
          <cx:pt idx="101734">4</cx:pt>
          <cx:pt idx="101735">5</cx:pt>
          <cx:pt idx="101736">5</cx:pt>
          <cx:pt idx="101737">3</cx:pt>
          <cx:pt idx="101738">5</cx:pt>
          <cx:pt idx="101739">2</cx:pt>
          <cx:pt idx="101740">4</cx:pt>
          <cx:pt idx="101741">4</cx:pt>
          <cx:pt idx="101742">4</cx:pt>
          <cx:pt idx="101743">5</cx:pt>
          <cx:pt idx="101744">5</cx:pt>
          <cx:pt idx="101745">1</cx:pt>
          <cx:pt idx="101746">1</cx:pt>
          <cx:pt idx="101747">2</cx:pt>
          <cx:pt idx="101748">3</cx:pt>
          <cx:pt idx="101749">2</cx:pt>
          <cx:pt idx="101750">4</cx:pt>
          <cx:pt idx="101751">1</cx:pt>
          <cx:pt idx="101752">5</cx:pt>
          <cx:pt idx="101753">1</cx:pt>
          <cx:pt idx="101754">5</cx:pt>
          <cx:pt idx="101755">4</cx:pt>
          <cx:pt idx="101756">4</cx:pt>
          <cx:pt idx="101757">3</cx:pt>
          <cx:pt idx="101758">4</cx:pt>
          <cx:pt idx="101759">1</cx:pt>
          <cx:pt idx="101760">4</cx:pt>
          <cx:pt idx="101761">5</cx:pt>
          <cx:pt idx="101762">1</cx:pt>
          <cx:pt idx="101763">2</cx:pt>
          <cx:pt idx="101764">5</cx:pt>
          <cx:pt idx="101765">1</cx:pt>
          <cx:pt idx="101766">2</cx:pt>
          <cx:pt idx="101767">4</cx:pt>
          <cx:pt idx="101768">4</cx:pt>
          <cx:pt idx="101769">5</cx:pt>
          <cx:pt idx="101770">4</cx:pt>
          <cx:pt idx="101771">1</cx:pt>
          <cx:pt idx="101772">4</cx:pt>
          <cx:pt idx="101773">5</cx:pt>
          <cx:pt idx="101774">4</cx:pt>
          <cx:pt idx="101775">4</cx:pt>
          <cx:pt idx="101776">3</cx:pt>
          <cx:pt idx="101777">5</cx:pt>
          <cx:pt idx="101778">4</cx:pt>
          <cx:pt idx="101779">5</cx:pt>
          <cx:pt idx="101780">4</cx:pt>
          <cx:pt idx="101781">3</cx:pt>
          <cx:pt idx="101782">2</cx:pt>
          <cx:pt idx="101783">2</cx:pt>
          <cx:pt idx="101784">4</cx:pt>
          <cx:pt idx="101785">3</cx:pt>
          <cx:pt idx="101786">5</cx:pt>
          <cx:pt idx="101787">5</cx:pt>
          <cx:pt idx="101788">3</cx:pt>
          <cx:pt idx="101789">4</cx:pt>
          <cx:pt idx="101790">4</cx:pt>
          <cx:pt idx="101791">5</cx:pt>
          <cx:pt idx="101792">5</cx:pt>
          <cx:pt idx="101793">3</cx:pt>
          <cx:pt idx="101794">5</cx:pt>
          <cx:pt idx="101795">5</cx:pt>
          <cx:pt idx="101796">3</cx:pt>
          <cx:pt idx="101797">4</cx:pt>
          <cx:pt idx="101798">1</cx:pt>
          <cx:pt idx="101799">5</cx:pt>
          <cx:pt idx="101800">5</cx:pt>
          <cx:pt idx="101801">4</cx:pt>
          <cx:pt idx="101802">3</cx:pt>
          <cx:pt idx="101803">1</cx:pt>
          <cx:pt idx="101804">5</cx:pt>
          <cx:pt idx="101805">1</cx:pt>
          <cx:pt idx="101806">2</cx:pt>
          <cx:pt idx="101807">1</cx:pt>
          <cx:pt idx="101808">2</cx:pt>
          <cx:pt idx="101809">4</cx:pt>
          <cx:pt idx="101810">5</cx:pt>
          <cx:pt idx="101811">4</cx:pt>
          <cx:pt idx="101812">4</cx:pt>
          <cx:pt idx="101813">1</cx:pt>
          <cx:pt idx="101814">5</cx:pt>
          <cx:pt idx="101815">4</cx:pt>
          <cx:pt idx="101816">3</cx:pt>
          <cx:pt idx="101817">4</cx:pt>
          <cx:pt idx="101818">4</cx:pt>
          <cx:pt idx="101819">4</cx:pt>
          <cx:pt idx="101820">4</cx:pt>
          <cx:pt idx="101821">4</cx:pt>
          <cx:pt idx="101822">4</cx:pt>
          <cx:pt idx="101823">5</cx:pt>
          <cx:pt idx="101824">1</cx:pt>
          <cx:pt idx="101825">5</cx:pt>
          <cx:pt idx="101826">1</cx:pt>
          <cx:pt idx="101827">5</cx:pt>
          <cx:pt idx="101828">4</cx:pt>
          <cx:pt idx="101829">4</cx:pt>
          <cx:pt idx="101830">5</cx:pt>
          <cx:pt idx="101831">2</cx:pt>
          <cx:pt idx="101832">5</cx:pt>
          <cx:pt idx="101833">1</cx:pt>
          <cx:pt idx="101834">1</cx:pt>
          <cx:pt idx="101835">4</cx:pt>
          <cx:pt idx="101836">4</cx:pt>
          <cx:pt idx="101837">3</cx:pt>
          <cx:pt idx="101838">3</cx:pt>
          <cx:pt idx="101839">4</cx:pt>
          <cx:pt idx="101840">2</cx:pt>
          <cx:pt idx="101841">5</cx:pt>
          <cx:pt idx="101842">4</cx:pt>
          <cx:pt idx="101843">4</cx:pt>
          <cx:pt idx="101844">3</cx:pt>
          <cx:pt idx="101845">5</cx:pt>
          <cx:pt idx="101846">3</cx:pt>
          <cx:pt idx="101847">1</cx:pt>
          <cx:pt idx="101848">3</cx:pt>
          <cx:pt idx="101849">4</cx:pt>
          <cx:pt idx="101850">4</cx:pt>
          <cx:pt idx="101851">2</cx:pt>
          <cx:pt idx="101852">2</cx:pt>
          <cx:pt idx="101853">4</cx:pt>
          <cx:pt idx="101854">2</cx:pt>
          <cx:pt idx="101855">4</cx:pt>
          <cx:pt idx="101856">2</cx:pt>
          <cx:pt idx="101857">3</cx:pt>
          <cx:pt idx="101858">2</cx:pt>
          <cx:pt idx="101859">3</cx:pt>
          <cx:pt idx="101860">5</cx:pt>
          <cx:pt idx="101861">4</cx:pt>
          <cx:pt idx="101862">5</cx:pt>
          <cx:pt idx="101863">4</cx:pt>
          <cx:pt idx="101864">5</cx:pt>
          <cx:pt idx="101865">1</cx:pt>
          <cx:pt idx="101866">3</cx:pt>
          <cx:pt idx="101867">3</cx:pt>
          <cx:pt idx="101868">2</cx:pt>
          <cx:pt idx="101869">2</cx:pt>
          <cx:pt idx="101870">5</cx:pt>
          <cx:pt idx="101871">4</cx:pt>
          <cx:pt idx="101872">5</cx:pt>
          <cx:pt idx="101873">5</cx:pt>
          <cx:pt idx="101874">5</cx:pt>
          <cx:pt idx="101875">1</cx:pt>
          <cx:pt idx="101876">4</cx:pt>
          <cx:pt idx="101877">5</cx:pt>
          <cx:pt idx="101878">1</cx:pt>
          <cx:pt idx="101879">4</cx:pt>
          <cx:pt idx="101880">2</cx:pt>
          <cx:pt idx="101881">4</cx:pt>
          <cx:pt idx="101882">5</cx:pt>
          <cx:pt idx="101883">5</cx:pt>
          <cx:pt idx="101884">4</cx:pt>
          <cx:pt idx="101885">4</cx:pt>
          <cx:pt idx="101886">5</cx:pt>
          <cx:pt idx="101887">4</cx:pt>
          <cx:pt idx="101888">3</cx:pt>
          <cx:pt idx="101889">4</cx:pt>
          <cx:pt idx="101890">3</cx:pt>
          <cx:pt idx="101891">5</cx:pt>
          <cx:pt idx="101892">5</cx:pt>
          <cx:pt idx="101893">4</cx:pt>
          <cx:pt idx="101894">1</cx:pt>
          <cx:pt idx="101895">2</cx:pt>
          <cx:pt idx="101896">3</cx:pt>
          <cx:pt idx="101897">3</cx:pt>
          <cx:pt idx="101898">5</cx:pt>
          <cx:pt idx="101899">4</cx:pt>
          <cx:pt idx="101900">1</cx:pt>
          <cx:pt idx="101901">3</cx:pt>
          <cx:pt idx="101902">4</cx:pt>
          <cx:pt idx="101903">3</cx:pt>
          <cx:pt idx="101904">5</cx:pt>
          <cx:pt idx="101905">3</cx:pt>
          <cx:pt idx="101906">2</cx:pt>
          <cx:pt idx="101907">4</cx:pt>
          <cx:pt idx="101908">2</cx:pt>
          <cx:pt idx="101909">5</cx:pt>
          <cx:pt idx="101910">2</cx:pt>
          <cx:pt idx="101911">1</cx:pt>
          <cx:pt idx="101912">2</cx:pt>
          <cx:pt idx="101913">3</cx:pt>
          <cx:pt idx="101914">2</cx:pt>
          <cx:pt idx="101915">3</cx:pt>
          <cx:pt idx="101916">4</cx:pt>
          <cx:pt idx="101917">4</cx:pt>
          <cx:pt idx="101918">1</cx:pt>
          <cx:pt idx="101919">2</cx:pt>
          <cx:pt idx="101920">4</cx:pt>
          <cx:pt idx="101921">4</cx:pt>
          <cx:pt idx="101922">4</cx:pt>
          <cx:pt idx="101923">4</cx:pt>
          <cx:pt idx="101924">4</cx:pt>
          <cx:pt idx="101925">2</cx:pt>
          <cx:pt idx="101926">3</cx:pt>
          <cx:pt idx="101927">4</cx:pt>
          <cx:pt idx="101928">5</cx:pt>
          <cx:pt idx="101929">4</cx:pt>
          <cx:pt idx="101930">3</cx:pt>
          <cx:pt idx="101931">5</cx:pt>
          <cx:pt idx="101932">5</cx:pt>
          <cx:pt idx="101933">4</cx:pt>
          <cx:pt idx="101934">4</cx:pt>
          <cx:pt idx="101935">4</cx:pt>
          <cx:pt idx="101936">5</cx:pt>
          <cx:pt idx="101937">4</cx:pt>
          <cx:pt idx="101938">2</cx:pt>
          <cx:pt idx="101939">1</cx:pt>
          <cx:pt idx="101940">5</cx:pt>
          <cx:pt idx="101941">1</cx:pt>
          <cx:pt idx="101942">4</cx:pt>
          <cx:pt idx="101943">5</cx:pt>
          <cx:pt idx="101944">4</cx:pt>
          <cx:pt idx="101945">4</cx:pt>
          <cx:pt idx="101946">2</cx:pt>
          <cx:pt idx="101947">3</cx:pt>
          <cx:pt idx="101948">5</cx:pt>
          <cx:pt idx="101949">5</cx:pt>
          <cx:pt idx="101950">3</cx:pt>
          <cx:pt idx="101951">2</cx:pt>
          <cx:pt idx="101952">1</cx:pt>
          <cx:pt idx="101953">1</cx:pt>
          <cx:pt idx="101954">5</cx:pt>
          <cx:pt idx="101955">2</cx:pt>
          <cx:pt idx="101956">3</cx:pt>
          <cx:pt idx="101957">4</cx:pt>
          <cx:pt idx="101958">2</cx:pt>
          <cx:pt idx="101959">5</cx:pt>
          <cx:pt idx="101960">5</cx:pt>
          <cx:pt idx="101961">4</cx:pt>
          <cx:pt idx="101962">5</cx:pt>
          <cx:pt idx="101963">5</cx:pt>
          <cx:pt idx="101964">4</cx:pt>
          <cx:pt idx="101965">2</cx:pt>
          <cx:pt idx="101966">4</cx:pt>
          <cx:pt idx="101967">5</cx:pt>
          <cx:pt idx="101968">3</cx:pt>
          <cx:pt idx="101969">2</cx:pt>
          <cx:pt idx="101970">3</cx:pt>
          <cx:pt idx="101971">2</cx:pt>
          <cx:pt idx="101972">5</cx:pt>
          <cx:pt idx="101973">4</cx:pt>
          <cx:pt idx="101974">4</cx:pt>
          <cx:pt idx="101975">5</cx:pt>
          <cx:pt idx="101976">4</cx:pt>
          <cx:pt idx="101977">4</cx:pt>
          <cx:pt idx="101978">1</cx:pt>
          <cx:pt idx="101979">2</cx:pt>
          <cx:pt idx="101980">5</cx:pt>
          <cx:pt idx="101981">3</cx:pt>
          <cx:pt idx="101982">4</cx:pt>
          <cx:pt idx="101983">2</cx:pt>
          <cx:pt idx="101984">4</cx:pt>
          <cx:pt idx="101985">4</cx:pt>
          <cx:pt idx="101986">4</cx:pt>
          <cx:pt idx="101987">3</cx:pt>
          <cx:pt idx="101988">5</cx:pt>
          <cx:pt idx="101989">5</cx:pt>
          <cx:pt idx="101990">3</cx:pt>
          <cx:pt idx="101991">1</cx:pt>
          <cx:pt idx="101992">3</cx:pt>
          <cx:pt idx="101993">4</cx:pt>
          <cx:pt idx="101994">5</cx:pt>
          <cx:pt idx="101995">5</cx:pt>
          <cx:pt idx="101996">4</cx:pt>
          <cx:pt idx="101997">4</cx:pt>
          <cx:pt idx="101998">5</cx:pt>
          <cx:pt idx="101999">5</cx:pt>
          <cx:pt idx="102000">5</cx:pt>
          <cx:pt idx="102001">3</cx:pt>
          <cx:pt idx="102002">1</cx:pt>
          <cx:pt idx="102003">5</cx:pt>
          <cx:pt idx="102004">2</cx:pt>
          <cx:pt idx="102005">3</cx:pt>
          <cx:pt idx="102006">1</cx:pt>
          <cx:pt idx="102007">2</cx:pt>
          <cx:pt idx="102008">4</cx:pt>
          <cx:pt idx="102009">3</cx:pt>
          <cx:pt idx="102010">5</cx:pt>
          <cx:pt idx="102011">4</cx:pt>
          <cx:pt idx="102012">4</cx:pt>
          <cx:pt idx="102013">3</cx:pt>
          <cx:pt idx="102014">4</cx:pt>
          <cx:pt idx="102015">3</cx:pt>
          <cx:pt idx="102016">4</cx:pt>
          <cx:pt idx="102017">5</cx:pt>
          <cx:pt idx="102018">4</cx:pt>
          <cx:pt idx="102019">5</cx:pt>
          <cx:pt idx="102020">2</cx:pt>
          <cx:pt idx="102021">4</cx:pt>
          <cx:pt idx="102022">3</cx:pt>
          <cx:pt idx="102023">4</cx:pt>
          <cx:pt idx="102024">3</cx:pt>
          <cx:pt idx="102025">5</cx:pt>
          <cx:pt idx="102026">2</cx:pt>
          <cx:pt idx="102027">4</cx:pt>
          <cx:pt idx="102028">3</cx:pt>
          <cx:pt idx="102029">5</cx:pt>
          <cx:pt idx="102030">2</cx:pt>
          <cx:pt idx="102031">5</cx:pt>
          <cx:pt idx="102032">3</cx:pt>
          <cx:pt idx="102033">1</cx:pt>
          <cx:pt idx="102034">4</cx:pt>
          <cx:pt idx="102035">5</cx:pt>
          <cx:pt idx="102036">2</cx:pt>
          <cx:pt idx="102037">1</cx:pt>
          <cx:pt idx="102038">4</cx:pt>
          <cx:pt idx="102039">4</cx:pt>
          <cx:pt idx="102040">3</cx:pt>
          <cx:pt idx="102041">1</cx:pt>
          <cx:pt idx="102042">4</cx:pt>
          <cx:pt idx="102043">2</cx:pt>
          <cx:pt idx="102044">3</cx:pt>
          <cx:pt idx="102045">4</cx:pt>
          <cx:pt idx="102046">5</cx:pt>
          <cx:pt idx="102047">1</cx:pt>
          <cx:pt idx="102048">1</cx:pt>
          <cx:pt idx="102049">2</cx:pt>
          <cx:pt idx="102050">2</cx:pt>
          <cx:pt idx="102051">5</cx:pt>
          <cx:pt idx="102052">4</cx:pt>
          <cx:pt idx="102053">5</cx:pt>
          <cx:pt idx="102054">5</cx:pt>
          <cx:pt idx="102055">1</cx:pt>
          <cx:pt idx="102056">1</cx:pt>
          <cx:pt idx="102057">4</cx:pt>
          <cx:pt idx="102058">3</cx:pt>
          <cx:pt idx="102059">5</cx:pt>
          <cx:pt idx="102060">4</cx:pt>
          <cx:pt idx="102061">4</cx:pt>
          <cx:pt idx="102062">5</cx:pt>
          <cx:pt idx="102063">4</cx:pt>
          <cx:pt idx="102064">5</cx:pt>
          <cx:pt idx="102065">3</cx:pt>
          <cx:pt idx="102066">5</cx:pt>
          <cx:pt idx="102067">3</cx:pt>
          <cx:pt idx="102068">2</cx:pt>
          <cx:pt idx="102069">1</cx:pt>
          <cx:pt idx="102070">3</cx:pt>
          <cx:pt idx="102071">4</cx:pt>
          <cx:pt idx="102072">2</cx:pt>
          <cx:pt idx="102073">4</cx:pt>
          <cx:pt idx="102074">5</cx:pt>
          <cx:pt idx="102075">2</cx:pt>
          <cx:pt idx="102076">4</cx:pt>
          <cx:pt idx="102077">4</cx:pt>
          <cx:pt idx="102078">2</cx:pt>
          <cx:pt idx="102079">3</cx:pt>
          <cx:pt idx="102080">2</cx:pt>
          <cx:pt idx="102081">5</cx:pt>
          <cx:pt idx="102082">3</cx:pt>
          <cx:pt idx="102083">5</cx:pt>
          <cx:pt idx="102084">5</cx:pt>
          <cx:pt idx="102085">5</cx:pt>
          <cx:pt idx="102086">2</cx:pt>
          <cx:pt idx="102087">5</cx:pt>
          <cx:pt idx="102088">3</cx:pt>
          <cx:pt idx="102089">4</cx:pt>
          <cx:pt idx="102090">4</cx:pt>
          <cx:pt idx="102091">5</cx:pt>
          <cx:pt idx="102092">1</cx:pt>
          <cx:pt idx="102093">5</cx:pt>
          <cx:pt idx="102094">3</cx:pt>
          <cx:pt idx="102095">1</cx:pt>
          <cx:pt idx="102096">3</cx:pt>
          <cx:pt idx="102097">5</cx:pt>
          <cx:pt idx="102098">4</cx:pt>
          <cx:pt idx="102099">5</cx:pt>
          <cx:pt idx="102100">4</cx:pt>
          <cx:pt idx="102101">5</cx:pt>
          <cx:pt idx="102102">5</cx:pt>
          <cx:pt idx="102103">4</cx:pt>
          <cx:pt idx="102104">2</cx:pt>
          <cx:pt idx="102105">2</cx:pt>
          <cx:pt idx="102106">4</cx:pt>
          <cx:pt idx="102107">4</cx:pt>
          <cx:pt idx="102108">5</cx:pt>
          <cx:pt idx="102109">3</cx:pt>
          <cx:pt idx="102110">5</cx:pt>
          <cx:pt idx="102111">5</cx:pt>
          <cx:pt idx="102112">3</cx:pt>
          <cx:pt idx="102113">2</cx:pt>
          <cx:pt idx="102114">4</cx:pt>
          <cx:pt idx="102115">5</cx:pt>
          <cx:pt idx="102116">1</cx:pt>
          <cx:pt idx="102117">5</cx:pt>
          <cx:pt idx="102118">5</cx:pt>
          <cx:pt idx="102119">4</cx:pt>
          <cx:pt idx="102120">4</cx:pt>
          <cx:pt idx="102121">3</cx:pt>
          <cx:pt idx="102122">5</cx:pt>
          <cx:pt idx="102123">1</cx:pt>
          <cx:pt idx="102124">2</cx:pt>
          <cx:pt idx="102125">5</cx:pt>
          <cx:pt idx="102126">4</cx:pt>
          <cx:pt idx="102127">4</cx:pt>
          <cx:pt idx="102128">3</cx:pt>
          <cx:pt idx="102129">2</cx:pt>
          <cx:pt idx="102130">1</cx:pt>
          <cx:pt idx="102131">1</cx:pt>
          <cx:pt idx="102132">4</cx:pt>
          <cx:pt idx="102133">3</cx:pt>
          <cx:pt idx="102134">3</cx:pt>
          <cx:pt idx="102135">3</cx:pt>
          <cx:pt idx="102136">5</cx:pt>
          <cx:pt idx="102137">4</cx:pt>
          <cx:pt idx="102138">5</cx:pt>
          <cx:pt idx="102139">5</cx:pt>
          <cx:pt idx="102140">5</cx:pt>
          <cx:pt idx="102141">1</cx:pt>
          <cx:pt idx="102142">5</cx:pt>
          <cx:pt idx="102143">5</cx:pt>
          <cx:pt idx="102144">4</cx:pt>
          <cx:pt idx="102145">2</cx:pt>
          <cx:pt idx="102146">5</cx:pt>
          <cx:pt idx="102147">4</cx:pt>
          <cx:pt idx="102148">1</cx:pt>
          <cx:pt idx="102149">2</cx:pt>
          <cx:pt idx="102150">4</cx:pt>
          <cx:pt idx="102151">5</cx:pt>
          <cx:pt idx="102152">4</cx:pt>
          <cx:pt idx="102153">4</cx:pt>
          <cx:pt idx="102154">1</cx:pt>
          <cx:pt idx="102155">4</cx:pt>
          <cx:pt idx="102156">3</cx:pt>
          <cx:pt idx="102157">2</cx:pt>
          <cx:pt idx="102158">2</cx:pt>
          <cx:pt idx="102159">5</cx:pt>
          <cx:pt idx="102160">4</cx:pt>
          <cx:pt idx="102161">4</cx:pt>
          <cx:pt idx="102162">4</cx:pt>
          <cx:pt idx="102163">1</cx:pt>
          <cx:pt idx="102164">3</cx:pt>
          <cx:pt idx="102165">5</cx:pt>
          <cx:pt idx="102166">4</cx:pt>
          <cx:pt idx="102167">4</cx:pt>
          <cx:pt idx="102168">5</cx:pt>
          <cx:pt idx="102169">1</cx:pt>
          <cx:pt idx="102170">5</cx:pt>
          <cx:pt idx="102171">5</cx:pt>
          <cx:pt idx="102172">4</cx:pt>
          <cx:pt idx="102173">2</cx:pt>
          <cx:pt idx="102174">3</cx:pt>
          <cx:pt idx="102175">3</cx:pt>
          <cx:pt idx="102176">2</cx:pt>
          <cx:pt idx="102177">1</cx:pt>
          <cx:pt idx="102178">5</cx:pt>
          <cx:pt idx="102179">2</cx:pt>
          <cx:pt idx="102180">4</cx:pt>
          <cx:pt idx="102181">4</cx:pt>
          <cx:pt idx="102182">2</cx:pt>
          <cx:pt idx="102183">3</cx:pt>
          <cx:pt idx="102184">1</cx:pt>
          <cx:pt idx="102185">4</cx:pt>
          <cx:pt idx="102186">2</cx:pt>
          <cx:pt idx="102187">1</cx:pt>
          <cx:pt idx="102188">5</cx:pt>
          <cx:pt idx="102189">3</cx:pt>
          <cx:pt idx="102190">2</cx:pt>
          <cx:pt idx="102191">4</cx:pt>
          <cx:pt idx="102192">4</cx:pt>
          <cx:pt idx="102193">3</cx:pt>
          <cx:pt idx="102194">5</cx:pt>
          <cx:pt idx="102195">4</cx:pt>
          <cx:pt idx="102196">5</cx:pt>
          <cx:pt idx="102197">5</cx:pt>
          <cx:pt idx="102198">3</cx:pt>
          <cx:pt idx="102199">5</cx:pt>
          <cx:pt idx="102200">5</cx:pt>
          <cx:pt idx="102201">2</cx:pt>
          <cx:pt idx="102202">3</cx:pt>
          <cx:pt idx="102203">1</cx:pt>
          <cx:pt idx="102204">4</cx:pt>
          <cx:pt idx="102205">3</cx:pt>
          <cx:pt idx="102206">2</cx:pt>
          <cx:pt idx="102207">1</cx:pt>
          <cx:pt idx="102208">4</cx:pt>
          <cx:pt idx="102209">2</cx:pt>
          <cx:pt idx="102210">5</cx:pt>
          <cx:pt idx="102211">5</cx:pt>
          <cx:pt idx="102212">5</cx:pt>
          <cx:pt idx="102213">2</cx:pt>
          <cx:pt idx="102214">4</cx:pt>
          <cx:pt idx="102215">5</cx:pt>
          <cx:pt idx="102216">4</cx:pt>
          <cx:pt idx="102217">3</cx:pt>
          <cx:pt idx="102218">1</cx:pt>
          <cx:pt idx="102219">4</cx:pt>
          <cx:pt idx="102220">3</cx:pt>
          <cx:pt idx="102221">1</cx:pt>
          <cx:pt idx="102222">5</cx:pt>
          <cx:pt idx="102223">4</cx:pt>
          <cx:pt idx="102224">5</cx:pt>
          <cx:pt idx="102225">3</cx:pt>
          <cx:pt idx="102226">4</cx:pt>
          <cx:pt idx="102227">5</cx:pt>
          <cx:pt idx="102228">2</cx:pt>
          <cx:pt idx="102229">4</cx:pt>
          <cx:pt idx="102230">4</cx:pt>
          <cx:pt idx="102231">3</cx:pt>
          <cx:pt idx="102232">5</cx:pt>
          <cx:pt idx="102233">4</cx:pt>
          <cx:pt idx="102234">5</cx:pt>
          <cx:pt idx="102235">4</cx:pt>
          <cx:pt idx="102236">5</cx:pt>
          <cx:pt idx="102237">4</cx:pt>
          <cx:pt idx="102238">5</cx:pt>
          <cx:pt idx="102239">2</cx:pt>
          <cx:pt idx="102240">2</cx:pt>
          <cx:pt idx="102241">5</cx:pt>
          <cx:pt idx="102242">4</cx:pt>
          <cx:pt idx="102243">5</cx:pt>
          <cx:pt idx="102244">3</cx:pt>
          <cx:pt idx="102245">1</cx:pt>
          <cx:pt idx="102246">4</cx:pt>
          <cx:pt idx="102247">3</cx:pt>
          <cx:pt idx="102248">5</cx:pt>
          <cx:pt idx="102249">5</cx:pt>
          <cx:pt idx="102250">2</cx:pt>
          <cx:pt idx="102251">4</cx:pt>
          <cx:pt idx="102252">4</cx:pt>
          <cx:pt idx="102253">3</cx:pt>
          <cx:pt idx="102254">5</cx:pt>
          <cx:pt idx="102255">5</cx:pt>
          <cx:pt idx="102256">2</cx:pt>
          <cx:pt idx="102257">2</cx:pt>
          <cx:pt idx="102258">2</cx:pt>
          <cx:pt idx="102259">2</cx:pt>
          <cx:pt idx="102260">4</cx:pt>
          <cx:pt idx="102261">5</cx:pt>
          <cx:pt idx="102262">3</cx:pt>
          <cx:pt idx="102263">1</cx:pt>
          <cx:pt idx="102264">1</cx:pt>
          <cx:pt idx="102265">5</cx:pt>
          <cx:pt idx="102266">1</cx:pt>
          <cx:pt idx="102267">5</cx:pt>
          <cx:pt idx="102268">4</cx:pt>
          <cx:pt idx="102269">3</cx:pt>
          <cx:pt idx="102270">4</cx:pt>
          <cx:pt idx="102271">1</cx:pt>
          <cx:pt idx="102272">5</cx:pt>
          <cx:pt idx="102273">3</cx:pt>
          <cx:pt idx="102274">4</cx:pt>
          <cx:pt idx="102275">5</cx:pt>
          <cx:pt idx="102276">5</cx:pt>
          <cx:pt idx="102277">3</cx:pt>
          <cx:pt idx="102278">3</cx:pt>
          <cx:pt idx="102279">2</cx:pt>
          <cx:pt idx="102280">1</cx:pt>
          <cx:pt idx="102281">2</cx:pt>
          <cx:pt idx="102282">3</cx:pt>
          <cx:pt idx="102283">5</cx:pt>
          <cx:pt idx="102284">4</cx:pt>
          <cx:pt idx="102285">2</cx:pt>
          <cx:pt idx="102286">4</cx:pt>
          <cx:pt idx="102287">2</cx:pt>
          <cx:pt idx="102288">1</cx:pt>
          <cx:pt idx="102289">4</cx:pt>
          <cx:pt idx="102290">5</cx:pt>
          <cx:pt idx="102291">3</cx:pt>
          <cx:pt idx="102292">3</cx:pt>
          <cx:pt idx="102293">3</cx:pt>
          <cx:pt idx="102294">4</cx:pt>
          <cx:pt idx="102295">3</cx:pt>
          <cx:pt idx="102296">4</cx:pt>
          <cx:pt idx="102297">4</cx:pt>
          <cx:pt idx="102298">5</cx:pt>
          <cx:pt idx="102299">2</cx:pt>
          <cx:pt idx="102300">5</cx:pt>
          <cx:pt idx="102301">4</cx:pt>
          <cx:pt idx="102302">3</cx:pt>
          <cx:pt idx="102303">4</cx:pt>
          <cx:pt idx="102304">4</cx:pt>
          <cx:pt idx="102305">4</cx:pt>
          <cx:pt idx="102306">5</cx:pt>
          <cx:pt idx="102307">2</cx:pt>
          <cx:pt idx="102308">5</cx:pt>
          <cx:pt idx="102309">3</cx:pt>
          <cx:pt idx="102310">5</cx:pt>
          <cx:pt idx="102311">4</cx:pt>
          <cx:pt idx="102312">5</cx:pt>
          <cx:pt idx="102313">3</cx:pt>
          <cx:pt idx="102314">1</cx:pt>
          <cx:pt idx="102315">5</cx:pt>
          <cx:pt idx="102316">4</cx:pt>
          <cx:pt idx="102317">4</cx:pt>
          <cx:pt idx="102318">5</cx:pt>
          <cx:pt idx="102319">5</cx:pt>
          <cx:pt idx="102320">4</cx:pt>
          <cx:pt idx="102321">4</cx:pt>
          <cx:pt idx="102322">4</cx:pt>
          <cx:pt idx="102323">1</cx:pt>
          <cx:pt idx="102324">4</cx:pt>
          <cx:pt idx="102325">2</cx:pt>
          <cx:pt idx="102326">4</cx:pt>
          <cx:pt idx="102327">3</cx:pt>
          <cx:pt idx="102328">4</cx:pt>
          <cx:pt idx="102329">1</cx:pt>
          <cx:pt idx="102330">3</cx:pt>
          <cx:pt idx="102331">4</cx:pt>
          <cx:pt idx="102332">2</cx:pt>
          <cx:pt idx="102333">5</cx:pt>
          <cx:pt idx="102334">5</cx:pt>
          <cx:pt idx="102335">4</cx:pt>
          <cx:pt idx="102336">1</cx:pt>
          <cx:pt idx="102337">4</cx:pt>
          <cx:pt idx="102338">3</cx:pt>
          <cx:pt idx="102339">3</cx:pt>
          <cx:pt idx="102340">5</cx:pt>
          <cx:pt idx="102341">5</cx:pt>
          <cx:pt idx="102342">5</cx:pt>
          <cx:pt idx="102343">2</cx:pt>
          <cx:pt idx="102344">3</cx:pt>
          <cx:pt idx="102345">1</cx:pt>
          <cx:pt idx="102346">4</cx:pt>
          <cx:pt idx="102347">1</cx:pt>
          <cx:pt idx="102348">5</cx:pt>
          <cx:pt idx="102349">2</cx:pt>
          <cx:pt idx="102350">2</cx:pt>
          <cx:pt idx="102351">3</cx:pt>
          <cx:pt idx="102352">3</cx:pt>
          <cx:pt idx="102353">5</cx:pt>
          <cx:pt idx="102354">4</cx:pt>
          <cx:pt idx="102355">5</cx:pt>
          <cx:pt idx="102356">4</cx:pt>
          <cx:pt idx="102357">4</cx:pt>
          <cx:pt idx="102358">1</cx:pt>
          <cx:pt idx="102359">4</cx:pt>
          <cx:pt idx="102360">4</cx:pt>
          <cx:pt idx="102361">4</cx:pt>
          <cx:pt idx="102362">4</cx:pt>
          <cx:pt idx="102363">3</cx:pt>
          <cx:pt idx="102364">4</cx:pt>
          <cx:pt idx="102365">3</cx:pt>
          <cx:pt idx="102366">5</cx:pt>
          <cx:pt idx="102367">1</cx:pt>
          <cx:pt idx="102368">3</cx:pt>
          <cx:pt idx="102369">3</cx:pt>
          <cx:pt idx="102370">4</cx:pt>
          <cx:pt idx="102371">3</cx:pt>
          <cx:pt idx="102372">3</cx:pt>
          <cx:pt idx="102373">2</cx:pt>
          <cx:pt idx="102374">5</cx:pt>
          <cx:pt idx="102375">4</cx:pt>
          <cx:pt idx="102376">4</cx:pt>
          <cx:pt idx="102377">4</cx:pt>
          <cx:pt idx="102378">4</cx:pt>
          <cx:pt idx="102379">3</cx:pt>
          <cx:pt idx="102380">3</cx:pt>
          <cx:pt idx="102381">4</cx:pt>
          <cx:pt idx="102382">5</cx:pt>
          <cx:pt idx="102383">1</cx:pt>
          <cx:pt idx="102384">3</cx:pt>
          <cx:pt idx="102385">4</cx:pt>
          <cx:pt idx="102386">3</cx:pt>
          <cx:pt idx="102387">4</cx:pt>
          <cx:pt idx="102388">1</cx:pt>
          <cx:pt idx="102389">4</cx:pt>
          <cx:pt idx="102390">2</cx:pt>
          <cx:pt idx="102391">3</cx:pt>
          <cx:pt idx="102392">2</cx:pt>
          <cx:pt idx="102393">1</cx:pt>
          <cx:pt idx="102394">1</cx:pt>
          <cx:pt idx="102395">1</cx:pt>
          <cx:pt idx="102396">3</cx:pt>
          <cx:pt idx="102397">1</cx:pt>
          <cx:pt idx="102398">4</cx:pt>
          <cx:pt idx="102399">2</cx:pt>
          <cx:pt idx="102400">4</cx:pt>
          <cx:pt idx="102401">5</cx:pt>
          <cx:pt idx="102402">2</cx:pt>
          <cx:pt idx="102403">5</cx:pt>
          <cx:pt idx="102404">2</cx:pt>
          <cx:pt idx="102405">1</cx:pt>
          <cx:pt idx="102406">4</cx:pt>
          <cx:pt idx="102407">4</cx:pt>
          <cx:pt idx="102408">3</cx:pt>
          <cx:pt idx="102409">2</cx:pt>
          <cx:pt idx="102410">5</cx:pt>
          <cx:pt idx="102411">4</cx:pt>
          <cx:pt idx="102412">1</cx:pt>
          <cx:pt idx="102413">5</cx:pt>
          <cx:pt idx="102414">3</cx:pt>
          <cx:pt idx="102415">3</cx:pt>
          <cx:pt idx="102416">3</cx:pt>
          <cx:pt idx="102417">4</cx:pt>
          <cx:pt idx="102418">4</cx:pt>
          <cx:pt idx="102419">2</cx:pt>
          <cx:pt idx="102420">4</cx:pt>
          <cx:pt idx="102421">3</cx:pt>
          <cx:pt idx="102422">3</cx:pt>
          <cx:pt idx="102423">5</cx:pt>
          <cx:pt idx="102424">2</cx:pt>
          <cx:pt idx="102425">4</cx:pt>
          <cx:pt idx="102426">4</cx:pt>
          <cx:pt idx="102427">4</cx:pt>
          <cx:pt idx="102428">1</cx:pt>
          <cx:pt idx="102429">4</cx:pt>
          <cx:pt idx="102430">5</cx:pt>
          <cx:pt idx="102431">4</cx:pt>
          <cx:pt idx="102432">1</cx:pt>
          <cx:pt idx="102433">2</cx:pt>
          <cx:pt idx="102434">3</cx:pt>
          <cx:pt idx="102435">1</cx:pt>
          <cx:pt idx="102436">4</cx:pt>
          <cx:pt idx="102437">4</cx:pt>
          <cx:pt idx="102438">5</cx:pt>
          <cx:pt idx="102439">3</cx:pt>
          <cx:pt idx="102440">4</cx:pt>
          <cx:pt idx="102441">4</cx:pt>
          <cx:pt idx="102442">4</cx:pt>
          <cx:pt idx="102443">4</cx:pt>
          <cx:pt idx="102444">2</cx:pt>
          <cx:pt idx="102445">2</cx:pt>
          <cx:pt idx="102446">3</cx:pt>
          <cx:pt idx="102447">3</cx:pt>
          <cx:pt idx="102448">5</cx:pt>
          <cx:pt idx="102449">1</cx:pt>
          <cx:pt idx="102450">4</cx:pt>
          <cx:pt idx="102451">1</cx:pt>
          <cx:pt idx="102452">5</cx:pt>
          <cx:pt idx="102453">1</cx:pt>
          <cx:pt idx="102454">2</cx:pt>
          <cx:pt idx="102455">4</cx:pt>
          <cx:pt idx="102456">1</cx:pt>
          <cx:pt idx="102457">5</cx:pt>
          <cx:pt idx="102458">1</cx:pt>
          <cx:pt idx="102459">4</cx:pt>
          <cx:pt idx="102460">5</cx:pt>
          <cx:pt idx="102461">2</cx:pt>
          <cx:pt idx="102462">1</cx:pt>
          <cx:pt idx="102463">3</cx:pt>
          <cx:pt idx="102464">4</cx:pt>
          <cx:pt idx="102465">1</cx:pt>
          <cx:pt idx="102466">3</cx:pt>
          <cx:pt idx="102467">4</cx:pt>
          <cx:pt idx="102468">4</cx:pt>
          <cx:pt idx="102469">4</cx:pt>
          <cx:pt idx="102470">4</cx:pt>
          <cx:pt idx="102471">4</cx:pt>
          <cx:pt idx="102472">5</cx:pt>
          <cx:pt idx="102473">2</cx:pt>
          <cx:pt idx="102474">4</cx:pt>
          <cx:pt idx="102475">4</cx:pt>
          <cx:pt idx="102476">5</cx:pt>
          <cx:pt idx="102477">2</cx:pt>
          <cx:pt idx="102478">4</cx:pt>
          <cx:pt idx="102479">4</cx:pt>
          <cx:pt idx="102480">4</cx:pt>
          <cx:pt idx="102481">4</cx:pt>
          <cx:pt idx="102482">5</cx:pt>
          <cx:pt idx="102483">5</cx:pt>
          <cx:pt idx="102484">3</cx:pt>
          <cx:pt idx="102485">4</cx:pt>
          <cx:pt idx="102486">1</cx:pt>
          <cx:pt idx="102487">5</cx:pt>
          <cx:pt idx="102488">5</cx:pt>
          <cx:pt idx="102489">4</cx:pt>
          <cx:pt idx="102490">2</cx:pt>
          <cx:pt idx="102491">5</cx:pt>
          <cx:pt idx="102492">3</cx:pt>
          <cx:pt idx="102493">1</cx:pt>
          <cx:pt idx="102494">3</cx:pt>
          <cx:pt idx="102495">3</cx:pt>
          <cx:pt idx="102496">3</cx:pt>
          <cx:pt idx="102497">4</cx:pt>
          <cx:pt idx="102498">2</cx:pt>
          <cx:pt idx="102499">1</cx:pt>
          <cx:pt idx="102500">3</cx:pt>
          <cx:pt idx="102501">5</cx:pt>
          <cx:pt idx="102502">4</cx:pt>
          <cx:pt idx="102503">5</cx:pt>
          <cx:pt idx="102504">3</cx:pt>
          <cx:pt idx="102505">5</cx:pt>
          <cx:pt idx="102506">4</cx:pt>
          <cx:pt idx="102507">1</cx:pt>
          <cx:pt idx="102508">3</cx:pt>
          <cx:pt idx="102509">4</cx:pt>
          <cx:pt idx="102510">5</cx:pt>
          <cx:pt idx="102511">5</cx:pt>
          <cx:pt idx="102512">3</cx:pt>
          <cx:pt idx="102513">2</cx:pt>
          <cx:pt idx="102514">5</cx:pt>
          <cx:pt idx="102515">5</cx:pt>
          <cx:pt idx="102516">3</cx:pt>
          <cx:pt idx="102517">4</cx:pt>
          <cx:pt idx="102518">2</cx:pt>
          <cx:pt idx="102519">4</cx:pt>
          <cx:pt idx="102520">3</cx:pt>
          <cx:pt idx="102521">3</cx:pt>
          <cx:pt idx="102522">4</cx:pt>
          <cx:pt idx="102523">1</cx:pt>
          <cx:pt idx="102524">3</cx:pt>
          <cx:pt idx="102525">4</cx:pt>
          <cx:pt idx="102526">1</cx:pt>
          <cx:pt idx="102527">4</cx:pt>
          <cx:pt idx="102528">5</cx:pt>
          <cx:pt idx="102529">4</cx:pt>
          <cx:pt idx="102530">2</cx:pt>
          <cx:pt idx="102531">3</cx:pt>
          <cx:pt idx="102532">3</cx:pt>
          <cx:pt idx="102533">4</cx:pt>
          <cx:pt idx="102534">2</cx:pt>
          <cx:pt idx="102535">4</cx:pt>
          <cx:pt idx="102536">1</cx:pt>
          <cx:pt idx="102537">3</cx:pt>
          <cx:pt idx="102538">3</cx:pt>
          <cx:pt idx="102539">3</cx:pt>
          <cx:pt idx="102540">3</cx:pt>
          <cx:pt idx="102541">3</cx:pt>
          <cx:pt idx="102542">3</cx:pt>
          <cx:pt idx="102543">2</cx:pt>
          <cx:pt idx="102544">4</cx:pt>
          <cx:pt idx="102545">5</cx:pt>
          <cx:pt idx="102546">5</cx:pt>
          <cx:pt idx="102547">5</cx:pt>
          <cx:pt idx="102548">3</cx:pt>
          <cx:pt idx="102549">4</cx:pt>
          <cx:pt idx="102550">3</cx:pt>
          <cx:pt idx="102551">2</cx:pt>
          <cx:pt idx="102552">3</cx:pt>
          <cx:pt idx="102553">4</cx:pt>
          <cx:pt idx="102554">1</cx:pt>
          <cx:pt idx="102555">4</cx:pt>
          <cx:pt idx="102556">5</cx:pt>
          <cx:pt idx="102557">5</cx:pt>
          <cx:pt idx="102558">4</cx:pt>
          <cx:pt idx="102559">3</cx:pt>
          <cx:pt idx="102560">5</cx:pt>
          <cx:pt idx="102561">5</cx:pt>
          <cx:pt idx="102562">2</cx:pt>
          <cx:pt idx="102563">5</cx:pt>
          <cx:pt idx="102564">1</cx:pt>
          <cx:pt idx="102565">4</cx:pt>
          <cx:pt idx="102566">3</cx:pt>
          <cx:pt idx="102567">3</cx:pt>
          <cx:pt idx="102568">5</cx:pt>
          <cx:pt idx="102569">3</cx:pt>
          <cx:pt idx="102570">3</cx:pt>
          <cx:pt idx="102571">4</cx:pt>
          <cx:pt idx="102572">5</cx:pt>
          <cx:pt idx="102573">3</cx:pt>
          <cx:pt idx="102574">5</cx:pt>
          <cx:pt idx="102575">4</cx:pt>
          <cx:pt idx="102576">5</cx:pt>
          <cx:pt idx="102577">2</cx:pt>
          <cx:pt idx="102578">5</cx:pt>
          <cx:pt idx="102579">4</cx:pt>
          <cx:pt idx="102580">5</cx:pt>
          <cx:pt idx="102581">5</cx:pt>
          <cx:pt idx="102582">4</cx:pt>
          <cx:pt idx="102583">5</cx:pt>
          <cx:pt idx="102584">4</cx:pt>
          <cx:pt idx="102585">1</cx:pt>
          <cx:pt idx="102586">5</cx:pt>
          <cx:pt idx="102587">1</cx:pt>
          <cx:pt idx="102588">3</cx:pt>
          <cx:pt idx="102589">2</cx:pt>
          <cx:pt idx="102590">4</cx:pt>
          <cx:pt idx="102591">3</cx:pt>
          <cx:pt idx="102592">3</cx:pt>
          <cx:pt idx="102593">5</cx:pt>
          <cx:pt idx="102594">3</cx:pt>
          <cx:pt idx="102595">2</cx:pt>
          <cx:pt idx="102596">4</cx:pt>
          <cx:pt idx="102597">1</cx:pt>
          <cx:pt idx="102598">1</cx:pt>
          <cx:pt idx="102599">3</cx:pt>
          <cx:pt idx="102600">2</cx:pt>
          <cx:pt idx="102601">5</cx:pt>
          <cx:pt idx="102602">5</cx:pt>
          <cx:pt idx="102603">3</cx:pt>
          <cx:pt idx="102604">3</cx:pt>
          <cx:pt idx="102605">4</cx:pt>
          <cx:pt idx="102606">3</cx:pt>
          <cx:pt idx="102607">1</cx:pt>
          <cx:pt idx="102608">1</cx:pt>
          <cx:pt idx="102609">1</cx:pt>
          <cx:pt idx="102610">5</cx:pt>
          <cx:pt idx="102611">1</cx:pt>
          <cx:pt idx="102612">4</cx:pt>
          <cx:pt idx="102613">4</cx:pt>
          <cx:pt idx="102614">3</cx:pt>
          <cx:pt idx="102615">4</cx:pt>
          <cx:pt idx="102616">4</cx:pt>
          <cx:pt idx="102617">3</cx:pt>
          <cx:pt idx="102618">3</cx:pt>
          <cx:pt idx="102619">4</cx:pt>
          <cx:pt idx="102620">5</cx:pt>
          <cx:pt idx="102621">4</cx:pt>
          <cx:pt idx="102622">4</cx:pt>
          <cx:pt idx="102623">2</cx:pt>
          <cx:pt idx="102624">4</cx:pt>
          <cx:pt idx="102625">3</cx:pt>
          <cx:pt idx="102626">5</cx:pt>
          <cx:pt idx="102627">2</cx:pt>
          <cx:pt idx="102628">2</cx:pt>
          <cx:pt idx="102629">1</cx:pt>
          <cx:pt idx="102630">4</cx:pt>
          <cx:pt idx="102631">2</cx:pt>
          <cx:pt idx="102632">2</cx:pt>
          <cx:pt idx="102633">2</cx:pt>
          <cx:pt idx="102634">5</cx:pt>
          <cx:pt idx="102635">4</cx:pt>
          <cx:pt idx="102636">1</cx:pt>
          <cx:pt idx="102637">5</cx:pt>
          <cx:pt idx="102638">2</cx:pt>
          <cx:pt idx="102639">1</cx:pt>
          <cx:pt idx="102640">5</cx:pt>
          <cx:pt idx="102641">2</cx:pt>
          <cx:pt idx="102642">2</cx:pt>
          <cx:pt idx="102643">4</cx:pt>
          <cx:pt idx="102644">1</cx:pt>
          <cx:pt idx="102645">4</cx:pt>
          <cx:pt idx="102646">4</cx:pt>
          <cx:pt idx="102647">1</cx:pt>
          <cx:pt idx="102648">5</cx:pt>
          <cx:pt idx="102649">4</cx:pt>
          <cx:pt idx="102650">3</cx:pt>
          <cx:pt idx="102651">4</cx:pt>
          <cx:pt idx="102652">5</cx:pt>
          <cx:pt idx="102653">1</cx:pt>
          <cx:pt idx="102654">3</cx:pt>
          <cx:pt idx="102655">4</cx:pt>
          <cx:pt idx="102656">5</cx:pt>
          <cx:pt idx="102657">3</cx:pt>
          <cx:pt idx="102658">4</cx:pt>
          <cx:pt idx="102659">4</cx:pt>
          <cx:pt idx="102660">2</cx:pt>
          <cx:pt idx="102661">4</cx:pt>
          <cx:pt idx="102662">3</cx:pt>
          <cx:pt idx="102663">4</cx:pt>
          <cx:pt idx="102664">2</cx:pt>
          <cx:pt idx="102665">5</cx:pt>
          <cx:pt idx="102666">5</cx:pt>
          <cx:pt idx="102667">2</cx:pt>
          <cx:pt idx="102668">5</cx:pt>
          <cx:pt idx="102669">4</cx:pt>
          <cx:pt idx="102670">4</cx:pt>
          <cx:pt idx="102671">5</cx:pt>
          <cx:pt idx="102672">3</cx:pt>
          <cx:pt idx="102673">1</cx:pt>
          <cx:pt idx="102674">2</cx:pt>
          <cx:pt idx="102675">5</cx:pt>
          <cx:pt idx="102676">5</cx:pt>
          <cx:pt idx="102677">2</cx:pt>
          <cx:pt idx="102678">2</cx:pt>
          <cx:pt idx="102679">4</cx:pt>
          <cx:pt idx="102680">3</cx:pt>
          <cx:pt idx="102681">4</cx:pt>
          <cx:pt idx="102682">4</cx:pt>
          <cx:pt idx="102683">2</cx:pt>
          <cx:pt idx="102684">4</cx:pt>
          <cx:pt idx="102685">5</cx:pt>
          <cx:pt idx="102686">1</cx:pt>
          <cx:pt idx="102687">3</cx:pt>
          <cx:pt idx="102688">3</cx:pt>
          <cx:pt idx="102689">2</cx:pt>
          <cx:pt idx="102690">2</cx:pt>
          <cx:pt idx="102691">5</cx:pt>
          <cx:pt idx="102692">1</cx:pt>
          <cx:pt idx="102693">5</cx:pt>
          <cx:pt idx="102694">3</cx:pt>
          <cx:pt idx="102695">4</cx:pt>
          <cx:pt idx="102696">3</cx:pt>
          <cx:pt idx="102697">5</cx:pt>
          <cx:pt idx="102698">4</cx:pt>
          <cx:pt idx="102699">3</cx:pt>
          <cx:pt idx="102700">2</cx:pt>
          <cx:pt idx="102701">4</cx:pt>
          <cx:pt idx="102702">5</cx:pt>
          <cx:pt idx="102703">2</cx:pt>
          <cx:pt idx="102704">5</cx:pt>
          <cx:pt idx="102705">4</cx:pt>
          <cx:pt idx="102706">4</cx:pt>
          <cx:pt idx="102707">4</cx:pt>
          <cx:pt idx="102708">3</cx:pt>
          <cx:pt idx="102709">5</cx:pt>
          <cx:pt idx="102710">4</cx:pt>
          <cx:pt idx="102711">4</cx:pt>
          <cx:pt idx="102712">3</cx:pt>
          <cx:pt idx="102713">3</cx:pt>
          <cx:pt idx="102714">1</cx:pt>
          <cx:pt idx="102715">4</cx:pt>
          <cx:pt idx="102716">1</cx:pt>
          <cx:pt idx="102717">2</cx:pt>
          <cx:pt idx="102718">1</cx:pt>
          <cx:pt idx="102719">2</cx:pt>
          <cx:pt idx="102720">3</cx:pt>
          <cx:pt idx="102721">1</cx:pt>
          <cx:pt idx="102722">4</cx:pt>
          <cx:pt idx="102723">5</cx:pt>
          <cx:pt idx="102724">2</cx:pt>
          <cx:pt idx="102725">3</cx:pt>
          <cx:pt idx="102726">3</cx:pt>
          <cx:pt idx="102727">1</cx:pt>
          <cx:pt idx="102728">5</cx:pt>
          <cx:pt idx="102729">4</cx:pt>
          <cx:pt idx="102730">5</cx:pt>
          <cx:pt idx="102731">3</cx:pt>
          <cx:pt idx="102732">5</cx:pt>
          <cx:pt idx="102733">4</cx:pt>
          <cx:pt idx="102734">5</cx:pt>
          <cx:pt idx="102735">1</cx:pt>
          <cx:pt idx="102736">2</cx:pt>
          <cx:pt idx="102737">2</cx:pt>
          <cx:pt idx="102738">4</cx:pt>
          <cx:pt idx="102739">1</cx:pt>
          <cx:pt idx="102740">4</cx:pt>
          <cx:pt idx="102741">4</cx:pt>
          <cx:pt idx="102742">4</cx:pt>
          <cx:pt idx="102743">3</cx:pt>
          <cx:pt idx="102744">1</cx:pt>
          <cx:pt idx="102745">4</cx:pt>
          <cx:pt idx="102746">2</cx:pt>
          <cx:pt idx="102747">4</cx:pt>
          <cx:pt idx="102748">1</cx:pt>
          <cx:pt idx="102749">5</cx:pt>
          <cx:pt idx="102750">3</cx:pt>
          <cx:pt idx="102751">2</cx:pt>
          <cx:pt idx="102752">5</cx:pt>
          <cx:pt idx="102753">4</cx:pt>
          <cx:pt idx="102754">5</cx:pt>
          <cx:pt idx="102755">2</cx:pt>
          <cx:pt idx="102756">1</cx:pt>
          <cx:pt idx="102757">4</cx:pt>
          <cx:pt idx="102758">4</cx:pt>
          <cx:pt idx="102759">3</cx:pt>
          <cx:pt idx="102760">3</cx:pt>
          <cx:pt idx="102761">4</cx:pt>
          <cx:pt idx="102762">5</cx:pt>
          <cx:pt idx="102763">2</cx:pt>
          <cx:pt idx="102764">3</cx:pt>
          <cx:pt idx="102765">5</cx:pt>
          <cx:pt idx="102766">4</cx:pt>
          <cx:pt idx="102767">5</cx:pt>
          <cx:pt idx="102768">2</cx:pt>
          <cx:pt idx="102769">4</cx:pt>
          <cx:pt idx="102770">5</cx:pt>
          <cx:pt idx="102771">5</cx:pt>
          <cx:pt idx="102772">5</cx:pt>
          <cx:pt idx="102773">4</cx:pt>
          <cx:pt idx="102774">3</cx:pt>
          <cx:pt idx="102775">2</cx:pt>
          <cx:pt idx="102776">5</cx:pt>
          <cx:pt idx="102777">4</cx:pt>
          <cx:pt idx="102778">5</cx:pt>
          <cx:pt idx="102779">3</cx:pt>
          <cx:pt idx="102780">3</cx:pt>
          <cx:pt idx="102781">1</cx:pt>
          <cx:pt idx="102782">4</cx:pt>
          <cx:pt idx="102783">5</cx:pt>
          <cx:pt idx="102784">5</cx:pt>
          <cx:pt idx="102785">4</cx:pt>
          <cx:pt idx="102786">5</cx:pt>
          <cx:pt idx="102787">3</cx:pt>
          <cx:pt idx="102788">3</cx:pt>
          <cx:pt idx="102789">3</cx:pt>
          <cx:pt idx="102790">5</cx:pt>
          <cx:pt idx="102791">3</cx:pt>
          <cx:pt idx="102792">4</cx:pt>
          <cx:pt idx="102793">4</cx:pt>
          <cx:pt idx="102794">1</cx:pt>
          <cx:pt idx="102795">4</cx:pt>
          <cx:pt idx="102796">4</cx:pt>
          <cx:pt idx="102797">2</cx:pt>
          <cx:pt idx="102798">5</cx:pt>
          <cx:pt idx="102799">2</cx:pt>
          <cx:pt idx="102800">4</cx:pt>
          <cx:pt idx="102801">4</cx:pt>
          <cx:pt idx="102802">5</cx:pt>
          <cx:pt idx="102803">2</cx:pt>
          <cx:pt idx="102804">4</cx:pt>
          <cx:pt idx="102805">3</cx:pt>
          <cx:pt idx="102806">4</cx:pt>
          <cx:pt idx="102807">3</cx:pt>
          <cx:pt idx="102808">1</cx:pt>
          <cx:pt idx="102809">4</cx:pt>
          <cx:pt idx="102810">3</cx:pt>
          <cx:pt idx="102811">3</cx:pt>
          <cx:pt idx="102812">2</cx:pt>
          <cx:pt idx="102813">3</cx:pt>
          <cx:pt idx="102814">4</cx:pt>
          <cx:pt idx="102815">4</cx:pt>
          <cx:pt idx="102816">5</cx:pt>
          <cx:pt idx="102817">1</cx:pt>
          <cx:pt idx="102818">3</cx:pt>
          <cx:pt idx="102819">2</cx:pt>
          <cx:pt idx="102820">1</cx:pt>
          <cx:pt idx="102821">3</cx:pt>
          <cx:pt idx="102822">4</cx:pt>
          <cx:pt idx="102823">5</cx:pt>
          <cx:pt idx="102824">4</cx:pt>
          <cx:pt idx="102825">3</cx:pt>
          <cx:pt idx="102826">4</cx:pt>
          <cx:pt idx="102827">2</cx:pt>
          <cx:pt idx="102828">3</cx:pt>
          <cx:pt idx="102829">4</cx:pt>
          <cx:pt idx="102830">5</cx:pt>
          <cx:pt idx="102831">4</cx:pt>
          <cx:pt idx="102832">5</cx:pt>
          <cx:pt idx="102833">1</cx:pt>
          <cx:pt idx="102834">4</cx:pt>
          <cx:pt idx="102835">2</cx:pt>
          <cx:pt idx="102836">2</cx:pt>
          <cx:pt idx="102837">2</cx:pt>
          <cx:pt idx="102838">4</cx:pt>
          <cx:pt idx="102839">4</cx:pt>
          <cx:pt idx="102840">5</cx:pt>
          <cx:pt idx="102841">2</cx:pt>
          <cx:pt idx="102842">4</cx:pt>
          <cx:pt idx="102843">5</cx:pt>
          <cx:pt idx="102844">3</cx:pt>
          <cx:pt idx="102845">1</cx:pt>
          <cx:pt idx="102846">3</cx:pt>
          <cx:pt idx="102847">5</cx:pt>
          <cx:pt idx="102848">3</cx:pt>
          <cx:pt idx="102849">1</cx:pt>
          <cx:pt idx="102850">4</cx:pt>
          <cx:pt idx="102851">2</cx:pt>
          <cx:pt idx="102852">4</cx:pt>
          <cx:pt idx="102853">5</cx:pt>
          <cx:pt idx="102854">2</cx:pt>
          <cx:pt idx="102855">4</cx:pt>
          <cx:pt idx="102856">3</cx:pt>
          <cx:pt idx="102857">5</cx:pt>
          <cx:pt idx="102858">4</cx:pt>
          <cx:pt idx="102859">3</cx:pt>
          <cx:pt idx="102860">3</cx:pt>
          <cx:pt idx="102861">4</cx:pt>
          <cx:pt idx="102862">4</cx:pt>
          <cx:pt idx="102863">4</cx:pt>
          <cx:pt idx="102864">4</cx:pt>
          <cx:pt idx="102865">5</cx:pt>
          <cx:pt idx="102866">4</cx:pt>
          <cx:pt idx="102867">2</cx:pt>
          <cx:pt idx="102868">4</cx:pt>
          <cx:pt idx="102869">3</cx:pt>
          <cx:pt idx="102870">4</cx:pt>
          <cx:pt idx="102871">3</cx:pt>
          <cx:pt idx="102872">5</cx:pt>
          <cx:pt idx="102873">4</cx:pt>
          <cx:pt idx="102874">5</cx:pt>
          <cx:pt idx="102875">2</cx:pt>
          <cx:pt idx="102876">3</cx:pt>
          <cx:pt idx="102877">4</cx:pt>
          <cx:pt idx="102878">4</cx:pt>
          <cx:pt idx="102879">5</cx:pt>
          <cx:pt idx="102880">5</cx:pt>
          <cx:pt idx="102881">3</cx:pt>
          <cx:pt idx="102882">4</cx:pt>
          <cx:pt idx="102883">5</cx:pt>
          <cx:pt idx="102884">4</cx:pt>
          <cx:pt idx="102885">3</cx:pt>
          <cx:pt idx="102886">3</cx:pt>
          <cx:pt idx="102887">2</cx:pt>
          <cx:pt idx="102888">5</cx:pt>
          <cx:pt idx="102889">5</cx:pt>
          <cx:pt idx="102890">2</cx:pt>
          <cx:pt idx="102891">1</cx:pt>
          <cx:pt idx="102892">4</cx:pt>
          <cx:pt idx="102893">4</cx:pt>
          <cx:pt idx="102894">4</cx:pt>
          <cx:pt idx="102895">5</cx:pt>
          <cx:pt idx="102896">1</cx:pt>
          <cx:pt idx="102897">3</cx:pt>
          <cx:pt idx="102898">1</cx:pt>
          <cx:pt idx="102899">5</cx:pt>
          <cx:pt idx="102900">4</cx:pt>
          <cx:pt idx="102901">2</cx:pt>
          <cx:pt idx="102902">4</cx:pt>
          <cx:pt idx="102903">3</cx:pt>
          <cx:pt idx="102904">4</cx:pt>
          <cx:pt idx="102905">4</cx:pt>
          <cx:pt idx="102906">4</cx:pt>
          <cx:pt idx="102907">3</cx:pt>
          <cx:pt idx="102908">4</cx:pt>
          <cx:pt idx="102909">4</cx:pt>
          <cx:pt idx="102910">3</cx:pt>
          <cx:pt idx="102911">3</cx:pt>
          <cx:pt idx="102912">5</cx:pt>
          <cx:pt idx="102913">2</cx:pt>
          <cx:pt idx="102914">3</cx:pt>
          <cx:pt idx="102915">3</cx:pt>
          <cx:pt idx="102916">4</cx:pt>
          <cx:pt idx="102917">4</cx:pt>
          <cx:pt idx="102918">1</cx:pt>
          <cx:pt idx="102919">4</cx:pt>
          <cx:pt idx="102920">5</cx:pt>
          <cx:pt idx="102921">1</cx:pt>
          <cx:pt idx="102922">3</cx:pt>
          <cx:pt idx="102923">4</cx:pt>
          <cx:pt idx="102924">1</cx:pt>
          <cx:pt idx="102925">1</cx:pt>
          <cx:pt idx="102926">4</cx:pt>
          <cx:pt idx="102927">2</cx:pt>
          <cx:pt idx="102928">5</cx:pt>
          <cx:pt idx="102929">2</cx:pt>
          <cx:pt idx="102930">4</cx:pt>
          <cx:pt idx="102931">2</cx:pt>
          <cx:pt idx="102932">1</cx:pt>
          <cx:pt idx="102933">1</cx:pt>
          <cx:pt idx="102934">2</cx:pt>
          <cx:pt idx="102935">3</cx:pt>
          <cx:pt idx="102936">4</cx:pt>
          <cx:pt idx="102937">2</cx:pt>
          <cx:pt idx="102938">4</cx:pt>
          <cx:pt idx="102939">3</cx:pt>
          <cx:pt idx="102940">1</cx:pt>
          <cx:pt idx="102941">5</cx:pt>
          <cx:pt idx="102942">4</cx:pt>
          <cx:pt idx="102943">4</cx:pt>
          <cx:pt idx="102944">4</cx:pt>
          <cx:pt idx="102945">4</cx:pt>
          <cx:pt idx="102946">2</cx:pt>
          <cx:pt idx="102947">5</cx:pt>
          <cx:pt idx="102948">4</cx:pt>
          <cx:pt idx="102949">1</cx:pt>
          <cx:pt idx="102950">1</cx:pt>
          <cx:pt idx="102951">2</cx:pt>
          <cx:pt idx="102952">5</cx:pt>
          <cx:pt idx="102953">3</cx:pt>
          <cx:pt idx="102954">4</cx:pt>
          <cx:pt idx="102955">3</cx:pt>
          <cx:pt idx="102956">2</cx:pt>
          <cx:pt idx="102957">3</cx:pt>
          <cx:pt idx="102958">3</cx:pt>
          <cx:pt idx="102959">2</cx:pt>
          <cx:pt idx="102960">5</cx:pt>
          <cx:pt idx="102961">3</cx:pt>
          <cx:pt idx="102962">4</cx:pt>
          <cx:pt idx="102963">4</cx:pt>
          <cx:pt idx="102964">5</cx:pt>
          <cx:pt idx="102965">4</cx:pt>
          <cx:pt idx="102966">3</cx:pt>
          <cx:pt idx="102967">5</cx:pt>
          <cx:pt idx="102968">5</cx:pt>
          <cx:pt idx="102969">5</cx:pt>
          <cx:pt idx="102970">3</cx:pt>
          <cx:pt idx="102971">2</cx:pt>
          <cx:pt idx="102972">5</cx:pt>
          <cx:pt idx="102973">5</cx:pt>
          <cx:pt idx="102974">4</cx:pt>
          <cx:pt idx="102975">5</cx:pt>
          <cx:pt idx="102976">5</cx:pt>
          <cx:pt idx="102977">5</cx:pt>
          <cx:pt idx="102978">4</cx:pt>
          <cx:pt idx="102979">4</cx:pt>
          <cx:pt idx="102980">1</cx:pt>
          <cx:pt idx="102981">4</cx:pt>
          <cx:pt idx="102982">4</cx:pt>
          <cx:pt idx="102983">3</cx:pt>
          <cx:pt idx="102984">3</cx:pt>
          <cx:pt idx="102985">1</cx:pt>
          <cx:pt idx="102986">4</cx:pt>
          <cx:pt idx="102987">3</cx:pt>
          <cx:pt idx="102988">1</cx:pt>
          <cx:pt idx="102989">5</cx:pt>
          <cx:pt idx="102990">3</cx:pt>
          <cx:pt idx="102991">4</cx:pt>
          <cx:pt idx="102992">2</cx:pt>
          <cx:pt idx="102993">1</cx:pt>
          <cx:pt idx="102994">4</cx:pt>
          <cx:pt idx="102995">1</cx:pt>
          <cx:pt idx="102996">2</cx:pt>
          <cx:pt idx="102997">4</cx:pt>
          <cx:pt idx="102998">4</cx:pt>
          <cx:pt idx="102999">2</cx:pt>
          <cx:pt idx="103000">1</cx:pt>
          <cx:pt idx="103001">5</cx:pt>
          <cx:pt idx="103002">2</cx:pt>
          <cx:pt idx="103003">4</cx:pt>
          <cx:pt idx="103004">2</cx:pt>
          <cx:pt idx="103005">5</cx:pt>
          <cx:pt idx="103006">4</cx:pt>
          <cx:pt idx="103007">1</cx:pt>
          <cx:pt idx="103008">3</cx:pt>
          <cx:pt idx="103009">3</cx:pt>
          <cx:pt idx="103010">3</cx:pt>
          <cx:pt idx="103011">5</cx:pt>
          <cx:pt idx="103012">2</cx:pt>
          <cx:pt idx="103013">4</cx:pt>
          <cx:pt idx="103014">4</cx:pt>
          <cx:pt idx="103015">5</cx:pt>
          <cx:pt idx="103016">5</cx:pt>
          <cx:pt idx="103017">3</cx:pt>
          <cx:pt idx="103018">3</cx:pt>
          <cx:pt idx="103019">4</cx:pt>
          <cx:pt idx="103020">4</cx:pt>
          <cx:pt idx="103021">5</cx:pt>
          <cx:pt idx="103022">3</cx:pt>
          <cx:pt idx="103023">3</cx:pt>
          <cx:pt idx="103024">5</cx:pt>
          <cx:pt idx="103025">4</cx:pt>
          <cx:pt idx="103026">3</cx:pt>
          <cx:pt idx="103027">2</cx:pt>
          <cx:pt idx="103028">2</cx:pt>
          <cx:pt idx="103029">2</cx:pt>
          <cx:pt idx="103030">3</cx:pt>
          <cx:pt idx="103031">1</cx:pt>
          <cx:pt idx="103032">2</cx:pt>
          <cx:pt idx="103033">5</cx:pt>
          <cx:pt idx="103034">4</cx:pt>
          <cx:pt idx="103035">3</cx:pt>
          <cx:pt idx="103036">5</cx:pt>
          <cx:pt idx="103037">3</cx:pt>
          <cx:pt idx="103038">3</cx:pt>
          <cx:pt idx="103039">2</cx:pt>
          <cx:pt idx="103040">2</cx:pt>
          <cx:pt idx="103041">4</cx:pt>
          <cx:pt idx="103042">2</cx:pt>
          <cx:pt idx="103043">4</cx:pt>
          <cx:pt idx="103044">4</cx:pt>
          <cx:pt idx="103045">5</cx:pt>
          <cx:pt idx="103046">5</cx:pt>
          <cx:pt idx="103047">1</cx:pt>
          <cx:pt idx="103048">5</cx:pt>
          <cx:pt idx="103049">5</cx:pt>
          <cx:pt idx="103050">3</cx:pt>
          <cx:pt idx="103051">4</cx:pt>
          <cx:pt idx="103052">5</cx:pt>
          <cx:pt idx="103053">5</cx:pt>
          <cx:pt idx="103054">3</cx:pt>
          <cx:pt idx="103055">4</cx:pt>
          <cx:pt idx="103056">5</cx:pt>
          <cx:pt idx="103057">4</cx:pt>
          <cx:pt idx="103058">1</cx:pt>
          <cx:pt idx="103059">5</cx:pt>
          <cx:pt idx="103060">4</cx:pt>
          <cx:pt idx="103061">3</cx:pt>
          <cx:pt idx="103062">1</cx:pt>
          <cx:pt idx="103063">4</cx:pt>
          <cx:pt idx="103064">4</cx:pt>
          <cx:pt idx="103065">4</cx:pt>
          <cx:pt idx="103066">3</cx:pt>
          <cx:pt idx="103067">5</cx:pt>
          <cx:pt idx="103068">3</cx:pt>
          <cx:pt idx="103069">3</cx:pt>
          <cx:pt idx="103070">4</cx:pt>
          <cx:pt idx="103071">1</cx:pt>
          <cx:pt idx="103072">5</cx:pt>
          <cx:pt idx="103073">5</cx:pt>
          <cx:pt idx="103074">1</cx:pt>
          <cx:pt idx="103075">5</cx:pt>
          <cx:pt idx="103076">5</cx:pt>
          <cx:pt idx="103077">3</cx:pt>
          <cx:pt idx="103078">4</cx:pt>
          <cx:pt idx="103079">4</cx:pt>
          <cx:pt idx="103080">1</cx:pt>
          <cx:pt idx="103081">5</cx:pt>
          <cx:pt idx="103082">2</cx:pt>
          <cx:pt idx="103083">2</cx:pt>
          <cx:pt idx="103084">2</cx:pt>
          <cx:pt idx="103085">1</cx:pt>
          <cx:pt idx="103086">5</cx:pt>
          <cx:pt idx="103087">3</cx:pt>
          <cx:pt idx="103088">5</cx:pt>
          <cx:pt idx="103089">4</cx:pt>
          <cx:pt idx="103090">1</cx:pt>
          <cx:pt idx="103091">5</cx:pt>
          <cx:pt idx="103092">5</cx:pt>
          <cx:pt idx="103093">4</cx:pt>
          <cx:pt idx="103094">2</cx:pt>
          <cx:pt idx="103095">2</cx:pt>
          <cx:pt idx="103096">4</cx:pt>
          <cx:pt idx="103097">2</cx:pt>
          <cx:pt idx="103098">4</cx:pt>
          <cx:pt idx="103099">3</cx:pt>
          <cx:pt idx="103100">5</cx:pt>
          <cx:pt idx="103101">5</cx:pt>
          <cx:pt idx="103102">5</cx:pt>
          <cx:pt idx="103103">5</cx:pt>
          <cx:pt idx="103104">3</cx:pt>
          <cx:pt idx="103105">3</cx:pt>
          <cx:pt idx="103106">2</cx:pt>
          <cx:pt idx="103107">5</cx:pt>
          <cx:pt idx="103108">5</cx:pt>
          <cx:pt idx="103109">3</cx:pt>
          <cx:pt idx="103110">1</cx:pt>
          <cx:pt idx="103111">5</cx:pt>
          <cx:pt idx="103112">4</cx:pt>
          <cx:pt idx="103113">4</cx:pt>
          <cx:pt idx="103114">4</cx:pt>
          <cx:pt idx="103115">3</cx:pt>
          <cx:pt idx="103116">2</cx:pt>
          <cx:pt idx="103117">4</cx:pt>
          <cx:pt idx="103118">4</cx:pt>
          <cx:pt idx="103119">4</cx:pt>
          <cx:pt idx="103120">5</cx:pt>
          <cx:pt idx="103121">5</cx:pt>
          <cx:pt idx="103122">3</cx:pt>
          <cx:pt idx="103123">3</cx:pt>
          <cx:pt idx="103124">2</cx:pt>
          <cx:pt idx="103125">4</cx:pt>
          <cx:pt idx="103126">4</cx:pt>
          <cx:pt idx="103127">5</cx:pt>
          <cx:pt idx="103128">5</cx:pt>
          <cx:pt idx="103129">3</cx:pt>
          <cx:pt idx="103130">5</cx:pt>
          <cx:pt idx="103131">2</cx:pt>
          <cx:pt idx="103132">3</cx:pt>
          <cx:pt idx="103133">5</cx:pt>
          <cx:pt idx="103134">4</cx:pt>
          <cx:pt idx="103135">3</cx:pt>
          <cx:pt idx="103136">4</cx:pt>
          <cx:pt idx="103137">5</cx:pt>
          <cx:pt idx="103138">1</cx:pt>
          <cx:pt idx="103139">4</cx:pt>
          <cx:pt idx="103140">4</cx:pt>
          <cx:pt idx="103141">5</cx:pt>
          <cx:pt idx="103142">1</cx:pt>
          <cx:pt idx="103143">2</cx:pt>
          <cx:pt idx="103144">1</cx:pt>
          <cx:pt idx="103145">5</cx:pt>
          <cx:pt idx="103146">5</cx:pt>
          <cx:pt idx="103147">3</cx:pt>
          <cx:pt idx="103148">3</cx:pt>
          <cx:pt idx="103149">2</cx:pt>
          <cx:pt idx="103150">2</cx:pt>
          <cx:pt idx="103151">3</cx:pt>
          <cx:pt idx="103152">4</cx:pt>
          <cx:pt idx="103153">1</cx:pt>
          <cx:pt idx="103154">4</cx:pt>
          <cx:pt idx="103155">5</cx:pt>
          <cx:pt idx="103156">4</cx:pt>
          <cx:pt idx="103157">2</cx:pt>
          <cx:pt idx="103158">5</cx:pt>
          <cx:pt idx="103159">4</cx:pt>
          <cx:pt idx="103160">1</cx:pt>
          <cx:pt idx="103161">4</cx:pt>
          <cx:pt idx="103162">1</cx:pt>
          <cx:pt idx="103163">4</cx:pt>
          <cx:pt idx="103164">2</cx:pt>
          <cx:pt idx="103165">5</cx:pt>
          <cx:pt idx="103166">5</cx:pt>
          <cx:pt idx="103167">5</cx:pt>
          <cx:pt idx="103168">3</cx:pt>
          <cx:pt idx="103169">5</cx:pt>
          <cx:pt idx="103170">4</cx:pt>
          <cx:pt idx="103171">5</cx:pt>
          <cx:pt idx="103172">3</cx:pt>
          <cx:pt idx="103173">3</cx:pt>
          <cx:pt idx="103174">1</cx:pt>
          <cx:pt idx="103175">5</cx:pt>
          <cx:pt idx="103176">1</cx:pt>
          <cx:pt idx="103177">4</cx:pt>
          <cx:pt idx="103178">4</cx:pt>
          <cx:pt idx="103179">5</cx:pt>
          <cx:pt idx="103180">4</cx:pt>
          <cx:pt idx="103181">5</cx:pt>
          <cx:pt idx="103182">2</cx:pt>
          <cx:pt idx="103183">4</cx:pt>
          <cx:pt idx="103184">5</cx:pt>
          <cx:pt idx="103185">1</cx:pt>
          <cx:pt idx="103186">4</cx:pt>
          <cx:pt idx="103187">4</cx:pt>
          <cx:pt idx="103188">4</cx:pt>
          <cx:pt idx="103189">4</cx:pt>
          <cx:pt idx="103190">5</cx:pt>
          <cx:pt idx="103191">5</cx:pt>
          <cx:pt idx="103192">5</cx:pt>
          <cx:pt idx="103193">3</cx:pt>
          <cx:pt idx="103194">5</cx:pt>
          <cx:pt idx="103195">4</cx:pt>
          <cx:pt idx="103196">3</cx:pt>
          <cx:pt idx="103197">4</cx:pt>
          <cx:pt idx="103198">5</cx:pt>
          <cx:pt idx="103199">5</cx:pt>
          <cx:pt idx="103200">5</cx:pt>
          <cx:pt idx="103201">4</cx:pt>
          <cx:pt idx="103202">1</cx:pt>
          <cx:pt idx="103203">4</cx:pt>
          <cx:pt idx="103204">3</cx:pt>
          <cx:pt idx="103205">5</cx:pt>
          <cx:pt idx="103206">5</cx:pt>
          <cx:pt idx="103207">4</cx:pt>
          <cx:pt idx="103208">4</cx:pt>
          <cx:pt idx="103209">4</cx:pt>
          <cx:pt idx="103210">5</cx:pt>
          <cx:pt idx="103211">3</cx:pt>
          <cx:pt idx="103212">5</cx:pt>
          <cx:pt idx="103213">1</cx:pt>
          <cx:pt idx="103214">2</cx:pt>
          <cx:pt idx="103215">1</cx:pt>
          <cx:pt idx="103216">4</cx:pt>
          <cx:pt idx="103217">1</cx:pt>
          <cx:pt idx="103218">5</cx:pt>
          <cx:pt idx="103219">3</cx:pt>
          <cx:pt idx="103220">4</cx:pt>
          <cx:pt idx="103221">5</cx:pt>
          <cx:pt idx="103222">5</cx:pt>
          <cx:pt idx="103223">5</cx:pt>
          <cx:pt idx="103224">3</cx:pt>
          <cx:pt idx="103225">4</cx:pt>
          <cx:pt idx="103226">2</cx:pt>
          <cx:pt idx="103227">4</cx:pt>
          <cx:pt idx="103228">4</cx:pt>
          <cx:pt idx="103229">4</cx:pt>
          <cx:pt idx="103230">4</cx:pt>
          <cx:pt idx="103231">2</cx:pt>
          <cx:pt idx="103232">1</cx:pt>
          <cx:pt idx="103233">5</cx:pt>
          <cx:pt idx="103234">3</cx:pt>
          <cx:pt idx="103235">4</cx:pt>
          <cx:pt idx="103236">4</cx:pt>
          <cx:pt idx="103237">5</cx:pt>
          <cx:pt idx="103238">4</cx:pt>
          <cx:pt idx="103239">1</cx:pt>
          <cx:pt idx="103240">4</cx:pt>
          <cx:pt idx="103241">5</cx:pt>
          <cx:pt idx="103242">4</cx:pt>
          <cx:pt idx="103243">1</cx:pt>
          <cx:pt idx="103244">5</cx:pt>
          <cx:pt idx="103245">4</cx:pt>
          <cx:pt idx="103246">2</cx:pt>
          <cx:pt idx="103247">4</cx:pt>
          <cx:pt idx="103248">4</cx:pt>
          <cx:pt idx="103249">5</cx:pt>
          <cx:pt idx="103250">5</cx:pt>
          <cx:pt idx="103251">5</cx:pt>
          <cx:pt idx="103252">3</cx:pt>
          <cx:pt idx="103253">4</cx:pt>
          <cx:pt idx="103254">4</cx:pt>
          <cx:pt idx="103255">5</cx:pt>
          <cx:pt idx="103256">5</cx:pt>
          <cx:pt idx="103257">3</cx:pt>
          <cx:pt idx="103258">4</cx:pt>
          <cx:pt idx="103259">2</cx:pt>
          <cx:pt idx="103260">1</cx:pt>
          <cx:pt idx="103261">3</cx:pt>
          <cx:pt idx="103262">4</cx:pt>
          <cx:pt idx="103263">5</cx:pt>
          <cx:pt idx="103264">1</cx:pt>
          <cx:pt idx="103265">3</cx:pt>
          <cx:pt idx="103266">3</cx:pt>
          <cx:pt idx="103267">1</cx:pt>
          <cx:pt idx="103268">2</cx:pt>
          <cx:pt idx="103269">4</cx:pt>
          <cx:pt idx="103270">4</cx:pt>
          <cx:pt idx="103271">4</cx:pt>
          <cx:pt idx="103272">2</cx:pt>
          <cx:pt idx="103273">5</cx:pt>
          <cx:pt idx="103274">4</cx:pt>
          <cx:pt idx="103275">5</cx:pt>
          <cx:pt idx="103276">4</cx:pt>
          <cx:pt idx="103277">4</cx:pt>
          <cx:pt idx="103278">1</cx:pt>
          <cx:pt idx="103279">5</cx:pt>
          <cx:pt idx="103280">3</cx:pt>
          <cx:pt idx="103281">2</cx:pt>
          <cx:pt idx="103282">3</cx:pt>
          <cx:pt idx="103283">3</cx:pt>
          <cx:pt idx="103284">4</cx:pt>
          <cx:pt idx="103285">2</cx:pt>
          <cx:pt idx="103286">5</cx:pt>
          <cx:pt idx="103287">2</cx:pt>
          <cx:pt idx="103288">5</cx:pt>
          <cx:pt idx="103289">2</cx:pt>
          <cx:pt idx="103290">2</cx:pt>
          <cx:pt idx="103291">3</cx:pt>
          <cx:pt idx="103292">1</cx:pt>
          <cx:pt idx="103293">3</cx:pt>
          <cx:pt idx="103294">4</cx:pt>
          <cx:pt idx="103295">4</cx:pt>
          <cx:pt idx="103296">2</cx:pt>
          <cx:pt idx="103297">2</cx:pt>
          <cx:pt idx="103298">5</cx:pt>
          <cx:pt idx="103299">3</cx:pt>
          <cx:pt idx="103300">4</cx:pt>
          <cx:pt idx="103301">5</cx:pt>
          <cx:pt idx="103302">2</cx:pt>
          <cx:pt idx="103303">4</cx:pt>
          <cx:pt idx="103304">5</cx:pt>
          <cx:pt idx="103305">3</cx:pt>
          <cx:pt idx="103306">5</cx:pt>
          <cx:pt idx="103307">3</cx:pt>
          <cx:pt idx="103308">4</cx:pt>
          <cx:pt idx="103309">4</cx:pt>
          <cx:pt idx="103310">3</cx:pt>
          <cx:pt idx="103311">1</cx:pt>
          <cx:pt idx="103312">3</cx:pt>
          <cx:pt idx="103313">5</cx:pt>
          <cx:pt idx="103314">3</cx:pt>
          <cx:pt idx="103315">5</cx:pt>
          <cx:pt idx="103316">4</cx:pt>
          <cx:pt idx="103317">2</cx:pt>
          <cx:pt idx="103318">3</cx:pt>
          <cx:pt idx="103319">4</cx:pt>
          <cx:pt idx="103320">5</cx:pt>
          <cx:pt idx="103321">2</cx:pt>
          <cx:pt idx="103322">5</cx:pt>
          <cx:pt idx="103323">5</cx:pt>
          <cx:pt idx="103324">3</cx:pt>
          <cx:pt idx="103325">4</cx:pt>
          <cx:pt idx="103326">5</cx:pt>
          <cx:pt idx="103327">4</cx:pt>
          <cx:pt idx="103328">5</cx:pt>
          <cx:pt idx="103329">1</cx:pt>
          <cx:pt idx="103330">4</cx:pt>
          <cx:pt idx="103331">5</cx:pt>
          <cx:pt idx="103332">1</cx:pt>
          <cx:pt idx="103333">5</cx:pt>
          <cx:pt idx="103334">5</cx:pt>
          <cx:pt idx="103335">4</cx:pt>
          <cx:pt idx="103336">2</cx:pt>
          <cx:pt idx="103337">2</cx:pt>
          <cx:pt idx="103338">5</cx:pt>
          <cx:pt idx="103339">3</cx:pt>
          <cx:pt idx="103340">5</cx:pt>
          <cx:pt idx="103341">1</cx:pt>
          <cx:pt idx="103342">4</cx:pt>
          <cx:pt idx="103343">2</cx:pt>
          <cx:pt idx="103344">2</cx:pt>
          <cx:pt idx="103345">4</cx:pt>
          <cx:pt idx="103346">2</cx:pt>
          <cx:pt idx="103347">4</cx:pt>
          <cx:pt idx="103348">5</cx:pt>
          <cx:pt idx="103349">4</cx:pt>
          <cx:pt idx="103350">3</cx:pt>
          <cx:pt idx="103351">4</cx:pt>
          <cx:pt idx="103352">3</cx:pt>
          <cx:pt idx="103353">1</cx:pt>
          <cx:pt idx="103354">5</cx:pt>
          <cx:pt idx="103355">1</cx:pt>
          <cx:pt idx="103356">4</cx:pt>
          <cx:pt idx="103357">5</cx:pt>
          <cx:pt idx="103358">5</cx:pt>
          <cx:pt idx="103359">5</cx:pt>
          <cx:pt idx="103360">5</cx:pt>
          <cx:pt idx="103361">5</cx:pt>
          <cx:pt idx="103362">4</cx:pt>
          <cx:pt idx="103363">3</cx:pt>
          <cx:pt idx="103364">4</cx:pt>
          <cx:pt idx="103365">1</cx:pt>
          <cx:pt idx="103366">2</cx:pt>
          <cx:pt idx="103367">2</cx:pt>
          <cx:pt idx="103368">5</cx:pt>
          <cx:pt idx="103369">2</cx:pt>
          <cx:pt idx="103370">4</cx:pt>
          <cx:pt idx="103371">5</cx:pt>
          <cx:pt idx="103372">4</cx:pt>
          <cx:pt idx="103373">4</cx:pt>
          <cx:pt idx="103374">1</cx:pt>
          <cx:pt idx="103375">4</cx:pt>
          <cx:pt idx="103376">1</cx:pt>
          <cx:pt idx="103377">5</cx:pt>
          <cx:pt idx="103378">4</cx:pt>
          <cx:pt idx="103379">4</cx:pt>
          <cx:pt idx="103380">5</cx:pt>
          <cx:pt idx="103381">1</cx:pt>
          <cx:pt idx="103382">1</cx:pt>
          <cx:pt idx="103383">3</cx:pt>
          <cx:pt idx="103384">5</cx:pt>
          <cx:pt idx="103385">2</cx:pt>
          <cx:pt idx="103386">4</cx:pt>
          <cx:pt idx="103387">3</cx:pt>
          <cx:pt idx="103388">3</cx:pt>
          <cx:pt idx="103389">3</cx:pt>
          <cx:pt idx="103390">3</cx:pt>
          <cx:pt idx="103391">2</cx:pt>
          <cx:pt idx="103392">1</cx:pt>
          <cx:pt idx="103393">1</cx:pt>
          <cx:pt idx="103394">3</cx:pt>
          <cx:pt idx="103395">2</cx:pt>
          <cx:pt idx="103396">3</cx:pt>
          <cx:pt idx="103397">5</cx:pt>
          <cx:pt idx="103398">4</cx:pt>
          <cx:pt idx="103399">1</cx:pt>
          <cx:pt idx="103400">4</cx:pt>
          <cx:pt idx="103401">1</cx:pt>
          <cx:pt idx="103402">5</cx:pt>
          <cx:pt idx="103403">5</cx:pt>
          <cx:pt idx="103404">2</cx:pt>
          <cx:pt idx="103405">2</cx:pt>
          <cx:pt idx="103406">4</cx:pt>
          <cx:pt idx="103407">2</cx:pt>
          <cx:pt idx="103408">3</cx:pt>
          <cx:pt idx="103409">4</cx:pt>
          <cx:pt idx="103410">3</cx:pt>
          <cx:pt idx="103411">5</cx:pt>
          <cx:pt idx="103412">4</cx:pt>
          <cx:pt idx="103413">4</cx:pt>
          <cx:pt idx="103414">4</cx:pt>
          <cx:pt idx="103415">1</cx:pt>
          <cx:pt idx="103416">3</cx:pt>
          <cx:pt idx="103417">4</cx:pt>
          <cx:pt idx="103418">5</cx:pt>
          <cx:pt idx="103419">4</cx:pt>
          <cx:pt idx="103420">2</cx:pt>
          <cx:pt idx="103421">3</cx:pt>
          <cx:pt idx="103422">3</cx:pt>
          <cx:pt idx="103423">2</cx:pt>
          <cx:pt idx="103424">1</cx:pt>
          <cx:pt idx="103425">2</cx:pt>
          <cx:pt idx="103426">4</cx:pt>
          <cx:pt idx="103427">2</cx:pt>
          <cx:pt idx="103428">5</cx:pt>
          <cx:pt idx="103429">4</cx:pt>
          <cx:pt idx="103430">2</cx:pt>
          <cx:pt idx="103431">5</cx:pt>
          <cx:pt idx="103432">4</cx:pt>
          <cx:pt idx="103433">4</cx:pt>
          <cx:pt idx="103434">4</cx:pt>
          <cx:pt idx="103435">5</cx:pt>
          <cx:pt idx="103436">2</cx:pt>
          <cx:pt idx="103437">3</cx:pt>
          <cx:pt idx="103438">2</cx:pt>
          <cx:pt idx="103439">1</cx:pt>
          <cx:pt idx="103440">4</cx:pt>
          <cx:pt idx="103441">4</cx:pt>
          <cx:pt idx="103442">5</cx:pt>
          <cx:pt idx="103443">4</cx:pt>
          <cx:pt idx="103444">4</cx:pt>
          <cx:pt idx="103445">1</cx:pt>
          <cx:pt idx="103446">5</cx:pt>
          <cx:pt idx="103447">2</cx:pt>
          <cx:pt idx="103448">4</cx:pt>
          <cx:pt idx="103449">1</cx:pt>
          <cx:pt idx="103450">3</cx:pt>
          <cx:pt idx="103451">5</cx:pt>
          <cx:pt idx="103452">4</cx:pt>
          <cx:pt idx="103453">1</cx:pt>
          <cx:pt idx="103454">4</cx:pt>
          <cx:pt idx="103455">2</cx:pt>
          <cx:pt idx="103456">5</cx:pt>
          <cx:pt idx="103457">5</cx:pt>
          <cx:pt idx="103458">5</cx:pt>
          <cx:pt idx="103459">4</cx:pt>
          <cx:pt idx="103460">5</cx:pt>
          <cx:pt idx="103461">5</cx:pt>
          <cx:pt idx="103462">2</cx:pt>
          <cx:pt idx="103463">4</cx:pt>
          <cx:pt idx="103464">4</cx:pt>
          <cx:pt idx="103465">5</cx:pt>
          <cx:pt idx="103466">4</cx:pt>
          <cx:pt idx="103467">5</cx:pt>
          <cx:pt idx="103468">1</cx:pt>
          <cx:pt idx="103469">4</cx:pt>
          <cx:pt idx="103470">5</cx:pt>
          <cx:pt idx="103471">4</cx:pt>
          <cx:pt idx="103472">1</cx:pt>
          <cx:pt idx="103473">4</cx:pt>
          <cx:pt idx="103474">4</cx:pt>
          <cx:pt idx="103475">4</cx:pt>
          <cx:pt idx="103476">2</cx:pt>
          <cx:pt idx="103477">1</cx:pt>
          <cx:pt idx="103478">4</cx:pt>
          <cx:pt idx="103479">5</cx:pt>
          <cx:pt idx="103480">2</cx:pt>
          <cx:pt idx="103481">1</cx:pt>
          <cx:pt idx="103482">4</cx:pt>
          <cx:pt idx="103483">5</cx:pt>
          <cx:pt idx="103484">5</cx:pt>
          <cx:pt idx="103485">3</cx:pt>
          <cx:pt idx="103486">4</cx:pt>
          <cx:pt idx="103487">3</cx:pt>
          <cx:pt idx="103488">3</cx:pt>
          <cx:pt idx="103489">3</cx:pt>
          <cx:pt idx="103490">2</cx:pt>
          <cx:pt idx="103491">2</cx:pt>
          <cx:pt idx="103492">5</cx:pt>
          <cx:pt idx="103493">3</cx:pt>
          <cx:pt idx="103494">3</cx:pt>
          <cx:pt idx="103495">4</cx:pt>
          <cx:pt idx="103496">3</cx:pt>
          <cx:pt idx="103497">5</cx:pt>
          <cx:pt idx="103498">4</cx:pt>
          <cx:pt idx="103499">3</cx:pt>
          <cx:pt idx="103500">3</cx:pt>
          <cx:pt idx="103501">3</cx:pt>
          <cx:pt idx="103502">1</cx:pt>
          <cx:pt idx="103503">1</cx:pt>
          <cx:pt idx="103504">3</cx:pt>
          <cx:pt idx="103505">4</cx:pt>
          <cx:pt idx="103506">5</cx:pt>
          <cx:pt idx="103507">2</cx:pt>
          <cx:pt idx="103508">5</cx:pt>
          <cx:pt idx="103509">4</cx:pt>
          <cx:pt idx="103510">4</cx:pt>
          <cx:pt idx="103511">5</cx:pt>
          <cx:pt idx="103512">4</cx:pt>
          <cx:pt idx="103513">2</cx:pt>
          <cx:pt idx="103514">5</cx:pt>
          <cx:pt idx="103515">4</cx:pt>
          <cx:pt idx="103516">5</cx:pt>
          <cx:pt idx="103517">1</cx:pt>
          <cx:pt idx="103518">2</cx:pt>
          <cx:pt idx="103519">4</cx:pt>
          <cx:pt idx="103520">2</cx:pt>
          <cx:pt idx="103521">5</cx:pt>
          <cx:pt idx="103522">3</cx:pt>
          <cx:pt idx="103523">4</cx:pt>
          <cx:pt idx="103524">4</cx:pt>
          <cx:pt idx="103525">4</cx:pt>
          <cx:pt idx="103526">5</cx:pt>
          <cx:pt idx="103527">1</cx:pt>
          <cx:pt idx="103528">4</cx:pt>
          <cx:pt idx="103529">2</cx:pt>
          <cx:pt idx="103530">4</cx:pt>
          <cx:pt idx="103531">4</cx:pt>
          <cx:pt idx="103532">3</cx:pt>
          <cx:pt idx="103533">5</cx:pt>
          <cx:pt idx="103534">4</cx:pt>
          <cx:pt idx="103535">2</cx:pt>
          <cx:pt idx="103536">4</cx:pt>
          <cx:pt idx="103537">3</cx:pt>
          <cx:pt idx="103538">2</cx:pt>
          <cx:pt idx="103539">4</cx:pt>
          <cx:pt idx="103540">4</cx:pt>
          <cx:pt idx="103541">1</cx:pt>
          <cx:pt idx="103542">3</cx:pt>
          <cx:pt idx="103543">3</cx:pt>
          <cx:pt idx="103544">4</cx:pt>
          <cx:pt idx="103545">4</cx:pt>
          <cx:pt idx="103546">4</cx:pt>
          <cx:pt idx="103547">2</cx:pt>
          <cx:pt idx="103548">3</cx:pt>
          <cx:pt idx="103549">2</cx:pt>
          <cx:pt idx="103550">1</cx:pt>
          <cx:pt idx="103551">5</cx:pt>
          <cx:pt idx="103552">2</cx:pt>
          <cx:pt idx="103553">4</cx:pt>
          <cx:pt idx="103554">2</cx:pt>
          <cx:pt idx="103555">5</cx:pt>
          <cx:pt idx="103556">2</cx:pt>
          <cx:pt idx="103557">5</cx:pt>
          <cx:pt idx="103558">4</cx:pt>
          <cx:pt idx="103559">5</cx:pt>
          <cx:pt idx="103560">5</cx:pt>
          <cx:pt idx="103561">2</cx:pt>
          <cx:pt idx="103562">1</cx:pt>
          <cx:pt idx="103563">4</cx:pt>
          <cx:pt idx="103564">2</cx:pt>
          <cx:pt idx="103565">5</cx:pt>
          <cx:pt idx="103566">1</cx:pt>
          <cx:pt idx="103567">2</cx:pt>
          <cx:pt idx="103568">1</cx:pt>
          <cx:pt idx="103569">5</cx:pt>
          <cx:pt idx="103570">2</cx:pt>
          <cx:pt idx="103571">3</cx:pt>
          <cx:pt idx="103572">4</cx:pt>
          <cx:pt idx="103573">4</cx:pt>
          <cx:pt idx="103574">5</cx:pt>
          <cx:pt idx="103575">5</cx:pt>
          <cx:pt idx="103576">5</cx:pt>
          <cx:pt idx="103577">4</cx:pt>
          <cx:pt idx="103578">5</cx:pt>
          <cx:pt idx="103579">4</cx:pt>
          <cx:pt idx="103580">5</cx:pt>
          <cx:pt idx="103581">3</cx:pt>
          <cx:pt idx="103582">2</cx:pt>
          <cx:pt idx="103583">3</cx:pt>
          <cx:pt idx="103584">4</cx:pt>
          <cx:pt idx="103585">1</cx:pt>
          <cx:pt idx="103586">5</cx:pt>
          <cx:pt idx="103587">4</cx:pt>
          <cx:pt idx="103588">3</cx:pt>
          <cx:pt idx="103589">2</cx:pt>
          <cx:pt idx="103590">4</cx:pt>
          <cx:pt idx="103591">2</cx:pt>
          <cx:pt idx="103592">3</cx:pt>
          <cx:pt idx="103593">2</cx:pt>
          <cx:pt idx="103594">2</cx:pt>
          <cx:pt idx="103595">1</cx:pt>
          <cx:pt idx="103596">5</cx:pt>
          <cx:pt idx="103597">5</cx:pt>
          <cx:pt idx="103598">4</cx:pt>
          <cx:pt idx="103599">3</cx:pt>
          <cx:pt idx="103600">4</cx:pt>
          <cx:pt idx="103601">3</cx:pt>
          <cx:pt idx="103602">5</cx:pt>
          <cx:pt idx="103603">4</cx:pt>
          <cx:pt idx="103604">5</cx:pt>
          <cx:pt idx="103605">5</cx:pt>
          <cx:pt idx="103606">3</cx:pt>
          <cx:pt idx="103607">3</cx:pt>
          <cx:pt idx="103608">1</cx:pt>
          <cx:pt idx="103609">2</cx:pt>
          <cx:pt idx="103610">2</cx:pt>
          <cx:pt idx="103611">2</cx:pt>
          <cx:pt idx="103612">5</cx:pt>
          <cx:pt idx="103613">2</cx:pt>
          <cx:pt idx="103614">3</cx:pt>
          <cx:pt idx="103615">3</cx:pt>
          <cx:pt idx="103616">2</cx:pt>
          <cx:pt idx="103617">3</cx:pt>
          <cx:pt idx="103618">3</cx:pt>
          <cx:pt idx="103619">1</cx:pt>
          <cx:pt idx="103620">4</cx:pt>
          <cx:pt idx="103621">2</cx:pt>
          <cx:pt idx="103622">1</cx:pt>
          <cx:pt idx="103623">2</cx:pt>
          <cx:pt idx="103624">4</cx:pt>
          <cx:pt idx="103625">4</cx:pt>
          <cx:pt idx="103626">4</cx:pt>
          <cx:pt idx="103627">4</cx:pt>
          <cx:pt idx="103628">5</cx:pt>
          <cx:pt idx="103629">1</cx:pt>
          <cx:pt idx="103630">4</cx:pt>
          <cx:pt idx="103631">5</cx:pt>
          <cx:pt idx="103632">5</cx:pt>
          <cx:pt idx="103633">5</cx:pt>
          <cx:pt idx="103634">5</cx:pt>
          <cx:pt idx="103635">5</cx:pt>
          <cx:pt idx="103636">3</cx:pt>
          <cx:pt idx="103637">5</cx:pt>
          <cx:pt idx="103638">5</cx:pt>
          <cx:pt idx="103639">4</cx:pt>
          <cx:pt idx="103640">3</cx:pt>
          <cx:pt idx="103641">2</cx:pt>
          <cx:pt idx="103642">2</cx:pt>
          <cx:pt idx="103643">5</cx:pt>
          <cx:pt idx="103644">3</cx:pt>
          <cx:pt idx="103645">3</cx:pt>
          <cx:pt idx="103646">2</cx:pt>
          <cx:pt idx="103647">1</cx:pt>
          <cx:pt idx="103648">1</cx:pt>
          <cx:pt idx="103649">4</cx:pt>
          <cx:pt idx="103650">2</cx:pt>
          <cx:pt idx="103651">4</cx:pt>
          <cx:pt idx="103652">1</cx:pt>
          <cx:pt idx="103653">4</cx:pt>
          <cx:pt idx="103654">1</cx:pt>
          <cx:pt idx="103655">1</cx:pt>
          <cx:pt idx="103656">3</cx:pt>
          <cx:pt idx="103657">4</cx:pt>
          <cx:pt idx="103658">5</cx:pt>
          <cx:pt idx="103659">2</cx:pt>
          <cx:pt idx="103660">3</cx:pt>
          <cx:pt idx="103661">4</cx:pt>
          <cx:pt idx="103662">3</cx:pt>
          <cx:pt idx="103663">1</cx:pt>
          <cx:pt idx="103664">5</cx:pt>
          <cx:pt idx="103665">3</cx:pt>
          <cx:pt idx="103666">4</cx:pt>
          <cx:pt idx="103667">4</cx:pt>
          <cx:pt idx="103668">2</cx:pt>
          <cx:pt idx="103669">4</cx:pt>
          <cx:pt idx="103670">3</cx:pt>
          <cx:pt idx="103671">4</cx:pt>
          <cx:pt idx="103672">4</cx:pt>
          <cx:pt idx="103673">5</cx:pt>
          <cx:pt idx="103674">2</cx:pt>
          <cx:pt idx="103675">3</cx:pt>
          <cx:pt idx="103676">3</cx:pt>
          <cx:pt idx="103677">4</cx:pt>
          <cx:pt idx="103678">3</cx:pt>
          <cx:pt idx="103679">4</cx:pt>
          <cx:pt idx="103680">1</cx:pt>
          <cx:pt idx="103681">4</cx:pt>
          <cx:pt idx="103682">5</cx:pt>
          <cx:pt idx="103683">1</cx:pt>
          <cx:pt idx="103684">4</cx:pt>
          <cx:pt idx="103685">5</cx:pt>
          <cx:pt idx="103686">4</cx:pt>
          <cx:pt idx="103687">1</cx:pt>
          <cx:pt idx="103688">4</cx:pt>
          <cx:pt idx="103689">1</cx:pt>
          <cx:pt idx="103690">2</cx:pt>
          <cx:pt idx="103691">3</cx:pt>
          <cx:pt idx="103692">1</cx:pt>
          <cx:pt idx="103693">3</cx:pt>
          <cx:pt idx="103694">1</cx:pt>
          <cx:pt idx="103695">5</cx:pt>
          <cx:pt idx="103696">3</cx:pt>
          <cx:pt idx="103697">5</cx:pt>
          <cx:pt idx="103698">4</cx:pt>
          <cx:pt idx="103699">5</cx:pt>
          <cx:pt idx="103700">1</cx:pt>
          <cx:pt idx="103701">3</cx:pt>
          <cx:pt idx="103702">2</cx:pt>
          <cx:pt idx="103703">4</cx:pt>
          <cx:pt idx="103704">3</cx:pt>
          <cx:pt idx="103705">4</cx:pt>
          <cx:pt idx="103706">4</cx:pt>
          <cx:pt idx="103707">4</cx:pt>
          <cx:pt idx="103708">4</cx:pt>
          <cx:pt idx="103709">5</cx:pt>
          <cx:pt idx="103710">4</cx:pt>
          <cx:pt idx="103711">5</cx:pt>
          <cx:pt idx="103712">4</cx:pt>
          <cx:pt idx="103713">4</cx:pt>
          <cx:pt idx="103714">3</cx:pt>
          <cx:pt idx="103715">2</cx:pt>
          <cx:pt idx="103716">2</cx:pt>
          <cx:pt idx="103717">5</cx:pt>
          <cx:pt idx="103718">1</cx:pt>
          <cx:pt idx="103719">5</cx:pt>
          <cx:pt idx="103720">4</cx:pt>
          <cx:pt idx="103721">4</cx:pt>
          <cx:pt idx="103722">3</cx:pt>
          <cx:pt idx="103723">5</cx:pt>
          <cx:pt idx="103724">3</cx:pt>
          <cx:pt idx="103725">2</cx:pt>
          <cx:pt idx="103726">3</cx:pt>
          <cx:pt idx="103727">3</cx:pt>
          <cx:pt idx="103728">3</cx:pt>
          <cx:pt idx="103729">4</cx:pt>
          <cx:pt idx="103730">2</cx:pt>
          <cx:pt idx="103731">5</cx:pt>
          <cx:pt idx="103732">5</cx:pt>
          <cx:pt idx="103733">1</cx:pt>
          <cx:pt idx="103734">1</cx:pt>
          <cx:pt idx="103735">2</cx:pt>
          <cx:pt idx="103736">4</cx:pt>
          <cx:pt idx="103737">5</cx:pt>
          <cx:pt idx="103738">5</cx:pt>
          <cx:pt idx="103739">5</cx:pt>
          <cx:pt idx="103740">4</cx:pt>
          <cx:pt idx="103741">2</cx:pt>
          <cx:pt idx="103742">1</cx:pt>
          <cx:pt idx="103743">5</cx:pt>
          <cx:pt idx="103744">4</cx:pt>
          <cx:pt idx="103745">2</cx:pt>
          <cx:pt idx="103746">5</cx:pt>
          <cx:pt idx="103747">4</cx:pt>
          <cx:pt idx="103748">4</cx:pt>
          <cx:pt idx="103749">1</cx:pt>
          <cx:pt idx="103750">5</cx:pt>
          <cx:pt idx="103751">3</cx:pt>
          <cx:pt idx="103752">5</cx:pt>
          <cx:pt idx="103753">4</cx:pt>
          <cx:pt idx="103754">2</cx:pt>
          <cx:pt idx="103755">4</cx:pt>
          <cx:pt idx="103756">4</cx:pt>
          <cx:pt idx="103757">4</cx:pt>
          <cx:pt idx="103758">3</cx:pt>
          <cx:pt idx="103759">2</cx:pt>
          <cx:pt idx="103760">5</cx:pt>
          <cx:pt idx="103761">4</cx:pt>
          <cx:pt idx="103762">3</cx:pt>
          <cx:pt idx="103763">3</cx:pt>
          <cx:pt idx="103764">4</cx:pt>
          <cx:pt idx="103765">5</cx:pt>
          <cx:pt idx="103766">1</cx:pt>
          <cx:pt idx="103767">5</cx:pt>
          <cx:pt idx="103768">4</cx:pt>
          <cx:pt idx="103769">4</cx:pt>
          <cx:pt idx="103770">4</cx:pt>
          <cx:pt idx="103771">5</cx:pt>
          <cx:pt idx="103772">2</cx:pt>
          <cx:pt idx="103773">5</cx:pt>
          <cx:pt idx="103774">2</cx:pt>
          <cx:pt idx="103775">4</cx:pt>
          <cx:pt idx="103776">4</cx:pt>
          <cx:pt idx="103777">5</cx:pt>
          <cx:pt idx="103778">5</cx:pt>
          <cx:pt idx="103779">2</cx:pt>
          <cx:pt idx="103780">4</cx:pt>
          <cx:pt idx="103781">5</cx:pt>
          <cx:pt idx="103782">5</cx:pt>
          <cx:pt idx="103783">3</cx:pt>
          <cx:pt idx="103784">3</cx:pt>
          <cx:pt idx="103785">5</cx:pt>
          <cx:pt idx="103786">3</cx:pt>
          <cx:pt idx="103787">4</cx:pt>
          <cx:pt idx="103788">5</cx:pt>
          <cx:pt idx="103789">4</cx:pt>
          <cx:pt idx="103790">5</cx:pt>
          <cx:pt idx="103791">2</cx:pt>
          <cx:pt idx="103792">5</cx:pt>
          <cx:pt idx="103793">4</cx:pt>
          <cx:pt idx="103794">4</cx:pt>
          <cx:pt idx="103795">5</cx:pt>
          <cx:pt idx="103796">3</cx:pt>
          <cx:pt idx="103797">4</cx:pt>
          <cx:pt idx="103798">2</cx:pt>
          <cx:pt idx="103799">3</cx:pt>
          <cx:pt idx="103800">4</cx:pt>
          <cx:pt idx="103801">5</cx:pt>
          <cx:pt idx="103802">4</cx:pt>
          <cx:pt idx="103803">2</cx:pt>
          <cx:pt idx="103804">3</cx:pt>
          <cx:pt idx="103805">3</cx:pt>
          <cx:pt idx="103806">2</cx:pt>
          <cx:pt idx="103807">5</cx:pt>
          <cx:pt idx="103808">1</cx:pt>
          <cx:pt idx="103809">4</cx:pt>
          <cx:pt idx="103810">4</cx:pt>
          <cx:pt idx="103811">4</cx:pt>
          <cx:pt idx="103812">5</cx:pt>
          <cx:pt idx="103813">4</cx:pt>
          <cx:pt idx="103814">2</cx:pt>
          <cx:pt idx="103815">4</cx:pt>
          <cx:pt idx="103816">4</cx:pt>
          <cx:pt idx="103817">2</cx:pt>
          <cx:pt idx="103818">4</cx:pt>
          <cx:pt idx="103819">5</cx:pt>
          <cx:pt idx="103820">1</cx:pt>
          <cx:pt idx="103821">4</cx:pt>
          <cx:pt idx="103822">4</cx:pt>
          <cx:pt idx="103823">3</cx:pt>
          <cx:pt idx="103824">5</cx:pt>
          <cx:pt idx="103825">5</cx:pt>
          <cx:pt idx="103826">3</cx:pt>
          <cx:pt idx="103827">4</cx:pt>
          <cx:pt idx="103828">5</cx:pt>
          <cx:pt idx="103829">5</cx:pt>
          <cx:pt idx="103830">4</cx:pt>
          <cx:pt idx="103831">1</cx:pt>
          <cx:pt idx="103832">2</cx:pt>
          <cx:pt idx="103833">2</cx:pt>
          <cx:pt idx="103834">2</cx:pt>
          <cx:pt idx="103835">4</cx:pt>
          <cx:pt idx="103836">4</cx:pt>
          <cx:pt idx="103837">2</cx:pt>
          <cx:pt idx="103838">4</cx:pt>
          <cx:pt idx="103839">1</cx:pt>
          <cx:pt idx="103840">5</cx:pt>
          <cx:pt idx="103841">3</cx:pt>
          <cx:pt idx="103842">5</cx:pt>
          <cx:pt idx="103843">5</cx:pt>
          <cx:pt idx="103844">2</cx:pt>
          <cx:pt idx="103845">3</cx:pt>
          <cx:pt idx="103846">5</cx:pt>
          <cx:pt idx="103847">5</cx:pt>
          <cx:pt idx="103848">4</cx:pt>
          <cx:pt idx="103849">2</cx:pt>
          <cx:pt idx="103850">3</cx:pt>
          <cx:pt idx="103851">5</cx:pt>
          <cx:pt idx="103852">3</cx:pt>
          <cx:pt idx="103853">4</cx:pt>
          <cx:pt idx="103854">5</cx:pt>
          <cx:pt idx="103855">2</cx:pt>
          <cx:pt idx="103856">1</cx:pt>
          <cx:pt idx="103857">5</cx:pt>
          <cx:pt idx="103858">1</cx:pt>
          <cx:pt idx="103859">4</cx:pt>
          <cx:pt idx="103860">1</cx:pt>
          <cx:pt idx="103861">4</cx:pt>
          <cx:pt idx="103862">2</cx:pt>
          <cx:pt idx="103863">3</cx:pt>
          <cx:pt idx="103864">2</cx:pt>
          <cx:pt idx="103865">4</cx:pt>
          <cx:pt idx="103866">3</cx:pt>
          <cx:pt idx="103867">3</cx:pt>
          <cx:pt idx="103868">3</cx:pt>
          <cx:pt idx="103869">1</cx:pt>
          <cx:pt idx="103870">4</cx:pt>
          <cx:pt idx="103871">4</cx:pt>
          <cx:pt idx="103872">3</cx:pt>
          <cx:pt idx="103873">1</cx:pt>
          <cx:pt idx="103874">4</cx:pt>
          <cx:pt idx="103875">4</cx:pt>
          <cx:pt idx="103876">5</cx:pt>
          <cx:pt idx="103877">5</cx:pt>
          <cx:pt idx="103878">4</cx:pt>
          <cx:pt idx="103879">4</cx:pt>
          <cx:pt idx="103880">5</cx:pt>
          <cx:pt idx="103881">5</cx:pt>
          <cx:pt idx="103882">4</cx:pt>
          <cx:pt idx="103883">5</cx:pt>
          <cx:pt idx="103884">5</cx:pt>
          <cx:pt idx="103885">4</cx:pt>
          <cx:pt idx="103886">5</cx:pt>
          <cx:pt idx="103887">4</cx:pt>
          <cx:pt idx="103888">3</cx:pt>
          <cx:pt idx="103889">5</cx:pt>
          <cx:pt idx="103890">4</cx:pt>
          <cx:pt idx="103891">5</cx:pt>
          <cx:pt idx="103892">3</cx:pt>
          <cx:pt idx="103893">4</cx:pt>
          <cx:pt idx="103894">5</cx:pt>
          <cx:pt idx="103895">1</cx:pt>
          <cx:pt idx="103896">4</cx:pt>
          <cx:pt idx="103897">4</cx:pt>
          <cx:pt idx="103898">2</cx:pt>
          <cx:pt idx="103899">2</cx:pt>
          <cx:pt idx="103900">5</cx:pt>
          <cx:pt idx="103901">5</cx:pt>
          <cx:pt idx="103902">1</cx:pt>
          <cx:pt idx="103903">1</cx:pt>
        </cx:lvl>
      </cx:numDim>
    </cx:data>
  </cx:chartData>
  <cx:chart>
    <cx:title pos="t" align="ctr" overlay="0">
      <cx:tx>
        <cx:txData>
          <cx:v>Seat Comfort</cx:v>
        </cx:txData>
      </cx:tx>
      <cx:txPr>
        <a:bodyPr spcFirstLastPara="1" vertOverflow="ellipsis" horzOverflow="overflow" wrap="square" lIns="0" tIns="0" rIns="0" bIns="0" anchor="ctr" anchorCtr="1"/>
        <a:lstStyle/>
        <a:p>
          <a:pPr algn="ctr" rtl="0">
            <a:defRPr/>
          </a:pPr>
          <a:r>
            <a:rPr lang="en-US" sz="1400" b="0" i="0" u="none" strike="noStrike" baseline="0" dirty="0">
              <a:solidFill>
                <a:prstClr val="black">
                  <a:lumMod val="65000"/>
                  <a:lumOff val="35000"/>
                </a:prstClr>
              </a:solidFill>
              <a:latin typeface="Arial" panose="020B0604020202020204" pitchFamily="34" charset="0"/>
            </a:rPr>
            <a:t>Seat Comfort</a:t>
          </a:r>
        </a:p>
      </cx:txPr>
    </cx:title>
    <cx:plotArea>
      <cx:plotAreaRegion>
        <cx:series layoutId="boxWhisker" uniqueId="{ED667824-2C86-4F19-85C5-4CC0C162FA34}" formatIdx="0">
          <cx:tx>
            <cx:txData>
              <cx:f/>
              <cx:v>Seat comfort</cx:v>
            </cx:txData>
          </cx:tx>
          <cx:spPr>
            <a:solidFill>
              <a:schemeClr val="tx2">
                <a:lumMod val="40000"/>
                <a:lumOff val="60000"/>
              </a:schemeClr>
            </a:solidFill>
            <a:ln>
              <a:solidFill>
                <a:schemeClr val="tx1"/>
              </a:solidFill>
            </a:ln>
          </cx:spPr>
          <cx:dataId val="0"/>
          <cx:layoutPr>
            <cx:visibility meanLine="0" meanMarker="1" nonoutliers="0" outliers="1"/>
            <cx:statistics quartileMethod="inclusive"/>
          </cx:layoutPr>
        </cx:series>
      </cx:plotAreaRegion>
      <cx:axis id="0">
        <cx:catScaling gapWidth="1"/>
        <cx:tickLabels/>
        <cx:spPr>
          <a:ln>
            <a:solidFill>
              <a:schemeClr val="tx1"/>
            </a:solidFill>
          </a:ln>
        </cx:spPr>
      </cx:axis>
      <cx:axis id="1">
        <cx:valScaling/>
        <cx:tickLabels/>
        <cx:spPr>
          <a:ln>
            <a:solidFill>
              <a:schemeClr val="tx1"/>
            </a:solidFill>
          </a:ln>
        </cx:spPr>
      </cx:axis>
    </cx:plotArea>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rain!$AB$2:$AB$103905</cx:f>
        <cx:lvl ptCount="103904">
          <cx:pt idx="0">0</cx:pt>
          <cx:pt idx="1">0</cx:pt>
          <cx:pt idx="2">1</cx:pt>
          <cx:pt idx="3">0</cx:pt>
          <cx:pt idx="4">1</cx:pt>
          <cx:pt idx="5">0</cx:pt>
          <cx:pt idx="6">0</cx:pt>
          <cx:pt idx="7">1</cx:pt>
          <cx:pt idx="8">0</cx:pt>
          <cx:pt idx="9">0</cx:pt>
          <cx:pt idx="10">0</cx:pt>
          <cx:pt idx="11">0</cx:pt>
          <cx:pt idx="12">0</cx:pt>
          <cx:pt idx="13">1</cx:pt>
          <cx:pt idx="14">0</cx:pt>
          <cx:pt idx="15">0</cx:pt>
          <cx:pt idx="16">1</cx:pt>
          <cx:pt idx="17">1</cx:pt>
          <cx:pt idx="18">1</cx:pt>
          <cx:pt idx="19">0</cx:pt>
          <cx:pt idx="20">0</cx:pt>
          <cx:pt idx="21">0</cx:pt>
          <cx:pt idx="22">0</cx:pt>
          <cx:pt idx="23">0</cx:pt>
          <cx:pt idx="24">1</cx:pt>
          <cx:pt idx="25">0</cx:pt>
          <cx:pt idx="26">1</cx:pt>
          <cx:pt idx="27">1</cx:pt>
          <cx:pt idx="28">0</cx:pt>
          <cx:pt idx="29">0</cx:pt>
          <cx:pt idx="30">1</cx:pt>
          <cx:pt idx="31">0</cx:pt>
          <cx:pt idx="32">1</cx:pt>
          <cx:pt idx="33">0</cx:pt>
          <cx:pt idx="34">0</cx:pt>
          <cx:pt idx="35">0</cx:pt>
          <cx:pt idx="36">0</cx:pt>
          <cx:pt idx="37">0</cx:pt>
          <cx:pt idx="38">1</cx:pt>
          <cx:pt idx="39">0</cx:pt>
          <cx:pt idx="40">1</cx:pt>
          <cx:pt idx="41">0</cx:pt>
          <cx:pt idx="42">1</cx:pt>
          <cx:pt idx="43">1</cx:pt>
          <cx:pt idx="44">1</cx:pt>
          <cx:pt idx="45">1</cx:pt>
          <cx:pt idx="46">0</cx:pt>
          <cx:pt idx="47">0</cx:pt>
          <cx:pt idx="48">1</cx:pt>
          <cx:pt idx="49">0</cx:pt>
          <cx:pt idx="50">0</cx:pt>
          <cx:pt idx="51">1</cx:pt>
          <cx:pt idx="52">1</cx:pt>
          <cx:pt idx="53">0</cx:pt>
          <cx:pt idx="54">0</cx:pt>
          <cx:pt idx="55">1</cx:pt>
          <cx:pt idx="56">1</cx:pt>
          <cx:pt idx="57">1</cx:pt>
          <cx:pt idx="58">0</cx:pt>
          <cx:pt idx="59">0</cx:pt>
          <cx:pt idx="60">0</cx:pt>
          <cx:pt idx="61">1</cx:pt>
          <cx:pt idx="62">0</cx:pt>
          <cx:pt idx="63">1</cx:pt>
          <cx:pt idx="64">1</cx:pt>
          <cx:pt idx="65">1</cx:pt>
          <cx:pt idx="66">0</cx:pt>
          <cx:pt idx="67">1</cx:pt>
          <cx:pt idx="68">0</cx:pt>
          <cx:pt idx="69">1</cx:pt>
          <cx:pt idx="70">1</cx:pt>
          <cx:pt idx="71">0</cx:pt>
          <cx:pt idx="72">0</cx:pt>
          <cx:pt idx="73">0</cx:pt>
          <cx:pt idx="74">0</cx:pt>
          <cx:pt idx="75">1</cx:pt>
          <cx:pt idx="76">0</cx:pt>
          <cx:pt idx="77">1</cx:pt>
          <cx:pt idx="78">0</cx:pt>
          <cx:pt idx="79">0</cx:pt>
          <cx:pt idx="80">1</cx:pt>
          <cx:pt idx="81">0</cx:pt>
          <cx:pt idx="82">0</cx:pt>
          <cx:pt idx="83">1</cx:pt>
          <cx:pt idx="84">1</cx:pt>
          <cx:pt idx="85">1</cx:pt>
          <cx:pt idx="86">0</cx:pt>
          <cx:pt idx="87">0</cx:pt>
          <cx:pt idx="88">1</cx:pt>
          <cx:pt idx="89">0</cx:pt>
          <cx:pt idx="90">1</cx:pt>
          <cx:pt idx="91">1</cx:pt>
          <cx:pt idx="92">0</cx:pt>
          <cx:pt idx="93">1</cx:pt>
          <cx:pt idx="94">1</cx:pt>
          <cx:pt idx="95">1</cx:pt>
          <cx:pt idx="96">0</cx:pt>
          <cx:pt idx="97">0</cx:pt>
          <cx:pt idx="98">0</cx:pt>
          <cx:pt idx="99">1</cx:pt>
          <cx:pt idx="100">0</cx:pt>
          <cx:pt idx="101">1</cx:pt>
          <cx:pt idx="102">0</cx:pt>
          <cx:pt idx="103">0</cx:pt>
          <cx:pt idx="104">1</cx:pt>
          <cx:pt idx="105">0</cx:pt>
          <cx:pt idx="106">0</cx:pt>
          <cx:pt idx="107">0</cx:pt>
          <cx:pt idx="108">0</cx:pt>
          <cx:pt idx="109">0</cx:pt>
          <cx:pt idx="110">1</cx:pt>
          <cx:pt idx="111">0</cx:pt>
          <cx:pt idx="112">0</cx:pt>
          <cx:pt idx="113">0</cx:pt>
          <cx:pt idx="114">1</cx:pt>
          <cx:pt idx="115">0</cx:pt>
          <cx:pt idx="116">0</cx:pt>
          <cx:pt idx="117">1</cx:pt>
          <cx:pt idx="118">0</cx:pt>
          <cx:pt idx="119">0</cx:pt>
          <cx:pt idx="120">0</cx:pt>
          <cx:pt idx="121">0</cx:pt>
          <cx:pt idx="122">0</cx:pt>
          <cx:pt idx="123">1</cx:pt>
          <cx:pt idx="124">0</cx:pt>
          <cx:pt idx="125">1</cx:pt>
          <cx:pt idx="126">1</cx:pt>
          <cx:pt idx="127">0</cx:pt>
          <cx:pt idx="128">0</cx:pt>
          <cx:pt idx="129">1</cx:pt>
          <cx:pt idx="130">1</cx:pt>
          <cx:pt idx="131">0</cx:pt>
          <cx:pt idx="132">0</cx:pt>
          <cx:pt idx="133">0</cx:pt>
          <cx:pt idx="134">0</cx:pt>
          <cx:pt idx="135">1</cx:pt>
          <cx:pt idx="136">1</cx:pt>
          <cx:pt idx="137">0</cx:pt>
          <cx:pt idx="138">0</cx:pt>
          <cx:pt idx="139">1</cx:pt>
          <cx:pt idx="140">1</cx:pt>
          <cx:pt idx="141">0</cx:pt>
          <cx:pt idx="142">0</cx:pt>
          <cx:pt idx="143">0</cx:pt>
          <cx:pt idx="144">0</cx:pt>
          <cx:pt idx="145">0</cx:pt>
          <cx:pt idx="146">1</cx:pt>
          <cx:pt idx="147">1</cx:pt>
          <cx:pt idx="148">1</cx:pt>
          <cx:pt idx="149">0</cx:pt>
          <cx:pt idx="150">1</cx:pt>
          <cx:pt idx="151">0</cx:pt>
          <cx:pt idx="152">0</cx:pt>
          <cx:pt idx="153">0</cx:pt>
          <cx:pt idx="154">1</cx:pt>
          <cx:pt idx="155">0</cx:pt>
          <cx:pt idx="156">0</cx:pt>
          <cx:pt idx="157">0</cx:pt>
          <cx:pt idx="158">1</cx:pt>
          <cx:pt idx="159">0</cx:pt>
          <cx:pt idx="160">1</cx:pt>
          <cx:pt idx="161">1</cx:pt>
          <cx:pt idx="162">1</cx:pt>
          <cx:pt idx="163">0</cx:pt>
          <cx:pt idx="164">1</cx:pt>
          <cx:pt idx="165">1</cx:pt>
          <cx:pt idx="166">0</cx:pt>
          <cx:pt idx="167">0</cx:pt>
          <cx:pt idx="168">1</cx:pt>
          <cx:pt idx="169">1</cx:pt>
          <cx:pt idx="170">1</cx:pt>
          <cx:pt idx="171">1</cx:pt>
          <cx:pt idx="172">0</cx:pt>
          <cx:pt idx="173">1</cx:pt>
          <cx:pt idx="174">1</cx:pt>
          <cx:pt idx="175">0</cx:pt>
          <cx:pt idx="176">1</cx:pt>
          <cx:pt idx="177">0</cx:pt>
          <cx:pt idx="178">1</cx:pt>
          <cx:pt idx="179">0</cx:pt>
          <cx:pt idx="180">1</cx:pt>
          <cx:pt idx="181">0</cx:pt>
          <cx:pt idx="182">0</cx:pt>
          <cx:pt idx="183">1</cx:pt>
          <cx:pt idx="184">0</cx:pt>
          <cx:pt idx="185">0</cx:pt>
          <cx:pt idx="186">1</cx:pt>
          <cx:pt idx="187">0</cx:pt>
          <cx:pt idx="188">0</cx:pt>
          <cx:pt idx="189">1</cx:pt>
          <cx:pt idx="190">0</cx:pt>
          <cx:pt idx="191">0</cx:pt>
          <cx:pt idx="192">0</cx:pt>
          <cx:pt idx="193">0</cx:pt>
          <cx:pt idx="194">1</cx:pt>
          <cx:pt idx="195">0</cx:pt>
          <cx:pt idx="196">1</cx:pt>
          <cx:pt idx="197">0</cx:pt>
          <cx:pt idx="198">0</cx:pt>
          <cx:pt idx="199">0</cx:pt>
          <cx:pt idx="200">1</cx:pt>
          <cx:pt idx="201">1</cx:pt>
          <cx:pt idx="202">0</cx:pt>
          <cx:pt idx="203">1</cx:pt>
          <cx:pt idx="204">0</cx:pt>
          <cx:pt idx="205">0</cx:pt>
          <cx:pt idx="206">0</cx:pt>
          <cx:pt idx="207">1</cx:pt>
          <cx:pt idx="208">0</cx:pt>
          <cx:pt idx="209">0</cx:pt>
          <cx:pt idx="210">1</cx:pt>
          <cx:pt idx="211">0</cx:pt>
          <cx:pt idx="212">0</cx:pt>
          <cx:pt idx="213">1</cx:pt>
          <cx:pt idx="214">0</cx:pt>
          <cx:pt idx="215">1</cx:pt>
          <cx:pt idx="216">0</cx:pt>
          <cx:pt idx="217">0</cx:pt>
          <cx:pt idx="218">1</cx:pt>
          <cx:pt idx="219">0</cx:pt>
          <cx:pt idx="220">0</cx:pt>
          <cx:pt idx="221">0</cx:pt>
          <cx:pt idx="222">1</cx:pt>
          <cx:pt idx="223">0</cx:pt>
          <cx:pt idx="224">0</cx:pt>
          <cx:pt idx="225">1</cx:pt>
          <cx:pt idx="226">0</cx:pt>
          <cx:pt idx="227">0</cx:pt>
          <cx:pt idx="228">0</cx:pt>
          <cx:pt idx="229">0</cx:pt>
          <cx:pt idx="230">1</cx:pt>
          <cx:pt idx="231">1</cx:pt>
          <cx:pt idx="232">1</cx:pt>
          <cx:pt idx="233">0</cx:pt>
          <cx:pt idx="234">0</cx:pt>
          <cx:pt idx="235">1</cx:pt>
          <cx:pt idx="236">0</cx:pt>
          <cx:pt idx="237">0</cx:pt>
          <cx:pt idx="238">0</cx:pt>
          <cx:pt idx="239">1</cx:pt>
          <cx:pt idx="240">0</cx:pt>
          <cx:pt idx="241">1</cx:pt>
          <cx:pt idx="242">0</cx:pt>
          <cx:pt idx="243">0</cx:pt>
          <cx:pt idx="244">0</cx:pt>
          <cx:pt idx="245">1</cx:pt>
          <cx:pt idx="246">1</cx:pt>
          <cx:pt idx="247">0</cx:pt>
          <cx:pt idx="248">1</cx:pt>
          <cx:pt idx="249">0</cx:pt>
          <cx:pt idx="250">0</cx:pt>
          <cx:pt idx="251">0</cx:pt>
          <cx:pt idx="252">0</cx:pt>
          <cx:pt idx="253">1</cx:pt>
          <cx:pt idx="254">1</cx:pt>
          <cx:pt idx="255">0</cx:pt>
          <cx:pt idx="256">0</cx:pt>
          <cx:pt idx="257">0</cx:pt>
          <cx:pt idx="258">0</cx:pt>
          <cx:pt idx="259">1</cx:pt>
          <cx:pt idx="260">1</cx:pt>
          <cx:pt idx="261">0</cx:pt>
          <cx:pt idx="262">0</cx:pt>
          <cx:pt idx="263">0</cx:pt>
          <cx:pt idx="264">1</cx:pt>
          <cx:pt idx="265">0</cx:pt>
          <cx:pt idx="266">0</cx:pt>
          <cx:pt idx="267">1</cx:pt>
          <cx:pt idx="268">1</cx:pt>
          <cx:pt idx="269">1</cx:pt>
          <cx:pt idx="270">1</cx:pt>
          <cx:pt idx="271">0</cx:pt>
          <cx:pt idx="272">0</cx:pt>
          <cx:pt idx="273">0</cx:pt>
          <cx:pt idx="274">0</cx:pt>
          <cx:pt idx="275">1</cx:pt>
          <cx:pt idx="276">1</cx:pt>
          <cx:pt idx="277">1</cx:pt>
          <cx:pt idx="278">1</cx:pt>
          <cx:pt idx="279">1</cx:pt>
          <cx:pt idx="280">0</cx:pt>
          <cx:pt idx="281">0</cx:pt>
          <cx:pt idx="282">0</cx:pt>
          <cx:pt idx="283">0</cx:pt>
          <cx:pt idx="284">0</cx:pt>
          <cx:pt idx="285">0</cx:pt>
          <cx:pt idx="286">0</cx:pt>
          <cx:pt idx="287">1</cx:pt>
          <cx:pt idx="288">0</cx:pt>
          <cx:pt idx="289">0</cx:pt>
          <cx:pt idx="290">0</cx:pt>
          <cx:pt idx="291">0</cx:pt>
          <cx:pt idx="292">1</cx:pt>
          <cx:pt idx="293">0</cx:pt>
          <cx:pt idx="294">1</cx:pt>
          <cx:pt idx="295">1</cx:pt>
          <cx:pt idx="296">1</cx:pt>
          <cx:pt idx="297">0</cx:pt>
          <cx:pt idx="298">1</cx:pt>
          <cx:pt idx="299">1</cx:pt>
          <cx:pt idx="300">1</cx:pt>
          <cx:pt idx="301">1</cx:pt>
          <cx:pt idx="302">0</cx:pt>
          <cx:pt idx="303">1</cx:pt>
          <cx:pt idx="304">0</cx:pt>
          <cx:pt idx="305">0</cx:pt>
          <cx:pt idx="306">0</cx:pt>
          <cx:pt idx="307">1</cx:pt>
          <cx:pt idx="308">1</cx:pt>
          <cx:pt idx="309">1</cx:pt>
          <cx:pt idx="310">0</cx:pt>
          <cx:pt idx="311">1</cx:pt>
          <cx:pt idx="312">1</cx:pt>
          <cx:pt idx="313">1</cx:pt>
          <cx:pt idx="314">0</cx:pt>
          <cx:pt idx="315">1</cx:pt>
          <cx:pt idx="316">0</cx:pt>
          <cx:pt idx="317">1</cx:pt>
          <cx:pt idx="318">0</cx:pt>
          <cx:pt idx="319">1</cx:pt>
          <cx:pt idx="320">0</cx:pt>
          <cx:pt idx="321">1</cx:pt>
          <cx:pt idx="322">0</cx:pt>
          <cx:pt idx="323">0</cx:pt>
          <cx:pt idx="324">1</cx:pt>
          <cx:pt idx="325">0</cx:pt>
          <cx:pt idx="326">0</cx:pt>
          <cx:pt idx="327">1</cx:pt>
          <cx:pt idx="328">0</cx:pt>
          <cx:pt idx="329">0</cx:pt>
          <cx:pt idx="330">0</cx:pt>
          <cx:pt idx="331">1</cx:pt>
          <cx:pt idx="332">0</cx:pt>
          <cx:pt idx="333">1</cx:pt>
          <cx:pt idx="334">0</cx:pt>
          <cx:pt idx="335">0</cx:pt>
          <cx:pt idx="336">0</cx:pt>
          <cx:pt idx="337">0</cx:pt>
          <cx:pt idx="338">1</cx:pt>
          <cx:pt idx="339">0</cx:pt>
          <cx:pt idx="340">0</cx:pt>
          <cx:pt idx="341">0</cx:pt>
          <cx:pt idx="342">0</cx:pt>
          <cx:pt idx="343">0</cx:pt>
          <cx:pt idx="344">0</cx:pt>
          <cx:pt idx="345">1</cx:pt>
          <cx:pt idx="346">0</cx:pt>
          <cx:pt idx="347">1</cx:pt>
          <cx:pt idx="348">1</cx:pt>
          <cx:pt idx="349">1</cx:pt>
          <cx:pt idx="350">0</cx:pt>
          <cx:pt idx="351">1</cx:pt>
          <cx:pt idx="352">0</cx:pt>
          <cx:pt idx="353">1</cx:pt>
          <cx:pt idx="354">1</cx:pt>
          <cx:pt idx="355">1</cx:pt>
          <cx:pt idx="356">0</cx:pt>
          <cx:pt idx="357">0</cx:pt>
          <cx:pt idx="358">1</cx:pt>
          <cx:pt idx="359">0</cx:pt>
          <cx:pt idx="360">0</cx:pt>
          <cx:pt idx="361">1</cx:pt>
          <cx:pt idx="362">1</cx:pt>
          <cx:pt idx="363">1</cx:pt>
          <cx:pt idx="364">1</cx:pt>
          <cx:pt idx="365">1</cx:pt>
          <cx:pt idx="366">1</cx:pt>
          <cx:pt idx="367">1</cx:pt>
          <cx:pt idx="368">1</cx:pt>
          <cx:pt idx="369">1</cx:pt>
          <cx:pt idx="370">1</cx:pt>
          <cx:pt idx="371">1</cx:pt>
          <cx:pt idx="372">0</cx:pt>
          <cx:pt idx="373">1</cx:pt>
          <cx:pt idx="374">1</cx:pt>
          <cx:pt idx="375">1</cx:pt>
          <cx:pt idx="376">1</cx:pt>
          <cx:pt idx="377">0</cx:pt>
          <cx:pt idx="378">0</cx:pt>
          <cx:pt idx="379">1</cx:pt>
          <cx:pt idx="380">0</cx:pt>
          <cx:pt idx="381">0</cx:pt>
          <cx:pt idx="382">0</cx:pt>
          <cx:pt idx="383">1</cx:pt>
          <cx:pt idx="384">0</cx:pt>
          <cx:pt idx="385">1</cx:pt>
          <cx:pt idx="386">1</cx:pt>
          <cx:pt idx="387">1</cx:pt>
          <cx:pt idx="388">1</cx:pt>
          <cx:pt idx="389">1</cx:pt>
          <cx:pt idx="390">1</cx:pt>
          <cx:pt idx="391">0</cx:pt>
          <cx:pt idx="392">0</cx:pt>
          <cx:pt idx="393">0</cx:pt>
          <cx:pt idx="394">0</cx:pt>
          <cx:pt idx="395">0</cx:pt>
          <cx:pt idx="396">0</cx:pt>
          <cx:pt idx="397">0</cx:pt>
          <cx:pt idx="398">1</cx:pt>
          <cx:pt idx="399">0</cx:pt>
          <cx:pt idx="400">1</cx:pt>
          <cx:pt idx="401">0</cx:pt>
          <cx:pt idx="402">1</cx:pt>
          <cx:pt idx="403">1</cx:pt>
          <cx:pt idx="404">0</cx:pt>
          <cx:pt idx="405">0</cx:pt>
          <cx:pt idx="406">1</cx:pt>
          <cx:pt idx="407">0</cx:pt>
          <cx:pt idx="408">1</cx:pt>
          <cx:pt idx="409">1</cx:pt>
          <cx:pt idx="410">0</cx:pt>
          <cx:pt idx="411">1</cx:pt>
          <cx:pt idx="412">1</cx:pt>
          <cx:pt idx="413">0</cx:pt>
          <cx:pt idx="414">1</cx:pt>
          <cx:pt idx="415">1</cx:pt>
          <cx:pt idx="416">0</cx:pt>
          <cx:pt idx="417">0</cx:pt>
          <cx:pt idx="418">0</cx:pt>
          <cx:pt idx="419">0</cx:pt>
          <cx:pt idx="420">1</cx:pt>
          <cx:pt idx="421">1</cx:pt>
          <cx:pt idx="422">1</cx:pt>
          <cx:pt idx="423">0</cx:pt>
          <cx:pt idx="424">0</cx:pt>
          <cx:pt idx="425">0</cx:pt>
          <cx:pt idx="426">0</cx:pt>
          <cx:pt idx="427">1</cx:pt>
          <cx:pt idx="428">1</cx:pt>
          <cx:pt idx="429">0</cx:pt>
          <cx:pt idx="430">1</cx:pt>
          <cx:pt idx="431">1</cx:pt>
          <cx:pt idx="432">0</cx:pt>
          <cx:pt idx="433">1</cx:pt>
          <cx:pt idx="434">0</cx:pt>
          <cx:pt idx="435">1</cx:pt>
          <cx:pt idx="436">0</cx:pt>
          <cx:pt idx="437">0</cx:pt>
          <cx:pt idx="438">0</cx:pt>
          <cx:pt idx="439">0</cx:pt>
          <cx:pt idx="440">1</cx:pt>
          <cx:pt idx="441">1</cx:pt>
          <cx:pt idx="442">0</cx:pt>
          <cx:pt idx="443">0</cx:pt>
          <cx:pt idx="444">0</cx:pt>
          <cx:pt idx="445">0</cx:pt>
          <cx:pt idx="446">0</cx:pt>
          <cx:pt idx="447">1</cx:pt>
          <cx:pt idx="448">1</cx:pt>
          <cx:pt idx="449">0</cx:pt>
          <cx:pt idx="450">1</cx:pt>
          <cx:pt idx="451">1</cx:pt>
          <cx:pt idx="452">1</cx:pt>
          <cx:pt idx="453">0</cx:pt>
          <cx:pt idx="454">1</cx:pt>
          <cx:pt idx="455">1</cx:pt>
          <cx:pt idx="456">0</cx:pt>
          <cx:pt idx="457">0</cx:pt>
          <cx:pt idx="458">1</cx:pt>
          <cx:pt idx="459">0</cx:pt>
          <cx:pt idx="460">1</cx:pt>
          <cx:pt idx="461">0</cx:pt>
          <cx:pt idx="462">0</cx:pt>
          <cx:pt idx="463">1</cx:pt>
          <cx:pt idx="464">0</cx:pt>
          <cx:pt idx="465">1</cx:pt>
          <cx:pt idx="466">0</cx:pt>
          <cx:pt idx="467">1</cx:pt>
          <cx:pt idx="468">1</cx:pt>
          <cx:pt idx="469">0</cx:pt>
          <cx:pt idx="470">0</cx:pt>
          <cx:pt idx="471">1</cx:pt>
          <cx:pt idx="472">0</cx:pt>
          <cx:pt idx="473">1</cx:pt>
          <cx:pt idx="474">0</cx:pt>
          <cx:pt idx="475">1</cx:pt>
          <cx:pt idx="476">1</cx:pt>
          <cx:pt idx="477">1</cx:pt>
          <cx:pt idx="478">1</cx:pt>
          <cx:pt idx="479">1</cx:pt>
          <cx:pt idx="480">0</cx:pt>
          <cx:pt idx="481">1</cx:pt>
          <cx:pt idx="482">1</cx:pt>
          <cx:pt idx="483">1</cx:pt>
          <cx:pt idx="484">0</cx:pt>
          <cx:pt idx="485">0</cx:pt>
          <cx:pt idx="486">0</cx:pt>
          <cx:pt idx="487">1</cx:pt>
          <cx:pt idx="488">0</cx:pt>
          <cx:pt idx="489">0</cx:pt>
          <cx:pt idx="490">0</cx:pt>
          <cx:pt idx="491">1</cx:pt>
          <cx:pt idx="492">1</cx:pt>
          <cx:pt idx="493">0</cx:pt>
          <cx:pt idx="494">1</cx:pt>
          <cx:pt idx="495">0</cx:pt>
          <cx:pt idx="496">0</cx:pt>
          <cx:pt idx="497">0</cx:pt>
          <cx:pt idx="498">0</cx:pt>
          <cx:pt idx="499">0</cx:pt>
          <cx:pt idx="500">1</cx:pt>
          <cx:pt idx="501">1</cx:pt>
          <cx:pt idx="502">0</cx:pt>
          <cx:pt idx="503">0</cx:pt>
          <cx:pt idx="504">0</cx:pt>
          <cx:pt idx="505">0</cx:pt>
          <cx:pt idx="506">0</cx:pt>
          <cx:pt idx="507">0</cx:pt>
          <cx:pt idx="508">0</cx:pt>
          <cx:pt idx="509">0</cx:pt>
          <cx:pt idx="510">1</cx:pt>
          <cx:pt idx="511">1</cx:pt>
          <cx:pt idx="512">0</cx:pt>
          <cx:pt idx="513">0</cx:pt>
          <cx:pt idx="514">1</cx:pt>
          <cx:pt idx="515">1</cx:pt>
          <cx:pt idx="516">0</cx:pt>
          <cx:pt idx="517">1</cx:pt>
          <cx:pt idx="518">0</cx:pt>
          <cx:pt idx="519">0</cx:pt>
          <cx:pt idx="520">0</cx:pt>
          <cx:pt idx="521">0</cx:pt>
          <cx:pt idx="522">1</cx:pt>
          <cx:pt idx="523">0</cx:pt>
          <cx:pt idx="524">1</cx:pt>
          <cx:pt idx="525">1</cx:pt>
          <cx:pt idx="526">0</cx:pt>
          <cx:pt idx="527">0</cx:pt>
          <cx:pt idx="528">0</cx:pt>
          <cx:pt idx="529">0</cx:pt>
          <cx:pt idx="530">1</cx:pt>
          <cx:pt idx="531">1</cx:pt>
          <cx:pt idx="532">0</cx:pt>
          <cx:pt idx="533">0</cx:pt>
          <cx:pt idx="534">1</cx:pt>
          <cx:pt idx="535">1</cx:pt>
          <cx:pt idx="536">0</cx:pt>
          <cx:pt idx="537">1</cx:pt>
          <cx:pt idx="538">0</cx:pt>
          <cx:pt idx="539">1</cx:pt>
          <cx:pt idx="540">1</cx:pt>
          <cx:pt idx="541">1</cx:pt>
          <cx:pt idx="542">1</cx:pt>
          <cx:pt idx="543">1</cx:pt>
          <cx:pt idx="544">1</cx:pt>
          <cx:pt idx="545">0</cx:pt>
          <cx:pt idx="546">1</cx:pt>
          <cx:pt idx="547">1</cx:pt>
          <cx:pt idx="548">1</cx:pt>
          <cx:pt idx="549">0</cx:pt>
          <cx:pt idx="550">1</cx:pt>
          <cx:pt idx="551">0</cx:pt>
          <cx:pt idx="552">0</cx:pt>
          <cx:pt idx="553">0</cx:pt>
          <cx:pt idx="554">0</cx:pt>
          <cx:pt idx="555">0</cx:pt>
          <cx:pt idx="556">1</cx:pt>
          <cx:pt idx="557">1</cx:pt>
          <cx:pt idx="558">0</cx:pt>
          <cx:pt idx="559">0</cx:pt>
          <cx:pt idx="560">1</cx:pt>
          <cx:pt idx="561">0</cx:pt>
          <cx:pt idx="562">0</cx:pt>
          <cx:pt idx="563">1</cx:pt>
          <cx:pt idx="564">1</cx:pt>
          <cx:pt idx="565">1</cx:pt>
          <cx:pt idx="566">1</cx:pt>
          <cx:pt idx="567">1</cx:pt>
          <cx:pt idx="568">1</cx:pt>
          <cx:pt idx="569">1</cx:pt>
          <cx:pt idx="570">0</cx:pt>
          <cx:pt idx="571">0</cx:pt>
          <cx:pt idx="572">0</cx:pt>
          <cx:pt idx="573">0</cx:pt>
          <cx:pt idx="574">0</cx:pt>
          <cx:pt idx="575">1</cx:pt>
          <cx:pt idx="576">0</cx:pt>
          <cx:pt idx="577">1</cx:pt>
          <cx:pt idx="578">0</cx:pt>
          <cx:pt idx="579">0</cx:pt>
          <cx:pt idx="580">1</cx:pt>
          <cx:pt idx="581">1</cx:pt>
          <cx:pt idx="582">1</cx:pt>
          <cx:pt idx="583">1</cx:pt>
          <cx:pt idx="584">0</cx:pt>
          <cx:pt idx="585">0</cx:pt>
          <cx:pt idx="586">0</cx:pt>
          <cx:pt idx="587">0</cx:pt>
          <cx:pt idx="588">1</cx:pt>
          <cx:pt idx="589">1</cx:pt>
          <cx:pt idx="590">1</cx:pt>
          <cx:pt idx="591">0</cx:pt>
          <cx:pt idx="592">0</cx:pt>
          <cx:pt idx="593">1</cx:pt>
          <cx:pt idx="594">1</cx:pt>
          <cx:pt idx="595">0</cx:pt>
          <cx:pt idx="596">0</cx:pt>
          <cx:pt idx="597">0</cx:pt>
          <cx:pt idx="598">0</cx:pt>
          <cx:pt idx="599">0</cx:pt>
          <cx:pt idx="600">1</cx:pt>
          <cx:pt idx="601">0</cx:pt>
          <cx:pt idx="602">0</cx:pt>
          <cx:pt idx="603">0</cx:pt>
          <cx:pt idx="604">0</cx:pt>
          <cx:pt idx="605">1</cx:pt>
          <cx:pt idx="606">0</cx:pt>
          <cx:pt idx="607">1</cx:pt>
          <cx:pt idx="608">1</cx:pt>
          <cx:pt idx="609">1</cx:pt>
          <cx:pt idx="610">1</cx:pt>
          <cx:pt idx="611">0</cx:pt>
          <cx:pt idx="612">0</cx:pt>
          <cx:pt idx="613">1</cx:pt>
          <cx:pt idx="614">0</cx:pt>
          <cx:pt idx="615">1</cx:pt>
          <cx:pt idx="616">1</cx:pt>
          <cx:pt idx="617">0</cx:pt>
          <cx:pt idx="618">0</cx:pt>
          <cx:pt idx="619">1</cx:pt>
          <cx:pt idx="620">1</cx:pt>
          <cx:pt idx="621">0</cx:pt>
          <cx:pt idx="622">0</cx:pt>
          <cx:pt idx="623">1</cx:pt>
          <cx:pt idx="624">0</cx:pt>
          <cx:pt idx="625">1</cx:pt>
          <cx:pt idx="626">1</cx:pt>
          <cx:pt idx="627">1</cx:pt>
          <cx:pt idx="628">1</cx:pt>
          <cx:pt idx="629">1</cx:pt>
          <cx:pt idx="630">1</cx:pt>
          <cx:pt idx="631">1</cx:pt>
          <cx:pt idx="632">1</cx:pt>
          <cx:pt idx="633">0</cx:pt>
          <cx:pt idx="634">0</cx:pt>
          <cx:pt idx="635">0</cx:pt>
          <cx:pt idx="636">1</cx:pt>
          <cx:pt idx="637">1</cx:pt>
          <cx:pt idx="638">0</cx:pt>
          <cx:pt idx="639">0</cx:pt>
          <cx:pt idx="640">0</cx:pt>
          <cx:pt idx="641">1</cx:pt>
          <cx:pt idx="642">1</cx:pt>
          <cx:pt idx="643">1</cx:pt>
          <cx:pt idx="644">0</cx:pt>
          <cx:pt idx="645">0</cx:pt>
          <cx:pt idx="646">0</cx:pt>
          <cx:pt idx="647">0</cx:pt>
          <cx:pt idx="648">0</cx:pt>
          <cx:pt idx="649">0</cx:pt>
          <cx:pt idx="650">1</cx:pt>
          <cx:pt idx="651">1</cx:pt>
          <cx:pt idx="652">1</cx:pt>
          <cx:pt idx="653">1</cx:pt>
          <cx:pt idx="654">0</cx:pt>
          <cx:pt idx="655">1</cx:pt>
          <cx:pt idx="656">1</cx:pt>
          <cx:pt idx="657">0</cx:pt>
          <cx:pt idx="658">1</cx:pt>
          <cx:pt idx="659">1</cx:pt>
          <cx:pt idx="660">0</cx:pt>
          <cx:pt idx="661">0</cx:pt>
          <cx:pt idx="662">0</cx:pt>
          <cx:pt idx="663">0</cx:pt>
          <cx:pt idx="664">1</cx:pt>
          <cx:pt idx="665">1</cx:pt>
          <cx:pt idx="666">1</cx:pt>
          <cx:pt idx="667">0</cx:pt>
          <cx:pt idx="668">1</cx:pt>
          <cx:pt idx="669">0</cx:pt>
          <cx:pt idx="670">0</cx:pt>
          <cx:pt idx="671">0</cx:pt>
          <cx:pt idx="672">1</cx:pt>
          <cx:pt idx="673">0</cx:pt>
          <cx:pt idx="674">0</cx:pt>
          <cx:pt idx="675">1</cx:pt>
          <cx:pt idx="676">0</cx:pt>
          <cx:pt idx="677">1</cx:pt>
          <cx:pt idx="678">0</cx:pt>
          <cx:pt idx="679">0</cx:pt>
          <cx:pt idx="680">1</cx:pt>
          <cx:pt idx="681">1</cx:pt>
          <cx:pt idx="682">1</cx:pt>
          <cx:pt idx="683">1</cx:pt>
          <cx:pt idx="684">0</cx:pt>
          <cx:pt idx="685">0</cx:pt>
          <cx:pt idx="686">1</cx:pt>
          <cx:pt idx="687">0</cx:pt>
          <cx:pt idx="688">1</cx:pt>
          <cx:pt idx="689">0</cx:pt>
          <cx:pt idx="690">1</cx:pt>
          <cx:pt idx="691">0</cx:pt>
          <cx:pt idx="692">1</cx:pt>
          <cx:pt idx="693">0</cx:pt>
          <cx:pt idx="694">0</cx:pt>
          <cx:pt idx="695">0</cx:pt>
          <cx:pt idx="696">1</cx:pt>
          <cx:pt idx="697">0</cx:pt>
          <cx:pt idx="698">0</cx:pt>
          <cx:pt idx="699">1</cx:pt>
          <cx:pt idx="700">0</cx:pt>
          <cx:pt idx="701">0</cx:pt>
          <cx:pt idx="702">0</cx:pt>
          <cx:pt idx="703">0</cx:pt>
          <cx:pt idx="704">0</cx:pt>
          <cx:pt idx="705">1</cx:pt>
          <cx:pt idx="706">0</cx:pt>
          <cx:pt idx="707">1</cx:pt>
          <cx:pt idx="708">1</cx:pt>
          <cx:pt idx="709">1</cx:pt>
          <cx:pt idx="710">0</cx:pt>
          <cx:pt idx="711">0</cx:pt>
          <cx:pt idx="712">0</cx:pt>
          <cx:pt idx="713">1</cx:pt>
          <cx:pt idx="714">0</cx:pt>
          <cx:pt idx="715">1</cx:pt>
          <cx:pt idx="716">0</cx:pt>
          <cx:pt idx="717">1</cx:pt>
          <cx:pt idx="718">0</cx:pt>
          <cx:pt idx="719">0</cx:pt>
          <cx:pt idx="720">1</cx:pt>
          <cx:pt idx="721">0</cx:pt>
          <cx:pt idx="722">1</cx:pt>
          <cx:pt idx="723">0</cx:pt>
          <cx:pt idx="724">0</cx:pt>
          <cx:pt idx="725">0</cx:pt>
          <cx:pt idx="726">0</cx:pt>
          <cx:pt idx="727">0</cx:pt>
          <cx:pt idx="728">1</cx:pt>
          <cx:pt idx="729">0</cx:pt>
          <cx:pt idx="730">0</cx:pt>
          <cx:pt idx="731">1</cx:pt>
          <cx:pt idx="732">0</cx:pt>
          <cx:pt idx="733">0</cx:pt>
          <cx:pt idx="734">0</cx:pt>
          <cx:pt idx="735">0</cx:pt>
          <cx:pt idx="736">1</cx:pt>
          <cx:pt idx="737">0</cx:pt>
          <cx:pt idx="738">1</cx:pt>
          <cx:pt idx="739">0</cx:pt>
          <cx:pt idx="740">0</cx:pt>
          <cx:pt idx="741">1</cx:pt>
          <cx:pt idx="742">0</cx:pt>
          <cx:pt idx="743">1</cx:pt>
          <cx:pt idx="744">0</cx:pt>
          <cx:pt idx="745">0</cx:pt>
          <cx:pt idx="746">0</cx:pt>
          <cx:pt idx="747">1</cx:pt>
          <cx:pt idx="748">1</cx:pt>
          <cx:pt idx="749">1</cx:pt>
          <cx:pt idx="750">0</cx:pt>
          <cx:pt idx="751">1</cx:pt>
          <cx:pt idx="752">1</cx:pt>
          <cx:pt idx="753">0</cx:pt>
          <cx:pt idx="754">0</cx:pt>
          <cx:pt idx="755">1</cx:pt>
          <cx:pt idx="756">1</cx:pt>
          <cx:pt idx="757">0</cx:pt>
          <cx:pt idx="758">0</cx:pt>
          <cx:pt idx="759">1</cx:pt>
          <cx:pt idx="760">1</cx:pt>
          <cx:pt idx="761">0</cx:pt>
          <cx:pt idx="762">0</cx:pt>
          <cx:pt idx="763">1</cx:pt>
          <cx:pt idx="764">0</cx:pt>
          <cx:pt idx="765">0</cx:pt>
          <cx:pt idx="766">0</cx:pt>
          <cx:pt idx="767">1</cx:pt>
          <cx:pt idx="768">0</cx:pt>
          <cx:pt idx="769">0</cx:pt>
          <cx:pt idx="770">0</cx:pt>
          <cx:pt idx="771">1</cx:pt>
          <cx:pt idx="772">0</cx:pt>
          <cx:pt idx="773">1</cx:pt>
          <cx:pt idx="774">0</cx:pt>
          <cx:pt idx="775">1</cx:pt>
          <cx:pt idx="776">1</cx:pt>
          <cx:pt idx="777">1</cx:pt>
          <cx:pt idx="778">0</cx:pt>
          <cx:pt idx="779">0</cx:pt>
          <cx:pt idx="780">0</cx:pt>
          <cx:pt idx="781">1</cx:pt>
          <cx:pt idx="782">1</cx:pt>
          <cx:pt idx="783">0</cx:pt>
          <cx:pt idx="784">1</cx:pt>
          <cx:pt idx="785">0</cx:pt>
          <cx:pt idx="786">0</cx:pt>
          <cx:pt idx="787">0</cx:pt>
          <cx:pt idx="788">0</cx:pt>
          <cx:pt idx="789">0</cx:pt>
          <cx:pt idx="790">1</cx:pt>
          <cx:pt idx="791">0</cx:pt>
          <cx:pt idx="792">0</cx:pt>
          <cx:pt idx="793">0</cx:pt>
          <cx:pt idx="794">0</cx:pt>
          <cx:pt idx="795">1</cx:pt>
          <cx:pt idx="796">1</cx:pt>
          <cx:pt idx="797">0</cx:pt>
          <cx:pt idx="798">0</cx:pt>
          <cx:pt idx="799">1</cx:pt>
          <cx:pt idx="800">0</cx:pt>
          <cx:pt idx="801">1</cx:pt>
          <cx:pt idx="802">1</cx:pt>
          <cx:pt idx="803">0</cx:pt>
          <cx:pt idx="804">0</cx:pt>
          <cx:pt idx="805">1</cx:pt>
          <cx:pt idx="806">0</cx:pt>
          <cx:pt idx="807">1</cx:pt>
          <cx:pt idx="808">1</cx:pt>
          <cx:pt idx="809">1</cx:pt>
          <cx:pt idx="810">1</cx:pt>
          <cx:pt idx="811">1</cx:pt>
          <cx:pt idx="812">0</cx:pt>
          <cx:pt idx="813">1</cx:pt>
          <cx:pt idx="814">1</cx:pt>
          <cx:pt idx="815">0</cx:pt>
          <cx:pt idx="816">1</cx:pt>
          <cx:pt idx="817">1</cx:pt>
          <cx:pt idx="818">0</cx:pt>
          <cx:pt idx="819">0</cx:pt>
          <cx:pt idx="820">0</cx:pt>
          <cx:pt idx="821">0</cx:pt>
          <cx:pt idx="822">0</cx:pt>
          <cx:pt idx="823">1</cx:pt>
          <cx:pt idx="824">0</cx:pt>
          <cx:pt idx="825">1</cx:pt>
          <cx:pt idx="826">0</cx:pt>
          <cx:pt idx="827">1</cx:pt>
          <cx:pt idx="828">0</cx:pt>
          <cx:pt idx="829">0</cx:pt>
          <cx:pt idx="830">1</cx:pt>
          <cx:pt idx="831">1</cx:pt>
          <cx:pt idx="832">0</cx:pt>
          <cx:pt idx="833">1</cx:pt>
          <cx:pt idx="834">0</cx:pt>
          <cx:pt idx="835">1</cx:pt>
          <cx:pt idx="836">1</cx:pt>
          <cx:pt idx="837">0</cx:pt>
          <cx:pt idx="838">0</cx:pt>
          <cx:pt idx="839">1</cx:pt>
          <cx:pt idx="840">0</cx:pt>
          <cx:pt idx="841">1</cx:pt>
          <cx:pt idx="842">1</cx:pt>
          <cx:pt idx="843">1</cx:pt>
          <cx:pt idx="844">0</cx:pt>
          <cx:pt idx="845">0</cx:pt>
          <cx:pt idx="846">0</cx:pt>
          <cx:pt idx="847">0</cx:pt>
          <cx:pt idx="848">0</cx:pt>
          <cx:pt idx="849">1</cx:pt>
          <cx:pt idx="850">0</cx:pt>
          <cx:pt idx="851">0</cx:pt>
          <cx:pt idx="852">0</cx:pt>
          <cx:pt idx="853">1</cx:pt>
          <cx:pt idx="854">1</cx:pt>
          <cx:pt idx="855">1</cx:pt>
          <cx:pt idx="856">0</cx:pt>
          <cx:pt idx="857">1</cx:pt>
          <cx:pt idx="858">0</cx:pt>
          <cx:pt idx="859">0</cx:pt>
          <cx:pt idx="860">1</cx:pt>
          <cx:pt idx="861">1</cx:pt>
          <cx:pt idx="862">0</cx:pt>
          <cx:pt idx="863">0</cx:pt>
          <cx:pt idx="864">0</cx:pt>
          <cx:pt idx="865">0</cx:pt>
          <cx:pt idx="866">0</cx:pt>
          <cx:pt idx="867">0</cx:pt>
          <cx:pt idx="868">0</cx:pt>
          <cx:pt idx="869">1</cx:pt>
          <cx:pt idx="870">0</cx:pt>
          <cx:pt idx="871">0</cx:pt>
          <cx:pt idx="872">0</cx:pt>
          <cx:pt idx="873">1</cx:pt>
          <cx:pt idx="874">0</cx:pt>
          <cx:pt idx="875">1</cx:pt>
          <cx:pt idx="876">1</cx:pt>
          <cx:pt idx="877">1</cx:pt>
          <cx:pt idx="878">0</cx:pt>
          <cx:pt idx="879">1</cx:pt>
          <cx:pt idx="880">0</cx:pt>
          <cx:pt idx="881">0</cx:pt>
          <cx:pt idx="882">0</cx:pt>
          <cx:pt idx="883">0</cx:pt>
          <cx:pt idx="884">0</cx:pt>
          <cx:pt idx="885">0</cx:pt>
          <cx:pt idx="886">0</cx:pt>
          <cx:pt idx="887">0</cx:pt>
          <cx:pt idx="888">0</cx:pt>
          <cx:pt idx="889">1</cx:pt>
          <cx:pt idx="890">1</cx:pt>
          <cx:pt idx="891">0</cx:pt>
          <cx:pt idx="892">1</cx:pt>
          <cx:pt idx="893">1</cx:pt>
          <cx:pt idx="894">1</cx:pt>
          <cx:pt idx="895">0</cx:pt>
          <cx:pt idx="896">0</cx:pt>
          <cx:pt idx="897">1</cx:pt>
          <cx:pt idx="898">0</cx:pt>
          <cx:pt idx="899">0</cx:pt>
          <cx:pt idx="900">1</cx:pt>
          <cx:pt idx="901">0</cx:pt>
          <cx:pt idx="902">0</cx:pt>
          <cx:pt idx="903">0</cx:pt>
          <cx:pt idx="904">0</cx:pt>
          <cx:pt idx="905">0</cx:pt>
          <cx:pt idx="906">0</cx:pt>
          <cx:pt idx="907">1</cx:pt>
          <cx:pt idx="908">0</cx:pt>
          <cx:pt idx="909">0</cx:pt>
          <cx:pt idx="910">1</cx:pt>
          <cx:pt idx="911">1</cx:pt>
          <cx:pt idx="912">1</cx:pt>
          <cx:pt idx="913">1</cx:pt>
          <cx:pt idx="914">0</cx:pt>
          <cx:pt idx="915">1</cx:pt>
          <cx:pt idx="916">0</cx:pt>
          <cx:pt idx="917">0</cx:pt>
          <cx:pt idx="918">0</cx:pt>
          <cx:pt idx="919">0</cx:pt>
          <cx:pt idx="920">0</cx:pt>
          <cx:pt idx="921">0</cx:pt>
          <cx:pt idx="922">0</cx:pt>
          <cx:pt idx="923">1</cx:pt>
          <cx:pt idx="924">1</cx:pt>
          <cx:pt idx="925">1</cx:pt>
          <cx:pt idx="926">0</cx:pt>
          <cx:pt idx="927">1</cx:pt>
          <cx:pt idx="928">1</cx:pt>
          <cx:pt idx="929">0</cx:pt>
          <cx:pt idx="930">1</cx:pt>
          <cx:pt idx="931">0</cx:pt>
          <cx:pt idx="932">0</cx:pt>
          <cx:pt idx="933">1</cx:pt>
          <cx:pt idx="934">0</cx:pt>
          <cx:pt idx="935">1</cx:pt>
          <cx:pt idx="936">0</cx:pt>
          <cx:pt idx="937">0</cx:pt>
          <cx:pt idx="938">0</cx:pt>
          <cx:pt idx="939">1</cx:pt>
          <cx:pt idx="940">0</cx:pt>
          <cx:pt idx="941">0</cx:pt>
          <cx:pt idx="942">0</cx:pt>
          <cx:pt idx="943">1</cx:pt>
          <cx:pt idx="944">0</cx:pt>
          <cx:pt idx="945">0</cx:pt>
          <cx:pt idx="946">0</cx:pt>
          <cx:pt idx="947">0</cx:pt>
          <cx:pt idx="948">0</cx:pt>
          <cx:pt idx="949">0</cx:pt>
          <cx:pt idx="950">0</cx:pt>
          <cx:pt idx="951">0</cx:pt>
          <cx:pt idx="952">0</cx:pt>
          <cx:pt idx="953">1</cx:pt>
          <cx:pt idx="954">1</cx:pt>
          <cx:pt idx="955">0</cx:pt>
          <cx:pt idx="956">1</cx:pt>
          <cx:pt idx="957">0</cx:pt>
          <cx:pt idx="958">1</cx:pt>
          <cx:pt idx="959">0</cx:pt>
          <cx:pt idx="960">0</cx:pt>
          <cx:pt idx="961">0</cx:pt>
          <cx:pt idx="962">0</cx:pt>
          <cx:pt idx="963">0</cx:pt>
          <cx:pt idx="964">1</cx:pt>
          <cx:pt idx="965">0</cx:pt>
          <cx:pt idx="966">0</cx:pt>
          <cx:pt idx="967">0</cx:pt>
          <cx:pt idx="968">0</cx:pt>
          <cx:pt idx="969">0</cx:pt>
          <cx:pt idx="970">1</cx:pt>
          <cx:pt idx="971">1</cx:pt>
          <cx:pt idx="972">0</cx:pt>
          <cx:pt idx="973">1</cx:pt>
          <cx:pt idx="974">0</cx:pt>
          <cx:pt idx="975">1</cx:pt>
          <cx:pt idx="976">1</cx:pt>
          <cx:pt idx="977">1</cx:pt>
          <cx:pt idx="978">1</cx:pt>
          <cx:pt idx="979">1</cx:pt>
          <cx:pt idx="980">0</cx:pt>
          <cx:pt idx="981">1</cx:pt>
          <cx:pt idx="982">0</cx:pt>
          <cx:pt idx="983">1</cx:pt>
          <cx:pt idx="984">1</cx:pt>
          <cx:pt idx="985">0</cx:pt>
          <cx:pt idx="986">0</cx:pt>
          <cx:pt idx="987">0</cx:pt>
          <cx:pt idx="988">0</cx:pt>
          <cx:pt idx="989">1</cx:pt>
          <cx:pt idx="990">1</cx:pt>
          <cx:pt idx="991">1</cx:pt>
          <cx:pt idx="992">0</cx:pt>
          <cx:pt idx="993">1</cx:pt>
          <cx:pt idx="994">1</cx:pt>
          <cx:pt idx="995">1</cx:pt>
          <cx:pt idx="996">0</cx:pt>
          <cx:pt idx="997">0</cx:pt>
          <cx:pt idx="998">1</cx:pt>
          <cx:pt idx="999">1</cx:pt>
          <cx:pt idx="1000">0</cx:pt>
          <cx:pt idx="1001">0</cx:pt>
          <cx:pt idx="1002">1</cx:pt>
          <cx:pt idx="1003">0</cx:pt>
          <cx:pt idx="1004">1</cx:pt>
          <cx:pt idx="1005">1</cx:pt>
          <cx:pt idx="1006">0</cx:pt>
          <cx:pt idx="1007">0</cx:pt>
          <cx:pt idx="1008">1</cx:pt>
          <cx:pt idx="1009">0</cx:pt>
          <cx:pt idx="1010">0</cx:pt>
          <cx:pt idx="1011">1</cx:pt>
          <cx:pt idx="1012">0</cx:pt>
          <cx:pt idx="1013">0</cx:pt>
          <cx:pt idx="1014">0</cx:pt>
          <cx:pt idx="1015">0</cx:pt>
          <cx:pt idx="1016">1</cx:pt>
          <cx:pt idx="1017">0</cx:pt>
          <cx:pt idx="1018">0</cx:pt>
          <cx:pt idx="1019">1</cx:pt>
          <cx:pt idx="1020">1</cx:pt>
          <cx:pt idx="1021">1</cx:pt>
          <cx:pt idx="1022">1</cx:pt>
          <cx:pt idx="1023">1</cx:pt>
          <cx:pt idx="1024">1</cx:pt>
          <cx:pt idx="1025">1</cx:pt>
          <cx:pt idx="1026">0</cx:pt>
          <cx:pt idx="1027">1</cx:pt>
          <cx:pt idx="1028">1</cx:pt>
          <cx:pt idx="1029">0</cx:pt>
          <cx:pt idx="1030">1</cx:pt>
          <cx:pt idx="1031">0</cx:pt>
          <cx:pt idx="1032">0</cx:pt>
          <cx:pt idx="1033">0</cx:pt>
          <cx:pt idx="1034">1</cx:pt>
          <cx:pt idx="1035">0</cx:pt>
          <cx:pt idx="1036">0</cx:pt>
          <cx:pt idx="1037">0</cx:pt>
          <cx:pt idx="1038">0</cx:pt>
          <cx:pt idx="1039">0</cx:pt>
          <cx:pt idx="1040">0</cx:pt>
          <cx:pt idx="1041">0</cx:pt>
          <cx:pt idx="1042">0</cx:pt>
          <cx:pt idx="1043">0</cx:pt>
          <cx:pt idx="1044">0</cx:pt>
          <cx:pt idx="1045">0</cx:pt>
          <cx:pt idx="1046">1</cx:pt>
          <cx:pt idx="1047">1</cx:pt>
          <cx:pt idx="1048">0</cx:pt>
          <cx:pt idx="1049">0</cx:pt>
          <cx:pt idx="1050">1</cx:pt>
          <cx:pt idx="1051">0</cx:pt>
          <cx:pt idx="1052">1</cx:pt>
          <cx:pt idx="1053">1</cx:pt>
          <cx:pt idx="1054">0</cx:pt>
          <cx:pt idx="1055">0</cx:pt>
          <cx:pt idx="1056">0</cx:pt>
          <cx:pt idx="1057">0</cx:pt>
          <cx:pt idx="1058">0</cx:pt>
          <cx:pt idx="1059">1</cx:pt>
          <cx:pt idx="1060">0</cx:pt>
          <cx:pt idx="1061">1</cx:pt>
          <cx:pt idx="1062">1</cx:pt>
          <cx:pt idx="1063">0</cx:pt>
          <cx:pt idx="1064">0</cx:pt>
          <cx:pt idx="1065">0</cx:pt>
          <cx:pt idx="1066">1</cx:pt>
          <cx:pt idx="1067">1</cx:pt>
          <cx:pt idx="1068">1</cx:pt>
          <cx:pt idx="1069">1</cx:pt>
          <cx:pt idx="1070">0</cx:pt>
          <cx:pt idx="1071">1</cx:pt>
          <cx:pt idx="1072">1</cx:pt>
          <cx:pt idx="1073">0</cx:pt>
          <cx:pt idx="1074">0</cx:pt>
          <cx:pt idx="1075">0</cx:pt>
          <cx:pt idx="1076">0</cx:pt>
          <cx:pt idx="1077">0</cx:pt>
          <cx:pt idx="1078">0</cx:pt>
          <cx:pt idx="1079">1</cx:pt>
          <cx:pt idx="1080">0</cx:pt>
          <cx:pt idx="1081">0</cx:pt>
          <cx:pt idx="1082">1</cx:pt>
          <cx:pt idx="1083">1</cx:pt>
          <cx:pt idx="1084">0</cx:pt>
          <cx:pt idx="1085">0</cx:pt>
          <cx:pt idx="1086">0</cx:pt>
          <cx:pt idx="1087">1</cx:pt>
          <cx:pt idx="1088">0</cx:pt>
          <cx:pt idx="1089">1</cx:pt>
          <cx:pt idx="1090">1</cx:pt>
          <cx:pt idx="1091">0</cx:pt>
          <cx:pt idx="1092">1</cx:pt>
          <cx:pt idx="1093">1</cx:pt>
          <cx:pt idx="1094">1</cx:pt>
          <cx:pt idx="1095">0</cx:pt>
          <cx:pt idx="1096">0</cx:pt>
          <cx:pt idx="1097">1</cx:pt>
          <cx:pt idx="1098">1</cx:pt>
          <cx:pt idx="1099">1</cx:pt>
          <cx:pt idx="1100">0</cx:pt>
          <cx:pt idx="1101">1</cx:pt>
          <cx:pt idx="1102">0</cx:pt>
          <cx:pt idx="1103">1</cx:pt>
          <cx:pt idx="1104">0</cx:pt>
          <cx:pt idx="1105">0</cx:pt>
          <cx:pt idx="1106">0</cx:pt>
          <cx:pt idx="1107">1</cx:pt>
          <cx:pt idx="1108">0</cx:pt>
          <cx:pt idx="1109">0</cx:pt>
          <cx:pt idx="1110">1</cx:pt>
          <cx:pt idx="1111">0</cx:pt>
          <cx:pt idx="1112">1</cx:pt>
          <cx:pt idx="1113">1</cx:pt>
          <cx:pt idx="1114">0</cx:pt>
          <cx:pt idx="1115">0</cx:pt>
          <cx:pt idx="1116">0</cx:pt>
          <cx:pt idx="1117">0</cx:pt>
          <cx:pt idx="1118">1</cx:pt>
          <cx:pt idx="1119">1</cx:pt>
          <cx:pt idx="1120">0</cx:pt>
          <cx:pt idx="1121">1</cx:pt>
          <cx:pt idx="1122">0</cx:pt>
          <cx:pt idx="1123">1</cx:pt>
          <cx:pt idx="1124">0</cx:pt>
          <cx:pt idx="1125">1</cx:pt>
          <cx:pt idx="1126">0</cx:pt>
          <cx:pt idx="1127">0</cx:pt>
          <cx:pt idx="1128">1</cx:pt>
          <cx:pt idx="1129">0</cx:pt>
          <cx:pt idx="1130">1</cx:pt>
          <cx:pt idx="1131">1</cx:pt>
          <cx:pt idx="1132">1</cx:pt>
          <cx:pt idx="1133">0</cx:pt>
          <cx:pt idx="1134">1</cx:pt>
          <cx:pt idx="1135">0</cx:pt>
          <cx:pt idx="1136">0</cx:pt>
          <cx:pt idx="1137">0</cx:pt>
          <cx:pt idx="1138">0</cx:pt>
          <cx:pt idx="1139">1</cx:pt>
          <cx:pt idx="1140">0</cx:pt>
          <cx:pt idx="1141">0</cx:pt>
          <cx:pt idx="1142">1</cx:pt>
          <cx:pt idx="1143">1</cx:pt>
          <cx:pt idx="1144">0</cx:pt>
          <cx:pt idx="1145">1</cx:pt>
          <cx:pt idx="1146">0</cx:pt>
          <cx:pt idx="1147">1</cx:pt>
          <cx:pt idx="1148">1</cx:pt>
          <cx:pt idx="1149">1</cx:pt>
          <cx:pt idx="1150">1</cx:pt>
          <cx:pt idx="1151">0</cx:pt>
          <cx:pt idx="1152">1</cx:pt>
          <cx:pt idx="1153">0</cx:pt>
          <cx:pt idx="1154">1</cx:pt>
          <cx:pt idx="1155">0</cx:pt>
          <cx:pt idx="1156">0</cx:pt>
          <cx:pt idx="1157">0</cx:pt>
          <cx:pt idx="1158">0</cx:pt>
          <cx:pt idx="1159">0</cx:pt>
          <cx:pt idx="1160">1</cx:pt>
          <cx:pt idx="1161">0</cx:pt>
          <cx:pt idx="1162">1</cx:pt>
          <cx:pt idx="1163">1</cx:pt>
          <cx:pt idx="1164">1</cx:pt>
          <cx:pt idx="1165">1</cx:pt>
          <cx:pt idx="1166">0</cx:pt>
          <cx:pt idx="1167">1</cx:pt>
          <cx:pt idx="1168">0</cx:pt>
          <cx:pt idx="1169">1</cx:pt>
          <cx:pt idx="1170">0</cx:pt>
          <cx:pt idx="1171">0</cx:pt>
          <cx:pt idx="1172">0</cx:pt>
          <cx:pt idx="1173">1</cx:pt>
          <cx:pt idx="1174">0</cx:pt>
          <cx:pt idx="1175">0</cx:pt>
          <cx:pt idx="1176">1</cx:pt>
          <cx:pt idx="1177">0</cx:pt>
          <cx:pt idx="1178">0</cx:pt>
          <cx:pt idx="1179">1</cx:pt>
          <cx:pt idx="1180">0</cx:pt>
          <cx:pt idx="1181">0</cx:pt>
          <cx:pt idx="1182">1</cx:pt>
          <cx:pt idx="1183">0</cx:pt>
          <cx:pt idx="1184">0</cx:pt>
          <cx:pt idx="1185">1</cx:pt>
          <cx:pt idx="1186">1</cx:pt>
          <cx:pt idx="1187">0</cx:pt>
          <cx:pt idx="1188">1</cx:pt>
          <cx:pt idx="1189">0</cx:pt>
          <cx:pt idx="1190">1</cx:pt>
          <cx:pt idx="1191">0</cx:pt>
          <cx:pt idx="1192">1</cx:pt>
          <cx:pt idx="1193">1</cx:pt>
          <cx:pt idx="1194">1</cx:pt>
          <cx:pt idx="1195">0</cx:pt>
          <cx:pt idx="1196">1</cx:pt>
          <cx:pt idx="1197">1</cx:pt>
          <cx:pt idx="1198">0</cx:pt>
          <cx:pt idx="1199">1</cx:pt>
          <cx:pt idx="1200">0</cx:pt>
          <cx:pt idx="1201">0</cx:pt>
          <cx:pt idx="1202">0</cx:pt>
          <cx:pt idx="1203">1</cx:pt>
          <cx:pt idx="1204">0</cx:pt>
          <cx:pt idx="1205">0</cx:pt>
          <cx:pt idx="1206">1</cx:pt>
          <cx:pt idx="1207">0</cx:pt>
          <cx:pt idx="1208">1</cx:pt>
          <cx:pt idx="1209">1</cx:pt>
          <cx:pt idx="1210">0</cx:pt>
          <cx:pt idx="1211">1</cx:pt>
          <cx:pt idx="1212">1</cx:pt>
          <cx:pt idx="1213">1</cx:pt>
          <cx:pt idx="1214">0</cx:pt>
          <cx:pt idx="1215">1</cx:pt>
          <cx:pt idx="1216">0</cx:pt>
          <cx:pt idx="1217">0</cx:pt>
          <cx:pt idx="1218">0</cx:pt>
          <cx:pt idx="1219">1</cx:pt>
          <cx:pt idx="1220">1</cx:pt>
          <cx:pt idx="1221">0</cx:pt>
          <cx:pt idx="1222">0</cx:pt>
          <cx:pt idx="1223">1</cx:pt>
          <cx:pt idx="1224">0</cx:pt>
          <cx:pt idx="1225">0</cx:pt>
          <cx:pt idx="1226">0</cx:pt>
          <cx:pt idx="1227">1</cx:pt>
          <cx:pt idx="1228">1</cx:pt>
          <cx:pt idx="1229">0</cx:pt>
          <cx:pt idx="1230">0</cx:pt>
          <cx:pt idx="1231">0</cx:pt>
          <cx:pt idx="1232">0</cx:pt>
          <cx:pt idx="1233">0</cx:pt>
          <cx:pt idx="1234">0</cx:pt>
          <cx:pt idx="1235">0</cx:pt>
          <cx:pt idx="1236">1</cx:pt>
          <cx:pt idx="1237">1</cx:pt>
          <cx:pt idx="1238">1</cx:pt>
          <cx:pt idx="1239">0</cx:pt>
          <cx:pt idx="1240">0</cx:pt>
          <cx:pt idx="1241">0</cx:pt>
          <cx:pt idx="1242">0</cx:pt>
          <cx:pt idx="1243">1</cx:pt>
          <cx:pt idx="1244">1</cx:pt>
          <cx:pt idx="1245">0</cx:pt>
          <cx:pt idx="1246">0</cx:pt>
          <cx:pt idx="1247">0</cx:pt>
          <cx:pt idx="1248">1</cx:pt>
          <cx:pt idx="1249">0</cx:pt>
          <cx:pt idx="1250">0</cx:pt>
          <cx:pt idx="1251">0</cx:pt>
          <cx:pt idx="1252">1</cx:pt>
          <cx:pt idx="1253">0</cx:pt>
          <cx:pt idx="1254">0</cx:pt>
          <cx:pt idx="1255">0</cx:pt>
          <cx:pt idx="1256">0</cx:pt>
          <cx:pt idx="1257">0</cx:pt>
          <cx:pt idx="1258">1</cx:pt>
          <cx:pt idx="1259">0</cx:pt>
          <cx:pt idx="1260">0</cx:pt>
          <cx:pt idx="1261">0</cx:pt>
          <cx:pt idx="1262">0</cx:pt>
          <cx:pt idx="1263">0</cx:pt>
          <cx:pt idx="1264">1</cx:pt>
          <cx:pt idx="1265">0</cx:pt>
          <cx:pt idx="1266">1</cx:pt>
          <cx:pt idx="1267">1</cx:pt>
          <cx:pt idx="1268">1</cx:pt>
          <cx:pt idx="1269">1</cx:pt>
          <cx:pt idx="1270">1</cx:pt>
          <cx:pt idx="1271">0</cx:pt>
          <cx:pt idx="1272">0</cx:pt>
          <cx:pt idx="1273">0</cx:pt>
          <cx:pt idx="1274">1</cx:pt>
          <cx:pt idx="1275">1</cx:pt>
          <cx:pt idx="1276">0</cx:pt>
          <cx:pt idx="1277">0</cx:pt>
          <cx:pt idx="1278">0</cx:pt>
          <cx:pt idx="1279">1</cx:pt>
          <cx:pt idx="1280">0</cx:pt>
          <cx:pt idx="1281">1</cx:pt>
          <cx:pt idx="1282">1</cx:pt>
          <cx:pt idx="1283">0</cx:pt>
          <cx:pt idx="1284">1</cx:pt>
          <cx:pt idx="1285">1</cx:pt>
          <cx:pt idx="1286">0</cx:pt>
          <cx:pt idx="1287">0</cx:pt>
          <cx:pt idx="1288">1</cx:pt>
          <cx:pt idx="1289">0</cx:pt>
          <cx:pt idx="1290">0</cx:pt>
          <cx:pt idx="1291">1</cx:pt>
          <cx:pt idx="1292">0</cx:pt>
          <cx:pt idx="1293">1</cx:pt>
          <cx:pt idx="1294">0</cx:pt>
          <cx:pt idx="1295">1</cx:pt>
          <cx:pt idx="1296">0</cx:pt>
          <cx:pt idx="1297">1</cx:pt>
          <cx:pt idx="1298">0</cx:pt>
          <cx:pt idx="1299">0</cx:pt>
          <cx:pt idx="1300">0</cx:pt>
          <cx:pt idx="1301">0</cx:pt>
          <cx:pt idx="1302">1</cx:pt>
          <cx:pt idx="1303">0</cx:pt>
          <cx:pt idx="1304">0</cx:pt>
          <cx:pt idx="1305">1</cx:pt>
          <cx:pt idx="1306">1</cx:pt>
          <cx:pt idx="1307">0</cx:pt>
          <cx:pt idx="1308">1</cx:pt>
          <cx:pt idx="1309">0</cx:pt>
          <cx:pt idx="1310">0</cx:pt>
          <cx:pt idx="1311">1</cx:pt>
          <cx:pt idx="1312">0</cx:pt>
          <cx:pt idx="1313">0</cx:pt>
          <cx:pt idx="1314">0</cx:pt>
          <cx:pt idx="1315">1</cx:pt>
          <cx:pt idx="1316">0</cx:pt>
          <cx:pt idx="1317">0</cx:pt>
          <cx:pt idx="1318">0</cx:pt>
          <cx:pt idx="1319">0</cx:pt>
          <cx:pt idx="1320">1</cx:pt>
          <cx:pt idx="1321">1</cx:pt>
          <cx:pt idx="1322">0</cx:pt>
          <cx:pt idx="1323">0</cx:pt>
          <cx:pt idx="1324">0</cx:pt>
          <cx:pt idx="1325">0</cx:pt>
          <cx:pt idx="1326">1</cx:pt>
          <cx:pt idx="1327">0</cx:pt>
          <cx:pt idx="1328">0</cx:pt>
          <cx:pt idx="1329">1</cx:pt>
          <cx:pt idx="1330">0</cx:pt>
          <cx:pt idx="1331">0</cx:pt>
          <cx:pt idx="1332">0</cx:pt>
          <cx:pt idx="1333">0</cx:pt>
          <cx:pt idx="1334">0</cx:pt>
          <cx:pt idx="1335">1</cx:pt>
          <cx:pt idx="1336">0</cx:pt>
          <cx:pt idx="1337">1</cx:pt>
          <cx:pt idx="1338">0</cx:pt>
          <cx:pt idx="1339">0</cx:pt>
          <cx:pt idx="1340">0</cx:pt>
          <cx:pt idx="1341">1</cx:pt>
          <cx:pt idx="1342">0</cx:pt>
          <cx:pt idx="1343">0</cx:pt>
          <cx:pt idx="1344">1</cx:pt>
          <cx:pt idx="1345">0</cx:pt>
          <cx:pt idx="1346">0</cx:pt>
          <cx:pt idx="1347">1</cx:pt>
          <cx:pt idx="1348">1</cx:pt>
          <cx:pt idx="1349">1</cx:pt>
          <cx:pt idx="1350">0</cx:pt>
          <cx:pt idx="1351">0</cx:pt>
          <cx:pt idx="1352">0</cx:pt>
          <cx:pt idx="1353">0</cx:pt>
          <cx:pt idx="1354">1</cx:pt>
          <cx:pt idx="1355">1</cx:pt>
          <cx:pt idx="1356">1</cx:pt>
          <cx:pt idx="1357">0</cx:pt>
          <cx:pt idx="1358">0</cx:pt>
          <cx:pt idx="1359">0</cx:pt>
          <cx:pt idx="1360">0</cx:pt>
          <cx:pt idx="1361">0</cx:pt>
          <cx:pt idx="1362">0</cx:pt>
          <cx:pt idx="1363">0</cx:pt>
          <cx:pt idx="1364">1</cx:pt>
          <cx:pt idx="1365">0</cx:pt>
          <cx:pt idx="1366">0</cx:pt>
          <cx:pt idx="1367">0</cx:pt>
          <cx:pt idx="1368">1</cx:pt>
          <cx:pt idx="1369">1</cx:pt>
          <cx:pt idx="1370">0</cx:pt>
          <cx:pt idx="1371">0</cx:pt>
          <cx:pt idx="1372">1</cx:pt>
          <cx:pt idx="1373">1</cx:pt>
          <cx:pt idx="1374">1</cx:pt>
          <cx:pt idx="1375">1</cx:pt>
          <cx:pt idx="1376">0</cx:pt>
          <cx:pt idx="1377">0</cx:pt>
          <cx:pt idx="1378">1</cx:pt>
          <cx:pt idx="1379">0</cx:pt>
          <cx:pt idx="1380">0</cx:pt>
          <cx:pt idx="1381">0</cx:pt>
          <cx:pt idx="1382">1</cx:pt>
          <cx:pt idx="1383">0</cx:pt>
          <cx:pt idx="1384">0</cx:pt>
          <cx:pt idx="1385">0</cx:pt>
          <cx:pt idx="1386">1</cx:pt>
          <cx:pt idx="1387">1</cx:pt>
          <cx:pt idx="1388">0</cx:pt>
          <cx:pt idx="1389">0</cx:pt>
          <cx:pt idx="1390">0</cx:pt>
          <cx:pt idx="1391">1</cx:pt>
          <cx:pt idx="1392">0</cx:pt>
          <cx:pt idx="1393">1</cx:pt>
          <cx:pt idx="1394">1</cx:pt>
          <cx:pt idx="1395">0</cx:pt>
          <cx:pt idx="1396">0</cx:pt>
          <cx:pt idx="1397">1</cx:pt>
          <cx:pt idx="1398">0</cx:pt>
          <cx:pt idx="1399">1</cx:pt>
          <cx:pt idx="1400">0</cx:pt>
          <cx:pt idx="1401">0</cx:pt>
          <cx:pt idx="1402">0</cx:pt>
          <cx:pt idx="1403">0</cx:pt>
          <cx:pt idx="1404">0</cx:pt>
          <cx:pt idx="1405">1</cx:pt>
          <cx:pt idx="1406">0</cx:pt>
          <cx:pt idx="1407">1</cx:pt>
          <cx:pt idx="1408">0</cx:pt>
          <cx:pt idx="1409">1</cx:pt>
          <cx:pt idx="1410">1</cx:pt>
          <cx:pt idx="1411">0</cx:pt>
          <cx:pt idx="1412">0</cx:pt>
          <cx:pt idx="1413">0</cx:pt>
          <cx:pt idx="1414">0</cx:pt>
          <cx:pt idx="1415">1</cx:pt>
          <cx:pt idx="1416">0</cx:pt>
          <cx:pt idx="1417">1</cx:pt>
          <cx:pt idx="1418">1</cx:pt>
          <cx:pt idx="1419">1</cx:pt>
          <cx:pt idx="1420">1</cx:pt>
          <cx:pt idx="1421">0</cx:pt>
          <cx:pt idx="1422">1</cx:pt>
          <cx:pt idx="1423">1</cx:pt>
          <cx:pt idx="1424">0</cx:pt>
          <cx:pt idx="1425">0</cx:pt>
          <cx:pt idx="1426">0</cx:pt>
          <cx:pt idx="1427">0</cx:pt>
          <cx:pt idx="1428">1</cx:pt>
          <cx:pt idx="1429">1</cx:pt>
          <cx:pt idx="1430">1</cx:pt>
          <cx:pt idx="1431">1</cx:pt>
          <cx:pt idx="1432">1</cx:pt>
          <cx:pt idx="1433">1</cx:pt>
          <cx:pt idx="1434">0</cx:pt>
          <cx:pt idx="1435">1</cx:pt>
          <cx:pt idx="1436">0</cx:pt>
          <cx:pt idx="1437">1</cx:pt>
          <cx:pt idx="1438">0</cx:pt>
          <cx:pt idx="1439">1</cx:pt>
          <cx:pt idx="1440">1</cx:pt>
          <cx:pt idx="1441">0</cx:pt>
          <cx:pt idx="1442">0</cx:pt>
          <cx:pt idx="1443">1</cx:pt>
          <cx:pt idx="1444">1</cx:pt>
          <cx:pt idx="1445">0</cx:pt>
          <cx:pt idx="1446">0</cx:pt>
          <cx:pt idx="1447">0</cx:pt>
          <cx:pt idx="1448">0</cx:pt>
          <cx:pt idx="1449">1</cx:pt>
          <cx:pt idx="1450">0</cx:pt>
          <cx:pt idx="1451">0</cx:pt>
          <cx:pt idx="1452">0</cx:pt>
          <cx:pt idx="1453">0</cx:pt>
          <cx:pt idx="1454">1</cx:pt>
          <cx:pt idx="1455">0</cx:pt>
          <cx:pt idx="1456">0</cx:pt>
          <cx:pt idx="1457">1</cx:pt>
          <cx:pt idx="1458">0</cx:pt>
          <cx:pt idx="1459">1</cx:pt>
          <cx:pt idx="1460">0</cx:pt>
          <cx:pt idx="1461">0</cx:pt>
          <cx:pt idx="1462">1</cx:pt>
          <cx:pt idx="1463">0</cx:pt>
          <cx:pt idx="1464">0</cx:pt>
          <cx:pt idx="1465">1</cx:pt>
          <cx:pt idx="1466">0</cx:pt>
          <cx:pt idx="1467">0</cx:pt>
          <cx:pt idx="1468">0</cx:pt>
          <cx:pt idx="1469">0</cx:pt>
          <cx:pt idx="1470">1</cx:pt>
          <cx:pt idx="1471">1</cx:pt>
          <cx:pt idx="1472">0</cx:pt>
          <cx:pt idx="1473">1</cx:pt>
          <cx:pt idx="1474">1</cx:pt>
          <cx:pt idx="1475">0</cx:pt>
          <cx:pt idx="1476">1</cx:pt>
          <cx:pt idx="1477">1</cx:pt>
          <cx:pt idx="1478">1</cx:pt>
          <cx:pt idx="1479">0</cx:pt>
          <cx:pt idx="1480">0</cx:pt>
          <cx:pt idx="1481">1</cx:pt>
          <cx:pt idx="1482">0</cx:pt>
          <cx:pt idx="1483">0</cx:pt>
          <cx:pt idx="1484">1</cx:pt>
          <cx:pt idx="1485">1</cx:pt>
          <cx:pt idx="1486">0</cx:pt>
          <cx:pt idx="1487">0</cx:pt>
          <cx:pt idx="1488">1</cx:pt>
          <cx:pt idx="1489">0</cx:pt>
          <cx:pt idx="1490">0</cx:pt>
          <cx:pt idx="1491">0</cx:pt>
          <cx:pt idx="1492">1</cx:pt>
          <cx:pt idx="1493">0</cx:pt>
          <cx:pt idx="1494">0</cx:pt>
          <cx:pt idx="1495">0</cx:pt>
          <cx:pt idx="1496">1</cx:pt>
          <cx:pt idx="1497">0</cx:pt>
          <cx:pt idx="1498">0</cx:pt>
          <cx:pt idx="1499">1</cx:pt>
          <cx:pt idx="1500">1</cx:pt>
          <cx:pt idx="1501">1</cx:pt>
          <cx:pt idx="1502">1</cx:pt>
          <cx:pt idx="1503">0</cx:pt>
          <cx:pt idx="1504">0</cx:pt>
          <cx:pt idx="1505">1</cx:pt>
          <cx:pt idx="1506">1</cx:pt>
          <cx:pt idx="1507">0</cx:pt>
          <cx:pt idx="1508">0</cx:pt>
          <cx:pt idx="1509">0</cx:pt>
          <cx:pt idx="1510">0</cx:pt>
          <cx:pt idx="1511">1</cx:pt>
          <cx:pt idx="1512">0</cx:pt>
          <cx:pt idx="1513">0</cx:pt>
          <cx:pt idx="1514">1</cx:pt>
          <cx:pt idx="1515">0</cx:pt>
          <cx:pt idx="1516">1</cx:pt>
          <cx:pt idx="1517">0</cx:pt>
          <cx:pt idx="1518">0</cx:pt>
          <cx:pt idx="1519">0</cx:pt>
          <cx:pt idx="1520">1</cx:pt>
          <cx:pt idx="1521">1</cx:pt>
          <cx:pt idx="1522">1</cx:pt>
          <cx:pt idx="1523">0</cx:pt>
          <cx:pt idx="1524">0</cx:pt>
          <cx:pt idx="1525">1</cx:pt>
          <cx:pt idx="1526">1</cx:pt>
          <cx:pt idx="1527">1</cx:pt>
          <cx:pt idx="1528">0</cx:pt>
          <cx:pt idx="1529">0</cx:pt>
          <cx:pt idx="1530">1</cx:pt>
          <cx:pt idx="1531">0</cx:pt>
          <cx:pt idx="1532">0</cx:pt>
          <cx:pt idx="1533">0</cx:pt>
          <cx:pt idx="1534">0</cx:pt>
          <cx:pt idx="1535">1</cx:pt>
          <cx:pt idx="1536">0</cx:pt>
          <cx:pt idx="1537">0</cx:pt>
          <cx:pt idx="1538">0</cx:pt>
          <cx:pt idx="1539">1</cx:pt>
          <cx:pt idx="1540">0</cx:pt>
          <cx:pt idx="1541">0</cx:pt>
          <cx:pt idx="1542">0</cx:pt>
          <cx:pt idx="1543">0</cx:pt>
          <cx:pt idx="1544">0</cx:pt>
          <cx:pt idx="1545">0</cx:pt>
          <cx:pt idx="1546">1</cx:pt>
          <cx:pt idx="1547">1</cx:pt>
          <cx:pt idx="1548">1</cx:pt>
          <cx:pt idx="1549">1</cx:pt>
          <cx:pt idx="1550">0</cx:pt>
          <cx:pt idx="1551">1</cx:pt>
          <cx:pt idx="1552">0</cx:pt>
          <cx:pt idx="1553">0</cx:pt>
          <cx:pt idx="1554">1</cx:pt>
          <cx:pt idx="1555">0</cx:pt>
          <cx:pt idx="1556">0</cx:pt>
          <cx:pt idx="1557">0</cx:pt>
          <cx:pt idx="1558">0</cx:pt>
          <cx:pt idx="1559">1</cx:pt>
          <cx:pt idx="1560">0</cx:pt>
          <cx:pt idx="1561">0</cx:pt>
          <cx:pt idx="1562">1</cx:pt>
          <cx:pt idx="1563">0</cx:pt>
          <cx:pt idx="1564">0</cx:pt>
          <cx:pt idx="1565">1</cx:pt>
          <cx:pt idx="1566">0</cx:pt>
          <cx:pt idx="1567">0</cx:pt>
          <cx:pt idx="1568">1</cx:pt>
          <cx:pt idx="1569">0</cx:pt>
          <cx:pt idx="1570">0</cx:pt>
          <cx:pt idx="1571">0</cx:pt>
          <cx:pt idx="1572">1</cx:pt>
          <cx:pt idx="1573">0</cx:pt>
          <cx:pt idx="1574">0</cx:pt>
          <cx:pt idx="1575">1</cx:pt>
          <cx:pt idx="1576">1</cx:pt>
          <cx:pt idx="1577">1</cx:pt>
          <cx:pt idx="1578">0</cx:pt>
          <cx:pt idx="1579">0</cx:pt>
          <cx:pt idx="1580">1</cx:pt>
          <cx:pt idx="1581">1</cx:pt>
          <cx:pt idx="1582">0</cx:pt>
          <cx:pt idx="1583">1</cx:pt>
          <cx:pt idx="1584">0</cx:pt>
          <cx:pt idx="1585">0</cx:pt>
          <cx:pt idx="1586">1</cx:pt>
          <cx:pt idx="1587">1</cx:pt>
          <cx:pt idx="1588">0</cx:pt>
          <cx:pt idx="1589">1</cx:pt>
          <cx:pt idx="1590">1</cx:pt>
          <cx:pt idx="1591">0</cx:pt>
          <cx:pt idx="1592">0</cx:pt>
          <cx:pt idx="1593">0</cx:pt>
          <cx:pt idx="1594">1</cx:pt>
          <cx:pt idx="1595">0</cx:pt>
          <cx:pt idx="1596">0</cx:pt>
          <cx:pt idx="1597">1</cx:pt>
          <cx:pt idx="1598">1</cx:pt>
          <cx:pt idx="1599">0</cx:pt>
          <cx:pt idx="1600">0</cx:pt>
          <cx:pt idx="1601">1</cx:pt>
          <cx:pt idx="1602">1</cx:pt>
          <cx:pt idx="1603">0</cx:pt>
          <cx:pt idx="1604">1</cx:pt>
          <cx:pt idx="1605">0</cx:pt>
          <cx:pt idx="1606">0</cx:pt>
          <cx:pt idx="1607">0</cx:pt>
          <cx:pt idx="1608">0</cx:pt>
          <cx:pt idx="1609">1</cx:pt>
          <cx:pt idx="1610">0</cx:pt>
          <cx:pt idx="1611">0</cx:pt>
          <cx:pt idx="1612">0</cx:pt>
          <cx:pt idx="1613">1</cx:pt>
          <cx:pt idx="1614">1</cx:pt>
          <cx:pt idx="1615">0</cx:pt>
          <cx:pt idx="1616">1</cx:pt>
          <cx:pt idx="1617">1</cx:pt>
          <cx:pt idx="1618">1</cx:pt>
          <cx:pt idx="1619">1</cx:pt>
          <cx:pt idx="1620">1</cx:pt>
          <cx:pt idx="1621">1</cx:pt>
          <cx:pt idx="1622">0</cx:pt>
          <cx:pt idx="1623">1</cx:pt>
          <cx:pt idx="1624">1</cx:pt>
          <cx:pt idx="1625">1</cx:pt>
          <cx:pt idx="1626">0</cx:pt>
          <cx:pt idx="1627">0</cx:pt>
          <cx:pt idx="1628">0</cx:pt>
          <cx:pt idx="1629">1</cx:pt>
          <cx:pt idx="1630">0</cx:pt>
          <cx:pt idx="1631">1</cx:pt>
          <cx:pt idx="1632">0</cx:pt>
          <cx:pt idx="1633">1</cx:pt>
          <cx:pt idx="1634">0</cx:pt>
          <cx:pt idx="1635">1</cx:pt>
          <cx:pt idx="1636">1</cx:pt>
          <cx:pt idx="1637">0</cx:pt>
          <cx:pt idx="1638">1</cx:pt>
          <cx:pt idx="1639">0</cx:pt>
          <cx:pt idx="1640">0</cx:pt>
          <cx:pt idx="1641">0</cx:pt>
          <cx:pt idx="1642">1</cx:pt>
          <cx:pt idx="1643">1</cx:pt>
          <cx:pt idx="1644">1</cx:pt>
          <cx:pt idx="1645">0</cx:pt>
          <cx:pt idx="1646">0</cx:pt>
          <cx:pt idx="1647">0</cx:pt>
          <cx:pt idx="1648">0</cx:pt>
          <cx:pt idx="1649">0</cx:pt>
          <cx:pt idx="1650">0</cx:pt>
          <cx:pt idx="1651">1</cx:pt>
          <cx:pt idx="1652">0</cx:pt>
          <cx:pt idx="1653">0</cx:pt>
          <cx:pt idx="1654">1</cx:pt>
          <cx:pt idx="1655">1</cx:pt>
          <cx:pt idx="1656">1</cx:pt>
          <cx:pt idx="1657">1</cx:pt>
          <cx:pt idx="1658">0</cx:pt>
          <cx:pt idx="1659">1</cx:pt>
          <cx:pt idx="1660">0</cx:pt>
          <cx:pt idx="1661">1</cx:pt>
          <cx:pt idx="1662">0</cx:pt>
          <cx:pt idx="1663">1</cx:pt>
          <cx:pt idx="1664">1</cx:pt>
          <cx:pt idx="1665">0</cx:pt>
          <cx:pt idx="1666">0</cx:pt>
          <cx:pt idx="1667">1</cx:pt>
          <cx:pt idx="1668">1</cx:pt>
          <cx:pt idx="1669">1</cx:pt>
          <cx:pt idx="1670">0</cx:pt>
          <cx:pt idx="1671">0</cx:pt>
          <cx:pt idx="1672">1</cx:pt>
          <cx:pt idx="1673">0</cx:pt>
          <cx:pt idx="1674">0</cx:pt>
          <cx:pt idx="1675">1</cx:pt>
          <cx:pt idx="1676">0</cx:pt>
          <cx:pt idx="1677">1</cx:pt>
          <cx:pt idx="1678">1</cx:pt>
          <cx:pt idx="1679">1</cx:pt>
          <cx:pt idx="1680">1</cx:pt>
          <cx:pt idx="1681">1</cx:pt>
          <cx:pt idx="1682">0</cx:pt>
          <cx:pt idx="1683">1</cx:pt>
          <cx:pt idx="1684">0</cx:pt>
          <cx:pt idx="1685">1</cx:pt>
          <cx:pt idx="1686">0</cx:pt>
          <cx:pt idx="1687">1</cx:pt>
          <cx:pt idx="1688">1</cx:pt>
          <cx:pt idx="1689">0</cx:pt>
          <cx:pt idx="1690">0</cx:pt>
          <cx:pt idx="1691">0</cx:pt>
          <cx:pt idx="1692">0</cx:pt>
          <cx:pt idx="1693">1</cx:pt>
          <cx:pt idx="1694">0</cx:pt>
          <cx:pt idx="1695">0</cx:pt>
          <cx:pt idx="1696">0</cx:pt>
          <cx:pt idx="1697">1</cx:pt>
          <cx:pt idx="1698">0</cx:pt>
          <cx:pt idx="1699">0</cx:pt>
          <cx:pt idx="1700">1</cx:pt>
          <cx:pt idx="1701">0</cx:pt>
          <cx:pt idx="1702">1</cx:pt>
          <cx:pt idx="1703">1</cx:pt>
          <cx:pt idx="1704">1</cx:pt>
          <cx:pt idx="1705">1</cx:pt>
          <cx:pt idx="1706">1</cx:pt>
          <cx:pt idx="1707">0</cx:pt>
          <cx:pt idx="1708">1</cx:pt>
          <cx:pt idx="1709">0</cx:pt>
          <cx:pt idx="1710">1</cx:pt>
          <cx:pt idx="1711">0</cx:pt>
          <cx:pt idx="1712">0</cx:pt>
          <cx:pt idx="1713">0</cx:pt>
          <cx:pt idx="1714">1</cx:pt>
          <cx:pt idx="1715">1</cx:pt>
          <cx:pt idx="1716">0</cx:pt>
          <cx:pt idx="1717">0</cx:pt>
          <cx:pt idx="1718">0</cx:pt>
          <cx:pt idx="1719">0</cx:pt>
          <cx:pt idx="1720">1</cx:pt>
          <cx:pt idx="1721">1</cx:pt>
          <cx:pt idx="1722">1</cx:pt>
          <cx:pt idx="1723">0</cx:pt>
          <cx:pt idx="1724">1</cx:pt>
          <cx:pt idx="1725">1</cx:pt>
          <cx:pt idx="1726">1</cx:pt>
          <cx:pt idx="1727">1</cx:pt>
          <cx:pt idx="1728">1</cx:pt>
          <cx:pt idx="1729">0</cx:pt>
          <cx:pt idx="1730">0</cx:pt>
          <cx:pt idx="1731">1</cx:pt>
          <cx:pt idx="1732">1</cx:pt>
          <cx:pt idx="1733">1</cx:pt>
          <cx:pt idx="1734">1</cx:pt>
          <cx:pt idx="1735">1</cx:pt>
          <cx:pt idx="1736">1</cx:pt>
          <cx:pt idx="1737">1</cx:pt>
          <cx:pt idx="1738">1</cx:pt>
          <cx:pt idx="1739">0</cx:pt>
          <cx:pt idx="1740">1</cx:pt>
          <cx:pt idx="1741">0</cx:pt>
          <cx:pt idx="1742">0</cx:pt>
          <cx:pt idx="1743">1</cx:pt>
          <cx:pt idx="1744">1</cx:pt>
          <cx:pt idx="1745">0</cx:pt>
          <cx:pt idx="1746">0</cx:pt>
          <cx:pt idx="1747">0</cx:pt>
          <cx:pt idx="1748">0</cx:pt>
          <cx:pt idx="1749">0</cx:pt>
          <cx:pt idx="1750">0</cx:pt>
          <cx:pt idx="1751">0</cx:pt>
          <cx:pt idx="1752">0</cx:pt>
          <cx:pt idx="1753">0</cx:pt>
          <cx:pt idx="1754">0</cx:pt>
          <cx:pt idx="1755">0</cx:pt>
          <cx:pt idx="1756">0</cx:pt>
          <cx:pt idx="1757">0</cx:pt>
          <cx:pt idx="1758">0</cx:pt>
          <cx:pt idx="1759">0</cx:pt>
          <cx:pt idx="1760">0</cx:pt>
          <cx:pt idx="1761">0</cx:pt>
          <cx:pt idx="1762">0</cx:pt>
          <cx:pt idx="1763">1</cx:pt>
          <cx:pt idx="1764">0</cx:pt>
          <cx:pt idx="1765">0</cx:pt>
          <cx:pt idx="1766">0</cx:pt>
          <cx:pt idx="1767">0</cx:pt>
          <cx:pt idx="1768">1</cx:pt>
          <cx:pt idx="1769">1</cx:pt>
          <cx:pt idx="1770">0</cx:pt>
          <cx:pt idx="1771">0</cx:pt>
          <cx:pt idx="1772">0</cx:pt>
          <cx:pt idx="1773">0</cx:pt>
          <cx:pt idx="1774">1</cx:pt>
          <cx:pt idx="1775">0</cx:pt>
          <cx:pt idx="1776">0</cx:pt>
          <cx:pt idx="1777">1</cx:pt>
          <cx:pt idx="1778">0</cx:pt>
          <cx:pt idx="1779">1</cx:pt>
          <cx:pt idx="1780">0</cx:pt>
          <cx:pt idx="1781">1</cx:pt>
          <cx:pt idx="1782">0</cx:pt>
          <cx:pt idx="1783">0</cx:pt>
          <cx:pt idx="1784">0</cx:pt>
          <cx:pt idx="1785">0</cx:pt>
          <cx:pt idx="1786">0</cx:pt>
          <cx:pt idx="1787">1</cx:pt>
          <cx:pt idx="1788">1</cx:pt>
          <cx:pt idx="1789">0</cx:pt>
          <cx:pt idx="1790">1</cx:pt>
          <cx:pt idx="1791">1</cx:pt>
          <cx:pt idx="1792">0</cx:pt>
          <cx:pt idx="1793">0</cx:pt>
          <cx:pt idx="1794">0</cx:pt>
          <cx:pt idx="1795">0</cx:pt>
          <cx:pt idx="1796">1</cx:pt>
          <cx:pt idx="1797">1</cx:pt>
          <cx:pt idx="1798">0</cx:pt>
          <cx:pt idx="1799">1</cx:pt>
          <cx:pt idx="1800">1</cx:pt>
          <cx:pt idx="1801">0</cx:pt>
          <cx:pt idx="1802">0</cx:pt>
          <cx:pt idx="1803">1</cx:pt>
          <cx:pt idx="1804">0</cx:pt>
          <cx:pt idx="1805">1</cx:pt>
          <cx:pt idx="1806">0</cx:pt>
          <cx:pt idx="1807">0</cx:pt>
          <cx:pt idx="1808">1</cx:pt>
          <cx:pt idx="1809">0</cx:pt>
          <cx:pt idx="1810">0</cx:pt>
          <cx:pt idx="1811">0</cx:pt>
          <cx:pt idx="1812">1</cx:pt>
          <cx:pt idx="1813">0</cx:pt>
          <cx:pt idx="1814">0</cx:pt>
          <cx:pt idx="1815">1</cx:pt>
          <cx:pt idx="1816">1</cx:pt>
          <cx:pt idx="1817">0</cx:pt>
          <cx:pt idx="1818">0</cx:pt>
          <cx:pt idx="1819">0</cx:pt>
          <cx:pt idx="1820">1</cx:pt>
          <cx:pt idx="1821">0</cx:pt>
          <cx:pt idx="1822">1</cx:pt>
          <cx:pt idx="1823">1</cx:pt>
          <cx:pt idx="1824">0</cx:pt>
          <cx:pt idx="1825">0</cx:pt>
          <cx:pt idx="1826">0</cx:pt>
          <cx:pt idx="1827">1</cx:pt>
          <cx:pt idx="1828">0</cx:pt>
          <cx:pt idx="1829">1</cx:pt>
          <cx:pt idx="1830">0</cx:pt>
          <cx:pt idx="1831">1</cx:pt>
          <cx:pt idx="1832">0</cx:pt>
          <cx:pt idx="1833">1</cx:pt>
          <cx:pt idx="1834">0</cx:pt>
          <cx:pt idx="1835">0</cx:pt>
          <cx:pt idx="1836">0</cx:pt>
          <cx:pt idx="1837">0</cx:pt>
          <cx:pt idx="1838">0</cx:pt>
          <cx:pt idx="1839">1</cx:pt>
          <cx:pt idx="1840">1</cx:pt>
          <cx:pt idx="1841">1</cx:pt>
          <cx:pt idx="1842">1</cx:pt>
          <cx:pt idx="1843">1</cx:pt>
          <cx:pt idx="1844">1</cx:pt>
          <cx:pt idx="1845">0</cx:pt>
          <cx:pt idx="1846">1</cx:pt>
          <cx:pt idx="1847">0</cx:pt>
          <cx:pt idx="1848">0</cx:pt>
          <cx:pt idx="1849">0</cx:pt>
          <cx:pt idx="1850">1</cx:pt>
          <cx:pt idx="1851">1</cx:pt>
          <cx:pt idx="1852">1</cx:pt>
          <cx:pt idx="1853">0</cx:pt>
          <cx:pt idx="1854">0</cx:pt>
          <cx:pt idx="1855">1</cx:pt>
          <cx:pt idx="1856">0</cx:pt>
          <cx:pt idx="1857">0</cx:pt>
          <cx:pt idx="1858">0</cx:pt>
          <cx:pt idx="1859">1</cx:pt>
          <cx:pt idx="1860">0</cx:pt>
          <cx:pt idx="1861">1</cx:pt>
          <cx:pt idx="1862">0</cx:pt>
          <cx:pt idx="1863">1</cx:pt>
          <cx:pt idx="1864">0</cx:pt>
          <cx:pt idx="1865">0</cx:pt>
          <cx:pt idx="1866">0</cx:pt>
          <cx:pt idx="1867">1</cx:pt>
          <cx:pt idx="1868">1</cx:pt>
          <cx:pt idx="1869">0</cx:pt>
          <cx:pt idx="1870">0</cx:pt>
          <cx:pt idx="1871">1</cx:pt>
          <cx:pt idx="1872">1</cx:pt>
          <cx:pt idx="1873">0</cx:pt>
          <cx:pt idx="1874">0</cx:pt>
          <cx:pt idx="1875">0</cx:pt>
          <cx:pt idx="1876">0</cx:pt>
          <cx:pt idx="1877">1</cx:pt>
          <cx:pt idx="1878">0</cx:pt>
          <cx:pt idx="1879">0</cx:pt>
          <cx:pt idx="1880">1</cx:pt>
          <cx:pt idx="1881">1</cx:pt>
          <cx:pt idx="1882">0</cx:pt>
          <cx:pt idx="1883">0</cx:pt>
          <cx:pt idx="1884">0</cx:pt>
          <cx:pt idx="1885">0</cx:pt>
          <cx:pt idx="1886">0</cx:pt>
          <cx:pt idx="1887">1</cx:pt>
          <cx:pt idx="1888">0</cx:pt>
          <cx:pt idx="1889">1</cx:pt>
          <cx:pt idx="1890">1</cx:pt>
          <cx:pt idx="1891">0</cx:pt>
          <cx:pt idx="1892">0</cx:pt>
          <cx:pt idx="1893">1</cx:pt>
          <cx:pt idx="1894">1</cx:pt>
          <cx:pt idx="1895">1</cx:pt>
          <cx:pt idx="1896">0</cx:pt>
          <cx:pt idx="1897">0</cx:pt>
          <cx:pt idx="1898">1</cx:pt>
          <cx:pt idx="1899">1</cx:pt>
          <cx:pt idx="1900">1</cx:pt>
          <cx:pt idx="1901">0</cx:pt>
          <cx:pt idx="1902">0</cx:pt>
          <cx:pt idx="1903">1</cx:pt>
          <cx:pt idx="1904">0</cx:pt>
          <cx:pt idx="1905">1</cx:pt>
          <cx:pt idx="1906">1</cx:pt>
          <cx:pt idx="1907">0</cx:pt>
          <cx:pt idx="1908">0</cx:pt>
          <cx:pt idx="1909">0</cx:pt>
          <cx:pt idx="1910">1</cx:pt>
          <cx:pt idx="1911">1</cx:pt>
          <cx:pt idx="1912">1</cx:pt>
          <cx:pt idx="1913">1</cx:pt>
          <cx:pt idx="1914">0</cx:pt>
          <cx:pt idx="1915">0</cx:pt>
          <cx:pt idx="1916">0</cx:pt>
          <cx:pt idx="1917">0</cx:pt>
          <cx:pt idx="1918">0</cx:pt>
          <cx:pt idx="1919">1</cx:pt>
          <cx:pt idx="1920">0</cx:pt>
          <cx:pt idx="1921">1</cx:pt>
          <cx:pt idx="1922">0</cx:pt>
          <cx:pt idx="1923">1</cx:pt>
          <cx:pt idx="1924">0</cx:pt>
          <cx:pt idx="1925">0</cx:pt>
          <cx:pt idx="1926">1</cx:pt>
          <cx:pt idx="1927">1</cx:pt>
          <cx:pt idx="1928">1</cx:pt>
          <cx:pt idx="1929">0</cx:pt>
          <cx:pt idx="1930">0</cx:pt>
          <cx:pt idx="1931">1</cx:pt>
          <cx:pt idx="1932">0</cx:pt>
          <cx:pt idx="1933">0</cx:pt>
          <cx:pt idx="1934">1</cx:pt>
          <cx:pt idx="1935">0</cx:pt>
          <cx:pt idx="1936">0</cx:pt>
          <cx:pt idx="1937">1</cx:pt>
          <cx:pt idx="1938">1</cx:pt>
          <cx:pt idx="1939">0</cx:pt>
          <cx:pt idx="1940">0</cx:pt>
          <cx:pt idx="1941">1</cx:pt>
          <cx:pt idx="1942">1</cx:pt>
          <cx:pt idx="1943">0</cx:pt>
          <cx:pt idx="1944">0</cx:pt>
          <cx:pt idx="1945">0</cx:pt>
          <cx:pt idx="1946">0</cx:pt>
          <cx:pt idx="1947">1</cx:pt>
          <cx:pt idx="1948">1</cx:pt>
          <cx:pt idx="1949">1</cx:pt>
          <cx:pt idx="1950">1</cx:pt>
          <cx:pt idx="1951">0</cx:pt>
          <cx:pt idx="1952">1</cx:pt>
          <cx:pt idx="1953">1</cx:pt>
          <cx:pt idx="1954">1</cx:pt>
          <cx:pt idx="1955">0</cx:pt>
          <cx:pt idx="1956">0</cx:pt>
          <cx:pt idx="1957">1</cx:pt>
          <cx:pt idx="1958">0</cx:pt>
          <cx:pt idx="1959">0</cx:pt>
          <cx:pt idx="1960">0</cx:pt>
          <cx:pt idx="1961">1</cx:pt>
          <cx:pt idx="1962">0</cx:pt>
          <cx:pt idx="1963">1</cx:pt>
          <cx:pt idx="1964">0</cx:pt>
          <cx:pt idx="1965">0</cx:pt>
          <cx:pt idx="1966">0</cx:pt>
          <cx:pt idx="1967">1</cx:pt>
          <cx:pt idx="1968">0</cx:pt>
          <cx:pt idx="1969">0</cx:pt>
          <cx:pt idx="1970">0</cx:pt>
          <cx:pt idx="1971">1</cx:pt>
          <cx:pt idx="1972">0</cx:pt>
          <cx:pt idx="1973">0</cx:pt>
          <cx:pt idx="1974">0</cx:pt>
          <cx:pt idx="1975">0</cx:pt>
          <cx:pt idx="1976">0</cx:pt>
          <cx:pt idx="1977">0</cx:pt>
          <cx:pt idx="1978">0</cx:pt>
          <cx:pt idx="1979">0</cx:pt>
          <cx:pt idx="1980">0</cx:pt>
          <cx:pt idx="1981">1</cx:pt>
          <cx:pt idx="1982">1</cx:pt>
          <cx:pt idx="1983">0</cx:pt>
          <cx:pt idx="1984">0</cx:pt>
          <cx:pt idx="1985">0</cx:pt>
          <cx:pt idx="1986">1</cx:pt>
          <cx:pt idx="1987">1</cx:pt>
          <cx:pt idx="1988">1</cx:pt>
          <cx:pt idx="1989">0</cx:pt>
          <cx:pt idx="1990">0</cx:pt>
          <cx:pt idx="1991">1</cx:pt>
          <cx:pt idx="1992">0</cx:pt>
          <cx:pt idx="1993">0</cx:pt>
          <cx:pt idx="1994">0</cx:pt>
          <cx:pt idx="1995">1</cx:pt>
          <cx:pt idx="1996">0</cx:pt>
          <cx:pt idx="1997">0</cx:pt>
          <cx:pt idx="1998">1</cx:pt>
          <cx:pt idx="1999">0</cx:pt>
          <cx:pt idx="2000">1</cx:pt>
          <cx:pt idx="2001">1</cx:pt>
          <cx:pt idx="2002">0</cx:pt>
          <cx:pt idx="2003">1</cx:pt>
          <cx:pt idx="2004">0</cx:pt>
          <cx:pt idx="2005">0</cx:pt>
          <cx:pt idx="2006">1</cx:pt>
          <cx:pt idx="2007">1</cx:pt>
          <cx:pt idx="2008">1</cx:pt>
          <cx:pt idx="2009">0</cx:pt>
          <cx:pt idx="2010">0</cx:pt>
          <cx:pt idx="2011">1</cx:pt>
          <cx:pt idx="2012">0</cx:pt>
          <cx:pt idx="2013">1</cx:pt>
          <cx:pt idx="2014">0</cx:pt>
          <cx:pt idx="2015">1</cx:pt>
          <cx:pt idx="2016">1</cx:pt>
          <cx:pt idx="2017">1</cx:pt>
          <cx:pt idx="2018">0</cx:pt>
          <cx:pt idx="2019">0</cx:pt>
          <cx:pt idx="2020">0</cx:pt>
          <cx:pt idx="2021">1</cx:pt>
          <cx:pt idx="2022">1</cx:pt>
          <cx:pt idx="2023">0</cx:pt>
          <cx:pt idx="2024">0</cx:pt>
          <cx:pt idx="2025">0</cx:pt>
          <cx:pt idx="2026">0</cx:pt>
          <cx:pt idx="2027">0</cx:pt>
          <cx:pt idx="2028">1</cx:pt>
          <cx:pt idx="2029">0</cx:pt>
          <cx:pt idx="2030">0</cx:pt>
          <cx:pt idx="2031">0</cx:pt>
          <cx:pt idx="2032">0</cx:pt>
          <cx:pt idx="2033">1</cx:pt>
          <cx:pt idx="2034">0</cx:pt>
          <cx:pt idx="2035">0</cx:pt>
          <cx:pt idx="2036">0</cx:pt>
          <cx:pt idx="2037">0</cx:pt>
          <cx:pt idx="2038">0</cx:pt>
          <cx:pt idx="2039">0</cx:pt>
          <cx:pt idx="2040">0</cx:pt>
          <cx:pt idx="2041">1</cx:pt>
          <cx:pt idx="2042">0</cx:pt>
          <cx:pt idx="2043">0</cx:pt>
          <cx:pt idx="2044">0</cx:pt>
          <cx:pt idx="2045">0</cx:pt>
          <cx:pt idx="2046">1</cx:pt>
          <cx:pt idx="2047">0</cx:pt>
          <cx:pt idx="2048">0</cx:pt>
          <cx:pt idx="2049">0</cx:pt>
          <cx:pt idx="2050">0</cx:pt>
          <cx:pt idx="2051">1</cx:pt>
          <cx:pt idx="2052">1</cx:pt>
          <cx:pt idx="2053">0</cx:pt>
          <cx:pt idx="2054">1</cx:pt>
          <cx:pt idx="2055">0</cx:pt>
          <cx:pt idx="2056">0</cx:pt>
          <cx:pt idx="2057">0</cx:pt>
          <cx:pt idx="2058">0</cx:pt>
          <cx:pt idx="2059">0</cx:pt>
          <cx:pt idx="2060">1</cx:pt>
          <cx:pt idx="2061">1</cx:pt>
          <cx:pt idx="2062">0</cx:pt>
          <cx:pt idx="2063">1</cx:pt>
          <cx:pt idx="2064">0</cx:pt>
          <cx:pt idx="2065">0</cx:pt>
          <cx:pt idx="2066">1</cx:pt>
          <cx:pt idx="2067">1</cx:pt>
          <cx:pt idx="2068">1</cx:pt>
          <cx:pt idx="2069">1</cx:pt>
          <cx:pt idx="2070">1</cx:pt>
          <cx:pt idx="2071">0</cx:pt>
          <cx:pt idx="2072">0</cx:pt>
          <cx:pt idx="2073">0</cx:pt>
          <cx:pt idx="2074">0</cx:pt>
          <cx:pt idx="2075">1</cx:pt>
          <cx:pt idx="2076">0</cx:pt>
          <cx:pt idx="2077">1</cx:pt>
          <cx:pt idx="2078">1</cx:pt>
          <cx:pt idx="2079">0</cx:pt>
          <cx:pt idx="2080">0</cx:pt>
          <cx:pt idx="2081">0</cx:pt>
          <cx:pt idx="2082">0</cx:pt>
          <cx:pt idx="2083">0</cx:pt>
          <cx:pt idx="2084">0</cx:pt>
          <cx:pt idx="2085">1</cx:pt>
          <cx:pt idx="2086">0</cx:pt>
          <cx:pt idx="2087">1</cx:pt>
          <cx:pt idx="2088">0</cx:pt>
          <cx:pt idx="2089">1</cx:pt>
          <cx:pt idx="2090">0</cx:pt>
          <cx:pt idx="2091">1</cx:pt>
          <cx:pt idx="2092">1</cx:pt>
          <cx:pt idx="2093">0</cx:pt>
          <cx:pt idx="2094">1</cx:pt>
          <cx:pt idx="2095">0</cx:pt>
          <cx:pt idx="2096">0</cx:pt>
          <cx:pt idx="2097">1</cx:pt>
          <cx:pt idx="2098">1</cx:pt>
          <cx:pt idx="2099">0</cx:pt>
          <cx:pt idx="2100">1</cx:pt>
          <cx:pt idx="2101">1</cx:pt>
          <cx:pt idx="2102">0</cx:pt>
          <cx:pt idx="2103">1</cx:pt>
          <cx:pt idx="2104">0</cx:pt>
          <cx:pt idx="2105">1</cx:pt>
          <cx:pt idx="2106">0</cx:pt>
          <cx:pt idx="2107">1</cx:pt>
          <cx:pt idx="2108">0</cx:pt>
          <cx:pt idx="2109">0</cx:pt>
          <cx:pt idx="2110">0</cx:pt>
          <cx:pt idx="2111">1</cx:pt>
          <cx:pt idx="2112">0</cx:pt>
          <cx:pt idx="2113">0</cx:pt>
          <cx:pt idx="2114">0</cx:pt>
          <cx:pt idx="2115">1</cx:pt>
          <cx:pt idx="2116">0</cx:pt>
          <cx:pt idx="2117">1</cx:pt>
          <cx:pt idx="2118">1</cx:pt>
          <cx:pt idx="2119">0</cx:pt>
          <cx:pt idx="2120">1</cx:pt>
          <cx:pt idx="2121">1</cx:pt>
          <cx:pt idx="2122">0</cx:pt>
          <cx:pt idx="2123">0</cx:pt>
          <cx:pt idx="2124">0</cx:pt>
          <cx:pt idx="2125">0</cx:pt>
          <cx:pt idx="2126">0</cx:pt>
          <cx:pt idx="2127">0</cx:pt>
          <cx:pt idx="2128">0</cx:pt>
          <cx:pt idx="2129">0</cx:pt>
          <cx:pt idx="2130">1</cx:pt>
          <cx:pt idx="2131">0</cx:pt>
          <cx:pt idx="2132">0</cx:pt>
          <cx:pt idx="2133">0</cx:pt>
          <cx:pt idx="2134">1</cx:pt>
          <cx:pt idx="2135">1</cx:pt>
          <cx:pt idx="2136">0</cx:pt>
          <cx:pt idx="2137">0</cx:pt>
          <cx:pt idx="2138">0</cx:pt>
          <cx:pt idx="2139">0</cx:pt>
          <cx:pt idx="2140">1</cx:pt>
          <cx:pt idx="2141">1</cx:pt>
          <cx:pt idx="2142">0</cx:pt>
          <cx:pt idx="2143">0</cx:pt>
          <cx:pt idx="2144">0</cx:pt>
          <cx:pt idx="2145">0</cx:pt>
          <cx:pt idx="2146">0</cx:pt>
          <cx:pt idx="2147">1</cx:pt>
          <cx:pt idx="2148">1</cx:pt>
          <cx:pt idx="2149">1</cx:pt>
          <cx:pt idx="2150">0</cx:pt>
          <cx:pt idx="2151">1</cx:pt>
          <cx:pt idx="2152">0</cx:pt>
          <cx:pt idx="2153">1</cx:pt>
          <cx:pt idx="2154">0</cx:pt>
          <cx:pt idx="2155">0</cx:pt>
          <cx:pt idx="2156">1</cx:pt>
          <cx:pt idx="2157">0</cx:pt>
          <cx:pt idx="2158">1</cx:pt>
          <cx:pt idx="2159">0</cx:pt>
          <cx:pt idx="2160">0</cx:pt>
          <cx:pt idx="2161">0</cx:pt>
          <cx:pt idx="2162">0</cx:pt>
          <cx:pt idx="2163">0</cx:pt>
          <cx:pt idx="2164">1</cx:pt>
          <cx:pt idx="2165">1</cx:pt>
          <cx:pt idx="2166">1</cx:pt>
          <cx:pt idx="2167">1</cx:pt>
          <cx:pt idx="2168">0</cx:pt>
          <cx:pt idx="2169">1</cx:pt>
          <cx:pt idx="2170">0</cx:pt>
          <cx:pt idx="2171">1</cx:pt>
          <cx:pt idx="2172">0</cx:pt>
          <cx:pt idx="2173">0</cx:pt>
          <cx:pt idx="2174">1</cx:pt>
          <cx:pt idx="2175">1</cx:pt>
          <cx:pt idx="2176">0</cx:pt>
          <cx:pt idx="2177">0</cx:pt>
          <cx:pt idx="2178">0</cx:pt>
          <cx:pt idx="2179">1</cx:pt>
          <cx:pt idx="2180">1</cx:pt>
          <cx:pt idx="2181">0</cx:pt>
          <cx:pt idx="2182">0</cx:pt>
          <cx:pt idx="2183">0</cx:pt>
          <cx:pt idx="2184">0</cx:pt>
          <cx:pt idx="2185">0</cx:pt>
          <cx:pt idx="2186">0</cx:pt>
          <cx:pt idx="2187">1</cx:pt>
          <cx:pt idx="2188">0</cx:pt>
          <cx:pt idx="2189">0</cx:pt>
          <cx:pt idx="2190">1</cx:pt>
          <cx:pt idx="2191">0</cx:pt>
          <cx:pt idx="2192">1</cx:pt>
          <cx:pt idx="2193">0</cx:pt>
          <cx:pt idx="2194">0</cx:pt>
          <cx:pt idx="2195">0</cx:pt>
          <cx:pt idx="2196">1</cx:pt>
          <cx:pt idx="2197">1</cx:pt>
          <cx:pt idx="2198">0</cx:pt>
          <cx:pt idx="2199">0</cx:pt>
          <cx:pt idx="2200">0</cx:pt>
          <cx:pt idx="2201">0</cx:pt>
          <cx:pt idx="2202">0</cx:pt>
          <cx:pt idx="2203">1</cx:pt>
          <cx:pt idx="2204">0</cx:pt>
          <cx:pt idx="2205">0</cx:pt>
          <cx:pt idx="2206">0</cx:pt>
          <cx:pt idx="2207">1</cx:pt>
          <cx:pt idx="2208">1</cx:pt>
          <cx:pt idx="2209">0</cx:pt>
          <cx:pt idx="2210">1</cx:pt>
          <cx:pt idx="2211">1</cx:pt>
          <cx:pt idx="2212">1</cx:pt>
          <cx:pt idx="2213">0</cx:pt>
          <cx:pt idx="2214">1</cx:pt>
          <cx:pt idx="2215">0</cx:pt>
          <cx:pt idx="2216">1</cx:pt>
          <cx:pt idx="2217">1</cx:pt>
          <cx:pt idx="2218">0</cx:pt>
          <cx:pt idx="2219">0</cx:pt>
          <cx:pt idx="2220">0</cx:pt>
          <cx:pt idx="2221">0</cx:pt>
          <cx:pt idx="2222">1</cx:pt>
          <cx:pt idx="2223">0</cx:pt>
          <cx:pt idx="2224">0</cx:pt>
          <cx:pt idx="2225">0</cx:pt>
          <cx:pt idx="2226">1</cx:pt>
          <cx:pt idx="2227">1</cx:pt>
          <cx:pt idx="2228">1</cx:pt>
          <cx:pt idx="2229">0</cx:pt>
          <cx:pt idx="2230">0</cx:pt>
          <cx:pt idx="2231">0</cx:pt>
          <cx:pt idx="2232">1</cx:pt>
          <cx:pt idx="2233">1</cx:pt>
          <cx:pt idx="2234">0</cx:pt>
          <cx:pt idx="2235">0</cx:pt>
          <cx:pt idx="2236">1</cx:pt>
          <cx:pt idx="2237">0</cx:pt>
          <cx:pt idx="2238">1</cx:pt>
          <cx:pt idx="2239">0</cx:pt>
          <cx:pt idx="2240">1</cx:pt>
          <cx:pt idx="2241">1</cx:pt>
          <cx:pt idx="2242">1</cx:pt>
          <cx:pt idx="2243">1</cx:pt>
          <cx:pt idx="2244">1</cx:pt>
          <cx:pt idx="2245">1</cx:pt>
          <cx:pt idx="2246">0</cx:pt>
          <cx:pt idx="2247">1</cx:pt>
          <cx:pt idx="2248">0</cx:pt>
          <cx:pt idx="2249">1</cx:pt>
          <cx:pt idx="2250">1</cx:pt>
          <cx:pt idx="2251">1</cx:pt>
          <cx:pt idx="2252">1</cx:pt>
          <cx:pt idx="2253">0</cx:pt>
          <cx:pt idx="2254">1</cx:pt>
          <cx:pt idx="2255">0</cx:pt>
          <cx:pt idx="2256">1</cx:pt>
          <cx:pt idx="2257">1</cx:pt>
          <cx:pt idx="2258">0</cx:pt>
          <cx:pt idx="2259">1</cx:pt>
          <cx:pt idx="2260">0</cx:pt>
          <cx:pt idx="2261">0</cx:pt>
          <cx:pt idx="2262">0</cx:pt>
          <cx:pt idx="2263">0</cx:pt>
          <cx:pt idx="2264">0</cx:pt>
          <cx:pt idx="2265">0</cx:pt>
          <cx:pt idx="2266">0</cx:pt>
          <cx:pt idx="2267">1</cx:pt>
          <cx:pt idx="2268">0</cx:pt>
          <cx:pt idx="2269">1</cx:pt>
          <cx:pt idx="2270">1</cx:pt>
          <cx:pt idx="2271">1</cx:pt>
          <cx:pt idx="2272">0</cx:pt>
          <cx:pt idx="2273">0</cx:pt>
          <cx:pt idx="2274">0</cx:pt>
          <cx:pt idx="2275">0</cx:pt>
          <cx:pt idx="2276">1</cx:pt>
          <cx:pt idx="2277">0</cx:pt>
          <cx:pt idx="2278">0</cx:pt>
          <cx:pt idx="2279">1</cx:pt>
          <cx:pt idx="2280">1</cx:pt>
          <cx:pt idx="2281">0</cx:pt>
          <cx:pt idx="2282">0</cx:pt>
          <cx:pt idx="2283">1</cx:pt>
          <cx:pt idx="2284">0</cx:pt>
          <cx:pt idx="2285">1</cx:pt>
          <cx:pt idx="2286">1</cx:pt>
          <cx:pt idx="2287">0</cx:pt>
          <cx:pt idx="2288">0</cx:pt>
          <cx:pt idx="2289">0</cx:pt>
          <cx:pt idx="2290">0</cx:pt>
          <cx:pt idx="2291">0</cx:pt>
          <cx:pt idx="2292">0</cx:pt>
          <cx:pt idx="2293">1</cx:pt>
          <cx:pt idx="2294">0</cx:pt>
          <cx:pt idx="2295">0</cx:pt>
          <cx:pt idx="2296">1</cx:pt>
          <cx:pt idx="2297">1</cx:pt>
          <cx:pt idx="2298">0</cx:pt>
          <cx:pt idx="2299">1</cx:pt>
          <cx:pt idx="2300">1</cx:pt>
          <cx:pt idx="2301">0</cx:pt>
          <cx:pt idx="2302">1</cx:pt>
          <cx:pt idx="2303">0</cx:pt>
          <cx:pt idx="2304">0</cx:pt>
          <cx:pt idx="2305">1</cx:pt>
          <cx:pt idx="2306">0</cx:pt>
          <cx:pt idx="2307">0</cx:pt>
          <cx:pt idx="2308">1</cx:pt>
          <cx:pt idx="2309">0</cx:pt>
          <cx:pt idx="2310">0</cx:pt>
          <cx:pt idx="2311">1</cx:pt>
          <cx:pt idx="2312">0</cx:pt>
          <cx:pt idx="2313">0</cx:pt>
          <cx:pt idx="2314">0</cx:pt>
          <cx:pt idx="2315">1</cx:pt>
          <cx:pt idx="2316">1</cx:pt>
          <cx:pt idx="2317">0</cx:pt>
          <cx:pt idx="2318">1</cx:pt>
          <cx:pt idx="2319">0</cx:pt>
          <cx:pt idx="2320">1</cx:pt>
          <cx:pt idx="2321">0</cx:pt>
          <cx:pt idx="2322">0</cx:pt>
          <cx:pt idx="2323">0</cx:pt>
          <cx:pt idx="2324">1</cx:pt>
          <cx:pt idx="2325">1</cx:pt>
          <cx:pt idx="2326">0</cx:pt>
          <cx:pt idx="2327">0</cx:pt>
          <cx:pt idx="2328">0</cx:pt>
          <cx:pt idx="2329">0</cx:pt>
          <cx:pt idx="2330">0</cx:pt>
          <cx:pt idx="2331">1</cx:pt>
          <cx:pt idx="2332">1</cx:pt>
          <cx:pt idx="2333">0</cx:pt>
          <cx:pt idx="2334">0</cx:pt>
          <cx:pt idx="2335">0</cx:pt>
          <cx:pt idx="2336">0</cx:pt>
          <cx:pt idx="2337">0</cx:pt>
          <cx:pt idx="2338">1</cx:pt>
          <cx:pt idx="2339">1</cx:pt>
          <cx:pt idx="2340">1</cx:pt>
          <cx:pt idx="2341">0</cx:pt>
          <cx:pt idx="2342">1</cx:pt>
          <cx:pt idx="2343">0</cx:pt>
          <cx:pt idx="2344">1</cx:pt>
          <cx:pt idx="2345">1</cx:pt>
          <cx:pt idx="2346">1</cx:pt>
          <cx:pt idx="2347">1</cx:pt>
          <cx:pt idx="2348">0</cx:pt>
          <cx:pt idx="2349">0</cx:pt>
          <cx:pt idx="2350">1</cx:pt>
          <cx:pt idx="2351">1</cx:pt>
          <cx:pt idx="2352">0</cx:pt>
          <cx:pt idx="2353">0</cx:pt>
          <cx:pt idx="2354">1</cx:pt>
          <cx:pt idx="2355">1</cx:pt>
          <cx:pt idx="2356">0</cx:pt>
          <cx:pt idx="2357">0</cx:pt>
          <cx:pt idx="2358">1</cx:pt>
          <cx:pt idx="2359">1</cx:pt>
          <cx:pt idx="2360">1</cx:pt>
          <cx:pt idx="2361">0</cx:pt>
          <cx:pt idx="2362">0</cx:pt>
          <cx:pt idx="2363">0</cx:pt>
          <cx:pt idx="2364">1</cx:pt>
          <cx:pt idx="2365">0</cx:pt>
          <cx:pt idx="2366">1</cx:pt>
          <cx:pt idx="2367">0</cx:pt>
          <cx:pt idx="2368">0</cx:pt>
          <cx:pt idx="2369">1</cx:pt>
          <cx:pt idx="2370">1</cx:pt>
          <cx:pt idx="2371">0</cx:pt>
          <cx:pt idx="2372">0</cx:pt>
          <cx:pt idx="2373">1</cx:pt>
          <cx:pt idx="2374">1</cx:pt>
          <cx:pt idx="2375">1</cx:pt>
          <cx:pt idx="2376">0</cx:pt>
          <cx:pt idx="2377">0</cx:pt>
          <cx:pt idx="2378">0</cx:pt>
          <cx:pt idx="2379">1</cx:pt>
          <cx:pt idx="2380">1</cx:pt>
          <cx:pt idx="2381">0</cx:pt>
          <cx:pt idx="2382">1</cx:pt>
          <cx:pt idx="2383">0</cx:pt>
          <cx:pt idx="2384">1</cx:pt>
          <cx:pt idx="2385">0</cx:pt>
          <cx:pt idx="2386">1</cx:pt>
          <cx:pt idx="2387">1</cx:pt>
          <cx:pt idx="2388">1</cx:pt>
          <cx:pt idx="2389">0</cx:pt>
          <cx:pt idx="2390">1</cx:pt>
          <cx:pt idx="2391">1</cx:pt>
          <cx:pt idx="2392">1</cx:pt>
          <cx:pt idx="2393">1</cx:pt>
          <cx:pt idx="2394">1</cx:pt>
          <cx:pt idx="2395">0</cx:pt>
          <cx:pt idx="2396">1</cx:pt>
          <cx:pt idx="2397">1</cx:pt>
          <cx:pt idx="2398">0</cx:pt>
          <cx:pt idx="2399">1</cx:pt>
          <cx:pt idx="2400">0</cx:pt>
          <cx:pt idx="2401">0</cx:pt>
          <cx:pt idx="2402">0</cx:pt>
          <cx:pt idx="2403">0</cx:pt>
          <cx:pt idx="2404">1</cx:pt>
          <cx:pt idx="2405">0</cx:pt>
          <cx:pt idx="2406">0</cx:pt>
          <cx:pt idx="2407">1</cx:pt>
          <cx:pt idx="2408">0</cx:pt>
          <cx:pt idx="2409">1</cx:pt>
          <cx:pt idx="2410">0</cx:pt>
          <cx:pt idx="2411">0</cx:pt>
          <cx:pt idx="2412">1</cx:pt>
          <cx:pt idx="2413">0</cx:pt>
          <cx:pt idx="2414">0</cx:pt>
          <cx:pt idx="2415">1</cx:pt>
          <cx:pt idx="2416">0</cx:pt>
          <cx:pt idx="2417">0</cx:pt>
          <cx:pt idx="2418">0</cx:pt>
          <cx:pt idx="2419">1</cx:pt>
          <cx:pt idx="2420">0</cx:pt>
          <cx:pt idx="2421">1</cx:pt>
          <cx:pt idx="2422">0</cx:pt>
          <cx:pt idx="2423">0</cx:pt>
          <cx:pt idx="2424">0</cx:pt>
          <cx:pt idx="2425">0</cx:pt>
          <cx:pt idx="2426">0</cx:pt>
          <cx:pt idx="2427">1</cx:pt>
          <cx:pt idx="2428">0</cx:pt>
          <cx:pt idx="2429">0</cx:pt>
          <cx:pt idx="2430">0</cx:pt>
          <cx:pt idx="2431">0</cx:pt>
          <cx:pt idx="2432">0</cx:pt>
          <cx:pt idx="2433">0</cx:pt>
          <cx:pt idx="2434">1</cx:pt>
          <cx:pt idx="2435">0</cx:pt>
          <cx:pt idx="2436">0</cx:pt>
          <cx:pt idx="2437">1</cx:pt>
          <cx:pt idx="2438">0</cx:pt>
          <cx:pt idx="2439">1</cx:pt>
          <cx:pt idx="2440">0</cx:pt>
          <cx:pt idx="2441">0</cx:pt>
          <cx:pt idx="2442">1</cx:pt>
          <cx:pt idx="2443">0</cx:pt>
          <cx:pt idx="2444">0</cx:pt>
          <cx:pt idx="2445">0</cx:pt>
          <cx:pt idx="2446">0</cx:pt>
          <cx:pt idx="2447">1</cx:pt>
          <cx:pt idx="2448">0</cx:pt>
          <cx:pt idx="2449">0</cx:pt>
          <cx:pt idx="2450">1</cx:pt>
          <cx:pt idx="2451">0</cx:pt>
          <cx:pt idx="2452">0</cx:pt>
          <cx:pt idx="2453">1</cx:pt>
          <cx:pt idx="2454">1</cx:pt>
          <cx:pt idx="2455">1</cx:pt>
          <cx:pt idx="2456">0</cx:pt>
          <cx:pt idx="2457">0</cx:pt>
          <cx:pt idx="2458">1</cx:pt>
          <cx:pt idx="2459">1</cx:pt>
          <cx:pt idx="2460">1</cx:pt>
          <cx:pt idx="2461">0</cx:pt>
          <cx:pt idx="2462">0</cx:pt>
          <cx:pt idx="2463">0</cx:pt>
          <cx:pt idx="2464">0</cx:pt>
          <cx:pt idx="2465">0</cx:pt>
          <cx:pt idx="2466">1</cx:pt>
          <cx:pt idx="2467">0</cx:pt>
          <cx:pt idx="2468">1</cx:pt>
          <cx:pt idx="2469">1</cx:pt>
          <cx:pt idx="2470">0</cx:pt>
          <cx:pt idx="2471">1</cx:pt>
          <cx:pt idx="2472">0</cx:pt>
          <cx:pt idx="2473">0</cx:pt>
          <cx:pt idx="2474">0</cx:pt>
          <cx:pt idx="2475">0</cx:pt>
          <cx:pt idx="2476">1</cx:pt>
          <cx:pt idx="2477">1</cx:pt>
          <cx:pt idx="2478">1</cx:pt>
          <cx:pt idx="2479">0</cx:pt>
          <cx:pt idx="2480">1</cx:pt>
          <cx:pt idx="2481">1</cx:pt>
          <cx:pt idx="2482">0</cx:pt>
          <cx:pt idx="2483">1</cx:pt>
          <cx:pt idx="2484">0</cx:pt>
          <cx:pt idx="2485">1</cx:pt>
          <cx:pt idx="2486">1</cx:pt>
          <cx:pt idx="2487">1</cx:pt>
          <cx:pt idx="2488">0</cx:pt>
          <cx:pt idx="2489">0</cx:pt>
          <cx:pt idx="2490">0</cx:pt>
          <cx:pt idx="2491">1</cx:pt>
          <cx:pt idx="2492">0</cx:pt>
          <cx:pt idx="2493">1</cx:pt>
          <cx:pt idx="2494">0</cx:pt>
          <cx:pt idx="2495">1</cx:pt>
          <cx:pt idx="2496">0</cx:pt>
          <cx:pt idx="2497">0</cx:pt>
          <cx:pt idx="2498">0</cx:pt>
          <cx:pt idx="2499">0</cx:pt>
          <cx:pt idx="2500">0</cx:pt>
          <cx:pt idx="2501">0</cx:pt>
          <cx:pt idx="2502">1</cx:pt>
          <cx:pt idx="2503">0</cx:pt>
          <cx:pt idx="2504">0</cx:pt>
          <cx:pt idx="2505">0</cx:pt>
          <cx:pt idx="2506">0</cx:pt>
          <cx:pt idx="2507">0</cx:pt>
          <cx:pt idx="2508">0</cx:pt>
          <cx:pt idx="2509">1</cx:pt>
          <cx:pt idx="2510">0</cx:pt>
          <cx:pt idx="2511">1</cx:pt>
          <cx:pt idx="2512">0</cx:pt>
          <cx:pt idx="2513">1</cx:pt>
          <cx:pt idx="2514">0</cx:pt>
          <cx:pt idx="2515">0</cx:pt>
          <cx:pt idx="2516">0</cx:pt>
          <cx:pt idx="2517">1</cx:pt>
          <cx:pt idx="2518">1</cx:pt>
          <cx:pt idx="2519">0</cx:pt>
          <cx:pt idx="2520">0</cx:pt>
          <cx:pt idx="2521">0</cx:pt>
          <cx:pt idx="2522">1</cx:pt>
          <cx:pt idx="2523">0</cx:pt>
          <cx:pt idx="2524">1</cx:pt>
          <cx:pt idx="2525">1</cx:pt>
          <cx:pt idx="2526">0</cx:pt>
          <cx:pt idx="2527">1</cx:pt>
          <cx:pt idx="2528">0</cx:pt>
          <cx:pt idx="2529">0</cx:pt>
          <cx:pt idx="2530">1</cx:pt>
          <cx:pt idx="2531">0</cx:pt>
          <cx:pt idx="2532">0</cx:pt>
          <cx:pt idx="2533">1</cx:pt>
          <cx:pt idx="2534">0</cx:pt>
          <cx:pt idx="2535">0</cx:pt>
          <cx:pt idx="2536">0</cx:pt>
          <cx:pt idx="2537">1</cx:pt>
          <cx:pt idx="2538">0</cx:pt>
          <cx:pt idx="2539">1</cx:pt>
          <cx:pt idx="2540">0</cx:pt>
          <cx:pt idx="2541">1</cx:pt>
          <cx:pt idx="2542">0</cx:pt>
          <cx:pt idx="2543">1</cx:pt>
          <cx:pt idx="2544">1</cx:pt>
          <cx:pt idx="2545">1</cx:pt>
          <cx:pt idx="2546">1</cx:pt>
          <cx:pt idx="2547">1</cx:pt>
          <cx:pt idx="2548">0</cx:pt>
          <cx:pt idx="2549">0</cx:pt>
          <cx:pt idx="2550">0</cx:pt>
          <cx:pt idx="2551">0</cx:pt>
          <cx:pt idx="2552">1</cx:pt>
          <cx:pt idx="2553">1</cx:pt>
          <cx:pt idx="2554">0</cx:pt>
          <cx:pt idx="2555">1</cx:pt>
          <cx:pt idx="2556">0</cx:pt>
          <cx:pt idx="2557">1</cx:pt>
          <cx:pt idx="2558">1</cx:pt>
          <cx:pt idx="2559">0</cx:pt>
          <cx:pt idx="2560">0</cx:pt>
          <cx:pt idx="2561">0</cx:pt>
          <cx:pt idx="2562">0</cx:pt>
          <cx:pt idx="2563">0</cx:pt>
          <cx:pt idx="2564">0</cx:pt>
          <cx:pt idx="2565">0</cx:pt>
          <cx:pt idx="2566">1</cx:pt>
          <cx:pt idx="2567">1</cx:pt>
          <cx:pt idx="2568">0</cx:pt>
          <cx:pt idx="2569">0</cx:pt>
          <cx:pt idx="2570">0</cx:pt>
          <cx:pt idx="2571">0</cx:pt>
          <cx:pt idx="2572">0</cx:pt>
          <cx:pt idx="2573">0</cx:pt>
          <cx:pt idx="2574">0</cx:pt>
          <cx:pt idx="2575">1</cx:pt>
          <cx:pt idx="2576">0</cx:pt>
          <cx:pt idx="2577">1</cx:pt>
          <cx:pt idx="2578">0</cx:pt>
          <cx:pt idx="2579">0</cx:pt>
          <cx:pt idx="2580">1</cx:pt>
          <cx:pt idx="2581">0</cx:pt>
          <cx:pt idx="2582">0</cx:pt>
          <cx:pt idx="2583">0</cx:pt>
          <cx:pt idx="2584">0</cx:pt>
          <cx:pt idx="2585">0</cx:pt>
          <cx:pt idx="2586">0</cx:pt>
          <cx:pt idx="2587">0</cx:pt>
          <cx:pt idx="2588">1</cx:pt>
          <cx:pt idx="2589">1</cx:pt>
          <cx:pt idx="2590">0</cx:pt>
          <cx:pt idx="2591">1</cx:pt>
          <cx:pt idx="2592">0</cx:pt>
          <cx:pt idx="2593">0</cx:pt>
          <cx:pt idx="2594">0</cx:pt>
          <cx:pt idx="2595">0</cx:pt>
          <cx:pt idx="2596">1</cx:pt>
          <cx:pt idx="2597">1</cx:pt>
          <cx:pt idx="2598">1</cx:pt>
          <cx:pt idx="2599">0</cx:pt>
          <cx:pt idx="2600">0</cx:pt>
          <cx:pt idx="2601">0</cx:pt>
          <cx:pt idx="2602">0</cx:pt>
          <cx:pt idx="2603">0</cx:pt>
          <cx:pt idx="2604">1</cx:pt>
          <cx:pt idx="2605">1</cx:pt>
          <cx:pt idx="2606">0</cx:pt>
          <cx:pt idx="2607">0</cx:pt>
          <cx:pt idx="2608">1</cx:pt>
          <cx:pt idx="2609">0</cx:pt>
          <cx:pt idx="2610">1</cx:pt>
          <cx:pt idx="2611">0</cx:pt>
          <cx:pt idx="2612">1</cx:pt>
          <cx:pt idx="2613">1</cx:pt>
          <cx:pt idx="2614">1</cx:pt>
          <cx:pt idx="2615">1</cx:pt>
          <cx:pt idx="2616">0</cx:pt>
          <cx:pt idx="2617">1</cx:pt>
          <cx:pt idx="2618">0</cx:pt>
          <cx:pt idx="2619">0</cx:pt>
          <cx:pt idx="2620">1</cx:pt>
          <cx:pt idx="2621">1</cx:pt>
          <cx:pt idx="2622">0</cx:pt>
          <cx:pt idx="2623">0</cx:pt>
          <cx:pt idx="2624">0</cx:pt>
          <cx:pt idx="2625">1</cx:pt>
          <cx:pt idx="2626">0</cx:pt>
          <cx:pt idx="2627">0</cx:pt>
          <cx:pt idx="2628">1</cx:pt>
          <cx:pt idx="2629">0</cx:pt>
          <cx:pt idx="2630">1</cx:pt>
          <cx:pt idx="2631">1</cx:pt>
          <cx:pt idx="2632">1</cx:pt>
          <cx:pt idx="2633">0</cx:pt>
          <cx:pt idx="2634">0</cx:pt>
          <cx:pt idx="2635">1</cx:pt>
          <cx:pt idx="2636">1</cx:pt>
          <cx:pt idx="2637">1</cx:pt>
          <cx:pt idx="2638">1</cx:pt>
          <cx:pt idx="2639">1</cx:pt>
          <cx:pt idx="2640">0</cx:pt>
          <cx:pt idx="2641">0</cx:pt>
          <cx:pt idx="2642">1</cx:pt>
          <cx:pt idx="2643">1</cx:pt>
          <cx:pt idx="2644">0</cx:pt>
          <cx:pt idx="2645">1</cx:pt>
          <cx:pt idx="2646">0</cx:pt>
          <cx:pt idx="2647">1</cx:pt>
          <cx:pt idx="2648">0</cx:pt>
          <cx:pt idx="2649">1</cx:pt>
          <cx:pt idx="2650">0</cx:pt>
          <cx:pt idx="2651">0</cx:pt>
          <cx:pt idx="2652">0</cx:pt>
          <cx:pt idx="2653">0</cx:pt>
          <cx:pt idx="2654">0</cx:pt>
          <cx:pt idx="2655">1</cx:pt>
          <cx:pt idx="2656">1</cx:pt>
          <cx:pt idx="2657">1</cx:pt>
          <cx:pt idx="2658">1</cx:pt>
          <cx:pt idx="2659">1</cx:pt>
          <cx:pt idx="2660">1</cx:pt>
          <cx:pt idx="2661">0</cx:pt>
          <cx:pt idx="2662">0</cx:pt>
          <cx:pt idx="2663">0</cx:pt>
          <cx:pt idx="2664">1</cx:pt>
          <cx:pt idx="2665">0</cx:pt>
          <cx:pt idx="2666">0</cx:pt>
          <cx:pt idx="2667">1</cx:pt>
          <cx:pt idx="2668">1</cx:pt>
          <cx:pt idx="2669">1</cx:pt>
          <cx:pt idx="2670">1</cx:pt>
          <cx:pt idx="2671">1</cx:pt>
          <cx:pt idx="2672">1</cx:pt>
          <cx:pt idx="2673">0</cx:pt>
          <cx:pt idx="2674">0</cx:pt>
          <cx:pt idx="2675">0</cx:pt>
          <cx:pt idx="2676">0</cx:pt>
          <cx:pt idx="2677">0</cx:pt>
          <cx:pt idx="2678">0</cx:pt>
          <cx:pt idx="2679">0</cx:pt>
          <cx:pt idx="2680">1</cx:pt>
          <cx:pt idx="2681">0</cx:pt>
          <cx:pt idx="2682">0</cx:pt>
          <cx:pt idx="2683">1</cx:pt>
          <cx:pt idx="2684">1</cx:pt>
          <cx:pt idx="2685">1</cx:pt>
          <cx:pt idx="2686">1</cx:pt>
          <cx:pt idx="2687">1</cx:pt>
          <cx:pt idx="2688">1</cx:pt>
          <cx:pt idx="2689">1</cx:pt>
          <cx:pt idx="2690">1</cx:pt>
          <cx:pt idx="2691">0</cx:pt>
          <cx:pt idx="2692">1</cx:pt>
          <cx:pt idx="2693">1</cx:pt>
          <cx:pt idx="2694">1</cx:pt>
          <cx:pt idx="2695">0</cx:pt>
          <cx:pt idx="2696">0</cx:pt>
          <cx:pt idx="2697">0</cx:pt>
          <cx:pt idx="2698">1</cx:pt>
          <cx:pt idx="2699">0</cx:pt>
          <cx:pt idx="2700">1</cx:pt>
          <cx:pt idx="2701">0</cx:pt>
          <cx:pt idx="2702">1</cx:pt>
          <cx:pt idx="2703">0</cx:pt>
          <cx:pt idx="2704">0</cx:pt>
          <cx:pt idx="2705">0</cx:pt>
          <cx:pt idx="2706">1</cx:pt>
          <cx:pt idx="2707">0</cx:pt>
          <cx:pt idx="2708">0</cx:pt>
          <cx:pt idx="2709">1</cx:pt>
          <cx:pt idx="2710">1</cx:pt>
          <cx:pt idx="2711">1</cx:pt>
          <cx:pt idx="2712">0</cx:pt>
          <cx:pt idx="2713">1</cx:pt>
          <cx:pt idx="2714">1</cx:pt>
          <cx:pt idx="2715">1</cx:pt>
          <cx:pt idx="2716">0</cx:pt>
          <cx:pt idx="2717">0</cx:pt>
          <cx:pt idx="2718">0</cx:pt>
          <cx:pt idx="2719">1</cx:pt>
          <cx:pt idx="2720">1</cx:pt>
          <cx:pt idx="2721">1</cx:pt>
          <cx:pt idx="2722">1</cx:pt>
          <cx:pt idx="2723">0</cx:pt>
          <cx:pt idx="2724">1</cx:pt>
          <cx:pt idx="2725">0</cx:pt>
          <cx:pt idx="2726">0</cx:pt>
          <cx:pt idx="2727">0</cx:pt>
          <cx:pt idx="2728">1</cx:pt>
          <cx:pt idx="2729">1</cx:pt>
          <cx:pt idx="2730">0</cx:pt>
          <cx:pt idx="2731">0</cx:pt>
          <cx:pt idx="2732">1</cx:pt>
          <cx:pt idx="2733">0</cx:pt>
          <cx:pt idx="2734">1</cx:pt>
          <cx:pt idx="2735">0</cx:pt>
          <cx:pt idx="2736">0</cx:pt>
          <cx:pt idx="2737">0</cx:pt>
          <cx:pt idx="2738">1</cx:pt>
          <cx:pt idx="2739">1</cx:pt>
          <cx:pt idx="2740">1</cx:pt>
          <cx:pt idx="2741">1</cx:pt>
          <cx:pt idx="2742">1</cx:pt>
          <cx:pt idx="2743">1</cx:pt>
          <cx:pt idx="2744">1</cx:pt>
          <cx:pt idx="2745">1</cx:pt>
          <cx:pt idx="2746">0</cx:pt>
          <cx:pt idx="2747">0</cx:pt>
          <cx:pt idx="2748">0</cx:pt>
          <cx:pt idx="2749">0</cx:pt>
          <cx:pt idx="2750">0</cx:pt>
          <cx:pt idx="2751">0</cx:pt>
          <cx:pt idx="2752">0</cx:pt>
          <cx:pt idx="2753">1</cx:pt>
          <cx:pt idx="2754">1</cx:pt>
          <cx:pt idx="2755">0</cx:pt>
          <cx:pt idx="2756">0</cx:pt>
          <cx:pt idx="2757">0</cx:pt>
          <cx:pt idx="2758">1</cx:pt>
          <cx:pt idx="2759">1</cx:pt>
          <cx:pt idx="2760">0</cx:pt>
          <cx:pt idx="2761">0</cx:pt>
          <cx:pt idx="2762">0</cx:pt>
          <cx:pt idx="2763">0</cx:pt>
          <cx:pt idx="2764">0</cx:pt>
          <cx:pt idx="2765">1</cx:pt>
          <cx:pt idx="2766">0</cx:pt>
          <cx:pt idx="2767">1</cx:pt>
          <cx:pt idx="2768">0</cx:pt>
          <cx:pt idx="2769">0</cx:pt>
          <cx:pt idx="2770">1</cx:pt>
          <cx:pt idx="2771">1</cx:pt>
          <cx:pt idx="2772">0</cx:pt>
          <cx:pt idx="2773">1</cx:pt>
          <cx:pt idx="2774">0</cx:pt>
          <cx:pt idx="2775">1</cx:pt>
          <cx:pt idx="2776">0</cx:pt>
          <cx:pt idx="2777">0</cx:pt>
          <cx:pt idx="2778">1</cx:pt>
          <cx:pt idx="2779">0</cx:pt>
          <cx:pt idx="2780">1</cx:pt>
          <cx:pt idx="2781">0</cx:pt>
          <cx:pt idx="2782">1</cx:pt>
          <cx:pt idx="2783">1</cx:pt>
          <cx:pt idx="2784">0</cx:pt>
          <cx:pt idx="2785">1</cx:pt>
          <cx:pt idx="2786">1</cx:pt>
          <cx:pt idx="2787">0</cx:pt>
          <cx:pt idx="2788">0</cx:pt>
          <cx:pt idx="2789">0</cx:pt>
          <cx:pt idx="2790">0</cx:pt>
          <cx:pt idx="2791">0</cx:pt>
          <cx:pt idx="2792">0</cx:pt>
          <cx:pt idx="2793">0</cx:pt>
          <cx:pt idx="2794">0</cx:pt>
          <cx:pt idx="2795">1</cx:pt>
          <cx:pt idx="2796">1</cx:pt>
          <cx:pt idx="2797">0</cx:pt>
          <cx:pt idx="2798">1</cx:pt>
          <cx:pt idx="2799">0</cx:pt>
          <cx:pt idx="2800">1</cx:pt>
          <cx:pt idx="2801">1</cx:pt>
          <cx:pt idx="2802">0</cx:pt>
          <cx:pt idx="2803">0</cx:pt>
          <cx:pt idx="2804">0</cx:pt>
          <cx:pt idx="2805">1</cx:pt>
          <cx:pt idx="2806">0</cx:pt>
          <cx:pt idx="2807">1</cx:pt>
          <cx:pt idx="2808">1</cx:pt>
          <cx:pt idx="2809">0</cx:pt>
          <cx:pt idx="2810">1</cx:pt>
          <cx:pt idx="2811">0</cx:pt>
          <cx:pt idx="2812">0</cx:pt>
          <cx:pt idx="2813">0</cx:pt>
          <cx:pt idx="2814">1</cx:pt>
          <cx:pt idx="2815">0</cx:pt>
          <cx:pt idx="2816">0</cx:pt>
          <cx:pt idx="2817">0</cx:pt>
          <cx:pt idx="2818">1</cx:pt>
          <cx:pt idx="2819">0</cx:pt>
          <cx:pt idx="2820">1</cx:pt>
          <cx:pt idx="2821">0</cx:pt>
          <cx:pt idx="2822">1</cx:pt>
          <cx:pt idx="2823">1</cx:pt>
          <cx:pt idx="2824">0</cx:pt>
          <cx:pt idx="2825">1</cx:pt>
          <cx:pt idx="2826">0</cx:pt>
          <cx:pt idx="2827">1</cx:pt>
          <cx:pt idx="2828">0</cx:pt>
          <cx:pt idx="2829">0</cx:pt>
          <cx:pt idx="2830">0</cx:pt>
          <cx:pt idx="2831">0</cx:pt>
          <cx:pt idx="2832">0</cx:pt>
          <cx:pt idx="2833">1</cx:pt>
          <cx:pt idx="2834">1</cx:pt>
          <cx:pt idx="2835">0</cx:pt>
          <cx:pt idx="2836">1</cx:pt>
          <cx:pt idx="2837">0</cx:pt>
          <cx:pt idx="2838">1</cx:pt>
          <cx:pt idx="2839">0</cx:pt>
          <cx:pt idx="2840">1</cx:pt>
          <cx:pt idx="2841">0</cx:pt>
          <cx:pt idx="2842">0</cx:pt>
          <cx:pt idx="2843">0</cx:pt>
          <cx:pt idx="2844">0</cx:pt>
          <cx:pt idx="2845">1</cx:pt>
          <cx:pt idx="2846">0</cx:pt>
          <cx:pt idx="2847">1</cx:pt>
          <cx:pt idx="2848">0</cx:pt>
          <cx:pt idx="2849">1</cx:pt>
          <cx:pt idx="2850">0</cx:pt>
          <cx:pt idx="2851">1</cx:pt>
          <cx:pt idx="2852">1</cx:pt>
          <cx:pt idx="2853">1</cx:pt>
          <cx:pt idx="2854">1</cx:pt>
          <cx:pt idx="2855">0</cx:pt>
          <cx:pt idx="2856">0</cx:pt>
          <cx:pt idx="2857">0</cx:pt>
          <cx:pt idx="2858">0</cx:pt>
          <cx:pt idx="2859">1</cx:pt>
          <cx:pt idx="2860">1</cx:pt>
          <cx:pt idx="2861">0</cx:pt>
          <cx:pt idx="2862">0</cx:pt>
          <cx:pt idx="2863">1</cx:pt>
          <cx:pt idx="2864">0</cx:pt>
          <cx:pt idx="2865">0</cx:pt>
          <cx:pt idx="2866">1</cx:pt>
          <cx:pt idx="2867">0</cx:pt>
          <cx:pt idx="2868">0</cx:pt>
          <cx:pt idx="2869">0</cx:pt>
          <cx:pt idx="2870">0</cx:pt>
          <cx:pt idx="2871">0</cx:pt>
          <cx:pt idx="2872">1</cx:pt>
          <cx:pt idx="2873">1</cx:pt>
          <cx:pt idx="2874">1</cx:pt>
          <cx:pt idx="2875">1</cx:pt>
          <cx:pt idx="2876">0</cx:pt>
          <cx:pt idx="2877">0</cx:pt>
          <cx:pt idx="2878">0</cx:pt>
          <cx:pt idx="2879">0</cx:pt>
          <cx:pt idx="2880">0</cx:pt>
          <cx:pt idx="2881">1</cx:pt>
          <cx:pt idx="2882">0</cx:pt>
          <cx:pt idx="2883">1</cx:pt>
          <cx:pt idx="2884">0</cx:pt>
          <cx:pt idx="2885">1</cx:pt>
          <cx:pt idx="2886">0</cx:pt>
          <cx:pt idx="2887">0</cx:pt>
          <cx:pt idx="2888">1</cx:pt>
          <cx:pt idx="2889">0</cx:pt>
          <cx:pt idx="2890">1</cx:pt>
          <cx:pt idx="2891">1</cx:pt>
          <cx:pt idx="2892">1</cx:pt>
          <cx:pt idx="2893">1</cx:pt>
          <cx:pt idx="2894">1</cx:pt>
          <cx:pt idx="2895">1</cx:pt>
          <cx:pt idx="2896">0</cx:pt>
          <cx:pt idx="2897">1</cx:pt>
          <cx:pt idx="2898">1</cx:pt>
          <cx:pt idx="2899">1</cx:pt>
          <cx:pt idx="2900">0</cx:pt>
          <cx:pt idx="2901">1</cx:pt>
          <cx:pt idx="2902">0</cx:pt>
          <cx:pt idx="2903">0</cx:pt>
          <cx:pt idx="2904">1</cx:pt>
          <cx:pt idx="2905">0</cx:pt>
          <cx:pt idx="2906">1</cx:pt>
          <cx:pt idx="2907">0</cx:pt>
          <cx:pt idx="2908">0</cx:pt>
          <cx:pt idx="2909">0</cx:pt>
          <cx:pt idx="2910">0</cx:pt>
          <cx:pt idx="2911">0</cx:pt>
          <cx:pt idx="2912">1</cx:pt>
          <cx:pt idx="2913">0</cx:pt>
          <cx:pt idx="2914">0</cx:pt>
          <cx:pt idx="2915">1</cx:pt>
          <cx:pt idx="2916">0</cx:pt>
          <cx:pt idx="2917">1</cx:pt>
          <cx:pt idx="2918">1</cx:pt>
          <cx:pt idx="2919">0</cx:pt>
          <cx:pt idx="2920">1</cx:pt>
          <cx:pt idx="2921">1</cx:pt>
          <cx:pt idx="2922">0</cx:pt>
          <cx:pt idx="2923">0</cx:pt>
          <cx:pt idx="2924">1</cx:pt>
          <cx:pt idx="2925">0</cx:pt>
          <cx:pt idx="2926">0</cx:pt>
          <cx:pt idx="2927">1</cx:pt>
          <cx:pt idx="2928">1</cx:pt>
          <cx:pt idx="2929">1</cx:pt>
          <cx:pt idx="2930">1</cx:pt>
          <cx:pt idx="2931">1</cx:pt>
          <cx:pt idx="2932">0</cx:pt>
          <cx:pt idx="2933">1</cx:pt>
          <cx:pt idx="2934">1</cx:pt>
          <cx:pt idx="2935">0</cx:pt>
          <cx:pt idx="2936">0</cx:pt>
          <cx:pt idx="2937">1</cx:pt>
          <cx:pt idx="2938">0</cx:pt>
          <cx:pt idx="2939">0</cx:pt>
          <cx:pt idx="2940">0</cx:pt>
          <cx:pt idx="2941">1</cx:pt>
          <cx:pt idx="2942">0</cx:pt>
          <cx:pt idx="2943">0</cx:pt>
          <cx:pt idx="2944">1</cx:pt>
          <cx:pt idx="2945">0</cx:pt>
          <cx:pt idx="2946">0</cx:pt>
          <cx:pt idx="2947">1</cx:pt>
          <cx:pt idx="2948">0</cx:pt>
          <cx:pt idx="2949">0</cx:pt>
          <cx:pt idx="2950">1</cx:pt>
          <cx:pt idx="2951">0</cx:pt>
          <cx:pt idx="2952">1</cx:pt>
          <cx:pt idx="2953">1</cx:pt>
          <cx:pt idx="2954">0</cx:pt>
          <cx:pt idx="2955">0</cx:pt>
          <cx:pt idx="2956">0</cx:pt>
          <cx:pt idx="2957">1</cx:pt>
          <cx:pt idx="2958">1</cx:pt>
          <cx:pt idx="2959">0</cx:pt>
          <cx:pt idx="2960">0</cx:pt>
          <cx:pt idx="2961">0</cx:pt>
          <cx:pt idx="2962">0</cx:pt>
          <cx:pt idx="2963">0</cx:pt>
          <cx:pt idx="2964">1</cx:pt>
          <cx:pt idx="2965">0</cx:pt>
          <cx:pt idx="2966">0</cx:pt>
          <cx:pt idx="2967">0</cx:pt>
          <cx:pt idx="2968">1</cx:pt>
          <cx:pt idx="2969">1</cx:pt>
          <cx:pt idx="2970">0</cx:pt>
          <cx:pt idx="2971">1</cx:pt>
          <cx:pt idx="2972">1</cx:pt>
          <cx:pt idx="2973">1</cx:pt>
          <cx:pt idx="2974">0</cx:pt>
          <cx:pt idx="2975">1</cx:pt>
          <cx:pt idx="2976">1</cx:pt>
          <cx:pt idx="2977">0</cx:pt>
          <cx:pt idx="2978">0</cx:pt>
          <cx:pt idx="2979">0</cx:pt>
          <cx:pt idx="2980">1</cx:pt>
          <cx:pt idx="2981">0</cx:pt>
          <cx:pt idx="2982">1</cx:pt>
          <cx:pt idx="2983">1</cx:pt>
          <cx:pt idx="2984">1</cx:pt>
          <cx:pt idx="2985">1</cx:pt>
          <cx:pt idx="2986">1</cx:pt>
          <cx:pt idx="2987">1</cx:pt>
          <cx:pt idx="2988">0</cx:pt>
          <cx:pt idx="2989">0</cx:pt>
          <cx:pt idx="2990">0</cx:pt>
          <cx:pt idx="2991">1</cx:pt>
          <cx:pt idx="2992">0</cx:pt>
          <cx:pt idx="2993">1</cx:pt>
          <cx:pt idx="2994">1</cx:pt>
          <cx:pt idx="2995">0</cx:pt>
          <cx:pt idx="2996">1</cx:pt>
          <cx:pt idx="2997">1</cx:pt>
          <cx:pt idx="2998">0</cx:pt>
          <cx:pt idx="2999">0</cx:pt>
          <cx:pt idx="3000">0</cx:pt>
          <cx:pt idx="3001">1</cx:pt>
          <cx:pt idx="3002">1</cx:pt>
          <cx:pt idx="3003">0</cx:pt>
          <cx:pt idx="3004">0</cx:pt>
          <cx:pt idx="3005">0</cx:pt>
          <cx:pt idx="3006">0</cx:pt>
          <cx:pt idx="3007">0</cx:pt>
          <cx:pt idx="3008">0</cx:pt>
          <cx:pt idx="3009">1</cx:pt>
          <cx:pt idx="3010">0</cx:pt>
          <cx:pt idx="3011">0</cx:pt>
          <cx:pt idx="3012">0</cx:pt>
          <cx:pt idx="3013">1</cx:pt>
          <cx:pt idx="3014">0</cx:pt>
          <cx:pt idx="3015">1</cx:pt>
          <cx:pt idx="3016">1</cx:pt>
          <cx:pt idx="3017">0</cx:pt>
          <cx:pt idx="3018">0</cx:pt>
          <cx:pt idx="3019">0</cx:pt>
          <cx:pt idx="3020">0</cx:pt>
          <cx:pt idx="3021">1</cx:pt>
          <cx:pt idx="3022">0</cx:pt>
          <cx:pt idx="3023">1</cx:pt>
          <cx:pt idx="3024">0</cx:pt>
          <cx:pt idx="3025">1</cx:pt>
          <cx:pt idx="3026">1</cx:pt>
          <cx:pt idx="3027">1</cx:pt>
          <cx:pt idx="3028">1</cx:pt>
          <cx:pt idx="3029">1</cx:pt>
          <cx:pt idx="3030">1</cx:pt>
          <cx:pt idx="3031">0</cx:pt>
          <cx:pt idx="3032">1</cx:pt>
          <cx:pt idx="3033">1</cx:pt>
          <cx:pt idx="3034">0</cx:pt>
          <cx:pt idx="3035">1</cx:pt>
          <cx:pt idx="3036">0</cx:pt>
          <cx:pt idx="3037">0</cx:pt>
          <cx:pt idx="3038">0</cx:pt>
          <cx:pt idx="3039">1</cx:pt>
          <cx:pt idx="3040">1</cx:pt>
          <cx:pt idx="3041">0</cx:pt>
          <cx:pt idx="3042">1</cx:pt>
          <cx:pt idx="3043">0</cx:pt>
          <cx:pt idx="3044">0</cx:pt>
          <cx:pt idx="3045">0</cx:pt>
          <cx:pt idx="3046">1</cx:pt>
          <cx:pt idx="3047">0</cx:pt>
          <cx:pt idx="3048">0</cx:pt>
          <cx:pt idx="3049">0</cx:pt>
          <cx:pt idx="3050">1</cx:pt>
          <cx:pt idx="3051">0</cx:pt>
          <cx:pt idx="3052">0</cx:pt>
          <cx:pt idx="3053">1</cx:pt>
          <cx:pt idx="3054">1</cx:pt>
          <cx:pt idx="3055">1</cx:pt>
          <cx:pt idx="3056">1</cx:pt>
          <cx:pt idx="3057">0</cx:pt>
          <cx:pt idx="3058">0</cx:pt>
          <cx:pt idx="3059">1</cx:pt>
          <cx:pt idx="3060">1</cx:pt>
          <cx:pt idx="3061">1</cx:pt>
          <cx:pt idx="3062">0</cx:pt>
          <cx:pt idx="3063">1</cx:pt>
          <cx:pt idx="3064">0</cx:pt>
          <cx:pt idx="3065">1</cx:pt>
          <cx:pt idx="3066">0</cx:pt>
          <cx:pt idx="3067">1</cx:pt>
          <cx:pt idx="3068">0</cx:pt>
          <cx:pt idx="3069">0</cx:pt>
          <cx:pt idx="3070">0</cx:pt>
          <cx:pt idx="3071">0</cx:pt>
          <cx:pt idx="3072">0</cx:pt>
          <cx:pt idx="3073">1</cx:pt>
          <cx:pt idx="3074">1</cx:pt>
          <cx:pt idx="3075">0</cx:pt>
          <cx:pt idx="3076">0</cx:pt>
          <cx:pt idx="3077">1</cx:pt>
          <cx:pt idx="3078">0</cx:pt>
          <cx:pt idx="3079">1</cx:pt>
          <cx:pt idx="3080">0</cx:pt>
          <cx:pt idx="3081">1</cx:pt>
          <cx:pt idx="3082">0</cx:pt>
          <cx:pt idx="3083">1</cx:pt>
          <cx:pt idx="3084">0</cx:pt>
          <cx:pt idx="3085">1</cx:pt>
          <cx:pt idx="3086">0</cx:pt>
          <cx:pt idx="3087">0</cx:pt>
          <cx:pt idx="3088">0</cx:pt>
          <cx:pt idx="3089">1</cx:pt>
          <cx:pt idx="3090">0</cx:pt>
          <cx:pt idx="3091">0</cx:pt>
          <cx:pt idx="3092">1</cx:pt>
          <cx:pt idx="3093">1</cx:pt>
          <cx:pt idx="3094">0</cx:pt>
          <cx:pt idx="3095">0</cx:pt>
          <cx:pt idx="3096">1</cx:pt>
          <cx:pt idx="3097">0</cx:pt>
          <cx:pt idx="3098">0</cx:pt>
          <cx:pt idx="3099">0</cx:pt>
          <cx:pt idx="3100">1</cx:pt>
          <cx:pt idx="3101">1</cx:pt>
          <cx:pt idx="3102">0</cx:pt>
          <cx:pt idx="3103">1</cx:pt>
          <cx:pt idx="3104">1</cx:pt>
          <cx:pt idx="3105">1</cx:pt>
          <cx:pt idx="3106">1</cx:pt>
          <cx:pt idx="3107">0</cx:pt>
          <cx:pt idx="3108">0</cx:pt>
          <cx:pt idx="3109">0</cx:pt>
          <cx:pt idx="3110">0</cx:pt>
          <cx:pt idx="3111">0</cx:pt>
          <cx:pt idx="3112">0</cx:pt>
          <cx:pt idx="3113">0</cx:pt>
          <cx:pt idx="3114">0</cx:pt>
          <cx:pt idx="3115">0</cx:pt>
          <cx:pt idx="3116">0</cx:pt>
          <cx:pt idx="3117">1</cx:pt>
          <cx:pt idx="3118">0</cx:pt>
          <cx:pt idx="3119">0</cx:pt>
          <cx:pt idx="3120">0</cx:pt>
          <cx:pt idx="3121">0</cx:pt>
          <cx:pt idx="3122">0</cx:pt>
          <cx:pt idx="3123">1</cx:pt>
          <cx:pt idx="3124">0</cx:pt>
          <cx:pt idx="3125">0</cx:pt>
          <cx:pt idx="3126">1</cx:pt>
          <cx:pt idx="3127">0</cx:pt>
          <cx:pt idx="3128">1</cx:pt>
          <cx:pt idx="3129">1</cx:pt>
          <cx:pt idx="3130">0</cx:pt>
          <cx:pt idx="3131">0</cx:pt>
          <cx:pt idx="3132">0</cx:pt>
          <cx:pt idx="3133">0</cx:pt>
          <cx:pt idx="3134">1</cx:pt>
          <cx:pt idx="3135">1</cx:pt>
          <cx:pt idx="3136">0</cx:pt>
          <cx:pt idx="3137">0</cx:pt>
          <cx:pt idx="3138">0</cx:pt>
          <cx:pt idx="3139">1</cx:pt>
          <cx:pt idx="3140">0</cx:pt>
          <cx:pt idx="3141">1</cx:pt>
          <cx:pt idx="3142">1</cx:pt>
          <cx:pt idx="3143">1</cx:pt>
          <cx:pt idx="3144">0</cx:pt>
          <cx:pt idx="3145">1</cx:pt>
          <cx:pt idx="3146">1</cx:pt>
          <cx:pt idx="3147">0</cx:pt>
          <cx:pt idx="3148">1</cx:pt>
          <cx:pt idx="3149">1</cx:pt>
          <cx:pt idx="3150">1</cx:pt>
          <cx:pt idx="3151">1</cx:pt>
          <cx:pt idx="3152">1</cx:pt>
          <cx:pt idx="3153">1</cx:pt>
          <cx:pt idx="3154">0</cx:pt>
          <cx:pt idx="3155">1</cx:pt>
          <cx:pt idx="3156">0</cx:pt>
          <cx:pt idx="3157">1</cx:pt>
          <cx:pt idx="3158">0</cx:pt>
          <cx:pt idx="3159">1</cx:pt>
          <cx:pt idx="3160">1</cx:pt>
          <cx:pt idx="3161">1</cx:pt>
          <cx:pt idx="3162">1</cx:pt>
          <cx:pt idx="3163">1</cx:pt>
          <cx:pt idx="3164">0</cx:pt>
          <cx:pt idx="3165">0</cx:pt>
          <cx:pt idx="3166">0</cx:pt>
          <cx:pt idx="3167">1</cx:pt>
          <cx:pt idx="3168">0</cx:pt>
          <cx:pt idx="3169">1</cx:pt>
          <cx:pt idx="3170">0</cx:pt>
          <cx:pt idx="3171">1</cx:pt>
          <cx:pt idx="3172">0</cx:pt>
          <cx:pt idx="3173">0</cx:pt>
          <cx:pt idx="3174">0</cx:pt>
          <cx:pt idx="3175">1</cx:pt>
          <cx:pt idx="3176">1</cx:pt>
          <cx:pt idx="3177">0</cx:pt>
          <cx:pt idx="3178">1</cx:pt>
          <cx:pt idx="3179">0</cx:pt>
          <cx:pt idx="3180">0</cx:pt>
          <cx:pt idx="3181">1</cx:pt>
          <cx:pt idx="3182">1</cx:pt>
          <cx:pt idx="3183">1</cx:pt>
          <cx:pt idx="3184">0</cx:pt>
          <cx:pt idx="3185">1</cx:pt>
          <cx:pt idx="3186">1</cx:pt>
          <cx:pt idx="3187">1</cx:pt>
          <cx:pt idx="3188">1</cx:pt>
          <cx:pt idx="3189">0</cx:pt>
          <cx:pt idx="3190">0</cx:pt>
          <cx:pt idx="3191">1</cx:pt>
          <cx:pt idx="3192">1</cx:pt>
          <cx:pt idx="3193">1</cx:pt>
          <cx:pt idx="3194">0</cx:pt>
          <cx:pt idx="3195">0</cx:pt>
          <cx:pt idx="3196">1</cx:pt>
          <cx:pt idx="3197">0</cx:pt>
          <cx:pt idx="3198">0</cx:pt>
          <cx:pt idx="3199">0</cx:pt>
          <cx:pt idx="3200">0</cx:pt>
          <cx:pt idx="3201">1</cx:pt>
          <cx:pt idx="3202">0</cx:pt>
          <cx:pt idx="3203">0</cx:pt>
          <cx:pt idx="3204">1</cx:pt>
          <cx:pt idx="3205">0</cx:pt>
          <cx:pt idx="3206">1</cx:pt>
          <cx:pt idx="3207">0</cx:pt>
          <cx:pt idx="3208">0</cx:pt>
          <cx:pt idx="3209">1</cx:pt>
          <cx:pt idx="3210">1</cx:pt>
          <cx:pt idx="3211">0</cx:pt>
          <cx:pt idx="3212">1</cx:pt>
          <cx:pt idx="3213">1</cx:pt>
          <cx:pt idx="3214">1</cx:pt>
          <cx:pt idx="3215">1</cx:pt>
          <cx:pt idx="3216">1</cx:pt>
          <cx:pt idx="3217">0</cx:pt>
          <cx:pt idx="3218">0</cx:pt>
          <cx:pt idx="3219">0</cx:pt>
          <cx:pt idx="3220">1</cx:pt>
          <cx:pt idx="3221">0</cx:pt>
          <cx:pt idx="3222">0</cx:pt>
          <cx:pt idx="3223">0</cx:pt>
          <cx:pt idx="3224">0</cx:pt>
          <cx:pt idx="3225">1</cx:pt>
          <cx:pt idx="3226">0</cx:pt>
          <cx:pt idx="3227">1</cx:pt>
          <cx:pt idx="3228">1</cx:pt>
          <cx:pt idx="3229">0</cx:pt>
          <cx:pt idx="3230">1</cx:pt>
          <cx:pt idx="3231">0</cx:pt>
          <cx:pt idx="3232">0</cx:pt>
          <cx:pt idx="3233">0</cx:pt>
          <cx:pt idx="3234">1</cx:pt>
          <cx:pt idx="3235">0</cx:pt>
          <cx:pt idx="3236">1</cx:pt>
          <cx:pt idx="3237">0</cx:pt>
          <cx:pt idx="3238">1</cx:pt>
          <cx:pt idx="3239">1</cx:pt>
          <cx:pt idx="3240">1</cx:pt>
          <cx:pt idx="3241">0</cx:pt>
          <cx:pt idx="3242">0</cx:pt>
          <cx:pt idx="3243">1</cx:pt>
          <cx:pt idx="3244">0</cx:pt>
          <cx:pt idx="3245">0</cx:pt>
          <cx:pt idx="3246">0</cx:pt>
          <cx:pt idx="3247">0</cx:pt>
          <cx:pt idx="3248">1</cx:pt>
          <cx:pt idx="3249">0</cx:pt>
          <cx:pt idx="3250">1</cx:pt>
          <cx:pt idx="3251">0</cx:pt>
          <cx:pt idx="3252">1</cx:pt>
          <cx:pt idx="3253">1</cx:pt>
          <cx:pt idx="3254">1</cx:pt>
          <cx:pt idx="3255">1</cx:pt>
          <cx:pt idx="3256">0</cx:pt>
          <cx:pt idx="3257">0</cx:pt>
          <cx:pt idx="3258">0</cx:pt>
          <cx:pt idx="3259">0</cx:pt>
          <cx:pt idx="3260">0</cx:pt>
          <cx:pt idx="3261">0</cx:pt>
          <cx:pt idx="3262">1</cx:pt>
          <cx:pt idx="3263">0</cx:pt>
          <cx:pt idx="3264">0</cx:pt>
          <cx:pt idx="3265">0</cx:pt>
          <cx:pt idx="3266">1</cx:pt>
          <cx:pt idx="3267">0</cx:pt>
          <cx:pt idx="3268">0</cx:pt>
          <cx:pt idx="3269">1</cx:pt>
          <cx:pt idx="3270">0</cx:pt>
          <cx:pt idx="3271">1</cx:pt>
          <cx:pt idx="3272">0</cx:pt>
          <cx:pt idx="3273">1</cx:pt>
          <cx:pt idx="3274">0</cx:pt>
          <cx:pt idx="3275">1</cx:pt>
          <cx:pt idx="3276">1</cx:pt>
          <cx:pt idx="3277">0</cx:pt>
          <cx:pt idx="3278">0</cx:pt>
          <cx:pt idx="3279">1</cx:pt>
          <cx:pt idx="3280">0</cx:pt>
          <cx:pt idx="3281">1</cx:pt>
          <cx:pt idx="3282">1</cx:pt>
          <cx:pt idx="3283">0</cx:pt>
          <cx:pt idx="3284">0</cx:pt>
          <cx:pt idx="3285">0</cx:pt>
          <cx:pt idx="3286">1</cx:pt>
          <cx:pt idx="3287">1</cx:pt>
          <cx:pt idx="3288">0</cx:pt>
          <cx:pt idx="3289">0</cx:pt>
          <cx:pt idx="3290">0</cx:pt>
          <cx:pt idx="3291">1</cx:pt>
          <cx:pt idx="3292">0</cx:pt>
          <cx:pt idx="3293">0</cx:pt>
          <cx:pt idx="3294">0</cx:pt>
          <cx:pt idx="3295">1</cx:pt>
          <cx:pt idx="3296">0</cx:pt>
          <cx:pt idx="3297">0</cx:pt>
          <cx:pt idx="3298">1</cx:pt>
          <cx:pt idx="3299">0</cx:pt>
          <cx:pt idx="3300">1</cx:pt>
          <cx:pt idx="3301">0</cx:pt>
          <cx:pt idx="3302">0</cx:pt>
          <cx:pt idx="3303">1</cx:pt>
          <cx:pt idx="3304">0</cx:pt>
          <cx:pt idx="3305">1</cx:pt>
          <cx:pt idx="3306">1</cx:pt>
          <cx:pt idx="3307">0</cx:pt>
          <cx:pt idx="3308">0</cx:pt>
          <cx:pt idx="3309">0</cx:pt>
          <cx:pt idx="3310">0</cx:pt>
          <cx:pt idx="3311">1</cx:pt>
          <cx:pt idx="3312">0</cx:pt>
          <cx:pt idx="3313">1</cx:pt>
          <cx:pt idx="3314">0</cx:pt>
          <cx:pt idx="3315">0</cx:pt>
          <cx:pt idx="3316">0</cx:pt>
          <cx:pt idx="3317">1</cx:pt>
          <cx:pt idx="3318">0</cx:pt>
          <cx:pt idx="3319">0</cx:pt>
          <cx:pt idx="3320">1</cx:pt>
          <cx:pt idx="3321">0</cx:pt>
          <cx:pt idx="3322">1</cx:pt>
          <cx:pt idx="3323">0</cx:pt>
          <cx:pt idx="3324">1</cx:pt>
          <cx:pt idx="3325">1</cx:pt>
          <cx:pt idx="3326">1</cx:pt>
          <cx:pt idx="3327">0</cx:pt>
          <cx:pt idx="3328">0</cx:pt>
          <cx:pt idx="3329">0</cx:pt>
          <cx:pt idx="3330">0</cx:pt>
          <cx:pt idx="3331">0</cx:pt>
          <cx:pt idx="3332">0</cx:pt>
          <cx:pt idx="3333">0</cx:pt>
          <cx:pt idx="3334">1</cx:pt>
          <cx:pt idx="3335">0</cx:pt>
          <cx:pt idx="3336">1</cx:pt>
          <cx:pt idx="3337">1</cx:pt>
          <cx:pt idx="3338">1</cx:pt>
          <cx:pt idx="3339">0</cx:pt>
          <cx:pt idx="3340">0</cx:pt>
          <cx:pt idx="3341">0</cx:pt>
          <cx:pt idx="3342">1</cx:pt>
          <cx:pt idx="3343">1</cx:pt>
          <cx:pt idx="3344">1</cx:pt>
          <cx:pt idx="3345">0</cx:pt>
          <cx:pt idx="3346">1</cx:pt>
          <cx:pt idx="3347">0</cx:pt>
          <cx:pt idx="3348">1</cx:pt>
          <cx:pt idx="3349">1</cx:pt>
          <cx:pt idx="3350">1</cx:pt>
          <cx:pt idx="3351">0</cx:pt>
          <cx:pt idx="3352">0</cx:pt>
          <cx:pt idx="3353">0</cx:pt>
          <cx:pt idx="3354">1</cx:pt>
          <cx:pt idx="3355">0</cx:pt>
          <cx:pt idx="3356">0</cx:pt>
          <cx:pt idx="3357">1</cx:pt>
          <cx:pt idx="3358">1</cx:pt>
          <cx:pt idx="3359">0</cx:pt>
          <cx:pt idx="3360">1</cx:pt>
          <cx:pt idx="3361">1</cx:pt>
          <cx:pt idx="3362">1</cx:pt>
          <cx:pt idx="3363">0</cx:pt>
          <cx:pt idx="3364">1</cx:pt>
          <cx:pt idx="3365">0</cx:pt>
          <cx:pt idx="3366">0</cx:pt>
          <cx:pt idx="3367">0</cx:pt>
          <cx:pt idx="3368">0</cx:pt>
          <cx:pt idx="3369">0</cx:pt>
          <cx:pt idx="3370">0</cx:pt>
          <cx:pt idx="3371">1</cx:pt>
          <cx:pt idx="3372">1</cx:pt>
          <cx:pt idx="3373">1</cx:pt>
          <cx:pt idx="3374">0</cx:pt>
          <cx:pt idx="3375">0</cx:pt>
          <cx:pt idx="3376">1</cx:pt>
          <cx:pt idx="3377">1</cx:pt>
          <cx:pt idx="3378">0</cx:pt>
          <cx:pt idx="3379">1</cx:pt>
          <cx:pt idx="3380">0</cx:pt>
          <cx:pt idx="3381">1</cx:pt>
          <cx:pt idx="3382">0</cx:pt>
          <cx:pt idx="3383">1</cx:pt>
          <cx:pt idx="3384">1</cx:pt>
          <cx:pt idx="3385">0</cx:pt>
          <cx:pt idx="3386">1</cx:pt>
          <cx:pt idx="3387">0</cx:pt>
          <cx:pt idx="3388">1</cx:pt>
          <cx:pt idx="3389">0</cx:pt>
          <cx:pt idx="3390">1</cx:pt>
          <cx:pt idx="3391">1</cx:pt>
          <cx:pt idx="3392">0</cx:pt>
          <cx:pt idx="3393">0</cx:pt>
          <cx:pt idx="3394">1</cx:pt>
          <cx:pt idx="3395">0</cx:pt>
          <cx:pt idx="3396">1</cx:pt>
          <cx:pt idx="3397">1</cx:pt>
          <cx:pt idx="3398">0</cx:pt>
          <cx:pt idx="3399">0</cx:pt>
          <cx:pt idx="3400">0</cx:pt>
          <cx:pt idx="3401">0</cx:pt>
          <cx:pt idx="3402">0</cx:pt>
          <cx:pt idx="3403">0</cx:pt>
          <cx:pt idx="3404">1</cx:pt>
          <cx:pt idx="3405">1</cx:pt>
          <cx:pt idx="3406">0</cx:pt>
          <cx:pt idx="3407">1</cx:pt>
          <cx:pt idx="3408">1</cx:pt>
          <cx:pt idx="3409">1</cx:pt>
          <cx:pt idx="3410">0</cx:pt>
          <cx:pt idx="3411">1</cx:pt>
          <cx:pt idx="3412">0</cx:pt>
          <cx:pt idx="3413">1</cx:pt>
          <cx:pt idx="3414">1</cx:pt>
          <cx:pt idx="3415">0</cx:pt>
          <cx:pt idx="3416">0</cx:pt>
          <cx:pt idx="3417">1</cx:pt>
          <cx:pt idx="3418">0</cx:pt>
          <cx:pt idx="3419">1</cx:pt>
          <cx:pt idx="3420">1</cx:pt>
          <cx:pt idx="3421">1</cx:pt>
          <cx:pt idx="3422">1</cx:pt>
          <cx:pt idx="3423">0</cx:pt>
          <cx:pt idx="3424">1</cx:pt>
          <cx:pt idx="3425">0</cx:pt>
          <cx:pt idx="3426">1</cx:pt>
          <cx:pt idx="3427">0</cx:pt>
          <cx:pt idx="3428">1</cx:pt>
          <cx:pt idx="3429">1</cx:pt>
          <cx:pt idx="3430">0</cx:pt>
          <cx:pt idx="3431">0</cx:pt>
          <cx:pt idx="3432">1</cx:pt>
          <cx:pt idx="3433">1</cx:pt>
          <cx:pt idx="3434">0</cx:pt>
          <cx:pt idx="3435">0</cx:pt>
          <cx:pt idx="3436">1</cx:pt>
          <cx:pt idx="3437">1</cx:pt>
          <cx:pt idx="3438">0</cx:pt>
          <cx:pt idx="3439">0</cx:pt>
          <cx:pt idx="3440">1</cx:pt>
          <cx:pt idx="3441">1</cx:pt>
          <cx:pt idx="3442">0</cx:pt>
          <cx:pt idx="3443">0</cx:pt>
          <cx:pt idx="3444">1</cx:pt>
          <cx:pt idx="3445">1</cx:pt>
          <cx:pt idx="3446">1</cx:pt>
          <cx:pt idx="3447">1</cx:pt>
          <cx:pt idx="3448">1</cx:pt>
          <cx:pt idx="3449">0</cx:pt>
          <cx:pt idx="3450">1</cx:pt>
          <cx:pt idx="3451">0</cx:pt>
          <cx:pt idx="3452">1</cx:pt>
          <cx:pt idx="3453">0</cx:pt>
          <cx:pt idx="3454">1</cx:pt>
          <cx:pt idx="3455">0</cx:pt>
          <cx:pt idx="3456">1</cx:pt>
          <cx:pt idx="3457">0</cx:pt>
          <cx:pt idx="3458">1</cx:pt>
          <cx:pt idx="3459">1</cx:pt>
          <cx:pt idx="3460">0</cx:pt>
          <cx:pt idx="3461">1</cx:pt>
          <cx:pt idx="3462">0</cx:pt>
          <cx:pt idx="3463">0</cx:pt>
          <cx:pt idx="3464">0</cx:pt>
          <cx:pt idx="3465">1</cx:pt>
          <cx:pt idx="3466">1</cx:pt>
          <cx:pt idx="3467">1</cx:pt>
          <cx:pt idx="3468">1</cx:pt>
          <cx:pt idx="3469">1</cx:pt>
          <cx:pt idx="3470">0</cx:pt>
          <cx:pt idx="3471">1</cx:pt>
          <cx:pt idx="3472">0</cx:pt>
          <cx:pt idx="3473">0</cx:pt>
          <cx:pt idx="3474">1</cx:pt>
          <cx:pt idx="3475">1</cx:pt>
          <cx:pt idx="3476">0</cx:pt>
          <cx:pt idx="3477">0</cx:pt>
          <cx:pt idx="3478">1</cx:pt>
          <cx:pt idx="3479">1</cx:pt>
          <cx:pt idx="3480">1</cx:pt>
          <cx:pt idx="3481">0</cx:pt>
          <cx:pt idx="3482">0</cx:pt>
          <cx:pt idx="3483">0</cx:pt>
          <cx:pt idx="3484">0</cx:pt>
          <cx:pt idx="3485">0</cx:pt>
          <cx:pt idx="3486">1</cx:pt>
          <cx:pt idx="3487">1</cx:pt>
          <cx:pt idx="3488">1</cx:pt>
          <cx:pt idx="3489">1</cx:pt>
          <cx:pt idx="3490">1</cx:pt>
          <cx:pt idx="3491">0</cx:pt>
          <cx:pt idx="3492">0</cx:pt>
          <cx:pt idx="3493">1</cx:pt>
          <cx:pt idx="3494">0</cx:pt>
          <cx:pt idx="3495">0</cx:pt>
          <cx:pt idx="3496">1</cx:pt>
          <cx:pt idx="3497">1</cx:pt>
          <cx:pt idx="3498">0</cx:pt>
          <cx:pt idx="3499">0</cx:pt>
          <cx:pt idx="3500">0</cx:pt>
          <cx:pt idx="3501">1</cx:pt>
          <cx:pt idx="3502">0</cx:pt>
          <cx:pt idx="3503">0</cx:pt>
          <cx:pt idx="3504">1</cx:pt>
          <cx:pt idx="3505">0</cx:pt>
          <cx:pt idx="3506">1</cx:pt>
          <cx:pt idx="3507">0</cx:pt>
          <cx:pt idx="3508">0</cx:pt>
          <cx:pt idx="3509">0</cx:pt>
          <cx:pt idx="3510">1</cx:pt>
          <cx:pt idx="3511">1</cx:pt>
          <cx:pt idx="3512">0</cx:pt>
          <cx:pt idx="3513">1</cx:pt>
          <cx:pt idx="3514">0</cx:pt>
          <cx:pt idx="3515">0</cx:pt>
          <cx:pt idx="3516">0</cx:pt>
          <cx:pt idx="3517">0</cx:pt>
          <cx:pt idx="3518">1</cx:pt>
          <cx:pt idx="3519">1</cx:pt>
          <cx:pt idx="3520">1</cx:pt>
          <cx:pt idx="3521">0</cx:pt>
          <cx:pt idx="3522">0</cx:pt>
          <cx:pt idx="3523">0</cx:pt>
          <cx:pt idx="3524">0</cx:pt>
          <cx:pt idx="3525">1</cx:pt>
          <cx:pt idx="3526">1</cx:pt>
          <cx:pt idx="3527">0</cx:pt>
          <cx:pt idx="3528">1</cx:pt>
          <cx:pt idx="3529">0</cx:pt>
          <cx:pt idx="3530">1</cx:pt>
          <cx:pt idx="3531">0</cx:pt>
          <cx:pt idx="3532">1</cx:pt>
          <cx:pt idx="3533">0</cx:pt>
          <cx:pt idx="3534">0</cx:pt>
          <cx:pt idx="3535">0</cx:pt>
          <cx:pt idx="3536">0</cx:pt>
          <cx:pt idx="3537">1</cx:pt>
          <cx:pt idx="3538">0</cx:pt>
          <cx:pt idx="3539">0</cx:pt>
          <cx:pt idx="3540">1</cx:pt>
          <cx:pt idx="3541">0</cx:pt>
          <cx:pt idx="3542">1</cx:pt>
          <cx:pt idx="3543">0</cx:pt>
          <cx:pt idx="3544">1</cx:pt>
          <cx:pt idx="3545">1</cx:pt>
          <cx:pt idx="3546">1</cx:pt>
          <cx:pt idx="3547">1</cx:pt>
          <cx:pt idx="3548">0</cx:pt>
          <cx:pt idx="3549">0</cx:pt>
          <cx:pt idx="3550">1</cx:pt>
          <cx:pt idx="3551">0</cx:pt>
          <cx:pt idx="3552">1</cx:pt>
          <cx:pt idx="3553">1</cx:pt>
          <cx:pt idx="3554">0</cx:pt>
          <cx:pt idx="3555">0</cx:pt>
          <cx:pt idx="3556">1</cx:pt>
          <cx:pt idx="3557">0</cx:pt>
          <cx:pt idx="3558">1</cx:pt>
          <cx:pt idx="3559">0</cx:pt>
          <cx:pt idx="3560">0</cx:pt>
          <cx:pt idx="3561">0</cx:pt>
          <cx:pt idx="3562">0</cx:pt>
          <cx:pt idx="3563">1</cx:pt>
          <cx:pt idx="3564">1</cx:pt>
          <cx:pt idx="3565">0</cx:pt>
          <cx:pt idx="3566">0</cx:pt>
          <cx:pt idx="3567">1</cx:pt>
          <cx:pt idx="3568">1</cx:pt>
          <cx:pt idx="3569">0</cx:pt>
          <cx:pt idx="3570">0</cx:pt>
          <cx:pt idx="3571">1</cx:pt>
          <cx:pt idx="3572">0</cx:pt>
          <cx:pt idx="3573">1</cx:pt>
          <cx:pt idx="3574">0</cx:pt>
          <cx:pt idx="3575">1</cx:pt>
          <cx:pt idx="3576">1</cx:pt>
          <cx:pt idx="3577">0</cx:pt>
          <cx:pt idx="3578">0</cx:pt>
          <cx:pt idx="3579">1</cx:pt>
          <cx:pt idx="3580">0</cx:pt>
          <cx:pt idx="3581">0</cx:pt>
          <cx:pt idx="3582">0</cx:pt>
          <cx:pt idx="3583">0</cx:pt>
          <cx:pt idx="3584">0</cx:pt>
          <cx:pt idx="3585">0</cx:pt>
          <cx:pt idx="3586">1</cx:pt>
          <cx:pt idx="3587">0</cx:pt>
          <cx:pt idx="3588">1</cx:pt>
          <cx:pt idx="3589">1</cx:pt>
          <cx:pt idx="3590">0</cx:pt>
          <cx:pt idx="3591">0</cx:pt>
          <cx:pt idx="3592">0</cx:pt>
          <cx:pt idx="3593">1</cx:pt>
          <cx:pt idx="3594">1</cx:pt>
          <cx:pt idx="3595">1</cx:pt>
          <cx:pt idx="3596">0</cx:pt>
          <cx:pt idx="3597">0</cx:pt>
          <cx:pt idx="3598">0</cx:pt>
          <cx:pt idx="3599">1</cx:pt>
          <cx:pt idx="3600">0</cx:pt>
          <cx:pt idx="3601">1</cx:pt>
          <cx:pt idx="3602">1</cx:pt>
          <cx:pt idx="3603">0</cx:pt>
          <cx:pt idx="3604">1</cx:pt>
          <cx:pt idx="3605">1</cx:pt>
          <cx:pt idx="3606">1</cx:pt>
          <cx:pt idx="3607">1</cx:pt>
          <cx:pt idx="3608">1</cx:pt>
          <cx:pt idx="3609">0</cx:pt>
          <cx:pt idx="3610">0</cx:pt>
          <cx:pt idx="3611">0</cx:pt>
          <cx:pt idx="3612">1</cx:pt>
          <cx:pt idx="3613">0</cx:pt>
          <cx:pt idx="3614">1</cx:pt>
          <cx:pt idx="3615">0</cx:pt>
          <cx:pt idx="3616">1</cx:pt>
          <cx:pt idx="3617">1</cx:pt>
          <cx:pt idx="3618">0</cx:pt>
          <cx:pt idx="3619">0</cx:pt>
          <cx:pt idx="3620">0</cx:pt>
          <cx:pt idx="3621">0</cx:pt>
          <cx:pt idx="3622">1</cx:pt>
          <cx:pt idx="3623">1</cx:pt>
          <cx:pt idx="3624">1</cx:pt>
          <cx:pt idx="3625">1</cx:pt>
          <cx:pt idx="3626">1</cx:pt>
          <cx:pt idx="3627">0</cx:pt>
          <cx:pt idx="3628">1</cx:pt>
          <cx:pt idx="3629">0</cx:pt>
          <cx:pt idx="3630">1</cx:pt>
          <cx:pt idx="3631">1</cx:pt>
          <cx:pt idx="3632">0</cx:pt>
          <cx:pt idx="3633">0</cx:pt>
          <cx:pt idx="3634">1</cx:pt>
          <cx:pt idx="3635">1</cx:pt>
          <cx:pt idx="3636">0</cx:pt>
          <cx:pt idx="3637">0</cx:pt>
          <cx:pt idx="3638">0</cx:pt>
          <cx:pt idx="3639">0</cx:pt>
          <cx:pt idx="3640">1</cx:pt>
          <cx:pt idx="3641">0</cx:pt>
          <cx:pt idx="3642">0</cx:pt>
          <cx:pt idx="3643">0</cx:pt>
          <cx:pt idx="3644">0</cx:pt>
          <cx:pt idx="3645">0</cx:pt>
          <cx:pt idx="3646">0</cx:pt>
          <cx:pt idx="3647">1</cx:pt>
          <cx:pt idx="3648">0</cx:pt>
          <cx:pt idx="3649">0</cx:pt>
          <cx:pt idx="3650">0</cx:pt>
          <cx:pt idx="3651">0</cx:pt>
          <cx:pt idx="3652">0</cx:pt>
          <cx:pt idx="3653">1</cx:pt>
          <cx:pt idx="3654">0</cx:pt>
          <cx:pt idx="3655">0</cx:pt>
          <cx:pt idx="3656">0</cx:pt>
          <cx:pt idx="3657">0</cx:pt>
          <cx:pt idx="3658">0</cx:pt>
          <cx:pt idx="3659">1</cx:pt>
          <cx:pt idx="3660">1</cx:pt>
          <cx:pt idx="3661">1</cx:pt>
          <cx:pt idx="3662">0</cx:pt>
          <cx:pt idx="3663">1</cx:pt>
          <cx:pt idx="3664">0</cx:pt>
          <cx:pt idx="3665">0</cx:pt>
          <cx:pt idx="3666">0</cx:pt>
          <cx:pt idx="3667">1</cx:pt>
          <cx:pt idx="3668">0</cx:pt>
          <cx:pt idx="3669">1</cx:pt>
          <cx:pt idx="3670">1</cx:pt>
          <cx:pt idx="3671">0</cx:pt>
          <cx:pt idx="3672">0</cx:pt>
          <cx:pt idx="3673">0</cx:pt>
          <cx:pt idx="3674">1</cx:pt>
          <cx:pt idx="3675">0</cx:pt>
          <cx:pt idx="3676">1</cx:pt>
          <cx:pt idx="3677">0</cx:pt>
          <cx:pt idx="3678">0</cx:pt>
          <cx:pt idx="3679">1</cx:pt>
          <cx:pt idx="3680">0</cx:pt>
          <cx:pt idx="3681">0</cx:pt>
          <cx:pt idx="3682">0</cx:pt>
          <cx:pt idx="3683">0</cx:pt>
          <cx:pt idx="3684">0</cx:pt>
          <cx:pt idx="3685">0</cx:pt>
          <cx:pt idx="3686">1</cx:pt>
          <cx:pt idx="3687">1</cx:pt>
          <cx:pt idx="3688">1</cx:pt>
          <cx:pt idx="3689">0</cx:pt>
          <cx:pt idx="3690">1</cx:pt>
          <cx:pt idx="3691">1</cx:pt>
          <cx:pt idx="3692">1</cx:pt>
          <cx:pt idx="3693">0</cx:pt>
          <cx:pt idx="3694">0</cx:pt>
          <cx:pt idx="3695">1</cx:pt>
          <cx:pt idx="3696">1</cx:pt>
          <cx:pt idx="3697">0</cx:pt>
          <cx:pt idx="3698">0</cx:pt>
          <cx:pt idx="3699">1</cx:pt>
          <cx:pt idx="3700">1</cx:pt>
          <cx:pt idx="3701">0</cx:pt>
          <cx:pt idx="3702">0</cx:pt>
          <cx:pt idx="3703">1</cx:pt>
          <cx:pt idx="3704">0</cx:pt>
          <cx:pt idx="3705">0</cx:pt>
          <cx:pt idx="3706">1</cx:pt>
          <cx:pt idx="3707">0</cx:pt>
          <cx:pt idx="3708">0</cx:pt>
          <cx:pt idx="3709">0</cx:pt>
          <cx:pt idx="3710">1</cx:pt>
          <cx:pt idx="3711">0</cx:pt>
          <cx:pt idx="3712">0</cx:pt>
          <cx:pt idx="3713">0</cx:pt>
          <cx:pt idx="3714">0</cx:pt>
          <cx:pt idx="3715">0</cx:pt>
          <cx:pt idx="3716">0</cx:pt>
          <cx:pt idx="3717">0</cx:pt>
          <cx:pt idx="3718">0</cx:pt>
          <cx:pt idx="3719">1</cx:pt>
          <cx:pt idx="3720">1</cx:pt>
          <cx:pt idx="3721">0</cx:pt>
          <cx:pt idx="3722">1</cx:pt>
          <cx:pt idx="3723">1</cx:pt>
          <cx:pt idx="3724">0</cx:pt>
          <cx:pt idx="3725">1</cx:pt>
          <cx:pt idx="3726">0</cx:pt>
          <cx:pt idx="3727">1</cx:pt>
          <cx:pt idx="3728">0</cx:pt>
          <cx:pt idx="3729">1</cx:pt>
          <cx:pt idx="3730">0</cx:pt>
          <cx:pt idx="3731">1</cx:pt>
          <cx:pt idx="3732">0</cx:pt>
          <cx:pt idx="3733">1</cx:pt>
          <cx:pt idx="3734">1</cx:pt>
          <cx:pt idx="3735">0</cx:pt>
          <cx:pt idx="3736">1</cx:pt>
          <cx:pt idx="3737">1</cx:pt>
          <cx:pt idx="3738">1</cx:pt>
          <cx:pt idx="3739">0</cx:pt>
          <cx:pt idx="3740">1</cx:pt>
          <cx:pt idx="3741">0</cx:pt>
          <cx:pt idx="3742">1</cx:pt>
          <cx:pt idx="3743">1</cx:pt>
          <cx:pt idx="3744">0</cx:pt>
          <cx:pt idx="3745">0</cx:pt>
          <cx:pt idx="3746">0</cx:pt>
          <cx:pt idx="3747">1</cx:pt>
          <cx:pt idx="3748">1</cx:pt>
          <cx:pt idx="3749">0</cx:pt>
          <cx:pt idx="3750">1</cx:pt>
          <cx:pt idx="3751">0</cx:pt>
          <cx:pt idx="3752">0</cx:pt>
          <cx:pt idx="3753">0</cx:pt>
          <cx:pt idx="3754">1</cx:pt>
          <cx:pt idx="3755">1</cx:pt>
          <cx:pt idx="3756">1</cx:pt>
          <cx:pt idx="3757">1</cx:pt>
          <cx:pt idx="3758">0</cx:pt>
          <cx:pt idx="3759">0</cx:pt>
          <cx:pt idx="3760">0</cx:pt>
          <cx:pt idx="3761">1</cx:pt>
          <cx:pt idx="3762">1</cx:pt>
          <cx:pt idx="3763">1</cx:pt>
          <cx:pt idx="3764">0</cx:pt>
          <cx:pt idx="3765">0</cx:pt>
          <cx:pt idx="3766">0</cx:pt>
          <cx:pt idx="3767">0</cx:pt>
          <cx:pt idx="3768">0</cx:pt>
          <cx:pt idx="3769">1</cx:pt>
          <cx:pt idx="3770">0</cx:pt>
          <cx:pt idx="3771">1</cx:pt>
          <cx:pt idx="3772">0</cx:pt>
          <cx:pt idx="3773">1</cx:pt>
          <cx:pt idx="3774">0</cx:pt>
          <cx:pt idx="3775">1</cx:pt>
          <cx:pt idx="3776">1</cx:pt>
          <cx:pt idx="3777">1</cx:pt>
          <cx:pt idx="3778">0</cx:pt>
          <cx:pt idx="3779">0</cx:pt>
          <cx:pt idx="3780">1</cx:pt>
          <cx:pt idx="3781">1</cx:pt>
          <cx:pt idx="3782">0</cx:pt>
          <cx:pt idx="3783">1</cx:pt>
          <cx:pt idx="3784">1</cx:pt>
          <cx:pt idx="3785">0</cx:pt>
          <cx:pt idx="3786">1</cx:pt>
          <cx:pt idx="3787">0</cx:pt>
          <cx:pt idx="3788">1</cx:pt>
          <cx:pt idx="3789">0</cx:pt>
          <cx:pt idx="3790">0</cx:pt>
          <cx:pt idx="3791">0</cx:pt>
          <cx:pt idx="3792">0</cx:pt>
          <cx:pt idx="3793">1</cx:pt>
          <cx:pt idx="3794">0</cx:pt>
          <cx:pt idx="3795">0</cx:pt>
          <cx:pt idx="3796">1</cx:pt>
          <cx:pt idx="3797">0</cx:pt>
          <cx:pt idx="3798">0</cx:pt>
          <cx:pt idx="3799">0</cx:pt>
          <cx:pt idx="3800">0</cx:pt>
          <cx:pt idx="3801">1</cx:pt>
          <cx:pt idx="3802">0</cx:pt>
          <cx:pt idx="3803">1</cx:pt>
          <cx:pt idx="3804">0</cx:pt>
          <cx:pt idx="3805">1</cx:pt>
          <cx:pt idx="3806">1</cx:pt>
          <cx:pt idx="3807">1</cx:pt>
          <cx:pt idx="3808">0</cx:pt>
          <cx:pt idx="3809">1</cx:pt>
          <cx:pt idx="3810">0</cx:pt>
          <cx:pt idx="3811">0</cx:pt>
          <cx:pt idx="3812">1</cx:pt>
          <cx:pt idx="3813">0</cx:pt>
          <cx:pt idx="3814">0</cx:pt>
          <cx:pt idx="3815">1</cx:pt>
          <cx:pt idx="3816">0</cx:pt>
          <cx:pt idx="3817">1</cx:pt>
          <cx:pt idx="3818">1</cx:pt>
          <cx:pt idx="3819">1</cx:pt>
          <cx:pt idx="3820">0</cx:pt>
          <cx:pt idx="3821">0</cx:pt>
          <cx:pt idx="3822">1</cx:pt>
          <cx:pt idx="3823">0</cx:pt>
          <cx:pt idx="3824">1</cx:pt>
          <cx:pt idx="3825">1</cx:pt>
          <cx:pt idx="3826">0</cx:pt>
          <cx:pt idx="3827">1</cx:pt>
          <cx:pt idx="3828">1</cx:pt>
          <cx:pt idx="3829">1</cx:pt>
          <cx:pt idx="3830">0</cx:pt>
          <cx:pt idx="3831">0</cx:pt>
          <cx:pt idx="3832">0</cx:pt>
          <cx:pt idx="3833">1</cx:pt>
          <cx:pt idx="3834">0</cx:pt>
          <cx:pt idx="3835">1</cx:pt>
          <cx:pt idx="3836">1</cx:pt>
          <cx:pt idx="3837">0</cx:pt>
          <cx:pt idx="3838">0</cx:pt>
          <cx:pt idx="3839">0</cx:pt>
          <cx:pt idx="3840">1</cx:pt>
          <cx:pt idx="3841">0</cx:pt>
          <cx:pt idx="3842">0</cx:pt>
          <cx:pt idx="3843">0</cx:pt>
          <cx:pt idx="3844">1</cx:pt>
          <cx:pt idx="3845">0</cx:pt>
          <cx:pt idx="3846">0</cx:pt>
          <cx:pt idx="3847">0</cx:pt>
          <cx:pt idx="3848">0</cx:pt>
          <cx:pt idx="3849">0</cx:pt>
          <cx:pt idx="3850">0</cx:pt>
          <cx:pt idx="3851">0</cx:pt>
          <cx:pt idx="3852">1</cx:pt>
          <cx:pt idx="3853">0</cx:pt>
          <cx:pt idx="3854">1</cx:pt>
          <cx:pt idx="3855">0</cx:pt>
          <cx:pt idx="3856">0</cx:pt>
          <cx:pt idx="3857">1</cx:pt>
          <cx:pt idx="3858">1</cx:pt>
          <cx:pt idx="3859">0</cx:pt>
          <cx:pt idx="3860">0</cx:pt>
          <cx:pt idx="3861">0</cx:pt>
          <cx:pt idx="3862">1</cx:pt>
          <cx:pt idx="3863">0</cx:pt>
          <cx:pt idx="3864">1</cx:pt>
          <cx:pt idx="3865">1</cx:pt>
          <cx:pt idx="3866">1</cx:pt>
          <cx:pt idx="3867">1</cx:pt>
          <cx:pt idx="3868">0</cx:pt>
          <cx:pt idx="3869">0</cx:pt>
          <cx:pt idx="3870">0</cx:pt>
          <cx:pt idx="3871">1</cx:pt>
          <cx:pt idx="3872">1</cx:pt>
          <cx:pt idx="3873">0</cx:pt>
          <cx:pt idx="3874">1</cx:pt>
          <cx:pt idx="3875">0</cx:pt>
          <cx:pt idx="3876">0</cx:pt>
          <cx:pt idx="3877">1</cx:pt>
          <cx:pt idx="3878">0</cx:pt>
          <cx:pt idx="3879">1</cx:pt>
          <cx:pt idx="3880">0</cx:pt>
          <cx:pt idx="3881">0</cx:pt>
          <cx:pt idx="3882">1</cx:pt>
          <cx:pt idx="3883">1</cx:pt>
          <cx:pt idx="3884">1</cx:pt>
          <cx:pt idx="3885">1</cx:pt>
          <cx:pt idx="3886">1</cx:pt>
          <cx:pt idx="3887">0</cx:pt>
          <cx:pt idx="3888">1</cx:pt>
          <cx:pt idx="3889">1</cx:pt>
          <cx:pt idx="3890">0</cx:pt>
          <cx:pt idx="3891">0</cx:pt>
          <cx:pt idx="3892">0</cx:pt>
          <cx:pt idx="3893">0</cx:pt>
          <cx:pt idx="3894">0</cx:pt>
          <cx:pt idx="3895">0</cx:pt>
          <cx:pt idx="3896">1</cx:pt>
          <cx:pt idx="3897">1</cx:pt>
          <cx:pt idx="3898">0</cx:pt>
          <cx:pt idx="3899">0</cx:pt>
          <cx:pt idx="3900">1</cx:pt>
          <cx:pt idx="3901">0</cx:pt>
          <cx:pt idx="3902">0</cx:pt>
          <cx:pt idx="3903">0</cx:pt>
          <cx:pt idx="3904">0</cx:pt>
          <cx:pt idx="3905">1</cx:pt>
          <cx:pt idx="3906">0</cx:pt>
          <cx:pt idx="3907">0</cx:pt>
          <cx:pt idx="3908">1</cx:pt>
          <cx:pt idx="3909">0</cx:pt>
          <cx:pt idx="3910">1</cx:pt>
          <cx:pt idx="3911">0</cx:pt>
          <cx:pt idx="3912">1</cx:pt>
          <cx:pt idx="3913">0</cx:pt>
          <cx:pt idx="3914">0</cx:pt>
          <cx:pt idx="3915">1</cx:pt>
          <cx:pt idx="3916">0</cx:pt>
          <cx:pt idx="3917">1</cx:pt>
          <cx:pt idx="3918">1</cx:pt>
          <cx:pt idx="3919">1</cx:pt>
          <cx:pt idx="3920">1</cx:pt>
          <cx:pt idx="3921">1</cx:pt>
          <cx:pt idx="3922">0</cx:pt>
          <cx:pt idx="3923">0</cx:pt>
          <cx:pt idx="3924">0</cx:pt>
          <cx:pt idx="3925">1</cx:pt>
          <cx:pt idx="3926">1</cx:pt>
          <cx:pt idx="3927">1</cx:pt>
          <cx:pt idx="3928">0</cx:pt>
          <cx:pt idx="3929">0</cx:pt>
          <cx:pt idx="3930">1</cx:pt>
          <cx:pt idx="3931">0</cx:pt>
          <cx:pt idx="3932">0</cx:pt>
          <cx:pt idx="3933">0</cx:pt>
          <cx:pt idx="3934">0</cx:pt>
          <cx:pt idx="3935">0</cx:pt>
          <cx:pt idx="3936">1</cx:pt>
          <cx:pt idx="3937">1</cx:pt>
          <cx:pt idx="3938">1</cx:pt>
          <cx:pt idx="3939">1</cx:pt>
          <cx:pt idx="3940">0</cx:pt>
          <cx:pt idx="3941">0</cx:pt>
          <cx:pt idx="3942">1</cx:pt>
          <cx:pt idx="3943">1</cx:pt>
          <cx:pt idx="3944">1</cx:pt>
          <cx:pt idx="3945">0</cx:pt>
          <cx:pt idx="3946">0</cx:pt>
          <cx:pt idx="3947">1</cx:pt>
          <cx:pt idx="3948">0</cx:pt>
          <cx:pt idx="3949">0</cx:pt>
          <cx:pt idx="3950">0</cx:pt>
          <cx:pt idx="3951">0</cx:pt>
          <cx:pt idx="3952">0</cx:pt>
          <cx:pt idx="3953">1</cx:pt>
          <cx:pt idx="3954">1</cx:pt>
          <cx:pt idx="3955">0</cx:pt>
          <cx:pt idx="3956">1</cx:pt>
          <cx:pt idx="3957">0</cx:pt>
          <cx:pt idx="3958">0</cx:pt>
          <cx:pt idx="3959">0</cx:pt>
          <cx:pt idx="3960">1</cx:pt>
          <cx:pt idx="3961">1</cx:pt>
          <cx:pt idx="3962">1</cx:pt>
          <cx:pt idx="3963">0</cx:pt>
          <cx:pt idx="3964">0</cx:pt>
          <cx:pt idx="3965">1</cx:pt>
          <cx:pt idx="3966">1</cx:pt>
          <cx:pt idx="3967">0</cx:pt>
          <cx:pt idx="3968">0</cx:pt>
          <cx:pt idx="3969">0</cx:pt>
          <cx:pt idx="3970">0</cx:pt>
          <cx:pt idx="3971">0</cx:pt>
          <cx:pt idx="3972">1</cx:pt>
          <cx:pt idx="3973">1</cx:pt>
          <cx:pt idx="3974">1</cx:pt>
          <cx:pt idx="3975">0</cx:pt>
          <cx:pt idx="3976">1</cx:pt>
          <cx:pt idx="3977">0</cx:pt>
          <cx:pt idx="3978">1</cx:pt>
          <cx:pt idx="3979">0</cx:pt>
          <cx:pt idx="3980">0</cx:pt>
          <cx:pt idx="3981">0</cx:pt>
          <cx:pt idx="3982">0</cx:pt>
          <cx:pt idx="3983">1</cx:pt>
          <cx:pt idx="3984">1</cx:pt>
          <cx:pt idx="3985">0</cx:pt>
          <cx:pt idx="3986">0</cx:pt>
          <cx:pt idx="3987">1</cx:pt>
          <cx:pt idx="3988">1</cx:pt>
          <cx:pt idx="3989">0</cx:pt>
          <cx:pt idx="3990">1</cx:pt>
          <cx:pt idx="3991">0</cx:pt>
          <cx:pt idx="3992">0</cx:pt>
          <cx:pt idx="3993">0</cx:pt>
          <cx:pt idx="3994">1</cx:pt>
          <cx:pt idx="3995">1</cx:pt>
          <cx:pt idx="3996">0</cx:pt>
          <cx:pt idx="3997">1</cx:pt>
          <cx:pt idx="3998">1</cx:pt>
          <cx:pt idx="3999">1</cx:pt>
          <cx:pt idx="4000">0</cx:pt>
          <cx:pt idx="4001">0</cx:pt>
          <cx:pt idx="4002">1</cx:pt>
          <cx:pt idx="4003">1</cx:pt>
          <cx:pt idx="4004">0</cx:pt>
          <cx:pt idx="4005">0</cx:pt>
          <cx:pt idx="4006">0</cx:pt>
          <cx:pt idx="4007">0</cx:pt>
          <cx:pt idx="4008">0</cx:pt>
          <cx:pt idx="4009">0</cx:pt>
          <cx:pt idx="4010">0</cx:pt>
          <cx:pt idx="4011">0</cx:pt>
          <cx:pt idx="4012">1</cx:pt>
          <cx:pt idx="4013">0</cx:pt>
          <cx:pt idx="4014">1</cx:pt>
          <cx:pt idx="4015">1</cx:pt>
          <cx:pt idx="4016">1</cx:pt>
          <cx:pt idx="4017">0</cx:pt>
          <cx:pt idx="4018">1</cx:pt>
          <cx:pt idx="4019">0</cx:pt>
          <cx:pt idx="4020">1</cx:pt>
          <cx:pt idx="4021">1</cx:pt>
          <cx:pt idx="4022">1</cx:pt>
          <cx:pt idx="4023">1</cx:pt>
          <cx:pt idx="4024">0</cx:pt>
          <cx:pt idx="4025">0</cx:pt>
          <cx:pt idx="4026">1</cx:pt>
          <cx:pt idx="4027">0</cx:pt>
          <cx:pt idx="4028">0</cx:pt>
          <cx:pt idx="4029">0</cx:pt>
          <cx:pt idx="4030">0</cx:pt>
          <cx:pt idx="4031">1</cx:pt>
          <cx:pt idx="4032">0</cx:pt>
          <cx:pt idx="4033">0</cx:pt>
          <cx:pt idx="4034">0</cx:pt>
          <cx:pt idx="4035">1</cx:pt>
          <cx:pt idx="4036">1</cx:pt>
          <cx:pt idx="4037">0</cx:pt>
          <cx:pt idx="4038">1</cx:pt>
          <cx:pt idx="4039">0</cx:pt>
          <cx:pt idx="4040">0</cx:pt>
          <cx:pt idx="4041">1</cx:pt>
          <cx:pt idx="4042">1</cx:pt>
          <cx:pt idx="4043">0</cx:pt>
          <cx:pt idx="4044">1</cx:pt>
          <cx:pt idx="4045">0</cx:pt>
          <cx:pt idx="4046">0</cx:pt>
          <cx:pt idx="4047">0</cx:pt>
          <cx:pt idx="4048">1</cx:pt>
          <cx:pt idx="4049">1</cx:pt>
          <cx:pt idx="4050">1</cx:pt>
          <cx:pt idx="4051">0</cx:pt>
          <cx:pt idx="4052">0</cx:pt>
          <cx:pt idx="4053">0</cx:pt>
          <cx:pt idx="4054">1</cx:pt>
          <cx:pt idx="4055">0</cx:pt>
          <cx:pt idx="4056">0</cx:pt>
          <cx:pt idx="4057">1</cx:pt>
          <cx:pt idx="4058">0</cx:pt>
          <cx:pt idx="4059">0</cx:pt>
          <cx:pt idx="4060">0</cx:pt>
          <cx:pt idx="4061">1</cx:pt>
          <cx:pt idx="4062">0</cx:pt>
          <cx:pt idx="4063">1</cx:pt>
          <cx:pt idx="4064">0</cx:pt>
          <cx:pt idx="4065">1</cx:pt>
          <cx:pt idx="4066">0</cx:pt>
          <cx:pt idx="4067">0</cx:pt>
          <cx:pt idx="4068">1</cx:pt>
          <cx:pt idx="4069">1</cx:pt>
          <cx:pt idx="4070">0</cx:pt>
          <cx:pt idx="4071">1</cx:pt>
          <cx:pt idx="4072">1</cx:pt>
          <cx:pt idx="4073">1</cx:pt>
          <cx:pt idx="4074">1</cx:pt>
          <cx:pt idx="4075">0</cx:pt>
          <cx:pt idx="4076">1</cx:pt>
          <cx:pt idx="4077">0</cx:pt>
          <cx:pt idx="4078">0</cx:pt>
          <cx:pt idx="4079">1</cx:pt>
          <cx:pt idx="4080">1</cx:pt>
          <cx:pt idx="4081">0</cx:pt>
          <cx:pt idx="4082">0</cx:pt>
          <cx:pt idx="4083">1</cx:pt>
          <cx:pt idx="4084">1</cx:pt>
          <cx:pt idx="4085">1</cx:pt>
          <cx:pt idx="4086">1</cx:pt>
          <cx:pt idx="4087">0</cx:pt>
          <cx:pt idx="4088">0</cx:pt>
          <cx:pt idx="4089">0</cx:pt>
          <cx:pt idx="4090">1</cx:pt>
          <cx:pt idx="4091">0</cx:pt>
          <cx:pt idx="4092">1</cx:pt>
          <cx:pt idx="4093">0</cx:pt>
          <cx:pt idx="4094">1</cx:pt>
          <cx:pt idx="4095">0</cx:pt>
          <cx:pt idx="4096">0</cx:pt>
          <cx:pt idx="4097">0</cx:pt>
          <cx:pt idx="4098">1</cx:pt>
          <cx:pt idx="4099">1</cx:pt>
          <cx:pt idx="4100">1</cx:pt>
          <cx:pt idx="4101">1</cx:pt>
          <cx:pt idx="4102">1</cx:pt>
          <cx:pt idx="4103">0</cx:pt>
          <cx:pt idx="4104">1</cx:pt>
          <cx:pt idx="4105">0</cx:pt>
          <cx:pt idx="4106">1</cx:pt>
          <cx:pt idx="4107">0</cx:pt>
          <cx:pt idx="4108">0</cx:pt>
          <cx:pt idx="4109">0</cx:pt>
          <cx:pt idx="4110">0</cx:pt>
          <cx:pt idx="4111">0</cx:pt>
          <cx:pt idx="4112">0</cx:pt>
          <cx:pt idx="4113">0</cx:pt>
          <cx:pt idx="4114">1</cx:pt>
          <cx:pt idx="4115">0</cx:pt>
          <cx:pt idx="4116">1</cx:pt>
          <cx:pt idx="4117">1</cx:pt>
          <cx:pt idx="4118">1</cx:pt>
          <cx:pt idx="4119">1</cx:pt>
          <cx:pt idx="4120">1</cx:pt>
          <cx:pt idx="4121">1</cx:pt>
          <cx:pt idx="4122">0</cx:pt>
          <cx:pt idx="4123">0</cx:pt>
          <cx:pt idx="4124">0</cx:pt>
          <cx:pt idx="4125">1</cx:pt>
          <cx:pt idx="4126">0</cx:pt>
          <cx:pt idx="4127">0</cx:pt>
          <cx:pt idx="4128">1</cx:pt>
          <cx:pt idx="4129">0</cx:pt>
          <cx:pt idx="4130">1</cx:pt>
          <cx:pt idx="4131">1</cx:pt>
          <cx:pt idx="4132">1</cx:pt>
          <cx:pt idx="4133">0</cx:pt>
          <cx:pt idx="4134">1</cx:pt>
          <cx:pt idx="4135">1</cx:pt>
          <cx:pt idx="4136">1</cx:pt>
          <cx:pt idx="4137">1</cx:pt>
          <cx:pt idx="4138">0</cx:pt>
          <cx:pt idx="4139">0</cx:pt>
          <cx:pt idx="4140">1</cx:pt>
          <cx:pt idx="4141">0</cx:pt>
          <cx:pt idx="4142">0</cx:pt>
          <cx:pt idx="4143">0</cx:pt>
          <cx:pt idx="4144">0</cx:pt>
          <cx:pt idx="4145">0</cx:pt>
          <cx:pt idx="4146">0</cx:pt>
          <cx:pt idx="4147">1</cx:pt>
          <cx:pt idx="4148">0</cx:pt>
          <cx:pt idx="4149">0</cx:pt>
          <cx:pt idx="4150">0</cx:pt>
          <cx:pt idx="4151">1</cx:pt>
          <cx:pt idx="4152">1</cx:pt>
          <cx:pt idx="4153">1</cx:pt>
          <cx:pt idx="4154">0</cx:pt>
          <cx:pt idx="4155">0</cx:pt>
          <cx:pt idx="4156">1</cx:pt>
          <cx:pt idx="4157">1</cx:pt>
          <cx:pt idx="4158">0</cx:pt>
          <cx:pt idx="4159">1</cx:pt>
          <cx:pt idx="4160">0</cx:pt>
          <cx:pt idx="4161">0</cx:pt>
          <cx:pt idx="4162">0</cx:pt>
          <cx:pt idx="4163">1</cx:pt>
          <cx:pt idx="4164">0</cx:pt>
          <cx:pt idx="4165">1</cx:pt>
          <cx:pt idx="4166">0</cx:pt>
          <cx:pt idx="4167">1</cx:pt>
          <cx:pt idx="4168">0</cx:pt>
          <cx:pt idx="4169">1</cx:pt>
          <cx:pt idx="4170">0</cx:pt>
          <cx:pt idx="4171">0</cx:pt>
          <cx:pt idx="4172">0</cx:pt>
          <cx:pt idx="4173">0</cx:pt>
          <cx:pt idx="4174">1</cx:pt>
          <cx:pt idx="4175">1</cx:pt>
          <cx:pt idx="4176">0</cx:pt>
          <cx:pt idx="4177">0</cx:pt>
          <cx:pt idx="4178">1</cx:pt>
          <cx:pt idx="4179">0</cx:pt>
          <cx:pt idx="4180">1</cx:pt>
          <cx:pt idx="4181">0</cx:pt>
          <cx:pt idx="4182">0</cx:pt>
          <cx:pt idx="4183">1</cx:pt>
          <cx:pt idx="4184">0</cx:pt>
          <cx:pt idx="4185">0</cx:pt>
          <cx:pt idx="4186">0</cx:pt>
          <cx:pt idx="4187">1</cx:pt>
          <cx:pt idx="4188">0</cx:pt>
          <cx:pt idx="4189">1</cx:pt>
          <cx:pt idx="4190">1</cx:pt>
          <cx:pt idx="4191">0</cx:pt>
          <cx:pt idx="4192">1</cx:pt>
          <cx:pt idx="4193">0</cx:pt>
          <cx:pt idx="4194">0</cx:pt>
          <cx:pt idx="4195">1</cx:pt>
          <cx:pt idx="4196">1</cx:pt>
          <cx:pt idx="4197">0</cx:pt>
          <cx:pt idx="4198">1</cx:pt>
          <cx:pt idx="4199">0</cx:pt>
          <cx:pt idx="4200">0</cx:pt>
          <cx:pt idx="4201">0</cx:pt>
          <cx:pt idx="4202">0</cx:pt>
          <cx:pt idx="4203">1</cx:pt>
          <cx:pt idx="4204">0</cx:pt>
          <cx:pt idx="4205">1</cx:pt>
          <cx:pt idx="4206">0</cx:pt>
          <cx:pt idx="4207">1</cx:pt>
          <cx:pt idx="4208">1</cx:pt>
          <cx:pt idx="4209">0</cx:pt>
          <cx:pt idx="4210">0</cx:pt>
          <cx:pt idx="4211">1</cx:pt>
          <cx:pt idx="4212">1</cx:pt>
          <cx:pt idx="4213">0</cx:pt>
          <cx:pt idx="4214">0</cx:pt>
          <cx:pt idx="4215">0</cx:pt>
          <cx:pt idx="4216">0</cx:pt>
          <cx:pt idx="4217">0</cx:pt>
          <cx:pt idx="4218">0</cx:pt>
          <cx:pt idx="4219">0</cx:pt>
          <cx:pt idx="4220">0</cx:pt>
          <cx:pt idx="4221">0</cx:pt>
          <cx:pt idx="4222">1</cx:pt>
          <cx:pt idx="4223">0</cx:pt>
          <cx:pt idx="4224">1</cx:pt>
          <cx:pt idx="4225">0</cx:pt>
          <cx:pt idx="4226">0</cx:pt>
          <cx:pt idx="4227">1</cx:pt>
          <cx:pt idx="4228">0</cx:pt>
          <cx:pt idx="4229">0</cx:pt>
          <cx:pt idx="4230">0</cx:pt>
          <cx:pt idx="4231">0</cx:pt>
          <cx:pt idx="4232">1</cx:pt>
          <cx:pt idx="4233">0</cx:pt>
          <cx:pt idx="4234">1</cx:pt>
          <cx:pt idx="4235">1</cx:pt>
          <cx:pt idx="4236">0</cx:pt>
          <cx:pt idx="4237">1</cx:pt>
          <cx:pt idx="4238">1</cx:pt>
          <cx:pt idx="4239">0</cx:pt>
          <cx:pt idx="4240">0</cx:pt>
          <cx:pt idx="4241">0</cx:pt>
          <cx:pt idx="4242">0</cx:pt>
          <cx:pt idx="4243">0</cx:pt>
          <cx:pt idx="4244">0</cx:pt>
          <cx:pt idx="4245">1</cx:pt>
          <cx:pt idx="4246">1</cx:pt>
          <cx:pt idx="4247">0</cx:pt>
          <cx:pt idx="4248">1</cx:pt>
          <cx:pt idx="4249">0</cx:pt>
          <cx:pt idx="4250">1</cx:pt>
          <cx:pt idx="4251">0</cx:pt>
          <cx:pt idx="4252">1</cx:pt>
          <cx:pt idx="4253">0</cx:pt>
          <cx:pt idx="4254">1</cx:pt>
          <cx:pt idx="4255">0</cx:pt>
          <cx:pt idx="4256">1</cx:pt>
          <cx:pt idx="4257">1</cx:pt>
          <cx:pt idx="4258">0</cx:pt>
          <cx:pt idx="4259">1</cx:pt>
          <cx:pt idx="4260">0</cx:pt>
          <cx:pt idx="4261">1</cx:pt>
          <cx:pt idx="4262">0</cx:pt>
          <cx:pt idx="4263">1</cx:pt>
          <cx:pt idx="4264">0</cx:pt>
          <cx:pt idx="4265">1</cx:pt>
          <cx:pt idx="4266">0</cx:pt>
          <cx:pt idx="4267">0</cx:pt>
          <cx:pt idx="4268">0</cx:pt>
          <cx:pt idx="4269">1</cx:pt>
          <cx:pt idx="4270">1</cx:pt>
          <cx:pt idx="4271">0</cx:pt>
          <cx:pt idx="4272">1</cx:pt>
          <cx:pt idx="4273">1</cx:pt>
          <cx:pt idx="4274">0</cx:pt>
          <cx:pt idx="4275">0</cx:pt>
          <cx:pt idx="4276">0</cx:pt>
          <cx:pt idx="4277">0</cx:pt>
          <cx:pt idx="4278">0</cx:pt>
          <cx:pt idx="4279">1</cx:pt>
          <cx:pt idx="4280">0</cx:pt>
          <cx:pt idx="4281">0</cx:pt>
          <cx:pt idx="4282">0</cx:pt>
          <cx:pt idx="4283">0</cx:pt>
          <cx:pt idx="4284">1</cx:pt>
          <cx:pt idx="4285">0</cx:pt>
          <cx:pt idx="4286">1</cx:pt>
          <cx:pt idx="4287">0</cx:pt>
          <cx:pt idx="4288">0</cx:pt>
          <cx:pt idx="4289">1</cx:pt>
          <cx:pt idx="4290">1</cx:pt>
          <cx:pt idx="4291">0</cx:pt>
          <cx:pt idx="4292">0</cx:pt>
          <cx:pt idx="4293">0</cx:pt>
          <cx:pt idx="4294">0</cx:pt>
          <cx:pt idx="4295">1</cx:pt>
          <cx:pt idx="4296">0</cx:pt>
          <cx:pt idx="4297">1</cx:pt>
          <cx:pt idx="4298">0</cx:pt>
          <cx:pt idx="4299">0</cx:pt>
          <cx:pt idx="4300">0</cx:pt>
          <cx:pt idx="4301">0</cx:pt>
          <cx:pt idx="4302">1</cx:pt>
          <cx:pt idx="4303">0</cx:pt>
          <cx:pt idx="4304">0</cx:pt>
          <cx:pt idx="4305">1</cx:pt>
          <cx:pt idx="4306">1</cx:pt>
          <cx:pt idx="4307">1</cx:pt>
          <cx:pt idx="4308">1</cx:pt>
          <cx:pt idx="4309">0</cx:pt>
          <cx:pt idx="4310">0</cx:pt>
          <cx:pt idx="4311">0</cx:pt>
          <cx:pt idx="4312">0</cx:pt>
          <cx:pt idx="4313">0</cx:pt>
          <cx:pt idx="4314">1</cx:pt>
          <cx:pt idx="4315">0</cx:pt>
          <cx:pt idx="4316">0</cx:pt>
          <cx:pt idx="4317">0</cx:pt>
          <cx:pt idx="4318">0</cx:pt>
          <cx:pt idx="4319">1</cx:pt>
          <cx:pt idx="4320">0</cx:pt>
          <cx:pt idx="4321">0</cx:pt>
          <cx:pt idx="4322">0</cx:pt>
          <cx:pt idx="4323">1</cx:pt>
          <cx:pt idx="4324">0</cx:pt>
          <cx:pt idx="4325">0</cx:pt>
          <cx:pt idx="4326">1</cx:pt>
          <cx:pt idx="4327">1</cx:pt>
          <cx:pt idx="4328">1</cx:pt>
          <cx:pt idx="4329">0</cx:pt>
          <cx:pt idx="4330">0</cx:pt>
          <cx:pt idx="4331">0</cx:pt>
          <cx:pt idx="4332">1</cx:pt>
          <cx:pt idx="4333">0</cx:pt>
          <cx:pt idx="4334">0</cx:pt>
          <cx:pt idx="4335">0</cx:pt>
          <cx:pt idx="4336">0</cx:pt>
          <cx:pt idx="4337">0</cx:pt>
          <cx:pt idx="4338">1</cx:pt>
          <cx:pt idx="4339">0</cx:pt>
          <cx:pt idx="4340">1</cx:pt>
          <cx:pt idx="4341">0</cx:pt>
          <cx:pt idx="4342">0</cx:pt>
          <cx:pt idx="4343">0</cx:pt>
          <cx:pt idx="4344">0</cx:pt>
          <cx:pt idx="4345">1</cx:pt>
          <cx:pt idx="4346">0</cx:pt>
          <cx:pt idx="4347">0</cx:pt>
          <cx:pt idx="4348">1</cx:pt>
          <cx:pt idx="4349">0</cx:pt>
          <cx:pt idx="4350">0</cx:pt>
          <cx:pt idx="4351">0</cx:pt>
          <cx:pt idx="4352">0</cx:pt>
          <cx:pt idx="4353">0</cx:pt>
          <cx:pt idx="4354">1</cx:pt>
          <cx:pt idx="4355">1</cx:pt>
          <cx:pt idx="4356">1</cx:pt>
          <cx:pt idx="4357">0</cx:pt>
          <cx:pt idx="4358">1</cx:pt>
          <cx:pt idx="4359">1</cx:pt>
          <cx:pt idx="4360">0</cx:pt>
          <cx:pt idx="4361">0</cx:pt>
          <cx:pt idx="4362">0</cx:pt>
          <cx:pt idx="4363">0</cx:pt>
          <cx:pt idx="4364">0</cx:pt>
          <cx:pt idx="4365">0</cx:pt>
          <cx:pt idx="4366">1</cx:pt>
          <cx:pt idx="4367">0</cx:pt>
          <cx:pt idx="4368">0</cx:pt>
          <cx:pt idx="4369">0</cx:pt>
          <cx:pt idx="4370">0</cx:pt>
          <cx:pt idx="4371">0</cx:pt>
          <cx:pt idx="4372">1</cx:pt>
          <cx:pt idx="4373">0</cx:pt>
          <cx:pt idx="4374">1</cx:pt>
          <cx:pt idx="4375">0</cx:pt>
          <cx:pt idx="4376">1</cx:pt>
          <cx:pt idx="4377">0</cx:pt>
          <cx:pt idx="4378">0</cx:pt>
          <cx:pt idx="4379">0</cx:pt>
          <cx:pt idx="4380">1</cx:pt>
          <cx:pt idx="4381">0</cx:pt>
          <cx:pt idx="4382">0</cx:pt>
          <cx:pt idx="4383">1</cx:pt>
          <cx:pt idx="4384">0</cx:pt>
          <cx:pt idx="4385">0</cx:pt>
          <cx:pt idx="4386">0</cx:pt>
          <cx:pt idx="4387">0</cx:pt>
          <cx:pt idx="4388">1</cx:pt>
          <cx:pt idx="4389">0</cx:pt>
          <cx:pt idx="4390">0</cx:pt>
          <cx:pt idx="4391">1</cx:pt>
          <cx:pt idx="4392">1</cx:pt>
          <cx:pt idx="4393">1</cx:pt>
          <cx:pt idx="4394">0</cx:pt>
          <cx:pt idx="4395">1</cx:pt>
          <cx:pt idx="4396">0</cx:pt>
          <cx:pt idx="4397">1</cx:pt>
          <cx:pt idx="4398">0</cx:pt>
          <cx:pt idx="4399">1</cx:pt>
          <cx:pt idx="4400">0</cx:pt>
          <cx:pt idx="4401">0</cx:pt>
          <cx:pt idx="4402">0</cx:pt>
          <cx:pt idx="4403">1</cx:pt>
          <cx:pt idx="4404">1</cx:pt>
          <cx:pt idx="4405">1</cx:pt>
          <cx:pt idx="4406">1</cx:pt>
          <cx:pt idx="4407">1</cx:pt>
          <cx:pt idx="4408">1</cx:pt>
          <cx:pt idx="4409">0</cx:pt>
          <cx:pt idx="4410">0</cx:pt>
          <cx:pt idx="4411">1</cx:pt>
          <cx:pt idx="4412">1</cx:pt>
          <cx:pt idx="4413">0</cx:pt>
          <cx:pt idx="4414">0</cx:pt>
          <cx:pt idx="4415">1</cx:pt>
          <cx:pt idx="4416">1</cx:pt>
          <cx:pt idx="4417">0</cx:pt>
          <cx:pt idx="4418">1</cx:pt>
          <cx:pt idx="4419">0</cx:pt>
          <cx:pt idx="4420">0</cx:pt>
          <cx:pt idx="4421">0</cx:pt>
          <cx:pt idx="4422">1</cx:pt>
          <cx:pt idx="4423">0</cx:pt>
          <cx:pt idx="4424">1</cx:pt>
          <cx:pt idx="4425">1</cx:pt>
          <cx:pt idx="4426">1</cx:pt>
          <cx:pt idx="4427">0</cx:pt>
          <cx:pt idx="4428">0</cx:pt>
          <cx:pt idx="4429">0</cx:pt>
          <cx:pt idx="4430">0</cx:pt>
          <cx:pt idx="4431">1</cx:pt>
          <cx:pt idx="4432">1</cx:pt>
          <cx:pt idx="4433">1</cx:pt>
          <cx:pt idx="4434">0</cx:pt>
          <cx:pt idx="4435">0</cx:pt>
          <cx:pt idx="4436">1</cx:pt>
          <cx:pt idx="4437">1</cx:pt>
          <cx:pt idx="4438">0</cx:pt>
          <cx:pt idx="4439">0</cx:pt>
          <cx:pt idx="4440">1</cx:pt>
          <cx:pt idx="4441">0</cx:pt>
          <cx:pt idx="4442">0</cx:pt>
          <cx:pt idx="4443">0</cx:pt>
          <cx:pt idx="4444">0</cx:pt>
          <cx:pt idx="4445">0</cx:pt>
          <cx:pt idx="4446">0</cx:pt>
          <cx:pt idx="4447">1</cx:pt>
          <cx:pt idx="4448">1</cx:pt>
          <cx:pt idx="4449">1</cx:pt>
          <cx:pt idx="4450">0</cx:pt>
          <cx:pt idx="4451">0</cx:pt>
          <cx:pt idx="4452">0</cx:pt>
          <cx:pt idx="4453">0</cx:pt>
          <cx:pt idx="4454">0</cx:pt>
          <cx:pt idx="4455">0</cx:pt>
          <cx:pt idx="4456">1</cx:pt>
          <cx:pt idx="4457">0</cx:pt>
          <cx:pt idx="4458">0</cx:pt>
          <cx:pt idx="4459">1</cx:pt>
          <cx:pt idx="4460">1</cx:pt>
          <cx:pt idx="4461">1</cx:pt>
          <cx:pt idx="4462">1</cx:pt>
          <cx:pt idx="4463">1</cx:pt>
          <cx:pt idx="4464">1</cx:pt>
          <cx:pt idx="4465">0</cx:pt>
          <cx:pt idx="4466">0</cx:pt>
          <cx:pt idx="4467">0</cx:pt>
          <cx:pt idx="4468">0</cx:pt>
          <cx:pt idx="4469">0</cx:pt>
          <cx:pt idx="4470">0</cx:pt>
          <cx:pt idx="4471">0</cx:pt>
          <cx:pt idx="4472">1</cx:pt>
          <cx:pt idx="4473">1</cx:pt>
          <cx:pt idx="4474">0</cx:pt>
          <cx:pt idx="4475">0</cx:pt>
          <cx:pt idx="4476">0</cx:pt>
          <cx:pt idx="4477">0</cx:pt>
          <cx:pt idx="4478">1</cx:pt>
          <cx:pt idx="4479">1</cx:pt>
          <cx:pt idx="4480">0</cx:pt>
          <cx:pt idx="4481">0</cx:pt>
          <cx:pt idx="4482">1</cx:pt>
          <cx:pt idx="4483">0</cx:pt>
          <cx:pt idx="4484">0</cx:pt>
          <cx:pt idx="4485">1</cx:pt>
          <cx:pt idx="4486">1</cx:pt>
          <cx:pt idx="4487">0</cx:pt>
          <cx:pt idx="4488">0</cx:pt>
          <cx:pt idx="4489">0</cx:pt>
          <cx:pt idx="4490">0</cx:pt>
          <cx:pt idx="4491">1</cx:pt>
          <cx:pt idx="4492">1</cx:pt>
          <cx:pt idx="4493">0</cx:pt>
          <cx:pt idx="4494">0</cx:pt>
          <cx:pt idx="4495">0</cx:pt>
          <cx:pt idx="4496">0</cx:pt>
          <cx:pt idx="4497">1</cx:pt>
          <cx:pt idx="4498">0</cx:pt>
          <cx:pt idx="4499">0</cx:pt>
          <cx:pt idx="4500">0</cx:pt>
          <cx:pt idx="4501">1</cx:pt>
          <cx:pt idx="4502">1</cx:pt>
          <cx:pt idx="4503">0</cx:pt>
          <cx:pt idx="4504">0</cx:pt>
          <cx:pt idx="4505">0</cx:pt>
          <cx:pt idx="4506">1</cx:pt>
          <cx:pt idx="4507">1</cx:pt>
          <cx:pt idx="4508">0</cx:pt>
          <cx:pt idx="4509">0</cx:pt>
          <cx:pt idx="4510">0</cx:pt>
          <cx:pt idx="4511">0</cx:pt>
          <cx:pt idx="4512">1</cx:pt>
          <cx:pt idx="4513">0</cx:pt>
          <cx:pt idx="4514">0</cx:pt>
          <cx:pt idx="4515">1</cx:pt>
          <cx:pt idx="4516">0</cx:pt>
          <cx:pt idx="4517">1</cx:pt>
          <cx:pt idx="4518">1</cx:pt>
          <cx:pt idx="4519">1</cx:pt>
          <cx:pt idx="4520">0</cx:pt>
          <cx:pt idx="4521">0</cx:pt>
          <cx:pt idx="4522">1</cx:pt>
          <cx:pt idx="4523">1</cx:pt>
          <cx:pt idx="4524">1</cx:pt>
          <cx:pt idx="4525">0</cx:pt>
          <cx:pt idx="4526">1</cx:pt>
          <cx:pt idx="4527">1</cx:pt>
          <cx:pt idx="4528">1</cx:pt>
          <cx:pt idx="4529">0</cx:pt>
          <cx:pt idx="4530">1</cx:pt>
          <cx:pt idx="4531">0</cx:pt>
          <cx:pt idx="4532">0</cx:pt>
          <cx:pt idx="4533">1</cx:pt>
          <cx:pt idx="4534">0</cx:pt>
          <cx:pt idx="4535">0</cx:pt>
          <cx:pt idx="4536">1</cx:pt>
          <cx:pt idx="4537">1</cx:pt>
          <cx:pt idx="4538">1</cx:pt>
          <cx:pt idx="4539">1</cx:pt>
          <cx:pt idx="4540">1</cx:pt>
          <cx:pt idx="4541">0</cx:pt>
          <cx:pt idx="4542">1</cx:pt>
          <cx:pt idx="4543">1</cx:pt>
          <cx:pt idx="4544">0</cx:pt>
          <cx:pt idx="4545">1</cx:pt>
          <cx:pt idx="4546">0</cx:pt>
          <cx:pt idx="4547">1</cx:pt>
          <cx:pt idx="4548">0</cx:pt>
          <cx:pt idx="4549">0</cx:pt>
          <cx:pt idx="4550">0</cx:pt>
          <cx:pt idx="4551">0</cx:pt>
          <cx:pt idx="4552">0</cx:pt>
          <cx:pt idx="4553">0</cx:pt>
          <cx:pt idx="4554">0</cx:pt>
          <cx:pt idx="4555">0</cx:pt>
          <cx:pt idx="4556">0</cx:pt>
          <cx:pt idx="4557">1</cx:pt>
          <cx:pt idx="4558">1</cx:pt>
          <cx:pt idx="4559">1</cx:pt>
          <cx:pt idx="4560">0</cx:pt>
          <cx:pt idx="4561">1</cx:pt>
          <cx:pt idx="4562">1</cx:pt>
          <cx:pt idx="4563">1</cx:pt>
          <cx:pt idx="4564">0</cx:pt>
          <cx:pt idx="4565">0</cx:pt>
          <cx:pt idx="4566">0</cx:pt>
          <cx:pt idx="4567">1</cx:pt>
          <cx:pt idx="4568">0</cx:pt>
          <cx:pt idx="4569">0</cx:pt>
          <cx:pt idx="4570">0</cx:pt>
          <cx:pt idx="4571">0</cx:pt>
          <cx:pt idx="4572">0</cx:pt>
          <cx:pt idx="4573">1</cx:pt>
          <cx:pt idx="4574">0</cx:pt>
          <cx:pt idx="4575">0</cx:pt>
          <cx:pt idx="4576">1</cx:pt>
          <cx:pt idx="4577">0</cx:pt>
          <cx:pt idx="4578">0</cx:pt>
          <cx:pt idx="4579">0</cx:pt>
          <cx:pt idx="4580">0</cx:pt>
          <cx:pt idx="4581">0</cx:pt>
          <cx:pt idx="4582">1</cx:pt>
          <cx:pt idx="4583">0</cx:pt>
          <cx:pt idx="4584">1</cx:pt>
          <cx:pt idx="4585">0</cx:pt>
          <cx:pt idx="4586">1</cx:pt>
          <cx:pt idx="4587">1</cx:pt>
          <cx:pt idx="4588">1</cx:pt>
          <cx:pt idx="4589">0</cx:pt>
          <cx:pt idx="4590">1</cx:pt>
          <cx:pt idx="4591">0</cx:pt>
          <cx:pt idx="4592">0</cx:pt>
          <cx:pt idx="4593">1</cx:pt>
          <cx:pt idx="4594">1</cx:pt>
          <cx:pt idx="4595">1</cx:pt>
          <cx:pt idx="4596">1</cx:pt>
          <cx:pt idx="4597">1</cx:pt>
          <cx:pt idx="4598">0</cx:pt>
          <cx:pt idx="4599">0</cx:pt>
          <cx:pt idx="4600">0</cx:pt>
          <cx:pt idx="4601">0</cx:pt>
          <cx:pt idx="4602">1</cx:pt>
          <cx:pt idx="4603">0</cx:pt>
          <cx:pt idx="4604">1</cx:pt>
          <cx:pt idx="4605">0</cx:pt>
          <cx:pt idx="4606">1</cx:pt>
          <cx:pt idx="4607">1</cx:pt>
          <cx:pt idx="4608">1</cx:pt>
          <cx:pt idx="4609">0</cx:pt>
          <cx:pt idx="4610">0</cx:pt>
          <cx:pt idx="4611">1</cx:pt>
          <cx:pt idx="4612">1</cx:pt>
          <cx:pt idx="4613">1</cx:pt>
          <cx:pt idx="4614">1</cx:pt>
          <cx:pt idx="4615">1</cx:pt>
          <cx:pt idx="4616">1</cx:pt>
          <cx:pt idx="4617">1</cx:pt>
          <cx:pt idx="4618">1</cx:pt>
          <cx:pt idx="4619">0</cx:pt>
          <cx:pt idx="4620">0</cx:pt>
          <cx:pt idx="4621">1</cx:pt>
          <cx:pt idx="4622">1</cx:pt>
          <cx:pt idx="4623">1</cx:pt>
          <cx:pt idx="4624">0</cx:pt>
          <cx:pt idx="4625">1</cx:pt>
          <cx:pt idx="4626">1</cx:pt>
          <cx:pt idx="4627">1</cx:pt>
          <cx:pt idx="4628">0</cx:pt>
          <cx:pt idx="4629">0</cx:pt>
          <cx:pt idx="4630">1</cx:pt>
          <cx:pt idx="4631">1</cx:pt>
          <cx:pt idx="4632">0</cx:pt>
          <cx:pt idx="4633">1</cx:pt>
          <cx:pt idx="4634">0</cx:pt>
          <cx:pt idx="4635">0</cx:pt>
          <cx:pt idx="4636">0</cx:pt>
          <cx:pt idx="4637">0</cx:pt>
          <cx:pt idx="4638">0</cx:pt>
          <cx:pt idx="4639">1</cx:pt>
          <cx:pt idx="4640">1</cx:pt>
          <cx:pt idx="4641">0</cx:pt>
          <cx:pt idx="4642">0</cx:pt>
          <cx:pt idx="4643">0</cx:pt>
          <cx:pt idx="4644">0</cx:pt>
          <cx:pt idx="4645">0</cx:pt>
          <cx:pt idx="4646">1</cx:pt>
          <cx:pt idx="4647">0</cx:pt>
          <cx:pt idx="4648">0</cx:pt>
          <cx:pt idx="4649">0</cx:pt>
          <cx:pt idx="4650">1</cx:pt>
          <cx:pt idx="4651">1</cx:pt>
          <cx:pt idx="4652">1</cx:pt>
          <cx:pt idx="4653">1</cx:pt>
          <cx:pt idx="4654">0</cx:pt>
          <cx:pt idx="4655">0</cx:pt>
          <cx:pt idx="4656">1</cx:pt>
          <cx:pt idx="4657">0</cx:pt>
          <cx:pt idx="4658">0</cx:pt>
          <cx:pt idx="4659">0</cx:pt>
          <cx:pt idx="4660">1</cx:pt>
          <cx:pt idx="4661">1</cx:pt>
          <cx:pt idx="4662">0</cx:pt>
          <cx:pt idx="4663">0</cx:pt>
          <cx:pt idx="4664">1</cx:pt>
          <cx:pt idx="4665">1</cx:pt>
          <cx:pt idx="4666">1</cx:pt>
          <cx:pt idx="4667">1</cx:pt>
          <cx:pt idx="4668">0</cx:pt>
          <cx:pt idx="4669">0</cx:pt>
          <cx:pt idx="4670">1</cx:pt>
          <cx:pt idx="4671">0</cx:pt>
          <cx:pt idx="4672">0</cx:pt>
          <cx:pt idx="4673">1</cx:pt>
          <cx:pt idx="4674">0</cx:pt>
          <cx:pt idx="4675">0</cx:pt>
          <cx:pt idx="4676">1</cx:pt>
          <cx:pt idx="4677">1</cx:pt>
          <cx:pt idx="4678">1</cx:pt>
          <cx:pt idx="4679">1</cx:pt>
          <cx:pt idx="4680">0</cx:pt>
          <cx:pt idx="4681">0</cx:pt>
          <cx:pt idx="4682">1</cx:pt>
          <cx:pt idx="4683">0</cx:pt>
          <cx:pt idx="4684">1</cx:pt>
          <cx:pt idx="4685">0</cx:pt>
          <cx:pt idx="4686">0</cx:pt>
          <cx:pt idx="4687">0</cx:pt>
          <cx:pt idx="4688">0</cx:pt>
          <cx:pt idx="4689">0</cx:pt>
          <cx:pt idx="4690">1</cx:pt>
          <cx:pt idx="4691">0</cx:pt>
          <cx:pt idx="4692">1</cx:pt>
          <cx:pt idx="4693">0</cx:pt>
          <cx:pt idx="4694">0</cx:pt>
          <cx:pt idx="4695">0</cx:pt>
          <cx:pt idx="4696">1</cx:pt>
          <cx:pt idx="4697">1</cx:pt>
          <cx:pt idx="4698">0</cx:pt>
          <cx:pt idx="4699">0</cx:pt>
          <cx:pt idx="4700">1</cx:pt>
          <cx:pt idx="4701">0</cx:pt>
          <cx:pt idx="4702">0</cx:pt>
          <cx:pt idx="4703">0</cx:pt>
          <cx:pt idx="4704">0</cx:pt>
          <cx:pt idx="4705">0</cx:pt>
          <cx:pt idx="4706">1</cx:pt>
          <cx:pt idx="4707">0</cx:pt>
          <cx:pt idx="4708">1</cx:pt>
          <cx:pt idx="4709">1</cx:pt>
          <cx:pt idx="4710">0</cx:pt>
          <cx:pt idx="4711">0</cx:pt>
          <cx:pt idx="4712">1</cx:pt>
          <cx:pt idx="4713">1</cx:pt>
          <cx:pt idx="4714">0</cx:pt>
          <cx:pt idx="4715">1</cx:pt>
          <cx:pt idx="4716">1</cx:pt>
          <cx:pt idx="4717">0</cx:pt>
          <cx:pt idx="4718">0</cx:pt>
          <cx:pt idx="4719">0</cx:pt>
          <cx:pt idx="4720">0</cx:pt>
          <cx:pt idx="4721">0</cx:pt>
          <cx:pt idx="4722">0</cx:pt>
          <cx:pt idx="4723">1</cx:pt>
          <cx:pt idx="4724">0</cx:pt>
          <cx:pt idx="4725">0</cx:pt>
          <cx:pt idx="4726">1</cx:pt>
          <cx:pt idx="4727">0</cx:pt>
          <cx:pt idx="4728">1</cx:pt>
          <cx:pt idx="4729">1</cx:pt>
          <cx:pt idx="4730">1</cx:pt>
          <cx:pt idx="4731">0</cx:pt>
          <cx:pt idx="4732">1</cx:pt>
          <cx:pt idx="4733">1</cx:pt>
          <cx:pt idx="4734">1</cx:pt>
          <cx:pt idx="4735">0</cx:pt>
          <cx:pt idx="4736">0</cx:pt>
          <cx:pt idx="4737">0</cx:pt>
          <cx:pt idx="4738">0</cx:pt>
          <cx:pt idx="4739">0</cx:pt>
          <cx:pt idx="4740">0</cx:pt>
          <cx:pt idx="4741">1</cx:pt>
          <cx:pt idx="4742">0</cx:pt>
          <cx:pt idx="4743">1</cx:pt>
          <cx:pt idx="4744">0</cx:pt>
          <cx:pt idx="4745">0</cx:pt>
          <cx:pt idx="4746">0</cx:pt>
          <cx:pt idx="4747">0</cx:pt>
          <cx:pt idx="4748">0</cx:pt>
          <cx:pt idx="4749">0</cx:pt>
          <cx:pt idx="4750">0</cx:pt>
          <cx:pt idx="4751">1</cx:pt>
          <cx:pt idx="4752">0</cx:pt>
          <cx:pt idx="4753">0</cx:pt>
          <cx:pt idx="4754">0</cx:pt>
          <cx:pt idx="4755">1</cx:pt>
          <cx:pt idx="4756">0</cx:pt>
          <cx:pt idx="4757">1</cx:pt>
          <cx:pt idx="4758">0</cx:pt>
          <cx:pt idx="4759">0</cx:pt>
          <cx:pt idx="4760">0</cx:pt>
          <cx:pt idx="4761">1</cx:pt>
          <cx:pt idx="4762">0</cx:pt>
          <cx:pt idx="4763">0</cx:pt>
          <cx:pt idx="4764">0</cx:pt>
          <cx:pt idx="4765">0</cx:pt>
          <cx:pt idx="4766">1</cx:pt>
          <cx:pt idx="4767">1</cx:pt>
          <cx:pt idx="4768">0</cx:pt>
          <cx:pt idx="4769">0</cx:pt>
          <cx:pt idx="4770">0</cx:pt>
          <cx:pt idx="4771">0</cx:pt>
          <cx:pt idx="4772">0</cx:pt>
          <cx:pt idx="4773">0</cx:pt>
          <cx:pt idx="4774">1</cx:pt>
          <cx:pt idx="4775">1</cx:pt>
          <cx:pt idx="4776">0</cx:pt>
          <cx:pt idx="4777">0</cx:pt>
          <cx:pt idx="4778">1</cx:pt>
          <cx:pt idx="4779">0</cx:pt>
          <cx:pt idx="4780">1</cx:pt>
          <cx:pt idx="4781">0</cx:pt>
          <cx:pt idx="4782">1</cx:pt>
          <cx:pt idx="4783">0</cx:pt>
          <cx:pt idx="4784">1</cx:pt>
          <cx:pt idx="4785">0</cx:pt>
          <cx:pt idx="4786">0</cx:pt>
          <cx:pt idx="4787">1</cx:pt>
          <cx:pt idx="4788">0</cx:pt>
          <cx:pt idx="4789">0</cx:pt>
          <cx:pt idx="4790">0</cx:pt>
          <cx:pt idx="4791">0</cx:pt>
          <cx:pt idx="4792">0</cx:pt>
          <cx:pt idx="4793">0</cx:pt>
          <cx:pt idx="4794">0</cx:pt>
          <cx:pt idx="4795">1</cx:pt>
          <cx:pt idx="4796">0</cx:pt>
          <cx:pt idx="4797">0</cx:pt>
          <cx:pt idx="4798">1</cx:pt>
          <cx:pt idx="4799">1</cx:pt>
          <cx:pt idx="4800">0</cx:pt>
          <cx:pt idx="4801">1</cx:pt>
          <cx:pt idx="4802">0</cx:pt>
          <cx:pt idx="4803">1</cx:pt>
          <cx:pt idx="4804">0</cx:pt>
          <cx:pt idx="4805">0</cx:pt>
          <cx:pt idx="4806">0</cx:pt>
          <cx:pt idx="4807">1</cx:pt>
          <cx:pt idx="4808">0</cx:pt>
          <cx:pt idx="4809">0</cx:pt>
          <cx:pt idx="4810">0</cx:pt>
          <cx:pt idx="4811">0</cx:pt>
          <cx:pt idx="4812">1</cx:pt>
          <cx:pt idx="4813">1</cx:pt>
          <cx:pt idx="4814">0</cx:pt>
          <cx:pt idx="4815">0</cx:pt>
          <cx:pt idx="4816">1</cx:pt>
          <cx:pt idx="4817">1</cx:pt>
          <cx:pt idx="4818">0</cx:pt>
          <cx:pt idx="4819">0</cx:pt>
          <cx:pt idx="4820">1</cx:pt>
          <cx:pt idx="4821">0</cx:pt>
          <cx:pt idx="4822">0</cx:pt>
          <cx:pt idx="4823">0</cx:pt>
          <cx:pt idx="4824">1</cx:pt>
          <cx:pt idx="4825">0</cx:pt>
          <cx:pt idx="4826">0</cx:pt>
          <cx:pt idx="4827">1</cx:pt>
          <cx:pt idx="4828">0</cx:pt>
          <cx:pt idx="4829">1</cx:pt>
          <cx:pt idx="4830">0</cx:pt>
          <cx:pt idx="4831">1</cx:pt>
          <cx:pt idx="4832">1</cx:pt>
          <cx:pt idx="4833">1</cx:pt>
          <cx:pt idx="4834">1</cx:pt>
          <cx:pt idx="4835">1</cx:pt>
          <cx:pt idx="4836">0</cx:pt>
          <cx:pt idx="4837">0</cx:pt>
          <cx:pt idx="4838">0</cx:pt>
          <cx:pt idx="4839">1</cx:pt>
          <cx:pt idx="4840">0</cx:pt>
          <cx:pt idx="4841">0</cx:pt>
          <cx:pt idx="4842">0</cx:pt>
          <cx:pt idx="4843">1</cx:pt>
          <cx:pt idx="4844">1</cx:pt>
          <cx:pt idx="4845">1</cx:pt>
          <cx:pt idx="4846">1</cx:pt>
          <cx:pt idx="4847">0</cx:pt>
          <cx:pt idx="4848">1</cx:pt>
          <cx:pt idx="4849">1</cx:pt>
          <cx:pt idx="4850">1</cx:pt>
          <cx:pt idx="4851">0</cx:pt>
          <cx:pt idx="4852">0</cx:pt>
          <cx:pt idx="4853">0</cx:pt>
          <cx:pt idx="4854">0</cx:pt>
          <cx:pt idx="4855">0</cx:pt>
          <cx:pt idx="4856">1</cx:pt>
          <cx:pt idx="4857">1</cx:pt>
          <cx:pt idx="4858">1</cx:pt>
          <cx:pt idx="4859">0</cx:pt>
          <cx:pt idx="4860">0</cx:pt>
          <cx:pt idx="4861">0</cx:pt>
          <cx:pt idx="4862">0</cx:pt>
          <cx:pt idx="4863">1</cx:pt>
          <cx:pt idx="4864">0</cx:pt>
          <cx:pt idx="4865">1</cx:pt>
          <cx:pt idx="4866">0</cx:pt>
          <cx:pt idx="4867">0</cx:pt>
          <cx:pt idx="4868">0</cx:pt>
          <cx:pt idx="4869">1</cx:pt>
          <cx:pt idx="4870">0</cx:pt>
          <cx:pt idx="4871">0</cx:pt>
          <cx:pt idx="4872">1</cx:pt>
          <cx:pt idx="4873">1</cx:pt>
          <cx:pt idx="4874">1</cx:pt>
          <cx:pt idx="4875">0</cx:pt>
          <cx:pt idx="4876">0</cx:pt>
          <cx:pt idx="4877">0</cx:pt>
          <cx:pt idx="4878">0</cx:pt>
          <cx:pt idx="4879">0</cx:pt>
          <cx:pt idx="4880">0</cx:pt>
          <cx:pt idx="4881">1</cx:pt>
          <cx:pt idx="4882">1</cx:pt>
          <cx:pt idx="4883">1</cx:pt>
          <cx:pt idx="4884">0</cx:pt>
          <cx:pt idx="4885">1</cx:pt>
          <cx:pt idx="4886">1</cx:pt>
          <cx:pt idx="4887">1</cx:pt>
          <cx:pt idx="4888">0</cx:pt>
          <cx:pt idx="4889">1</cx:pt>
          <cx:pt idx="4890">0</cx:pt>
          <cx:pt idx="4891">0</cx:pt>
          <cx:pt idx="4892">1</cx:pt>
          <cx:pt idx="4893">0</cx:pt>
          <cx:pt idx="4894">0</cx:pt>
          <cx:pt idx="4895">0</cx:pt>
          <cx:pt idx="4896">1</cx:pt>
          <cx:pt idx="4897">0</cx:pt>
          <cx:pt idx="4898">1</cx:pt>
          <cx:pt idx="4899">1</cx:pt>
          <cx:pt idx="4900">0</cx:pt>
          <cx:pt idx="4901">1</cx:pt>
          <cx:pt idx="4902">1</cx:pt>
          <cx:pt idx="4903">1</cx:pt>
          <cx:pt idx="4904">0</cx:pt>
          <cx:pt idx="4905">1</cx:pt>
          <cx:pt idx="4906">1</cx:pt>
          <cx:pt idx="4907">1</cx:pt>
          <cx:pt idx="4908">0</cx:pt>
          <cx:pt idx="4909">1</cx:pt>
          <cx:pt idx="4910">0</cx:pt>
          <cx:pt idx="4911">0</cx:pt>
          <cx:pt idx="4912">1</cx:pt>
          <cx:pt idx="4913">0</cx:pt>
          <cx:pt idx="4914">1</cx:pt>
          <cx:pt idx="4915">1</cx:pt>
          <cx:pt idx="4916">0</cx:pt>
          <cx:pt idx="4917">1</cx:pt>
          <cx:pt idx="4918">0</cx:pt>
          <cx:pt idx="4919">0</cx:pt>
          <cx:pt idx="4920">0</cx:pt>
          <cx:pt idx="4921">0</cx:pt>
          <cx:pt idx="4922">1</cx:pt>
          <cx:pt idx="4923">1</cx:pt>
          <cx:pt idx="4924">1</cx:pt>
          <cx:pt idx="4925">0</cx:pt>
          <cx:pt idx="4926">0</cx:pt>
          <cx:pt idx="4927">0</cx:pt>
          <cx:pt idx="4928">0</cx:pt>
          <cx:pt idx="4929">0</cx:pt>
          <cx:pt idx="4930">1</cx:pt>
          <cx:pt idx="4931">1</cx:pt>
          <cx:pt idx="4932">0</cx:pt>
          <cx:pt idx="4933">1</cx:pt>
          <cx:pt idx="4934">0</cx:pt>
          <cx:pt idx="4935">1</cx:pt>
          <cx:pt idx="4936">0</cx:pt>
          <cx:pt idx="4937">0</cx:pt>
          <cx:pt idx="4938">0</cx:pt>
          <cx:pt idx="4939">1</cx:pt>
          <cx:pt idx="4940">1</cx:pt>
          <cx:pt idx="4941">0</cx:pt>
          <cx:pt idx="4942">1</cx:pt>
          <cx:pt idx="4943">1</cx:pt>
          <cx:pt idx="4944">1</cx:pt>
          <cx:pt idx="4945">1</cx:pt>
          <cx:pt idx="4946">0</cx:pt>
          <cx:pt idx="4947">1</cx:pt>
          <cx:pt idx="4948">1</cx:pt>
          <cx:pt idx="4949">0</cx:pt>
          <cx:pt idx="4950">0</cx:pt>
          <cx:pt idx="4951">1</cx:pt>
          <cx:pt idx="4952">1</cx:pt>
          <cx:pt idx="4953">0</cx:pt>
          <cx:pt idx="4954">0</cx:pt>
          <cx:pt idx="4955">0</cx:pt>
          <cx:pt idx="4956">0</cx:pt>
          <cx:pt idx="4957">0</cx:pt>
          <cx:pt idx="4958">0</cx:pt>
          <cx:pt idx="4959">1</cx:pt>
          <cx:pt idx="4960">1</cx:pt>
          <cx:pt idx="4961">1</cx:pt>
          <cx:pt idx="4962">0</cx:pt>
          <cx:pt idx="4963">0</cx:pt>
          <cx:pt idx="4964">0</cx:pt>
          <cx:pt idx="4965">0</cx:pt>
          <cx:pt idx="4966">1</cx:pt>
          <cx:pt idx="4967">0</cx:pt>
          <cx:pt idx="4968">0</cx:pt>
          <cx:pt idx="4969">1</cx:pt>
          <cx:pt idx="4970">0</cx:pt>
          <cx:pt idx="4971">0</cx:pt>
          <cx:pt idx="4972">1</cx:pt>
          <cx:pt idx="4973">1</cx:pt>
          <cx:pt idx="4974">1</cx:pt>
          <cx:pt idx="4975">0</cx:pt>
          <cx:pt idx="4976">1</cx:pt>
          <cx:pt idx="4977">1</cx:pt>
          <cx:pt idx="4978">1</cx:pt>
          <cx:pt idx="4979">0</cx:pt>
          <cx:pt idx="4980">0</cx:pt>
          <cx:pt idx="4981">1</cx:pt>
          <cx:pt idx="4982">1</cx:pt>
          <cx:pt idx="4983">1</cx:pt>
          <cx:pt idx="4984">1</cx:pt>
          <cx:pt idx="4985">0</cx:pt>
          <cx:pt idx="4986">0</cx:pt>
          <cx:pt idx="4987">0</cx:pt>
          <cx:pt idx="4988">0</cx:pt>
          <cx:pt idx="4989">0</cx:pt>
          <cx:pt idx="4990">1</cx:pt>
          <cx:pt idx="4991">0</cx:pt>
          <cx:pt idx="4992">1</cx:pt>
          <cx:pt idx="4993">1</cx:pt>
          <cx:pt idx="4994">0</cx:pt>
          <cx:pt idx="4995">1</cx:pt>
          <cx:pt idx="4996">0</cx:pt>
          <cx:pt idx="4997">0</cx:pt>
          <cx:pt idx="4998">1</cx:pt>
          <cx:pt idx="4999">1</cx:pt>
          <cx:pt idx="5000">0</cx:pt>
          <cx:pt idx="5001">1</cx:pt>
          <cx:pt idx="5002">1</cx:pt>
          <cx:pt idx="5003">0</cx:pt>
          <cx:pt idx="5004">1</cx:pt>
          <cx:pt idx="5005">0</cx:pt>
          <cx:pt idx="5006">1</cx:pt>
          <cx:pt idx="5007">1</cx:pt>
          <cx:pt idx="5008">0</cx:pt>
          <cx:pt idx="5009">0</cx:pt>
          <cx:pt idx="5010">1</cx:pt>
          <cx:pt idx="5011">1</cx:pt>
          <cx:pt idx="5012">0</cx:pt>
          <cx:pt idx="5013">1</cx:pt>
          <cx:pt idx="5014">1</cx:pt>
          <cx:pt idx="5015">0</cx:pt>
          <cx:pt idx="5016">1</cx:pt>
          <cx:pt idx="5017">0</cx:pt>
          <cx:pt idx="5018">1</cx:pt>
          <cx:pt idx="5019">1</cx:pt>
          <cx:pt idx="5020">0</cx:pt>
          <cx:pt idx="5021">0</cx:pt>
          <cx:pt idx="5022">1</cx:pt>
          <cx:pt idx="5023">1</cx:pt>
          <cx:pt idx="5024">0</cx:pt>
          <cx:pt idx="5025">1</cx:pt>
          <cx:pt idx="5026">0</cx:pt>
          <cx:pt idx="5027">0</cx:pt>
          <cx:pt idx="5028">1</cx:pt>
          <cx:pt idx="5029">1</cx:pt>
          <cx:pt idx="5030">0</cx:pt>
          <cx:pt idx="5031">1</cx:pt>
          <cx:pt idx="5032">0</cx:pt>
          <cx:pt idx="5033">1</cx:pt>
          <cx:pt idx="5034">0</cx:pt>
          <cx:pt idx="5035">0</cx:pt>
          <cx:pt idx="5036">1</cx:pt>
          <cx:pt idx="5037">0</cx:pt>
          <cx:pt idx="5038">1</cx:pt>
          <cx:pt idx="5039">0</cx:pt>
          <cx:pt idx="5040">1</cx:pt>
          <cx:pt idx="5041">1</cx:pt>
          <cx:pt idx="5042">0</cx:pt>
          <cx:pt idx="5043">0</cx:pt>
          <cx:pt idx="5044">1</cx:pt>
          <cx:pt idx="5045">1</cx:pt>
          <cx:pt idx="5046">1</cx:pt>
          <cx:pt idx="5047">0</cx:pt>
          <cx:pt idx="5048">0</cx:pt>
          <cx:pt idx="5049">0</cx:pt>
          <cx:pt idx="5050">0</cx:pt>
          <cx:pt idx="5051">1</cx:pt>
          <cx:pt idx="5052">0</cx:pt>
          <cx:pt idx="5053">0</cx:pt>
          <cx:pt idx="5054">1</cx:pt>
          <cx:pt idx="5055">0</cx:pt>
          <cx:pt idx="5056">1</cx:pt>
          <cx:pt idx="5057">0</cx:pt>
          <cx:pt idx="5058">1</cx:pt>
          <cx:pt idx="5059">0</cx:pt>
          <cx:pt idx="5060">0</cx:pt>
          <cx:pt idx="5061">0</cx:pt>
          <cx:pt idx="5062">1</cx:pt>
          <cx:pt idx="5063">0</cx:pt>
          <cx:pt idx="5064">1</cx:pt>
          <cx:pt idx="5065">1</cx:pt>
          <cx:pt idx="5066">1</cx:pt>
          <cx:pt idx="5067">0</cx:pt>
          <cx:pt idx="5068">0</cx:pt>
          <cx:pt idx="5069">1</cx:pt>
          <cx:pt idx="5070">0</cx:pt>
          <cx:pt idx="5071">1</cx:pt>
          <cx:pt idx="5072">1</cx:pt>
          <cx:pt idx="5073">0</cx:pt>
          <cx:pt idx="5074">1</cx:pt>
          <cx:pt idx="5075">1</cx:pt>
          <cx:pt idx="5076">0</cx:pt>
          <cx:pt idx="5077">1</cx:pt>
          <cx:pt idx="5078">1</cx:pt>
          <cx:pt idx="5079">0</cx:pt>
          <cx:pt idx="5080">0</cx:pt>
          <cx:pt idx="5081">0</cx:pt>
          <cx:pt idx="5082">0</cx:pt>
          <cx:pt idx="5083">0</cx:pt>
          <cx:pt idx="5084">0</cx:pt>
          <cx:pt idx="5085">0</cx:pt>
          <cx:pt idx="5086">1</cx:pt>
          <cx:pt idx="5087">1</cx:pt>
          <cx:pt idx="5088">0</cx:pt>
          <cx:pt idx="5089">1</cx:pt>
          <cx:pt idx="5090">1</cx:pt>
          <cx:pt idx="5091">1</cx:pt>
          <cx:pt idx="5092">1</cx:pt>
          <cx:pt idx="5093">1</cx:pt>
          <cx:pt idx="5094">0</cx:pt>
          <cx:pt idx="5095">0</cx:pt>
          <cx:pt idx="5096">0</cx:pt>
          <cx:pt idx="5097">0</cx:pt>
          <cx:pt idx="5098">0</cx:pt>
          <cx:pt idx="5099">0</cx:pt>
          <cx:pt idx="5100">1</cx:pt>
          <cx:pt idx="5101">0</cx:pt>
          <cx:pt idx="5102">1</cx:pt>
          <cx:pt idx="5103">0</cx:pt>
          <cx:pt idx="5104">1</cx:pt>
          <cx:pt idx="5105">0</cx:pt>
          <cx:pt idx="5106">1</cx:pt>
          <cx:pt idx="5107">0</cx:pt>
          <cx:pt idx="5108">0</cx:pt>
          <cx:pt idx="5109">0</cx:pt>
          <cx:pt idx="5110">1</cx:pt>
          <cx:pt idx="5111">0</cx:pt>
          <cx:pt idx="5112">0</cx:pt>
          <cx:pt idx="5113">0</cx:pt>
          <cx:pt idx="5114">0</cx:pt>
          <cx:pt idx="5115">0</cx:pt>
          <cx:pt idx="5116">0</cx:pt>
          <cx:pt idx="5117">1</cx:pt>
          <cx:pt idx="5118">0</cx:pt>
          <cx:pt idx="5119">1</cx:pt>
          <cx:pt idx="5120">1</cx:pt>
          <cx:pt idx="5121">1</cx:pt>
          <cx:pt idx="5122">0</cx:pt>
          <cx:pt idx="5123">0</cx:pt>
          <cx:pt idx="5124">0</cx:pt>
          <cx:pt idx="5125">1</cx:pt>
          <cx:pt idx="5126">0</cx:pt>
          <cx:pt idx="5127">1</cx:pt>
          <cx:pt idx="5128">0</cx:pt>
          <cx:pt idx="5129">0</cx:pt>
          <cx:pt idx="5130">0</cx:pt>
          <cx:pt idx="5131">0</cx:pt>
          <cx:pt idx="5132">0</cx:pt>
          <cx:pt idx="5133">0</cx:pt>
          <cx:pt idx="5134">1</cx:pt>
          <cx:pt idx="5135">1</cx:pt>
          <cx:pt idx="5136">1</cx:pt>
          <cx:pt idx="5137">1</cx:pt>
          <cx:pt idx="5138">1</cx:pt>
          <cx:pt idx="5139">1</cx:pt>
          <cx:pt idx="5140">0</cx:pt>
          <cx:pt idx="5141">0</cx:pt>
          <cx:pt idx="5142">1</cx:pt>
          <cx:pt idx="5143">0</cx:pt>
          <cx:pt idx="5144">0</cx:pt>
          <cx:pt idx="5145">0</cx:pt>
          <cx:pt idx="5146">1</cx:pt>
          <cx:pt idx="5147">1</cx:pt>
          <cx:pt idx="5148">0</cx:pt>
          <cx:pt idx="5149">1</cx:pt>
          <cx:pt idx="5150">1</cx:pt>
          <cx:pt idx="5151">1</cx:pt>
          <cx:pt idx="5152">0</cx:pt>
          <cx:pt idx="5153">1</cx:pt>
          <cx:pt idx="5154">0</cx:pt>
          <cx:pt idx="5155">0</cx:pt>
          <cx:pt idx="5156">0</cx:pt>
          <cx:pt idx="5157">0</cx:pt>
          <cx:pt idx="5158">0</cx:pt>
          <cx:pt idx="5159">1</cx:pt>
          <cx:pt idx="5160">0</cx:pt>
          <cx:pt idx="5161">1</cx:pt>
          <cx:pt idx="5162">1</cx:pt>
          <cx:pt idx="5163">1</cx:pt>
          <cx:pt idx="5164">1</cx:pt>
          <cx:pt idx="5165">0</cx:pt>
          <cx:pt idx="5166">0</cx:pt>
          <cx:pt idx="5167">0</cx:pt>
          <cx:pt idx="5168">1</cx:pt>
          <cx:pt idx="5169">1</cx:pt>
          <cx:pt idx="5170">1</cx:pt>
          <cx:pt idx="5171">0</cx:pt>
          <cx:pt idx="5172">0</cx:pt>
          <cx:pt idx="5173">0</cx:pt>
          <cx:pt idx="5174">0</cx:pt>
          <cx:pt idx="5175">1</cx:pt>
          <cx:pt idx="5176">0</cx:pt>
          <cx:pt idx="5177">0</cx:pt>
          <cx:pt idx="5178">1</cx:pt>
          <cx:pt idx="5179">1</cx:pt>
          <cx:pt idx="5180">0</cx:pt>
          <cx:pt idx="5181">1</cx:pt>
          <cx:pt idx="5182">0</cx:pt>
          <cx:pt idx="5183">0</cx:pt>
          <cx:pt idx="5184">0</cx:pt>
          <cx:pt idx="5185">0</cx:pt>
          <cx:pt idx="5186">0</cx:pt>
          <cx:pt idx="5187">1</cx:pt>
          <cx:pt idx="5188">0</cx:pt>
          <cx:pt idx="5189">0</cx:pt>
          <cx:pt idx="5190">1</cx:pt>
          <cx:pt idx="5191">0</cx:pt>
          <cx:pt idx="5192">0</cx:pt>
          <cx:pt idx="5193">0</cx:pt>
          <cx:pt idx="5194">1</cx:pt>
          <cx:pt idx="5195">0</cx:pt>
          <cx:pt idx="5196">0</cx:pt>
          <cx:pt idx="5197">0</cx:pt>
          <cx:pt idx="5198">0</cx:pt>
          <cx:pt idx="5199">1</cx:pt>
          <cx:pt idx="5200">0</cx:pt>
          <cx:pt idx="5201">1</cx:pt>
          <cx:pt idx="5202">1</cx:pt>
          <cx:pt idx="5203">1</cx:pt>
          <cx:pt idx="5204">1</cx:pt>
          <cx:pt idx="5205">0</cx:pt>
          <cx:pt idx="5206">1</cx:pt>
          <cx:pt idx="5207">1</cx:pt>
          <cx:pt idx="5208">1</cx:pt>
          <cx:pt idx="5209">0</cx:pt>
          <cx:pt idx="5210">0</cx:pt>
          <cx:pt idx="5211">1</cx:pt>
          <cx:pt idx="5212">0</cx:pt>
          <cx:pt idx="5213">1</cx:pt>
          <cx:pt idx="5214">1</cx:pt>
          <cx:pt idx="5215">0</cx:pt>
          <cx:pt idx="5216">1</cx:pt>
          <cx:pt idx="5217">1</cx:pt>
          <cx:pt idx="5218">0</cx:pt>
          <cx:pt idx="5219">1</cx:pt>
          <cx:pt idx="5220">1</cx:pt>
          <cx:pt idx="5221">1</cx:pt>
          <cx:pt idx="5222">0</cx:pt>
          <cx:pt idx="5223">1</cx:pt>
          <cx:pt idx="5224">1</cx:pt>
          <cx:pt idx="5225">0</cx:pt>
          <cx:pt idx="5226">1</cx:pt>
          <cx:pt idx="5227">1</cx:pt>
          <cx:pt idx="5228">1</cx:pt>
          <cx:pt idx="5229">1</cx:pt>
          <cx:pt idx="5230">1</cx:pt>
          <cx:pt idx="5231">0</cx:pt>
          <cx:pt idx="5232">0</cx:pt>
          <cx:pt idx="5233">0</cx:pt>
          <cx:pt idx="5234">1</cx:pt>
          <cx:pt idx="5235">1</cx:pt>
          <cx:pt idx="5236">1</cx:pt>
          <cx:pt idx="5237">0</cx:pt>
          <cx:pt idx="5238">0</cx:pt>
          <cx:pt idx="5239">1</cx:pt>
          <cx:pt idx="5240">0</cx:pt>
          <cx:pt idx="5241">0</cx:pt>
          <cx:pt idx="5242">0</cx:pt>
          <cx:pt idx="5243">0</cx:pt>
          <cx:pt idx="5244">1</cx:pt>
          <cx:pt idx="5245">0</cx:pt>
          <cx:pt idx="5246">1</cx:pt>
          <cx:pt idx="5247">0</cx:pt>
          <cx:pt idx="5248">0</cx:pt>
          <cx:pt idx="5249">1</cx:pt>
          <cx:pt idx="5250">0</cx:pt>
          <cx:pt idx="5251">0</cx:pt>
          <cx:pt idx="5252">1</cx:pt>
          <cx:pt idx="5253">1</cx:pt>
          <cx:pt idx="5254">0</cx:pt>
          <cx:pt idx="5255">0</cx:pt>
          <cx:pt idx="5256">0</cx:pt>
          <cx:pt idx="5257">0</cx:pt>
          <cx:pt idx="5258">0</cx:pt>
          <cx:pt idx="5259">0</cx:pt>
          <cx:pt idx="5260">0</cx:pt>
          <cx:pt idx="5261">0</cx:pt>
          <cx:pt idx="5262">0</cx:pt>
          <cx:pt idx="5263">1</cx:pt>
          <cx:pt idx="5264">1</cx:pt>
          <cx:pt idx="5265">0</cx:pt>
          <cx:pt idx="5266">0</cx:pt>
          <cx:pt idx="5267">1</cx:pt>
          <cx:pt idx="5268">0</cx:pt>
          <cx:pt idx="5269">0</cx:pt>
          <cx:pt idx="5270">1</cx:pt>
          <cx:pt idx="5271">1</cx:pt>
          <cx:pt idx="5272">0</cx:pt>
          <cx:pt idx="5273">1</cx:pt>
          <cx:pt idx="5274">1</cx:pt>
          <cx:pt idx="5275">0</cx:pt>
          <cx:pt idx="5276">0</cx:pt>
          <cx:pt idx="5277">0</cx:pt>
          <cx:pt idx="5278">1</cx:pt>
          <cx:pt idx="5279">0</cx:pt>
          <cx:pt idx="5280">1</cx:pt>
          <cx:pt idx="5281">0</cx:pt>
          <cx:pt idx="5282">0</cx:pt>
          <cx:pt idx="5283">0</cx:pt>
          <cx:pt idx="5284">0</cx:pt>
          <cx:pt idx="5285">1</cx:pt>
          <cx:pt idx="5286">0</cx:pt>
          <cx:pt idx="5287">1</cx:pt>
          <cx:pt idx="5288">1</cx:pt>
          <cx:pt idx="5289">0</cx:pt>
          <cx:pt idx="5290">0</cx:pt>
          <cx:pt idx="5291">1</cx:pt>
          <cx:pt idx="5292">0</cx:pt>
          <cx:pt idx="5293">1</cx:pt>
          <cx:pt idx="5294">1</cx:pt>
          <cx:pt idx="5295">1</cx:pt>
          <cx:pt idx="5296">0</cx:pt>
          <cx:pt idx="5297">0</cx:pt>
          <cx:pt idx="5298">0</cx:pt>
          <cx:pt idx="5299">1</cx:pt>
          <cx:pt idx="5300">0</cx:pt>
          <cx:pt idx="5301">0</cx:pt>
          <cx:pt idx="5302">1</cx:pt>
          <cx:pt idx="5303">0</cx:pt>
          <cx:pt idx="5304">1</cx:pt>
          <cx:pt idx="5305">0</cx:pt>
          <cx:pt idx="5306">1</cx:pt>
          <cx:pt idx="5307">1</cx:pt>
          <cx:pt idx="5308">1</cx:pt>
          <cx:pt idx="5309">0</cx:pt>
          <cx:pt idx="5310">0</cx:pt>
          <cx:pt idx="5311">0</cx:pt>
          <cx:pt idx="5312">0</cx:pt>
          <cx:pt idx="5313">1</cx:pt>
          <cx:pt idx="5314">0</cx:pt>
          <cx:pt idx="5315">1</cx:pt>
          <cx:pt idx="5316">1</cx:pt>
          <cx:pt idx="5317">0</cx:pt>
          <cx:pt idx="5318">0</cx:pt>
          <cx:pt idx="5319">0</cx:pt>
          <cx:pt idx="5320">1</cx:pt>
          <cx:pt idx="5321">0</cx:pt>
          <cx:pt idx="5322">1</cx:pt>
          <cx:pt idx="5323">0</cx:pt>
          <cx:pt idx="5324">0</cx:pt>
          <cx:pt idx="5325">1</cx:pt>
          <cx:pt idx="5326">0</cx:pt>
          <cx:pt idx="5327">0</cx:pt>
          <cx:pt idx="5328">0</cx:pt>
          <cx:pt idx="5329">0</cx:pt>
          <cx:pt idx="5330">0</cx:pt>
          <cx:pt idx="5331">0</cx:pt>
          <cx:pt idx="5332">0</cx:pt>
          <cx:pt idx="5333">0</cx:pt>
          <cx:pt idx="5334">0</cx:pt>
          <cx:pt idx="5335">0</cx:pt>
          <cx:pt idx="5336">1</cx:pt>
          <cx:pt idx="5337">0</cx:pt>
          <cx:pt idx="5338">1</cx:pt>
          <cx:pt idx="5339">0</cx:pt>
          <cx:pt idx="5340">1</cx:pt>
          <cx:pt idx="5341">0</cx:pt>
          <cx:pt idx="5342">1</cx:pt>
          <cx:pt idx="5343">0</cx:pt>
          <cx:pt idx="5344">1</cx:pt>
          <cx:pt idx="5345">1</cx:pt>
          <cx:pt idx="5346">1</cx:pt>
          <cx:pt idx="5347">0</cx:pt>
          <cx:pt idx="5348">1</cx:pt>
          <cx:pt idx="5349">0</cx:pt>
          <cx:pt idx="5350">1</cx:pt>
          <cx:pt idx="5351">1</cx:pt>
          <cx:pt idx="5352">1</cx:pt>
          <cx:pt idx="5353">0</cx:pt>
          <cx:pt idx="5354">0</cx:pt>
          <cx:pt idx="5355">1</cx:pt>
          <cx:pt idx="5356">0</cx:pt>
          <cx:pt idx="5357">1</cx:pt>
          <cx:pt idx="5358">0</cx:pt>
          <cx:pt idx="5359">1</cx:pt>
          <cx:pt idx="5360">0</cx:pt>
          <cx:pt idx="5361">0</cx:pt>
          <cx:pt idx="5362">0</cx:pt>
          <cx:pt idx="5363">0</cx:pt>
          <cx:pt idx="5364">1</cx:pt>
          <cx:pt idx="5365">0</cx:pt>
          <cx:pt idx="5366">1</cx:pt>
          <cx:pt idx="5367">0</cx:pt>
          <cx:pt idx="5368">0</cx:pt>
          <cx:pt idx="5369">0</cx:pt>
          <cx:pt idx="5370">1</cx:pt>
          <cx:pt idx="5371">1</cx:pt>
          <cx:pt idx="5372">0</cx:pt>
          <cx:pt idx="5373">0</cx:pt>
          <cx:pt idx="5374">0</cx:pt>
          <cx:pt idx="5375">0</cx:pt>
          <cx:pt idx="5376">1</cx:pt>
          <cx:pt idx="5377">0</cx:pt>
          <cx:pt idx="5378">0</cx:pt>
          <cx:pt idx="5379">0</cx:pt>
          <cx:pt idx="5380">1</cx:pt>
          <cx:pt idx="5381">0</cx:pt>
          <cx:pt idx="5382">1</cx:pt>
          <cx:pt idx="5383">1</cx:pt>
          <cx:pt idx="5384">0</cx:pt>
          <cx:pt idx="5385">1</cx:pt>
          <cx:pt idx="5386">1</cx:pt>
          <cx:pt idx="5387">1</cx:pt>
          <cx:pt idx="5388">0</cx:pt>
          <cx:pt idx="5389">0</cx:pt>
          <cx:pt idx="5390">1</cx:pt>
          <cx:pt idx="5391">0</cx:pt>
          <cx:pt idx="5392">0</cx:pt>
          <cx:pt idx="5393">0</cx:pt>
          <cx:pt idx="5394">0</cx:pt>
          <cx:pt idx="5395">0</cx:pt>
          <cx:pt idx="5396">1</cx:pt>
          <cx:pt idx="5397">1</cx:pt>
          <cx:pt idx="5398">0</cx:pt>
          <cx:pt idx="5399">0</cx:pt>
          <cx:pt idx="5400">0</cx:pt>
          <cx:pt idx="5401">0</cx:pt>
          <cx:pt idx="5402">1</cx:pt>
          <cx:pt idx="5403">0</cx:pt>
          <cx:pt idx="5404">0</cx:pt>
          <cx:pt idx="5405">0</cx:pt>
          <cx:pt idx="5406">1</cx:pt>
          <cx:pt idx="5407">1</cx:pt>
          <cx:pt idx="5408">1</cx:pt>
          <cx:pt idx="5409">1</cx:pt>
          <cx:pt idx="5410">0</cx:pt>
          <cx:pt idx="5411">1</cx:pt>
          <cx:pt idx="5412">1</cx:pt>
          <cx:pt idx="5413">0</cx:pt>
          <cx:pt idx="5414">0</cx:pt>
          <cx:pt idx="5415">0</cx:pt>
          <cx:pt idx="5416">1</cx:pt>
          <cx:pt idx="5417">1</cx:pt>
          <cx:pt idx="5418">1</cx:pt>
          <cx:pt idx="5419">0</cx:pt>
          <cx:pt idx="5420">1</cx:pt>
          <cx:pt idx="5421">0</cx:pt>
          <cx:pt idx="5422">1</cx:pt>
          <cx:pt idx="5423">1</cx:pt>
          <cx:pt idx="5424">1</cx:pt>
          <cx:pt idx="5425">0</cx:pt>
          <cx:pt idx="5426">0</cx:pt>
          <cx:pt idx="5427">0</cx:pt>
          <cx:pt idx="5428">1</cx:pt>
          <cx:pt idx="5429">1</cx:pt>
          <cx:pt idx="5430">1</cx:pt>
          <cx:pt idx="5431">1</cx:pt>
          <cx:pt idx="5432">0</cx:pt>
          <cx:pt idx="5433">0</cx:pt>
          <cx:pt idx="5434">0</cx:pt>
          <cx:pt idx="5435">0</cx:pt>
          <cx:pt idx="5436">1</cx:pt>
          <cx:pt idx="5437">1</cx:pt>
          <cx:pt idx="5438">0</cx:pt>
          <cx:pt idx="5439">0</cx:pt>
          <cx:pt idx="5440">0</cx:pt>
          <cx:pt idx="5441">0</cx:pt>
          <cx:pt idx="5442">1</cx:pt>
          <cx:pt idx="5443">0</cx:pt>
          <cx:pt idx="5444">1</cx:pt>
          <cx:pt idx="5445">0</cx:pt>
          <cx:pt idx="5446">0</cx:pt>
          <cx:pt idx="5447">1</cx:pt>
          <cx:pt idx="5448">0</cx:pt>
          <cx:pt idx="5449">0</cx:pt>
          <cx:pt idx="5450">0</cx:pt>
          <cx:pt idx="5451">1</cx:pt>
          <cx:pt idx="5452">1</cx:pt>
          <cx:pt idx="5453">1</cx:pt>
          <cx:pt idx="5454">1</cx:pt>
          <cx:pt idx="5455">0</cx:pt>
          <cx:pt idx="5456">0</cx:pt>
          <cx:pt idx="5457">0</cx:pt>
          <cx:pt idx="5458">0</cx:pt>
          <cx:pt idx="5459">1</cx:pt>
          <cx:pt idx="5460">0</cx:pt>
          <cx:pt idx="5461">0</cx:pt>
          <cx:pt idx="5462">1</cx:pt>
          <cx:pt idx="5463">1</cx:pt>
          <cx:pt idx="5464">0</cx:pt>
          <cx:pt idx="5465">0</cx:pt>
          <cx:pt idx="5466">1</cx:pt>
          <cx:pt idx="5467">0</cx:pt>
          <cx:pt idx="5468">0</cx:pt>
          <cx:pt idx="5469">0</cx:pt>
          <cx:pt idx="5470">0</cx:pt>
          <cx:pt idx="5471">1</cx:pt>
          <cx:pt idx="5472">0</cx:pt>
          <cx:pt idx="5473">0</cx:pt>
          <cx:pt idx="5474">0</cx:pt>
          <cx:pt idx="5475">0</cx:pt>
          <cx:pt idx="5476">1</cx:pt>
          <cx:pt idx="5477">0</cx:pt>
          <cx:pt idx="5478">1</cx:pt>
          <cx:pt idx="5479">0</cx:pt>
          <cx:pt idx="5480">1</cx:pt>
          <cx:pt idx="5481">0</cx:pt>
          <cx:pt idx="5482">0</cx:pt>
          <cx:pt idx="5483">0</cx:pt>
          <cx:pt idx="5484">1</cx:pt>
          <cx:pt idx="5485">0</cx:pt>
          <cx:pt idx="5486">0</cx:pt>
          <cx:pt idx="5487">0</cx:pt>
          <cx:pt idx="5488">0</cx:pt>
          <cx:pt idx="5489">1</cx:pt>
          <cx:pt idx="5490">1</cx:pt>
          <cx:pt idx="5491">0</cx:pt>
          <cx:pt idx="5492">1</cx:pt>
          <cx:pt idx="5493">1</cx:pt>
          <cx:pt idx="5494">0</cx:pt>
          <cx:pt idx="5495">1</cx:pt>
          <cx:pt idx="5496">0</cx:pt>
          <cx:pt idx="5497">0</cx:pt>
          <cx:pt idx="5498">1</cx:pt>
          <cx:pt idx="5499">1</cx:pt>
          <cx:pt idx="5500">0</cx:pt>
          <cx:pt idx="5501">0</cx:pt>
          <cx:pt idx="5502">1</cx:pt>
          <cx:pt idx="5503">0</cx:pt>
          <cx:pt idx="5504">1</cx:pt>
          <cx:pt idx="5505">1</cx:pt>
          <cx:pt idx="5506">0</cx:pt>
          <cx:pt idx="5507">0</cx:pt>
          <cx:pt idx="5508">1</cx:pt>
          <cx:pt idx="5509">0</cx:pt>
          <cx:pt idx="5510">0</cx:pt>
          <cx:pt idx="5511">1</cx:pt>
          <cx:pt idx="5512">0</cx:pt>
          <cx:pt idx="5513">0</cx:pt>
          <cx:pt idx="5514">0</cx:pt>
          <cx:pt idx="5515">0</cx:pt>
          <cx:pt idx="5516">0</cx:pt>
          <cx:pt idx="5517">1</cx:pt>
          <cx:pt idx="5518">0</cx:pt>
          <cx:pt idx="5519">1</cx:pt>
          <cx:pt idx="5520">1</cx:pt>
          <cx:pt idx="5521">0</cx:pt>
          <cx:pt idx="5522">0</cx:pt>
          <cx:pt idx="5523">0</cx:pt>
          <cx:pt idx="5524">1</cx:pt>
          <cx:pt idx="5525">0</cx:pt>
          <cx:pt idx="5526">1</cx:pt>
          <cx:pt idx="5527">1</cx:pt>
          <cx:pt idx="5528">0</cx:pt>
          <cx:pt idx="5529">0</cx:pt>
          <cx:pt idx="5530">1</cx:pt>
          <cx:pt idx="5531">1</cx:pt>
          <cx:pt idx="5532">1</cx:pt>
          <cx:pt idx="5533">1</cx:pt>
          <cx:pt idx="5534">0</cx:pt>
          <cx:pt idx="5535">1</cx:pt>
          <cx:pt idx="5536">0</cx:pt>
          <cx:pt idx="5537">1</cx:pt>
          <cx:pt idx="5538">1</cx:pt>
          <cx:pt idx="5539">0</cx:pt>
          <cx:pt idx="5540">1</cx:pt>
          <cx:pt idx="5541">1</cx:pt>
          <cx:pt idx="5542">0</cx:pt>
          <cx:pt idx="5543">1</cx:pt>
          <cx:pt idx="5544">0</cx:pt>
          <cx:pt idx="5545">1</cx:pt>
          <cx:pt idx="5546">0</cx:pt>
          <cx:pt idx="5547">0</cx:pt>
          <cx:pt idx="5548">0</cx:pt>
          <cx:pt idx="5549">1</cx:pt>
          <cx:pt idx="5550">0</cx:pt>
          <cx:pt idx="5551">0</cx:pt>
          <cx:pt idx="5552">0</cx:pt>
          <cx:pt idx="5553">0</cx:pt>
          <cx:pt idx="5554">1</cx:pt>
          <cx:pt idx="5555">1</cx:pt>
          <cx:pt idx="5556">1</cx:pt>
          <cx:pt idx="5557">1</cx:pt>
          <cx:pt idx="5558">0</cx:pt>
          <cx:pt idx="5559">1</cx:pt>
          <cx:pt idx="5560">1</cx:pt>
          <cx:pt idx="5561">0</cx:pt>
          <cx:pt idx="5562">0</cx:pt>
          <cx:pt idx="5563">0</cx:pt>
          <cx:pt idx="5564">1</cx:pt>
          <cx:pt idx="5565">1</cx:pt>
          <cx:pt idx="5566">0</cx:pt>
          <cx:pt idx="5567">1</cx:pt>
          <cx:pt idx="5568">1</cx:pt>
          <cx:pt idx="5569">0</cx:pt>
          <cx:pt idx="5570">1</cx:pt>
          <cx:pt idx="5571">0</cx:pt>
          <cx:pt idx="5572">0</cx:pt>
          <cx:pt idx="5573">1</cx:pt>
          <cx:pt idx="5574">0</cx:pt>
          <cx:pt idx="5575">0</cx:pt>
          <cx:pt idx="5576">0</cx:pt>
          <cx:pt idx="5577">1</cx:pt>
          <cx:pt idx="5578">1</cx:pt>
          <cx:pt idx="5579">1</cx:pt>
          <cx:pt idx="5580">1</cx:pt>
          <cx:pt idx="5581">1</cx:pt>
          <cx:pt idx="5582">0</cx:pt>
          <cx:pt idx="5583">0</cx:pt>
          <cx:pt idx="5584">1</cx:pt>
          <cx:pt idx="5585">0</cx:pt>
          <cx:pt idx="5586">0</cx:pt>
          <cx:pt idx="5587">0</cx:pt>
          <cx:pt idx="5588">0</cx:pt>
          <cx:pt idx="5589">1</cx:pt>
          <cx:pt idx="5590">0</cx:pt>
          <cx:pt idx="5591">0</cx:pt>
          <cx:pt idx="5592">1</cx:pt>
          <cx:pt idx="5593">0</cx:pt>
          <cx:pt idx="5594">0</cx:pt>
          <cx:pt idx="5595">1</cx:pt>
          <cx:pt idx="5596">0</cx:pt>
          <cx:pt idx="5597">1</cx:pt>
          <cx:pt idx="5598">0</cx:pt>
          <cx:pt idx="5599">1</cx:pt>
          <cx:pt idx="5600">0</cx:pt>
          <cx:pt idx="5601">1</cx:pt>
          <cx:pt idx="5602">0</cx:pt>
          <cx:pt idx="5603">1</cx:pt>
          <cx:pt idx="5604">1</cx:pt>
          <cx:pt idx="5605">1</cx:pt>
          <cx:pt idx="5606">0</cx:pt>
          <cx:pt idx="5607">1</cx:pt>
          <cx:pt idx="5608">1</cx:pt>
          <cx:pt idx="5609">1</cx:pt>
          <cx:pt idx="5610">0</cx:pt>
          <cx:pt idx="5611">0</cx:pt>
          <cx:pt idx="5612">0</cx:pt>
          <cx:pt idx="5613">1</cx:pt>
          <cx:pt idx="5614">1</cx:pt>
          <cx:pt idx="5615">1</cx:pt>
          <cx:pt idx="5616">1</cx:pt>
          <cx:pt idx="5617">0</cx:pt>
          <cx:pt idx="5618">1</cx:pt>
          <cx:pt idx="5619">1</cx:pt>
          <cx:pt idx="5620">1</cx:pt>
          <cx:pt idx="5621">0</cx:pt>
          <cx:pt idx="5622">0</cx:pt>
          <cx:pt idx="5623">0</cx:pt>
          <cx:pt idx="5624">0</cx:pt>
          <cx:pt idx="5625">1</cx:pt>
          <cx:pt idx="5626">0</cx:pt>
          <cx:pt idx="5627">0</cx:pt>
          <cx:pt idx="5628">0</cx:pt>
          <cx:pt idx="5629">1</cx:pt>
          <cx:pt idx="5630">0</cx:pt>
          <cx:pt idx="5631">0</cx:pt>
          <cx:pt idx="5632">0</cx:pt>
          <cx:pt idx="5633">0</cx:pt>
          <cx:pt idx="5634">0</cx:pt>
          <cx:pt idx="5635">1</cx:pt>
          <cx:pt idx="5636">1</cx:pt>
          <cx:pt idx="5637">0</cx:pt>
          <cx:pt idx="5638">0</cx:pt>
          <cx:pt idx="5639">0</cx:pt>
          <cx:pt idx="5640">1</cx:pt>
          <cx:pt idx="5641">0</cx:pt>
          <cx:pt idx="5642">0</cx:pt>
          <cx:pt idx="5643">1</cx:pt>
          <cx:pt idx="5644">0</cx:pt>
          <cx:pt idx="5645">1</cx:pt>
          <cx:pt idx="5646">0</cx:pt>
          <cx:pt idx="5647">0</cx:pt>
          <cx:pt idx="5648">0</cx:pt>
          <cx:pt idx="5649">1</cx:pt>
          <cx:pt idx="5650">1</cx:pt>
          <cx:pt idx="5651">1</cx:pt>
          <cx:pt idx="5652">1</cx:pt>
          <cx:pt idx="5653">1</cx:pt>
          <cx:pt idx="5654">0</cx:pt>
          <cx:pt idx="5655">0</cx:pt>
          <cx:pt idx="5656">1</cx:pt>
          <cx:pt idx="5657">1</cx:pt>
          <cx:pt idx="5658">0</cx:pt>
          <cx:pt idx="5659">0</cx:pt>
          <cx:pt idx="5660">1</cx:pt>
          <cx:pt idx="5661">0</cx:pt>
          <cx:pt idx="5662">0</cx:pt>
          <cx:pt idx="5663">1</cx:pt>
          <cx:pt idx="5664">1</cx:pt>
          <cx:pt idx="5665">1</cx:pt>
          <cx:pt idx="5666">0</cx:pt>
          <cx:pt idx="5667">1</cx:pt>
          <cx:pt idx="5668">0</cx:pt>
          <cx:pt idx="5669">0</cx:pt>
          <cx:pt idx="5670">0</cx:pt>
          <cx:pt idx="5671">0</cx:pt>
          <cx:pt idx="5672">0</cx:pt>
          <cx:pt idx="5673">0</cx:pt>
          <cx:pt idx="5674">1</cx:pt>
          <cx:pt idx="5675">1</cx:pt>
          <cx:pt idx="5676">1</cx:pt>
          <cx:pt idx="5677">1</cx:pt>
          <cx:pt idx="5678">0</cx:pt>
          <cx:pt idx="5679">1</cx:pt>
          <cx:pt idx="5680">0</cx:pt>
          <cx:pt idx="5681">0</cx:pt>
          <cx:pt idx="5682">0</cx:pt>
          <cx:pt idx="5683">0</cx:pt>
          <cx:pt idx="5684">1</cx:pt>
          <cx:pt idx="5685">0</cx:pt>
          <cx:pt idx="5686">0</cx:pt>
          <cx:pt idx="5687">1</cx:pt>
          <cx:pt idx="5688">1</cx:pt>
          <cx:pt idx="5689">0</cx:pt>
          <cx:pt idx="5690">1</cx:pt>
          <cx:pt idx="5691">1</cx:pt>
          <cx:pt idx="5692">1</cx:pt>
          <cx:pt idx="5693">0</cx:pt>
          <cx:pt idx="5694">1</cx:pt>
          <cx:pt idx="5695">0</cx:pt>
          <cx:pt idx="5696">0</cx:pt>
          <cx:pt idx="5697">0</cx:pt>
          <cx:pt idx="5698">1</cx:pt>
          <cx:pt idx="5699">0</cx:pt>
          <cx:pt idx="5700">0</cx:pt>
          <cx:pt idx="5701">0</cx:pt>
          <cx:pt idx="5702">1</cx:pt>
          <cx:pt idx="5703">1</cx:pt>
          <cx:pt idx="5704">0</cx:pt>
          <cx:pt idx="5705">1</cx:pt>
          <cx:pt idx="5706">0</cx:pt>
          <cx:pt idx="5707">1</cx:pt>
          <cx:pt idx="5708">1</cx:pt>
          <cx:pt idx="5709">1</cx:pt>
          <cx:pt idx="5710">1</cx:pt>
          <cx:pt idx="5711">1</cx:pt>
          <cx:pt idx="5712">1</cx:pt>
          <cx:pt idx="5713">0</cx:pt>
          <cx:pt idx="5714">0</cx:pt>
          <cx:pt idx="5715">1</cx:pt>
          <cx:pt idx="5716">0</cx:pt>
          <cx:pt idx="5717">0</cx:pt>
          <cx:pt idx="5718">1</cx:pt>
          <cx:pt idx="5719">1</cx:pt>
          <cx:pt idx="5720">0</cx:pt>
          <cx:pt idx="5721">0</cx:pt>
          <cx:pt idx="5722">0</cx:pt>
          <cx:pt idx="5723">1</cx:pt>
          <cx:pt idx="5724">0</cx:pt>
          <cx:pt idx="5725">0</cx:pt>
          <cx:pt idx="5726">0</cx:pt>
          <cx:pt idx="5727">0</cx:pt>
          <cx:pt idx="5728">0</cx:pt>
          <cx:pt idx="5729">0</cx:pt>
          <cx:pt idx="5730">0</cx:pt>
          <cx:pt idx="5731">1</cx:pt>
          <cx:pt idx="5732">0</cx:pt>
          <cx:pt idx="5733">1</cx:pt>
          <cx:pt idx="5734">0</cx:pt>
          <cx:pt idx="5735">1</cx:pt>
          <cx:pt idx="5736">0</cx:pt>
          <cx:pt idx="5737">1</cx:pt>
          <cx:pt idx="5738">0</cx:pt>
          <cx:pt idx="5739">0</cx:pt>
          <cx:pt idx="5740">1</cx:pt>
          <cx:pt idx="5741">0</cx:pt>
          <cx:pt idx="5742">1</cx:pt>
          <cx:pt idx="5743">1</cx:pt>
          <cx:pt idx="5744">1</cx:pt>
          <cx:pt idx="5745">1</cx:pt>
          <cx:pt idx="5746">0</cx:pt>
          <cx:pt idx="5747">0</cx:pt>
          <cx:pt idx="5748">1</cx:pt>
          <cx:pt idx="5749">0</cx:pt>
          <cx:pt idx="5750">1</cx:pt>
          <cx:pt idx="5751">0</cx:pt>
          <cx:pt idx="5752">0</cx:pt>
          <cx:pt idx="5753">0</cx:pt>
          <cx:pt idx="5754">1</cx:pt>
          <cx:pt idx="5755">1</cx:pt>
          <cx:pt idx="5756">1</cx:pt>
          <cx:pt idx="5757">0</cx:pt>
          <cx:pt idx="5758">1</cx:pt>
          <cx:pt idx="5759">0</cx:pt>
          <cx:pt idx="5760">1</cx:pt>
          <cx:pt idx="5761">1</cx:pt>
          <cx:pt idx="5762">1</cx:pt>
          <cx:pt idx="5763">1</cx:pt>
          <cx:pt idx="5764">1</cx:pt>
          <cx:pt idx="5765">1</cx:pt>
          <cx:pt idx="5766">1</cx:pt>
          <cx:pt idx="5767">1</cx:pt>
          <cx:pt idx="5768">0</cx:pt>
          <cx:pt idx="5769">1</cx:pt>
          <cx:pt idx="5770">0</cx:pt>
          <cx:pt idx="5771">0</cx:pt>
          <cx:pt idx="5772">1</cx:pt>
          <cx:pt idx="5773">0</cx:pt>
          <cx:pt idx="5774">0</cx:pt>
          <cx:pt idx="5775">0</cx:pt>
          <cx:pt idx="5776">1</cx:pt>
          <cx:pt idx="5777">1</cx:pt>
          <cx:pt idx="5778">0</cx:pt>
          <cx:pt idx="5779">1</cx:pt>
          <cx:pt idx="5780">0</cx:pt>
          <cx:pt idx="5781">1</cx:pt>
          <cx:pt idx="5782">1</cx:pt>
          <cx:pt idx="5783">0</cx:pt>
          <cx:pt idx="5784">0</cx:pt>
          <cx:pt idx="5785">1</cx:pt>
          <cx:pt idx="5786">0</cx:pt>
          <cx:pt idx="5787">1</cx:pt>
          <cx:pt idx="5788">1</cx:pt>
          <cx:pt idx="5789">1</cx:pt>
          <cx:pt idx="5790">0</cx:pt>
          <cx:pt idx="5791">0</cx:pt>
          <cx:pt idx="5792">0</cx:pt>
          <cx:pt idx="5793">0</cx:pt>
          <cx:pt idx="5794">1</cx:pt>
          <cx:pt idx="5795">0</cx:pt>
          <cx:pt idx="5796">1</cx:pt>
          <cx:pt idx="5797">0</cx:pt>
          <cx:pt idx="5798">1</cx:pt>
          <cx:pt idx="5799">0</cx:pt>
          <cx:pt idx="5800">1</cx:pt>
          <cx:pt idx="5801">1</cx:pt>
          <cx:pt idx="5802">1</cx:pt>
          <cx:pt idx="5803">0</cx:pt>
          <cx:pt idx="5804">1</cx:pt>
          <cx:pt idx="5805">0</cx:pt>
          <cx:pt idx="5806">0</cx:pt>
          <cx:pt idx="5807">0</cx:pt>
          <cx:pt idx="5808">0</cx:pt>
          <cx:pt idx="5809">0</cx:pt>
          <cx:pt idx="5810">1</cx:pt>
          <cx:pt idx="5811">0</cx:pt>
          <cx:pt idx="5812">0</cx:pt>
          <cx:pt idx="5813">0</cx:pt>
          <cx:pt idx="5814">0</cx:pt>
          <cx:pt idx="5815">0</cx:pt>
          <cx:pt idx="5816">1</cx:pt>
          <cx:pt idx="5817">0</cx:pt>
          <cx:pt idx="5818">1</cx:pt>
          <cx:pt idx="5819">0</cx:pt>
          <cx:pt idx="5820">0</cx:pt>
          <cx:pt idx="5821">0</cx:pt>
          <cx:pt idx="5822">0</cx:pt>
          <cx:pt idx="5823">1</cx:pt>
          <cx:pt idx="5824">0</cx:pt>
          <cx:pt idx="5825">0</cx:pt>
          <cx:pt idx="5826">0</cx:pt>
          <cx:pt idx="5827">0</cx:pt>
          <cx:pt idx="5828">1</cx:pt>
          <cx:pt idx="5829">1</cx:pt>
          <cx:pt idx="5830">0</cx:pt>
          <cx:pt idx="5831">0</cx:pt>
          <cx:pt idx="5832">1</cx:pt>
          <cx:pt idx="5833">0</cx:pt>
          <cx:pt idx="5834">0</cx:pt>
          <cx:pt idx="5835">0</cx:pt>
          <cx:pt idx="5836">1</cx:pt>
          <cx:pt idx="5837">0</cx:pt>
          <cx:pt idx="5838">0</cx:pt>
          <cx:pt idx="5839">1</cx:pt>
          <cx:pt idx="5840">0</cx:pt>
          <cx:pt idx="5841">0</cx:pt>
          <cx:pt idx="5842">1</cx:pt>
          <cx:pt idx="5843">0</cx:pt>
          <cx:pt idx="5844">0</cx:pt>
          <cx:pt idx="5845">1</cx:pt>
          <cx:pt idx="5846">0</cx:pt>
          <cx:pt idx="5847">0</cx:pt>
          <cx:pt idx="5848">1</cx:pt>
          <cx:pt idx="5849">1</cx:pt>
          <cx:pt idx="5850">0</cx:pt>
          <cx:pt idx="5851">0</cx:pt>
          <cx:pt idx="5852">0</cx:pt>
          <cx:pt idx="5853">1</cx:pt>
          <cx:pt idx="5854">1</cx:pt>
          <cx:pt idx="5855">1</cx:pt>
          <cx:pt idx="5856">1</cx:pt>
          <cx:pt idx="5857">0</cx:pt>
          <cx:pt idx="5858">1</cx:pt>
          <cx:pt idx="5859">1</cx:pt>
          <cx:pt idx="5860">1</cx:pt>
          <cx:pt idx="5861">1</cx:pt>
          <cx:pt idx="5862">1</cx:pt>
          <cx:pt idx="5863">0</cx:pt>
          <cx:pt idx="5864">1</cx:pt>
          <cx:pt idx="5865">1</cx:pt>
          <cx:pt idx="5866">1</cx:pt>
          <cx:pt idx="5867">1</cx:pt>
          <cx:pt idx="5868">1</cx:pt>
          <cx:pt idx="5869">1</cx:pt>
          <cx:pt idx="5870">1</cx:pt>
          <cx:pt idx="5871">1</cx:pt>
          <cx:pt idx="5872">1</cx:pt>
          <cx:pt idx="5873">0</cx:pt>
          <cx:pt idx="5874">0</cx:pt>
          <cx:pt idx="5875">0</cx:pt>
          <cx:pt idx="5876">1</cx:pt>
          <cx:pt idx="5877">0</cx:pt>
          <cx:pt idx="5878">0</cx:pt>
          <cx:pt idx="5879">0</cx:pt>
          <cx:pt idx="5880">0</cx:pt>
          <cx:pt idx="5881">0</cx:pt>
          <cx:pt idx="5882">1</cx:pt>
          <cx:pt idx="5883">0</cx:pt>
          <cx:pt idx="5884">0</cx:pt>
          <cx:pt idx="5885">0</cx:pt>
          <cx:pt idx="5886">0</cx:pt>
          <cx:pt idx="5887">0</cx:pt>
          <cx:pt idx="5888">0</cx:pt>
          <cx:pt idx="5889">0</cx:pt>
          <cx:pt idx="5890">0</cx:pt>
          <cx:pt idx="5891">1</cx:pt>
          <cx:pt idx="5892">0</cx:pt>
          <cx:pt idx="5893">0</cx:pt>
          <cx:pt idx="5894">0</cx:pt>
          <cx:pt idx="5895">1</cx:pt>
          <cx:pt idx="5896">0</cx:pt>
          <cx:pt idx="5897">0</cx:pt>
          <cx:pt idx="5898">1</cx:pt>
          <cx:pt idx="5899">1</cx:pt>
          <cx:pt idx="5900">1</cx:pt>
          <cx:pt idx="5901">0</cx:pt>
          <cx:pt idx="5902">1</cx:pt>
          <cx:pt idx="5903">0</cx:pt>
          <cx:pt idx="5904">1</cx:pt>
          <cx:pt idx="5905">0</cx:pt>
          <cx:pt idx="5906">0</cx:pt>
          <cx:pt idx="5907">0</cx:pt>
          <cx:pt idx="5908">0</cx:pt>
          <cx:pt idx="5909">0</cx:pt>
          <cx:pt idx="5910">0</cx:pt>
          <cx:pt idx="5911">0</cx:pt>
          <cx:pt idx="5912">1</cx:pt>
          <cx:pt idx="5913">0</cx:pt>
          <cx:pt idx="5914">1</cx:pt>
          <cx:pt idx="5915">1</cx:pt>
          <cx:pt idx="5916">1</cx:pt>
          <cx:pt idx="5917">0</cx:pt>
          <cx:pt idx="5918">0</cx:pt>
          <cx:pt idx="5919">0</cx:pt>
          <cx:pt idx="5920">0</cx:pt>
          <cx:pt idx="5921">1</cx:pt>
          <cx:pt idx="5922">0</cx:pt>
          <cx:pt idx="5923">0</cx:pt>
          <cx:pt idx="5924">1</cx:pt>
          <cx:pt idx="5925">0</cx:pt>
          <cx:pt idx="5926">1</cx:pt>
          <cx:pt idx="5927">1</cx:pt>
          <cx:pt idx="5928">0</cx:pt>
          <cx:pt idx="5929">0</cx:pt>
          <cx:pt idx="5930">0</cx:pt>
          <cx:pt idx="5931">0</cx:pt>
          <cx:pt idx="5932">0</cx:pt>
          <cx:pt idx="5933">1</cx:pt>
          <cx:pt idx="5934">0</cx:pt>
          <cx:pt idx="5935">0</cx:pt>
          <cx:pt idx="5936">0</cx:pt>
          <cx:pt idx="5937">1</cx:pt>
          <cx:pt idx="5938">0</cx:pt>
          <cx:pt idx="5939">0</cx:pt>
          <cx:pt idx="5940">1</cx:pt>
          <cx:pt idx="5941">0</cx:pt>
          <cx:pt idx="5942">1</cx:pt>
          <cx:pt idx="5943">0</cx:pt>
          <cx:pt idx="5944">0</cx:pt>
          <cx:pt idx="5945">0</cx:pt>
          <cx:pt idx="5946">0</cx:pt>
          <cx:pt idx="5947">1</cx:pt>
          <cx:pt idx="5948">0</cx:pt>
          <cx:pt idx="5949">0</cx:pt>
          <cx:pt idx="5950">0</cx:pt>
          <cx:pt idx="5951">1</cx:pt>
          <cx:pt idx="5952">1</cx:pt>
          <cx:pt idx="5953">0</cx:pt>
          <cx:pt idx="5954">1</cx:pt>
          <cx:pt idx="5955">0</cx:pt>
          <cx:pt idx="5956">0</cx:pt>
          <cx:pt idx="5957">0</cx:pt>
          <cx:pt idx="5958">0</cx:pt>
          <cx:pt idx="5959">0</cx:pt>
          <cx:pt idx="5960">1</cx:pt>
          <cx:pt idx="5961">0</cx:pt>
          <cx:pt idx="5962">0</cx:pt>
          <cx:pt idx="5963">1</cx:pt>
          <cx:pt idx="5964">0</cx:pt>
          <cx:pt idx="5965">0</cx:pt>
          <cx:pt idx="5966">0</cx:pt>
          <cx:pt idx="5967">1</cx:pt>
          <cx:pt idx="5968">0</cx:pt>
          <cx:pt idx="5969">0</cx:pt>
          <cx:pt idx="5970">1</cx:pt>
          <cx:pt idx="5971">1</cx:pt>
          <cx:pt idx="5972">0</cx:pt>
          <cx:pt idx="5973">1</cx:pt>
          <cx:pt idx="5974">1</cx:pt>
          <cx:pt idx="5975">1</cx:pt>
          <cx:pt idx="5976">0</cx:pt>
          <cx:pt idx="5977">0</cx:pt>
          <cx:pt idx="5978">0</cx:pt>
          <cx:pt idx="5979">1</cx:pt>
          <cx:pt idx="5980">0</cx:pt>
          <cx:pt idx="5981">1</cx:pt>
          <cx:pt idx="5982">0</cx:pt>
          <cx:pt idx="5983">0</cx:pt>
          <cx:pt idx="5984">1</cx:pt>
          <cx:pt idx="5985">0</cx:pt>
          <cx:pt idx="5986">1</cx:pt>
          <cx:pt idx="5987">0</cx:pt>
          <cx:pt idx="5988">0</cx:pt>
          <cx:pt idx="5989">1</cx:pt>
          <cx:pt idx="5990">0</cx:pt>
          <cx:pt idx="5991">1</cx:pt>
          <cx:pt idx="5992">0</cx:pt>
          <cx:pt idx="5993">0</cx:pt>
          <cx:pt idx="5994">0</cx:pt>
          <cx:pt idx="5995">1</cx:pt>
          <cx:pt idx="5996">0</cx:pt>
          <cx:pt idx="5997">1</cx:pt>
          <cx:pt idx="5998">1</cx:pt>
          <cx:pt idx="5999">1</cx:pt>
          <cx:pt idx="6000">0</cx:pt>
          <cx:pt idx="6001">0</cx:pt>
          <cx:pt idx="6002">1</cx:pt>
          <cx:pt idx="6003">0</cx:pt>
          <cx:pt idx="6004">1</cx:pt>
          <cx:pt idx="6005">0</cx:pt>
          <cx:pt idx="6006">0</cx:pt>
          <cx:pt idx="6007">1</cx:pt>
          <cx:pt idx="6008">0</cx:pt>
          <cx:pt idx="6009">0</cx:pt>
          <cx:pt idx="6010">1</cx:pt>
          <cx:pt idx="6011">0</cx:pt>
          <cx:pt idx="6012">0</cx:pt>
          <cx:pt idx="6013">1</cx:pt>
          <cx:pt idx="6014">0</cx:pt>
          <cx:pt idx="6015">0</cx:pt>
          <cx:pt idx="6016">1</cx:pt>
          <cx:pt idx="6017">0</cx:pt>
          <cx:pt idx="6018">0</cx:pt>
          <cx:pt idx="6019">1</cx:pt>
          <cx:pt idx="6020">0</cx:pt>
          <cx:pt idx="6021">0</cx:pt>
          <cx:pt idx="6022">0</cx:pt>
          <cx:pt idx="6023">0</cx:pt>
          <cx:pt idx="6024">0</cx:pt>
          <cx:pt idx="6025">0</cx:pt>
          <cx:pt idx="6026">1</cx:pt>
          <cx:pt idx="6027">0</cx:pt>
          <cx:pt idx="6028">1</cx:pt>
          <cx:pt idx="6029">0</cx:pt>
          <cx:pt idx="6030">1</cx:pt>
          <cx:pt idx="6031">0</cx:pt>
          <cx:pt idx="6032">1</cx:pt>
          <cx:pt idx="6033">0</cx:pt>
          <cx:pt idx="6034">0</cx:pt>
          <cx:pt idx="6035">1</cx:pt>
          <cx:pt idx="6036">0</cx:pt>
          <cx:pt idx="6037">1</cx:pt>
          <cx:pt idx="6038">0</cx:pt>
          <cx:pt idx="6039">0</cx:pt>
          <cx:pt idx="6040">0</cx:pt>
          <cx:pt idx="6041">1</cx:pt>
          <cx:pt idx="6042">0</cx:pt>
          <cx:pt idx="6043">1</cx:pt>
          <cx:pt idx="6044">0</cx:pt>
          <cx:pt idx="6045">1</cx:pt>
          <cx:pt idx="6046">0</cx:pt>
          <cx:pt idx="6047">1</cx:pt>
          <cx:pt idx="6048">0</cx:pt>
          <cx:pt idx="6049">0</cx:pt>
          <cx:pt idx="6050">1</cx:pt>
          <cx:pt idx="6051">0</cx:pt>
          <cx:pt idx="6052">1</cx:pt>
          <cx:pt idx="6053">0</cx:pt>
          <cx:pt idx="6054">1</cx:pt>
          <cx:pt idx="6055">1</cx:pt>
          <cx:pt idx="6056">1</cx:pt>
          <cx:pt idx="6057">0</cx:pt>
          <cx:pt idx="6058">1</cx:pt>
          <cx:pt idx="6059">1</cx:pt>
          <cx:pt idx="6060">1</cx:pt>
          <cx:pt idx="6061">0</cx:pt>
          <cx:pt idx="6062">1</cx:pt>
          <cx:pt idx="6063">1</cx:pt>
          <cx:pt idx="6064">0</cx:pt>
          <cx:pt idx="6065">1</cx:pt>
          <cx:pt idx="6066">0</cx:pt>
          <cx:pt idx="6067">1</cx:pt>
          <cx:pt idx="6068">1</cx:pt>
          <cx:pt idx="6069">0</cx:pt>
          <cx:pt idx="6070">0</cx:pt>
          <cx:pt idx="6071">0</cx:pt>
          <cx:pt idx="6072">1</cx:pt>
          <cx:pt idx="6073">0</cx:pt>
          <cx:pt idx="6074">0</cx:pt>
          <cx:pt idx="6075">0</cx:pt>
          <cx:pt idx="6076">0</cx:pt>
          <cx:pt idx="6077">0</cx:pt>
          <cx:pt idx="6078">1</cx:pt>
          <cx:pt idx="6079">1</cx:pt>
          <cx:pt idx="6080">1</cx:pt>
          <cx:pt idx="6081">0</cx:pt>
          <cx:pt idx="6082">0</cx:pt>
          <cx:pt idx="6083">0</cx:pt>
          <cx:pt idx="6084">0</cx:pt>
          <cx:pt idx="6085">0</cx:pt>
          <cx:pt idx="6086">0</cx:pt>
          <cx:pt idx="6087">0</cx:pt>
          <cx:pt idx="6088">0</cx:pt>
          <cx:pt idx="6089">1</cx:pt>
          <cx:pt idx="6090">1</cx:pt>
          <cx:pt idx="6091">0</cx:pt>
          <cx:pt idx="6092">0</cx:pt>
          <cx:pt idx="6093">1</cx:pt>
          <cx:pt idx="6094">0</cx:pt>
          <cx:pt idx="6095">1</cx:pt>
          <cx:pt idx="6096">1</cx:pt>
          <cx:pt idx="6097">1</cx:pt>
          <cx:pt idx="6098">0</cx:pt>
          <cx:pt idx="6099">0</cx:pt>
          <cx:pt idx="6100">0</cx:pt>
          <cx:pt idx="6101">1</cx:pt>
          <cx:pt idx="6102">1</cx:pt>
          <cx:pt idx="6103">0</cx:pt>
          <cx:pt idx="6104">1</cx:pt>
          <cx:pt idx="6105">1</cx:pt>
          <cx:pt idx="6106">1</cx:pt>
          <cx:pt idx="6107">1</cx:pt>
          <cx:pt idx="6108">1</cx:pt>
          <cx:pt idx="6109">0</cx:pt>
          <cx:pt idx="6110">0</cx:pt>
          <cx:pt idx="6111">0</cx:pt>
          <cx:pt idx="6112">0</cx:pt>
          <cx:pt idx="6113">0</cx:pt>
          <cx:pt idx="6114">0</cx:pt>
          <cx:pt idx="6115">0</cx:pt>
          <cx:pt idx="6116">1</cx:pt>
          <cx:pt idx="6117">1</cx:pt>
          <cx:pt idx="6118">0</cx:pt>
          <cx:pt idx="6119">0</cx:pt>
          <cx:pt idx="6120">0</cx:pt>
          <cx:pt idx="6121">1</cx:pt>
          <cx:pt idx="6122">0</cx:pt>
          <cx:pt idx="6123">1</cx:pt>
          <cx:pt idx="6124">0</cx:pt>
          <cx:pt idx="6125">0</cx:pt>
          <cx:pt idx="6126">0</cx:pt>
          <cx:pt idx="6127">0</cx:pt>
          <cx:pt idx="6128">1</cx:pt>
          <cx:pt idx="6129">1</cx:pt>
          <cx:pt idx="6130">0</cx:pt>
          <cx:pt idx="6131">1</cx:pt>
          <cx:pt idx="6132">1</cx:pt>
          <cx:pt idx="6133">1</cx:pt>
          <cx:pt idx="6134">0</cx:pt>
          <cx:pt idx="6135">1</cx:pt>
          <cx:pt idx="6136">0</cx:pt>
          <cx:pt idx="6137">0</cx:pt>
          <cx:pt idx="6138">1</cx:pt>
          <cx:pt idx="6139">0</cx:pt>
          <cx:pt idx="6140">0</cx:pt>
          <cx:pt idx="6141">1</cx:pt>
          <cx:pt idx="6142">1</cx:pt>
          <cx:pt idx="6143">1</cx:pt>
          <cx:pt idx="6144">0</cx:pt>
          <cx:pt idx="6145">1</cx:pt>
          <cx:pt idx="6146">0</cx:pt>
          <cx:pt idx="6147">0</cx:pt>
          <cx:pt idx="6148">0</cx:pt>
          <cx:pt idx="6149">1</cx:pt>
          <cx:pt idx="6150">0</cx:pt>
          <cx:pt idx="6151">0</cx:pt>
          <cx:pt idx="6152">1</cx:pt>
          <cx:pt idx="6153">0</cx:pt>
          <cx:pt idx="6154">0</cx:pt>
          <cx:pt idx="6155">0</cx:pt>
          <cx:pt idx="6156">0</cx:pt>
          <cx:pt idx="6157">0</cx:pt>
          <cx:pt idx="6158">0</cx:pt>
          <cx:pt idx="6159">0</cx:pt>
          <cx:pt idx="6160">0</cx:pt>
          <cx:pt idx="6161">0</cx:pt>
          <cx:pt idx="6162">1</cx:pt>
          <cx:pt idx="6163">0</cx:pt>
          <cx:pt idx="6164">0</cx:pt>
          <cx:pt idx="6165">0</cx:pt>
          <cx:pt idx="6166">1</cx:pt>
          <cx:pt idx="6167">1</cx:pt>
          <cx:pt idx="6168">0</cx:pt>
          <cx:pt idx="6169">0</cx:pt>
          <cx:pt idx="6170">1</cx:pt>
          <cx:pt idx="6171">0</cx:pt>
          <cx:pt idx="6172">1</cx:pt>
          <cx:pt idx="6173">0</cx:pt>
          <cx:pt idx="6174">1</cx:pt>
          <cx:pt idx="6175">1</cx:pt>
          <cx:pt idx="6176">1</cx:pt>
          <cx:pt idx="6177">1</cx:pt>
          <cx:pt idx="6178">0</cx:pt>
          <cx:pt idx="6179">1</cx:pt>
          <cx:pt idx="6180">0</cx:pt>
          <cx:pt idx="6181">0</cx:pt>
          <cx:pt idx="6182">1</cx:pt>
          <cx:pt idx="6183">0</cx:pt>
          <cx:pt idx="6184">0</cx:pt>
          <cx:pt idx="6185">1</cx:pt>
          <cx:pt idx="6186">0</cx:pt>
          <cx:pt idx="6187">1</cx:pt>
          <cx:pt idx="6188">0</cx:pt>
          <cx:pt idx="6189">1</cx:pt>
          <cx:pt idx="6190">0</cx:pt>
          <cx:pt idx="6191">0</cx:pt>
          <cx:pt idx="6192">1</cx:pt>
          <cx:pt idx="6193">1</cx:pt>
          <cx:pt idx="6194">1</cx:pt>
          <cx:pt idx="6195">1</cx:pt>
          <cx:pt idx="6196">1</cx:pt>
          <cx:pt idx="6197">0</cx:pt>
          <cx:pt idx="6198">1</cx:pt>
          <cx:pt idx="6199">1</cx:pt>
          <cx:pt idx="6200">1</cx:pt>
          <cx:pt idx="6201">1</cx:pt>
          <cx:pt idx="6202">0</cx:pt>
          <cx:pt idx="6203">1</cx:pt>
          <cx:pt idx="6204">1</cx:pt>
          <cx:pt idx="6205">1</cx:pt>
          <cx:pt idx="6206">0</cx:pt>
          <cx:pt idx="6207">0</cx:pt>
          <cx:pt idx="6208">0</cx:pt>
          <cx:pt idx="6209">1</cx:pt>
          <cx:pt idx="6210">0</cx:pt>
          <cx:pt idx="6211">0</cx:pt>
          <cx:pt idx="6212">0</cx:pt>
          <cx:pt idx="6213">0</cx:pt>
          <cx:pt idx="6214">0</cx:pt>
          <cx:pt idx="6215">0</cx:pt>
          <cx:pt idx="6216">1</cx:pt>
          <cx:pt idx="6217">0</cx:pt>
          <cx:pt idx="6218">0</cx:pt>
          <cx:pt idx="6219">1</cx:pt>
          <cx:pt idx="6220">0</cx:pt>
          <cx:pt idx="6221">0</cx:pt>
          <cx:pt idx="6222">0</cx:pt>
          <cx:pt idx="6223">1</cx:pt>
          <cx:pt idx="6224">0</cx:pt>
          <cx:pt idx="6225">1</cx:pt>
          <cx:pt idx="6226">0</cx:pt>
          <cx:pt idx="6227">1</cx:pt>
          <cx:pt idx="6228">0</cx:pt>
          <cx:pt idx="6229">0</cx:pt>
          <cx:pt idx="6230">1</cx:pt>
          <cx:pt idx="6231">0</cx:pt>
          <cx:pt idx="6232">1</cx:pt>
          <cx:pt idx="6233">1</cx:pt>
          <cx:pt idx="6234">0</cx:pt>
          <cx:pt idx="6235">0</cx:pt>
          <cx:pt idx="6236">0</cx:pt>
          <cx:pt idx="6237">0</cx:pt>
          <cx:pt idx="6238">0</cx:pt>
          <cx:pt idx="6239">0</cx:pt>
          <cx:pt idx="6240">1</cx:pt>
          <cx:pt idx="6241">0</cx:pt>
          <cx:pt idx="6242">1</cx:pt>
          <cx:pt idx="6243">0</cx:pt>
          <cx:pt idx="6244">1</cx:pt>
          <cx:pt idx="6245">0</cx:pt>
          <cx:pt idx="6246">0</cx:pt>
          <cx:pt idx="6247">0</cx:pt>
          <cx:pt idx="6248">0</cx:pt>
          <cx:pt idx="6249">0</cx:pt>
          <cx:pt idx="6250">1</cx:pt>
          <cx:pt idx="6251">0</cx:pt>
          <cx:pt idx="6252">0</cx:pt>
          <cx:pt idx="6253">0</cx:pt>
          <cx:pt idx="6254">1</cx:pt>
          <cx:pt idx="6255">1</cx:pt>
          <cx:pt idx="6256">1</cx:pt>
          <cx:pt idx="6257">1</cx:pt>
          <cx:pt idx="6258">1</cx:pt>
          <cx:pt idx="6259">1</cx:pt>
          <cx:pt idx="6260">0</cx:pt>
          <cx:pt idx="6261">0</cx:pt>
          <cx:pt idx="6262">1</cx:pt>
          <cx:pt idx="6263">0</cx:pt>
          <cx:pt idx="6264">1</cx:pt>
          <cx:pt idx="6265">1</cx:pt>
          <cx:pt idx="6266">0</cx:pt>
          <cx:pt idx="6267">0</cx:pt>
          <cx:pt idx="6268">0</cx:pt>
          <cx:pt idx="6269">1</cx:pt>
          <cx:pt idx="6270">0</cx:pt>
          <cx:pt idx="6271">0</cx:pt>
          <cx:pt idx="6272">1</cx:pt>
          <cx:pt idx="6273">1</cx:pt>
          <cx:pt idx="6274">0</cx:pt>
          <cx:pt idx="6275">0</cx:pt>
          <cx:pt idx="6276">0</cx:pt>
          <cx:pt idx="6277">1</cx:pt>
          <cx:pt idx="6278">1</cx:pt>
          <cx:pt idx="6279">1</cx:pt>
          <cx:pt idx="6280">0</cx:pt>
          <cx:pt idx="6281">0</cx:pt>
          <cx:pt idx="6282">1</cx:pt>
          <cx:pt idx="6283">0</cx:pt>
          <cx:pt idx="6284">0</cx:pt>
          <cx:pt idx="6285">0</cx:pt>
          <cx:pt idx="6286">0</cx:pt>
          <cx:pt idx="6287">1</cx:pt>
          <cx:pt idx="6288">1</cx:pt>
          <cx:pt idx="6289">1</cx:pt>
          <cx:pt idx="6290">1</cx:pt>
          <cx:pt idx="6291">0</cx:pt>
          <cx:pt idx="6292">1</cx:pt>
          <cx:pt idx="6293">0</cx:pt>
          <cx:pt idx="6294">0</cx:pt>
          <cx:pt idx="6295">1</cx:pt>
          <cx:pt idx="6296">1</cx:pt>
          <cx:pt idx="6297">0</cx:pt>
          <cx:pt idx="6298">0</cx:pt>
          <cx:pt idx="6299">1</cx:pt>
          <cx:pt idx="6300">0</cx:pt>
          <cx:pt idx="6301">1</cx:pt>
          <cx:pt idx="6302">0</cx:pt>
          <cx:pt idx="6303">0</cx:pt>
          <cx:pt idx="6304">1</cx:pt>
          <cx:pt idx="6305">0</cx:pt>
          <cx:pt idx="6306">0</cx:pt>
          <cx:pt idx="6307">1</cx:pt>
          <cx:pt idx="6308">0</cx:pt>
          <cx:pt idx="6309">0</cx:pt>
          <cx:pt idx="6310">1</cx:pt>
          <cx:pt idx="6311">1</cx:pt>
          <cx:pt idx="6312">1</cx:pt>
          <cx:pt idx="6313">1</cx:pt>
          <cx:pt idx="6314">0</cx:pt>
          <cx:pt idx="6315">1</cx:pt>
          <cx:pt idx="6316">1</cx:pt>
          <cx:pt idx="6317">1</cx:pt>
          <cx:pt idx="6318">1</cx:pt>
          <cx:pt idx="6319">0</cx:pt>
          <cx:pt idx="6320">1</cx:pt>
          <cx:pt idx="6321">0</cx:pt>
          <cx:pt idx="6322">1</cx:pt>
          <cx:pt idx="6323">1</cx:pt>
          <cx:pt idx="6324">1</cx:pt>
          <cx:pt idx="6325">0</cx:pt>
          <cx:pt idx="6326">1</cx:pt>
          <cx:pt idx="6327">0</cx:pt>
          <cx:pt idx="6328">1</cx:pt>
          <cx:pt idx="6329">0</cx:pt>
          <cx:pt idx="6330">0</cx:pt>
          <cx:pt idx="6331">1</cx:pt>
          <cx:pt idx="6332">0</cx:pt>
          <cx:pt idx="6333">0</cx:pt>
          <cx:pt idx="6334">0</cx:pt>
          <cx:pt idx="6335">0</cx:pt>
          <cx:pt idx="6336">0</cx:pt>
          <cx:pt idx="6337">1</cx:pt>
          <cx:pt idx="6338">0</cx:pt>
          <cx:pt idx="6339">1</cx:pt>
          <cx:pt idx="6340">1</cx:pt>
          <cx:pt idx="6341">1</cx:pt>
          <cx:pt idx="6342">0</cx:pt>
          <cx:pt idx="6343">0</cx:pt>
          <cx:pt idx="6344">1</cx:pt>
          <cx:pt idx="6345">0</cx:pt>
          <cx:pt idx="6346">0</cx:pt>
          <cx:pt idx="6347">1</cx:pt>
          <cx:pt idx="6348">1</cx:pt>
          <cx:pt idx="6349">1</cx:pt>
          <cx:pt idx="6350">0</cx:pt>
          <cx:pt idx="6351">0</cx:pt>
          <cx:pt idx="6352">0</cx:pt>
          <cx:pt idx="6353">1</cx:pt>
          <cx:pt idx="6354">0</cx:pt>
          <cx:pt idx="6355">0</cx:pt>
          <cx:pt idx="6356">0</cx:pt>
          <cx:pt idx="6357">0</cx:pt>
          <cx:pt idx="6358">1</cx:pt>
          <cx:pt idx="6359">0</cx:pt>
          <cx:pt idx="6360">1</cx:pt>
          <cx:pt idx="6361">0</cx:pt>
          <cx:pt idx="6362">0</cx:pt>
          <cx:pt idx="6363">0</cx:pt>
          <cx:pt idx="6364">0</cx:pt>
          <cx:pt idx="6365">1</cx:pt>
          <cx:pt idx="6366">0</cx:pt>
          <cx:pt idx="6367">1</cx:pt>
          <cx:pt idx="6368">0</cx:pt>
          <cx:pt idx="6369">1</cx:pt>
          <cx:pt idx="6370">0</cx:pt>
          <cx:pt idx="6371">1</cx:pt>
          <cx:pt idx="6372">0</cx:pt>
          <cx:pt idx="6373">0</cx:pt>
          <cx:pt idx="6374">1</cx:pt>
          <cx:pt idx="6375">0</cx:pt>
          <cx:pt idx="6376">1</cx:pt>
          <cx:pt idx="6377">0</cx:pt>
          <cx:pt idx="6378">0</cx:pt>
          <cx:pt idx="6379">0</cx:pt>
          <cx:pt idx="6380">0</cx:pt>
          <cx:pt idx="6381">1</cx:pt>
          <cx:pt idx="6382">0</cx:pt>
          <cx:pt idx="6383">0</cx:pt>
          <cx:pt idx="6384">0</cx:pt>
          <cx:pt idx="6385">0</cx:pt>
          <cx:pt idx="6386">1</cx:pt>
          <cx:pt idx="6387">1</cx:pt>
          <cx:pt idx="6388">0</cx:pt>
          <cx:pt idx="6389">1</cx:pt>
          <cx:pt idx="6390">0</cx:pt>
          <cx:pt idx="6391">1</cx:pt>
          <cx:pt idx="6392">0</cx:pt>
          <cx:pt idx="6393">1</cx:pt>
          <cx:pt idx="6394">0</cx:pt>
          <cx:pt idx="6395">1</cx:pt>
          <cx:pt idx="6396">0</cx:pt>
          <cx:pt idx="6397">1</cx:pt>
          <cx:pt idx="6398">1</cx:pt>
          <cx:pt idx="6399">0</cx:pt>
          <cx:pt idx="6400">1</cx:pt>
          <cx:pt idx="6401">1</cx:pt>
          <cx:pt idx="6402">1</cx:pt>
          <cx:pt idx="6403">1</cx:pt>
          <cx:pt idx="6404">1</cx:pt>
          <cx:pt idx="6405">0</cx:pt>
          <cx:pt idx="6406">0</cx:pt>
          <cx:pt idx="6407">1</cx:pt>
          <cx:pt idx="6408">1</cx:pt>
          <cx:pt idx="6409">0</cx:pt>
          <cx:pt idx="6410">1</cx:pt>
          <cx:pt idx="6411">0</cx:pt>
          <cx:pt idx="6412">1</cx:pt>
          <cx:pt idx="6413">0</cx:pt>
          <cx:pt idx="6414">0</cx:pt>
          <cx:pt idx="6415">1</cx:pt>
          <cx:pt idx="6416">0</cx:pt>
          <cx:pt idx="6417">1</cx:pt>
          <cx:pt idx="6418">1</cx:pt>
          <cx:pt idx="6419">1</cx:pt>
          <cx:pt idx="6420">0</cx:pt>
          <cx:pt idx="6421">0</cx:pt>
          <cx:pt idx="6422">0</cx:pt>
          <cx:pt idx="6423">1</cx:pt>
          <cx:pt idx="6424">0</cx:pt>
          <cx:pt idx="6425">1</cx:pt>
          <cx:pt idx="6426">1</cx:pt>
          <cx:pt idx="6427">1</cx:pt>
          <cx:pt idx="6428">0</cx:pt>
          <cx:pt idx="6429">0</cx:pt>
          <cx:pt idx="6430">1</cx:pt>
          <cx:pt idx="6431">0</cx:pt>
          <cx:pt idx="6432">1</cx:pt>
          <cx:pt idx="6433">0</cx:pt>
          <cx:pt idx="6434">1</cx:pt>
          <cx:pt idx="6435">0</cx:pt>
          <cx:pt idx="6436">1</cx:pt>
          <cx:pt idx="6437">0</cx:pt>
          <cx:pt idx="6438">1</cx:pt>
          <cx:pt idx="6439">0</cx:pt>
          <cx:pt idx="6440">0</cx:pt>
          <cx:pt idx="6441">1</cx:pt>
          <cx:pt idx="6442">0</cx:pt>
          <cx:pt idx="6443">1</cx:pt>
          <cx:pt idx="6444">0</cx:pt>
          <cx:pt idx="6445">0</cx:pt>
          <cx:pt idx="6446">0</cx:pt>
          <cx:pt idx="6447">1</cx:pt>
          <cx:pt idx="6448">0</cx:pt>
          <cx:pt idx="6449">0</cx:pt>
          <cx:pt idx="6450">0</cx:pt>
          <cx:pt idx="6451">1</cx:pt>
          <cx:pt idx="6452">0</cx:pt>
          <cx:pt idx="6453">0</cx:pt>
          <cx:pt idx="6454">1</cx:pt>
          <cx:pt idx="6455">0</cx:pt>
          <cx:pt idx="6456">1</cx:pt>
          <cx:pt idx="6457">0</cx:pt>
          <cx:pt idx="6458">1</cx:pt>
          <cx:pt idx="6459">1</cx:pt>
          <cx:pt idx="6460">0</cx:pt>
          <cx:pt idx="6461">0</cx:pt>
          <cx:pt idx="6462">0</cx:pt>
          <cx:pt idx="6463">1</cx:pt>
          <cx:pt idx="6464">0</cx:pt>
          <cx:pt idx="6465">0</cx:pt>
          <cx:pt idx="6466">1</cx:pt>
          <cx:pt idx="6467">0</cx:pt>
          <cx:pt idx="6468">1</cx:pt>
          <cx:pt idx="6469">0</cx:pt>
          <cx:pt idx="6470">0</cx:pt>
          <cx:pt idx="6471">0</cx:pt>
          <cx:pt idx="6472">0</cx:pt>
          <cx:pt idx="6473">1</cx:pt>
          <cx:pt idx="6474">1</cx:pt>
          <cx:pt idx="6475">1</cx:pt>
          <cx:pt idx="6476">0</cx:pt>
          <cx:pt idx="6477">1</cx:pt>
          <cx:pt idx="6478">0</cx:pt>
          <cx:pt idx="6479">0</cx:pt>
          <cx:pt idx="6480">1</cx:pt>
          <cx:pt idx="6481">0</cx:pt>
          <cx:pt idx="6482">0</cx:pt>
          <cx:pt idx="6483">0</cx:pt>
          <cx:pt idx="6484">0</cx:pt>
          <cx:pt idx="6485">0</cx:pt>
          <cx:pt idx="6486">0</cx:pt>
          <cx:pt idx="6487">1</cx:pt>
          <cx:pt idx="6488">1</cx:pt>
          <cx:pt idx="6489">1</cx:pt>
          <cx:pt idx="6490">0</cx:pt>
          <cx:pt idx="6491">0</cx:pt>
          <cx:pt idx="6492">0</cx:pt>
          <cx:pt idx="6493">0</cx:pt>
          <cx:pt idx="6494">0</cx:pt>
          <cx:pt idx="6495">0</cx:pt>
          <cx:pt idx="6496">1</cx:pt>
          <cx:pt idx="6497">1</cx:pt>
          <cx:pt idx="6498">0</cx:pt>
          <cx:pt idx="6499">0</cx:pt>
          <cx:pt idx="6500">0</cx:pt>
          <cx:pt idx="6501">1</cx:pt>
          <cx:pt idx="6502">0</cx:pt>
          <cx:pt idx="6503">0</cx:pt>
          <cx:pt idx="6504">0</cx:pt>
          <cx:pt idx="6505">1</cx:pt>
          <cx:pt idx="6506">1</cx:pt>
          <cx:pt idx="6507">0</cx:pt>
          <cx:pt idx="6508">1</cx:pt>
          <cx:pt idx="6509">1</cx:pt>
          <cx:pt idx="6510">0</cx:pt>
          <cx:pt idx="6511">0</cx:pt>
          <cx:pt idx="6512">0</cx:pt>
          <cx:pt idx="6513">1</cx:pt>
          <cx:pt idx="6514">1</cx:pt>
          <cx:pt idx="6515">1</cx:pt>
          <cx:pt idx="6516">0</cx:pt>
          <cx:pt idx="6517">0</cx:pt>
          <cx:pt idx="6518">0</cx:pt>
          <cx:pt idx="6519">1</cx:pt>
          <cx:pt idx="6520">0</cx:pt>
          <cx:pt idx="6521">0</cx:pt>
          <cx:pt idx="6522">0</cx:pt>
          <cx:pt idx="6523">1</cx:pt>
          <cx:pt idx="6524">0</cx:pt>
          <cx:pt idx="6525">1</cx:pt>
          <cx:pt idx="6526">0</cx:pt>
          <cx:pt idx="6527">1</cx:pt>
          <cx:pt idx="6528">0</cx:pt>
          <cx:pt idx="6529">0</cx:pt>
          <cx:pt idx="6530">1</cx:pt>
          <cx:pt idx="6531">0</cx:pt>
          <cx:pt idx="6532">0</cx:pt>
          <cx:pt idx="6533">1</cx:pt>
          <cx:pt idx="6534">1</cx:pt>
          <cx:pt idx="6535">1</cx:pt>
          <cx:pt idx="6536">1</cx:pt>
          <cx:pt idx="6537">0</cx:pt>
          <cx:pt idx="6538">0</cx:pt>
          <cx:pt idx="6539">0</cx:pt>
          <cx:pt idx="6540">0</cx:pt>
          <cx:pt idx="6541">0</cx:pt>
          <cx:pt idx="6542">0</cx:pt>
          <cx:pt idx="6543">0</cx:pt>
          <cx:pt idx="6544">0</cx:pt>
          <cx:pt idx="6545">0</cx:pt>
          <cx:pt idx="6546">0</cx:pt>
          <cx:pt idx="6547">1</cx:pt>
          <cx:pt idx="6548">1</cx:pt>
          <cx:pt idx="6549">1</cx:pt>
          <cx:pt idx="6550">0</cx:pt>
          <cx:pt idx="6551">0</cx:pt>
          <cx:pt idx="6552">0</cx:pt>
          <cx:pt idx="6553">1</cx:pt>
          <cx:pt idx="6554">0</cx:pt>
          <cx:pt idx="6555">0</cx:pt>
          <cx:pt idx="6556">1</cx:pt>
          <cx:pt idx="6557">0</cx:pt>
          <cx:pt idx="6558">0</cx:pt>
          <cx:pt idx="6559">1</cx:pt>
          <cx:pt idx="6560">0</cx:pt>
          <cx:pt idx="6561">0</cx:pt>
          <cx:pt idx="6562">0</cx:pt>
          <cx:pt idx="6563">1</cx:pt>
          <cx:pt idx="6564">1</cx:pt>
          <cx:pt idx="6565">0</cx:pt>
          <cx:pt idx="6566">0</cx:pt>
          <cx:pt idx="6567">0</cx:pt>
          <cx:pt idx="6568">1</cx:pt>
          <cx:pt idx="6569">0</cx:pt>
          <cx:pt idx="6570">0</cx:pt>
          <cx:pt idx="6571">0</cx:pt>
          <cx:pt idx="6572">0</cx:pt>
          <cx:pt idx="6573">1</cx:pt>
          <cx:pt idx="6574">0</cx:pt>
          <cx:pt idx="6575">0</cx:pt>
          <cx:pt idx="6576">0</cx:pt>
          <cx:pt idx="6577">0</cx:pt>
          <cx:pt idx="6578">0</cx:pt>
          <cx:pt idx="6579">0</cx:pt>
          <cx:pt idx="6580">0</cx:pt>
          <cx:pt idx="6581">0</cx:pt>
          <cx:pt idx="6582">1</cx:pt>
          <cx:pt idx="6583">1</cx:pt>
          <cx:pt idx="6584">1</cx:pt>
          <cx:pt idx="6585">0</cx:pt>
          <cx:pt idx="6586">0</cx:pt>
          <cx:pt idx="6587">1</cx:pt>
          <cx:pt idx="6588">1</cx:pt>
          <cx:pt idx="6589">0</cx:pt>
          <cx:pt idx="6590">0</cx:pt>
          <cx:pt idx="6591">0</cx:pt>
          <cx:pt idx="6592">1</cx:pt>
          <cx:pt idx="6593">0</cx:pt>
          <cx:pt idx="6594">0</cx:pt>
          <cx:pt idx="6595">0</cx:pt>
          <cx:pt idx="6596">0</cx:pt>
          <cx:pt idx="6597">0</cx:pt>
          <cx:pt idx="6598">0</cx:pt>
          <cx:pt idx="6599">0</cx:pt>
          <cx:pt idx="6600">0</cx:pt>
          <cx:pt idx="6601">0</cx:pt>
          <cx:pt idx="6602">0</cx:pt>
          <cx:pt idx="6603">1</cx:pt>
          <cx:pt idx="6604">1</cx:pt>
          <cx:pt idx="6605">0</cx:pt>
          <cx:pt idx="6606">0</cx:pt>
          <cx:pt idx="6607">0</cx:pt>
          <cx:pt idx="6608">0</cx:pt>
          <cx:pt idx="6609">0</cx:pt>
          <cx:pt idx="6610">0</cx:pt>
          <cx:pt idx="6611">1</cx:pt>
          <cx:pt idx="6612">1</cx:pt>
          <cx:pt idx="6613">1</cx:pt>
          <cx:pt idx="6614">1</cx:pt>
          <cx:pt idx="6615">0</cx:pt>
          <cx:pt idx="6616">0</cx:pt>
          <cx:pt idx="6617">0</cx:pt>
          <cx:pt idx="6618">1</cx:pt>
          <cx:pt idx="6619">0</cx:pt>
          <cx:pt idx="6620">0</cx:pt>
          <cx:pt idx="6621">1</cx:pt>
          <cx:pt idx="6622">1</cx:pt>
          <cx:pt idx="6623">0</cx:pt>
          <cx:pt idx="6624">0</cx:pt>
          <cx:pt idx="6625">0</cx:pt>
          <cx:pt idx="6626">0</cx:pt>
          <cx:pt idx="6627">0</cx:pt>
          <cx:pt idx="6628">0</cx:pt>
          <cx:pt idx="6629">0</cx:pt>
          <cx:pt idx="6630">0</cx:pt>
          <cx:pt idx="6631">1</cx:pt>
          <cx:pt idx="6632">0</cx:pt>
          <cx:pt idx="6633">1</cx:pt>
          <cx:pt idx="6634">1</cx:pt>
          <cx:pt idx="6635">1</cx:pt>
          <cx:pt idx="6636">0</cx:pt>
          <cx:pt idx="6637">0</cx:pt>
          <cx:pt idx="6638">0</cx:pt>
          <cx:pt idx="6639">1</cx:pt>
          <cx:pt idx="6640">0</cx:pt>
          <cx:pt idx="6641">1</cx:pt>
          <cx:pt idx="6642">1</cx:pt>
          <cx:pt idx="6643">1</cx:pt>
          <cx:pt idx="6644">0</cx:pt>
          <cx:pt idx="6645">0</cx:pt>
          <cx:pt idx="6646">0</cx:pt>
          <cx:pt idx="6647">0</cx:pt>
          <cx:pt idx="6648">1</cx:pt>
          <cx:pt idx="6649">0</cx:pt>
          <cx:pt idx="6650">0</cx:pt>
          <cx:pt idx="6651">0</cx:pt>
          <cx:pt idx="6652">0</cx:pt>
          <cx:pt idx="6653">1</cx:pt>
          <cx:pt idx="6654">1</cx:pt>
          <cx:pt idx="6655">0</cx:pt>
          <cx:pt idx="6656">1</cx:pt>
          <cx:pt idx="6657">0</cx:pt>
          <cx:pt idx="6658">1</cx:pt>
          <cx:pt idx="6659">0</cx:pt>
          <cx:pt idx="6660">1</cx:pt>
          <cx:pt idx="6661">0</cx:pt>
          <cx:pt idx="6662">0</cx:pt>
          <cx:pt idx="6663">1</cx:pt>
          <cx:pt idx="6664">0</cx:pt>
          <cx:pt idx="6665">1</cx:pt>
          <cx:pt idx="6666">0</cx:pt>
          <cx:pt idx="6667">0</cx:pt>
          <cx:pt idx="6668">0</cx:pt>
          <cx:pt idx="6669">0</cx:pt>
          <cx:pt idx="6670">1</cx:pt>
          <cx:pt idx="6671">1</cx:pt>
          <cx:pt idx="6672">0</cx:pt>
          <cx:pt idx="6673">0</cx:pt>
          <cx:pt idx="6674">1</cx:pt>
          <cx:pt idx="6675">1</cx:pt>
          <cx:pt idx="6676">0</cx:pt>
          <cx:pt idx="6677">0</cx:pt>
          <cx:pt idx="6678">0</cx:pt>
          <cx:pt idx="6679">1</cx:pt>
          <cx:pt idx="6680">1</cx:pt>
          <cx:pt idx="6681">1</cx:pt>
          <cx:pt idx="6682">1</cx:pt>
          <cx:pt idx="6683">1</cx:pt>
          <cx:pt idx="6684">0</cx:pt>
          <cx:pt idx="6685">1</cx:pt>
          <cx:pt idx="6686">0</cx:pt>
          <cx:pt idx="6687">0</cx:pt>
          <cx:pt idx="6688">0</cx:pt>
          <cx:pt idx="6689">0</cx:pt>
          <cx:pt idx="6690">0</cx:pt>
          <cx:pt idx="6691">0</cx:pt>
          <cx:pt idx="6692">1</cx:pt>
          <cx:pt idx="6693">1</cx:pt>
          <cx:pt idx="6694">1</cx:pt>
          <cx:pt idx="6695">0</cx:pt>
          <cx:pt idx="6696">1</cx:pt>
          <cx:pt idx="6697">0</cx:pt>
          <cx:pt idx="6698">0</cx:pt>
          <cx:pt idx="6699">0</cx:pt>
          <cx:pt idx="6700">1</cx:pt>
          <cx:pt idx="6701">0</cx:pt>
          <cx:pt idx="6702">1</cx:pt>
          <cx:pt idx="6703">0</cx:pt>
          <cx:pt idx="6704">0</cx:pt>
          <cx:pt idx="6705">1</cx:pt>
          <cx:pt idx="6706">0</cx:pt>
          <cx:pt idx="6707">0</cx:pt>
          <cx:pt idx="6708">0</cx:pt>
          <cx:pt idx="6709">1</cx:pt>
          <cx:pt idx="6710">1</cx:pt>
          <cx:pt idx="6711">0</cx:pt>
          <cx:pt idx="6712">0</cx:pt>
          <cx:pt idx="6713">1</cx:pt>
          <cx:pt idx="6714">1</cx:pt>
          <cx:pt idx="6715">0</cx:pt>
          <cx:pt idx="6716">0</cx:pt>
          <cx:pt idx="6717">1</cx:pt>
          <cx:pt idx="6718">1</cx:pt>
          <cx:pt idx="6719">1</cx:pt>
          <cx:pt idx="6720">1</cx:pt>
          <cx:pt idx="6721">0</cx:pt>
          <cx:pt idx="6722">0</cx:pt>
          <cx:pt idx="6723">1</cx:pt>
          <cx:pt idx="6724">0</cx:pt>
          <cx:pt idx="6725">1</cx:pt>
          <cx:pt idx="6726">1</cx:pt>
          <cx:pt idx="6727">0</cx:pt>
          <cx:pt idx="6728">0</cx:pt>
          <cx:pt idx="6729">1</cx:pt>
          <cx:pt idx="6730">0</cx:pt>
          <cx:pt idx="6731">0</cx:pt>
          <cx:pt idx="6732">0</cx:pt>
          <cx:pt idx="6733">1</cx:pt>
          <cx:pt idx="6734">1</cx:pt>
          <cx:pt idx="6735">1</cx:pt>
          <cx:pt idx="6736">0</cx:pt>
          <cx:pt idx="6737">0</cx:pt>
          <cx:pt idx="6738">1</cx:pt>
          <cx:pt idx="6739">1</cx:pt>
          <cx:pt idx="6740">1</cx:pt>
          <cx:pt idx="6741">1</cx:pt>
          <cx:pt idx="6742">1</cx:pt>
          <cx:pt idx="6743">0</cx:pt>
          <cx:pt idx="6744">1</cx:pt>
          <cx:pt idx="6745">0</cx:pt>
          <cx:pt idx="6746">0</cx:pt>
          <cx:pt idx="6747">0</cx:pt>
          <cx:pt idx="6748">1</cx:pt>
          <cx:pt idx="6749">1</cx:pt>
          <cx:pt idx="6750">0</cx:pt>
          <cx:pt idx="6751">1</cx:pt>
          <cx:pt idx="6752">1</cx:pt>
          <cx:pt idx="6753">1</cx:pt>
          <cx:pt idx="6754">1</cx:pt>
          <cx:pt idx="6755">1</cx:pt>
          <cx:pt idx="6756">0</cx:pt>
          <cx:pt idx="6757">0</cx:pt>
          <cx:pt idx="6758">1</cx:pt>
          <cx:pt idx="6759">1</cx:pt>
          <cx:pt idx="6760">0</cx:pt>
          <cx:pt idx="6761">1</cx:pt>
          <cx:pt idx="6762">0</cx:pt>
          <cx:pt idx="6763">1</cx:pt>
          <cx:pt idx="6764">1</cx:pt>
          <cx:pt idx="6765">0</cx:pt>
          <cx:pt idx="6766">0</cx:pt>
          <cx:pt idx="6767">0</cx:pt>
          <cx:pt idx="6768">1</cx:pt>
          <cx:pt idx="6769">0</cx:pt>
          <cx:pt idx="6770">1</cx:pt>
          <cx:pt idx="6771">1</cx:pt>
          <cx:pt idx="6772">1</cx:pt>
          <cx:pt idx="6773">0</cx:pt>
          <cx:pt idx="6774">1</cx:pt>
          <cx:pt idx="6775">1</cx:pt>
          <cx:pt idx="6776">1</cx:pt>
          <cx:pt idx="6777">0</cx:pt>
          <cx:pt idx="6778">1</cx:pt>
          <cx:pt idx="6779">0</cx:pt>
          <cx:pt idx="6780">1</cx:pt>
          <cx:pt idx="6781">0</cx:pt>
          <cx:pt idx="6782">1</cx:pt>
          <cx:pt idx="6783">1</cx:pt>
          <cx:pt idx="6784">0</cx:pt>
          <cx:pt idx="6785">1</cx:pt>
          <cx:pt idx="6786">1</cx:pt>
          <cx:pt idx="6787">0</cx:pt>
          <cx:pt idx="6788">0</cx:pt>
          <cx:pt idx="6789">0</cx:pt>
          <cx:pt idx="6790">1</cx:pt>
          <cx:pt idx="6791">0</cx:pt>
          <cx:pt idx="6792">0</cx:pt>
          <cx:pt idx="6793">1</cx:pt>
          <cx:pt idx="6794">0</cx:pt>
          <cx:pt idx="6795">1</cx:pt>
          <cx:pt idx="6796">1</cx:pt>
          <cx:pt idx="6797">0</cx:pt>
          <cx:pt idx="6798">1</cx:pt>
          <cx:pt idx="6799">0</cx:pt>
          <cx:pt idx="6800">1</cx:pt>
          <cx:pt idx="6801">1</cx:pt>
          <cx:pt idx="6802">1</cx:pt>
          <cx:pt idx="6803">1</cx:pt>
          <cx:pt idx="6804">1</cx:pt>
          <cx:pt idx="6805">0</cx:pt>
          <cx:pt idx="6806">0</cx:pt>
          <cx:pt idx="6807">1</cx:pt>
          <cx:pt idx="6808">0</cx:pt>
          <cx:pt idx="6809">0</cx:pt>
          <cx:pt idx="6810">0</cx:pt>
          <cx:pt idx="6811">1</cx:pt>
          <cx:pt idx="6812">1</cx:pt>
          <cx:pt idx="6813">1</cx:pt>
          <cx:pt idx="6814">1</cx:pt>
          <cx:pt idx="6815">1</cx:pt>
          <cx:pt idx="6816">1</cx:pt>
          <cx:pt idx="6817">0</cx:pt>
          <cx:pt idx="6818">0</cx:pt>
          <cx:pt idx="6819">0</cx:pt>
          <cx:pt idx="6820">1</cx:pt>
          <cx:pt idx="6821">1</cx:pt>
          <cx:pt idx="6822">1</cx:pt>
          <cx:pt idx="6823">0</cx:pt>
          <cx:pt idx="6824">1</cx:pt>
          <cx:pt idx="6825">0</cx:pt>
          <cx:pt idx="6826">0</cx:pt>
          <cx:pt idx="6827">1</cx:pt>
          <cx:pt idx="6828">0</cx:pt>
          <cx:pt idx="6829">0</cx:pt>
          <cx:pt idx="6830">0</cx:pt>
          <cx:pt idx="6831">0</cx:pt>
          <cx:pt idx="6832">1</cx:pt>
          <cx:pt idx="6833">0</cx:pt>
          <cx:pt idx="6834">0</cx:pt>
          <cx:pt idx="6835">0</cx:pt>
          <cx:pt idx="6836">0</cx:pt>
          <cx:pt idx="6837">0</cx:pt>
          <cx:pt idx="6838">0</cx:pt>
          <cx:pt idx="6839">0</cx:pt>
          <cx:pt idx="6840">1</cx:pt>
          <cx:pt idx="6841">1</cx:pt>
          <cx:pt idx="6842">0</cx:pt>
          <cx:pt idx="6843">0</cx:pt>
          <cx:pt idx="6844">0</cx:pt>
          <cx:pt idx="6845">1</cx:pt>
          <cx:pt idx="6846">1</cx:pt>
          <cx:pt idx="6847">0</cx:pt>
          <cx:pt idx="6848">0</cx:pt>
          <cx:pt idx="6849">0</cx:pt>
          <cx:pt idx="6850">1</cx:pt>
          <cx:pt idx="6851">0</cx:pt>
          <cx:pt idx="6852">0</cx:pt>
          <cx:pt idx="6853">1</cx:pt>
          <cx:pt idx="6854">1</cx:pt>
          <cx:pt idx="6855">0</cx:pt>
          <cx:pt idx="6856">0</cx:pt>
          <cx:pt idx="6857">0</cx:pt>
          <cx:pt idx="6858">0</cx:pt>
          <cx:pt idx="6859">0</cx:pt>
          <cx:pt idx="6860">1</cx:pt>
          <cx:pt idx="6861">0</cx:pt>
          <cx:pt idx="6862">1</cx:pt>
          <cx:pt idx="6863">0</cx:pt>
          <cx:pt idx="6864">0</cx:pt>
          <cx:pt idx="6865">1</cx:pt>
          <cx:pt idx="6866">1</cx:pt>
          <cx:pt idx="6867">1</cx:pt>
          <cx:pt idx="6868">1</cx:pt>
          <cx:pt idx="6869">0</cx:pt>
          <cx:pt idx="6870">1</cx:pt>
          <cx:pt idx="6871">1</cx:pt>
          <cx:pt idx="6872">0</cx:pt>
          <cx:pt idx="6873">1</cx:pt>
          <cx:pt idx="6874">0</cx:pt>
          <cx:pt idx="6875">0</cx:pt>
          <cx:pt idx="6876">0</cx:pt>
          <cx:pt idx="6877">1</cx:pt>
          <cx:pt idx="6878">1</cx:pt>
          <cx:pt idx="6879">0</cx:pt>
          <cx:pt idx="6880">0</cx:pt>
          <cx:pt idx="6881">1</cx:pt>
          <cx:pt idx="6882">1</cx:pt>
          <cx:pt idx="6883">1</cx:pt>
          <cx:pt idx="6884">1</cx:pt>
          <cx:pt idx="6885">0</cx:pt>
          <cx:pt idx="6886">0</cx:pt>
          <cx:pt idx="6887">0</cx:pt>
          <cx:pt idx="6888">1</cx:pt>
          <cx:pt idx="6889">0</cx:pt>
          <cx:pt idx="6890">1</cx:pt>
          <cx:pt idx="6891">1</cx:pt>
          <cx:pt idx="6892">0</cx:pt>
          <cx:pt idx="6893">0</cx:pt>
          <cx:pt idx="6894">0</cx:pt>
          <cx:pt idx="6895">0</cx:pt>
          <cx:pt idx="6896">0</cx:pt>
          <cx:pt idx="6897">0</cx:pt>
          <cx:pt idx="6898">0</cx:pt>
          <cx:pt idx="6899">0</cx:pt>
          <cx:pt idx="6900">0</cx:pt>
          <cx:pt idx="6901">1</cx:pt>
          <cx:pt idx="6902">0</cx:pt>
          <cx:pt idx="6903">0</cx:pt>
          <cx:pt idx="6904">0</cx:pt>
          <cx:pt idx="6905">1</cx:pt>
          <cx:pt idx="6906">0</cx:pt>
          <cx:pt idx="6907">1</cx:pt>
          <cx:pt idx="6908">0</cx:pt>
          <cx:pt idx="6909">1</cx:pt>
          <cx:pt idx="6910">1</cx:pt>
          <cx:pt idx="6911">1</cx:pt>
          <cx:pt idx="6912">0</cx:pt>
          <cx:pt idx="6913">1</cx:pt>
          <cx:pt idx="6914">0</cx:pt>
          <cx:pt idx="6915">0</cx:pt>
          <cx:pt idx="6916">1</cx:pt>
          <cx:pt idx="6917">0</cx:pt>
          <cx:pt idx="6918">0</cx:pt>
          <cx:pt idx="6919">0</cx:pt>
          <cx:pt idx="6920">0</cx:pt>
          <cx:pt idx="6921">1</cx:pt>
          <cx:pt idx="6922">1</cx:pt>
          <cx:pt idx="6923">1</cx:pt>
          <cx:pt idx="6924">1</cx:pt>
          <cx:pt idx="6925">1</cx:pt>
          <cx:pt idx="6926">0</cx:pt>
          <cx:pt idx="6927">1</cx:pt>
          <cx:pt idx="6928">0</cx:pt>
          <cx:pt idx="6929">1</cx:pt>
          <cx:pt idx="6930">0</cx:pt>
          <cx:pt idx="6931">1</cx:pt>
          <cx:pt idx="6932">1</cx:pt>
          <cx:pt idx="6933">0</cx:pt>
          <cx:pt idx="6934">1</cx:pt>
          <cx:pt idx="6935">0</cx:pt>
          <cx:pt idx="6936">0</cx:pt>
          <cx:pt idx="6937">0</cx:pt>
          <cx:pt idx="6938">0</cx:pt>
          <cx:pt idx="6939">0</cx:pt>
          <cx:pt idx="6940">0</cx:pt>
          <cx:pt idx="6941">0</cx:pt>
          <cx:pt idx="6942">0</cx:pt>
          <cx:pt idx="6943">0</cx:pt>
          <cx:pt idx="6944">0</cx:pt>
          <cx:pt idx="6945">0</cx:pt>
          <cx:pt idx="6946">1</cx:pt>
          <cx:pt idx="6947">0</cx:pt>
          <cx:pt idx="6948">1</cx:pt>
          <cx:pt idx="6949">0</cx:pt>
          <cx:pt idx="6950">1</cx:pt>
          <cx:pt idx="6951">1</cx:pt>
          <cx:pt idx="6952">0</cx:pt>
          <cx:pt idx="6953">1</cx:pt>
          <cx:pt idx="6954">0</cx:pt>
          <cx:pt idx="6955">1</cx:pt>
          <cx:pt idx="6956">0</cx:pt>
          <cx:pt idx="6957">0</cx:pt>
          <cx:pt idx="6958">0</cx:pt>
          <cx:pt idx="6959">1</cx:pt>
          <cx:pt idx="6960">0</cx:pt>
          <cx:pt idx="6961">0</cx:pt>
          <cx:pt idx="6962">0</cx:pt>
          <cx:pt idx="6963">1</cx:pt>
          <cx:pt idx="6964">0</cx:pt>
          <cx:pt idx="6965">1</cx:pt>
          <cx:pt idx="6966">1</cx:pt>
          <cx:pt idx="6967">1</cx:pt>
          <cx:pt idx="6968">0</cx:pt>
          <cx:pt idx="6969">1</cx:pt>
          <cx:pt idx="6970">1</cx:pt>
          <cx:pt idx="6971">1</cx:pt>
          <cx:pt idx="6972">1</cx:pt>
          <cx:pt idx="6973">0</cx:pt>
          <cx:pt idx="6974">1</cx:pt>
          <cx:pt idx="6975">0</cx:pt>
          <cx:pt idx="6976">0</cx:pt>
          <cx:pt idx="6977">0</cx:pt>
          <cx:pt idx="6978">0</cx:pt>
          <cx:pt idx="6979">1</cx:pt>
          <cx:pt idx="6980">0</cx:pt>
          <cx:pt idx="6981">0</cx:pt>
          <cx:pt idx="6982">0</cx:pt>
          <cx:pt idx="6983">0</cx:pt>
          <cx:pt idx="6984">1</cx:pt>
          <cx:pt idx="6985">1</cx:pt>
          <cx:pt idx="6986">0</cx:pt>
          <cx:pt idx="6987">0</cx:pt>
          <cx:pt idx="6988">0</cx:pt>
          <cx:pt idx="6989">0</cx:pt>
          <cx:pt idx="6990">0</cx:pt>
          <cx:pt idx="6991">0</cx:pt>
          <cx:pt idx="6992">0</cx:pt>
          <cx:pt idx="6993">1</cx:pt>
          <cx:pt idx="6994">1</cx:pt>
          <cx:pt idx="6995">0</cx:pt>
          <cx:pt idx="6996">0</cx:pt>
          <cx:pt idx="6997">0</cx:pt>
          <cx:pt idx="6998">0</cx:pt>
          <cx:pt idx="6999">1</cx:pt>
          <cx:pt idx="7000">0</cx:pt>
          <cx:pt idx="7001">0</cx:pt>
          <cx:pt idx="7002">1</cx:pt>
          <cx:pt idx="7003">0</cx:pt>
          <cx:pt idx="7004">0</cx:pt>
          <cx:pt idx="7005">0</cx:pt>
          <cx:pt idx="7006">1</cx:pt>
          <cx:pt idx="7007">1</cx:pt>
          <cx:pt idx="7008">0</cx:pt>
          <cx:pt idx="7009">0</cx:pt>
          <cx:pt idx="7010">1</cx:pt>
          <cx:pt idx="7011">0</cx:pt>
          <cx:pt idx="7012">1</cx:pt>
          <cx:pt idx="7013">0</cx:pt>
          <cx:pt idx="7014">0</cx:pt>
          <cx:pt idx="7015">1</cx:pt>
          <cx:pt idx="7016">1</cx:pt>
          <cx:pt idx="7017">1</cx:pt>
          <cx:pt idx="7018">0</cx:pt>
          <cx:pt idx="7019">0</cx:pt>
          <cx:pt idx="7020">0</cx:pt>
          <cx:pt idx="7021">1</cx:pt>
          <cx:pt idx="7022">0</cx:pt>
          <cx:pt idx="7023">0</cx:pt>
          <cx:pt idx="7024">0</cx:pt>
          <cx:pt idx="7025">1</cx:pt>
          <cx:pt idx="7026">1</cx:pt>
          <cx:pt idx="7027">1</cx:pt>
          <cx:pt idx="7028">0</cx:pt>
          <cx:pt idx="7029">0</cx:pt>
          <cx:pt idx="7030">1</cx:pt>
          <cx:pt idx="7031">1</cx:pt>
          <cx:pt idx="7032">0</cx:pt>
          <cx:pt idx="7033">1</cx:pt>
          <cx:pt idx="7034">1</cx:pt>
          <cx:pt idx="7035">1</cx:pt>
          <cx:pt idx="7036">1</cx:pt>
          <cx:pt idx="7037">0</cx:pt>
          <cx:pt idx="7038">0</cx:pt>
          <cx:pt idx="7039">0</cx:pt>
          <cx:pt idx="7040">0</cx:pt>
          <cx:pt idx="7041">1</cx:pt>
          <cx:pt idx="7042">1</cx:pt>
          <cx:pt idx="7043">1</cx:pt>
          <cx:pt idx="7044">0</cx:pt>
          <cx:pt idx="7045">1</cx:pt>
          <cx:pt idx="7046">1</cx:pt>
          <cx:pt idx="7047">0</cx:pt>
          <cx:pt idx="7048">1</cx:pt>
          <cx:pt idx="7049">0</cx:pt>
          <cx:pt idx="7050">0</cx:pt>
          <cx:pt idx="7051">1</cx:pt>
          <cx:pt idx="7052">0</cx:pt>
          <cx:pt idx="7053">0</cx:pt>
          <cx:pt idx="7054">1</cx:pt>
          <cx:pt idx="7055">1</cx:pt>
          <cx:pt idx="7056">0</cx:pt>
          <cx:pt idx="7057">0</cx:pt>
          <cx:pt idx="7058">1</cx:pt>
          <cx:pt idx="7059">0</cx:pt>
          <cx:pt idx="7060">0</cx:pt>
          <cx:pt idx="7061">1</cx:pt>
          <cx:pt idx="7062">0</cx:pt>
          <cx:pt idx="7063">1</cx:pt>
          <cx:pt idx="7064">1</cx:pt>
          <cx:pt idx="7065">1</cx:pt>
          <cx:pt idx="7066">1</cx:pt>
          <cx:pt idx="7067">1</cx:pt>
          <cx:pt idx="7068">1</cx:pt>
          <cx:pt idx="7069">0</cx:pt>
          <cx:pt idx="7070">0</cx:pt>
          <cx:pt idx="7071">0</cx:pt>
          <cx:pt idx="7072">0</cx:pt>
          <cx:pt idx="7073">1</cx:pt>
          <cx:pt idx="7074">1</cx:pt>
          <cx:pt idx="7075">0</cx:pt>
          <cx:pt idx="7076">1</cx:pt>
          <cx:pt idx="7077">0</cx:pt>
          <cx:pt idx="7078">1</cx:pt>
          <cx:pt idx="7079">0</cx:pt>
          <cx:pt idx="7080">0</cx:pt>
          <cx:pt idx="7081">0</cx:pt>
          <cx:pt idx="7082">0</cx:pt>
          <cx:pt idx="7083">1</cx:pt>
          <cx:pt idx="7084">0</cx:pt>
          <cx:pt idx="7085">1</cx:pt>
          <cx:pt idx="7086">0</cx:pt>
          <cx:pt idx="7087">0</cx:pt>
          <cx:pt idx="7088">1</cx:pt>
          <cx:pt idx="7089">0</cx:pt>
          <cx:pt idx="7090">0</cx:pt>
          <cx:pt idx="7091">0</cx:pt>
          <cx:pt idx="7092">0</cx:pt>
          <cx:pt idx="7093">0</cx:pt>
          <cx:pt idx="7094">0</cx:pt>
          <cx:pt idx="7095">0</cx:pt>
          <cx:pt idx="7096">1</cx:pt>
          <cx:pt idx="7097">0</cx:pt>
          <cx:pt idx="7098">0</cx:pt>
          <cx:pt idx="7099">1</cx:pt>
          <cx:pt idx="7100">0</cx:pt>
          <cx:pt idx="7101">0</cx:pt>
          <cx:pt idx="7102">0</cx:pt>
          <cx:pt idx="7103">1</cx:pt>
          <cx:pt idx="7104">0</cx:pt>
          <cx:pt idx="7105">1</cx:pt>
          <cx:pt idx="7106">1</cx:pt>
          <cx:pt idx="7107">0</cx:pt>
          <cx:pt idx="7108">1</cx:pt>
          <cx:pt idx="7109">0</cx:pt>
          <cx:pt idx="7110">0</cx:pt>
          <cx:pt idx="7111">0</cx:pt>
          <cx:pt idx="7112">1</cx:pt>
          <cx:pt idx="7113">1</cx:pt>
          <cx:pt idx="7114">1</cx:pt>
          <cx:pt idx="7115">1</cx:pt>
          <cx:pt idx="7116">1</cx:pt>
          <cx:pt idx="7117">1</cx:pt>
          <cx:pt idx="7118">1</cx:pt>
          <cx:pt idx="7119">1</cx:pt>
          <cx:pt idx="7120">1</cx:pt>
          <cx:pt idx="7121">0</cx:pt>
          <cx:pt idx="7122">1</cx:pt>
          <cx:pt idx="7123">1</cx:pt>
          <cx:pt idx="7124">1</cx:pt>
          <cx:pt idx="7125">1</cx:pt>
          <cx:pt idx="7126">0</cx:pt>
          <cx:pt idx="7127">0</cx:pt>
          <cx:pt idx="7128">0</cx:pt>
          <cx:pt idx="7129">0</cx:pt>
          <cx:pt idx="7130">1</cx:pt>
          <cx:pt idx="7131">0</cx:pt>
          <cx:pt idx="7132">1</cx:pt>
          <cx:pt idx="7133">1</cx:pt>
          <cx:pt idx="7134">1</cx:pt>
          <cx:pt idx="7135">0</cx:pt>
          <cx:pt idx="7136">0</cx:pt>
          <cx:pt idx="7137">1</cx:pt>
          <cx:pt idx="7138">1</cx:pt>
          <cx:pt idx="7139">1</cx:pt>
          <cx:pt idx="7140">0</cx:pt>
          <cx:pt idx="7141">0</cx:pt>
          <cx:pt idx="7142">0</cx:pt>
          <cx:pt idx="7143">0</cx:pt>
          <cx:pt idx="7144">0</cx:pt>
          <cx:pt idx="7145">0</cx:pt>
          <cx:pt idx="7146">0</cx:pt>
          <cx:pt idx="7147">0</cx:pt>
          <cx:pt idx="7148">1</cx:pt>
          <cx:pt idx="7149">0</cx:pt>
          <cx:pt idx="7150">1</cx:pt>
          <cx:pt idx="7151">1</cx:pt>
          <cx:pt idx="7152">1</cx:pt>
          <cx:pt idx="7153">1</cx:pt>
          <cx:pt idx="7154">0</cx:pt>
          <cx:pt idx="7155">0</cx:pt>
          <cx:pt idx="7156">0</cx:pt>
          <cx:pt idx="7157">1</cx:pt>
          <cx:pt idx="7158">1</cx:pt>
          <cx:pt idx="7159">0</cx:pt>
          <cx:pt idx="7160">0</cx:pt>
          <cx:pt idx="7161">0</cx:pt>
          <cx:pt idx="7162">0</cx:pt>
          <cx:pt idx="7163">1</cx:pt>
          <cx:pt idx="7164">1</cx:pt>
          <cx:pt idx="7165">0</cx:pt>
          <cx:pt idx="7166">0</cx:pt>
          <cx:pt idx="7167">0</cx:pt>
          <cx:pt idx="7168">0</cx:pt>
          <cx:pt idx="7169">1</cx:pt>
          <cx:pt idx="7170">0</cx:pt>
          <cx:pt idx="7171">0</cx:pt>
          <cx:pt idx="7172">1</cx:pt>
          <cx:pt idx="7173">0</cx:pt>
          <cx:pt idx="7174">0</cx:pt>
          <cx:pt idx="7175">0</cx:pt>
          <cx:pt idx="7176">0</cx:pt>
          <cx:pt idx="7177">0</cx:pt>
          <cx:pt idx="7178">0</cx:pt>
          <cx:pt idx="7179">1</cx:pt>
          <cx:pt idx="7180">0</cx:pt>
          <cx:pt idx="7181">0</cx:pt>
          <cx:pt idx="7182">0</cx:pt>
          <cx:pt idx="7183">0</cx:pt>
          <cx:pt idx="7184">1</cx:pt>
          <cx:pt idx="7185">0</cx:pt>
          <cx:pt idx="7186">0</cx:pt>
          <cx:pt idx="7187">1</cx:pt>
          <cx:pt idx="7188">1</cx:pt>
          <cx:pt idx="7189">0</cx:pt>
          <cx:pt idx="7190">0</cx:pt>
          <cx:pt idx="7191">1</cx:pt>
          <cx:pt idx="7192">0</cx:pt>
          <cx:pt idx="7193">0</cx:pt>
          <cx:pt idx="7194">1</cx:pt>
          <cx:pt idx="7195">0</cx:pt>
          <cx:pt idx="7196">0</cx:pt>
          <cx:pt idx="7197">1</cx:pt>
          <cx:pt idx="7198">1</cx:pt>
          <cx:pt idx="7199">0</cx:pt>
          <cx:pt idx="7200">1</cx:pt>
          <cx:pt idx="7201">0</cx:pt>
          <cx:pt idx="7202">1</cx:pt>
          <cx:pt idx="7203">1</cx:pt>
          <cx:pt idx="7204">0</cx:pt>
          <cx:pt idx="7205">1</cx:pt>
          <cx:pt idx="7206">1</cx:pt>
          <cx:pt idx="7207">1</cx:pt>
          <cx:pt idx="7208">0</cx:pt>
          <cx:pt idx="7209">1</cx:pt>
          <cx:pt idx="7210">0</cx:pt>
          <cx:pt idx="7211">0</cx:pt>
          <cx:pt idx="7212">1</cx:pt>
          <cx:pt idx="7213">0</cx:pt>
          <cx:pt idx="7214">0</cx:pt>
          <cx:pt idx="7215">0</cx:pt>
          <cx:pt idx="7216">0</cx:pt>
          <cx:pt idx="7217">1</cx:pt>
          <cx:pt idx="7218">0</cx:pt>
          <cx:pt idx="7219">1</cx:pt>
          <cx:pt idx="7220">1</cx:pt>
          <cx:pt idx="7221">0</cx:pt>
          <cx:pt idx="7222">0</cx:pt>
          <cx:pt idx="7223">1</cx:pt>
          <cx:pt idx="7224">0</cx:pt>
          <cx:pt idx="7225">1</cx:pt>
          <cx:pt idx="7226">1</cx:pt>
          <cx:pt idx="7227">0</cx:pt>
          <cx:pt idx="7228">1</cx:pt>
          <cx:pt idx="7229">1</cx:pt>
          <cx:pt idx="7230">0</cx:pt>
          <cx:pt idx="7231">1</cx:pt>
          <cx:pt idx="7232">1</cx:pt>
          <cx:pt idx="7233">0</cx:pt>
          <cx:pt idx="7234">1</cx:pt>
          <cx:pt idx="7235">1</cx:pt>
          <cx:pt idx="7236">1</cx:pt>
          <cx:pt idx="7237">0</cx:pt>
          <cx:pt idx="7238">0</cx:pt>
          <cx:pt idx="7239">1</cx:pt>
          <cx:pt idx="7240">0</cx:pt>
          <cx:pt idx="7241">0</cx:pt>
          <cx:pt idx="7242">0</cx:pt>
          <cx:pt idx="7243">0</cx:pt>
          <cx:pt idx="7244">1</cx:pt>
          <cx:pt idx="7245">1</cx:pt>
          <cx:pt idx="7246">1</cx:pt>
          <cx:pt idx="7247">0</cx:pt>
          <cx:pt idx="7248">1</cx:pt>
          <cx:pt idx="7249">0</cx:pt>
          <cx:pt idx="7250">0</cx:pt>
          <cx:pt idx="7251">0</cx:pt>
          <cx:pt idx="7252">0</cx:pt>
          <cx:pt idx="7253">1</cx:pt>
          <cx:pt idx="7254">0</cx:pt>
          <cx:pt idx="7255">0</cx:pt>
          <cx:pt idx="7256">0</cx:pt>
          <cx:pt idx="7257">0</cx:pt>
          <cx:pt idx="7258">0</cx:pt>
          <cx:pt idx="7259">0</cx:pt>
          <cx:pt idx="7260">0</cx:pt>
          <cx:pt idx="7261">0</cx:pt>
          <cx:pt idx="7262">0</cx:pt>
          <cx:pt idx="7263">0</cx:pt>
          <cx:pt idx="7264">0</cx:pt>
          <cx:pt idx="7265">0</cx:pt>
          <cx:pt idx="7266">1</cx:pt>
          <cx:pt idx="7267">0</cx:pt>
          <cx:pt idx="7268">0</cx:pt>
          <cx:pt idx="7269">1</cx:pt>
          <cx:pt idx="7270">0</cx:pt>
          <cx:pt idx="7271">1</cx:pt>
          <cx:pt idx="7272">0</cx:pt>
          <cx:pt idx="7273">1</cx:pt>
          <cx:pt idx="7274">0</cx:pt>
          <cx:pt idx="7275">0</cx:pt>
          <cx:pt idx="7276">0</cx:pt>
          <cx:pt idx="7277">1</cx:pt>
          <cx:pt idx="7278">0</cx:pt>
          <cx:pt idx="7279">0</cx:pt>
          <cx:pt idx="7280">0</cx:pt>
          <cx:pt idx="7281">0</cx:pt>
          <cx:pt idx="7282">0</cx:pt>
          <cx:pt idx="7283">0</cx:pt>
          <cx:pt idx="7284">0</cx:pt>
          <cx:pt idx="7285">0</cx:pt>
          <cx:pt idx="7286">1</cx:pt>
          <cx:pt idx="7287">0</cx:pt>
          <cx:pt idx="7288">0</cx:pt>
          <cx:pt idx="7289">0</cx:pt>
          <cx:pt idx="7290">0</cx:pt>
          <cx:pt idx="7291">0</cx:pt>
          <cx:pt idx="7292">0</cx:pt>
          <cx:pt idx="7293">1</cx:pt>
          <cx:pt idx="7294">0</cx:pt>
          <cx:pt idx="7295">0</cx:pt>
          <cx:pt idx="7296">0</cx:pt>
          <cx:pt idx="7297">0</cx:pt>
          <cx:pt idx="7298">0</cx:pt>
          <cx:pt idx="7299">0</cx:pt>
          <cx:pt idx="7300">0</cx:pt>
          <cx:pt idx="7301">1</cx:pt>
          <cx:pt idx="7302">0</cx:pt>
          <cx:pt idx="7303">0</cx:pt>
          <cx:pt idx="7304">0</cx:pt>
          <cx:pt idx="7305">0</cx:pt>
          <cx:pt idx="7306">1</cx:pt>
          <cx:pt idx="7307">1</cx:pt>
          <cx:pt idx="7308">0</cx:pt>
          <cx:pt idx="7309">0</cx:pt>
          <cx:pt idx="7310">0</cx:pt>
          <cx:pt idx="7311">0</cx:pt>
          <cx:pt idx="7312">1</cx:pt>
          <cx:pt idx="7313">0</cx:pt>
          <cx:pt idx="7314">0</cx:pt>
          <cx:pt idx="7315">0</cx:pt>
          <cx:pt idx="7316">0</cx:pt>
          <cx:pt idx="7317">0</cx:pt>
          <cx:pt idx="7318">1</cx:pt>
          <cx:pt idx="7319">0</cx:pt>
          <cx:pt idx="7320">1</cx:pt>
          <cx:pt idx="7321">1</cx:pt>
          <cx:pt idx="7322">0</cx:pt>
          <cx:pt idx="7323">1</cx:pt>
          <cx:pt idx="7324">1</cx:pt>
          <cx:pt idx="7325">0</cx:pt>
          <cx:pt idx="7326">1</cx:pt>
          <cx:pt idx="7327">1</cx:pt>
          <cx:pt idx="7328">1</cx:pt>
          <cx:pt idx="7329">1</cx:pt>
          <cx:pt idx="7330">1</cx:pt>
          <cx:pt idx="7331">0</cx:pt>
          <cx:pt idx="7332">0</cx:pt>
          <cx:pt idx="7333">0</cx:pt>
          <cx:pt idx="7334">1</cx:pt>
          <cx:pt idx="7335">0</cx:pt>
          <cx:pt idx="7336">1</cx:pt>
          <cx:pt idx="7337">0</cx:pt>
          <cx:pt idx="7338">0</cx:pt>
          <cx:pt idx="7339">0</cx:pt>
          <cx:pt idx="7340">1</cx:pt>
          <cx:pt idx="7341">1</cx:pt>
          <cx:pt idx="7342">0</cx:pt>
          <cx:pt idx="7343">1</cx:pt>
          <cx:pt idx="7344">0</cx:pt>
          <cx:pt idx="7345">0</cx:pt>
          <cx:pt idx="7346">1</cx:pt>
          <cx:pt idx="7347">0</cx:pt>
          <cx:pt idx="7348">0</cx:pt>
          <cx:pt idx="7349">0</cx:pt>
          <cx:pt idx="7350">0</cx:pt>
          <cx:pt idx="7351">1</cx:pt>
          <cx:pt idx="7352">1</cx:pt>
          <cx:pt idx="7353">0</cx:pt>
          <cx:pt idx="7354">0</cx:pt>
          <cx:pt idx="7355">1</cx:pt>
          <cx:pt idx="7356">0</cx:pt>
          <cx:pt idx="7357">0</cx:pt>
          <cx:pt idx="7358">1</cx:pt>
          <cx:pt idx="7359">1</cx:pt>
          <cx:pt idx="7360">1</cx:pt>
          <cx:pt idx="7361">0</cx:pt>
          <cx:pt idx="7362">0</cx:pt>
          <cx:pt idx="7363">0</cx:pt>
          <cx:pt idx="7364">0</cx:pt>
          <cx:pt idx="7365">1</cx:pt>
          <cx:pt idx="7366">0</cx:pt>
          <cx:pt idx="7367">1</cx:pt>
          <cx:pt idx="7368">0</cx:pt>
          <cx:pt idx="7369">1</cx:pt>
          <cx:pt idx="7370">1</cx:pt>
          <cx:pt idx="7371">1</cx:pt>
          <cx:pt idx="7372">1</cx:pt>
          <cx:pt idx="7373">0</cx:pt>
          <cx:pt idx="7374">1</cx:pt>
          <cx:pt idx="7375">0</cx:pt>
          <cx:pt idx="7376">0</cx:pt>
          <cx:pt idx="7377">1</cx:pt>
          <cx:pt idx="7378">1</cx:pt>
          <cx:pt idx="7379">0</cx:pt>
          <cx:pt idx="7380">1</cx:pt>
          <cx:pt idx="7381">1</cx:pt>
          <cx:pt idx="7382">1</cx:pt>
          <cx:pt idx="7383">0</cx:pt>
          <cx:pt idx="7384">1</cx:pt>
          <cx:pt idx="7385">0</cx:pt>
          <cx:pt idx="7386">1</cx:pt>
          <cx:pt idx="7387">0</cx:pt>
          <cx:pt idx="7388">1</cx:pt>
          <cx:pt idx="7389">1</cx:pt>
          <cx:pt idx="7390">1</cx:pt>
          <cx:pt idx="7391">0</cx:pt>
          <cx:pt idx="7392">1</cx:pt>
          <cx:pt idx="7393">1</cx:pt>
          <cx:pt idx="7394">1</cx:pt>
          <cx:pt idx="7395">1</cx:pt>
          <cx:pt idx="7396">0</cx:pt>
          <cx:pt idx="7397">0</cx:pt>
          <cx:pt idx="7398">0</cx:pt>
          <cx:pt idx="7399">0</cx:pt>
          <cx:pt idx="7400">1</cx:pt>
          <cx:pt idx="7401">1</cx:pt>
          <cx:pt idx="7402">0</cx:pt>
          <cx:pt idx="7403">0</cx:pt>
          <cx:pt idx="7404">0</cx:pt>
          <cx:pt idx="7405">0</cx:pt>
          <cx:pt idx="7406">0</cx:pt>
          <cx:pt idx="7407">1</cx:pt>
          <cx:pt idx="7408">0</cx:pt>
          <cx:pt idx="7409">0</cx:pt>
          <cx:pt idx="7410">0</cx:pt>
          <cx:pt idx="7411">1</cx:pt>
          <cx:pt idx="7412">1</cx:pt>
          <cx:pt idx="7413">0</cx:pt>
          <cx:pt idx="7414">0</cx:pt>
          <cx:pt idx="7415">1</cx:pt>
          <cx:pt idx="7416">1</cx:pt>
          <cx:pt idx="7417">1</cx:pt>
          <cx:pt idx="7418">1</cx:pt>
          <cx:pt idx="7419">0</cx:pt>
          <cx:pt idx="7420">0</cx:pt>
          <cx:pt idx="7421">1</cx:pt>
          <cx:pt idx="7422">0</cx:pt>
          <cx:pt idx="7423">0</cx:pt>
          <cx:pt idx="7424">1</cx:pt>
          <cx:pt idx="7425">1</cx:pt>
          <cx:pt idx="7426">1</cx:pt>
          <cx:pt idx="7427">0</cx:pt>
          <cx:pt idx="7428">0</cx:pt>
          <cx:pt idx="7429">0</cx:pt>
          <cx:pt idx="7430">0</cx:pt>
          <cx:pt idx="7431">0</cx:pt>
          <cx:pt idx="7432">0</cx:pt>
          <cx:pt idx="7433">1</cx:pt>
          <cx:pt idx="7434">0</cx:pt>
          <cx:pt idx="7435">1</cx:pt>
          <cx:pt idx="7436">1</cx:pt>
          <cx:pt idx="7437">1</cx:pt>
          <cx:pt idx="7438">0</cx:pt>
          <cx:pt idx="7439">0</cx:pt>
          <cx:pt idx="7440">1</cx:pt>
          <cx:pt idx="7441">1</cx:pt>
          <cx:pt idx="7442">1</cx:pt>
          <cx:pt idx="7443">1</cx:pt>
          <cx:pt idx="7444">0</cx:pt>
          <cx:pt idx="7445">1</cx:pt>
          <cx:pt idx="7446">0</cx:pt>
          <cx:pt idx="7447">0</cx:pt>
          <cx:pt idx="7448">0</cx:pt>
          <cx:pt idx="7449">1</cx:pt>
          <cx:pt idx="7450">0</cx:pt>
          <cx:pt idx="7451">1</cx:pt>
          <cx:pt idx="7452">1</cx:pt>
          <cx:pt idx="7453">0</cx:pt>
          <cx:pt idx="7454">1</cx:pt>
          <cx:pt idx="7455">0</cx:pt>
          <cx:pt idx="7456">0</cx:pt>
          <cx:pt idx="7457">0</cx:pt>
          <cx:pt idx="7458">1</cx:pt>
          <cx:pt idx="7459">0</cx:pt>
          <cx:pt idx="7460">0</cx:pt>
          <cx:pt idx="7461">0</cx:pt>
          <cx:pt idx="7462">1</cx:pt>
          <cx:pt idx="7463">1</cx:pt>
          <cx:pt idx="7464">1</cx:pt>
          <cx:pt idx="7465">1</cx:pt>
          <cx:pt idx="7466">0</cx:pt>
          <cx:pt idx="7467">1</cx:pt>
          <cx:pt idx="7468">0</cx:pt>
          <cx:pt idx="7469">0</cx:pt>
          <cx:pt idx="7470">0</cx:pt>
          <cx:pt idx="7471">0</cx:pt>
          <cx:pt idx="7472">1</cx:pt>
          <cx:pt idx="7473">0</cx:pt>
          <cx:pt idx="7474">0</cx:pt>
          <cx:pt idx="7475">0</cx:pt>
          <cx:pt idx="7476">0</cx:pt>
          <cx:pt idx="7477">0</cx:pt>
          <cx:pt idx="7478">1</cx:pt>
          <cx:pt idx="7479">0</cx:pt>
          <cx:pt idx="7480">0</cx:pt>
          <cx:pt idx="7481">0</cx:pt>
          <cx:pt idx="7482">1</cx:pt>
          <cx:pt idx="7483">1</cx:pt>
          <cx:pt idx="7484">0</cx:pt>
          <cx:pt idx="7485">0</cx:pt>
          <cx:pt idx="7486">0</cx:pt>
          <cx:pt idx="7487">0</cx:pt>
          <cx:pt idx="7488">0</cx:pt>
          <cx:pt idx="7489">0</cx:pt>
          <cx:pt idx="7490">0</cx:pt>
          <cx:pt idx="7491">0</cx:pt>
          <cx:pt idx="7492">0</cx:pt>
          <cx:pt idx="7493">1</cx:pt>
          <cx:pt idx="7494">1</cx:pt>
          <cx:pt idx="7495">1</cx:pt>
          <cx:pt idx="7496">1</cx:pt>
          <cx:pt idx="7497">0</cx:pt>
          <cx:pt idx="7498">0</cx:pt>
          <cx:pt idx="7499">0</cx:pt>
          <cx:pt idx="7500">0</cx:pt>
          <cx:pt idx="7501">0</cx:pt>
          <cx:pt idx="7502">0</cx:pt>
          <cx:pt idx="7503">0</cx:pt>
          <cx:pt idx="7504">1</cx:pt>
          <cx:pt idx="7505">0</cx:pt>
          <cx:pt idx="7506">0</cx:pt>
          <cx:pt idx="7507">0</cx:pt>
          <cx:pt idx="7508">0</cx:pt>
          <cx:pt idx="7509">0</cx:pt>
          <cx:pt idx="7510">1</cx:pt>
          <cx:pt idx="7511">0</cx:pt>
          <cx:pt idx="7512">1</cx:pt>
          <cx:pt idx="7513">0</cx:pt>
          <cx:pt idx="7514">0</cx:pt>
          <cx:pt idx="7515">0</cx:pt>
          <cx:pt idx="7516">1</cx:pt>
          <cx:pt idx="7517">0</cx:pt>
          <cx:pt idx="7518">0</cx:pt>
          <cx:pt idx="7519">1</cx:pt>
          <cx:pt idx="7520">1</cx:pt>
          <cx:pt idx="7521">0</cx:pt>
          <cx:pt idx="7522">1</cx:pt>
          <cx:pt idx="7523">1</cx:pt>
          <cx:pt idx="7524">1</cx:pt>
          <cx:pt idx="7525">0</cx:pt>
          <cx:pt idx="7526">0</cx:pt>
          <cx:pt idx="7527">0</cx:pt>
          <cx:pt idx="7528">0</cx:pt>
          <cx:pt idx="7529">1</cx:pt>
          <cx:pt idx="7530">0</cx:pt>
          <cx:pt idx="7531">0</cx:pt>
          <cx:pt idx="7532">0</cx:pt>
          <cx:pt idx="7533">0</cx:pt>
          <cx:pt idx="7534">0</cx:pt>
          <cx:pt idx="7535">1</cx:pt>
          <cx:pt idx="7536">0</cx:pt>
          <cx:pt idx="7537">0</cx:pt>
          <cx:pt idx="7538">0</cx:pt>
          <cx:pt idx="7539">1</cx:pt>
          <cx:pt idx="7540">0</cx:pt>
          <cx:pt idx="7541">0</cx:pt>
          <cx:pt idx="7542">0</cx:pt>
          <cx:pt idx="7543">1</cx:pt>
          <cx:pt idx="7544">1</cx:pt>
          <cx:pt idx="7545">0</cx:pt>
          <cx:pt idx="7546">1</cx:pt>
          <cx:pt idx="7547">0</cx:pt>
          <cx:pt idx="7548">0</cx:pt>
          <cx:pt idx="7549">1</cx:pt>
          <cx:pt idx="7550">0</cx:pt>
          <cx:pt idx="7551">1</cx:pt>
          <cx:pt idx="7552">1</cx:pt>
          <cx:pt idx="7553">0</cx:pt>
          <cx:pt idx="7554">0</cx:pt>
          <cx:pt idx="7555">1</cx:pt>
          <cx:pt idx="7556">1</cx:pt>
          <cx:pt idx="7557">0</cx:pt>
          <cx:pt idx="7558">0</cx:pt>
          <cx:pt idx="7559">0</cx:pt>
          <cx:pt idx="7560">1</cx:pt>
          <cx:pt idx="7561">0</cx:pt>
          <cx:pt idx="7562">1</cx:pt>
          <cx:pt idx="7563">1</cx:pt>
          <cx:pt idx="7564">0</cx:pt>
          <cx:pt idx="7565">0</cx:pt>
          <cx:pt idx="7566">0</cx:pt>
          <cx:pt idx="7567">0</cx:pt>
          <cx:pt idx="7568">0</cx:pt>
          <cx:pt idx="7569">1</cx:pt>
          <cx:pt idx="7570">1</cx:pt>
          <cx:pt idx="7571">0</cx:pt>
          <cx:pt idx="7572">0</cx:pt>
          <cx:pt idx="7573">0</cx:pt>
          <cx:pt idx="7574">1</cx:pt>
          <cx:pt idx="7575">1</cx:pt>
          <cx:pt idx="7576">0</cx:pt>
          <cx:pt idx="7577">1</cx:pt>
          <cx:pt idx="7578">0</cx:pt>
          <cx:pt idx="7579">1</cx:pt>
          <cx:pt idx="7580">0</cx:pt>
          <cx:pt idx="7581">1</cx:pt>
          <cx:pt idx="7582">1</cx:pt>
          <cx:pt idx="7583">1</cx:pt>
          <cx:pt idx="7584">0</cx:pt>
          <cx:pt idx="7585">0</cx:pt>
          <cx:pt idx="7586">1</cx:pt>
          <cx:pt idx="7587">1</cx:pt>
          <cx:pt idx="7588">1</cx:pt>
          <cx:pt idx="7589">0</cx:pt>
          <cx:pt idx="7590">0</cx:pt>
          <cx:pt idx="7591">1</cx:pt>
          <cx:pt idx="7592">0</cx:pt>
          <cx:pt idx="7593">1</cx:pt>
          <cx:pt idx="7594">0</cx:pt>
          <cx:pt idx="7595">0</cx:pt>
          <cx:pt idx="7596">0</cx:pt>
          <cx:pt idx="7597">1</cx:pt>
          <cx:pt idx="7598">0</cx:pt>
          <cx:pt idx="7599">0</cx:pt>
          <cx:pt idx="7600">0</cx:pt>
          <cx:pt idx="7601">0</cx:pt>
          <cx:pt idx="7602">1</cx:pt>
          <cx:pt idx="7603">0</cx:pt>
          <cx:pt idx="7604">1</cx:pt>
          <cx:pt idx="7605">0</cx:pt>
          <cx:pt idx="7606">0</cx:pt>
          <cx:pt idx="7607">0</cx:pt>
          <cx:pt idx="7608">1</cx:pt>
          <cx:pt idx="7609">0</cx:pt>
          <cx:pt idx="7610">1</cx:pt>
          <cx:pt idx="7611">0</cx:pt>
          <cx:pt idx="7612">0</cx:pt>
          <cx:pt idx="7613">0</cx:pt>
          <cx:pt idx="7614">0</cx:pt>
          <cx:pt idx="7615">0</cx:pt>
          <cx:pt idx="7616">1</cx:pt>
          <cx:pt idx="7617">0</cx:pt>
          <cx:pt idx="7618">0</cx:pt>
          <cx:pt idx="7619">0</cx:pt>
          <cx:pt idx="7620">0</cx:pt>
          <cx:pt idx="7621">1</cx:pt>
          <cx:pt idx="7622">1</cx:pt>
          <cx:pt idx="7623">0</cx:pt>
          <cx:pt idx="7624">0</cx:pt>
          <cx:pt idx="7625">0</cx:pt>
          <cx:pt idx="7626">1</cx:pt>
          <cx:pt idx="7627">0</cx:pt>
          <cx:pt idx="7628">1</cx:pt>
          <cx:pt idx="7629">0</cx:pt>
          <cx:pt idx="7630">1</cx:pt>
          <cx:pt idx="7631">0</cx:pt>
          <cx:pt idx="7632">1</cx:pt>
          <cx:pt idx="7633">1</cx:pt>
          <cx:pt idx="7634">0</cx:pt>
          <cx:pt idx="7635">0</cx:pt>
          <cx:pt idx="7636">0</cx:pt>
          <cx:pt idx="7637">0</cx:pt>
          <cx:pt idx="7638">0</cx:pt>
          <cx:pt idx="7639">1</cx:pt>
          <cx:pt idx="7640">1</cx:pt>
          <cx:pt idx="7641">0</cx:pt>
          <cx:pt idx="7642">1</cx:pt>
          <cx:pt idx="7643">0</cx:pt>
          <cx:pt idx="7644">1</cx:pt>
          <cx:pt idx="7645">1</cx:pt>
          <cx:pt idx="7646">1</cx:pt>
          <cx:pt idx="7647">0</cx:pt>
          <cx:pt idx="7648">0</cx:pt>
          <cx:pt idx="7649">1</cx:pt>
          <cx:pt idx="7650">0</cx:pt>
          <cx:pt idx="7651">1</cx:pt>
          <cx:pt idx="7652">0</cx:pt>
          <cx:pt idx="7653">0</cx:pt>
          <cx:pt idx="7654">0</cx:pt>
          <cx:pt idx="7655">0</cx:pt>
          <cx:pt idx="7656">0</cx:pt>
          <cx:pt idx="7657">0</cx:pt>
          <cx:pt idx="7658">0</cx:pt>
          <cx:pt idx="7659">1</cx:pt>
          <cx:pt idx="7660">1</cx:pt>
          <cx:pt idx="7661">1</cx:pt>
          <cx:pt idx="7662">0</cx:pt>
          <cx:pt idx="7663">0</cx:pt>
          <cx:pt idx="7664">0</cx:pt>
          <cx:pt idx="7665">1</cx:pt>
          <cx:pt idx="7666">0</cx:pt>
          <cx:pt idx="7667">0</cx:pt>
          <cx:pt idx="7668">1</cx:pt>
          <cx:pt idx="7669">1</cx:pt>
          <cx:pt idx="7670">1</cx:pt>
          <cx:pt idx="7671">0</cx:pt>
          <cx:pt idx="7672">0</cx:pt>
          <cx:pt idx="7673">0</cx:pt>
          <cx:pt idx="7674">0</cx:pt>
          <cx:pt idx="7675">1</cx:pt>
          <cx:pt idx="7676">0</cx:pt>
          <cx:pt idx="7677">1</cx:pt>
          <cx:pt idx="7678">1</cx:pt>
          <cx:pt idx="7679">0</cx:pt>
          <cx:pt idx="7680">1</cx:pt>
          <cx:pt idx="7681">0</cx:pt>
          <cx:pt idx="7682">1</cx:pt>
          <cx:pt idx="7683">1</cx:pt>
          <cx:pt idx="7684">1</cx:pt>
          <cx:pt idx="7685">1</cx:pt>
          <cx:pt idx="7686">0</cx:pt>
          <cx:pt idx="7687">0</cx:pt>
          <cx:pt idx="7688">1</cx:pt>
          <cx:pt idx="7689">0</cx:pt>
          <cx:pt idx="7690">1</cx:pt>
          <cx:pt idx="7691">0</cx:pt>
          <cx:pt idx="7692">0</cx:pt>
          <cx:pt idx="7693">0</cx:pt>
          <cx:pt idx="7694">0</cx:pt>
          <cx:pt idx="7695">1</cx:pt>
          <cx:pt idx="7696">1</cx:pt>
          <cx:pt idx="7697">1</cx:pt>
          <cx:pt idx="7698">1</cx:pt>
          <cx:pt idx="7699">1</cx:pt>
          <cx:pt idx="7700">0</cx:pt>
          <cx:pt idx="7701">0</cx:pt>
          <cx:pt idx="7702">0</cx:pt>
          <cx:pt idx="7703">0</cx:pt>
          <cx:pt idx="7704">1</cx:pt>
          <cx:pt idx="7705">1</cx:pt>
          <cx:pt idx="7706">0</cx:pt>
          <cx:pt idx="7707">0</cx:pt>
          <cx:pt idx="7708">0</cx:pt>
          <cx:pt idx="7709">1</cx:pt>
          <cx:pt idx="7710">0</cx:pt>
          <cx:pt idx="7711">0</cx:pt>
          <cx:pt idx="7712">1</cx:pt>
          <cx:pt idx="7713">0</cx:pt>
          <cx:pt idx="7714">1</cx:pt>
          <cx:pt idx="7715">0</cx:pt>
          <cx:pt idx="7716">0</cx:pt>
          <cx:pt idx="7717">0</cx:pt>
          <cx:pt idx="7718">0</cx:pt>
          <cx:pt idx="7719">1</cx:pt>
          <cx:pt idx="7720">1</cx:pt>
          <cx:pt idx="7721">1</cx:pt>
          <cx:pt idx="7722">0</cx:pt>
          <cx:pt idx="7723">1</cx:pt>
          <cx:pt idx="7724">0</cx:pt>
          <cx:pt idx="7725">1</cx:pt>
          <cx:pt idx="7726">1</cx:pt>
          <cx:pt idx="7727">0</cx:pt>
          <cx:pt idx="7728">1</cx:pt>
          <cx:pt idx="7729">0</cx:pt>
          <cx:pt idx="7730">1</cx:pt>
          <cx:pt idx="7731">0</cx:pt>
          <cx:pt idx="7732">1</cx:pt>
          <cx:pt idx="7733">1</cx:pt>
          <cx:pt idx="7734">0</cx:pt>
          <cx:pt idx="7735">0</cx:pt>
          <cx:pt idx="7736">0</cx:pt>
          <cx:pt idx="7737">1</cx:pt>
          <cx:pt idx="7738">0</cx:pt>
          <cx:pt idx="7739">0</cx:pt>
          <cx:pt idx="7740">0</cx:pt>
          <cx:pt idx="7741">1</cx:pt>
          <cx:pt idx="7742">0</cx:pt>
          <cx:pt idx="7743">0</cx:pt>
          <cx:pt idx="7744">1</cx:pt>
          <cx:pt idx="7745">1</cx:pt>
          <cx:pt idx="7746">0</cx:pt>
          <cx:pt idx="7747">1</cx:pt>
          <cx:pt idx="7748">1</cx:pt>
          <cx:pt idx="7749">1</cx:pt>
          <cx:pt idx="7750">1</cx:pt>
          <cx:pt idx="7751">0</cx:pt>
          <cx:pt idx="7752">1</cx:pt>
          <cx:pt idx="7753">0</cx:pt>
          <cx:pt idx="7754">0</cx:pt>
          <cx:pt idx="7755">0</cx:pt>
          <cx:pt idx="7756">1</cx:pt>
          <cx:pt idx="7757">1</cx:pt>
          <cx:pt idx="7758">0</cx:pt>
          <cx:pt idx="7759">0</cx:pt>
          <cx:pt idx="7760">1</cx:pt>
          <cx:pt idx="7761">1</cx:pt>
          <cx:pt idx="7762">0</cx:pt>
          <cx:pt idx="7763">1</cx:pt>
          <cx:pt idx="7764">1</cx:pt>
          <cx:pt idx="7765">0</cx:pt>
          <cx:pt idx="7766">1</cx:pt>
          <cx:pt idx="7767">1</cx:pt>
          <cx:pt idx="7768">0</cx:pt>
          <cx:pt idx="7769">0</cx:pt>
          <cx:pt idx="7770">0</cx:pt>
          <cx:pt idx="7771">0</cx:pt>
          <cx:pt idx="7772">0</cx:pt>
          <cx:pt idx="7773">0</cx:pt>
          <cx:pt idx="7774">0</cx:pt>
          <cx:pt idx="7775">0</cx:pt>
          <cx:pt idx="7776">0</cx:pt>
          <cx:pt idx="7777">1</cx:pt>
          <cx:pt idx="7778">1</cx:pt>
          <cx:pt idx="7779">1</cx:pt>
          <cx:pt idx="7780">1</cx:pt>
          <cx:pt idx="7781">0</cx:pt>
          <cx:pt idx="7782">0</cx:pt>
          <cx:pt idx="7783">1</cx:pt>
          <cx:pt idx="7784">1</cx:pt>
          <cx:pt idx="7785">1</cx:pt>
          <cx:pt idx="7786">1</cx:pt>
          <cx:pt idx="7787">1</cx:pt>
          <cx:pt idx="7788">0</cx:pt>
          <cx:pt idx="7789">0</cx:pt>
          <cx:pt idx="7790">0</cx:pt>
          <cx:pt idx="7791">0</cx:pt>
          <cx:pt idx="7792">1</cx:pt>
          <cx:pt idx="7793">0</cx:pt>
          <cx:pt idx="7794">0</cx:pt>
          <cx:pt idx="7795">1</cx:pt>
          <cx:pt idx="7796">1</cx:pt>
          <cx:pt idx="7797">0</cx:pt>
          <cx:pt idx="7798">1</cx:pt>
          <cx:pt idx="7799">0</cx:pt>
          <cx:pt idx="7800">1</cx:pt>
          <cx:pt idx="7801">1</cx:pt>
          <cx:pt idx="7802">0</cx:pt>
          <cx:pt idx="7803">0</cx:pt>
          <cx:pt idx="7804">0</cx:pt>
          <cx:pt idx="7805">0</cx:pt>
          <cx:pt idx="7806">1</cx:pt>
          <cx:pt idx="7807">0</cx:pt>
          <cx:pt idx="7808">1</cx:pt>
          <cx:pt idx="7809">0</cx:pt>
          <cx:pt idx="7810">1</cx:pt>
          <cx:pt idx="7811">1</cx:pt>
          <cx:pt idx="7812">0</cx:pt>
          <cx:pt idx="7813">0</cx:pt>
          <cx:pt idx="7814">0</cx:pt>
          <cx:pt idx="7815">0</cx:pt>
          <cx:pt idx="7816">0</cx:pt>
          <cx:pt idx="7817">1</cx:pt>
          <cx:pt idx="7818">0</cx:pt>
          <cx:pt idx="7819">0</cx:pt>
          <cx:pt idx="7820">1</cx:pt>
          <cx:pt idx="7821">0</cx:pt>
          <cx:pt idx="7822">1</cx:pt>
          <cx:pt idx="7823">1</cx:pt>
          <cx:pt idx="7824">1</cx:pt>
          <cx:pt idx="7825">0</cx:pt>
          <cx:pt idx="7826">0</cx:pt>
          <cx:pt idx="7827">0</cx:pt>
          <cx:pt idx="7828">0</cx:pt>
          <cx:pt idx="7829">0</cx:pt>
          <cx:pt idx="7830">0</cx:pt>
          <cx:pt idx="7831">0</cx:pt>
          <cx:pt idx="7832">0</cx:pt>
          <cx:pt idx="7833">1</cx:pt>
          <cx:pt idx="7834">0</cx:pt>
          <cx:pt idx="7835">1</cx:pt>
          <cx:pt idx="7836">0</cx:pt>
          <cx:pt idx="7837">1</cx:pt>
          <cx:pt idx="7838">1</cx:pt>
          <cx:pt idx="7839">1</cx:pt>
          <cx:pt idx="7840">1</cx:pt>
          <cx:pt idx="7841">0</cx:pt>
          <cx:pt idx="7842">1</cx:pt>
          <cx:pt idx="7843">0</cx:pt>
          <cx:pt idx="7844">0</cx:pt>
          <cx:pt idx="7845">0</cx:pt>
          <cx:pt idx="7846">1</cx:pt>
          <cx:pt idx="7847">0</cx:pt>
          <cx:pt idx="7848">0</cx:pt>
          <cx:pt idx="7849">0</cx:pt>
          <cx:pt idx="7850">0</cx:pt>
          <cx:pt idx="7851">0</cx:pt>
          <cx:pt idx="7852">0</cx:pt>
          <cx:pt idx="7853">1</cx:pt>
          <cx:pt idx="7854">1</cx:pt>
          <cx:pt idx="7855">0</cx:pt>
          <cx:pt idx="7856">0</cx:pt>
          <cx:pt idx="7857">1</cx:pt>
          <cx:pt idx="7858">0</cx:pt>
          <cx:pt idx="7859">0</cx:pt>
          <cx:pt idx="7860">1</cx:pt>
          <cx:pt idx="7861">0</cx:pt>
          <cx:pt idx="7862">0</cx:pt>
          <cx:pt idx="7863">1</cx:pt>
          <cx:pt idx="7864">1</cx:pt>
          <cx:pt idx="7865">0</cx:pt>
          <cx:pt idx="7866">1</cx:pt>
          <cx:pt idx="7867">0</cx:pt>
          <cx:pt idx="7868">0</cx:pt>
          <cx:pt idx="7869">0</cx:pt>
          <cx:pt idx="7870">0</cx:pt>
          <cx:pt idx="7871">0</cx:pt>
          <cx:pt idx="7872">0</cx:pt>
          <cx:pt idx="7873">1</cx:pt>
          <cx:pt idx="7874">0</cx:pt>
          <cx:pt idx="7875">0</cx:pt>
          <cx:pt idx="7876">1</cx:pt>
          <cx:pt idx="7877">0</cx:pt>
          <cx:pt idx="7878">0</cx:pt>
          <cx:pt idx="7879">0</cx:pt>
          <cx:pt idx="7880">0</cx:pt>
          <cx:pt idx="7881">0</cx:pt>
          <cx:pt idx="7882">0</cx:pt>
          <cx:pt idx="7883">1</cx:pt>
          <cx:pt idx="7884">1</cx:pt>
          <cx:pt idx="7885">0</cx:pt>
          <cx:pt idx="7886">1</cx:pt>
          <cx:pt idx="7887">0</cx:pt>
          <cx:pt idx="7888">0</cx:pt>
          <cx:pt idx="7889">1</cx:pt>
          <cx:pt idx="7890">0</cx:pt>
          <cx:pt idx="7891">0</cx:pt>
          <cx:pt idx="7892">1</cx:pt>
          <cx:pt idx="7893">0</cx:pt>
          <cx:pt idx="7894">0</cx:pt>
          <cx:pt idx="7895">0</cx:pt>
          <cx:pt idx="7896">0</cx:pt>
          <cx:pt idx="7897">0</cx:pt>
          <cx:pt idx="7898">0</cx:pt>
          <cx:pt idx="7899">0</cx:pt>
          <cx:pt idx="7900">0</cx:pt>
          <cx:pt idx="7901">0</cx:pt>
          <cx:pt idx="7902">0</cx:pt>
          <cx:pt idx="7903">1</cx:pt>
          <cx:pt idx="7904">0</cx:pt>
          <cx:pt idx="7905">1</cx:pt>
          <cx:pt idx="7906">0</cx:pt>
          <cx:pt idx="7907">0</cx:pt>
          <cx:pt idx="7908">1</cx:pt>
          <cx:pt idx="7909">1</cx:pt>
          <cx:pt idx="7910">1</cx:pt>
          <cx:pt idx="7911">1</cx:pt>
          <cx:pt idx="7912">0</cx:pt>
          <cx:pt idx="7913">1</cx:pt>
          <cx:pt idx="7914">0</cx:pt>
          <cx:pt idx="7915">0</cx:pt>
          <cx:pt idx="7916">1</cx:pt>
          <cx:pt idx="7917">1</cx:pt>
          <cx:pt idx="7918">0</cx:pt>
          <cx:pt idx="7919">0</cx:pt>
          <cx:pt idx="7920">0</cx:pt>
          <cx:pt idx="7921">0</cx:pt>
          <cx:pt idx="7922">0</cx:pt>
          <cx:pt idx="7923">0</cx:pt>
          <cx:pt idx="7924">1</cx:pt>
          <cx:pt idx="7925">1</cx:pt>
          <cx:pt idx="7926">1</cx:pt>
          <cx:pt idx="7927">0</cx:pt>
          <cx:pt idx="7928">1</cx:pt>
          <cx:pt idx="7929">1</cx:pt>
          <cx:pt idx="7930">1</cx:pt>
          <cx:pt idx="7931">0</cx:pt>
          <cx:pt idx="7932">1</cx:pt>
          <cx:pt idx="7933">0</cx:pt>
          <cx:pt idx="7934">0</cx:pt>
          <cx:pt idx="7935">1</cx:pt>
          <cx:pt idx="7936">1</cx:pt>
          <cx:pt idx="7937">1</cx:pt>
          <cx:pt idx="7938">1</cx:pt>
          <cx:pt idx="7939">1</cx:pt>
          <cx:pt idx="7940">0</cx:pt>
          <cx:pt idx="7941">1</cx:pt>
          <cx:pt idx="7942">1</cx:pt>
          <cx:pt idx="7943">0</cx:pt>
          <cx:pt idx="7944">0</cx:pt>
          <cx:pt idx="7945">1</cx:pt>
          <cx:pt idx="7946">1</cx:pt>
          <cx:pt idx="7947">0</cx:pt>
          <cx:pt idx="7948">1</cx:pt>
          <cx:pt idx="7949">0</cx:pt>
          <cx:pt idx="7950">1</cx:pt>
          <cx:pt idx="7951">0</cx:pt>
          <cx:pt idx="7952">0</cx:pt>
          <cx:pt idx="7953">0</cx:pt>
          <cx:pt idx="7954">0</cx:pt>
          <cx:pt idx="7955">0</cx:pt>
          <cx:pt idx="7956">1</cx:pt>
          <cx:pt idx="7957">1</cx:pt>
          <cx:pt idx="7958">1</cx:pt>
          <cx:pt idx="7959">1</cx:pt>
          <cx:pt idx="7960">1</cx:pt>
          <cx:pt idx="7961">0</cx:pt>
          <cx:pt idx="7962">0</cx:pt>
          <cx:pt idx="7963">1</cx:pt>
          <cx:pt idx="7964">0</cx:pt>
          <cx:pt idx="7965">0</cx:pt>
          <cx:pt idx="7966">0</cx:pt>
          <cx:pt idx="7967">0</cx:pt>
          <cx:pt idx="7968">0</cx:pt>
          <cx:pt idx="7969">1</cx:pt>
          <cx:pt idx="7970">1</cx:pt>
          <cx:pt idx="7971">0</cx:pt>
          <cx:pt idx="7972">0</cx:pt>
          <cx:pt idx="7973">0</cx:pt>
          <cx:pt idx="7974">0</cx:pt>
          <cx:pt idx="7975">1</cx:pt>
          <cx:pt idx="7976">0</cx:pt>
          <cx:pt idx="7977">1</cx:pt>
          <cx:pt idx="7978">0</cx:pt>
          <cx:pt idx="7979">0</cx:pt>
          <cx:pt idx="7980">1</cx:pt>
          <cx:pt idx="7981">0</cx:pt>
          <cx:pt idx="7982">0</cx:pt>
          <cx:pt idx="7983">0</cx:pt>
          <cx:pt idx="7984">0</cx:pt>
          <cx:pt idx="7985">0</cx:pt>
          <cx:pt idx="7986">0</cx:pt>
          <cx:pt idx="7987">0</cx:pt>
          <cx:pt idx="7988">1</cx:pt>
          <cx:pt idx="7989">1</cx:pt>
          <cx:pt idx="7990">0</cx:pt>
          <cx:pt idx="7991">0</cx:pt>
          <cx:pt idx="7992">0</cx:pt>
          <cx:pt idx="7993">1</cx:pt>
          <cx:pt idx="7994">0</cx:pt>
          <cx:pt idx="7995">1</cx:pt>
          <cx:pt idx="7996">1</cx:pt>
          <cx:pt idx="7997">1</cx:pt>
          <cx:pt idx="7998">1</cx:pt>
          <cx:pt idx="7999">0</cx:pt>
          <cx:pt idx="8000">1</cx:pt>
          <cx:pt idx="8001">0</cx:pt>
          <cx:pt idx="8002">0</cx:pt>
          <cx:pt idx="8003">0</cx:pt>
          <cx:pt idx="8004">0</cx:pt>
          <cx:pt idx="8005">0</cx:pt>
          <cx:pt idx="8006">0</cx:pt>
          <cx:pt idx="8007">0</cx:pt>
          <cx:pt idx="8008">1</cx:pt>
          <cx:pt idx="8009">0</cx:pt>
          <cx:pt idx="8010">0</cx:pt>
          <cx:pt idx="8011">1</cx:pt>
          <cx:pt idx="8012">0</cx:pt>
          <cx:pt idx="8013">0</cx:pt>
          <cx:pt idx="8014">1</cx:pt>
          <cx:pt idx="8015">0</cx:pt>
          <cx:pt idx="8016">0</cx:pt>
          <cx:pt idx="8017">0</cx:pt>
          <cx:pt idx="8018">1</cx:pt>
          <cx:pt idx="8019">0</cx:pt>
          <cx:pt idx="8020">0</cx:pt>
          <cx:pt idx="8021">0</cx:pt>
          <cx:pt idx="8022">0</cx:pt>
          <cx:pt idx="8023">0</cx:pt>
          <cx:pt idx="8024">0</cx:pt>
          <cx:pt idx="8025">1</cx:pt>
          <cx:pt idx="8026">0</cx:pt>
          <cx:pt idx="8027">0</cx:pt>
          <cx:pt idx="8028">1</cx:pt>
          <cx:pt idx="8029">1</cx:pt>
          <cx:pt idx="8030">0</cx:pt>
          <cx:pt idx="8031">0</cx:pt>
          <cx:pt idx="8032">0</cx:pt>
          <cx:pt idx="8033">0</cx:pt>
          <cx:pt idx="8034">1</cx:pt>
          <cx:pt idx="8035">1</cx:pt>
          <cx:pt idx="8036">0</cx:pt>
          <cx:pt idx="8037">1</cx:pt>
          <cx:pt idx="8038">0</cx:pt>
          <cx:pt idx="8039">0</cx:pt>
          <cx:pt idx="8040">0</cx:pt>
          <cx:pt idx="8041">0</cx:pt>
          <cx:pt idx="8042">1</cx:pt>
          <cx:pt idx="8043">0</cx:pt>
          <cx:pt idx="8044">1</cx:pt>
          <cx:pt idx="8045">0</cx:pt>
          <cx:pt idx="8046">0</cx:pt>
          <cx:pt idx="8047">1</cx:pt>
          <cx:pt idx="8048">0</cx:pt>
          <cx:pt idx="8049">1</cx:pt>
          <cx:pt idx="8050">1</cx:pt>
          <cx:pt idx="8051">1</cx:pt>
          <cx:pt idx="8052">1</cx:pt>
          <cx:pt idx="8053">1</cx:pt>
          <cx:pt idx="8054">0</cx:pt>
          <cx:pt idx="8055">1</cx:pt>
          <cx:pt idx="8056">0</cx:pt>
          <cx:pt idx="8057">0</cx:pt>
          <cx:pt idx="8058">1</cx:pt>
          <cx:pt idx="8059">0</cx:pt>
          <cx:pt idx="8060">0</cx:pt>
          <cx:pt idx="8061">1</cx:pt>
          <cx:pt idx="8062">1</cx:pt>
          <cx:pt idx="8063">0</cx:pt>
          <cx:pt idx="8064">0</cx:pt>
          <cx:pt idx="8065">0</cx:pt>
          <cx:pt idx="8066">1</cx:pt>
          <cx:pt idx="8067">0</cx:pt>
          <cx:pt idx="8068">1</cx:pt>
          <cx:pt idx="8069">1</cx:pt>
          <cx:pt idx="8070">1</cx:pt>
          <cx:pt idx="8071">0</cx:pt>
          <cx:pt idx="8072">1</cx:pt>
          <cx:pt idx="8073">1</cx:pt>
          <cx:pt idx="8074">0</cx:pt>
          <cx:pt idx="8075">0</cx:pt>
          <cx:pt idx="8076">1</cx:pt>
          <cx:pt idx="8077">0</cx:pt>
          <cx:pt idx="8078">0</cx:pt>
          <cx:pt idx="8079">0</cx:pt>
          <cx:pt idx="8080">0</cx:pt>
          <cx:pt idx="8081">0</cx:pt>
          <cx:pt idx="8082">0</cx:pt>
          <cx:pt idx="8083">1</cx:pt>
          <cx:pt idx="8084">1</cx:pt>
          <cx:pt idx="8085">0</cx:pt>
          <cx:pt idx="8086">0</cx:pt>
          <cx:pt idx="8087">0</cx:pt>
          <cx:pt idx="8088">1</cx:pt>
          <cx:pt idx="8089">0</cx:pt>
          <cx:pt idx="8090">0</cx:pt>
          <cx:pt idx="8091">1</cx:pt>
          <cx:pt idx="8092">0</cx:pt>
          <cx:pt idx="8093">0</cx:pt>
          <cx:pt idx="8094">0</cx:pt>
          <cx:pt idx="8095">0</cx:pt>
          <cx:pt idx="8096">1</cx:pt>
          <cx:pt idx="8097">0</cx:pt>
          <cx:pt idx="8098">1</cx:pt>
          <cx:pt idx="8099">1</cx:pt>
          <cx:pt idx="8100">0</cx:pt>
          <cx:pt idx="8101">0</cx:pt>
          <cx:pt idx="8102">0</cx:pt>
          <cx:pt idx="8103">1</cx:pt>
          <cx:pt idx="8104">1</cx:pt>
          <cx:pt idx="8105">1</cx:pt>
          <cx:pt idx="8106">0</cx:pt>
          <cx:pt idx="8107">1</cx:pt>
          <cx:pt idx="8108">0</cx:pt>
          <cx:pt idx="8109">1</cx:pt>
          <cx:pt idx="8110">0</cx:pt>
          <cx:pt idx="8111">1</cx:pt>
          <cx:pt idx="8112">1</cx:pt>
          <cx:pt idx="8113">0</cx:pt>
          <cx:pt idx="8114">0</cx:pt>
          <cx:pt idx="8115">0</cx:pt>
          <cx:pt idx="8116">1</cx:pt>
          <cx:pt idx="8117">0</cx:pt>
          <cx:pt idx="8118">1</cx:pt>
          <cx:pt idx="8119">1</cx:pt>
          <cx:pt idx="8120">0</cx:pt>
          <cx:pt idx="8121">0</cx:pt>
          <cx:pt idx="8122">1</cx:pt>
          <cx:pt idx="8123">0</cx:pt>
          <cx:pt idx="8124">0</cx:pt>
          <cx:pt idx="8125">1</cx:pt>
          <cx:pt idx="8126">0</cx:pt>
          <cx:pt idx="8127">0</cx:pt>
          <cx:pt idx="8128">1</cx:pt>
          <cx:pt idx="8129">0</cx:pt>
          <cx:pt idx="8130">0</cx:pt>
          <cx:pt idx="8131">0</cx:pt>
          <cx:pt idx="8132">1</cx:pt>
          <cx:pt idx="8133">1</cx:pt>
          <cx:pt idx="8134">1</cx:pt>
          <cx:pt idx="8135">1</cx:pt>
          <cx:pt idx="8136">0</cx:pt>
          <cx:pt idx="8137">0</cx:pt>
          <cx:pt idx="8138">1</cx:pt>
          <cx:pt idx="8139">1</cx:pt>
          <cx:pt idx="8140">0</cx:pt>
          <cx:pt idx="8141">1</cx:pt>
          <cx:pt idx="8142">0</cx:pt>
          <cx:pt idx="8143">0</cx:pt>
          <cx:pt idx="8144">1</cx:pt>
          <cx:pt idx="8145">1</cx:pt>
          <cx:pt idx="8146">1</cx:pt>
          <cx:pt idx="8147">1</cx:pt>
          <cx:pt idx="8148">1</cx:pt>
          <cx:pt idx="8149">1</cx:pt>
          <cx:pt idx="8150">0</cx:pt>
          <cx:pt idx="8151">0</cx:pt>
          <cx:pt idx="8152">1</cx:pt>
          <cx:pt idx="8153">0</cx:pt>
          <cx:pt idx="8154">0</cx:pt>
          <cx:pt idx="8155">1</cx:pt>
          <cx:pt idx="8156">1</cx:pt>
          <cx:pt idx="8157">1</cx:pt>
          <cx:pt idx="8158">0</cx:pt>
          <cx:pt idx="8159">0</cx:pt>
          <cx:pt idx="8160">1</cx:pt>
          <cx:pt idx="8161">0</cx:pt>
          <cx:pt idx="8162">1</cx:pt>
          <cx:pt idx="8163">0</cx:pt>
          <cx:pt idx="8164">1</cx:pt>
          <cx:pt idx="8165">1</cx:pt>
          <cx:pt idx="8166">1</cx:pt>
          <cx:pt idx="8167">0</cx:pt>
          <cx:pt idx="8168">0</cx:pt>
          <cx:pt idx="8169">0</cx:pt>
          <cx:pt idx="8170">1</cx:pt>
          <cx:pt idx="8171">0</cx:pt>
          <cx:pt idx="8172">0</cx:pt>
          <cx:pt idx="8173">0</cx:pt>
          <cx:pt idx="8174">0</cx:pt>
          <cx:pt idx="8175">1</cx:pt>
          <cx:pt idx="8176">1</cx:pt>
          <cx:pt idx="8177">1</cx:pt>
          <cx:pt idx="8178">0</cx:pt>
          <cx:pt idx="8179">0</cx:pt>
          <cx:pt idx="8180">0</cx:pt>
          <cx:pt idx="8181">0</cx:pt>
          <cx:pt idx="8182">1</cx:pt>
          <cx:pt idx="8183">0</cx:pt>
          <cx:pt idx="8184">0</cx:pt>
          <cx:pt idx="8185">0</cx:pt>
          <cx:pt idx="8186">0</cx:pt>
          <cx:pt idx="8187">0</cx:pt>
          <cx:pt idx="8188">1</cx:pt>
          <cx:pt idx="8189">0</cx:pt>
          <cx:pt idx="8190">0</cx:pt>
          <cx:pt idx="8191">1</cx:pt>
          <cx:pt idx="8192">0</cx:pt>
          <cx:pt idx="8193">1</cx:pt>
          <cx:pt idx="8194">0</cx:pt>
          <cx:pt idx="8195">1</cx:pt>
          <cx:pt idx="8196">0</cx:pt>
          <cx:pt idx="8197">1</cx:pt>
          <cx:pt idx="8198">1</cx:pt>
          <cx:pt idx="8199">1</cx:pt>
          <cx:pt idx="8200">1</cx:pt>
          <cx:pt idx="8201">1</cx:pt>
          <cx:pt idx="8202">0</cx:pt>
          <cx:pt idx="8203">1</cx:pt>
          <cx:pt idx="8204">0</cx:pt>
          <cx:pt idx="8205">0</cx:pt>
          <cx:pt idx="8206">1</cx:pt>
          <cx:pt idx="8207">0</cx:pt>
          <cx:pt idx="8208">1</cx:pt>
          <cx:pt idx="8209">0</cx:pt>
          <cx:pt idx="8210">0</cx:pt>
          <cx:pt idx="8211">0</cx:pt>
          <cx:pt idx="8212">1</cx:pt>
          <cx:pt idx="8213">0</cx:pt>
          <cx:pt idx="8214">0</cx:pt>
          <cx:pt idx="8215">0</cx:pt>
          <cx:pt idx="8216">1</cx:pt>
          <cx:pt idx="8217">0</cx:pt>
          <cx:pt idx="8218">0</cx:pt>
          <cx:pt idx="8219">1</cx:pt>
          <cx:pt idx="8220">1</cx:pt>
          <cx:pt idx="8221">1</cx:pt>
          <cx:pt idx="8222">1</cx:pt>
          <cx:pt idx="8223">0</cx:pt>
          <cx:pt idx="8224">1</cx:pt>
          <cx:pt idx="8225">0</cx:pt>
          <cx:pt idx="8226">1</cx:pt>
          <cx:pt idx="8227">0</cx:pt>
          <cx:pt idx="8228">1</cx:pt>
          <cx:pt idx="8229">0</cx:pt>
          <cx:pt idx="8230">0</cx:pt>
          <cx:pt idx="8231">0</cx:pt>
          <cx:pt idx="8232">0</cx:pt>
          <cx:pt idx="8233">1</cx:pt>
          <cx:pt idx="8234">1</cx:pt>
          <cx:pt idx="8235">0</cx:pt>
          <cx:pt idx="8236">0</cx:pt>
          <cx:pt idx="8237">1</cx:pt>
          <cx:pt idx="8238">0</cx:pt>
          <cx:pt idx="8239">0</cx:pt>
          <cx:pt idx="8240">1</cx:pt>
          <cx:pt idx="8241">1</cx:pt>
          <cx:pt idx="8242">1</cx:pt>
          <cx:pt idx="8243">1</cx:pt>
          <cx:pt idx="8244">0</cx:pt>
          <cx:pt idx="8245">1</cx:pt>
          <cx:pt idx="8246">1</cx:pt>
          <cx:pt idx="8247">1</cx:pt>
          <cx:pt idx="8248">0</cx:pt>
          <cx:pt idx="8249">0</cx:pt>
          <cx:pt idx="8250">0</cx:pt>
          <cx:pt idx="8251">0</cx:pt>
          <cx:pt idx="8252">1</cx:pt>
          <cx:pt idx="8253">0</cx:pt>
          <cx:pt idx="8254">0</cx:pt>
          <cx:pt idx="8255">1</cx:pt>
          <cx:pt idx="8256">1</cx:pt>
          <cx:pt idx="8257">1</cx:pt>
          <cx:pt idx="8258">0</cx:pt>
          <cx:pt idx="8259">1</cx:pt>
          <cx:pt idx="8260">1</cx:pt>
          <cx:pt idx="8261">1</cx:pt>
          <cx:pt idx="8262">0</cx:pt>
          <cx:pt idx="8263">1</cx:pt>
          <cx:pt idx="8264">1</cx:pt>
          <cx:pt idx="8265">0</cx:pt>
          <cx:pt idx="8266">1</cx:pt>
          <cx:pt idx="8267">0</cx:pt>
          <cx:pt idx="8268">1</cx:pt>
          <cx:pt idx="8269">1</cx:pt>
          <cx:pt idx="8270">0</cx:pt>
          <cx:pt idx="8271">1</cx:pt>
          <cx:pt idx="8272">1</cx:pt>
          <cx:pt idx="8273">0</cx:pt>
          <cx:pt idx="8274">0</cx:pt>
          <cx:pt idx="8275">0</cx:pt>
          <cx:pt idx="8276">1</cx:pt>
          <cx:pt idx="8277">1</cx:pt>
          <cx:pt idx="8278">0</cx:pt>
          <cx:pt idx="8279">1</cx:pt>
          <cx:pt idx="8280">0</cx:pt>
          <cx:pt idx="8281">1</cx:pt>
          <cx:pt idx="8282">0</cx:pt>
          <cx:pt idx="8283">0</cx:pt>
          <cx:pt idx="8284">1</cx:pt>
          <cx:pt idx="8285">0</cx:pt>
          <cx:pt idx="8286">0</cx:pt>
          <cx:pt idx="8287">1</cx:pt>
          <cx:pt idx="8288">1</cx:pt>
          <cx:pt idx="8289">0</cx:pt>
          <cx:pt idx="8290">1</cx:pt>
          <cx:pt idx="8291">0</cx:pt>
          <cx:pt idx="8292">1</cx:pt>
          <cx:pt idx="8293">1</cx:pt>
          <cx:pt idx="8294">1</cx:pt>
          <cx:pt idx="8295">1</cx:pt>
          <cx:pt idx="8296">1</cx:pt>
          <cx:pt idx="8297">1</cx:pt>
          <cx:pt idx="8298">0</cx:pt>
          <cx:pt idx="8299">0</cx:pt>
          <cx:pt idx="8300">1</cx:pt>
          <cx:pt idx="8301">0</cx:pt>
          <cx:pt idx="8302">0</cx:pt>
          <cx:pt idx="8303">1</cx:pt>
          <cx:pt idx="8304">0</cx:pt>
          <cx:pt idx="8305">1</cx:pt>
          <cx:pt idx="8306">0</cx:pt>
          <cx:pt idx="8307">1</cx:pt>
          <cx:pt idx="8308">0</cx:pt>
          <cx:pt idx="8309">0</cx:pt>
          <cx:pt idx="8310">1</cx:pt>
          <cx:pt idx="8311">0</cx:pt>
          <cx:pt idx="8312">0</cx:pt>
          <cx:pt idx="8313">0</cx:pt>
          <cx:pt idx="8314">1</cx:pt>
          <cx:pt idx="8315">0</cx:pt>
          <cx:pt idx="8316">0</cx:pt>
          <cx:pt idx="8317">0</cx:pt>
          <cx:pt idx="8318">0</cx:pt>
          <cx:pt idx="8319">1</cx:pt>
          <cx:pt idx="8320">1</cx:pt>
          <cx:pt idx="8321">1</cx:pt>
          <cx:pt idx="8322">0</cx:pt>
          <cx:pt idx="8323">0</cx:pt>
          <cx:pt idx="8324">1</cx:pt>
          <cx:pt idx="8325">0</cx:pt>
          <cx:pt idx="8326">0</cx:pt>
          <cx:pt idx="8327">0</cx:pt>
          <cx:pt idx="8328">1</cx:pt>
          <cx:pt idx="8329">1</cx:pt>
          <cx:pt idx="8330">0</cx:pt>
          <cx:pt idx="8331">1</cx:pt>
          <cx:pt idx="8332">0</cx:pt>
          <cx:pt idx="8333">0</cx:pt>
          <cx:pt idx="8334">1</cx:pt>
          <cx:pt idx="8335">1</cx:pt>
          <cx:pt idx="8336">0</cx:pt>
          <cx:pt idx="8337">0</cx:pt>
          <cx:pt idx="8338">0</cx:pt>
          <cx:pt idx="8339">0</cx:pt>
          <cx:pt idx="8340">0</cx:pt>
          <cx:pt idx="8341">1</cx:pt>
          <cx:pt idx="8342">0</cx:pt>
          <cx:pt idx="8343">1</cx:pt>
          <cx:pt idx="8344">0</cx:pt>
          <cx:pt idx="8345">0</cx:pt>
          <cx:pt idx="8346">0</cx:pt>
          <cx:pt idx="8347">1</cx:pt>
          <cx:pt idx="8348">0</cx:pt>
          <cx:pt idx="8349">0</cx:pt>
          <cx:pt idx="8350">1</cx:pt>
          <cx:pt idx="8351">1</cx:pt>
          <cx:pt idx="8352">0</cx:pt>
          <cx:pt idx="8353">0</cx:pt>
          <cx:pt idx="8354">0</cx:pt>
          <cx:pt idx="8355">1</cx:pt>
          <cx:pt idx="8356">1</cx:pt>
          <cx:pt idx="8357">1</cx:pt>
          <cx:pt idx="8358">0</cx:pt>
          <cx:pt idx="8359">0</cx:pt>
          <cx:pt idx="8360">0</cx:pt>
          <cx:pt idx="8361">1</cx:pt>
          <cx:pt idx="8362">1</cx:pt>
          <cx:pt idx="8363">1</cx:pt>
          <cx:pt idx="8364">0</cx:pt>
          <cx:pt idx="8365">0</cx:pt>
          <cx:pt idx="8366">0</cx:pt>
          <cx:pt idx="8367">0</cx:pt>
          <cx:pt idx="8368">1</cx:pt>
          <cx:pt idx="8369">1</cx:pt>
          <cx:pt idx="8370">0</cx:pt>
          <cx:pt idx="8371">0</cx:pt>
          <cx:pt idx="8372">0</cx:pt>
          <cx:pt idx="8373">1</cx:pt>
          <cx:pt idx="8374">1</cx:pt>
          <cx:pt idx="8375">0</cx:pt>
          <cx:pt idx="8376">0</cx:pt>
          <cx:pt idx="8377">0</cx:pt>
          <cx:pt idx="8378">1</cx:pt>
          <cx:pt idx="8379">0</cx:pt>
          <cx:pt idx="8380">0</cx:pt>
          <cx:pt idx="8381">0</cx:pt>
          <cx:pt idx="8382">1</cx:pt>
          <cx:pt idx="8383">1</cx:pt>
          <cx:pt idx="8384">0</cx:pt>
          <cx:pt idx="8385">0</cx:pt>
          <cx:pt idx="8386">0</cx:pt>
          <cx:pt idx="8387">0</cx:pt>
          <cx:pt idx="8388">0</cx:pt>
          <cx:pt idx="8389">0</cx:pt>
          <cx:pt idx="8390">0</cx:pt>
          <cx:pt idx="8391">0</cx:pt>
          <cx:pt idx="8392">1</cx:pt>
          <cx:pt idx="8393">1</cx:pt>
          <cx:pt idx="8394">0</cx:pt>
          <cx:pt idx="8395">0</cx:pt>
          <cx:pt idx="8396">1</cx:pt>
          <cx:pt idx="8397">0</cx:pt>
          <cx:pt idx="8398">0</cx:pt>
          <cx:pt idx="8399">0</cx:pt>
          <cx:pt idx="8400">0</cx:pt>
          <cx:pt idx="8401">1</cx:pt>
          <cx:pt idx="8402">0</cx:pt>
          <cx:pt idx="8403">1</cx:pt>
          <cx:pt idx="8404">1</cx:pt>
          <cx:pt idx="8405">1</cx:pt>
          <cx:pt idx="8406">1</cx:pt>
          <cx:pt idx="8407">0</cx:pt>
          <cx:pt idx="8408">0</cx:pt>
          <cx:pt idx="8409">0</cx:pt>
          <cx:pt idx="8410">1</cx:pt>
          <cx:pt idx="8411">0</cx:pt>
          <cx:pt idx="8412">1</cx:pt>
          <cx:pt idx="8413">0</cx:pt>
          <cx:pt idx="8414">1</cx:pt>
          <cx:pt idx="8415">0</cx:pt>
          <cx:pt idx="8416">0</cx:pt>
          <cx:pt idx="8417">0</cx:pt>
          <cx:pt idx="8418">0</cx:pt>
          <cx:pt idx="8419">1</cx:pt>
          <cx:pt idx="8420">0</cx:pt>
          <cx:pt idx="8421">0</cx:pt>
          <cx:pt idx="8422">1</cx:pt>
          <cx:pt idx="8423">0</cx:pt>
          <cx:pt idx="8424">1</cx:pt>
          <cx:pt idx="8425">0</cx:pt>
          <cx:pt idx="8426">0</cx:pt>
          <cx:pt idx="8427">1</cx:pt>
          <cx:pt idx="8428">0</cx:pt>
          <cx:pt idx="8429">0</cx:pt>
          <cx:pt idx="8430">0</cx:pt>
          <cx:pt idx="8431">1</cx:pt>
          <cx:pt idx="8432">0</cx:pt>
          <cx:pt idx="8433">1</cx:pt>
          <cx:pt idx="8434">0</cx:pt>
          <cx:pt idx="8435">1</cx:pt>
          <cx:pt idx="8436">0</cx:pt>
          <cx:pt idx="8437">0</cx:pt>
          <cx:pt idx="8438">0</cx:pt>
          <cx:pt idx="8439">0</cx:pt>
          <cx:pt idx="8440">0</cx:pt>
          <cx:pt idx="8441">1</cx:pt>
          <cx:pt idx="8442">0</cx:pt>
          <cx:pt idx="8443">0</cx:pt>
          <cx:pt idx="8444">1</cx:pt>
          <cx:pt idx="8445">1</cx:pt>
          <cx:pt idx="8446">0</cx:pt>
          <cx:pt idx="8447">0</cx:pt>
          <cx:pt idx="8448">0</cx:pt>
          <cx:pt idx="8449">1</cx:pt>
          <cx:pt idx="8450">1</cx:pt>
          <cx:pt idx="8451">1</cx:pt>
          <cx:pt idx="8452">0</cx:pt>
          <cx:pt idx="8453">0</cx:pt>
          <cx:pt idx="8454">0</cx:pt>
          <cx:pt idx="8455">1</cx:pt>
          <cx:pt idx="8456">0</cx:pt>
          <cx:pt idx="8457">0</cx:pt>
          <cx:pt idx="8458">1</cx:pt>
          <cx:pt idx="8459">0</cx:pt>
          <cx:pt idx="8460">0</cx:pt>
          <cx:pt idx="8461">1</cx:pt>
          <cx:pt idx="8462">1</cx:pt>
          <cx:pt idx="8463">0</cx:pt>
          <cx:pt idx="8464">1</cx:pt>
          <cx:pt idx="8465">1</cx:pt>
          <cx:pt idx="8466">0</cx:pt>
          <cx:pt idx="8467">0</cx:pt>
          <cx:pt idx="8468">0</cx:pt>
          <cx:pt idx="8469">1</cx:pt>
          <cx:pt idx="8470">1</cx:pt>
          <cx:pt idx="8471">1</cx:pt>
          <cx:pt idx="8472">0</cx:pt>
          <cx:pt idx="8473">1</cx:pt>
          <cx:pt idx="8474">0</cx:pt>
          <cx:pt idx="8475">0</cx:pt>
          <cx:pt idx="8476">1</cx:pt>
          <cx:pt idx="8477">0</cx:pt>
          <cx:pt idx="8478">1</cx:pt>
          <cx:pt idx="8479">1</cx:pt>
          <cx:pt idx="8480">0</cx:pt>
          <cx:pt idx="8481">1</cx:pt>
          <cx:pt idx="8482">1</cx:pt>
          <cx:pt idx="8483">1</cx:pt>
          <cx:pt idx="8484">0</cx:pt>
          <cx:pt idx="8485">0</cx:pt>
          <cx:pt idx="8486">0</cx:pt>
          <cx:pt idx="8487">0</cx:pt>
          <cx:pt idx="8488">0</cx:pt>
          <cx:pt idx="8489">1</cx:pt>
          <cx:pt idx="8490">1</cx:pt>
          <cx:pt idx="8491">0</cx:pt>
          <cx:pt idx="8492">0</cx:pt>
          <cx:pt idx="8493">0</cx:pt>
          <cx:pt idx="8494">1</cx:pt>
          <cx:pt idx="8495">1</cx:pt>
          <cx:pt idx="8496">0</cx:pt>
          <cx:pt idx="8497">1</cx:pt>
          <cx:pt idx="8498">0</cx:pt>
          <cx:pt idx="8499">0</cx:pt>
          <cx:pt idx="8500">0</cx:pt>
          <cx:pt idx="8501">0</cx:pt>
          <cx:pt idx="8502">1</cx:pt>
          <cx:pt idx="8503">0</cx:pt>
          <cx:pt idx="8504">1</cx:pt>
          <cx:pt idx="8505">1</cx:pt>
          <cx:pt idx="8506">1</cx:pt>
          <cx:pt idx="8507">0</cx:pt>
          <cx:pt idx="8508">1</cx:pt>
          <cx:pt idx="8509">1</cx:pt>
          <cx:pt idx="8510">0</cx:pt>
          <cx:pt idx="8511">0</cx:pt>
          <cx:pt idx="8512">0</cx:pt>
          <cx:pt idx="8513">0</cx:pt>
          <cx:pt idx="8514">0</cx:pt>
          <cx:pt idx="8515">0</cx:pt>
          <cx:pt idx="8516">0</cx:pt>
          <cx:pt idx="8517">1</cx:pt>
          <cx:pt idx="8518">0</cx:pt>
          <cx:pt idx="8519">1</cx:pt>
          <cx:pt idx="8520">1</cx:pt>
          <cx:pt idx="8521">1</cx:pt>
          <cx:pt idx="8522">1</cx:pt>
          <cx:pt idx="8523">1</cx:pt>
          <cx:pt idx="8524">0</cx:pt>
          <cx:pt idx="8525">0</cx:pt>
          <cx:pt idx="8526">1</cx:pt>
          <cx:pt idx="8527">0</cx:pt>
          <cx:pt idx="8528">1</cx:pt>
          <cx:pt idx="8529">1</cx:pt>
          <cx:pt idx="8530">1</cx:pt>
          <cx:pt idx="8531">0</cx:pt>
          <cx:pt idx="8532">0</cx:pt>
          <cx:pt idx="8533">1</cx:pt>
          <cx:pt idx="8534">1</cx:pt>
          <cx:pt idx="8535">1</cx:pt>
          <cx:pt idx="8536">1</cx:pt>
          <cx:pt idx="8537">0</cx:pt>
          <cx:pt idx="8538">1</cx:pt>
          <cx:pt idx="8539">0</cx:pt>
          <cx:pt idx="8540">0</cx:pt>
          <cx:pt idx="8541">1</cx:pt>
          <cx:pt idx="8542">1</cx:pt>
          <cx:pt idx="8543">1</cx:pt>
          <cx:pt idx="8544">0</cx:pt>
          <cx:pt idx="8545">0</cx:pt>
          <cx:pt idx="8546">1</cx:pt>
          <cx:pt idx="8547">1</cx:pt>
          <cx:pt idx="8548">1</cx:pt>
          <cx:pt idx="8549">1</cx:pt>
          <cx:pt idx="8550">0</cx:pt>
          <cx:pt idx="8551">0</cx:pt>
          <cx:pt idx="8552">0</cx:pt>
          <cx:pt idx="8553">1</cx:pt>
          <cx:pt idx="8554">1</cx:pt>
          <cx:pt idx="8555">0</cx:pt>
          <cx:pt idx="8556">1</cx:pt>
          <cx:pt idx="8557">0</cx:pt>
          <cx:pt idx="8558">0</cx:pt>
          <cx:pt idx="8559">1</cx:pt>
          <cx:pt idx="8560">1</cx:pt>
          <cx:pt idx="8561">0</cx:pt>
          <cx:pt idx="8562">0</cx:pt>
          <cx:pt idx="8563">0</cx:pt>
          <cx:pt idx="8564">0</cx:pt>
          <cx:pt idx="8565">0</cx:pt>
          <cx:pt idx="8566">0</cx:pt>
          <cx:pt idx="8567">0</cx:pt>
          <cx:pt idx="8568">0</cx:pt>
          <cx:pt idx="8569">1</cx:pt>
          <cx:pt idx="8570">1</cx:pt>
          <cx:pt idx="8571">0</cx:pt>
          <cx:pt idx="8572">1</cx:pt>
          <cx:pt idx="8573">0</cx:pt>
          <cx:pt idx="8574">1</cx:pt>
          <cx:pt idx="8575">0</cx:pt>
          <cx:pt idx="8576">0</cx:pt>
          <cx:pt idx="8577">1</cx:pt>
          <cx:pt idx="8578">1</cx:pt>
          <cx:pt idx="8579">1</cx:pt>
          <cx:pt idx="8580">0</cx:pt>
          <cx:pt idx="8581">0</cx:pt>
          <cx:pt idx="8582">0</cx:pt>
          <cx:pt idx="8583">1</cx:pt>
          <cx:pt idx="8584">0</cx:pt>
          <cx:pt idx="8585">1</cx:pt>
          <cx:pt idx="8586">0</cx:pt>
          <cx:pt idx="8587">1</cx:pt>
          <cx:pt idx="8588">1</cx:pt>
          <cx:pt idx="8589">0</cx:pt>
          <cx:pt idx="8590">0</cx:pt>
          <cx:pt idx="8591">1</cx:pt>
          <cx:pt idx="8592">0</cx:pt>
          <cx:pt idx="8593">1</cx:pt>
          <cx:pt idx="8594">1</cx:pt>
          <cx:pt idx="8595">0</cx:pt>
          <cx:pt idx="8596">0</cx:pt>
          <cx:pt idx="8597">0</cx:pt>
          <cx:pt idx="8598">1</cx:pt>
          <cx:pt idx="8599">1</cx:pt>
          <cx:pt idx="8600">0</cx:pt>
          <cx:pt idx="8601">0</cx:pt>
          <cx:pt idx="8602">0</cx:pt>
          <cx:pt idx="8603">1</cx:pt>
          <cx:pt idx="8604">0</cx:pt>
          <cx:pt idx="8605">0</cx:pt>
          <cx:pt idx="8606">1</cx:pt>
          <cx:pt idx="8607">1</cx:pt>
          <cx:pt idx="8608">0</cx:pt>
          <cx:pt idx="8609">0</cx:pt>
          <cx:pt idx="8610">0</cx:pt>
          <cx:pt idx="8611">0</cx:pt>
          <cx:pt idx="8612">0</cx:pt>
          <cx:pt idx="8613">0</cx:pt>
          <cx:pt idx="8614">0</cx:pt>
          <cx:pt idx="8615">1</cx:pt>
          <cx:pt idx="8616">1</cx:pt>
          <cx:pt idx="8617">1</cx:pt>
          <cx:pt idx="8618">0</cx:pt>
          <cx:pt idx="8619">0</cx:pt>
          <cx:pt idx="8620">0</cx:pt>
          <cx:pt idx="8621">1</cx:pt>
          <cx:pt idx="8622">1</cx:pt>
          <cx:pt idx="8623">0</cx:pt>
          <cx:pt idx="8624">1</cx:pt>
          <cx:pt idx="8625">0</cx:pt>
          <cx:pt idx="8626">0</cx:pt>
          <cx:pt idx="8627">1</cx:pt>
          <cx:pt idx="8628">0</cx:pt>
          <cx:pt idx="8629">0</cx:pt>
          <cx:pt idx="8630">1</cx:pt>
          <cx:pt idx="8631">1</cx:pt>
          <cx:pt idx="8632">1</cx:pt>
          <cx:pt idx="8633">0</cx:pt>
          <cx:pt idx="8634">0</cx:pt>
          <cx:pt idx="8635">0</cx:pt>
          <cx:pt idx="8636">0</cx:pt>
          <cx:pt idx="8637">1</cx:pt>
          <cx:pt idx="8638">1</cx:pt>
          <cx:pt idx="8639">1</cx:pt>
          <cx:pt idx="8640">0</cx:pt>
          <cx:pt idx="8641">1</cx:pt>
          <cx:pt idx="8642">0</cx:pt>
          <cx:pt idx="8643">0</cx:pt>
          <cx:pt idx="8644">1</cx:pt>
          <cx:pt idx="8645">1</cx:pt>
          <cx:pt idx="8646">1</cx:pt>
          <cx:pt idx="8647">0</cx:pt>
          <cx:pt idx="8648">1</cx:pt>
          <cx:pt idx="8649">0</cx:pt>
          <cx:pt idx="8650">1</cx:pt>
          <cx:pt idx="8651">1</cx:pt>
          <cx:pt idx="8652">0</cx:pt>
          <cx:pt idx="8653">0</cx:pt>
          <cx:pt idx="8654">0</cx:pt>
          <cx:pt idx="8655">0</cx:pt>
          <cx:pt idx="8656">0</cx:pt>
          <cx:pt idx="8657">0</cx:pt>
          <cx:pt idx="8658">1</cx:pt>
          <cx:pt idx="8659">1</cx:pt>
          <cx:pt idx="8660">0</cx:pt>
          <cx:pt idx="8661">0</cx:pt>
          <cx:pt idx="8662">0</cx:pt>
          <cx:pt idx="8663">0</cx:pt>
          <cx:pt idx="8664">0</cx:pt>
          <cx:pt idx="8665">1</cx:pt>
          <cx:pt idx="8666">1</cx:pt>
          <cx:pt idx="8667">0</cx:pt>
          <cx:pt idx="8668">1</cx:pt>
          <cx:pt idx="8669">1</cx:pt>
          <cx:pt idx="8670">0</cx:pt>
          <cx:pt idx="8671">0</cx:pt>
          <cx:pt idx="8672">0</cx:pt>
          <cx:pt idx="8673">0</cx:pt>
          <cx:pt idx="8674">0</cx:pt>
          <cx:pt idx="8675">1</cx:pt>
          <cx:pt idx="8676">0</cx:pt>
          <cx:pt idx="8677">1</cx:pt>
          <cx:pt idx="8678">0</cx:pt>
          <cx:pt idx="8679">0</cx:pt>
          <cx:pt idx="8680">0</cx:pt>
          <cx:pt idx="8681">1</cx:pt>
          <cx:pt idx="8682">0</cx:pt>
          <cx:pt idx="8683">1</cx:pt>
          <cx:pt idx="8684">0</cx:pt>
          <cx:pt idx="8685">0</cx:pt>
          <cx:pt idx="8686">1</cx:pt>
          <cx:pt idx="8687">0</cx:pt>
          <cx:pt idx="8688">0</cx:pt>
          <cx:pt idx="8689">1</cx:pt>
          <cx:pt idx="8690">1</cx:pt>
          <cx:pt idx="8691">0</cx:pt>
          <cx:pt idx="8692">1</cx:pt>
          <cx:pt idx="8693">0</cx:pt>
          <cx:pt idx="8694">0</cx:pt>
          <cx:pt idx="8695">1</cx:pt>
          <cx:pt idx="8696">0</cx:pt>
          <cx:pt idx="8697">0</cx:pt>
          <cx:pt idx="8698">0</cx:pt>
          <cx:pt idx="8699">1</cx:pt>
          <cx:pt idx="8700">1</cx:pt>
          <cx:pt idx="8701">1</cx:pt>
          <cx:pt idx="8702">1</cx:pt>
          <cx:pt idx="8703">1</cx:pt>
          <cx:pt idx="8704">0</cx:pt>
          <cx:pt idx="8705">0</cx:pt>
          <cx:pt idx="8706">0</cx:pt>
          <cx:pt idx="8707">1</cx:pt>
          <cx:pt idx="8708">0</cx:pt>
          <cx:pt idx="8709">1</cx:pt>
          <cx:pt idx="8710">0</cx:pt>
          <cx:pt idx="8711">1</cx:pt>
          <cx:pt idx="8712">0</cx:pt>
          <cx:pt idx="8713">1</cx:pt>
          <cx:pt idx="8714">0</cx:pt>
          <cx:pt idx="8715">0</cx:pt>
          <cx:pt idx="8716">0</cx:pt>
          <cx:pt idx="8717">1</cx:pt>
          <cx:pt idx="8718">0</cx:pt>
          <cx:pt idx="8719">0</cx:pt>
          <cx:pt idx="8720">1</cx:pt>
          <cx:pt idx="8721">0</cx:pt>
          <cx:pt idx="8722">1</cx:pt>
          <cx:pt idx="8723">1</cx:pt>
          <cx:pt idx="8724">1</cx:pt>
          <cx:pt idx="8725">0</cx:pt>
          <cx:pt idx="8726">0</cx:pt>
          <cx:pt idx="8727">1</cx:pt>
          <cx:pt idx="8728">0</cx:pt>
          <cx:pt idx="8729">0</cx:pt>
          <cx:pt idx="8730">0</cx:pt>
          <cx:pt idx="8731">1</cx:pt>
          <cx:pt idx="8732">1</cx:pt>
          <cx:pt idx="8733">1</cx:pt>
          <cx:pt idx="8734">1</cx:pt>
          <cx:pt idx="8735">1</cx:pt>
          <cx:pt idx="8736">0</cx:pt>
          <cx:pt idx="8737">0</cx:pt>
          <cx:pt idx="8738">0</cx:pt>
          <cx:pt idx="8739">0</cx:pt>
          <cx:pt idx="8740">0</cx:pt>
          <cx:pt idx="8741">0</cx:pt>
          <cx:pt idx="8742">0</cx:pt>
          <cx:pt idx="8743">0</cx:pt>
          <cx:pt idx="8744">0</cx:pt>
          <cx:pt idx="8745">1</cx:pt>
          <cx:pt idx="8746">0</cx:pt>
          <cx:pt idx="8747">0</cx:pt>
          <cx:pt idx="8748">0</cx:pt>
          <cx:pt idx="8749">1</cx:pt>
          <cx:pt idx="8750">0</cx:pt>
          <cx:pt idx="8751">1</cx:pt>
          <cx:pt idx="8752">1</cx:pt>
          <cx:pt idx="8753">0</cx:pt>
          <cx:pt idx="8754">0</cx:pt>
          <cx:pt idx="8755">0</cx:pt>
          <cx:pt idx="8756">1</cx:pt>
          <cx:pt idx="8757">1</cx:pt>
          <cx:pt idx="8758">1</cx:pt>
          <cx:pt idx="8759">1</cx:pt>
          <cx:pt idx="8760">0</cx:pt>
          <cx:pt idx="8761">0</cx:pt>
          <cx:pt idx="8762">0</cx:pt>
          <cx:pt idx="8763">1</cx:pt>
          <cx:pt idx="8764">1</cx:pt>
          <cx:pt idx="8765">1</cx:pt>
          <cx:pt idx="8766">1</cx:pt>
          <cx:pt idx="8767">0</cx:pt>
          <cx:pt idx="8768">0</cx:pt>
          <cx:pt idx="8769">1</cx:pt>
          <cx:pt idx="8770">1</cx:pt>
          <cx:pt idx="8771">1</cx:pt>
          <cx:pt idx="8772">0</cx:pt>
          <cx:pt idx="8773">1</cx:pt>
          <cx:pt idx="8774">0</cx:pt>
          <cx:pt idx="8775">1</cx:pt>
          <cx:pt idx="8776">0</cx:pt>
          <cx:pt idx="8777">0</cx:pt>
          <cx:pt idx="8778">1</cx:pt>
          <cx:pt idx="8779">0</cx:pt>
          <cx:pt idx="8780">1</cx:pt>
          <cx:pt idx="8781">1</cx:pt>
          <cx:pt idx="8782">0</cx:pt>
          <cx:pt idx="8783">1</cx:pt>
          <cx:pt idx="8784">1</cx:pt>
          <cx:pt idx="8785">1</cx:pt>
          <cx:pt idx="8786">0</cx:pt>
          <cx:pt idx="8787">0</cx:pt>
          <cx:pt idx="8788">0</cx:pt>
          <cx:pt idx="8789">0</cx:pt>
          <cx:pt idx="8790">0</cx:pt>
          <cx:pt idx="8791">0</cx:pt>
          <cx:pt idx="8792">1</cx:pt>
          <cx:pt idx="8793">0</cx:pt>
          <cx:pt idx="8794">1</cx:pt>
          <cx:pt idx="8795">0</cx:pt>
          <cx:pt idx="8796">1</cx:pt>
          <cx:pt idx="8797">1</cx:pt>
          <cx:pt idx="8798">1</cx:pt>
          <cx:pt idx="8799">1</cx:pt>
          <cx:pt idx="8800">0</cx:pt>
          <cx:pt idx="8801">1</cx:pt>
          <cx:pt idx="8802">0</cx:pt>
          <cx:pt idx="8803">0</cx:pt>
          <cx:pt idx="8804">0</cx:pt>
          <cx:pt idx="8805">1</cx:pt>
          <cx:pt idx="8806">0</cx:pt>
          <cx:pt idx="8807">1</cx:pt>
          <cx:pt idx="8808">1</cx:pt>
          <cx:pt idx="8809">0</cx:pt>
          <cx:pt idx="8810">1</cx:pt>
          <cx:pt idx="8811">1</cx:pt>
          <cx:pt idx="8812">0</cx:pt>
          <cx:pt idx="8813">0</cx:pt>
          <cx:pt idx="8814">0</cx:pt>
          <cx:pt idx="8815">1</cx:pt>
          <cx:pt idx="8816">0</cx:pt>
          <cx:pt idx="8817">0</cx:pt>
          <cx:pt idx="8818">0</cx:pt>
          <cx:pt idx="8819">1</cx:pt>
          <cx:pt idx="8820">1</cx:pt>
          <cx:pt idx="8821">1</cx:pt>
          <cx:pt idx="8822">1</cx:pt>
          <cx:pt idx="8823">0</cx:pt>
          <cx:pt idx="8824">1</cx:pt>
          <cx:pt idx="8825">1</cx:pt>
          <cx:pt idx="8826">1</cx:pt>
          <cx:pt idx="8827">0</cx:pt>
          <cx:pt idx="8828">0</cx:pt>
          <cx:pt idx="8829">0</cx:pt>
          <cx:pt idx="8830">0</cx:pt>
          <cx:pt idx="8831">0</cx:pt>
          <cx:pt idx="8832">0</cx:pt>
          <cx:pt idx="8833">0</cx:pt>
          <cx:pt idx="8834">1</cx:pt>
          <cx:pt idx="8835">1</cx:pt>
          <cx:pt idx="8836">1</cx:pt>
          <cx:pt idx="8837">1</cx:pt>
          <cx:pt idx="8838">0</cx:pt>
          <cx:pt idx="8839">0</cx:pt>
          <cx:pt idx="8840">0</cx:pt>
          <cx:pt idx="8841">1</cx:pt>
          <cx:pt idx="8842">0</cx:pt>
          <cx:pt idx="8843">0</cx:pt>
          <cx:pt idx="8844">1</cx:pt>
          <cx:pt idx="8845">0</cx:pt>
          <cx:pt idx="8846">0</cx:pt>
          <cx:pt idx="8847">1</cx:pt>
          <cx:pt idx="8848">0</cx:pt>
          <cx:pt idx="8849">1</cx:pt>
          <cx:pt idx="8850">1</cx:pt>
          <cx:pt idx="8851">1</cx:pt>
          <cx:pt idx="8852">1</cx:pt>
          <cx:pt idx="8853">0</cx:pt>
          <cx:pt idx="8854">0</cx:pt>
          <cx:pt idx="8855">1</cx:pt>
          <cx:pt idx="8856">1</cx:pt>
          <cx:pt idx="8857">0</cx:pt>
          <cx:pt idx="8858">1</cx:pt>
          <cx:pt idx="8859">1</cx:pt>
          <cx:pt idx="8860">1</cx:pt>
          <cx:pt idx="8861">0</cx:pt>
          <cx:pt idx="8862">1</cx:pt>
          <cx:pt idx="8863">0</cx:pt>
          <cx:pt idx="8864">0</cx:pt>
          <cx:pt idx="8865">1</cx:pt>
          <cx:pt idx="8866">1</cx:pt>
          <cx:pt idx="8867">1</cx:pt>
          <cx:pt idx="8868">0</cx:pt>
          <cx:pt idx="8869">1</cx:pt>
          <cx:pt idx="8870">0</cx:pt>
          <cx:pt idx="8871">0</cx:pt>
          <cx:pt idx="8872">1</cx:pt>
          <cx:pt idx="8873">1</cx:pt>
          <cx:pt idx="8874">0</cx:pt>
          <cx:pt idx="8875">0</cx:pt>
          <cx:pt idx="8876">0</cx:pt>
          <cx:pt idx="8877">0</cx:pt>
          <cx:pt idx="8878">0</cx:pt>
          <cx:pt idx="8879">1</cx:pt>
          <cx:pt idx="8880">0</cx:pt>
          <cx:pt idx="8881">0</cx:pt>
          <cx:pt idx="8882">1</cx:pt>
          <cx:pt idx="8883">0</cx:pt>
          <cx:pt idx="8884">0</cx:pt>
          <cx:pt idx="8885">1</cx:pt>
          <cx:pt idx="8886">0</cx:pt>
          <cx:pt idx="8887">1</cx:pt>
          <cx:pt idx="8888">1</cx:pt>
          <cx:pt idx="8889">1</cx:pt>
          <cx:pt idx="8890">0</cx:pt>
          <cx:pt idx="8891">0</cx:pt>
          <cx:pt idx="8892">0</cx:pt>
          <cx:pt idx="8893">1</cx:pt>
          <cx:pt idx="8894">0</cx:pt>
          <cx:pt idx="8895">1</cx:pt>
          <cx:pt idx="8896">1</cx:pt>
          <cx:pt idx="8897">0</cx:pt>
          <cx:pt idx="8898">1</cx:pt>
          <cx:pt idx="8899">1</cx:pt>
          <cx:pt idx="8900">0</cx:pt>
          <cx:pt idx="8901">1</cx:pt>
          <cx:pt idx="8902">1</cx:pt>
          <cx:pt idx="8903">1</cx:pt>
          <cx:pt idx="8904">1</cx:pt>
          <cx:pt idx="8905">1</cx:pt>
          <cx:pt idx="8906">1</cx:pt>
          <cx:pt idx="8907">0</cx:pt>
          <cx:pt idx="8908">0</cx:pt>
          <cx:pt idx="8909">0</cx:pt>
          <cx:pt idx="8910">1</cx:pt>
          <cx:pt idx="8911">0</cx:pt>
          <cx:pt idx="8912">0</cx:pt>
          <cx:pt idx="8913">1</cx:pt>
          <cx:pt idx="8914">0</cx:pt>
          <cx:pt idx="8915">0</cx:pt>
          <cx:pt idx="8916">0</cx:pt>
          <cx:pt idx="8917">1</cx:pt>
          <cx:pt idx="8918">0</cx:pt>
          <cx:pt idx="8919">0</cx:pt>
          <cx:pt idx="8920">0</cx:pt>
          <cx:pt idx="8921">0</cx:pt>
          <cx:pt idx="8922">0</cx:pt>
          <cx:pt idx="8923">1</cx:pt>
          <cx:pt idx="8924">0</cx:pt>
          <cx:pt idx="8925">1</cx:pt>
          <cx:pt idx="8926">1</cx:pt>
          <cx:pt idx="8927">0</cx:pt>
          <cx:pt idx="8928">1</cx:pt>
          <cx:pt idx="8929">1</cx:pt>
          <cx:pt idx="8930">0</cx:pt>
          <cx:pt idx="8931">0</cx:pt>
          <cx:pt idx="8932">1</cx:pt>
          <cx:pt idx="8933">0</cx:pt>
          <cx:pt idx="8934">0</cx:pt>
          <cx:pt idx="8935">0</cx:pt>
          <cx:pt idx="8936">0</cx:pt>
          <cx:pt idx="8937">1</cx:pt>
          <cx:pt idx="8938">0</cx:pt>
          <cx:pt idx="8939">0</cx:pt>
          <cx:pt idx="8940">1</cx:pt>
          <cx:pt idx="8941">0</cx:pt>
          <cx:pt idx="8942">0</cx:pt>
          <cx:pt idx="8943">0</cx:pt>
          <cx:pt idx="8944">0</cx:pt>
          <cx:pt idx="8945">0</cx:pt>
          <cx:pt idx="8946">1</cx:pt>
          <cx:pt idx="8947">0</cx:pt>
          <cx:pt idx="8948">1</cx:pt>
          <cx:pt idx="8949">1</cx:pt>
          <cx:pt idx="8950">0</cx:pt>
          <cx:pt idx="8951">1</cx:pt>
          <cx:pt idx="8952">0</cx:pt>
          <cx:pt idx="8953">0</cx:pt>
          <cx:pt idx="8954">0</cx:pt>
          <cx:pt idx="8955">0</cx:pt>
          <cx:pt idx="8956">1</cx:pt>
          <cx:pt idx="8957">1</cx:pt>
          <cx:pt idx="8958">0</cx:pt>
          <cx:pt idx="8959">0</cx:pt>
          <cx:pt idx="8960">1</cx:pt>
          <cx:pt idx="8961">0</cx:pt>
          <cx:pt idx="8962">0</cx:pt>
          <cx:pt idx="8963">1</cx:pt>
          <cx:pt idx="8964">0</cx:pt>
          <cx:pt idx="8965">1</cx:pt>
          <cx:pt idx="8966">0</cx:pt>
          <cx:pt idx="8967">0</cx:pt>
          <cx:pt idx="8968">1</cx:pt>
          <cx:pt idx="8969">1</cx:pt>
          <cx:pt idx="8970">1</cx:pt>
          <cx:pt idx="8971">0</cx:pt>
          <cx:pt idx="8972">0</cx:pt>
          <cx:pt idx="8973">0</cx:pt>
          <cx:pt idx="8974">0</cx:pt>
          <cx:pt idx="8975">0</cx:pt>
          <cx:pt idx="8976">0</cx:pt>
          <cx:pt idx="8977">1</cx:pt>
          <cx:pt idx="8978">0</cx:pt>
          <cx:pt idx="8979">0</cx:pt>
          <cx:pt idx="8980">1</cx:pt>
          <cx:pt idx="8981">1</cx:pt>
          <cx:pt idx="8982">1</cx:pt>
          <cx:pt idx="8983">0</cx:pt>
          <cx:pt idx="8984">1</cx:pt>
          <cx:pt idx="8985">0</cx:pt>
          <cx:pt idx="8986">0</cx:pt>
          <cx:pt idx="8987">0</cx:pt>
          <cx:pt idx="8988">0</cx:pt>
          <cx:pt idx="8989">1</cx:pt>
          <cx:pt idx="8990">1</cx:pt>
          <cx:pt idx="8991">0</cx:pt>
          <cx:pt idx="8992">1</cx:pt>
          <cx:pt idx="8993">1</cx:pt>
          <cx:pt idx="8994">1</cx:pt>
          <cx:pt idx="8995">0</cx:pt>
          <cx:pt idx="8996">0</cx:pt>
          <cx:pt idx="8997">0</cx:pt>
          <cx:pt idx="8998">0</cx:pt>
          <cx:pt idx="8999">0</cx:pt>
          <cx:pt idx="9000">1</cx:pt>
          <cx:pt idx="9001">0</cx:pt>
          <cx:pt idx="9002">0</cx:pt>
          <cx:pt idx="9003">1</cx:pt>
          <cx:pt idx="9004">1</cx:pt>
          <cx:pt idx="9005">1</cx:pt>
          <cx:pt idx="9006">0</cx:pt>
          <cx:pt idx="9007">0</cx:pt>
          <cx:pt idx="9008">1</cx:pt>
          <cx:pt idx="9009">1</cx:pt>
          <cx:pt idx="9010">0</cx:pt>
          <cx:pt idx="9011">0</cx:pt>
          <cx:pt idx="9012">0</cx:pt>
          <cx:pt idx="9013">0</cx:pt>
          <cx:pt idx="9014">0</cx:pt>
          <cx:pt idx="9015">1</cx:pt>
          <cx:pt idx="9016">0</cx:pt>
          <cx:pt idx="9017">0</cx:pt>
          <cx:pt idx="9018">0</cx:pt>
          <cx:pt idx="9019">0</cx:pt>
          <cx:pt idx="9020">0</cx:pt>
          <cx:pt idx="9021">0</cx:pt>
          <cx:pt idx="9022">0</cx:pt>
          <cx:pt idx="9023">1</cx:pt>
          <cx:pt idx="9024">0</cx:pt>
          <cx:pt idx="9025">1</cx:pt>
          <cx:pt idx="9026">0</cx:pt>
          <cx:pt idx="9027">0</cx:pt>
          <cx:pt idx="9028">1</cx:pt>
          <cx:pt idx="9029">0</cx:pt>
          <cx:pt idx="9030">1</cx:pt>
          <cx:pt idx="9031">1</cx:pt>
          <cx:pt idx="9032">0</cx:pt>
          <cx:pt idx="9033">0</cx:pt>
          <cx:pt idx="9034">1</cx:pt>
          <cx:pt idx="9035">1</cx:pt>
          <cx:pt idx="9036">0</cx:pt>
          <cx:pt idx="9037">0</cx:pt>
          <cx:pt idx="9038">1</cx:pt>
          <cx:pt idx="9039">0</cx:pt>
          <cx:pt idx="9040">0</cx:pt>
          <cx:pt idx="9041">0</cx:pt>
          <cx:pt idx="9042">1</cx:pt>
          <cx:pt idx="9043">0</cx:pt>
          <cx:pt idx="9044">0</cx:pt>
          <cx:pt idx="9045">0</cx:pt>
          <cx:pt idx="9046">0</cx:pt>
          <cx:pt idx="9047">1</cx:pt>
          <cx:pt idx="9048">0</cx:pt>
          <cx:pt idx="9049">0</cx:pt>
          <cx:pt idx="9050">0</cx:pt>
          <cx:pt idx="9051">1</cx:pt>
          <cx:pt idx="9052">1</cx:pt>
          <cx:pt idx="9053">1</cx:pt>
          <cx:pt idx="9054">0</cx:pt>
          <cx:pt idx="9055">0</cx:pt>
          <cx:pt idx="9056">1</cx:pt>
          <cx:pt idx="9057">0</cx:pt>
          <cx:pt idx="9058">0</cx:pt>
          <cx:pt idx="9059">0</cx:pt>
          <cx:pt idx="9060">0</cx:pt>
          <cx:pt idx="9061">1</cx:pt>
          <cx:pt idx="9062">0</cx:pt>
          <cx:pt idx="9063">0</cx:pt>
          <cx:pt idx="9064">0</cx:pt>
          <cx:pt idx="9065">1</cx:pt>
          <cx:pt idx="9066">0</cx:pt>
          <cx:pt idx="9067">1</cx:pt>
          <cx:pt idx="9068">1</cx:pt>
          <cx:pt idx="9069">1</cx:pt>
          <cx:pt idx="9070">0</cx:pt>
          <cx:pt idx="9071">1</cx:pt>
          <cx:pt idx="9072">1</cx:pt>
          <cx:pt idx="9073">0</cx:pt>
          <cx:pt idx="9074">0</cx:pt>
          <cx:pt idx="9075">0</cx:pt>
          <cx:pt idx="9076">0</cx:pt>
          <cx:pt idx="9077">1</cx:pt>
          <cx:pt idx="9078">0</cx:pt>
          <cx:pt idx="9079">1</cx:pt>
          <cx:pt idx="9080">0</cx:pt>
          <cx:pt idx="9081">1</cx:pt>
          <cx:pt idx="9082">0</cx:pt>
          <cx:pt idx="9083">0</cx:pt>
          <cx:pt idx="9084">0</cx:pt>
          <cx:pt idx="9085">1</cx:pt>
          <cx:pt idx="9086">1</cx:pt>
          <cx:pt idx="9087">0</cx:pt>
          <cx:pt idx="9088">0</cx:pt>
          <cx:pt idx="9089">0</cx:pt>
          <cx:pt idx="9090">0</cx:pt>
          <cx:pt idx="9091">0</cx:pt>
          <cx:pt idx="9092">1</cx:pt>
          <cx:pt idx="9093">1</cx:pt>
          <cx:pt idx="9094">0</cx:pt>
          <cx:pt idx="9095">1</cx:pt>
          <cx:pt idx="9096">1</cx:pt>
          <cx:pt idx="9097">1</cx:pt>
          <cx:pt idx="9098">0</cx:pt>
          <cx:pt idx="9099">0</cx:pt>
          <cx:pt idx="9100">0</cx:pt>
          <cx:pt idx="9101">0</cx:pt>
          <cx:pt idx="9102">0</cx:pt>
          <cx:pt idx="9103">1</cx:pt>
          <cx:pt idx="9104">0</cx:pt>
          <cx:pt idx="9105">1</cx:pt>
          <cx:pt idx="9106">0</cx:pt>
          <cx:pt idx="9107">1</cx:pt>
          <cx:pt idx="9108">1</cx:pt>
          <cx:pt idx="9109">0</cx:pt>
          <cx:pt idx="9110">1</cx:pt>
          <cx:pt idx="9111">0</cx:pt>
          <cx:pt idx="9112">0</cx:pt>
          <cx:pt idx="9113">1</cx:pt>
          <cx:pt idx="9114">1</cx:pt>
          <cx:pt idx="9115">1</cx:pt>
          <cx:pt idx="9116">1</cx:pt>
          <cx:pt idx="9117">1</cx:pt>
          <cx:pt idx="9118">0</cx:pt>
          <cx:pt idx="9119">0</cx:pt>
          <cx:pt idx="9120">0</cx:pt>
          <cx:pt idx="9121">0</cx:pt>
          <cx:pt idx="9122">0</cx:pt>
          <cx:pt idx="9123">1</cx:pt>
          <cx:pt idx="9124">0</cx:pt>
          <cx:pt idx="9125">0</cx:pt>
          <cx:pt idx="9126">1</cx:pt>
          <cx:pt idx="9127">1</cx:pt>
          <cx:pt idx="9128">0</cx:pt>
          <cx:pt idx="9129">1</cx:pt>
          <cx:pt idx="9130">1</cx:pt>
          <cx:pt idx="9131">0</cx:pt>
          <cx:pt idx="9132">0</cx:pt>
          <cx:pt idx="9133">0</cx:pt>
          <cx:pt idx="9134">0</cx:pt>
          <cx:pt idx="9135">1</cx:pt>
          <cx:pt idx="9136">0</cx:pt>
          <cx:pt idx="9137">0</cx:pt>
          <cx:pt idx="9138">0</cx:pt>
          <cx:pt idx="9139">0</cx:pt>
          <cx:pt idx="9140">1</cx:pt>
          <cx:pt idx="9141">0</cx:pt>
          <cx:pt idx="9142">0</cx:pt>
          <cx:pt idx="9143">1</cx:pt>
          <cx:pt idx="9144">1</cx:pt>
          <cx:pt idx="9145">0</cx:pt>
          <cx:pt idx="9146">1</cx:pt>
          <cx:pt idx="9147">1</cx:pt>
          <cx:pt idx="9148">1</cx:pt>
          <cx:pt idx="9149">1</cx:pt>
          <cx:pt idx="9150">0</cx:pt>
          <cx:pt idx="9151">1</cx:pt>
          <cx:pt idx="9152">1</cx:pt>
          <cx:pt idx="9153">0</cx:pt>
          <cx:pt idx="9154">0</cx:pt>
          <cx:pt idx="9155">1</cx:pt>
          <cx:pt idx="9156">1</cx:pt>
          <cx:pt idx="9157">1</cx:pt>
          <cx:pt idx="9158">0</cx:pt>
          <cx:pt idx="9159">0</cx:pt>
          <cx:pt idx="9160">1</cx:pt>
          <cx:pt idx="9161">1</cx:pt>
          <cx:pt idx="9162">0</cx:pt>
          <cx:pt idx="9163">1</cx:pt>
          <cx:pt idx="9164">1</cx:pt>
          <cx:pt idx="9165">0</cx:pt>
          <cx:pt idx="9166">0</cx:pt>
          <cx:pt idx="9167">0</cx:pt>
          <cx:pt idx="9168">0</cx:pt>
          <cx:pt idx="9169">1</cx:pt>
          <cx:pt idx="9170">1</cx:pt>
          <cx:pt idx="9171">0</cx:pt>
          <cx:pt idx="9172">1</cx:pt>
          <cx:pt idx="9173">1</cx:pt>
          <cx:pt idx="9174">1</cx:pt>
          <cx:pt idx="9175">0</cx:pt>
          <cx:pt idx="9176">0</cx:pt>
          <cx:pt idx="9177">0</cx:pt>
          <cx:pt idx="9178">0</cx:pt>
          <cx:pt idx="9179">0</cx:pt>
          <cx:pt idx="9180">1</cx:pt>
          <cx:pt idx="9181">0</cx:pt>
          <cx:pt idx="9182">0</cx:pt>
          <cx:pt idx="9183">1</cx:pt>
          <cx:pt idx="9184">1</cx:pt>
          <cx:pt idx="9185">1</cx:pt>
          <cx:pt idx="9186">0</cx:pt>
          <cx:pt idx="9187">1</cx:pt>
          <cx:pt idx="9188">1</cx:pt>
          <cx:pt idx="9189">0</cx:pt>
          <cx:pt idx="9190">1</cx:pt>
          <cx:pt idx="9191">0</cx:pt>
          <cx:pt idx="9192">0</cx:pt>
          <cx:pt idx="9193">0</cx:pt>
          <cx:pt idx="9194">1</cx:pt>
          <cx:pt idx="9195">1</cx:pt>
          <cx:pt idx="9196">0</cx:pt>
          <cx:pt idx="9197">1</cx:pt>
          <cx:pt idx="9198">0</cx:pt>
          <cx:pt idx="9199">1</cx:pt>
          <cx:pt idx="9200">0</cx:pt>
          <cx:pt idx="9201">0</cx:pt>
          <cx:pt idx="9202">0</cx:pt>
          <cx:pt idx="9203">0</cx:pt>
          <cx:pt idx="9204">1</cx:pt>
          <cx:pt idx="9205">0</cx:pt>
          <cx:pt idx="9206">1</cx:pt>
          <cx:pt idx="9207">0</cx:pt>
          <cx:pt idx="9208">0</cx:pt>
          <cx:pt idx="9209">1</cx:pt>
          <cx:pt idx="9210">0</cx:pt>
          <cx:pt idx="9211">1</cx:pt>
          <cx:pt idx="9212">1</cx:pt>
          <cx:pt idx="9213">0</cx:pt>
          <cx:pt idx="9214">0</cx:pt>
          <cx:pt idx="9215">1</cx:pt>
          <cx:pt idx="9216">0</cx:pt>
          <cx:pt idx="9217">0</cx:pt>
          <cx:pt idx="9218">1</cx:pt>
          <cx:pt idx="9219">0</cx:pt>
          <cx:pt idx="9220">0</cx:pt>
          <cx:pt idx="9221">0</cx:pt>
          <cx:pt idx="9222">0</cx:pt>
          <cx:pt idx="9223">0</cx:pt>
          <cx:pt idx="9224">1</cx:pt>
          <cx:pt idx="9225">0</cx:pt>
          <cx:pt idx="9226">0</cx:pt>
          <cx:pt idx="9227">1</cx:pt>
          <cx:pt idx="9228">0</cx:pt>
          <cx:pt idx="9229">1</cx:pt>
          <cx:pt idx="9230">1</cx:pt>
          <cx:pt idx="9231">1</cx:pt>
          <cx:pt idx="9232">0</cx:pt>
          <cx:pt idx="9233">1</cx:pt>
          <cx:pt idx="9234">1</cx:pt>
          <cx:pt idx="9235">1</cx:pt>
          <cx:pt idx="9236">1</cx:pt>
          <cx:pt idx="9237">0</cx:pt>
          <cx:pt idx="9238">0</cx:pt>
          <cx:pt idx="9239">0</cx:pt>
          <cx:pt idx="9240">1</cx:pt>
          <cx:pt idx="9241">0</cx:pt>
          <cx:pt idx="9242">0</cx:pt>
          <cx:pt idx="9243">1</cx:pt>
          <cx:pt idx="9244">1</cx:pt>
          <cx:pt idx="9245">1</cx:pt>
          <cx:pt idx="9246">1</cx:pt>
          <cx:pt idx="9247">0</cx:pt>
          <cx:pt idx="9248">0</cx:pt>
          <cx:pt idx="9249">0</cx:pt>
          <cx:pt idx="9250">0</cx:pt>
          <cx:pt idx="9251">1</cx:pt>
          <cx:pt idx="9252">1</cx:pt>
          <cx:pt idx="9253">0</cx:pt>
          <cx:pt idx="9254">0</cx:pt>
          <cx:pt idx="9255">0</cx:pt>
          <cx:pt idx="9256">0</cx:pt>
          <cx:pt idx="9257">1</cx:pt>
          <cx:pt idx="9258">0</cx:pt>
          <cx:pt idx="9259">1</cx:pt>
          <cx:pt idx="9260">0</cx:pt>
          <cx:pt idx="9261">1</cx:pt>
          <cx:pt idx="9262">1</cx:pt>
          <cx:pt idx="9263">1</cx:pt>
          <cx:pt idx="9264">0</cx:pt>
          <cx:pt idx="9265">0</cx:pt>
          <cx:pt idx="9266">0</cx:pt>
          <cx:pt idx="9267">0</cx:pt>
          <cx:pt idx="9268">0</cx:pt>
          <cx:pt idx="9269">0</cx:pt>
          <cx:pt idx="9270">1</cx:pt>
          <cx:pt idx="9271">0</cx:pt>
          <cx:pt idx="9272">1</cx:pt>
          <cx:pt idx="9273">0</cx:pt>
          <cx:pt idx="9274">1</cx:pt>
          <cx:pt idx="9275">0</cx:pt>
          <cx:pt idx="9276">0</cx:pt>
          <cx:pt idx="9277">0</cx:pt>
          <cx:pt idx="9278">1</cx:pt>
          <cx:pt idx="9279">0</cx:pt>
          <cx:pt idx="9280">0</cx:pt>
          <cx:pt idx="9281">0</cx:pt>
          <cx:pt idx="9282">1</cx:pt>
          <cx:pt idx="9283">1</cx:pt>
          <cx:pt idx="9284">0</cx:pt>
          <cx:pt idx="9285">0</cx:pt>
          <cx:pt idx="9286">0</cx:pt>
          <cx:pt idx="9287">0</cx:pt>
          <cx:pt idx="9288">1</cx:pt>
          <cx:pt idx="9289">0</cx:pt>
          <cx:pt idx="9290">1</cx:pt>
          <cx:pt idx="9291">0</cx:pt>
          <cx:pt idx="9292">0</cx:pt>
          <cx:pt idx="9293">1</cx:pt>
          <cx:pt idx="9294">0</cx:pt>
          <cx:pt idx="9295">0</cx:pt>
          <cx:pt idx="9296">0</cx:pt>
          <cx:pt idx="9297">0</cx:pt>
          <cx:pt idx="9298">0</cx:pt>
          <cx:pt idx="9299">0</cx:pt>
          <cx:pt idx="9300">1</cx:pt>
          <cx:pt idx="9301">0</cx:pt>
          <cx:pt idx="9302">0</cx:pt>
          <cx:pt idx="9303">1</cx:pt>
          <cx:pt idx="9304">1</cx:pt>
          <cx:pt idx="9305">1</cx:pt>
          <cx:pt idx="9306">1</cx:pt>
          <cx:pt idx="9307">0</cx:pt>
          <cx:pt idx="9308">1</cx:pt>
          <cx:pt idx="9309">0</cx:pt>
          <cx:pt idx="9310">0</cx:pt>
          <cx:pt idx="9311">1</cx:pt>
          <cx:pt idx="9312">0</cx:pt>
          <cx:pt idx="9313">0</cx:pt>
          <cx:pt idx="9314">0</cx:pt>
          <cx:pt idx="9315">0</cx:pt>
          <cx:pt idx="9316">0</cx:pt>
          <cx:pt idx="9317">0</cx:pt>
          <cx:pt idx="9318">1</cx:pt>
          <cx:pt idx="9319">1</cx:pt>
          <cx:pt idx="9320">1</cx:pt>
          <cx:pt idx="9321">0</cx:pt>
          <cx:pt idx="9322">1</cx:pt>
          <cx:pt idx="9323">0</cx:pt>
          <cx:pt idx="9324">1</cx:pt>
          <cx:pt idx="9325">0</cx:pt>
          <cx:pt idx="9326">0</cx:pt>
          <cx:pt idx="9327">1</cx:pt>
          <cx:pt idx="9328">0</cx:pt>
          <cx:pt idx="9329">1</cx:pt>
          <cx:pt idx="9330">0</cx:pt>
          <cx:pt idx="9331">0</cx:pt>
          <cx:pt idx="9332">1</cx:pt>
          <cx:pt idx="9333">1</cx:pt>
          <cx:pt idx="9334">1</cx:pt>
          <cx:pt idx="9335">0</cx:pt>
          <cx:pt idx="9336">1</cx:pt>
          <cx:pt idx="9337">0</cx:pt>
          <cx:pt idx="9338">0</cx:pt>
          <cx:pt idx="9339">0</cx:pt>
          <cx:pt idx="9340">0</cx:pt>
          <cx:pt idx="9341">0</cx:pt>
          <cx:pt idx="9342">0</cx:pt>
          <cx:pt idx="9343">1</cx:pt>
          <cx:pt idx="9344">1</cx:pt>
          <cx:pt idx="9345">1</cx:pt>
          <cx:pt idx="9346">1</cx:pt>
          <cx:pt idx="9347">0</cx:pt>
          <cx:pt idx="9348">1</cx:pt>
          <cx:pt idx="9349">0</cx:pt>
          <cx:pt idx="9350">1</cx:pt>
          <cx:pt idx="9351">0</cx:pt>
          <cx:pt idx="9352">1</cx:pt>
          <cx:pt idx="9353">1</cx:pt>
          <cx:pt idx="9354">0</cx:pt>
          <cx:pt idx="9355">1</cx:pt>
          <cx:pt idx="9356">1</cx:pt>
          <cx:pt idx="9357">0</cx:pt>
          <cx:pt idx="9358">0</cx:pt>
          <cx:pt idx="9359">0</cx:pt>
          <cx:pt idx="9360">1</cx:pt>
          <cx:pt idx="9361">1</cx:pt>
          <cx:pt idx="9362">1</cx:pt>
          <cx:pt idx="9363">1</cx:pt>
          <cx:pt idx="9364">0</cx:pt>
          <cx:pt idx="9365">0</cx:pt>
          <cx:pt idx="9366">0</cx:pt>
          <cx:pt idx="9367">0</cx:pt>
          <cx:pt idx="9368">0</cx:pt>
          <cx:pt idx="9369">1</cx:pt>
          <cx:pt idx="9370">0</cx:pt>
          <cx:pt idx="9371">0</cx:pt>
          <cx:pt idx="9372">0</cx:pt>
          <cx:pt idx="9373">0</cx:pt>
          <cx:pt idx="9374">1</cx:pt>
          <cx:pt idx="9375">0</cx:pt>
          <cx:pt idx="9376">0</cx:pt>
          <cx:pt idx="9377">0</cx:pt>
          <cx:pt idx="9378">1</cx:pt>
          <cx:pt idx="9379">1</cx:pt>
          <cx:pt idx="9380">0</cx:pt>
          <cx:pt idx="9381">1</cx:pt>
          <cx:pt idx="9382">0</cx:pt>
          <cx:pt idx="9383">1</cx:pt>
          <cx:pt idx="9384">1</cx:pt>
          <cx:pt idx="9385">0</cx:pt>
          <cx:pt idx="9386">0</cx:pt>
          <cx:pt idx="9387">0</cx:pt>
          <cx:pt idx="9388">0</cx:pt>
          <cx:pt idx="9389">1</cx:pt>
          <cx:pt idx="9390">0</cx:pt>
          <cx:pt idx="9391">1</cx:pt>
          <cx:pt idx="9392">0</cx:pt>
          <cx:pt idx="9393">1</cx:pt>
          <cx:pt idx="9394">0</cx:pt>
          <cx:pt idx="9395">0</cx:pt>
          <cx:pt idx="9396">0</cx:pt>
          <cx:pt idx="9397">0</cx:pt>
          <cx:pt idx="9398">0</cx:pt>
          <cx:pt idx="9399">0</cx:pt>
          <cx:pt idx="9400">1</cx:pt>
          <cx:pt idx="9401">1</cx:pt>
          <cx:pt idx="9402">0</cx:pt>
          <cx:pt idx="9403">0</cx:pt>
          <cx:pt idx="9404">1</cx:pt>
          <cx:pt idx="9405">0</cx:pt>
          <cx:pt idx="9406">0</cx:pt>
          <cx:pt idx="9407">0</cx:pt>
          <cx:pt idx="9408">0</cx:pt>
          <cx:pt idx="9409">0</cx:pt>
          <cx:pt idx="9410">1</cx:pt>
          <cx:pt idx="9411">1</cx:pt>
          <cx:pt idx="9412">1</cx:pt>
          <cx:pt idx="9413">0</cx:pt>
          <cx:pt idx="9414">0</cx:pt>
          <cx:pt idx="9415">1</cx:pt>
          <cx:pt idx="9416">0</cx:pt>
          <cx:pt idx="9417">1</cx:pt>
          <cx:pt idx="9418">1</cx:pt>
          <cx:pt idx="9419">0</cx:pt>
          <cx:pt idx="9420">0</cx:pt>
          <cx:pt idx="9421">1</cx:pt>
          <cx:pt idx="9422">0</cx:pt>
          <cx:pt idx="9423">0</cx:pt>
          <cx:pt idx="9424">0</cx:pt>
          <cx:pt idx="9425">0</cx:pt>
          <cx:pt idx="9426">1</cx:pt>
          <cx:pt idx="9427">0</cx:pt>
          <cx:pt idx="9428">1</cx:pt>
          <cx:pt idx="9429">0</cx:pt>
          <cx:pt idx="9430">0</cx:pt>
          <cx:pt idx="9431">0</cx:pt>
          <cx:pt idx="9432">0</cx:pt>
          <cx:pt idx="9433">0</cx:pt>
          <cx:pt idx="9434">0</cx:pt>
          <cx:pt idx="9435">1</cx:pt>
          <cx:pt idx="9436">1</cx:pt>
          <cx:pt idx="9437">0</cx:pt>
          <cx:pt idx="9438">1</cx:pt>
          <cx:pt idx="9439">1</cx:pt>
          <cx:pt idx="9440">0</cx:pt>
          <cx:pt idx="9441">0</cx:pt>
          <cx:pt idx="9442">0</cx:pt>
          <cx:pt idx="9443">1</cx:pt>
          <cx:pt idx="9444">0</cx:pt>
          <cx:pt idx="9445">0</cx:pt>
          <cx:pt idx="9446">0</cx:pt>
          <cx:pt idx="9447">0</cx:pt>
          <cx:pt idx="9448">0</cx:pt>
          <cx:pt idx="9449">0</cx:pt>
          <cx:pt idx="9450">0</cx:pt>
          <cx:pt idx="9451">1</cx:pt>
          <cx:pt idx="9452">1</cx:pt>
          <cx:pt idx="9453">0</cx:pt>
          <cx:pt idx="9454">0</cx:pt>
          <cx:pt idx="9455">1</cx:pt>
          <cx:pt idx="9456">1</cx:pt>
          <cx:pt idx="9457">0</cx:pt>
          <cx:pt idx="9458">1</cx:pt>
          <cx:pt idx="9459">0</cx:pt>
          <cx:pt idx="9460">1</cx:pt>
          <cx:pt idx="9461">1</cx:pt>
          <cx:pt idx="9462">1</cx:pt>
          <cx:pt idx="9463">0</cx:pt>
          <cx:pt idx="9464">0</cx:pt>
          <cx:pt idx="9465">1</cx:pt>
          <cx:pt idx="9466">0</cx:pt>
          <cx:pt idx="9467">1</cx:pt>
          <cx:pt idx="9468">0</cx:pt>
          <cx:pt idx="9469">1</cx:pt>
          <cx:pt idx="9470">0</cx:pt>
          <cx:pt idx="9471">1</cx:pt>
          <cx:pt idx="9472">0</cx:pt>
          <cx:pt idx="9473">1</cx:pt>
          <cx:pt idx="9474">0</cx:pt>
          <cx:pt idx="9475">0</cx:pt>
          <cx:pt idx="9476">0</cx:pt>
          <cx:pt idx="9477">0</cx:pt>
          <cx:pt idx="9478">1</cx:pt>
          <cx:pt idx="9479">0</cx:pt>
          <cx:pt idx="9480">1</cx:pt>
          <cx:pt idx="9481">1</cx:pt>
          <cx:pt idx="9482">0</cx:pt>
          <cx:pt idx="9483">0</cx:pt>
          <cx:pt idx="9484">1</cx:pt>
          <cx:pt idx="9485">1</cx:pt>
          <cx:pt idx="9486">1</cx:pt>
          <cx:pt idx="9487">0</cx:pt>
          <cx:pt idx="9488">0</cx:pt>
          <cx:pt idx="9489">1</cx:pt>
          <cx:pt idx="9490">1</cx:pt>
          <cx:pt idx="9491">0</cx:pt>
          <cx:pt idx="9492">1</cx:pt>
          <cx:pt idx="9493">0</cx:pt>
          <cx:pt idx="9494">1</cx:pt>
          <cx:pt idx="9495">0</cx:pt>
          <cx:pt idx="9496">0</cx:pt>
          <cx:pt idx="9497">0</cx:pt>
          <cx:pt idx="9498">1</cx:pt>
          <cx:pt idx="9499">1</cx:pt>
          <cx:pt idx="9500">1</cx:pt>
          <cx:pt idx="9501">0</cx:pt>
          <cx:pt idx="9502">1</cx:pt>
          <cx:pt idx="9503">1</cx:pt>
          <cx:pt idx="9504">1</cx:pt>
          <cx:pt idx="9505">0</cx:pt>
          <cx:pt idx="9506">0</cx:pt>
          <cx:pt idx="9507">0</cx:pt>
          <cx:pt idx="9508">1</cx:pt>
          <cx:pt idx="9509">0</cx:pt>
          <cx:pt idx="9510">0</cx:pt>
          <cx:pt idx="9511">0</cx:pt>
          <cx:pt idx="9512">0</cx:pt>
          <cx:pt idx="9513">1</cx:pt>
          <cx:pt idx="9514">1</cx:pt>
          <cx:pt idx="9515">0</cx:pt>
          <cx:pt idx="9516">1</cx:pt>
          <cx:pt idx="9517">0</cx:pt>
          <cx:pt idx="9518">1</cx:pt>
          <cx:pt idx="9519">1</cx:pt>
          <cx:pt idx="9520">1</cx:pt>
          <cx:pt idx="9521">1</cx:pt>
          <cx:pt idx="9522">1</cx:pt>
          <cx:pt idx="9523">0</cx:pt>
          <cx:pt idx="9524">1</cx:pt>
          <cx:pt idx="9525">1</cx:pt>
          <cx:pt idx="9526">0</cx:pt>
          <cx:pt idx="9527">1</cx:pt>
          <cx:pt idx="9528">0</cx:pt>
          <cx:pt idx="9529">0</cx:pt>
          <cx:pt idx="9530">1</cx:pt>
          <cx:pt idx="9531">1</cx:pt>
          <cx:pt idx="9532">0</cx:pt>
          <cx:pt idx="9533">0</cx:pt>
          <cx:pt idx="9534">0</cx:pt>
          <cx:pt idx="9535">0</cx:pt>
          <cx:pt idx="9536">0</cx:pt>
          <cx:pt idx="9537">1</cx:pt>
          <cx:pt idx="9538">0</cx:pt>
          <cx:pt idx="9539">1</cx:pt>
          <cx:pt idx="9540">0</cx:pt>
          <cx:pt idx="9541">0</cx:pt>
          <cx:pt idx="9542">1</cx:pt>
          <cx:pt idx="9543">0</cx:pt>
          <cx:pt idx="9544">0</cx:pt>
          <cx:pt idx="9545">1</cx:pt>
          <cx:pt idx="9546">1</cx:pt>
          <cx:pt idx="9547">0</cx:pt>
          <cx:pt idx="9548">1</cx:pt>
          <cx:pt idx="9549">0</cx:pt>
          <cx:pt idx="9550">1</cx:pt>
          <cx:pt idx="9551">0</cx:pt>
          <cx:pt idx="9552">1</cx:pt>
          <cx:pt idx="9553">0</cx:pt>
          <cx:pt idx="9554">0</cx:pt>
          <cx:pt idx="9555">1</cx:pt>
          <cx:pt idx="9556">1</cx:pt>
          <cx:pt idx="9557">0</cx:pt>
          <cx:pt idx="9558">0</cx:pt>
          <cx:pt idx="9559">1</cx:pt>
          <cx:pt idx="9560">1</cx:pt>
          <cx:pt idx="9561">0</cx:pt>
          <cx:pt idx="9562">0</cx:pt>
          <cx:pt idx="9563">0</cx:pt>
          <cx:pt idx="9564">1</cx:pt>
          <cx:pt idx="9565">0</cx:pt>
          <cx:pt idx="9566">1</cx:pt>
          <cx:pt idx="9567">1</cx:pt>
          <cx:pt idx="9568">0</cx:pt>
          <cx:pt idx="9569">0</cx:pt>
          <cx:pt idx="9570">0</cx:pt>
          <cx:pt idx="9571">1</cx:pt>
          <cx:pt idx="9572">1</cx:pt>
          <cx:pt idx="9573">1</cx:pt>
          <cx:pt idx="9574">0</cx:pt>
          <cx:pt idx="9575">0</cx:pt>
          <cx:pt idx="9576">0</cx:pt>
          <cx:pt idx="9577">1</cx:pt>
          <cx:pt idx="9578">1</cx:pt>
          <cx:pt idx="9579">1</cx:pt>
          <cx:pt idx="9580">0</cx:pt>
          <cx:pt idx="9581">1</cx:pt>
          <cx:pt idx="9582">0</cx:pt>
          <cx:pt idx="9583">1</cx:pt>
          <cx:pt idx="9584">0</cx:pt>
          <cx:pt idx="9585">0</cx:pt>
          <cx:pt idx="9586">1</cx:pt>
          <cx:pt idx="9587">0</cx:pt>
          <cx:pt idx="9588">1</cx:pt>
          <cx:pt idx="9589">0</cx:pt>
          <cx:pt idx="9590">1</cx:pt>
          <cx:pt idx="9591">0</cx:pt>
          <cx:pt idx="9592">0</cx:pt>
          <cx:pt idx="9593">0</cx:pt>
          <cx:pt idx="9594">1</cx:pt>
          <cx:pt idx="9595">1</cx:pt>
          <cx:pt idx="9596">1</cx:pt>
          <cx:pt idx="9597">0</cx:pt>
          <cx:pt idx="9598">0</cx:pt>
          <cx:pt idx="9599">0</cx:pt>
          <cx:pt idx="9600">1</cx:pt>
          <cx:pt idx="9601">1</cx:pt>
          <cx:pt idx="9602">1</cx:pt>
          <cx:pt idx="9603">1</cx:pt>
          <cx:pt idx="9604">1</cx:pt>
          <cx:pt idx="9605">0</cx:pt>
          <cx:pt idx="9606">1</cx:pt>
          <cx:pt idx="9607">0</cx:pt>
          <cx:pt idx="9608">1</cx:pt>
          <cx:pt idx="9609">1</cx:pt>
          <cx:pt idx="9610">1</cx:pt>
          <cx:pt idx="9611">0</cx:pt>
          <cx:pt idx="9612">1</cx:pt>
          <cx:pt idx="9613">0</cx:pt>
          <cx:pt idx="9614">0</cx:pt>
          <cx:pt idx="9615">0</cx:pt>
          <cx:pt idx="9616">0</cx:pt>
          <cx:pt idx="9617">0</cx:pt>
          <cx:pt idx="9618">1</cx:pt>
          <cx:pt idx="9619">1</cx:pt>
          <cx:pt idx="9620">1</cx:pt>
          <cx:pt idx="9621">0</cx:pt>
          <cx:pt idx="9622">1</cx:pt>
          <cx:pt idx="9623">1</cx:pt>
          <cx:pt idx="9624">0</cx:pt>
          <cx:pt idx="9625">1</cx:pt>
          <cx:pt idx="9626">0</cx:pt>
          <cx:pt idx="9627">1</cx:pt>
          <cx:pt idx="9628">0</cx:pt>
          <cx:pt idx="9629">0</cx:pt>
          <cx:pt idx="9630">1</cx:pt>
          <cx:pt idx="9631">1</cx:pt>
          <cx:pt idx="9632">0</cx:pt>
          <cx:pt idx="9633">0</cx:pt>
          <cx:pt idx="9634">1</cx:pt>
          <cx:pt idx="9635">0</cx:pt>
          <cx:pt idx="9636">0</cx:pt>
          <cx:pt idx="9637">0</cx:pt>
          <cx:pt idx="9638">1</cx:pt>
          <cx:pt idx="9639">0</cx:pt>
          <cx:pt idx="9640">1</cx:pt>
          <cx:pt idx="9641">0</cx:pt>
          <cx:pt idx="9642">1</cx:pt>
          <cx:pt idx="9643">1</cx:pt>
          <cx:pt idx="9644">0</cx:pt>
          <cx:pt idx="9645">0</cx:pt>
          <cx:pt idx="9646">0</cx:pt>
          <cx:pt idx="9647">1</cx:pt>
          <cx:pt idx="9648">0</cx:pt>
          <cx:pt idx="9649">0</cx:pt>
          <cx:pt idx="9650">0</cx:pt>
          <cx:pt idx="9651">0</cx:pt>
          <cx:pt idx="9652">1</cx:pt>
          <cx:pt idx="9653">0</cx:pt>
          <cx:pt idx="9654">0</cx:pt>
          <cx:pt idx="9655">0</cx:pt>
          <cx:pt idx="9656">0</cx:pt>
          <cx:pt idx="9657">0</cx:pt>
          <cx:pt idx="9658">0</cx:pt>
          <cx:pt idx="9659">1</cx:pt>
          <cx:pt idx="9660">1</cx:pt>
          <cx:pt idx="9661">0</cx:pt>
          <cx:pt idx="9662">0</cx:pt>
          <cx:pt idx="9663">1</cx:pt>
          <cx:pt idx="9664">0</cx:pt>
          <cx:pt idx="9665">1</cx:pt>
          <cx:pt idx="9666">0</cx:pt>
          <cx:pt idx="9667">1</cx:pt>
          <cx:pt idx="9668">1</cx:pt>
          <cx:pt idx="9669">0</cx:pt>
          <cx:pt idx="9670">0</cx:pt>
          <cx:pt idx="9671">1</cx:pt>
          <cx:pt idx="9672">0</cx:pt>
          <cx:pt idx="9673">1</cx:pt>
          <cx:pt idx="9674">1</cx:pt>
          <cx:pt idx="9675">0</cx:pt>
          <cx:pt idx="9676">0</cx:pt>
          <cx:pt idx="9677">0</cx:pt>
          <cx:pt idx="9678">1</cx:pt>
          <cx:pt idx="9679">0</cx:pt>
          <cx:pt idx="9680">1</cx:pt>
          <cx:pt idx="9681">1</cx:pt>
          <cx:pt idx="9682">0</cx:pt>
          <cx:pt idx="9683">0</cx:pt>
          <cx:pt idx="9684">1</cx:pt>
          <cx:pt idx="9685">1</cx:pt>
          <cx:pt idx="9686">0</cx:pt>
          <cx:pt idx="9687">0</cx:pt>
          <cx:pt idx="9688">1</cx:pt>
          <cx:pt idx="9689">1</cx:pt>
          <cx:pt idx="9690">0</cx:pt>
          <cx:pt idx="9691">0</cx:pt>
          <cx:pt idx="9692">0</cx:pt>
          <cx:pt idx="9693">0</cx:pt>
          <cx:pt idx="9694">0</cx:pt>
          <cx:pt idx="9695">1</cx:pt>
          <cx:pt idx="9696">0</cx:pt>
          <cx:pt idx="9697">0</cx:pt>
          <cx:pt idx="9698">1</cx:pt>
          <cx:pt idx="9699">1</cx:pt>
          <cx:pt idx="9700">1</cx:pt>
          <cx:pt idx="9701">0</cx:pt>
          <cx:pt idx="9702">0</cx:pt>
          <cx:pt idx="9703">0</cx:pt>
          <cx:pt idx="9704">1</cx:pt>
          <cx:pt idx="9705">0</cx:pt>
          <cx:pt idx="9706">0</cx:pt>
          <cx:pt idx="9707">0</cx:pt>
          <cx:pt idx="9708">0</cx:pt>
          <cx:pt idx="9709">1</cx:pt>
          <cx:pt idx="9710">0</cx:pt>
          <cx:pt idx="9711">1</cx:pt>
          <cx:pt idx="9712">0</cx:pt>
          <cx:pt idx="9713">1</cx:pt>
          <cx:pt idx="9714">1</cx:pt>
          <cx:pt idx="9715">0</cx:pt>
          <cx:pt idx="9716">1</cx:pt>
          <cx:pt idx="9717">1</cx:pt>
          <cx:pt idx="9718">1</cx:pt>
          <cx:pt idx="9719">1</cx:pt>
          <cx:pt idx="9720">0</cx:pt>
          <cx:pt idx="9721">0</cx:pt>
          <cx:pt idx="9722">1</cx:pt>
          <cx:pt idx="9723">0</cx:pt>
          <cx:pt idx="9724">1</cx:pt>
          <cx:pt idx="9725">1</cx:pt>
          <cx:pt idx="9726">0</cx:pt>
          <cx:pt idx="9727">0</cx:pt>
          <cx:pt idx="9728">1</cx:pt>
          <cx:pt idx="9729">0</cx:pt>
          <cx:pt idx="9730">0</cx:pt>
          <cx:pt idx="9731">0</cx:pt>
          <cx:pt idx="9732">1</cx:pt>
          <cx:pt idx="9733">0</cx:pt>
          <cx:pt idx="9734">0</cx:pt>
          <cx:pt idx="9735">0</cx:pt>
          <cx:pt idx="9736">1</cx:pt>
          <cx:pt idx="9737">0</cx:pt>
          <cx:pt idx="9738">0</cx:pt>
          <cx:pt idx="9739">0</cx:pt>
          <cx:pt idx="9740">0</cx:pt>
          <cx:pt idx="9741">1</cx:pt>
          <cx:pt idx="9742">0</cx:pt>
          <cx:pt idx="9743">1</cx:pt>
          <cx:pt idx="9744">0</cx:pt>
          <cx:pt idx="9745">0</cx:pt>
          <cx:pt idx="9746">1</cx:pt>
          <cx:pt idx="9747">1</cx:pt>
          <cx:pt idx="9748">0</cx:pt>
          <cx:pt idx="9749">1</cx:pt>
          <cx:pt idx="9750">1</cx:pt>
          <cx:pt idx="9751">0</cx:pt>
          <cx:pt idx="9752">0</cx:pt>
          <cx:pt idx="9753">0</cx:pt>
          <cx:pt idx="9754">1</cx:pt>
          <cx:pt idx="9755">0</cx:pt>
          <cx:pt idx="9756">0</cx:pt>
          <cx:pt idx="9757">0</cx:pt>
          <cx:pt idx="9758">0</cx:pt>
          <cx:pt idx="9759">0</cx:pt>
          <cx:pt idx="9760">1</cx:pt>
          <cx:pt idx="9761">0</cx:pt>
          <cx:pt idx="9762">1</cx:pt>
          <cx:pt idx="9763">0</cx:pt>
          <cx:pt idx="9764">0</cx:pt>
          <cx:pt idx="9765">0</cx:pt>
          <cx:pt idx="9766">1</cx:pt>
          <cx:pt idx="9767">1</cx:pt>
          <cx:pt idx="9768">1</cx:pt>
          <cx:pt idx="9769">0</cx:pt>
          <cx:pt idx="9770">0</cx:pt>
          <cx:pt idx="9771">0</cx:pt>
          <cx:pt idx="9772">1</cx:pt>
          <cx:pt idx="9773">0</cx:pt>
          <cx:pt idx="9774">0</cx:pt>
          <cx:pt idx="9775">0</cx:pt>
          <cx:pt idx="9776">0</cx:pt>
          <cx:pt idx="9777">1</cx:pt>
          <cx:pt idx="9778">0</cx:pt>
          <cx:pt idx="9779">1</cx:pt>
          <cx:pt idx="9780">0</cx:pt>
          <cx:pt idx="9781">0</cx:pt>
          <cx:pt idx="9782">1</cx:pt>
          <cx:pt idx="9783">0</cx:pt>
          <cx:pt idx="9784">1</cx:pt>
          <cx:pt idx="9785">0</cx:pt>
          <cx:pt idx="9786">0</cx:pt>
          <cx:pt idx="9787">0</cx:pt>
          <cx:pt idx="9788">1</cx:pt>
          <cx:pt idx="9789">0</cx:pt>
          <cx:pt idx="9790">1</cx:pt>
          <cx:pt idx="9791">0</cx:pt>
          <cx:pt idx="9792">1</cx:pt>
          <cx:pt idx="9793">0</cx:pt>
          <cx:pt idx="9794">0</cx:pt>
          <cx:pt idx="9795">0</cx:pt>
          <cx:pt idx="9796">0</cx:pt>
          <cx:pt idx="9797">0</cx:pt>
          <cx:pt idx="9798">0</cx:pt>
          <cx:pt idx="9799">1</cx:pt>
          <cx:pt idx="9800">1</cx:pt>
          <cx:pt idx="9801">1</cx:pt>
          <cx:pt idx="9802">1</cx:pt>
          <cx:pt idx="9803">0</cx:pt>
          <cx:pt idx="9804">1</cx:pt>
          <cx:pt idx="9805">0</cx:pt>
          <cx:pt idx="9806">0</cx:pt>
          <cx:pt idx="9807">0</cx:pt>
          <cx:pt idx="9808">1</cx:pt>
          <cx:pt idx="9809">0</cx:pt>
          <cx:pt idx="9810">0</cx:pt>
          <cx:pt idx="9811">1</cx:pt>
          <cx:pt idx="9812">1</cx:pt>
          <cx:pt idx="9813">1</cx:pt>
          <cx:pt idx="9814">1</cx:pt>
          <cx:pt idx="9815">0</cx:pt>
          <cx:pt idx="9816">0</cx:pt>
          <cx:pt idx="9817">0</cx:pt>
          <cx:pt idx="9818">0</cx:pt>
          <cx:pt idx="9819">0</cx:pt>
          <cx:pt idx="9820">0</cx:pt>
          <cx:pt idx="9821">0</cx:pt>
          <cx:pt idx="9822">1</cx:pt>
          <cx:pt idx="9823">0</cx:pt>
          <cx:pt idx="9824">0</cx:pt>
          <cx:pt idx="9825">0</cx:pt>
          <cx:pt idx="9826">1</cx:pt>
          <cx:pt idx="9827">0</cx:pt>
          <cx:pt idx="9828">1</cx:pt>
          <cx:pt idx="9829">1</cx:pt>
          <cx:pt idx="9830">1</cx:pt>
          <cx:pt idx="9831">0</cx:pt>
          <cx:pt idx="9832">1</cx:pt>
          <cx:pt idx="9833">1</cx:pt>
          <cx:pt idx="9834">1</cx:pt>
          <cx:pt idx="9835">1</cx:pt>
          <cx:pt idx="9836">0</cx:pt>
          <cx:pt idx="9837">0</cx:pt>
          <cx:pt idx="9838">0</cx:pt>
          <cx:pt idx="9839">1</cx:pt>
          <cx:pt idx="9840">1</cx:pt>
          <cx:pt idx="9841">0</cx:pt>
          <cx:pt idx="9842">1</cx:pt>
          <cx:pt idx="9843">1</cx:pt>
          <cx:pt idx="9844">0</cx:pt>
          <cx:pt idx="9845">0</cx:pt>
          <cx:pt idx="9846">0</cx:pt>
          <cx:pt idx="9847">0</cx:pt>
          <cx:pt idx="9848">0</cx:pt>
          <cx:pt idx="9849">0</cx:pt>
          <cx:pt idx="9850">1</cx:pt>
          <cx:pt idx="9851">0</cx:pt>
          <cx:pt idx="9852">1</cx:pt>
          <cx:pt idx="9853">0</cx:pt>
          <cx:pt idx="9854">1</cx:pt>
          <cx:pt idx="9855">0</cx:pt>
          <cx:pt idx="9856">1</cx:pt>
          <cx:pt idx="9857">1</cx:pt>
          <cx:pt idx="9858">0</cx:pt>
          <cx:pt idx="9859">0</cx:pt>
          <cx:pt idx="9860">0</cx:pt>
          <cx:pt idx="9861">1</cx:pt>
          <cx:pt idx="9862">1</cx:pt>
          <cx:pt idx="9863">1</cx:pt>
          <cx:pt idx="9864">0</cx:pt>
          <cx:pt idx="9865">1</cx:pt>
          <cx:pt idx="9866">0</cx:pt>
          <cx:pt idx="9867">1</cx:pt>
          <cx:pt idx="9868">0</cx:pt>
          <cx:pt idx="9869">0</cx:pt>
          <cx:pt idx="9870">1</cx:pt>
          <cx:pt idx="9871">0</cx:pt>
          <cx:pt idx="9872">0</cx:pt>
          <cx:pt idx="9873">1</cx:pt>
          <cx:pt idx="9874">0</cx:pt>
          <cx:pt idx="9875">1</cx:pt>
          <cx:pt idx="9876">0</cx:pt>
          <cx:pt idx="9877">1</cx:pt>
          <cx:pt idx="9878">1</cx:pt>
          <cx:pt idx="9879">1</cx:pt>
          <cx:pt idx="9880">1</cx:pt>
          <cx:pt idx="9881">0</cx:pt>
          <cx:pt idx="9882">0</cx:pt>
          <cx:pt idx="9883">1</cx:pt>
          <cx:pt idx="9884">0</cx:pt>
          <cx:pt idx="9885">1</cx:pt>
          <cx:pt idx="9886">0</cx:pt>
          <cx:pt idx="9887">0</cx:pt>
          <cx:pt idx="9888">1</cx:pt>
          <cx:pt idx="9889">0</cx:pt>
          <cx:pt idx="9890">0</cx:pt>
          <cx:pt idx="9891">0</cx:pt>
          <cx:pt idx="9892">0</cx:pt>
          <cx:pt idx="9893">0</cx:pt>
          <cx:pt idx="9894">1</cx:pt>
          <cx:pt idx="9895">1</cx:pt>
          <cx:pt idx="9896">1</cx:pt>
          <cx:pt idx="9897">0</cx:pt>
          <cx:pt idx="9898">0</cx:pt>
          <cx:pt idx="9899">1</cx:pt>
          <cx:pt idx="9900">1</cx:pt>
          <cx:pt idx="9901">0</cx:pt>
          <cx:pt idx="9902">1</cx:pt>
          <cx:pt idx="9903">0</cx:pt>
          <cx:pt idx="9904">0</cx:pt>
          <cx:pt idx="9905">0</cx:pt>
          <cx:pt idx="9906">0</cx:pt>
          <cx:pt idx="9907">0</cx:pt>
          <cx:pt idx="9908">0</cx:pt>
          <cx:pt idx="9909">0</cx:pt>
          <cx:pt idx="9910">0</cx:pt>
          <cx:pt idx="9911">1</cx:pt>
          <cx:pt idx="9912">1</cx:pt>
          <cx:pt idx="9913">1</cx:pt>
          <cx:pt idx="9914">0</cx:pt>
          <cx:pt idx="9915">0</cx:pt>
          <cx:pt idx="9916">1</cx:pt>
          <cx:pt idx="9917">1</cx:pt>
          <cx:pt idx="9918">0</cx:pt>
          <cx:pt idx="9919">0</cx:pt>
          <cx:pt idx="9920">1</cx:pt>
          <cx:pt idx="9921">1</cx:pt>
          <cx:pt idx="9922">0</cx:pt>
          <cx:pt idx="9923">1</cx:pt>
          <cx:pt idx="9924">0</cx:pt>
          <cx:pt idx="9925">1</cx:pt>
          <cx:pt idx="9926">1</cx:pt>
          <cx:pt idx="9927">0</cx:pt>
          <cx:pt idx="9928">0</cx:pt>
          <cx:pt idx="9929">1</cx:pt>
          <cx:pt idx="9930">0</cx:pt>
          <cx:pt idx="9931">0</cx:pt>
          <cx:pt idx="9932">1</cx:pt>
          <cx:pt idx="9933">1</cx:pt>
          <cx:pt idx="9934">0</cx:pt>
          <cx:pt idx="9935">0</cx:pt>
          <cx:pt idx="9936">0</cx:pt>
          <cx:pt idx="9937">1</cx:pt>
          <cx:pt idx="9938">0</cx:pt>
          <cx:pt idx="9939">0</cx:pt>
          <cx:pt idx="9940">0</cx:pt>
          <cx:pt idx="9941">1</cx:pt>
          <cx:pt idx="9942">1</cx:pt>
          <cx:pt idx="9943">1</cx:pt>
          <cx:pt idx="9944">0</cx:pt>
          <cx:pt idx="9945">0</cx:pt>
          <cx:pt idx="9946">0</cx:pt>
          <cx:pt idx="9947">0</cx:pt>
          <cx:pt idx="9948">1</cx:pt>
          <cx:pt idx="9949">1</cx:pt>
          <cx:pt idx="9950">0</cx:pt>
          <cx:pt idx="9951">1</cx:pt>
          <cx:pt idx="9952">0</cx:pt>
          <cx:pt idx="9953">0</cx:pt>
          <cx:pt idx="9954">1</cx:pt>
          <cx:pt idx="9955">0</cx:pt>
          <cx:pt idx="9956">0</cx:pt>
          <cx:pt idx="9957">0</cx:pt>
          <cx:pt idx="9958">0</cx:pt>
          <cx:pt idx="9959">0</cx:pt>
          <cx:pt idx="9960">0</cx:pt>
          <cx:pt idx="9961">1</cx:pt>
          <cx:pt idx="9962">0</cx:pt>
          <cx:pt idx="9963">0</cx:pt>
          <cx:pt idx="9964">0</cx:pt>
          <cx:pt idx="9965">1</cx:pt>
          <cx:pt idx="9966">0</cx:pt>
          <cx:pt idx="9967">0</cx:pt>
          <cx:pt idx="9968">0</cx:pt>
          <cx:pt idx="9969">1</cx:pt>
          <cx:pt idx="9970">1</cx:pt>
          <cx:pt idx="9971">1</cx:pt>
          <cx:pt idx="9972">1</cx:pt>
          <cx:pt idx="9973">0</cx:pt>
          <cx:pt idx="9974">0</cx:pt>
          <cx:pt idx="9975">0</cx:pt>
          <cx:pt idx="9976">1</cx:pt>
          <cx:pt idx="9977">0</cx:pt>
          <cx:pt idx="9978">1</cx:pt>
          <cx:pt idx="9979">1</cx:pt>
          <cx:pt idx="9980">1</cx:pt>
          <cx:pt idx="9981">0</cx:pt>
          <cx:pt idx="9982">0</cx:pt>
          <cx:pt idx="9983">1</cx:pt>
          <cx:pt idx="9984">1</cx:pt>
          <cx:pt idx="9985">1</cx:pt>
          <cx:pt idx="9986">1</cx:pt>
          <cx:pt idx="9987">0</cx:pt>
          <cx:pt idx="9988">0</cx:pt>
          <cx:pt idx="9989">1</cx:pt>
          <cx:pt idx="9990">0</cx:pt>
          <cx:pt idx="9991">0</cx:pt>
          <cx:pt idx="9992">0</cx:pt>
          <cx:pt idx="9993">1</cx:pt>
          <cx:pt idx="9994">1</cx:pt>
          <cx:pt idx="9995">1</cx:pt>
          <cx:pt idx="9996">1</cx:pt>
          <cx:pt idx="9997">1</cx:pt>
          <cx:pt idx="9998">1</cx:pt>
          <cx:pt idx="9999">1</cx:pt>
          <cx:pt idx="10000">1</cx:pt>
          <cx:pt idx="10001">1</cx:pt>
          <cx:pt idx="10002">0</cx:pt>
          <cx:pt idx="10003">0</cx:pt>
          <cx:pt idx="10004">1</cx:pt>
          <cx:pt idx="10005">0</cx:pt>
          <cx:pt idx="10006">0</cx:pt>
          <cx:pt idx="10007">0</cx:pt>
          <cx:pt idx="10008">0</cx:pt>
          <cx:pt idx="10009">0</cx:pt>
          <cx:pt idx="10010">0</cx:pt>
          <cx:pt idx="10011">1</cx:pt>
          <cx:pt idx="10012">0</cx:pt>
          <cx:pt idx="10013">0</cx:pt>
          <cx:pt idx="10014">0</cx:pt>
          <cx:pt idx="10015">0</cx:pt>
          <cx:pt idx="10016">0</cx:pt>
          <cx:pt idx="10017">0</cx:pt>
          <cx:pt idx="10018">1</cx:pt>
          <cx:pt idx="10019">0</cx:pt>
          <cx:pt idx="10020">0</cx:pt>
          <cx:pt idx="10021">0</cx:pt>
          <cx:pt idx="10022">0</cx:pt>
          <cx:pt idx="10023">1</cx:pt>
          <cx:pt idx="10024">0</cx:pt>
          <cx:pt idx="10025">0</cx:pt>
          <cx:pt idx="10026">0</cx:pt>
          <cx:pt idx="10027">1</cx:pt>
          <cx:pt idx="10028">0</cx:pt>
          <cx:pt idx="10029">1</cx:pt>
          <cx:pt idx="10030">1</cx:pt>
          <cx:pt idx="10031">0</cx:pt>
          <cx:pt idx="10032">0</cx:pt>
          <cx:pt idx="10033">0</cx:pt>
          <cx:pt idx="10034">0</cx:pt>
          <cx:pt idx="10035">1</cx:pt>
          <cx:pt idx="10036">1</cx:pt>
          <cx:pt idx="10037">1</cx:pt>
          <cx:pt idx="10038">1</cx:pt>
          <cx:pt idx="10039">0</cx:pt>
          <cx:pt idx="10040">1</cx:pt>
          <cx:pt idx="10041">1</cx:pt>
          <cx:pt idx="10042">0</cx:pt>
          <cx:pt idx="10043">0</cx:pt>
          <cx:pt idx="10044">0</cx:pt>
          <cx:pt idx="10045">1</cx:pt>
          <cx:pt idx="10046">0</cx:pt>
          <cx:pt idx="10047">0</cx:pt>
          <cx:pt idx="10048">1</cx:pt>
          <cx:pt idx="10049">1</cx:pt>
          <cx:pt idx="10050">1</cx:pt>
          <cx:pt idx="10051">1</cx:pt>
          <cx:pt idx="10052">0</cx:pt>
          <cx:pt idx="10053">0</cx:pt>
          <cx:pt idx="10054">1</cx:pt>
          <cx:pt idx="10055">0</cx:pt>
          <cx:pt idx="10056">1</cx:pt>
          <cx:pt idx="10057">0</cx:pt>
          <cx:pt idx="10058">1</cx:pt>
          <cx:pt idx="10059">0</cx:pt>
          <cx:pt idx="10060">1</cx:pt>
          <cx:pt idx="10061">1</cx:pt>
          <cx:pt idx="10062">0</cx:pt>
          <cx:pt idx="10063">0</cx:pt>
          <cx:pt idx="10064">1</cx:pt>
          <cx:pt idx="10065">1</cx:pt>
          <cx:pt idx="10066">1</cx:pt>
          <cx:pt idx="10067">1</cx:pt>
          <cx:pt idx="10068">1</cx:pt>
          <cx:pt idx="10069">1</cx:pt>
          <cx:pt idx="10070">0</cx:pt>
          <cx:pt idx="10071">0</cx:pt>
          <cx:pt idx="10072">1</cx:pt>
          <cx:pt idx="10073">0</cx:pt>
          <cx:pt idx="10074">0</cx:pt>
          <cx:pt idx="10075">0</cx:pt>
          <cx:pt idx="10076">1</cx:pt>
          <cx:pt idx="10077">1</cx:pt>
          <cx:pt idx="10078">1</cx:pt>
          <cx:pt idx="10079">0</cx:pt>
          <cx:pt idx="10080">0</cx:pt>
          <cx:pt idx="10081">0</cx:pt>
          <cx:pt idx="10082">0</cx:pt>
          <cx:pt idx="10083">1</cx:pt>
          <cx:pt idx="10084">0</cx:pt>
          <cx:pt idx="10085">1</cx:pt>
          <cx:pt idx="10086">0</cx:pt>
          <cx:pt idx="10087">0</cx:pt>
          <cx:pt idx="10088">0</cx:pt>
          <cx:pt idx="10089">0</cx:pt>
          <cx:pt idx="10090">0</cx:pt>
          <cx:pt idx="10091">0</cx:pt>
          <cx:pt idx="10092">1</cx:pt>
          <cx:pt idx="10093">0</cx:pt>
          <cx:pt idx="10094">0</cx:pt>
          <cx:pt idx="10095">0</cx:pt>
          <cx:pt idx="10096">0</cx:pt>
          <cx:pt idx="10097">1</cx:pt>
          <cx:pt idx="10098">1</cx:pt>
          <cx:pt idx="10099">0</cx:pt>
          <cx:pt idx="10100">1</cx:pt>
          <cx:pt idx="10101">1</cx:pt>
          <cx:pt idx="10102">1</cx:pt>
          <cx:pt idx="10103">0</cx:pt>
          <cx:pt idx="10104">0</cx:pt>
          <cx:pt idx="10105">1</cx:pt>
          <cx:pt idx="10106">0</cx:pt>
          <cx:pt idx="10107">0</cx:pt>
          <cx:pt idx="10108">1</cx:pt>
          <cx:pt idx="10109">0</cx:pt>
          <cx:pt idx="10110">0</cx:pt>
          <cx:pt idx="10111">0</cx:pt>
          <cx:pt idx="10112">1</cx:pt>
          <cx:pt idx="10113">0</cx:pt>
          <cx:pt idx="10114">0</cx:pt>
          <cx:pt idx="10115">1</cx:pt>
          <cx:pt idx="10116">1</cx:pt>
          <cx:pt idx="10117">0</cx:pt>
          <cx:pt idx="10118">1</cx:pt>
          <cx:pt idx="10119">1</cx:pt>
          <cx:pt idx="10120">1</cx:pt>
          <cx:pt idx="10121">0</cx:pt>
          <cx:pt idx="10122">0</cx:pt>
          <cx:pt idx="10123">1</cx:pt>
          <cx:pt idx="10124">1</cx:pt>
          <cx:pt idx="10125">1</cx:pt>
          <cx:pt idx="10126">1</cx:pt>
          <cx:pt idx="10127">1</cx:pt>
          <cx:pt idx="10128">1</cx:pt>
          <cx:pt idx="10129">1</cx:pt>
          <cx:pt idx="10130">1</cx:pt>
          <cx:pt idx="10131">1</cx:pt>
          <cx:pt idx="10132">1</cx:pt>
          <cx:pt idx="10133">1</cx:pt>
          <cx:pt idx="10134">1</cx:pt>
          <cx:pt idx="10135">1</cx:pt>
          <cx:pt idx="10136">1</cx:pt>
          <cx:pt idx="10137">0</cx:pt>
          <cx:pt idx="10138">1</cx:pt>
          <cx:pt idx="10139">0</cx:pt>
          <cx:pt idx="10140">1</cx:pt>
          <cx:pt idx="10141">1</cx:pt>
          <cx:pt idx="10142">1</cx:pt>
          <cx:pt idx="10143">1</cx:pt>
          <cx:pt idx="10144">1</cx:pt>
          <cx:pt idx="10145">0</cx:pt>
          <cx:pt idx="10146">0</cx:pt>
          <cx:pt idx="10147">1</cx:pt>
          <cx:pt idx="10148">0</cx:pt>
          <cx:pt idx="10149">0</cx:pt>
          <cx:pt idx="10150">1</cx:pt>
          <cx:pt idx="10151">0</cx:pt>
          <cx:pt idx="10152">0</cx:pt>
          <cx:pt idx="10153">0</cx:pt>
          <cx:pt idx="10154">0</cx:pt>
          <cx:pt idx="10155">0</cx:pt>
          <cx:pt idx="10156">0</cx:pt>
          <cx:pt idx="10157">0</cx:pt>
          <cx:pt idx="10158">1</cx:pt>
          <cx:pt idx="10159">0</cx:pt>
          <cx:pt idx="10160">0</cx:pt>
          <cx:pt idx="10161">0</cx:pt>
          <cx:pt idx="10162">0</cx:pt>
          <cx:pt idx="10163">0</cx:pt>
          <cx:pt idx="10164">0</cx:pt>
          <cx:pt idx="10165">0</cx:pt>
          <cx:pt idx="10166">0</cx:pt>
          <cx:pt idx="10167">0</cx:pt>
          <cx:pt idx="10168">1</cx:pt>
          <cx:pt idx="10169">0</cx:pt>
          <cx:pt idx="10170">1</cx:pt>
          <cx:pt idx="10171">0</cx:pt>
          <cx:pt idx="10172">1</cx:pt>
          <cx:pt idx="10173">1</cx:pt>
          <cx:pt idx="10174">1</cx:pt>
          <cx:pt idx="10175">0</cx:pt>
          <cx:pt idx="10176">0</cx:pt>
          <cx:pt idx="10177">1</cx:pt>
          <cx:pt idx="10178">1</cx:pt>
          <cx:pt idx="10179">1</cx:pt>
          <cx:pt idx="10180">1</cx:pt>
          <cx:pt idx="10181">1</cx:pt>
          <cx:pt idx="10182">1</cx:pt>
          <cx:pt idx="10183">0</cx:pt>
          <cx:pt idx="10184">0</cx:pt>
          <cx:pt idx="10185">0</cx:pt>
          <cx:pt idx="10186">0</cx:pt>
          <cx:pt idx="10187">0</cx:pt>
          <cx:pt idx="10188">1</cx:pt>
          <cx:pt idx="10189">0</cx:pt>
          <cx:pt idx="10190">1</cx:pt>
          <cx:pt idx="10191">0</cx:pt>
          <cx:pt idx="10192">1</cx:pt>
          <cx:pt idx="10193">0</cx:pt>
          <cx:pt idx="10194">0</cx:pt>
          <cx:pt idx="10195">0</cx:pt>
          <cx:pt idx="10196">0</cx:pt>
          <cx:pt idx="10197">0</cx:pt>
          <cx:pt idx="10198">1</cx:pt>
          <cx:pt idx="10199">0</cx:pt>
          <cx:pt idx="10200">1</cx:pt>
          <cx:pt idx="10201">1</cx:pt>
          <cx:pt idx="10202">1</cx:pt>
          <cx:pt idx="10203">1</cx:pt>
          <cx:pt idx="10204">1</cx:pt>
          <cx:pt idx="10205">0</cx:pt>
          <cx:pt idx="10206">0</cx:pt>
          <cx:pt idx="10207">0</cx:pt>
          <cx:pt idx="10208">0</cx:pt>
          <cx:pt idx="10209">1</cx:pt>
          <cx:pt idx="10210">0</cx:pt>
          <cx:pt idx="10211">1</cx:pt>
          <cx:pt idx="10212">1</cx:pt>
          <cx:pt idx="10213">0</cx:pt>
          <cx:pt idx="10214">1</cx:pt>
          <cx:pt idx="10215">0</cx:pt>
          <cx:pt idx="10216">1</cx:pt>
          <cx:pt idx="10217">1</cx:pt>
          <cx:pt idx="10218">0</cx:pt>
          <cx:pt idx="10219">1</cx:pt>
          <cx:pt idx="10220">1</cx:pt>
          <cx:pt idx="10221">0</cx:pt>
          <cx:pt idx="10222">0</cx:pt>
          <cx:pt idx="10223">1</cx:pt>
          <cx:pt idx="10224">0</cx:pt>
          <cx:pt idx="10225">1</cx:pt>
          <cx:pt idx="10226">0</cx:pt>
          <cx:pt idx="10227">1</cx:pt>
          <cx:pt idx="10228">0</cx:pt>
          <cx:pt idx="10229">0</cx:pt>
          <cx:pt idx="10230">0</cx:pt>
          <cx:pt idx="10231">1</cx:pt>
          <cx:pt idx="10232">0</cx:pt>
          <cx:pt idx="10233">0</cx:pt>
          <cx:pt idx="10234">0</cx:pt>
          <cx:pt idx="10235">0</cx:pt>
          <cx:pt idx="10236">0</cx:pt>
          <cx:pt idx="10237">0</cx:pt>
          <cx:pt idx="10238">0</cx:pt>
          <cx:pt idx="10239">0</cx:pt>
          <cx:pt idx="10240">1</cx:pt>
          <cx:pt idx="10241">0</cx:pt>
          <cx:pt idx="10242">0</cx:pt>
          <cx:pt idx="10243">1</cx:pt>
          <cx:pt idx="10244">0</cx:pt>
          <cx:pt idx="10245">1</cx:pt>
          <cx:pt idx="10246">1</cx:pt>
          <cx:pt idx="10247">0</cx:pt>
          <cx:pt idx="10248">1</cx:pt>
          <cx:pt idx="10249">1</cx:pt>
          <cx:pt idx="10250">0</cx:pt>
          <cx:pt idx="10251">0</cx:pt>
          <cx:pt idx="10252">1</cx:pt>
          <cx:pt idx="10253">1</cx:pt>
          <cx:pt idx="10254">1</cx:pt>
          <cx:pt idx="10255">0</cx:pt>
          <cx:pt idx="10256">0</cx:pt>
          <cx:pt idx="10257">1</cx:pt>
          <cx:pt idx="10258">1</cx:pt>
          <cx:pt idx="10259">1</cx:pt>
          <cx:pt idx="10260">1</cx:pt>
          <cx:pt idx="10261">0</cx:pt>
          <cx:pt idx="10262">0</cx:pt>
          <cx:pt idx="10263">1</cx:pt>
          <cx:pt idx="10264">0</cx:pt>
          <cx:pt idx="10265">1</cx:pt>
          <cx:pt idx="10266">1</cx:pt>
          <cx:pt idx="10267">1</cx:pt>
          <cx:pt idx="10268">0</cx:pt>
          <cx:pt idx="10269">0</cx:pt>
          <cx:pt idx="10270">1</cx:pt>
          <cx:pt idx="10271">1</cx:pt>
          <cx:pt idx="10272">1</cx:pt>
          <cx:pt idx="10273">0</cx:pt>
          <cx:pt idx="10274">1</cx:pt>
          <cx:pt idx="10275">0</cx:pt>
          <cx:pt idx="10276">1</cx:pt>
          <cx:pt idx="10277">0</cx:pt>
          <cx:pt idx="10278">0</cx:pt>
          <cx:pt idx="10279">1</cx:pt>
          <cx:pt idx="10280">0</cx:pt>
          <cx:pt idx="10281">1</cx:pt>
          <cx:pt idx="10282">0</cx:pt>
          <cx:pt idx="10283">0</cx:pt>
          <cx:pt idx="10284">0</cx:pt>
          <cx:pt idx="10285">1</cx:pt>
          <cx:pt idx="10286">1</cx:pt>
          <cx:pt idx="10287">1</cx:pt>
          <cx:pt idx="10288">1</cx:pt>
          <cx:pt idx="10289">0</cx:pt>
          <cx:pt idx="10290">0</cx:pt>
          <cx:pt idx="10291">1</cx:pt>
          <cx:pt idx="10292">0</cx:pt>
          <cx:pt idx="10293">0</cx:pt>
          <cx:pt idx="10294">0</cx:pt>
          <cx:pt idx="10295">1</cx:pt>
          <cx:pt idx="10296">0</cx:pt>
          <cx:pt idx="10297">1</cx:pt>
          <cx:pt idx="10298">1</cx:pt>
          <cx:pt idx="10299">0</cx:pt>
          <cx:pt idx="10300">0</cx:pt>
          <cx:pt idx="10301">0</cx:pt>
          <cx:pt idx="10302">0</cx:pt>
          <cx:pt idx="10303">1</cx:pt>
          <cx:pt idx="10304">1</cx:pt>
          <cx:pt idx="10305">1</cx:pt>
          <cx:pt idx="10306">0</cx:pt>
          <cx:pt idx="10307">0</cx:pt>
          <cx:pt idx="10308">0</cx:pt>
          <cx:pt idx="10309">0</cx:pt>
          <cx:pt idx="10310">0</cx:pt>
          <cx:pt idx="10311">1</cx:pt>
          <cx:pt idx="10312">1</cx:pt>
          <cx:pt idx="10313">0</cx:pt>
          <cx:pt idx="10314">0</cx:pt>
          <cx:pt idx="10315">1</cx:pt>
          <cx:pt idx="10316">1</cx:pt>
          <cx:pt idx="10317">0</cx:pt>
          <cx:pt idx="10318">0</cx:pt>
          <cx:pt idx="10319">0</cx:pt>
          <cx:pt idx="10320">1</cx:pt>
          <cx:pt idx="10321">0</cx:pt>
          <cx:pt idx="10322">0</cx:pt>
          <cx:pt idx="10323">1</cx:pt>
          <cx:pt idx="10324">1</cx:pt>
          <cx:pt idx="10325">1</cx:pt>
          <cx:pt idx="10326">0</cx:pt>
          <cx:pt idx="10327">0</cx:pt>
          <cx:pt idx="10328">0</cx:pt>
          <cx:pt idx="10329">1</cx:pt>
          <cx:pt idx="10330">0</cx:pt>
          <cx:pt idx="10331">1</cx:pt>
          <cx:pt idx="10332">1</cx:pt>
          <cx:pt idx="10333">1</cx:pt>
          <cx:pt idx="10334">0</cx:pt>
          <cx:pt idx="10335">0</cx:pt>
          <cx:pt idx="10336">0</cx:pt>
          <cx:pt idx="10337">0</cx:pt>
          <cx:pt idx="10338">0</cx:pt>
          <cx:pt idx="10339">0</cx:pt>
          <cx:pt idx="10340">1</cx:pt>
          <cx:pt idx="10341">0</cx:pt>
          <cx:pt idx="10342">0</cx:pt>
          <cx:pt idx="10343">0</cx:pt>
          <cx:pt idx="10344">1</cx:pt>
          <cx:pt idx="10345">1</cx:pt>
          <cx:pt idx="10346">0</cx:pt>
          <cx:pt idx="10347">1</cx:pt>
          <cx:pt idx="10348">1</cx:pt>
          <cx:pt idx="10349">0</cx:pt>
          <cx:pt idx="10350">0</cx:pt>
          <cx:pt idx="10351">0</cx:pt>
          <cx:pt idx="10352">0</cx:pt>
          <cx:pt idx="10353">1</cx:pt>
          <cx:pt idx="10354">1</cx:pt>
          <cx:pt idx="10355">1</cx:pt>
          <cx:pt idx="10356">1</cx:pt>
          <cx:pt idx="10357">0</cx:pt>
          <cx:pt idx="10358">1</cx:pt>
          <cx:pt idx="10359">1</cx:pt>
          <cx:pt idx="10360">0</cx:pt>
          <cx:pt idx="10361">1</cx:pt>
          <cx:pt idx="10362">1</cx:pt>
          <cx:pt idx="10363">1</cx:pt>
          <cx:pt idx="10364">1</cx:pt>
          <cx:pt idx="10365">0</cx:pt>
          <cx:pt idx="10366">0</cx:pt>
          <cx:pt idx="10367">1</cx:pt>
          <cx:pt idx="10368">0</cx:pt>
          <cx:pt idx="10369">0</cx:pt>
          <cx:pt idx="10370">1</cx:pt>
          <cx:pt idx="10371">0</cx:pt>
          <cx:pt idx="10372">1</cx:pt>
          <cx:pt idx="10373">0</cx:pt>
          <cx:pt idx="10374">0</cx:pt>
          <cx:pt idx="10375">0</cx:pt>
          <cx:pt idx="10376">1</cx:pt>
          <cx:pt idx="10377">1</cx:pt>
          <cx:pt idx="10378">1</cx:pt>
          <cx:pt idx="10379">0</cx:pt>
          <cx:pt idx="10380">1</cx:pt>
          <cx:pt idx="10381">1</cx:pt>
          <cx:pt idx="10382">0</cx:pt>
          <cx:pt idx="10383">1</cx:pt>
          <cx:pt idx="10384">0</cx:pt>
          <cx:pt idx="10385">0</cx:pt>
          <cx:pt idx="10386">1</cx:pt>
          <cx:pt idx="10387">0</cx:pt>
          <cx:pt idx="10388">0</cx:pt>
          <cx:pt idx="10389">0</cx:pt>
          <cx:pt idx="10390">1</cx:pt>
          <cx:pt idx="10391">0</cx:pt>
          <cx:pt idx="10392">1</cx:pt>
          <cx:pt idx="10393">0</cx:pt>
          <cx:pt idx="10394">0</cx:pt>
          <cx:pt idx="10395">0</cx:pt>
          <cx:pt idx="10396">1</cx:pt>
          <cx:pt idx="10397">1</cx:pt>
          <cx:pt idx="10398">0</cx:pt>
          <cx:pt idx="10399">0</cx:pt>
          <cx:pt idx="10400">1</cx:pt>
          <cx:pt idx="10401">0</cx:pt>
          <cx:pt idx="10402">1</cx:pt>
          <cx:pt idx="10403">0</cx:pt>
          <cx:pt idx="10404">1</cx:pt>
          <cx:pt idx="10405">0</cx:pt>
          <cx:pt idx="10406">1</cx:pt>
          <cx:pt idx="10407">0</cx:pt>
          <cx:pt idx="10408">0</cx:pt>
          <cx:pt idx="10409">0</cx:pt>
          <cx:pt idx="10410">1</cx:pt>
          <cx:pt idx="10411">0</cx:pt>
          <cx:pt idx="10412">1</cx:pt>
          <cx:pt idx="10413">0</cx:pt>
          <cx:pt idx="10414">0</cx:pt>
          <cx:pt idx="10415">0</cx:pt>
          <cx:pt idx="10416">1</cx:pt>
          <cx:pt idx="10417">1</cx:pt>
          <cx:pt idx="10418">0</cx:pt>
          <cx:pt idx="10419">1</cx:pt>
          <cx:pt idx="10420">0</cx:pt>
          <cx:pt idx="10421">1</cx:pt>
          <cx:pt idx="10422">0</cx:pt>
          <cx:pt idx="10423">1</cx:pt>
          <cx:pt idx="10424">1</cx:pt>
          <cx:pt idx="10425">0</cx:pt>
          <cx:pt idx="10426">0</cx:pt>
          <cx:pt idx="10427">0</cx:pt>
          <cx:pt idx="10428">0</cx:pt>
          <cx:pt idx="10429">0</cx:pt>
          <cx:pt idx="10430">0</cx:pt>
          <cx:pt idx="10431">0</cx:pt>
          <cx:pt idx="10432">1</cx:pt>
          <cx:pt idx="10433">1</cx:pt>
          <cx:pt idx="10434">0</cx:pt>
          <cx:pt idx="10435">0</cx:pt>
          <cx:pt idx="10436">1</cx:pt>
          <cx:pt idx="10437">0</cx:pt>
          <cx:pt idx="10438">1</cx:pt>
          <cx:pt idx="10439">0</cx:pt>
          <cx:pt idx="10440">1</cx:pt>
          <cx:pt idx="10441">1</cx:pt>
          <cx:pt idx="10442">0</cx:pt>
          <cx:pt idx="10443">0</cx:pt>
          <cx:pt idx="10444">0</cx:pt>
          <cx:pt idx="10445">0</cx:pt>
          <cx:pt idx="10446">1</cx:pt>
          <cx:pt idx="10447">1</cx:pt>
          <cx:pt idx="10448">1</cx:pt>
          <cx:pt idx="10449">1</cx:pt>
          <cx:pt idx="10450">0</cx:pt>
          <cx:pt idx="10451">0</cx:pt>
          <cx:pt idx="10452">0</cx:pt>
          <cx:pt idx="10453">1</cx:pt>
          <cx:pt idx="10454">1</cx:pt>
          <cx:pt idx="10455">0</cx:pt>
          <cx:pt idx="10456">1</cx:pt>
          <cx:pt idx="10457">0</cx:pt>
          <cx:pt idx="10458">1</cx:pt>
          <cx:pt idx="10459">0</cx:pt>
          <cx:pt idx="10460">0</cx:pt>
          <cx:pt idx="10461">0</cx:pt>
          <cx:pt idx="10462">0</cx:pt>
          <cx:pt idx="10463">0</cx:pt>
          <cx:pt idx="10464">1</cx:pt>
          <cx:pt idx="10465">1</cx:pt>
          <cx:pt idx="10466">0</cx:pt>
          <cx:pt idx="10467">0</cx:pt>
          <cx:pt idx="10468">1</cx:pt>
          <cx:pt idx="10469">0</cx:pt>
          <cx:pt idx="10470">0</cx:pt>
          <cx:pt idx="10471">1</cx:pt>
          <cx:pt idx="10472">1</cx:pt>
          <cx:pt idx="10473">0</cx:pt>
          <cx:pt idx="10474">0</cx:pt>
          <cx:pt idx="10475">0</cx:pt>
          <cx:pt idx="10476">1</cx:pt>
          <cx:pt idx="10477">1</cx:pt>
          <cx:pt idx="10478">0</cx:pt>
          <cx:pt idx="10479">1</cx:pt>
          <cx:pt idx="10480">0</cx:pt>
          <cx:pt idx="10481">1</cx:pt>
          <cx:pt idx="10482">1</cx:pt>
          <cx:pt idx="10483">0</cx:pt>
          <cx:pt idx="10484">0</cx:pt>
          <cx:pt idx="10485">1</cx:pt>
          <cx:pt idx="10486">0</cx:pt>
          <cx:pt idx="10487">1</cx:pt>
          <cx:pt idx="10488">1</cx:pt>
          <cx:pt idx="10489">0</cx:pt>
          <cx:pt idx="10490">0</cx:pt>
          <cx:pt idx="10491">0</cx:pt>
          <cx:pt idx="10492">1</cx:pt>
          <cx:pt idx="10493">1</cx:pt>
          <cx:pt idx="10494">0</cx:pt>
          <cx:pt idx="10495">0</cx:pt>
          <cx:pt idx="10496">0</cx:pt>
          <cx:pt idx="10497">1</cx:pt>
          <cx:pt idx="10498">0</cx:pt>
          <cx:pt idx="10499">0</cx:pt>
          <cx:pt idx="10500">1</cx:pt>
          <cx:pt idx="10501">0</cx:pt>
          <cx:pt idx="10502">1</cx:pt>
          <cx:pt idx="10503">0</cx:pt>
          <cx:pt idx="10504">0</cx:pt>
          <cx:pt idx="10505">0</cx:pt>
          <cx:pt idx="10506">0</cx:pt>
          <cx:pt idx="10507">0</cx:pt>
          <cx:pt idx="10508">0</cx:pt>
          <cx:pt idx="10509">1</cx:pt>
          <cx:pt idx="10510">1</cx:pt>
          <cx:pt idx="10511">1</cx:pt>
          <cx:pt idx="10512">0</cx:pt>
          <cx:pt idx="10513">1</cx:pt>
          <cx:pt idx="10514">0</cx:pt>
          <cx:pt idx="10515">1</cx:pt>
          <cx:pt idx="10516">0</cx:pt>
          <cx:pt idx="10517">0</cx:pt>
          <cx:pt idx="10518">0</cx:pt>
          <cx:pt idx="10519">1</cx:pt>
          <cx:pt idx="10520">0</cx:pt>
          <cx:pt idx="10521">1</cx:pt>
          <cx:pt idx="10522">1</cx:pt>
          <cx:pt idx="10523">0</cx:pt>
          <cx:pt idx="10524">1</cx:pt>
          <cx:pt idx="10525">0</cx:pt>
          <cx:pt idx="10526">1</cx:pt>
          <cx:pt idx="10527">1</cx:pt>
          <cx:pt idx="10528">1</cx:pt>
          <cx:pt idx="10529">1</cx:pt>
          <cx:pt idx="10530">1</cx:pt>
          <cx:pt idx="10531">1</cx:pt>
          <cx:pt idx="10532">0</cx:pt>
          <cx:pt idx="10533">1</cx:pt>
          <cx:pt idx="10534">0</cx:pt>
          <cx:pt idx="10535">0</cx:pt>
          <cx:pt idx="10536">0</cx:pt>
          <cx:pt idx="10537">1</cx:pt>
          <cx:pt idx="10538">0</cx:pt>
          <cx:pt idx="10539">0</cx:pt>
          <cx:pt idx="10540">1</cx:pt>
          <cx:pt idx="10541">0</cx:pt>
          <cx:pt idx="10542">0</cx:pt>
          <cx:pt idx="10543">0</cx:pt>
          <cx:pt idx="10544">0</cx:pt>
          <cx:pt idx="10545">1</cx:pt>
          <cx:pt idx="10546">1</cx:pt>
          <cx:pt idx="10547">1</cx:pt>
          <cx:pt idx="10548">0</cx:pt>
          <cx:pt idx="10549">1</cx:pt>
          <cx:pt idx="10550">0</cx:pt>
          <cx:pt idx="10551">1</cx:pt>
          <cx:pt idx="10552">0</cx:pt>
          <cx:pt idx="10553">0</cx:pt>
          <cx:pt idx="10554">1</cx:pt>
          <cx:pt idx="10555">1</cx:pt>
          <cx:pt idx="10556">1</cx:pt>
          <cx:pt idx="10557">1</cx:pt>
          <cx:pt idx="10558">0</cx:pt>
          <cx:pt idx="10559">1</cx:pt>
          <cx:pt idx="10560">0</cx:pt>
          <cx:pt idx="10561">0</cx:pt>
          <cx:pt idx="10562">0</cx:pt>
          <cx:pt idx="10563">1</cx:pt>
          <cx:pt idx="10564">0</cx:pt>
          <cx:pt idx="10565">1</cx:pt>
          <cx:pt idx="10566">1</cx:pt>
          <cx:pt idx="10567">1</cx:pt>
          <cx:pt idx="10568">1</cx:pt>
          <cx:pt idx="10569">1</cx:pt>
          <cx:pt idx="10570">1</cx:pt>
          <cx:pt idx="10571">1</cx:pt>
          <cx:pt idx="10572">1</cx:pt>
          <cx:pt idx="10573">1</cx:pt>
          <cx:pt idx="10574">1</cx:pt>
          <cx:pt idx="10575">0</cx:pt>
          <cx:pt idx="10576">0</cx:pt>
          <cx:pt idx="10577">1</cx:pt>
          <cx:pt idx="10578">0</cx:pt>
          <cx:pt idx="10579">0</cx:pt>
          <cx:pt idx="10580">1</cx:pt>
          <cx:pt idx="10581">1</cx:pt>
          <cx:pt idx="10582">0</cx:pt>
          <cx:pt idx="10583">0</cx:pt>
          <cx:pt idx="10584">0</cx:pt>
          <cx:pt idx="10585">1</cx:pt>
          <cx:pt idx="10586">1</cx:pt>
          <cx:pt idx="10587">0</cx:pt>
          <cx:pt idx="10588">0</cx:pt>
          <cx:pt idx="10589">0</cx:pt>
          <cx:pt idx="10590">0</cx:pt>
          <cx:pt idx="10591">1</cx:pt>
          <cx:pt idx="10592">1</cx:pt>
          <cx:pt idx="10593">1</cx:pt>
          <cx:pt idx="10594">0</cx:pt>
          <cx:pt idx="10595">1</cx:pt>
          <cx:pt idx="10596">0</cx:pt>
          <cx:pt idx="10597">0</cx:pt>
          <cx:pt idx="10598">1</cx:pt>
          <cx:pt idx="10599">0</cx:pt>
          <cx:pt idx="10600">0</cx:pt>
          <cx:pt idx="10601">1</cx:pt>
          <cx:pt idx="10602">0</cx:pt>
          <cx:pt idx="10603">1</cx:pt>
          <cx:pt idx="10604">0</cx:pt>
          <cx:pt idx="10605">1</cx:pt>
          <cx:pt idx="10606">0</cx:pt>
          <cx:pt idx="10607">0</cx:pt>
          <cx:pt idx="10608">0</cx:pt>
          <cx:pt idx="10609">0</cx:pt>
          <cx:pt idx="10610">0</cx:pt>
          <cx:pt idx="10611">0</cx:pt>
          <cx:pt idx="10612">0</cx:pt>
          <cx:pt idx="10613">0</cx:pt>
          <cx:pt idx="10614">0</cx:pt>
          <cx:pt idx="10615">1</cx:pt>
          <cx:pt idx="10616">0</cx:pt>
          <cx:pt idx="10617">1</cx:pt>
          <cx:pt idx="10618">0</cx:pt>
          <cx:pt idx="10619">0</cx:pt>
          <cx:pt idx="10620">0</cx:pt>
          <cx:pt idx="10621">1</cx:pt>
          <cx:pt idx="10622">0</cx:pt>
          <cx:pt idx="10623">0</cx:pt>
          <cx:pt idx="10624">1</cx:pt>
          <cx:pt idx="10625">0</cx:pt>
          <cx:pt idx="10626">1</cx:pt>
          <cx:pt idx="10627">1</cx:pt>
          <cx:pt idx="10628">0</cx:pt>
          <cx:pt idx="10629">0</cx:pt>
          <cx:pt idx="10630">1</cx:pt>
          <cx:pt idx="10631">0</cx:pt>
          <cx:pt idx="10632">1</cx:pt>
          <cx:pt idx="10633">1</cx:pt>
          <cx:pt idx="10634">0</cx:pt>
          <cx:pt idx="10635">0</cx:pt>
          <cx:pt idx="10636">1</cx:pt>
          <cx:pt idx="10637">0</cx:pt>
          <cx:pt idx="10638">0</cx:pt>
          <cx:pt idx="10639">0</cx:pt>
          <cx:pt idx="10640">0</cx:pt>
          <cx:pt idx="10641">0</cx:pt>
          <cx:pt idx="10642">1</cx:pt>
          <cx:pt idx="10643">0</cx:pt>
          <cx:pt idx="10644">0</cx:pt>
          <cx:pt idx="10645">0</cx:pt>
          <cx:pt idx="10646">0</cx:pt>
          <cx:pt idx="10647">0</cx:pt>
          <cx:pt idx="10648">0</cx:pt>
          <cx:pt idx="10649">0</cx:pt>
          <cx:pt idx="10650">0</cx:pt>
          <cx:pt idx="10651">1</cx:pt>
          <cx:pt idx="10652">1</cx:pt>
          <cx:pt idx="10653">0</cx:pt>
          <cx:pt idx="10654">1</cx:pt>
          <cx:pt idx="10655">1</cx:pt>
          <cx:pt idx="10656">1</cx:pt>
          <cx:pt idx="10657">0</cx:pt>
          <cx:pt idx="10658">1</cx:pt>
          <cx:pt idx="10659">1</cx:pt>
          <cx:pt idx="10660">0</cx:pt>
          <cx:pt idx="10661">0</cx:pt>
          <cx:pt idx="10662">1</cx:pt>
          <cx:pt idx="10663">0</cx:pt>
          <cx:pt idx="10664">0</cx:pt>
          <cx:pt idx="10665">0</cx:pt>
          <cx:pt idx="10666">1</cx:pt>
          <cx:pt idx="10667">1</cx:pt>
          <cx:pt idx="10668">1</cx:pt>
          <cx:pt idx="10669">1</cx:pt>
          <cx:pt idx="10670">0</cx:pt>
          <cx:pt idx="10671">0</cx:pt>
          <cx:pt idx="10672">1</cx:pt>
          <cx:pt idx="10673">0</cx:pt>
          <cx:pt idx="10674">0</cx:pt>
          <cx:pt idx="10675">0</cx:pt>
          <cx:pt idx="10676">1</cx:pt>
          <cx:pt idx="10677">0</cx:pt>
          <cx:pt idx="10678">0</cx:pt>
          <cx:pt idx="10679">1</cx:pt>
          <cx:pt idx="10680">0</cx:pt>
          <cx:pt idx="10681">1</cx:pt>
          <cx:pt idx="10682">1</cx:pt>
          <cx:pt idx="10683">1</cx:pt>
          <cx:pt idx="10684">1</cx:pt>
          <cx:pt idx="10685">0</cx:pt>
          <cx:pt idx="10686">1</cx:pt>
          <cx:pt idx="10687">1</cx:pt>
          <cx:pt idx="10688">1</cx:pt>
          <cx:pt idx="10689">1</cx:pt>
          <cx:pt idx="10690">0</cx:pt>
          <cx:pt idx="10691">1</cx:pt>
          <cx:pt idx="10692">1</cx:pt>
          <cx:pt idx="10693">0</cx:pt>
          <cx:pt idx="10694">1</cx:pt>
          <cx:pt idx="10695">1</cx:pt>
          <cx:pt idx="10696">1</cx:pt>
          <cx:pt idx="10697">1</cx:pt>
          <cx:pt idx="10698">0</cx:pt>
          <cx:pt idx="10699">1</cx:pt>
          <cx:pt idx="10700">1</cx:pt>
          <cx:pt idx="10701">1</cx:pt>
          <cx:pt idx="10702">0</cx:pt>
          <cx:pt idx="10703">0</cx:pt>
          <cx:pt idx="10704">1</cx:pt>
          <cx:pt idx="10705">0</cx:pt>
          <cx:pt idx="10706">1</cx:pt>
          <cx:pt idx="10707">1</cx:pt>
          <cx:pt idx="10708">1</cx:pt>
          <cx:pt idx="10709">1</cx:pt>
          <cx:pt idx="10710">1</cx:pt>
          <cx:pt idx="10711">0</cx:pt>
          <cx:pt idx="10712">0</cx:pt>
          <cx:pt idx="10713">0</cx:pt>
          <cx:pt idx="10714">0</cx:pt>
          <cx:pt idx="10715">0</cx:pt>
          <cx:pt idx="10716">0</cx:pt>
          <cx:pt idx="10717">1</cx:pt>
          <cx:pt idx="10718">0</cx:pt>
          <cx:pt idx="10719">1</cx:pt>
          <cx:pt idx="10720">1</cx:pt>
          <cx:pt idx="10721">0</cx:pt>
          <cx:pt idx="10722">1</cx:pt>
          <cx:pt idx="10723">0</cx:pt>
          <cx:pt idx="10724">0</cx:pt>
          <cx:pt idx="10725">0</cx:pt>
          <cx:pt idx="10726">0</cx:pt>
          <cx:pt idx="10727">0</cx:pt>
          <cx:pt idx="10728">1</cx:pt>
          <cx:pt idx="10729">0</cx:pt>
          <cx:pt idx="10730">0</cx:pt>
          <cx:pt idx="10731">1</cx:pt>
          <cx:pt idx="10732">0</cx:pt>
          <cx:pt idx="10733">1</cx:pt>
          <cx:pt idx="10734">0</cx:pt>
          <cx:pt idx="10735">1</cx:pt>
          <cx:pt idx="10736">0</cx:pt>
          <cx:pt idx="10737">0</cx:pt>
          <cx:pt idx="10738">0</cx:pt>
          <cx:pt idx="10739">0</cx:pt>
          <cx:pt idx="10740">1</cx:pt>
          <cx:pt idx="10741">1</cx:pt>
          <cx:pt idx="10742">1</cx:pt>
          <cx:pt idx="10743">0</cx:pt>
          <cx:pt idx="10744">0</cx:pt>
          <cx:pt idx="10745">0</cx:pt>
          <cx:pt idx="10746">1</cx:pt>
          <cx:pt idx="10747">0</cx:pt>
          <cx:pt idx="10748">1</cx:pt>
          <cx:pt idx="10749">1</cx:pt>
          <cx:pt idx="10750">0</cx:pt>
          <cx:pt idx="10751">0</cx:pt>
          <cx:pt idx="10752">0</cx:pt>
          <cx:pt idx="10753">0</cx:pt>
          <cx:pt idx="10754">0</cx:pt>
          <cx:pt idx="10755">1</cx:pt>
          <cx:pt idx="10756">0</cx:pt>
          <cx:pt idx="10757">0</cx:pt>
          <cx:pt idx="10758">0</cx:pt>
          <cx:pt idx="10759">1</cx:pt>
          <cx:pt idx="10760">0</cx:pt>
          <cx:pt idx="10761">1</cx:pt>
          <cx:pt idx="10762">1</cx:pt>
          <cx:pt idx="10763">0</cx:pt>
          <cx:pt idx="10764">1</cx:pt>
          <cx:pt idx="10765">0</cx:pt>
          <cx:pt idx="10766">0</cx:pt>
          <cx:pt idx="10767">0</cx:pt>
          <cx:pt idx="10768">1</cx:pt>
          <cx:pt idx="10769">1</cx:pt>
          <cx:pt idx="10770">0</cx:pt>
          <cx:pt idx="10771">1</cx:pt>
          <cx:pt idx="10772">1</cx:pt>
          <cx:pt idx="10773">0</cx:pt>
          <cx:pt idx="10774">1</cx:pt>
          <cx:pt idx="10775">0</cx:pt>
          <cx:pt idx="10776">1</cx:pt>
          <cx:pt idx="10777">0</cx:pt>
          <cx:pt idx="10778">1</cx:pt>
          <cx:pt idx="10779">1</cx:pt>
          <cx:pt idx="10780">0</cx:pt>
          <cx:pt idx="10781">1</cx:pt>
          <cx:pt idx="10782">1</cx:pt>
          <cx:pt idx="10783">1</cx:pt>
          <cx:pt idx="10784">1</cx:pt>
          <cx:pt idx="10785">0</cx:pt>
          <cx:pt idx="10786">1</cx:pt>
          <cx:pt idx="10787">1</cx:pt>
          <cx:pt idx="10788">0</cx:pt>
          <cx:pt idx="10789">0</cx:pt>
          <cx:pt idx="10790">1</cx:pt>
          <cx:pt idx="10791">0</cx:pt>
          <cx:pt idx="10792">1</cx:pt>
          <cx:pt idx="10793">1</cx:pt>
          <cx:pt idx="10794">0</cx:pt>
          <cx:pt idx="10795">0</cx:pt>
          <cx:pt idx="10796">0</cx:pt>
          <cx:pt idx="10797">1</cx:pt>
          <cx:pt idx="10798">0</cx:pt>
          <cx:pt idx="10799">1</cx:pt>
          <cx:pt idx="10800">0</cx:pt>
          <cx:pt idx="10801">1</cx:pt>
          <cx:pt idx="10802">0</cx:pt>
          <cx:pt idx="10803">1</cx:pt>
          <cx:pt idx="10804">0</cx:pt>
          <cx:pt idx="10805">1</cx:pt>
          <cx:pt idx="10806">0</cx:pt>
          <cx:pt idx="10807">0</cx:pt>
          <cx:pt idx="10808">1</cx:pt>
          <cx:pt idx="10809">1</cx:pt>
          <cx:pt idx="10810">0</cx:pt>
          <cx:pt idx="10811">0</cx:pt>
          <cx:pt idx="10812">0</cx:pt>
          <cx:pt idx="10813">0</cx:pt>
          <cx:pt idx="10814">0</cx:pt>
          <cx:pt idx="10815">1</cx:pt>
          <cx:pt idx="10816">0</cx:pt>
          <cx:pt idx="10817">1</cx:pt>
          <cx:pt idx="10818">1</cx:pt>
          <cx:pt idx="10819">1</cx:pt>
          <cx:pt idx="10820">1</cx:pt>
          <cx:pt idx="10821">0</cx:pt>
          <cx:pt idx="10822">1</cx:pt>
          <cx:pt idx="10823">0</cx:pt>
          <cx:pt idx="10824">0</cx:pt>
          <cx:pt idx="10825">1</cx:pt>
          <cx:pt idx="10826">1</cx:pt>
          <cx:pt idx="10827">1</cx:pt>
          <cx:pt idx="10828">0</cx:pt>
          <cx:pt idx="10829">0</cx:pt>
          <cx:pt idx="10830">1</cx:pt>
          <cx:pt idx="10831">1</cx:pt>
          <cx:pt idx="10832">0</cx:pt>
          <cx:pt idx="10833">1</cx:pt>
          <cx:pt idx="10834">0</cx:pt>
          <cx:pt idx="10835">0</cx:pt>
          <cx:pt idx="10836">0</cx:pt>
          <cx:pt idx="10837">1</cx:pt>
          <cx:pt idx="10838">1</cx:pt>
          <cx:pt idx="10839">1</cx:pt>
          <cx:pt idx="10840">1</cx:pt>
          <cx:pt idx="10841">0</cx:pt>
          <cx:pt idx="10842">1</cx:pt>
          <cx:pt idx="10843">1</cx:pt>
          <cx:pt idx="10844">1</cx:pt>
          <cx:pt idx="10845">1</cx:pt>
          <cx:pt idx="10846">0</cx:pt>
          <cx:pt idx="10847">0</cx:pt>
          <cx:pt idx="10848">0</cx:pt>
          <cx:pt idx="10849">1</cx:pt>
          <cx:pt idx="10850">0</cx:pt>
          <cx:pt idx="10851">0</cx:pt>
          <cx:pt idx="10852">1</cx:pt>
          <cx:pt idx="10853">0</cx:pt>
          <cx:pt idx="10854">0</cx:pt>
          <cx:pt idx="10855">0</cx:pt>
          <cx:pt idx="10856">0</cx:pt>
          <cx:pt idx="10857">0</cx:pt>
          <cx:pt idx="10858">0</cx:pt>
          <cx:pt idx="10859">0</cx:pt>
          <cx:pt idx="10860">0</cx:pt>
          <cx:pt idx="10861">1</cx:pt>
          <cx:pt idx="10862">0</cx:pt>
          <cx:pt idx="10863">0</cx:pt>
          <cx:pt idx="10864">0</cx:pt>
          <cx:pt idx="10865">0</cx:pt>
          <cx:pt idx="10866">0</cx:pt>
          <cx:pt idx="10867">0</cx:pt>
          <cx:pt idx="10868">1</cx:pt>
          <cx:pt idx="10869">0</cx:pt>
          <cx:pt idx="10870">1</cx:pt>
          <cx:pt idx="10871">0</cx:pt>
          <cx:pt idx="10872">1</cx:pt>
          <cx:pt idx="10873">0</cx:pt>
          <cx:pt idx="10874">1</cx:pt>
          <cx:pt idx="10875">1</cx:pt>
          <cx:pt idx="10876">1</cx:pt>
          <cx:pt idx="10877">0</cx:pt>
          <cx:pt idx="10878">0</cx:pt>
          <cx:pt idx="10879">0</cx:pt>
          <cx:pt idx="10880">0</cx:pt>
          <cx:pt idx="10881">0</cx:pt>
          <cx:pt idx="10882">0</cx:pt>
          <cx:pt idx="10883">0</cx:pt>
          <cx:pt idx="10884">1</cx:pt>
          <cx:pt idx="10885">0</cx:pt>
          <cx:pt idx="10886">0</cx:pt>
          <cx:pt idx="10887">1</cx:pt>
          <cx:pt idx="10888">0</cx:pt>
          <cx:pt idx="10889">1</cx:pt>
          <cx:pt idx="10890">0</cx:pt>
          <cx:pt idx="10891">0</cx:pt>
          <cx:pt idx="10892">1</cx:pt>
          <cx:pt idx="10893">1</cx:pt>
          <cx:pt idx="10894">1</cx:pt>
          <cx:pt idx="10895">1</cx:pt>
          <cx:pt idx="10896">1</cx:pt>
          <cx:pt idx="10897">0</cx:pt>
          <cx:pt idx="10898">0</cx:pt>
          <cx:pt idx="10899">1</cx:pt>
          <cx:pt idx="10900">1</cx:pt>
          <cx:pt idx="10901">0</cx:pt>
          <cx:pt idx="10902">1</cx:pt>
          <cx:pt idx="10903">0</cx:pt>
          <cx:pt idx="10904">0</cx:pt>
          <cx:pt idx="10905">0</cx:pt>
          <cx:pt idx="10906">0</cx:pt>
          <cx:pt idx="10907">1</cx:pt>
          <cx:pt idx="10908">1</cx:pt>
          <cx:pt idx="10909">0</cx:pt>
          <cx:pt idx="10910">0</cx:pt>
          <cx:pt idx="10911">0</cx:pt>
          <cx:pt idx="10912">0</cx:pt>
          <cx:pt idx="10913">0</cx:pt>
          <cx:pt idx="10914">1</cx:pt>
          <cx:pt idx="10915">0</cx:pt>
          <cx:pt idx="10916">0</cx:pt>
          <cx:pt idx="10917">0</cx:pt>
          <cx:pt idx="10918">1</cx:pt>
          <cx:pt idx="10919">0</cx:pt>
          <cx:pt idx="10920">1</cx:pt>
          <cx:pt idx="10921">1</cx:pt>
          <cx:pt idx="10922">0</cx:pt>
          <cx:pt idx="10923">1</cx:pt>
          <cx:pt idx="10924">0</cx:pt>
          <cx:pt idx="10925">1</cx:pt>
          <cx:pt idx="10926">1</cx:pt>
          <cx:pt idx="10927">0</cx:pt>
          <cx:pt idx="10928">0</cx:pt>
          <cx:pt idx="10929">0</cx:pt>
          <cx:pt idx="10930">1</cx:pt>
          <cx:pt idx="10931">1</cx:pt>
          <cx:pt idx="10932">1</cx:pt>
          <cx:pt idx="10933">1</cx:pt>
          <cx:pt idx="10934">0</cx:pt>
          <cx:pt idx="10935">1</cx:pt>
          <cx:pt idx="10936">1</cx:pt>
          <cx:pt idx="10937">0</cx:pt>
          <cx:pt idx="10938">0</cx:pt>
          <cx:pt idx="10939">1</cx:pt>
          <cx:pt idx="10940">1</cx:pt>
          <cx:pt idx="10941">0</cx:pt>
          <cx:pt idx="10942">0</cx:pt>
          <cx:pt idx="10943">1</cx:pt>
          <cx:pt idx="10944">1</cx:pt>
          <cx:pt idx="10945">1</cx:pt>
          <cx:pt idx="10946">0</cx:pt>
          <cx:pt idx="10947">0</cx:pt>
          <cx:pt idx="10948">1</cx:pt>
          <cx:pt idx="10949">0</cx:pt>
          <cx:pt idx="10950">0</cx:pt>
          <cx:pt idx="10951">0</cx:pt>
          <cx:pt idx="10952">1</cx:pt>
          <cx:pt idx="10953">0</cx:pt>
          <cx:pt idx="10954">1</cx:pt>
          <cx:pt idx="10955">1</cx:pt>
          <cx:pt idx="10956">0</cx:pt>
          <cx:pt idx="10957">0</cx:pt>
          <cx:pt idx="10958">0</cx:pt>
          <cx:pt idx="10959">1</cx:pt>
          <cx:pt idx="10960">1</cx:pt>
          <cx:pt idx="10961">0</cx:pt>
          <cx:pt idx="10962">1</cx:pt>
          <cx:pt idx="10963">1</cx:pt>
          <cx:pt idx="10964">1</cx:pt>
          <cx:pt idx="10965">1</cx:pt>
          <cx:pt idx="10966">0</cx:pt>
          <cx:pt idx="10967">1</cx:pt>
          <cx:pt idx="10968">0</cx:pt>
          <cx:pt idx="10969">1</cx:pt>
          <cx:pt idx="10970">0</cx:pt>
          <cx:pt idx="10971">1</cx:pt>
          <cx:pt idx="10972">1</cx:pt>
          <cx:pt idx="10973">1</cx:pt>
          <cx:pt idx="10974">0</cx:pt>
          <cx:pt idx="10975">1</cx:pt>
          <cx:pt idx="10976">1</cx:pt>
          <cx:pt idx="10977">0</cx:pt>
          <cx:pt idx="10978">0</cx:pt>
          <cx:pt idx="10979">0</cx:pt>
          <cx:pt idx="10980">1</cx:pt>
          <cx:pt idx="10981">0</cx:pt>
          <cx:pt idx="10982">0</cx:pt>
          <cx:pt idx="10983">1</cx:pt>
          <cx:pt idx="10984">1</cx:pt>
          <cx:pt idx="10985">0</cx:pt>
          <cx:pt idx="10986">1</cx:pt>
          <cx:pt idx="10987">0</cx:pt>
          <cx:pt idx="10988">0</cx:pt>
          <cx:pt idx="10989">0</cx:pt>
          <cx:pt idx="10990">1</cx:pt>
          <cx:pt idx="10991">1</cx:pt>
          <cx:pt idx="10992">1</cx:pt>
          <cx:pt idx="10993">1</cx:pt>
          <cx:pt idx="10994">1</cx:pt>
          <cx:pt idx="10995">0</cx:pt>
          <cx:pt idx="10996">0</cx:pt>
          <cx:pt idx="10997">0</cx:pt>
          <cx:pt idx="10998">1</cx:pt>
          <cx:pt idx="10999">0</cx:pt>
          <cx:pt idx="11000">0</cx:pt>
          <cx:pt idx="11001">1</cx:pt>
          <cx:pt idx="11002">1</cx:pt>
          <cx:pt idx="11003">1</cx:pt>
          <cx:pt idx="11004">0</cx:pt>
          <cx:pt idx="11005">1</cx:pt>
          <cx:pt idx="11006">1</cx:pt>
          <cx:pt idx="11007">1</cx:pt>
          <cx:pt idx="11008">0</cx:pt>
          <cx:pt idx="11009">0</cx:pt>
          <cx:pt idx="11010">0</cx:pt>
          <cx:pt idx="11011">1</cx:pt>
          <cx:pt idx="11012">0</cx:pt>
          <cx:pt idx="11013">0</cx:pt>
          <cx:pt idx="11014">0</cx:pt>
          <cx:pt idx="11015">0</cx:pt>
          <cx:pt idx="11016">1</cx:pt>
          <cx:pt idx="11017">0</cx:pt>
          <cx:pt idx="11018">0</cx:pt>
          <cx:pt idx="11019">0</cx:pt>
          <cx:pt idx="11020">1</cx:pt>
          <cx:pt idx="11021">0</cx:pt>
          <cx:pt idx="11022">0</cx:pt>
          <cx:pt idx="11023">0</cx:pt>
          <cx:pt idx="11024">0</cx:pt>
          <cx:pt idx="11025">0</cx:pt>
          <cx:pt idx="11026">0</cx:pt>
          <cx:pt idx="11027">0</cx:pt>
          <cx:pt idx="11028">0</cx:pt>
          <cx:pt idx="11029">0</cx:pt>
          <cx:pt idx="11030">0</cx:pt>
          <cx:pt idx="11031">1</cx:pt>
          <cx:pt idx="11032">1</cx:pt>
          <cx:pt idx="11033">0</cx:pt>
          <cx:pt idx="11034">1</cx:pt>
          <cx:pt idx="11035">0</cx:pt>
          <cx:pt idx="11036">0</cx:pt>
          <cx:pt idx="11037">1</cx:pt>
          <cx:pt idx="11038">0</cx:pt>
          <cx:pt idx="11039">1</cx:pt>
          <cx:pt idx="11040">0</cx:pt>
          <cx:pt idx="11041">1</cx:pt>
          <cx:pt idx="11042">0</cx:pt>
          <cx:pt idx="11043">0</cx:pt>
          <cx:pt idx="11044">0</cx:pt>
          <cx:pt idx="11045">1</cx:pt>
          <cx:pt idx="11046">1</cx:pt>
          <cx:pt idx="11047">1</cx:pt>
          <cx:pt idx="11048">0</cx:pt>
          <cx:pt idx="11049">0</cx:pt>
          <cx:pt idx="11050">0</cx:pt>
          <cx:pt idx="11051">1</cx:pt>
          <cx:pt idx="11052">0</cx:pt>
          <cx:pt idx="11053">0</cx:pt>
          <cx:pt idx="11054">1</cx:pt>
          <cx:pt idx="11055">1</cx:pt>
          <cx:pt idx="11056">0</cx:pt>
          <cx:pt idx="11057">0</cx:pt>
          <cx:pt idx="11058">1</cx:pt>
          <cx:pt idx="11059">1</cx:pt>
          <cx:pt idx="11060">1</cx:pt>
          <cx:pt idx="11061">0</cx:pt>
          <cx:pt idx="11062">0</cx:pt>
          <cx:pt idx="11063">0</cx:pt>
          <cx:pt idx="11064">0</cx:pt>
          <cx:pt idx="11065">1</cx:pt>
          <cx:pt idx="11066">1</cx:pt>
          <cx:pt idx="11067">0</cx:pt>
          <cx:pt idx="11068">1</cx:pt>
          <cx:pt idx="11069">1</cx:pt>
          <cx:pt idx="11070">1</cx:pt>
          <cx:pt idx="11071">0</cx:pt>
          <cx:pt idx="11072">0</cx:pt>
          <cx:pt idx="11073">0</cx:pt>
          <cx:pt idx="11074">0</cx:pt>
          <cx:pt idx="11075">1</cx:pt>
          <cx:pt idx="11076">1</cx:pt>
          <cx:pt idx="11077">1</cx:pt>
          <cx:pt idx="11078">0</cx:pt>
          <cx:pt idx="11079">0</cx:pt>
          <cx:pt idx="11080">0</cx:pt>
          <cx:pt idx="11081">0</cx:pt>
          <cx:pt idx="11082">1</cx:pt>
          <cx:pt idx="11083">0</cx:pt>
          <cx:pt idx="11084">1</cx:pt>
          <cx:pt idx="11085">1</cx:pt>
          <cx:pt idx="11086">1</cx:pt>
          <cx:pt idx="11087">1</cx:pt>
          <cx:pt idx="11088">1</cx:pt>
          <cx:pt idx="11089">0</cx:pt>
          <cx:pt idx="11090">1</cx:pt>
          <cx:pt idx="11091">0</cx:pt>
          <cx:pt idx="11092">1</cx:pt>
          <cx:pt idx="11093">0</cx:pt>
          <cx:pt idx="11094">0</cx:pt>
          <cx:pt idx="11095">0</cx:pt>
          <cx:pt idx="11096">1</cx:pt>
          <cx:pt idx="11097">1</cx:pt>
          <cx:pt idx="11098">0</cx:pt>
          <cx:pt idx="11099">0</cx:pt>
          <cx:pt idx="11100">1</cx:pt>
          <cx:pt idx="11101">1</cx:pt>
          <cx:pt idx="11102">1</cx:pt>
          <cx:pt idx="11103">0</cx:pt>
          <cx:pt idx="11104">1</cx:pt>
          <cx:pt idx="11105">0</cx:pt>
          <cx:pt idx="11106">1</cx:pt>
          <cx:pt idx="11107">0</cx:pt>
          <cx:pt idx="11108">0</cx:pt>
          <cx:pt idx="11109">0</cx:pt>
          <cx:pt idx="11110">1</cx:pt>
          <cx:pt idx="11111">1</cx:pt>
          <cx:pt idx="11112">1</cx:pt>
          <cx:pt idx="11113">0</cx:pt>
          <cx:pt idx="11114">1</cx:pt>
          <cx:pt idx="11115">0</cx:pt>
          <cx:pt idx="11116">1</cx:pt>
          <cx:pt idx="11117">1</cx:pt>
          <cx:pt idx="11118">0</cx:pt>
          <cx:pt idx="11119">0</cx:pt>
          <cx:pt idx="11120">1</cx:pt>
          <cx:pt idx="11121">0</cx:pt>
          <cx:pt idx="11122">1</cx:pt>
          <cx:pt idx="11123">1</cx:pt>
          <cx:pt idx="11124">1</cx:pt>
          <cx:pt idx="11125">0</cx:pt>
          <cx:pt idx="11126">1</cx:pt>
          <cx:pt idx="11127">0</cx:pt>
          <cx:pt idx="11128">1</cx:pt>
          <cx:pt idx="11129">1</cx:pt>
          <cx:pt idx="11130">0</cx:pt>
          <cx:pt idx="11131">1</cx:pt>
          <cx:pt idx="11132">1</cx:pt>
          <cx:pt idx="11133">1</cx:pt>
          <cx:pt idx="11134">0</cx:pt>
          <cx:pt idx="11135">0</cx:pt>
          <cx:pt idx="11136">1</cx:pt>
          <cx:pt idx="11137">1</cx:pt>
          <cx:pt idx="11138">0</cx:pt>
          <cx:pt idx="11139">0</cx:pt>
          <cx:pt idx="11140">0</cx:pt>
          <cx:pt idx="11141">1</cx:pt>
          <cx:pt idx="11142">1</cx:pt>
          <cx:pt idx="11143">1</cx:pt>
          <cx:pt idx="11144">0</cx:pt>
          <cx:pt idx="11145">0</cx:pt>
          <cx:pt idx="11146">0</cx:pt>
          <cx:pt idx="11147">1</cx:pt>
          <cx:pt idx="11148">1</cx:pt>
          <cx:pt idx="11149">1</cx:pt>
          <cx:pt idx="11150">0</cx:pt>
          <cx:pt idx="11151">0</cx:pt>
          <cx:pt idx="11152">0</cx:pt>
          <cx:pt idx="11153">1</cx:pt>
          <cx:pt idx="11154">1</cx:pt>
          <cx:pt idx="11155">0</cx:pt>
          <cx:pt idx="11156">0</cx:pt>
          <cx:pt idx="11157">0</cx:pt>
          <cx:pt idx="11158">0</cx:pt>
          <cx:pt idx="11159">0</cx:pt>
          <cx:pt idx="11160">1</cx:pt>
          <cx:pt idx="11161">0</cx:pt>
          <cx:pt idx="11162">1</cx:pt>
          <cx:pt idx="11163">1</cx:pt>
          <cx:pt idx="11164">0</cx:pt>
          <cx:pt idx="11165">0</cx:pt>
          <cx:pt idx="11166">1</cx:pt>
          <cx:pt idx="11167">1</cx:pt>
          <cx:pt idx="11168">0</cx:pt>
          <cx:pt idx="11169">1</cx:pt>
          <cx:pt idx="11170">0</cx:pt>
          <cx:pt idx="11171">0</cx:pt>
          <cx:pt idx="11172">1</cx:pt>
          <cx:pt idx="11173">0</cx:pt>
          <cx:pt idx="11174">1</cx:pt>
          <cx:pt idx="11175">0</cx:pt>
          <cx:pt idx="11176">1</cx:pt>
          <cx:pt idx="11177">0</cx:pt>
          <cx:pt idx="11178">0</cx:pt>
          <cx:pt idx="11179">1</cx:pt>
          <cx:pt idx="11180">1</cx:pt>
          <cx:pt idx="11181">0</cx:pt>
          <cx:pt idx="11182">1</cx:pt>
          <cx:pt idx="11183">1</cx:pt>
          <cx:pt idx="11184">0</cx:pt>
          <cx:pt idx="11185">0</cx:pt>
          <cx:pt idx="11186">1</cx:pt>
          <cx:pt idx="11187">0</cx:pt>
          <cx:pt idx="11188">0</cx:pt>
          <cx:pt idx="11189">0</cx:pt>
          <cx:pt idx="11190">0</cx:pt>
          <cx:pt idx="11191">0</cx:pt>
          <cx:pt idx="11192">1</cx:pt>
          <cx:pt idx="11193">1</cx:pt>
          <cx:pt idx="11194">0</cx:pt>
          <cx:pt idx="11195">1</cx:pt>
          <cx:pt idx="11196">0</cx:pt>
          <cx:pt idx="11197">1</cx:pt>
          <cx:pt idx="11198">1</cx:pt>
          <cx:pt idx="11199">1</cx:pt>
          <cx:pt idx="11200">0</cx:pt>
          <cx:pt idx="11201">1</cx:pt>
          <cx:pt idx="11202">1</cx:pt>
          <cx:pt idx="11203">0</cx:pt>
          <cx:pt idx="11204">0</cx:pt>
          <cx:pt idx="11205">1</cx:pt>
          <cx:pt idx="11206">1</cx:pt>
          <cx:pt idx="11207">1</cx:pt>
          <cx:pt idx="11208">0</cx:pt>
          <cx:pt idx="11209">0</cx:pt>
          <cx:pt idx="11210">0</cx:pt>
          <cx:pt idx="11211">0</cx:pt>
          <cx:pt idx="11212">1</cx:pt>
          <cx:pt idx="11213">1</cx:pt>
          <cx:pt idx="11214">0</cx:pt>
          <cx:pt idx="11215">0</cx:pt>
          <cx:pt idx="11216">1</cx:pt>
          <cx:pt idx="11217">0</cx:pt>
          <cx:pt idx="11218">0</cx:pt>
          <cx:pt idx="11219">1</cx:pt>
          <cx:pt idx="11220">0</cx:pt>
          <cx:pt idx="11221">1</cx:pt>
          <cx:pt idx="11222">0</cx:pt>
          <cx:pt idx="11223">0</cx:pt>
          <cx:pt idx="11224">1</cx:pt>
          <cx:pt idx="11225">0</cx:pt>
          <cx:pt idx="11226">1</cx:pt>
          <cx:pt idx="11227">0</cx:pt>
          <cx:pt idx="11228">1</cx:pt>
          <cx:pt idx="11229">0</cx:pt>
          <cx:pt idx="11230">0</cx:pt>
          <cx:pt idx="11231">1</cx:pt>
          <cx:pt idx="11232">0</cx:pt>
          <cx:pt idx="11233">0</cx:pt>
          <cx:pt idx="11234">0</cx:pt>
          <cx:pt idx="11235">1</cx:pt>
          <cx:pt idx="11236">1</cx:pt>
          <cx:pt idx="11237">1</cx:pt>
          <cx:pt idx="11238">1</cx:pt>
          <cx:pt idx="11239">0</cx:pt>
          <cx:pt idx="11240">0</cx:pt>
          <cx:pt idx="11241">0</cx:pt>
          <cx:pt idx="11242">0</cx:pt>
          <cx:pt idx="11243">0</cx:pt>
          <cx:pt idx="11244">0</cx:pt>
          <cx:pt idx="11245">0</cx:pt>
          <cx:pt idx="11246">0</cx:pt>
          <cx:pt idx="11247">1</cx:pt>
          <cx:pt idx="11248">1</cx:pt>
          <cx:pt idx="11249">0</cx:pt>
          <cx:pt idx="11250">1</cx:pt>
          <cx:pt idx="11251">1</cx:pt>
          <cx:pt idx="11252">0</cx:pt>
          <cx:pt idx="11253">0</cx:pt>
          <cx:pt idx="11254">1</cx:pt>
          <cx:pt idx="11255">1</cx:pt>
          <cx:pt idx="11256">1</cx:pt>
          <cx:pt idx="11257">1</cx:pt>
          <cx:pt idx="11258">1</cx:pt>
          <cx:pt idx="11259">1</cx:pt>
          <cx:pt idx="11260">0</cx:pt>
          <cx:pt idx="11261">1</cx:pt>
          <cx:pt idx="11262">0</cx:pt>
          <cx:pt idx="11263">1</cx:pt>
          <cx:pt idx="11264">0</cx:pt>
          <cx:pt idx="11265">1</cx:pt>
          <cx:pt idx="11266">0</cx:pt>
          <cx:pt idx="11267">0</cx:pt>
          <cx:pt idx="11268">1</cx:pt>
          <cx:pt idx="11269">1</cx:pt>
          <cx:pt idx="11270">1</cx:pt>
          <cx:pt idx="11271">0</cx:pt>
          <cx:pt idx="11272">0</cx:pt>
          <cx:pt idx="11273">1</cx:pt>
          <cx:pt idx="11274">0</cx:pt>
          <cx:pt idx="11275">0</cx:pt>
          <cx:pt idx="11276">0</cx:pt>
          <cx:pt idx="11277">0</cx:pt>
          <cx:pt idx="11278">1</cx:pt>
          <cx:pt idx="11279">1</cx:pt>
          <cx:pt idx="11280">0</cx:pt>
          <cx:pt idx="11281">0</cx:pt>
          <cx:pt idx="11282">0</cx:pt>
          <cx:pt idx="11283">0</cx:pt>
          <cx:pt idx="11284">0</cx:pt>
          <cx:pt idx="11285">1</cx:pt>
          <cx:pt idx="11286">0</cx:pt>
          <cx:pt idx="11287">0</cx:pt>
          <cx:pt idx="11288">0</cx:pt>
          <cx:pt idx="11289">0</cx:pt>
          <cx:pt idx="11290">0</cx:pt>
          <cx:pt idx="11291">0</cx:pt>
          <cx:pt idx="11292">0</cx:pt>
          <cx:pt idx="11293">1</cx:pt>
          <cx:pt idx="11294">1</cx:pt>
          <cx:pt idx="11295">1</cx:pt>
          <cx:pt idx="11296">0</cx:pt>
          <cx:pt idx="11297">0</cx:pt>
          <cx:pt idx="11298">1</cx:pt>
          <cx:pt idx="11299">0</cx:pt>
          <cx:pt idx="11300">1</cx:pt>
          <cx:pt idx="11301">0</cx:pt>
          <cx:pt idx="11302">0</cx:pt>
          <cx:pt idx="11303">0</cx:pt>
          <cx:pt idx="11304">1</cx:pt>
          <cx:pt idx="11305">1</cx:pt>
          <cx:pt idx="11306">1</cx:pt>
          <cx:pt idx="11307">1</cx:pt>
          <cx:pt idx="11308">1</cx:pt>
          <cx:pt idx="11309">0</cx:pt>
          <cx:pt idx="11310">1</cx:pt>
          <cx:pt idx="11311">0</cx:pt>
          <cx:pt idx="11312">0</cx:pt>
          <cx:pt idx="11313">0</cx:pt>
          <cx:pt idx="11314">0</cx:pt>
          <cx:pt idx="11315">0</cx:pt>
          <cx:pt idx="11316">1</cx:pt>
          <cx:pt idx="11317">0</cx:pt>
          <cx:pt idx="11318">0</cx:pt>
          <cx:pt idx="11319">0</cx:pt>
          <cx:pt idx="11320">0</cx:pt>
          <cx:pt idx="11321">1</cx:pt>
          <cx:pt idx="11322">1</cx:pt>
          <cx:pt idx="11323">0</cx:pt>
          <cx:pt idx="11324">0</cx:pt>
          <cx:pt idx="11325">0</cx:pt>
          <cx:pt idx="11326">0</cx:pt>
          <cx:pt idx="11327">0</cx:pt>
          <cx:pt idx="11328">0</cx:pt>
          <cx:pt idx="11329">1</cx:pt>
          <cx:pt idx="11330">0</cx:pt>
          <cx:pt idx="11331">1</cx:pt>
          <cx:pt idx="11332">0</cx:pt>
          <cx:pt idx="11333">1</cx:pt>
          <cx:pt idx="11334">1</cx:pt>
          <cx:pt idx="11335">0</cx:pt>
          <cx:pt idx="11336">1</cx:pt>
          <cx:pt idx="11337">1</cx:pt>
          <cx:pt idx="11338">0</cx:pt>
          <cx:pt idx="11339">1</cx:pt>
          <cx:pt idx="11340">1</cx:pt>
          <cx:pt idx="11341">1</cx:pt>
          <cx:pt idx="11342">1</cx:pt>
          <cx:pt idx="11343">1</cx:pt>
          <cx:pt idx="11344">0</cx:pt>
          <cx:pt idx="11345">1</cx:pt>
          <cx:pt idx="11346">1</cx:pt>
          <cx:pt idx="11347">0</cx:pt>
          <cx:pt idx="11348">1</cx:pt>
          <cx:pt idx="11349">1</cx:pt>
          <cx:pt idx="11350">1</cx:pt>
          <cx:pt idx="11351">1</cx:pt>
          <cx:pt idx="11352">0</cx:pt>
          <cx:pt idx="11353">1</cx:pt>
          <cx:pt idx="11354">1</cx:pt>
          <cx:pt idx="11355">0</cx:pt>
          <cx:pt idx="11356">0</cx:pt>
          <cx:pt idx="11357">1</cx:pt>
          <cx:pt idx="11358">0</cx:pt>
          <cx:pt idx="11359">1</cx:pt>
          <cx:pt idx="11360">0</cx:pt>
          <cx:pt idx="11361">1</cx:pt>
          <cx:pt idx="11362">0</cx:pt>
          <cx:pt idx="11363">0</cx:pt>
          <cx:pt idx="11364">0</cx:pt>
          <cx:pt idx="11365">1</cx:pt>
          <cx:pt idx="11366">0</cx:pt>
          <cx:pt idx="11367">1</cx:pt>
          <cx:pt idx="11368">0</cx:pt>
          <cx:pt idx="11369">0</cx:pt>
          <cx:pt idx="11370">1</cx:pt>
          <cx:pt idx="11371">0</cx:pt>
          <cx:pt idx="11372">1</cx:pt>
          <cx:pt idx="11373">1</cx:pt>
          <cx:pt idx="11374">0</cx:pt>
          <cx:pt idx="11375">0</cx:pt>
          <cx:pt idx="11376">1</cx:pt>
          <cx:pt idx="11377">0</cx:pt>
          <cx:pt idx="11378">1</cx:pt>
          <cx:pt idx="11379">1</cx:pt>
          <cx:pt idx="11380">0</cx:pt>
          <cx:pt idx="11381">1</cx:pt>
          <cx:pt idx="11382">0</cx:pt>
          <cx:pt idx="11383">1</cx:pt>
          <cx:pt idx="11384">1</cx:pt>
          <cx:pt idx="11385">1</cx:pt>
          <cx:pt idx="11386">1</cx:pt>
          <cx:pt idx="11387">1</cx:pt>
          <cx:pt idx="11388">0</cx:pt>
          <cx:pt idx="11389">0</cx:pt>
          <cx:pt idx="11390">0</cx:pt>
          <cx:pt idx="11391">0</cx:pt>
          <cx:pt idx="11392">1</cx:pt>
          <cx:pt idx="11393">0</cx:pt>
          <cx:pt idx="11394">0</cx:pt>
          <cx:pt idx="11395">0</cx:pt>
          <cx:pt idx="11396">0</cx:pt>
          <cx:pt idx="11397">0</cx:pt>
          <cx:pt idx="11398">0</cx:pt>
          <cx:pt idx="11399">1</cx:pt>
          <cx:pt idx="11400">1</cx:pt>
          <cx:pt idx="11401">0</cx:pt>
          <cx:pt idx="11402">1</cx:pt>
          <cx:pt idx="11403">1</cx:pt>
          <cx:pt idx="11404">0</cx:pt>
          <cx:pt idx="11405">1</cx:pt>
          <cx:pt idx="11406">0</cx:pt>
          <cx:pt idx="11407">0</cx:pt>
          <cx:pt idx="11408">0</cx:pt>
          <cx:pt idx="11409">0</cx:pt>
          <cx:pt idx="11410">1</cx:pt>
          <cx:pt idx="11411">1</cx:pt>
          <cx:pt idx="11412">1</cx:pt>
          <cx:pt idx="11413">0</cx:pt>
          <cx:pt idx="11414">0</cx:pt>
          <cx:pt idx="11415">0</cx:pt>
          <cx:pt idx="11416">0</cx:pt>
          <cx:pt idx="11417">1</cx:pt>
          <cx:pt idx="11418">1</cx:pt>
          <cx:pt idx="11419">0</cx:pt>
          <cx:pt idx="11420">1</cx:pt>
          <cx:pt idx="11421">1</cx:pt>
          <cx:pt idx="11422">1</cx:pt>
          <cx:pt idx="11423">0</cx:pt>
          <cx:pt idx="11424">1</cx:pt>
          <cx:pt idx="11425">1</cx:pt>
          <cx:pt idx="11426">0</cx:pt>
          <cx:pt idx="11427">0</cx:pt>
          <cx:pt idx="11428">0</cx:pt>
          <cx:pt idx="11429">1</cx:pt>
          <cx:pt idx="11430">0</cx:pt>
          <cx:pt idx="11431">0</cx:pt>
          <cx:pt idx="11432">1</cx:pt>
          <cx:pt idx="11433">0</cx:pt>
          <cx:pt idx="11434">1</cx:pt>
          <cx:pt idx="11435">1</cx:pt>
          <cx:pt idx="11436">0</cx:pt>
          <cx:pt idx="11437">0</cx:pt>
          <cx:pt idx="11438">0</cx:pt>
          <cx:pt idx="11439">1</cx:pt>
          <cx:pt idx="11440">1</cx:pt>
          <cx:pt idx="11441">1</cx:pt>
          <cx:pt idx="11442">1</cx:pt>
          <cx:pt idx="11443">1</cx:pt>
          <cx:pt idx="11444">1</cx:pt>
          <cx:pt idx="11445">0</cx:pt>
          <cx:pt idx="11446">0</cx:pt>
          <cx:pt idx="11447">0</cx:pt>
          <cx:pt idx="11448">1</cx:pt>
          <cx:pt idx="11449">1</cx:pt>
          <cx:pt idx="11450">0</cx:pt>
          <cx:pt idx="11451">1</cx:pt>
          <cx:pt idx="11452">1</cx:pt>
          <cx:pt idx="11453">0</cx:pt>
          <cx:pt idx="11454">0</cx:pt>
          <cx:pt idx="11455">1</cx:pt>
          <cx:pt idx="11456">0</cx:pt>
          <cx:pt idx="11457">0</cx:pt>
          <cx:pt idx="11458">1</cx:pt>
          <cx:pt idx="11459">1</cx:pt>
          <cx:pt idx="11460">1</cx:pt>
          <cx:pt idx="11461">1</cx:pt>
          <cx:pt idx="11462">0</cx:pt>
          <cx:pt idx="11463">1</cx:pt>
          <cx:pt idx="11464">1</cx:pt>
          <cx:pt idx="11465">1</cx:pt>
          <cx:pt idx="11466">1</cx:pt>
          <cx:pt idx="11467">0</cx:pt>
          <cx:pt idx="11468">1</cx:pt>
          <cx:pt idx="11469">0</cx:pt>
          <cx:pt idx="11470">1</cx:pt>
          <cx:pt idx="11471">0</cx:pt>
          <cx:pt idx="11472">1</cx:pt>
          <cx:pt idx="11473">0</cx:pt>
          <cx:pt idx="11474">0</cx:pt>
          <cx:pt idx="11475">1</cx:pt>
          <cx:pt idx="11476">0</cx:pt>
          <cx:pt idx="11477">0</cx:pt>
          <cx:pt idx="11478">0</cx:pt>
          <cx:pt idx="11479">0</cx:pt>
          <cx:pt idx="11480">1</cx:pt>
          <cx:pt idx="11481">1</cx:pt>
          <cx:pt idx="11482">1</cx:pt>
          <cx:pt idx="11483">0</cx:pt>
          <cx:pt idx="11484">0</cx:pt>
          <cx:pt idx="11485">0</cx:pt>
          <cx:pt idx="11486">1</cx:pt>
          <cx:pt idx="11487">1</cx:pt>
          <cx:pt idx="11488">0</cx:pt>
          <cx:pt idx="11489">0</cx:pt>
          <cx:pt idx="11490">0</cx:pt>
          <cx:pt idx="11491">0</cx:pt>
          <cx:pt idx="11492">0</cx:pt>
          <cx:pt idx="11493">1</cx:pt>
          <cx:pt idx="11494">0</cx:pt>
          <cx:pt idx="11495">0</cx:pt>
          <cx:pt idx="11496">1</cx:pt>
          <cx:pt idx="11497">1</cx:pt>
          <cx:pt idx="11498">1</cx:pt>
          <cx:pt idx="11499">1</cx:pt>
          <cx:pt idx="11500">1</cx:pt>
          <cx:pt idx="11501">1</cx:pt>
          <cx:pt idx="11502">0</cx:pt>
          <cx:pt idx="11503">1</cx:pt>
          <cx:pt idx="11504">1</cx:pt>
          <cx:pt idx="11505">0</cx:pt>
          <cx:pt idx="11506">1</cx:pt>
          <cx:pt idx="11507">1</cx:pt>
          <cx:pt idx="11508">0</cx:pt>
          <cx:pt idx="11509">1</cx:pt>
          <cx:pt idx="11510">1</cx:pt>
          <cx:pt idx="11511">1</cx:pt>
          <cx:pt idx="11512">0</cx:pt>
          <cx:pt idx="11513">0</cx:pt>
          <cx:pt idx="11514">1</cx:pt>
          <cx:pt idx="11515">0</cx:pt>
          <cx:pt idx="11516">0</cx:pt>
          <cx:pt idx="11517">0</cx:pt>
          <cx:pt idx="11518">1</cx:pt>
          <cx:pt idx="11519">0</cx:pt>
          <cx:pt idx="11520">0</cx:pt>
          <cx:pt idx="11521">1</cx:pt>
          <cx:pt idx="11522">0</cx:pt>
          <cx:pt idx="11523">1</cx:pt>
          <cx:pt idx="11524">1</cx:pt>
          <cx:pt idx="11525">0</cx:pt>
          <cx:pt idx="11526">1</cx:pt>
          <cx:pt idx="11527">0</cx:pt>
          <cx:pt idx="11528">0</cx:pt>
          <cx:pt idx="11529">1</cx:pt>
          <cx:pt idx="11530">0</cx:pt>
          <cx:pt idx="11531">1</cx:pt>
          <cx:pt idx="11532">1</cx:pt>
          <cx:pt idx="11533">1</cx:pt>
          <cx:pt idx="11534">0</cx:pt>
          <cx:pt idx="11535">1</cx:pt>
          <cx:pt idx="11536">1</cx:pt>
          <cx:pt idx="11537">1</cx:pt>
          <cx:pt idx="11538">0</cx:pt>
          <cx:pt idx="11539">0</cx:pt>
          <cx:pt idx="11540">1</cx:pt>
          <cx:pt idx="11541">0</cx:pt>
          <cx:pt idx="11542">1</cx:pt>
          <cx:pt idx="11543">0</cx:pt>
          <cx:pt idx="11544">1</cx:pt>
          <cx:pt idx="11545">0</cx:pt>
          <cx:pt idx="11546">1</cx:pt>
          <cx:pt idx="11547">0</cx:pt>
          <cx:pt idx="11548">0</cx:pt>
          <cx:pt idx="11549">1</cx:pt>
          <cx:pt idx="11550">0</cx:pt>
          <cx:pt idx="11551">0</cx:pt>
          <cx:pt idx="11552">1</cx:pt>
          <cx:pt idx="11553">1</cx:pt>
          <cx:pt idx="11554">1</cx:pt>
          <cx:pt idx="11555">1</cx:pt>
          <cx:pt idx="11556">1</cx:pt>
          <cx:pt idx="11557">0</cx:pt>
          <cx:pt idx="11558">1</cx:pt>
          <cx:pt idx="11559">0</cx:pt>
          <cx:pt idx="11560">0</cx:pt>
          <cx:pt idx="11561">0</cx:pt>
          <cx:pt idx="11562">0</cx:pt>
          <cx:pt idx="11563">0</cx:pt>
          <cx:pt idx="11564">0</cx:pt>
          <cx:pt idx="11565">1</cx:pt>
          <cx:pt idx="11566">0</cx:pt>
          <cx:pt idx="11567">0</cx:pt>
          <cx:pt idx="11568">0</cx:pt>
          <cx:pt idx="11569">0</cx:pt>
          <cx:pt idx="11570">1</cx:pt>
          <cx:pt idx="11571">1</cx:pt>
          <cx:pt idx="11572">1</cx:pt>
          <cx:pt idx="11573">1</cx:pt>
          <cx:pt idx="11574">1</cx:pt>
          <cx:pt idx="11575">1</cx:pt>
          <cx:pt idx="11576">1</cx:pt>
          <cx:pt idx="11577">1</cx:pt>
          <cx:pt idx="11578">1</cx:pt>
          <cx:pt idx="11579">1</cx:pt>
          <cx:pt idx="11580">1</cx:pt>
          <cx:pt idx="11581">0</cx:pt>
          <cx:pt idx="11582">1</cx:pt>
          <cx:pt idx="11583">0</cx:pt>
          <cx:pt idx="11584">0</cx:pt>
          <cx:pt idx="11585">1</cx:pt>
          <cx:pt idx="11586">0</cx:pt>
          <cx:pt idx="11587">0</cx:pt>
          <cx:pt idx="11588">0</cx:pt>
          <cx:pt idx="11589">1</cx:pt>
          <cx:pt idx="11590">1</cx:pt>
          <cx:pt idx="11591">0</cx:pt>
          <cx:pt idx="11592">1</cx:pt>
          <cx:pt idx="11593">0</cx:pt>
          <cx:pt idx="11594">0</cx:pt>
          <cx:pt idx="11595">0</cx:pt>
          <cx:pt idx="11596">1</cx:pt>
          <cx:pt idx="11597">0</cx:pt>
          <cx:pt idx="11598">0</cx:pt>
          <cx:pt idx="11599">0</cx:pt>
          <cx:pt idx="11600">0</cx:pt>
          <cx:pt idx="11601">0</cx:pt>
          <cx:pt idx="11602">0</cx:pt>
          <cx:pt idx="11603">0</cx:pt>
          <cx:pt idx="11604">0</cx:pt>
          <cx:pt idx="11605">0</cx:pt>
          <cx:pt idx="11606">0</cx:pt>
          <cx:pt idx="11607">1</cx:pt>
          <cx:pt idx="11608">1</cx:pt>
          <cx:pt idx="11609">0</cx:pt>
          <cx:pt idx="11610">0</cx:pt>
          <cx:pt idx="11611">0</cx:pt>
          <cx:pt idx="11612">1</cx:pt>
          <cx:pt idx="11613">0</cx:pt>
          <cx:pt idx="11614">1</cx:pt>
          <cx:pt idx="11615">0</cx:pt>
          <cx:pt idx="11616">0</cx:pt>
          <cx:pt idx="11617">1</cx:pt>
          <cx:pt idx="11618">0</cx:pt>
          <cx:pt idx="11619">0</cx:pt>
          <cx:pt idx="11620">1</cx:pt>
          <cx:pt idx="11621">1</cx:pt>
          <cx:pt idx="11622">0</cx:pt>
          <cx:pt idx="11623">0</cx:pt>
          <cx:pt idx="11624">1</cx:pt>
          <cx:pt idx="11625">0</cx:pt>
          <cx:pt idx="11626">0</cx:pt>
          <cx:pt idx="11627">1</cx:pt>
          <cx:pt idx="11628">1</cx:pt>
          <cx:pt idx="11629">1</cx:pt>
          <cx:pt idx="11630">0</cx:pt>
          <cx:pt idx="11631">1</cx:pt>
          <cx:pt idx="11632">0</cx:pt>
          <cx:pt idx="11633">1</cx:pt>
          <cx:pt idx="11634">1</cx:pt>
          <cx:pt idx="11635">1</cx:pt>
          <cx:pt idx="11636">0</cx:pt>
          <cx:pt idx="11637">0</cx:pt>
          <cx:pt idx="11638">1</cx:pt>
          <cx:pt idx="11639">1</cx:pt>
          <cx:pt idx="11640">1</cx:pt>
          <cx:pt idx="11641">0</cx:pt>
          <cx:pt idx="11642">1</cx:pt>
          <cx:pt idx="11643">1</cx:pt>
          <cx:pt idx="11644">1</cx:pt>
          <cx:pt idx="11645">0</cx:pt>
          <cx:pt idx="11646">0</cx:pt>
          <cx:pt idx="11647">0</cx:pt>
          <cx:pt idx="11648">0</cx:pt>
          <cx:pt idx="11649">1</cx:pt>
          <cx:pt idx="11650">0</cx:pt>
          <cx:pt idx="11651">1</cx:pt>
          <cx:pt idx="11652">0</cx:pt>
          <cx:pt idx="11653">1</cx:pt>
          <cx:pt idx="11654">1</cx:pt>
          <cx:pt idx="11655">0</cx:pt>
          <cx:pt idx="11656">0</cx:pt>
          <cx:pt idx="11657">1</cx:pt>
          <cx:pt idx="11658">0</cx:pt>
          <cx:pt idx="11659">0</cx:pt>
          <cx:pt idx="11660">0</cx:pt>
          <cx:pt idx="11661">1</cx:pt>
          <cx:pt idx="11662">1</cx:pt>
          <cx:pt idx="11663">1</cx:pt>
          <cx:pt idx="11664">0</cx:pt>
          <cx:pt idx="11665">0</cx:pt>
          <cx:pt idx="11666">1</cx:pt>
          <cx:pt idx="11667">0</cx:pt>
          <cx:pt idx="11668">1</cx:pt>
          <cx:pt idx="11669">0</cx:pt>
          <cx:pt idx="11670">1</cx:pt>
          <cx:pt idx="11671">0</cx:pt>
          <cx:pt idx="11672">0</cx:pt>
          <cx:pt idx="11673">1</cx:pt>
          <cx:pt idx="11674">1</cx:pt>
          <cx:pt idx="11675">0</cx:pt>
          <cx:pt idx="11676">1</cx:pt>
          <cx:pt idx="11677">1</cx:pt>
          <cx:pt idx="11678">0</cx:pt>
          <cx:pt idx="11679">0</cx:pt>
          <cx:pt idx="11680">0</cx:pt>
          <cx:pt idx="11681">0</cx:pt>
          <cx:pt idx="11682">1</cx:pt>
          <cx:pt idx="11683">0</cx:pt>
          <cx:pt idx="11684">1</cx:pt>
          <cx:pt idx="11685">0</cx:pt>
          <cx:pt idx="11686">0</cx:pt>
          <cx:pt idx="11687">0</cx:pt>
          <cx:pt idx="11688">0</cx:pt>
          <cx:pt idx="11689">1</cx:pt>
          <cx:pt idx="11690">1</cx:pt>
          <cx:pt idx="11691">0</cx:pt>
          <cx:pt idx="11692">1</cx:pt>
          <cx:pt idx="11693">1</cx:pt>
          <cx:pt idx="11694">0</cx:pt>
          <cx:pt idx="11695">0</cx:pt>
          <cx:pt idx="11696">0</cx:pt>
          <cx:pt idx="11697">0</cx:pt>
          <cx:pt idx="11698">0</cx:pt>
          <cx:pt idx="11699">1</cx:pt>
          <cx:pt idx="11700">1</cx:pt>
          <cx:pt idx="11701">0</cx:pt>
          <cx:pt idx="11702">0</cx:pt>
          <cx:pt idx="11703">0</cx:pt>
          <cx:pt idx="11704">1</cx:pt>
          <cx:pt idx="11705">1</cx:pt>
          <cx:pt idx="11706">0</cx:pt>
          <cx:pt idx="11707">0</cx:pt>
          <cx:pt idx="11708">0</cx:pt>
          <cx:pt idx="11709">0</cx:pt>
          <cx:pt idx="11710">0</cx:pt>
          <cx:pt idx="11711">1</cx:pt>
          <cx:pt idx="11712">1</cx:pt>
          <cx:pt idx="11713">1</cx:pt>
          <cx:pt idx="11714">0</cx:pt>
          <cx:pt idx="11715">1</cx:pt>
          <cx:pt idx="11716">0</cx:pt>
          <cx:pt idx="11717">1</cx:pt>
          <cx:pt idx="11718">0</cx:pt>
          <cx:pt idx="11719">0</cx:pt>
          <cx:pt idx="11720">0</cx:pt>
          <cx:pt idx="11721">1</cx:pt>
          <cx:pt idx="11722">0</cx:pt>
          <cx:pt idx="11723">1</cx:pt>
          <cx:pt idx="11724">1</cx:pt>
          <cx:pt idx="11725">1</cx:pt>
          <cx:pt idx="11726">0</cx:pt>
          <cx:pt idx="11727">0</cx:pt>
          <cx:pt idx="11728">0</cx:pt>
          <cx:pt idx="11729">1</cx:pt>
          <cx:pt idx="11730">0</cx:pt>
          <cx:pt idx="11731">1</cx:pt>
          <cx:pt idx="11732">0</cx:pt>
          <cx:pt idx="11733">0</cx:pt>
          <cx:pt idx="11734">0</cx:pt>
          <cx:pt idx="11735">0</cx:pt>
          <cx:pt idx="11736">1</cx:pt>
          <cx:pt idx="11737">0</cx:pt>
          <cx:pt idx="11738">0</cx:pt>
          <cx:pt idx="11739">0</cx:pt>
          <cx:pt idx="11740">0</cx:pt>
          <cx:pt idx="11741">0</cx:pt>
          <cx:pt idx="11742">1</cx:pt>
          <cx:pt idx="11743">1</cx:pt>
          <cx:pt idx="11744">0</cx:pt>
          <cx:pt idx="11745">0</cx:pt>
          <cx:pt idx="11746">1</cx:pt>
          <cx:pt idx="11747">1</cx:pt>
          <cx:pt idx="11748">1</cx:pt>
          <cx:pt idx="11749">0</cx:pt>
          <cx:pt idx="11750">0</cx:pt>
          <cx:pt idx="11751">0</cx:pt>
          <cx:pt idx="11752">1</cx:pt>
          <cx:pt idx="11753">0</cx:pt>
          <cx:pt idx="11754">0</cx:pt>
          <cx:pt idx="11755">1</cx:pt>
          <cx:pt idx="11756">1</cx:pt>
          <cx:pt idx="11757">0</cx:pt>
          <cx:pt idx="11758">0</cx:pt>
          <cx:pt idx="11759">1</cx:pt>
          <cx:pt idx="11760">0</cx:pt>
          <cx:pt idx="11761">1</cx:pt>
          <cx:pt idx="11762">0</cx:pt>
          <cx:pt idx="11763">1</cx:pt>
          <cx:pt idx="11764">1</cx:pt>
          <cx:pt idx="11765">0</cx:pt>
          <cx:pt idx="11766">0</cx:pt>
          <cx:pt idx="11767">1</cx:pt>
          <cx:pt idx="11768">0</cx:pt>
          <cx:pt idx="11769">1</cx:pt>
          <cx:pt idx="11770">0</cx:pt>
          <cx:pt idx="11771">0</cx:pt>
          <cx:pt idx="11772">0</cx:pt>
          <cx:pt idx="11773">0</cx:pt>
          <cx:pt idx="11774">1</cx:pt>
          <cx:pt idx="11775">1</cx:pt>
          <cx:pt idx="11776">1</cx:pt>
          <cx:pt idx="11777">0</cx:pt>
          <cx:pt idx="11778">0</cx:pt>
          <cx:pt idx="11779">1</cx:pt>
          <cx:pt idx="11780">0</cx:pt>
          <cx:pt idx="11781">0</cx:pt>
          <cx:pt idx="11782">1</cx:pt>
          <cx:pt idx="11783">0</cx:pt>
          <cx:pt idx="11784">1</cx:pt>
          <cx:pt idx="11785">0</cx:pt>
          <cx:pt idx="11786">0</cx:pt>
          <cx:pt idx="11787">0</cx:pt>
          <cx:pt idx="11788">1</cx:pt>
          <cx:pt idx="11789">0</cx:pt>
          <cx:pt idx="11790">0</cx:pt>
          <cx:pt idx="11791">1</cx:pt>
          <cx:pt idx="11792">0</cx:pt>
          <cx:pt idx="11793">1</cx:pt>
          <cx:pt idx="11794">1</cx:pt>
          <cx:pt idx="11795">0</cx:pt>
          <cx:pt idx="11796">0</cx:pt>
          <cx:pt idx="11797">0</cx:pt>
          <cx:pt idx="11798">1</cx:pt>
          <cx:pt idx="11799">1</cx:pt>
          <cx:pt idx="11800">1</cx:pt>
          <cx:pt idx="11801">0</cx:pt>
          <cx:pt idx="11802">0</cx:pt>
          <cx:pt idx="11803">1</cx:pt>
          <cx:pt idx="11804">0</cx:pt>
          <cx:pt idx="11805">0</cx:pt>
          <cx:pt idx="11806">1</cx:pt>
          <cx:pt idx="11807">0</cx:pt>
          <cx:pt idx="11808">0</cx:pt>
          <cx:pt idx="11809">0</cx:pt>
          <cx:pt idx="11810">1</cx:pt>
          <cx:pt idx="11811">0</cx:pt>
          <cx:pt idx="11812">0</cx:pt>
          <cx:pt idx="11813">0</cx:pt>
          <cx:pt idx="11814">1</cx:pt>
          <cx:pt idx="11815">0</cx:pt>
          <cx:pt idx="11816">0</cx:pt>
          <cx:pt idx="11817">0</cx:pt>
          <cx:pt idx="11818">1</cx:pt>
          <cx:pt idx="11819">0</cx:pt>
          <cx:pt idx="11820">0</cx:pt>
          <cx:pt idx="11821">1</cx:pt>
          <cx:pt idx="11822">0</cx:pt>
          <cx:pt idx="11823">1</cx:pt>
          <cx:pt idx="11824">0</cx:pt>
          <cx:pt idx="11825">0</cx:pt>
          <cx:pt idx="11826">0</cx:pt>
          <cx:pt idx="11827">0</cx:pt>
          <cx:pt idx="11828">0</cx:pt>
          <cx:pt idx="11829">1</cx:pt>
          <cx:pt idx="11830">1</cx:pt>
          <cx:pt idx="11831">1</cx:pt>
          <cx:pt idx="11832">0</cx:pt>
          <cx:pt idx="11833">1</cx:pt>
          <cx:pt idx="11834">0</cx:pt>
          <cx:pt idx="11835">0</cx:pt>
          <cx:pt idx="11836">1</cx:pt>
          <cx:pt idx="11837">1</cx:pt>
          <cx:pt idx="11838">0</cx:pt>
          <cx:pt idx="11839">1</cx:pt>
          <cx:pt idx="11840">0</cx:pt>
          <cx:pt idx="11841">0</cx:pt>
          <cx:pt idx="11842">1</cx:pt>
          <cx:pt idx="11843">0</cx:pt>
          <cx:pt idx="11844">1</cx:pt>
          <cx:pt idx="11845">1</cx:pt>
          <cx:pt idx="11846">1</cx:pt>
          <cx:pt idx="11847">1</cx:pt>
          <cx:pt idx="11848">0</cx:pt>
          <cx:pt idx="11849">1</cx:pt>
          <cx:pt idx="11850">1</cx:pt>
          <cx:pt idx="11851">1</cx:pt>
          <cx:pt idx="11852">1</cx:pt>
          <cx:pt idx="11853">0</cx:pt>
          <cx:pt idx="11854">0</cx:pt>
          <cx:pt idx="11855">0</cx:pt>
          <cx:pt idx="11856">0</cx:pt>
          <cx:pt idx="11857">0</cx:pt>
          <cx:pt idx="11858">0</cx:pt>
          <cx:pt idx="11859">0</cx:pt>
          <cx:pt idx="11860">1</cx:pt>
          <cx:pt idx="11861">1</cx:pt>
          <cx:pt idx="11862">0</cx:pt>
          <cx:pt idx="11863">0</cx:pt>
          <cx:pt idx="11864">0</cx:pt>
          <cx:pt idx="11865">1</cx:pt>
          <cx:pt idx="11866">0</cx:pt>
          <cx:pt idx="11867">1</cx:pt>
          <cx:pt idx="11868">0</cx:pt>
          <cx:pt idx="11869">0</cx:pt>
          <cx:pt idx="11870">1</cx:pt>
          <cx:pt idx="11871">0</cx:pt>
          <cx:pt idx="11872">1</cx:pt>
          <cx:pt idx="11873">0</cx:pt>
          <cx:pt idx="11874">0</cx:pt>
          <cx:pt idx="11875">1</cx:pt>
          <cx:pt idx="11876">0</cx:pt>
          <cx:pt idx="11877">0</cx:pt>
          <cx:pt idx="11878">1</cx:pt>
          <cx:pt idx="11879">0</cx:pt>
          <cx:pt idx="11880">1</cx:pt>
          <cx:pt idx="11881">0</cx:pt>
          <cx:pt idx="11882">0</cx:pt>
          <cx:pt idx="11883">0</cx:pt>
          <cx:pt idx="11884">0</cx:pt>
          <cx:pt idx="11885">0</cx:pt>
          <cx:pt idx="11886">0</cx:pt>
          <cx:pt idx="11887">1</cx:pt>
          <cx:pt idx="11888">0</cx:pt>
          <cx:pt idx="11889">0</cx:pt>
          <cx:pt idx="11890">0</cx:pt>
          <cx:pt idx="11891">1</cx:pt>
          <cx:pt idx="11892">0</cx:pt>
          <cx:pt idx="11893">0</cx:pt>
          <cx:pt idx="11894">0</cx:pt>
          <cx:pt idx="11895">1</cx:pt>
          <cx:pt idx="11896">0</cx:pt>
          <cx:pt idx="11897">0</cx:pt>
          <cx:pt idx="11898">0</cx:pt>
          <cx:pt idx="11899">0</cx:pt>
          <cx:pt idx="11900">0</cx:pt>
          <cx:pt idx="11901">1</cx:pt>
          <cx:pt idx="11902">0</cx:pt>
          <cx:pt idx="11903">0</cx:pt>
          <cx:pt idx="11904">1</cx:pt>
          <cx:pt idx="11905">1</cx:pt>
          <cx:pt idx="11906">1</cx:pt>
          <cx:pt idx="11907">1</cx:pt>
          <cx:pt idx="11908">0</cx:pt>
          <cx:pt idx="11909">0</cx:pt>
          <cx:pt idx="11910">0</cx:pt>
          <cx:pt idx="11911">1</cx:pt>
          <cx:pt idx="11912">1</cx:pt>
          <cx:pt idx="11913">1</cx:pt>
          <cx:pt idx="11914">0</cx:pt>
          <cx:pt idx="11915">0</cx:pt>
          <cx:pt idx="11916">0</cx:pt>
          <cx:pt idx="11917">0</cx:pt>
          <cx:pt idx="11918">0</cx:pt>
          <cx:pt idx="11919">1</cx:pt>
          <cx:pt idx="11920">0</cx:pt>
          <cx:pt idx="11921">0</cx:pt>
          <cx:pt idx="11922">0</cx:pt>
          <cx:pt idx="11923">0</cx:pt>
          <cx:pt idx="11924">1</cx:pt>
          <cx:pt idx="11925">1</cx:pt>
          <cx:pt idx="11926">0</cx:pt>
          <cx:pt idx="11927">1</cx:pt>
          <cx:pt idx="11928">0</cx:pt>
          <cx:pt idx="11929">1</cx:pt>
          <cx:pt idx="11930">0</cx:pt>
          <cx:pt idx="11931">1</cx:pt>
          <cx:pt idx="11932">0</cx:pt>
          <cx:pt idx="11933">0</cx:pt>
          <cx:pt idx="11934">0</cx:pt>
          <cx:pt idx="11935">1</cx:pt>
          <cx:pt idx="11936">1</cx:pt>
          <cx:pt idx="11937">1</cx:pt>
          <cx:pt idx="11938">1</cx:pt>
          <cx:pt idx="11939">1</cx:pt>
          <cx:pt idx="11940">0</cx:pt>
          <cx:pt idx="11941">0</cx:pt>
          <cx:pt idx="11942">0</cx:pt>
          <cx:pt idx="11943">1</cx:pt>
          <cx:pt idx="11944">0</cx:pt>
          <cx:pt idx="11945">1</cx:pt>
          <cx:pt idx="11946">1</cx:pt>
          <cx:pt idx="11947">1</cx:pt>
          <cx:pt idx="11948">1</cx:pt>
          <cx:pt idx="11949">1</cx:pt>
          <cx:pt idx="11950">1</cx:pt>
          <cx:pt idx="11951">0</cx:pt>
          <cx:pt idx="11952">0</cx:pt>
          <cx:pt idx="11953">1</cx:pt>
          <cx:pt idx="11954">1</cx:pt>
          <cx:pt idx="11955">1</cx:pt>
          <cx:pt idx="11956">0</cx:pt>
          <cx:pt idx="11957">1</cx:pt>
          <cx:pt idx="11958">0</cx:pt>
          <cx:pt idx="11959">1</cx:pt>
          <cx:pt idx="11960">0</cx:pt>
          <cx:pt idx="11961">1</cx:pt>
          <cx:pt idx="11962">0</cx:pt>
          <cx:pt idx="11963">0</cx:pt>
          <cx:pt idx="11964">0</cx:pt>
          <cx:pt idx="11965">0</cx:pt>
          <cx:pt idx="11966">0</cx:pt>
          <cx:pt idx="11967">0</cx:pt>
          <cx:pt idx="11968">1</cx:pt>
          <cx:pt idx="11969">0</cx:pt>
          <cx:pt idx="11970">0</cx:pt>
          <cx:pt idx="11971">1</cx:pt>
          <cx:pt idx="11972">0</cx:pt>
          <cx:pt idx="11973">1</cx:pt>
          <cx:pt idx="11974">0</cx:pt>
          <cx:pt idx="11975">0</cx:pt>
          <cx:pt idx="11976">1</cx:pt>
          <cx:pt idx="11977">1</cx:pt>
          <cx:pt idx="11978">0</cx:pt>
          <cx:pt idx="11979">1</cx:pt>
          <cx:pt idx="11980">0</cx:pt>
          <cx:pt idx="11981">0</cx:pt>
          <cx:pt idx="11982">1</cx:pt>
          <cx:pt idx="11983">0</cx:pt>
          <cx:pt idx="11984">1</cx:pt>
          <cx:pt idx="11985">1</cx:pt>
          <cx:pt idx="11986">0</cx:pt>
          <cx:pt idx="11987">1</cx:pt>
          <cx:pt idx="11988">1</cx:pt>
          <cx:pt idx="11989">0</cx:pt>
          <cx:pt idx="11990">1</cx:pt>
          <cx:pt idx="11991">0</cx:pt>
          <cx:pt idx="11992">1</cx:pt>
          <cx:pt idx="11993">0</cx:pt>
          <cx:pt idx="11994">1</cx:pt>
          <cx:pt idx="11995">0</cx:pt>
          <cx:pt idx="11996">1</cx:pt>
          <cx:pt idx="11997">1</cx:pt>
          <cx:pt idx="11998">1</cx:pt>
          <cx:pt idx="11999">0</cx:pt>
          <cx:pt idx="12000">1</cx:pt>
          <cx:pt idx="12001">1</cx:pt>
          <cx:pt idx="12002">1</cx:pt>
          <cx:pt idx="12003">1</cx:pt>
          <cx:pt idx="12004">1</cx:pt>
          <cx:pt idx="12005">1</cx:pt>
          <cx:pt idx="12006">0</cx:pt>
          <cx:pt idx="12007">1</cx:pt>
          <cx:pt idx="12008">1</cx:pt>
          <cx:pt idx="12009">1</cx:pt>
          <cx:pt idx="12010">1</cx:pt>
          <cx:pt idx="12011">0</cx:pt>
          <cx:pt idx="12012">1</cx:pt>
          <cx:pt idx="12013">1</cx:pt>
          <cx:pt idx="12014">1</cx:pt>
          <cx:pt idx="12015">0</cx:pt>
          <cx:pt idx="12016">0</cx:pt>
          <cx:pt idx="12017">1</cx:pt>
          <cx:pt idx="12018">1</cx:pt>
          <cx:pt idx="12019">1</cx:pt>
          <cx:pt idx="12020">1</cx:pt>
          <cx:pt idx="12021">1</cx:pt>
          <cx:pt idx="12022">1</cx:pt>
          <cx:pt idx="12023">0</cx:pt>
          <cx:pt idx="12024">0</cx:pt>
          <cx:pt idx="12025">1</cx:pt>
          <cx:pt idx="12026">0</cx:pt>
          <cx:pt idx="12027">1</cx:pt>
          <cx:pt idx="12028">1</cx:pt>
          <cx:pt idx="12029">1</cx:pt>
          <cx:pt idx="12030">0</cx:pt>
          <cx:pt idx="12031">1</cx:pt>
          <cx:pt idx="12032">1</cx:pt>
          <cx:pt idx="12033">0</cx:pt>
          <cx:pt idx="12034">1</cx:pt>
          <cx:pt idx="12035">0</cx:pt>
          <cx:pt idx="12036">0</cx:pt>
          <cx:pt idx="12037">1</cx:pt>
          <cx:pt idx="12038">0</cx:pt>
          <cx:pt idx="12039">0</cx:pt>
          <cx:pt idx="12040">1</cx:pt>
          <cx:pt idx="12041">1</cx:pt>
          <cx:pt idx="12042">0</cx:pt>
          <cx:pt idx="12043">1</cx:pt>
          <cx:pt idx="12044">0</cx:pt>
          <cx:pt idx="12045">0</cx:pt>
          <cx:pt idx="12046">1</cx:pt>
          <cx:pt idx="12047">1</cx:pt>
          <cx:pt idx="12048">0</cx:pt>
          <cx:pt idx="12049">0</cx:pt>
          <cx:pt idx="12050">0</cx:pt>
          <cx:pt idx="12051">0</cx:pt>
          <cx:pt idx="12052">0</cx:pt>
          <cx:pt idx="12053">0</cx:pt>
          <cx:pt idx="12054">1</cx:pt>
          <cx:pt idx="12055">0</cx:pt>
          <cx:pt idx="12056">0</cx:pt>
          <cx:pt idx="12057">0</cx:pt>
          <cx:pt idx="12058">0</cx:pt>
          <cx:pt idx="12059">0</cx:pt>
          <cx:pt idx="12060">0</cx:pt>
          <cx:pt idx="12061">0</cx:pt>
          <cx:pt idx="12062">0</cx:pt>
          <cx:pt idx="12063">0</cx:pt>
          <cx:pt idx="12064">0</cx:pt>
          <cx:pt idx="12065">0</cx:pt>
          <cx:pt idx="12066">0</cx:pt>
          <cx:pt idx="12067">0</cx:pt>
          <cx:pt idx="12068">1</cx:pt>
          <cx:pt idx="12069">0</cx:pt>
          <cx:pt idx="12070">0</cx:pt>
          <cx:pt idx="12071">1</cx:pt>
          <cx:pt idx="12072">1</cx:pt>
          <cx:pt idx="12073">1</cx:pt>
          <cx:pt idx="12074">1</cx:pt>
          <cx:pt idx="12075">0</cx:pt>
          <cx:pt idx="12076">1</cx:pt>
          <cx:pt idx="12077">0</cx:pt>
          <cx:pt idx="12078">0</cx:pt>
          <cx:pt idx="12079">0</cx:pt>
          <cx:pt idx="12080">0</cx:pt>
          <cx:pt idx="12081">1</cx:pt>
          <cx:pt idx="12082">1</cx:pt>
          <cx:pt idx="12083">1</cx:pt>
          <cx:pt idx="12084">1</cx:pt>
          <cx:pt idx="12085">1</cx:pt>
          <cx:pt idx="12086">0</cx:pt>
          <cx:pt idx="12087">1</cx:pt>
          <cx:pt idx="12088">0</cx:pt>
          <cx:pt idx="12089">0</cx:pt>
          <cx:pt idx="12090">1</cx:pt>
          <cx:pt idx="12091">0</cx:pt>
          <cx:pt idx="12092">0</cx:pt>
          <cx:pt idx="12093">0</cx:pt>
          <cx:pt idx="12094">0</cx:pt>
          <cx:pt idx="12095">0</cx:pt>
          <cx:pt idx="12096">0</cx:pt>
          <cx:pt idx="12097">0</cx:pt>
          <cx:pt idx="12098">0</cx:pt>
          <cx:pt idx="12099">0</cx:pt>
          <cx:pt idx="12100">1</cx:pt>
          <cx:pt idx="12101">1</cx:pt>
          <cx:pt idx="12102">1</cx:pt>
          <cx:pt idx="12103">1</cx:pt>
          <cx:pt idx="12104">0</cx:pt>
          <cx:pt idx="12105">0</cx:pt>
          <cx:pt idx="12106">0</cx:pt>
          <cx:pt idx="12107">1</cx:pt>
          <cx:pt idx="12108">0</cx:pt>
          <cx:pt idx="12109">0</cx:pt>
          <cx:pt idx="12110">1</cx:pt>
          <cx:pt idx="12111">1</cx:pt>
          <cx:pt idx="12112">1</cx:pt>
          <cx:pt idx="12113">0</cx:pt>
          <cx:pt idx="12114">0</cx:pt>
          <cx:pt idx="12115">0</cx:pt>
          <cx:pt idx="12116">1</cx:pt>
          <cx:pt idx="12117">0</cx:pt>
          <cx:pt idx="12118">1</cx:pt>
          <cx:pt idx="12119">0</cx:pt>
          <cx:pt idx="12120">0</cx:pt>
          <cx:pt idx="12121">0</cx:pt>
          <cx:pt idx="12122">0</cx:pt>
          <cx:pt idx="12123">1</cx:pt>
          <cx:pt idx="12124">1</cx:pt>
          <cx:pt idx="12125">0</cx:pt>
          <cx:pt idx="12126">0</cx:pt>
          <cx:pt idx="12127">1</cx:pt>
          <cx:pt idx="12128">1</cx:pt>
          <cx:pt idx="12129">0</cx:pt>
          <cx:pt idx="12130">1</cx:pt>
          <cx:pt idx="12131">1</cx:pt>
          <cx:pt idx="12132">0</cx:pt>
          <cx:pt idx="12133">1</cx:pt>
          <cx:pt idx="12134">0</cx:pt>
          <cx:pt idx="12135">0</cx:pt>
          <cx:pt idx="12136">1</cx:pt>
          <cx:pt idx="12137">1</cx:pt>
          <cx:pt idx="12138">0</cx:pt>
          <cx:pt idx="12139">0</cx:pt>
          <cx:pt idx="12140">1</cx:pt>
          <cx:pt idx="12141">0</cx:pt>
          <cx:pt idx="12142">0</cx:pt>
          <cx:pt idx="12143">1</cx:pt>
          <cx:pt idx="12144">0</cx:pt>
          <cx:pt idx="12145">0</cx:pt>
          <cx:pt idx="12146">1</cx:pt>
          <cx:pt idx="12147">0</cx:pt>
          <cx:pt idx="12148">1</cx:pt>
          <cx:pt idx="12149">0</cx:pt>
          <cx:pt idx="12150">0</cx:pt>
          <cx:pt idx="12151">0</cx:pt>
          <cx:pt idx="12152">0</cx:pt>
          <cx:pt idx="12153">0</cx:pt>
          <cx:pt idx="12154">0</cx:pt>
          <cx:pt idx="12155">0</cx:pt>
          <cx:pt idx="12156">0</cx:pt>
          <cx:pt idx="12157">1</cx:pt>
          <cx:pt idx="12158">1</cx:pt>
          <cx:pt idx="12159">0</cx:pt>
          <cx:pt idx="12160">0</cx:pt>
          <cx:pt idx="12161">1</cx:pt>
          <cx:pt idx="12162">1</cx:pt>
          <cx:pt idx="12163">0</cx:pt>
          <cx:pt idx="12164">0</cx:pt>
          <cx:pt idx="12165">0</cx:pt>
          <cx:pt idx="12166">0</cx:pt>
          <cx:pt idx="12167">0</cx:pt>
          <cx:pt idx="12168">1</cx:pt>
          <cx:pt idx="12169">0</cx:pt>
          <cx:pt idx="12170">0</cx:pt>
          <cx:pt idx="12171">1</cx:pt>
          <cx:pt idx="12172">0</cx:pt>
          <cx:pt idx="12173">1</cx:pt>
          <cx:pt idx="12174">0</cx:pt>
          <cx:pt idx="12175">0</cx:pt>
          <cx:pt idx="12176">0</cx:pt>
          <cx:pt idx="12177">1</cx:pt>
          <cx:pt idx="12178">0</cx:pt>
          <cx:pt idx="12179">0</cx:pt>
          <cx:pt idx="12180">0</cx:pt>
          <cx:pt idx="12181">0</cx:pt>
          <cx:pt idx="12182">0</cx:pt>
          <cx:pt idx="12183">0</cx:pt>
          <cx:pt idx="12184">0</cx:pt>
          <cx:pt idx="12185">0</cx:pt>
          <cx:pt idx="12186">0</cx:pt>
          <cx:pt idx="12187">0</cx:pt>
          <cx:pt idx="12188">1</cx:pt>
          <cx:pt idx="12189">1</cx:pt>
          <cx:pt idx="12190">0</cx:pt>
          <cx:pt idx="12191">0</cx:pt>
          <cx:pt idx="12192">1</cx:pt>
          <cx:pt idx="12193">0</cx:pt>
          <cx:pt idx="12194">0</cx:pt>
          <cx:pt idx="12195">0</cx:pt>
          <cx:pt idx="12196">0</cx:pt>
          <cx:pt idx="12197">1</cx:pt>
          <cx:pt idx="12198">1</cx:pt>
          <cx:pt idx="12199">1</cx:pt>
          <cx:pt idx="12200">0</cx:pt>
          <cx:pt idx="12201">1</cx:pt>
          <cx:pt idx="12202">0</cx:pt>
          <cx:pt idx="12203">1</cx:pt>
          <cx:pt idx="12204">0</cx:pt>
          <cx:pt idx="12205">0</cx:pt>
          <cx:pt idx="12206">0</cx:pt>
          <cx:pt idx="12207">0</cx:pt>
          <cx:pt idx="12208">1</cx:pt>
          <cx:pt idx="12209">0</cx:pt>
          <cx:pt idx="12210">1</cx:pt>
          <cx:pt idx="12211">0</cx:pt>
          <cx:pt idx="12212">0</cx:pt>
          <cx:pt idx="12213">0</cx:pt>
          <cx:pt idx="12214">0</cx:pt>
          <cx:pt idx="12215">0</cx:pt>
          <cx:pt idx="12216">1</cx:pt>
          <cx:pt idx="12217">0</cx:pt>
          <cx:pt idx="12218">1</cx:pt>
          <cx:pt idx="12219">1</cx:pt>
          <cx:pt idx="12220">0</cx:pt>
          <cx:pt idx="12221">1</cx:pt>
          <cx:pt idx="12222">0</cx:pt>
          <cx:pt idx="12223">0</cx:pt>
          <cx:pt idx="12224">0</cx:pt>
          <cx:pt idx="12225">0</cx:pt>
          <cx:pt idx="12226">1</cx:pt>
          <cx:pt idx="12227">0</cx:pt>
          <cx:pt idx="12228">0</cx:pt>
          <cx:pt idx="12229">0</cx:pt>
          <cx:pt idx="12230">1</cx:pt>
          <cx:pt idx="12231">0</cx:pt>
          <cx:pt idx="12232">0</cx:pt>
          <cx:pt idx="12233">1</cx:pt>
          <cx:pt idx="12234">0</cx:pt>
          <cx:pt idx="12235">0</cx:pt>
          <cx:pt idx="12236">1</cx:pt>
          <cx:pt idx="12237">1</cx:pt>
          <cx:pt idx="12238">1</cx:pt>
          <cx:pt idx="12239">0</cx:pt>
          <cx:pt idx="12240">1</cx:pt>
          <cx:pt idx="12241">1</cx:pt>
          <cx:pt idx="12242">0</cx:pt>
          <cx:pt idx="12243">1</cx:pt>
          <cx:pt idx="12244">1</cx:pt>
          <cx:pt idx="12245">1</cx:pt>
          <cx:pt idx="12246">1</cx:pt>
          <cx:pt idx="12247">1</cx:pt>
          <cx:pt idx="12248">0</cx:pt>
          <cx:pt idx="12249">0</cx:pt>
          <cx:pt idx="12250">1</cx:pt>
          <cx:pt idx="12251">1</cx:pt>
          <cx:pt idx="12252">1</cx:pt>
          <cx:pt idx="12253">1</cx:pt>
          <cx:pt idx="12254">1</cx:pt>
          <cx:pt idx="12255">0</cx:pt>
          <cx:pt idx="12256">1</cx:pt>
          <cx:pt idx="12257">1</cx:pt>
          <cx:pt idx="12258">0</cx:pt>
          <cx:pt idx="12259">1</cx:pt>
          <cx:pt idx="12260">1</cx:pt>
          <cx:pt idx="12261">0</cx:pt>
          <cx:pt idx="12262">1</cx:pt>
          <cx:pt idx="12263">0</cx:pt>
          <cx:pt idx="12264">1</cx:pt>
          <cx:pt idx="12265">0</cx:pt>
          <cx:pt idx="12266">0</cx:pt>
          <cx:pt idx="12267">0</cx:pt>
          <cx:pt idx="12268">0</cx:pt>
          <cx:pt idx="12269">1</cx:pt>
          <cx:pt idx="12270">0</cx:pt>
          <cx:pt idx="12271">1</cx:pt>
          <cx:pt idx="12272">1</cx:pt>
          <cx:pt idx="12273">0</cx:pt>
          <cx:pt idx="12274">0</cx:pt>
          <cx:pt idx="12275">1</cx:pt>
          <cx:pt idx="12276">1</cx:pt>
          <cx:pt idx="12277">1</cx:pt>
          <cx:pt idx="12278">1</cx:pt>
          <cx:pt idx="12279">0</cx:pt>
          <cx:pt idx="12280">1</cx:pt>
          <cx:pt idx="12281">1</cx:pt>
          <cx:pt idx="12282">0</cx:pt>
          <cx:pt idx="12283">1</cx:pt>
          <cx:pt idx="12284">0</cx:pt>
          <cx:pt idx="12285">0</cx:pt>
          <cx:pt idx="12286">0</cx:pt>
          <cx:pt idx="12287">0</cx:pt>
          <cx:pt idx="12288">1</cx:pt>
          <cx:pt idx="12289">1</cx:pt>
          <cx:pt idx="12290">1</cx:pt>
          <cx:pt idx="12291">1</cx:pt>
          <cx:pt idx="12292">0</cx:pt>
          <cx:pt idx="12293">1</cx:pt>
          <cx:pt idx="12294">1</cx:pt>
          <cx:pt idx="12295">0</cx:pt>
          <cx:pt idx="12296">0</cx:pt>
          <cx:pt idx="12297">1</cx:pt>
          <cx:pt idx="12298">0</cx:pt>
          <cx:pt idx="12299">0</cx:pt>
          <cx:pt idx="12300">0</cx:pt>
          <cx:pt idx="12301">1</cx:pt>
          <cx:pt idx="12302">1</cx:pt>
          <cx:pt idx="12303">1</cx:pt>
          <cx:pt idx="12304">1</cx:pt>
          <cx:pt idx="12305">1</cx:pt>
          <cx:pt idx="12306">1</cx:pt>
          <cx:pt idx="12307">1</cx:pt>
          <cx:pt idx="12308">1</cx:pt>
          <cx:pt idx="12309">0</cx:pt>
          <cx:pt idx="12310">1</cx:pt>
          <cx:pt idx="12311">0</cx:pt>
          <cx:pt idx="12312">0</cx:pt>
          <cx:pt idx="12313">1</cx:pt>
          <cx:pt idx="12314">0</cx:pt>
          <cx:pt idx="12315">0</cx:pt>
          <cx:pt idx="12316">0</cx:pt>
          <cx:pt idx="12317">1</cx:pt>
          <cx:pt idx="12318">1</cx:pt>
          <cx:pt idx="12319">0</cx:pt>
          <cx:pt idx="12320">1</cx:pt>
          <cx:pt idx="12321">1</cx:pt>
          <cx:pt idx="12322">0</cx:pt>
          <cx:pt idx="12323">0</cx:pt>
          <cx:pt idx="12324">1</cx:pt>
          <cx:pt idx="12325">0</cx:pt>
          <cx:pt idx="12326">0</cx:pt>
          <cx:pt idx="12327">1</cx:pt>
          <cx:pt idx="12328">0</cx:pt>
          <cx:pt idx="12329">1</cx:pt>
          <cx:pt idx="12330">1</cx:pt>
          <cx:pt idx="12331">1</cx:pt>
          <cx:pt idx="12332">1</cx:pt>
          <cx:pt idx="12333">0</cx:pt>
          <cx:pt idx="12334">1</cx:pt>
          <cx:pt idx="12335">1</cx:pt>
          <cx:pt idx="12336">1</cx:pt>
          <cx:pt idx="12337">0</cx:pt>
          <cx:pt idx="12338">0</cx:pt>
          <cx:pt idx="12339">0</cx:pt>
          <cx:pt idx="12340">1</cx:pt>
          <cx:pt idx="12341">1</cx:pt>
          <cx:pt idx="12342">0</cx:pt>
          <cx:pt idx="12343">1</cx:pt>
          <cx:pt idx="12344">1</cx:pt>
          <cx:pt idx="12345">1</cx:pt>
          <cx:pt idx="12346">0</cx:pt>
          <cx:pt idx="12347">0</cx:pt>
          <cx:pt idx="12348">0</cx:pt>
          <cx:pt idx="12349">1</cx:pt>
          <cx:pt idx="12350">1</cx:pt>
          <cx:pt idx="12351">0</cx:pt>
          <cx:pt idx="12352">0</cx:pt>
          <cx:pt idx="12353">1</cx:pt>
          <cx:pt idx="12354">1</cx:pt>
          <cx:pt idx="12355">0</cx:pt>
          <cx:pt idx="12356">1</cx:pt>
          <cx:pt idx="12357">1</cx:pt>
          <cx:pt idx="12358">1</cx:pt>
          <cx:pt idx="12359">1</cx:pt>
          <cx:pt idx="12360">1</cx:pt>
          <cx:pt idx="12361">0</cx:pt>
          <cx:pt idx="12362">0</cx:pt>
          <cx:pt idx="12363">1</cx:pt>
          <cx:pt idx="12364">1</cx:pt>
          <cx:pt idx="12365">1</cx:pt>
          <cx:pt idx="12366">0</cx:pt>
          <cx:pt idx="12367">0</cx:pt>
          <cx:pt idx="12368">0</cx:pt>
          <cx:pt idx="12369">0</cx:pt>
          <cx:pt idx="12370">0</cx:pt>
          <cx:pt idx="12371">0</cx:pt>
          <cx:pt idx="12372">0</cx:pt>
          <cx:pt idx="12373">0</cx:pt>
          <cx:pt idx="12374">0</cx:pt>
          <cx:pt idx="12375">0</cx:pt>
          <cx:pt idx="12376">1</cx:pt>
          <cx:pt idx="12377">0</cx:pt>
          <cx:pt idx="12378">0</cx:pt>
          <cx:pt idx="12379">0</cx:pt>
          <cx:pt idx="12380">1</cx:pt>
          <cx:pt idx="12381">1</cx:pt>
          <cx:pt idx="12382">0</cx:pt>
          <cx:pt idx="12383">1</cx:pt>
          <cx:pt idx="12384">1</cx:pt>
          <cx:pt idx="12385">0</cx:pt>
          <cx:pt idx="12386">0</cx:pt>
          <cx:pt idx="12387">1</cx:pt>
          <cx:pt idx="12388">0</cx:pt>
          <cx:pt idx="12389">0</cx:pt>
          <cx:pt idx="12390">0</cx:pt>
          <cx:pt idx="12391">0</cx:pt>
          <cx:pt idx="12392">0</cx:pt>
          <cx:pt idx="12393">1</cx:pt>
          <cx:pt idx="12394">0</cx:pt>
          <cx:pt idx="12395">1</cx:pt>
          <cx:pt idx="12396">1</cx:pt>
          <cx:pt idx="12397">0</cx:pt>
          <cx:pt idx="12398">1</cx:pt>
          <cx:pt idx="12399">0</cx:pt>
          <cx:pt idx="12400">0</cx:pt>
          <cx:pt idx="12401">1</cx:pt>
          <cx:pt idx="12402">0</cx:pt>
          <cx:pt idx="12403">0</cx:pt>
          <cx:pt idx="12404">0</cx:pt>
          <cx:pt idx="12405">1</cx:pt>
          <cx:pt idx="12406">0</cx:pt>
          <cx:pt idx="12407">1</cx:pt>
          <cx:pt idx="12408">1</cx:pt>
          <cx:pt idx="12409">0</cx:pt>
          <cx:pt idx="12410">1</cx:pt>
          <cx:pt idx="12411">0</cx:pt>
          <cx:pt idx="12412">0</cx:pt>
          <cx:pt idx="12413">1</cx:pt>
          <cx:pt idx="12414">0</cx:pt>
          <cx:pt idx="12415">0</cx:pt>
          <cx:pt idx="12416">0</cx:pt>
          <cx:pt idx="12417">0</cx:pt>
          <cx:pt idx="12418">0</cx:pt>
          <cx:pt idx="12419">0</cx:pt>
          <cx:pt idx="12420">0</cx:pt>
          <cx:pt idx="12421">0</cx:pt>
          <cx:pt idx="12422">0</cx:pt>
          <cx:pt idx="12423">1</cx:pt>
          <cx:pt idx="12424">0</cx:pt>
          <cx:pt idx="12425">1</cx:pt>
          <cx:pt idx="12426">1</cx:pt>
          <cx:pt idx="12427">0</cx:pt>
          <cx:pt idx="12428">1</cx:pt>
          <cx:pt idx="12429">0</cx:pt>
          <cx:pt idx="12430">1</cx:pt>
          <cx:pt idx="12431">1</cx:pt>
          <cx:pt idx="12432">0</cx:pt>
          <cx:pt idx="12433">1</cx:pt>
          <cx:pt idx="12434">0</cx:pt>
          <cx:pt idx="12435">0</cx:pt>
          <cx:pt idx="12436">0</cx:pt>
          <cx:pt idx="12437">1</cx:pt>
          <cx:pt idx="12438">0</cx:pt>
          <cx:pt idx="12439">0</cx:pt>
          <cx:pt idx="12440">0</cx:pt>
          <cx:pt idx="12441">0</cx:pt>
          <cx:pt idx="12442">0</cx:pt>
          <cx:pt idx="12443">0</cx:pt>
          <cx:pt idx="12444">1</cx:pt>
          <cx:pt idx="12445">0</cx:pt>
          <cx:pt idx="12446">0</cx:pt>
          <cx:pt idx="12447">0</cx:pt>
          <cx:pt idx="12448">0</cx:pt>
          <cx:pt idx="12449">0</cx:pt>
          <cx:pt idx="12450">0</cx:pt>
          <cx:pt idx="12451">0</cx:pt>
          <cx:pt idx="12452">0</cx:pt>
          <cx:pt idx="12453">0</cx:pt>
          <cx:pt idx="12454">1</cx:pt>
          <cx:pt idx="12455">0</cx:pt>
          <cx:pt idx="12456">1</cx:pt>
          <cx:pt idx="12457">0</cx:pt>
          <cx:pt idx="12458">0</cx:pt>
          <cx:pt idx="12459">1</cx:pt>
          <cx:pt idx="12460">0</cx:pt>
          <cx:pt idx="12461">1</cx:pt>
          <cx:pt idx="12462">1</cx:pt>
          <cx:pt idx="12463">0</cx:pt>
          <cx:pt idx="12464">1</cx:pt>
          <cx:pt idx="12465">0</cx:pt>
          <cx:pt idx="12466">0</cx:pt>
          <cx:pt idx="12467">0</cx:pt>
          <cx:pt idx="12468">0</cx:pt>
          <cx:pt idx="12469">0</cx:pt>
          <cx:pt idx="12470">1</cx:pt>
          <cx:pt idx="12471">0</cx:pt>
          <cx:pt idx="12472">0</cx:pt>
          <cx:pt idx="12473">0</cx:pt>
          <cx:pt idx="12474">1</cx:pt>
          <cx:pt idx="12475">1</cx:pt>
          <cx:pt idx="12476">1</cx:pt>
          <cx:pt idx="12477">0</cx:pt>
          <cx:pt idx="12478">1</cx:pt>
          <cx:pt idx="12479">1</cx:pt>
          <cx:pt idx="12480">0</cx:pt>
          <cx:pt idx="12481">1</cx:pt>
          <cx:pt idx="12482">0</cx:pt>
          <cx:pt idx="12483">1</cx:pt>
          <cx:pt idx="12484">1</cx:pt>
          <cx:pt idx="12485">1</cx:pt>
          <cx:pt idx="12486">0</cx:pt>
          <cx:pt idx="12487">1</cx:pt>
          <cx:pt idx="12488">0</cx:pt>
          <cx:pt idx="12489">0</cx:pt>
          <cx:pt idx="12490">0</cx:pt>
          <cx:pt idx="12491">1</cx:pt>
          <cx:pt idx="12492">1</cx:pt>
          <cx:pt idx="12493">1</cx:pt>
          <cx:pt idx="12494">0</cx:pt>
          <cx:pt idx="12495">1</cx:pt>
          <cx:pt idx="12496">1</cx:pt>
          <cx:pt idx="12497">1</cx:pt>
          <cx:pt idx="12498">1</cx:pt>
          <cx:pt idx="12499">0</cx:pt>
          <cx:pt idx="12500">1</cx:pt>
          <cx:pt idx="12501">0</cx:pt>
          <cx:pt idx="12502">0</cx:pt>
          <cx:pt idx="12503">0</cx:pt>
          <cx:pt idx="12504">1</cx:pt>
          <cx:pt idx="12505">1</cx:pt>
          <cx:pt idx="12506">0</cx:pt>
          <cx:pt idx="12507">0</cx:pt>
          <cx:pt idx="12508">1</cx:pt>
          <cx:pt idx="12509">1</cx:pt>
          <cx:pt idx="12510">0</cx:pt>
          <cx:pt idx="12511">1</cx:pt>
          <cx:pt idx="12512">0</cx:pt>
          <cx:pt idx="12513">1</cx:pt>
          <cx:pt idx="12514">0</cx:pt>
          <cx:pt idx="12515">0</cx:pt>
          <cx:pt idx="12516">0</cx:pt>
          <cx:pt idx="12517">1</cx:pt>
          <cx:pt idx="12518">0</cx:pt>
          <cx:pt idx="12519">1</cx:pt>
          <cx:pt idx="12520">0</cx:pt>
          <cx:pt idx="12521">0</cx:pt>
          <cx:pt idx="12522">1</cx:pt>
          <cx:pt idx="12523">0</cx:pt>
          <cx:pt idx="12524">0</cx:pt>
          <cx:pt idx="12525">0</cx:pt>
          <cx:pt idx="12526">1</cx:pt>
          <cx:pt idx="12527">0</cx:pt>
          <cx:pt idx="12528">0</cx:pt>
          <cx:pt idx="12529">0</cx:pt>
          <cx:pt idx="12530">1</cx:pt>
          <cx:pt idx="12531">0</cx:pt>
          <cx:pt idx="12532">1</cx:pt>
          <cx:pt idx="12533">1</cx:pt>
          <cx:pt idx="12534">0</cx:pt>
          <cx:pt idx="12535">1</cx:pt>
          <cx:pt idx="12536">1</cx:pt>
          <cx:pt idx="12537">1</cx:pt>
          <cx:pt idx="12538">0</cx:pt>
          <cx:pt idx="12539">1</cx:pt>
          <cx:pt idx="12540">0</cx:pt>
          <cx:pt idx="12541">1</cx:pt>
          <cx:pt idx="12542">1</cx:pt>
          <cx:pt idx="12543">1</cx:pt>
          <cx:pt idx="12544">0</cx:pt>
          <cx:pt idx="12545">1</cx:pt>
          <cx:pt idx="12546">0</cx:pt>
          <cx:pt idx="12547">1</cx:pt>
          <cx:pt idx="12548">0</cx:pt>
          <cx:pt idx="12549">1</cx:pt>
          <cx:pt idx="12550">1</cx:pt>
          <cx:pt idx="12551">0</cx:pt>
          <cx:pt idx="12552">1</cx:pt>
          <cx:pt idx="12553">1</cx:pt>
          <cx:pt idx="12554">1</cx:pt>
          <cx:pt idx="12555">0</cx:pt>
          <cx:pt idx="12556">0</cx:pt>
          <cx:pt idx="12557">0</cx:pt>
          <cx:pt idx="12558">0</cx:pt>
          <cx:pt idx="12559">1</cx:pt>
          <cx:pt idx="12560">1</cx:pt>
          <cx:pt idx="12561">0</cx:pt>
          <cx:pt idx="12562">0</cx:pt>
          <cx:pt idx="12563">1</cx:pt>
          <cx:pt idx="12564">1</cx:pt>
          <cx:pt idx="12565">0</cx:pt>
          <cx:pt idx="12566">1</cx:pt>
          <cx:pt idx="12567">1</cx:pt>
          <cx:pt idx="12568">1</cx:pt>
          <cx:pt idx="12569">0</cx:pt>
          <cx:pt idx="12570">1</cx:pt>
          <cx:pt idx="12571">1</cx:pt>
          <cx:pt idx="12572">0</cx:pt>
          <cx:pt idx="12573">1</cx:pt>
          <cx:pt idx="12574">0</cx:pt>
          <cx:pt idx="12575">1</cx:pt>
          <cx:pt idx="12576">1</cx:pt>
          <cx:pt idx="12577">0</cx:pt>
          <cx:pt idx="12578">1</cx:pt>
          <cx:pt idx="12579">0</cx:pt>
          <cx:pt idx="12580">0</cx:pt>
          <cx:pt idx="12581">0</cx:pt>
          <cx:pt idx="12582">0</cx:pt>
          <cx:pt idx="12583">0</cx:pt>
          <cx:pt idx="12584">1</cx:pt>
          <cx:pt idx="12585">1</cx:pt>
          <cx:pt idx="12586">0</cx:pt>
          <cx:pt idx="12587">0</cx:pt>
          <cx:pt idx="12588">1</cx:pt>
          <cx:pt idx="12589">0</cx:pt>
          <cx:pt idx="12590">0</cx:pt>
          <cx:pt idx="12591">0</cx:pt>
          <cx:pt idx="12592">1</cx:pt>
          <cx:pt idx="12593">1</cx:pt>
          <cx:pt idx="12594">0</cx:pt>
          <cx:pt idx="12595">1</cx:pt>
          <cx:pt idx="12596">1</cx:pt>
          <cx:pt idx="12597">0</cx:pt>
          <cx:pt idx="12598">1</cx:pt>
          <cx:pt idx="12599">1</cx:pt>
          <cx:pt idx="12600">1</cx:pt>
          <cx:pt idx="12601">1</cx:pt>
          <cx:pt idx="12602">0</cx:pt>
          <cx:pt idx="12603">1</cx:pt>
          <cx:pt idx="12604">1</cx:pt>
          <cx:pt idx="12605">0</cx:pt>
          <cx:pt idx="12606">0</cx:pt>
          <cx:pt idx="12607">0</cx:pt>
          <cx:pt idx="12608">1</cx:pt>
          <cx:pt idx="12609">1</cx:pt>
          <cx:pt idx="12610">1</cx:pt>
          <cx:pt idx="12611">1</cx:pt>
          <cx:pt idx="12612">1</cx:pt>
          <cx:pt idx="12613">1</cx:pt>
          <cx:pt idx="12614">1</cx:pt>
          <cx:pt idx="12615">0</cx:pt>
          <cx:pt idx="12616">0</cx:pt>
          <cx:pt idx="12617">1</cx:pt>
          <cx:pt idx="12618">0</cx:pt>
          <cx:pt idx="12619">1</cx:pt>
          <cx:pt idx="12620">1</cx:pt>
          <cx:pt idx="12621">0</cx:pt>
          <cx:pt idx="12622">1</cx:pt>
          <cx:pt idx="12623">0</cx:pt>
          <cx:pt idx="12624">1</cx:pt>
          <cx:pt idx="12625">0</cx:pt>
          <cx:pt idx="12626">0</cx:pt>
          <cx:pt idx="12627">1</cx:pt>
          <cx:pt idx="12628">1</cx:pt>
          <cx:pt idx="12629">0</cx:pt>
          <cx:pt idx="12630">0</cx:pt>
          <cx:pt idx="12631">1</cx:pt>
          <cx:pt idx="12632">1</cx:pt>
          <cx:pt idx="12633">0</cx:pt>
          <cx:pt idx="12634">1</cx:pt>
          <cx:pt idx="12635">0</cx:pt>
          <cx:pt idx="12636">0</cx:pt>
          <cx:pt idx="12637">1</cx:pt>
          <cx:pt idx="12638">0</cx:pt>
          <cx:pt idx="12639">1</cx:pt>
          <cx:pt idx="12640">0</cx:pt>
          <cx:pt idx="12641">0</cx:pt>
          <cx:pt idx="12642">0</cx:pt>
          <cx:pt idx="12643">1</cx:pt>
          <cx:pt idx="12644">0</cx:pt>
          <cx:pt idx="12645">0</cx:pt>
          <cx:pt idx="12646">0</cx:pt>
          <cx:pt idx="12647">0</cx:pt>
          <cx:pt idx="12648">0</cx:pt>
          <cx:pt idx="12649">1</cx:pt>
          <cx:pt idx="12650">0</cx:pt>
          <cx:pt idx="12651">1</cx:pt>
          <cx:pt idx="12652">0</cx:pt>
          <cx:pt idx="12653">1</cx:pt>
          <cx:pt idx="12654">0</cx:pt>
          <cx:pt idx="12655">1</cx:pt>
          <cx:pt idx="12656">1</cx:pt>
          <cx:pt idx="12657">0</cx:pt>
          <cx:pt idx="12658">1</cx:pt>
          <cx:pt idx="12659">1</cx:pt>
          <cx:pt idx="12660">1</cx:pt>
          <cx:pt idx="12661">1</cx:pt>
          <cx:pt idx="12662">0</cx:pt>
          <cx:pt idx="12663">1</cx:pt>
          <cx:pt idx="12664">1</cx:pt>
          <cx:pt idx="12665">0</cx:pt>
          <cx:pt idx="12666">1</cx:pt>
          <cx:pt idx="12667">0</cx:pt>
          <cx:pt idx="12668">0</cx:pt>
          <cx:pt idx="12669">0</cx:pt>
          <cx:pt idx="12670">1</cx:pt>
          <cx:pt idx="12671">0</cx:pt>
          <cx:pt idx="12672">1</cx:pt>
          <cx:pt idx="12673">0</cx:pt>
          <cx:pt idx="12674">0</cx:pt>
          <cx:pt idx="12675">1</cx:pt>
          <cx:pt idx="12676">0</cx:pt>
          <cx:pt idx="12677">1</cx:pt>
          <cx:pt idx="12678">0</cx:pt>
          <cx:pt idx="12679">0</cx:pt>
          <cx:pt idx="12680">1</cx:pt>
          <cx:pt idx="12681">0</cx:pt>
          <cx:pt idx="12682">0</cx:pt>
          <cx:pt idx="12683">1</cx:pt>
          <cx:pt idx="12684">1</cx:pt>
          <cx:pt idx="12685">1</cx:pt>
          <cx:pt idx="12686">1</cx:pt>
          <cx:pt idx="12687">1</cx:pt>
          <cx:pt idx="12688">1</cx:pt>
          <cx:pt idx="12689">0</cx:pt>
          <cx:pt idx="12690">0</cx:pt>
          <cx:pt idx="12691">0</cx:pt>
          <cx:pt idx="12692">1</cx:pt>
          <cx:pt idx="12693">0</cx:pt>
          <cx:pt idx="12694">1</cx:pt>
          <cx:pt idx="12695">1</cx:pt>
          <cx:pt idx="12696">0</cx:pt>
          <cx:pt idx="12697">1</cx:pt>
          <cx:pt idx="12698">0</cx:pt>
          <cx:pt idx="12699">0</cx:pt>
          <cx:pt idx="12700">0</cx:pt>
          <cx:pt idx="12701">1</cx:pt>
          <cx:pt idx="12702">1</cx:pt>
          <cx:pt idx="12703">0</cx:pt>
          <cx:pt idx="12704">1</cx:pt>
          <cx:pt idx="12705">0</cx:pt>
          <cx:pt idx="12706">0</cx:pt>
          <cx:pt idx="12707">1</cx:pt>
          <cx:pt idx="12708">1</cx:pt>
          <cx:pt idx="12709">0</cx:pt>
          <cx:pt idx="12710">0</cx:pt>
          <cx:pt idx="12711">1</cx:pt>
          <cx:pt idx="12712">1</cx:pt>
          <cx:pt idx="12713">0</cx:pt>
          <cx:pt idx="12714">1</cx:pt>
          <cx:pt idx="12715">1</cx:pt>
          <cx:pt idx="12716">1</cx:pt>
          <cx:pt idx="12717">0</cx:pt>
          <cx:pt idx="12718">1</cx:pt>
          <cx:pt idx="12719">1</cx:pt>
          <cx:pt idx="12720">0</cx:pt>
          <cx:pt idx="12721">1</cx:pt>
          <cx:pt idx="12722">0</cx:pt>
          <cx:pt idx="12723">0</cx:pt>
          <cx:pt idx="12724">0</cx:pt>
          <cx:pt idx="12725">1</cx:pt>
          <cx:pt idx="12726">0</cx:pt>
          <cx:pt idx="12727">0</cx:pt>
          <cx:pt idx="12728">1</cx:pt>
          <cx:pt idx="12729">1</cx:pt>
          <cx:pt idx="12730">0</cx:pt>
          <cx:pt idx="12731">1</cx:pt>
          <cx:pt idx="12732">0</cx:pt>
          <cx:pt idx="12733">0</cx:pt>
          <cx:pt idx="12734">1</cx:pt>
          <cx:pt idx="12735">1</cx:pt>
          <cx:pt idx="12736">1</cx:pt>
          <cx:pt idx="12737">0</cx:pt>
          <cx:pt idx="12738">0</cx:pt>
          <cx:pt idx="12739">1</cx:pt>
          <cx:pt idx="12740">1</cx:pt>
          <cx:pt idx="12741">0</cx:pt>
          <cx:pt idx="12742">0</cx:pt>
          <cx:pt idx="12743">0</cx:pt>
          <cx:pt idx="12744">1</cx:pt>
          <cx:pt idx="12745">0</cx:pt>
          <cx:pt idx="12746">1</cx:pt>
          <cx:pt idx="12747">1</cx:pt>
          <cx:pt idx="12748">1</cx:pt>
          <cx:pt idx="12749">1</cx:pt>
          <cx:pt idx="12750">1</cx:pt>
          <cx:pt idx="12751">0</cx:pt>
          <cx:pt idx="12752">0</cx:pt>
          <cx:pt idx="12753">1</cx:pt>
          <cx:pt idx="12754">1</cx:pt>
          <cx:pt idx="12755">0</cx:pt>
          <cx:pt idx="12756">0</cx:pt>
          <cx:pt idx="12757">1</cx:pt>
          <cx:pt idx="12758">0</cx:pt>
          <cx:pt idx="12759">0</cx:pt>
          <cx:pt idx="12760">1</cx:pt>
          <cx:pt idx="12761">0</cx:pt>
          <cx:pt idx="12762">0</cx:pt>
          <cx:pt idx="12763">1</cx:pt>
          <cx:pt idx="12764">1</cx:pt>
          <cx:pt idx="12765">0</cx:pt>
          <cx:pt idx="12766">1</cx:pt>
          <cx:pt idx="12767">1</cx:pt>
          <cx:pt idx="12768">1</cx:pt>
          <cx:pt idx="12769">1</cx:pt>
          <cx:pt idx="12770">1</cx:pt>
          <cx:pt idx="12771">1</cx:pt>
          <cx:pt idx="12772">1</cx:pt>
          <cx:pt idx="12773">1</cx:pt>
          <cx:pt idx="12774">1</cx:pt>
          <cx:pt idx="12775">0</cx:pt>
          <cx:pt idx="12776">0</cx:pt>
          <cx:pt idx="12777">0</cx:pt>
          <cx:pt idx="12778">0</cx:pt>
          <cx:pt idx="12779">1</cx:pt>
          <cx:pt idx="12780">1</cx:pt>
          <cx:pt idx="12781">1</cx:pt>
          <cx:pt idx="12782">0</cx:pt>
          <cx:pt idx="12783">0</cx:pt>
          <cx:pt idx="12784">0</cx:pt>
          <cx:pt idx="12785">0</cx:pt>
          <cx:pt idx="12786">1</cx:pt>
          <cx:pt idx="12787">0</cx:pt>
          <cx:pt idx="12788">1</cx:pt>
          <cx:pt idx="12789">0</cx:pt>
          <cx:pt idx="12790">1</cx:pt>
          <cx:pt idx="12791">0</cx:pt>
          <cx:pt idx="12792">1</cx:pt>
          <cx:pt idx="12793">0</cx:pt>
          <cx:pt idx="12794">1</cx:pt>
          <cx:pt idx="12795">1</cx:pt>
          <cx:pt idx="12796">1</cx:pt>
          <cx:pt idx="12797">0</cx:pt>
          <cx:pt idx="12798">0</cx:pt>
          <cx:pt idx="12799">0</cx:pt>
          <cx:pt idx="12800">1</cx:pt>
          <cx:pt idx="12801">1</cx:pt>
          <cx:pt idx="12802">1</cx:pt>
          <cx:pt idx="12803">0</cx:pt>
          <cx:pt idx="12804">1</cx:pt>
          <cx:pt idx="12805">0</cx:pt>
          <cx:pt idx="12806">1</cx:pt>
          <cx:pt idx="12807">0</cx:pt>
          <cx:pt idx="12808">1</cx:pt>
          <cx:pt idx="12809">0</cx:pt>
          <cx:pt idx="12810">0</cx:pt>
          <cx:pt idx="12811">0</cx:pt>
          <cx:pt idx="12812">0</cx:pt>
          <cx:pt idx="12813">1</cx:pt>
          <cx:pt idx="12814">0</cx:pt>
          <cx:pt idx="12815">1</cx:pt>
          <cx:pt idx="12816">1</cx:pt>
          <cx:pt idx="12817">0</cx:pt>
          <cx:pt idx="12818">0</cx:pt>
          <cx:pt idx="12819">0</cx:pt>
          <cx:pt idx="12820">0</cx:pt>
          <cx:pt idx="12821">0</cx:pt>
          <cx:pt idx="12822">0</cx:pt>
          <cx:pt idx="12823">1</cx:pt>
          <cx:pt idx="12824">1</cx:pt>
          <cx:pt idx="12825">0</cx:pt>
          <cx:pt idx="12826">0</cx:pt>
          <cx:pt idx="12827">0</cx:pt>
          <cx:pt idx="12828">0</cx:pt>
          <cx:pt idx="12829">0</cx:pt>
          <cx:pt idx="12830">0</cx:pt>
          <cx:pt idx="12831">0</cx:pt>
          <cx:pt idx="12832">0</cx:pt>
          <cx:pt idx="12833">0</cx:pt>
          <cx:pt idx="12834">0</cx:pt>
          <cx:pt idx="12835">1</cx:pt>
          <cx:pt idx="12836">1</cx:pt>
          <cx:pt idx="12837">1</cx:pt>
          <cx:pt idx="12838">0</cx:pt>
          <cx:pt idx="12839">1</cx:pt>
          <cx:pt idx="12840">0</cx:pt>
          <cx:pt idx="12841">1</cx:pt>
          <cx:pt idx="12842">0</cx:pt>
          <cx:pt idx="12843">1</cx:pt>
          <cx:pt idx="12844">0</cx:pt>
          <cx:pt idx="12845">0</cx:pt>
          <cx:pt idx="12846">0</cx:pt>
          <cx:pt idx="12847">1</cx:pt>
          <cx:pt idx="12848">0</cx:pt>
          <cx:pt idx="12849">1</cx:pt>
          <cx:pt idx="12850">0</cx:pt>
          <cx:pt idx="12851">0</cx:pt>
          <cx:pt idx="12852">0</cx:pt>
          <cx:pt idx="12853">1</cx:pt>
          <cx:pt idx="12854">1</cx:pt>
          <cx:pt idx="12855">0</cx:pt>
          <cx:pt idx="12856">0</cx:pt>
          <cx:pt idx="12857">0</cx:pt>
          <cx:pt idx="12858">0</cx:pt>
          <cx:pt idx="12859">1</cx:pt>
          <cx:pt idx="12860">0</cx:pt>
          <cx:pt idx="12861">1</cx:pt>
          <cx:pt idx="12862">1</cx:pt>
          <cx:pt idx="12863">1</cx:pt>
          <cx:pt idx="12864">0</cx:pt>
          <cx:pt idx="12865">1</cx:pt>
          <cx:pt idx="12866">1</cx:pt>
          <cx:pt idx="12867">1</cx:pt>
          <cx:pt idx="12868">0</cx:pt>
          <cx:pt idx="12869">1</cx:pt>
          <cx:pt idx="12870">0</cx:pt>
          <cx:pt idx="12871">0</cx:pt>
          <cx:pt idx="12872">0</cx:pt>
          <cx:pt idx="12873">0</cx:pt>
          <cx:pt idx="12874">0</cx:pt>
          <cx:pt idx="12875">0</cx:pt>
          <cx:pt idx="12876">0</cx:pt>
          <cx:pt idx="12877">0</cx:pt>
          <cx:pt idx="12878">1</cx:pt>
          <cx:pt idx="12879">0</cx:pt>
          <cx:pt idx="12880">0</cx:pt>
          <cx:pt idx="12881">0</cx:pt>
          <cx:pt idx="12882">1</cx:pt>
          <cx:pt idx="12883">0</cx:pt>
          <cx:pt idx="12884">1</cx:pt>
          <cx:pt idx="12885">0</cx:pt>
          <cx:pt idx="12886">1</cx:pt>
          <cx:pt idx="12887">1</cx:pt>
          <cx:pt idx="12888">1</cx:pt>
          <cx:pt idx="12889">0</cx:pt>
          <cx:pt idx="12890">0</cx:pt>
          <cx:pt idx="12891">0</cx:pt>
          <cx:pt idx="12892">1</cx:pt>
          <cx:pt idx="12893">1</cx:pt>
          <cx:pt idx="12894">0</cx:pt>
          <cx:pt idx="12895">1</cx:pt>
          <cx:pt idx="12896">0</cx:pt>
          <cx:pt idx="12897">0</cx:pt>
          <cx:pt idx="12898">1</cx:pt>
          <cx:pt idx="12899">1</cx:pt>
          <cx:pt idx="12900">1</cx:pt>
          <cx:pt idx="12901">0</cx:pt>
          <cx:pt idx="12902">1</cx:pt>
          <cx:pt idx="12903">1</cx:pt>
          <cx:pt idx="12904">1</cx:pt>
          <cx:pt idx="12905">0</cx:pt>
          <cx:pt idx="12906">0</cx:pt>
          <cx:pt idx="12907">1</cx:pt>
          <cx:pt idx="12908">0</cx:pt>
          <cx:pt idx="12909">1</cx:pt>
          <cx:pt idx="12910">0</cx:pt>
          <cx:pt idx="12911">1</cx:pt>
          <cx:pt idx="12912">1</cx:pt>
          <cx:pt idx="12913">1</cx:pt>
          <cx:pt idx="12914">0</cx:pt>
          <cx:pt idx="12915">1</cx:pt>
          <cx:pt idx="12916">0</cx:pt>
          <cx:pt idx="12917">1</cx:pt>
          <cx:pt idx="12918">1</cx:pt>
          <cx:pt idx="12919">0</cx:pt>
          <cx:pt idx="12920">1</cx:pt>
          <cx:pt idx="12921">0</cx:pt>
          <cx:pt idx="12922">0</cx:pt>
          <cx:pt idx="12923">1</cx:pt>
          <cx:pt idx="12924">1</cx:pt>
          <cx:pt idx="12925">0</cx:pt>
          <cx:pt idx="12926">0</cx:pt>
          <cx:pt idx="12927">1</cx:pt>
          <cx:pt idx="12928">0</cx:pt>
          <cx:pt idx="12929">1</cx:pt>
          <cx:pt idx="12930">1</cx:pt>
          <cx:pt idx="12931">0</cx:pt>
          <cx:pt idx="12932">0</cx:pt>
          <cx:pt idx="12933">0</cx:pt>
          <cx:pt idx="12934">1</cx:pt>
          <cx:pt idx="12935">0</cx:pt>
          <cx:pt idx="12936">1</cx:pt>
          <cx:pt idx="12937">0</cx:pt>
          <cx:pt idx="12938">0</cx:pt>
          <cx:pt idx="12939">1</cx:pt>
          <cx:pt idx="12940">0</cx:pt>
          <cx:pt idx="12941">1</cx:pt>
          <cx:pt idx="12942">0</cx:pt>
          <cx:pt idx="12943">0</cx:pt>
          <cx:pt idx="12944">1</cx:pt>
          <cx:pt idx="12945">0</cx:pt>
          <cx:pt idx="12946">1</cx:pt>
          <cx:pt idx="12947">1</cx:pt>
          <cx:pt idx="12948">0</cx:pt>
          <cx:pt idx="12949">1</cx:pt>
          <cx:pt idx="12950">0</cx:pt>
          <cx:pt idx="12951">0</cx:pt>
          <cx:pt idx="12952">0</cx:pt>
          <cx:pt idx="12953">0</cx:pt>
          <cx:pt idx="12954">0</cx:pt>
          <cx:pt idx="12955">1</cx:pt>
          <cx:pt idx="12956">1</cx:pt>
          <cx:pt idx="12957">1</cx:pt>
          <cx:pt idx="12958">0</cx:pt>
          <cx:pt idx="12959">0</cx:pt>
          <cx:pt idx="12960">1</cx:pt>
          <cx:pt idx="12961">1</cx:pt>
          <cx:pt idx="12962">0</cx:pt>
          <cx:pt idx="12963">1</cx:pt>
          <cx:pt idx="12964">1</cx:pt>
          <cx:pt idx="12965">1</cx:pt>
          <cx:pt idx="12966">0</cx:pt>
          <cx:pt idx="12967">0</cx:pt>
          <cx:pt idx="12968">1</cx:pt>
          <cx:pt idx="12969">0</cx:pt>
          <cx:pt idx="12970">0</cx:pt>
          <cx:pt idx="12971">0</cx:pt>
          <cx:pt idx="12972">1</cx:pt>
          <cx:pt idx="12973">1</cx:pt>
          <cx:pt idx="12974">0</cx:pt>
          <cx:pt idx="12975">0</cx:pt>
          <cx:pt idx="12976">0</cx:pt>
          <cx:pt idx="12977">1</cx:pt>
          <cx:pt idx="12978">1</cx:pt>
          <cx:pt idx="12979">1</cx:pt>
          <cx:pt idx="12980">1</cx:pt>
          <cx:pt idx="12981">1</cx:pt>
          <cx:pt idx="12982">1</cx:pt>
          <cx:pt idx="12983">0</cx:pt>
          <cx:pt idx="12984">0</cx:pt>
          <cx:pt idx="12985">0</cx:pt>
          <cx:pt idx="12986">0</cx:pt>
          <cx:pt idx="12987">0</cx:pt>
          <cx:pt idx="12988">0</cx:pt>
          <cx:pt idx="12989">0</cx:pt>
          <cx:pt idx="12990">1</cx:pt>
          <cx:pt idx="12991">0</cx:pt>
          <cx:pt idx="12992">1</cx:pt>
          <cx:pt idx="12993">1</cx:pt>
          <cx:pt idx="12994">0</cx:pt>
          <cx:pt idx="12995">1</cx:pt>
          <cx:pt idx="12996">1</cx:pt>
          <cx:pt idx="12997">1</cx:pt>
          <cx:pt idx="12998">1</cx:pt>
          <cx:pt idx="12999">0</cx:pt>
          <cx:pt idx="13000">1</cx:pt>
          <cx:pt idx="13001">0</cx:pt>
          <cx:pt idx="13002">0</cx:pt>
          <cx:pt idx="13003">0</cx:pt>
          <cx:pt idx="13004">0</cx:pt>
          <cx:pt idx="13005">1</cx:pt>
          <cx:pt idx="13006">1</cx:pt>
          <cx:pt idx="13007">1</cx:pt>
          <cx:pt idx="13008">1</cx:pt>
          <cx:pt idx="13009">0</cx:pt>
          <cx:pt idx="13010">0</cx:pt>
          <cx:pt idx="13011">1</cx:pt>
          <cx:pt idx="13012">1</cx:pt>
          <cx:pt idx="13013">0</cx:pt>
          <cx:pt idx="13014">1</cx:pt>
          <cx:pt idx="13015">0</cx:pt>
          <cx:pt idx="13016">1</cx:pt>
          <cx:pt idx="13017">0</cx:pt>
          <cx:pt idx="13018">1</cx:pt>
          <cx:pt idx="13019">1</cx:pt>
          <cx:pt idx="13020">0</cx:pt>
          <cx:pt idx="13021">0</cx:pt>
          <cx:pt idx="13022">1</cx:pt>
          <cx:pt idx="13023">1</cx:pt>
          <cx:pt idx="13024">1</cx:pt>
          <cx:pt idx="13025">1</cx:pt>
          <cx:pt idx="13026">0</cx:pt>
          <cx:pt idx="13027">0</cx:pt>
          <cx:pt idx="13028">0</cx:pt>
          <cx:pt idx="13029">1</cx:pt>
          <cx:pt idx="13030">1</cx:pt>
          <cx:pt idx="13031">0</cx:pt>
          <cx:pt idx="13032">1</cx:pt>
          <cx:pt idx="13033">1</cx:pt>
          <cx:pt idx="13034">0</cx:pt>
          <cx:pt idx="13035">1</cx:pt>
          <cx:pt idx="13036">0</cx:pt>
          <cx:pt idx="13037">0</cx:pt>
          <cx:pt idx="13038">1</cx:pt>
          <cx:pt idx="13039">0</cx:pt>
          <cx:pt idx="13040">0</cx:pt>
          <cx:pt idx="13041">1</cx:pt>
          <cx:pt idx="13042">0</cx:pt>
          <cx:pt idx="13043">1</cx:pt>
          <cx:pt idx="13044">0</cx:pt>
          <cx:pt idx="13045">0</cx:pt>
          <cx:pt idx="13046">0</cx:pt>
          <cx:pt idx="13047">1</cx:pt>
          <cx:pt idx="13048">0</cx:pt>
          <cx:pt idx="13049">0</cx:pt>
          <cx:pt idx="13050">1</cx:pt>
          <cx:pt idx="13051">1</cx:pt>
          <cx:pt idx="13052">0</cx:pt>
          <cx:pt idx="13053">0</cx:pt>
          <cx:pt idx="13054">1</cx:pt>
          <cx:pt idx="13055">0</cx:pt>
          <cx:pt idx="13056">0</cx:pt>
          <cx:pt idx="13057">1</cx:pt>
          <cx:pt idx="13058">0</cx:pt>
          <cx:pt idx="13059">0</cx:pt>
          <cx:pt idx="13060">0</cx:pt>
          <cx:pt idx="13061">0</cx:pt>
          <cx:pt idx="13062">0</cx:pt>
          <cx:pt idx="13063">1</cx:pt>
          <cx:pt idx="13064">0</cx:pt>
          <cx:pt idx="13065">1</cx:pt>
          <cx:pt idx="13066">0</cx:pt>
          <cx:pt idx="13067">0</cx:pt>
          <cx:pt idx="13068">1</cx:pt>
          <cx:pt idx="13069">0</cx:pt>
          <cx:pt idx="13070">1</cx:pt>
          <cx:pt idx="13071">1</cx:pt>
          <cx:pt idx="13072">1</cx:pt>
          <cx:pt idx="13073">0</cx:pt>
          <cx:pt idx="13074">0</cx:pt>
          <cx:pt idx="13075">0</cx:pt>
          <cx:pt idx="13076">1</cx:pt>
          <cx:pt idx="13077">0</cx:pt>
          <cx:pt idx="13078">0</cx:pt>
          <cx:pt idx="13079">0</cx:pt>
          <cx:pt idx="13080">1</cx:pt>
          <cx:pt idx="13081">0</cx:pt>
          <cx:pt idx="13082">0</cx:pt>
          <cx:pt idx="13083">0</cx:pt>
          <cx:pt idx="13084">1</cx:pt>
          <cx:pt idx="13085">0</cx:pt>
          <cx:pt idx="13086">0</cx:pt>
          <cx:pt idx="13087">1</cx:pt>
          <cx:pt idx="13088">0</cx:pt>
          <cx:pt idx="13089">1</cx:pt>
          <cx:pt idx="13090">0</cx:pt>
          <cx:pt idx="13091">1</cx:pt>
          <cx:pt idx="13092">0</cx:pt>
          <cx:pt idx="13093">0</cx:pt>
          <cx:pt idx="13094">0</cx:pt>
          <cx:pt idx="13095">1</cx:pt>
          <cx:pt idx="13096">1</cx:pt>
          <cx:pt idx="13097">0</cx:pt>
          <cx:pt idx="13098">1</cx:pt>
          <cx:pt idx="13099">0</cx:pt>
          <cx:pt idx="13100">1</cx:pt>
          <cx:pt idx="13101">1</cx:pt>
          <cx:pt idx="13102">0</cx:pt>
          <cx:pt idx="13103">1</cx:pt>
          <cx:pt idx="13104">1</cx:pt>
          <cx:pt idx="13105">0</cx:pt>
          <cx:pt idx="13106">1</cx:pt>
          <cx:pt idx="13107">0</cx:pt>
          <cx:pt idx="13108">0</cx:pt>
          <cx:pt idx="13109">1</cx:pt>
          <cx:pt idx="13110">0</cx:pt>
          <cx:pt idx="13111">1</cx:pt>
          <cx:pt idx="13112">1</cx:pt>
          <cx:pt idx="13113">0</cx:pt>
          <cx:pt idx="13114">0</cx:pt>
          <cx:pt idx="13115">0</cx:pt>
          <cx:pt idx="13116">0</cx:pt>
          <cx:pt idx="13117">0</cx:pt>
          <cx:pt idx="13118">1</cx:pt>
          <cx:pt idx="13119">0</cx:pt>
          <cx:pt idx="13120">1</cx:pt>
          <cx:pt idx="13121">1</cx:pt>
          <cx:pt idx="13122">1</cx:pt>
          <cx:pt idx="13123">1</cx:pt>
          <cx:pt idx="13124">0</cx:pt>
          <cx:pt idx="13125">1</cx:pt>
          <cx:pt idx="13126">1</cx:pt>
          <cx:pt idx="13127">0</cx:pt>
          <cx:pt idx="13128">1</cx:pt>
          <cx:pt idx="13129">0</cx:pt>
          <cx:pt idx="13130">0</cx:pt>
          <cx:pt idx="13131">0</cx:pt>
          <cx:pt idx="13132">0</cx:pt>
          <cx:pt idx="13133">0</cx:pt>
          <cx:pt idx="13134">0</cx:pt>
          <cx:pt idx="13135">1</cx:pt>
          <cx:pt idx="13136">0</cx:pt>
          <cx:pt idx="13137">0</cx:pt>
          <cx:pt idx="13138">0</cx:pt>
          <cx:pt idx="13139">1</cx:pt>
          <cx:pt idx="13140">0</cx:pt>
          <cx:pt idx="13141">0</cx:pt>
          <cx:pt idx="13142">1</cx:pt>
          <cx:pt idx="13143">1</cx:pt>
          <cx:pt idx="13144">1</cx:pt>
          <cx:pt idx="13145">1</cx:pt>
          <cx:pt idx="13146">0</cx:pt>
          <cx:pt idx="13147">0</cx:pt>
          <cx:pt idx="13148">1</cx:pt>
          <cx:pt idx="13149">0</cx:pt>
          <cx:pt idx="13150">0</cx:pt>
          <cx:pt idx="13151">0</cx:pt>
          <cx:pt idx="13152">0</cx:pt>
          <cx:pt idx="13153">1</cx:pt>
          <cx:pt idx="13154">0</cx:pt>
          <cx:pt idx="13155">1</cx:pt>
          <cx:pt idx="13156">0</cx:pt>
          <cx:pt idx="13157">0</cx:pt>
          <cx:pt idx="13158">0</cx:pt>
          <cx:pt idx="13159">1</cx:pt>
          <cx:pt idx="13160">0</cx:pt>
          <cx:pt idx="13161">0</cx:pt>
          <cx:pt idx="13162">1</cx:pt>
          <cx:pt idx="13163">1</cx:pt>
          <cx:pt idx="13164">0</cx:pt>
          <cx:pt idx="13165">0</cx:pt>
          <cx:pt idx="13166">0</cx:pt>
          <cx:pt idx="13167">0</cx:pt>
          <cx:pt idx="13168">0</cx:pt>
          <cx:pt idx="13169">1</cx:pt>
          <cx:pt idx="13170">1</cx:pt>
          <cx:pt idx="13171">0</cx:pt>
          <cx:pt idx="13172">0</cx:pt>
          <cx:pt idx="13173">0</cx:pt>
          <cx:pt idx="13174">1</cx:pt>
          <cx:pt idx="13175">1</cx:pt>
          <cx:pt idx="13176">1</cx:pt>
          <cx:pt idx="13177">0</cx:pt>
          <cx:pt idx="13178">1</cx:pt>
          <cx:pt idx="13179">0</cx:pt>
          <cx:pt idx="13180">1</cx:pt>
          <cx:pt idx="13181">1</cx:pt>
          <cx:pt idx="13182">1</cx:pt>
          <cx:pt idx="13183">1</cx:pt>
          <cx:pt idx="13184">1</cx:pt>
          <cx:pt idx="13185">0</cx:pt>
          <cx:pt idx="13186">0</cx:pt>
          <cx:pt idx="13187">0</cx:pt>
          <cx:pt idx="13188">0</cx:pt>
          <cx:pt idx="13189">1</cx:pt>
          <cx:pt idx="13190">0</cx:pt>
          <cx:pt idx="13191">0</cx:pt>
          <cx:pt idx="13192">0</cx:pt>
          <cx:pt idx="13193">1</cx:pt>
          <cx:pt idx="13194">1</cx:pt>
          <cx:pt idx="13195">0</cx:pt>
          <cx:pt idx="13196">1</cx:pt>
          <cx:pt idx="13197">0</cx:pt>
          <cx:pt idx="13198">0</cx:pt>
          <cx:pt idx="13199">0</cx:pt>
          <cx:pt idx="13200">0</cx:pt>
          <cx:pt idx="13201">0</cx:pt>
          <cx:pt idx="13202">1</cx:pt>
          <cx:pt idx="13203">0</cx:pt>
          <cx:pt idx="13204">0</cx:pt>
          <cx:pt idx="13205">1</cx:pt>
          <cx:pt idx="13206">0</cx:pt>
          <cx:pt idx="13207">1</cx:pt>
          <cx:pt idx="13208">0</cx:pt>
          <cx:pt idx="13209">0</cx:pt>
          <cx:pt idx="13210">0</cx:pt>
          <cx:pt idx="13211">0</cx:pt>
          <cx:pt idx="13212">0</cx:pt>
          <cx:pt idx="13213">0</cx:pt>
          <cx:pt idx="13214">0</cx:pt>
          <cx:pt idx="13215">1</cx:pt>
          <cx:pt idx="13216">0</cx:pt>
          <cx:pt idx="13217">0</cx:pt>
          <cx:pt idx="13218">0</cx:pt>
          <cx:pt idx="13219">1</cx:pt>
          <cx:pt idx="13220">1</cx:pt>
          <cx:pt idx="13221">1</cx:pt>
          <cx:pt idx="13222">0</cx:pt>
          <cx:pt idx="13223">1</cx:pt>
          <cx:pt idx="13224">0</cx:pt>
          <cx:pt idx="13225">1</cx:pt>
          <cx:pt idx="13226">1</cx:pt>
          <cx:pt idx="13227">1</cx:pt>
          <cx:pt idx="13228">1</cx:pt>
          <cx:pt idx="13229">0</cx:pt>
          <cx:pt idx="13230">0</cx:pt>
          <cx:pt idx="13231">0</cx:pt>
          <cx:pt idx="13232">1</cx:pt>
          <cx:pt idx="13233">0</cx:pt>
          <cx:pt idx="13234">0</cx:pt>
          <cx:pt idx="13235">0</cx:pt>
          <cx:pt idx="13236">1</cx:pt>
          <cx:pt idx="13237">1</cx:pt>
          <cx:pt idx="13238">0</cx:pt>
          <cx:pt idx="13239">0</cx:pt>
          <cx:pt idx="13240">0</cx:pt>
          <cx:pt idx="13241">1</cx:pt>
          <cx:pt idx="13242">0</cx:pt>
          <cx:pt idx="13243">0</cx:pt>
          <cx:pt idx="13244">0</cx:pt>
          <cx:pt idx="13245">1</cx:pt>
          <cx:pt idx="13246">0</cx:pt>
          <cx:pt idx="13247">0</cx:pt>
          <cx:pt idx="13248">1</cx:pt>
          <cx:pt idx="13249">0</cx:pt>
          <cx:pt idx="13250">0</cx:pt>
          <cx:pt idx="13251">1</cx:pt>
          <cx:pt idx="13252">0</cx:pt>
          <cx:pt idx="13253">1</cx:pt>
          <cx:pt idx="13254">0</cx:pt>
          <cx:pt idx="13255">1</cx:pt>
          <cx:pt idx="13256">1</cx:pt>
          <cx:pt idx="13257">1</cx:pt>
          <cx:pt idx="13258">0</cx:pt>
          <cx:pt idx="13259">1</cx:pt>
          <cx:pt idx="13260">1</cx:pt>
          <cx:pt idx="13261">1</cx:pt>
          <cx:pt idx="13262">0</cx:pt>
          <cx:pt idx="13263">0</cx:pt>
          <cx:pt idx="13264">0</cx:pt>
          <cx:pt idx="13265">0</cx:pt>
          <cx:pt idx="13266">0</cx:pt>
          <cx:pt idx="13267">1</cx:pt>
          <cx:pt idx="13268">0</cx:pt>
          <cx:pt idx="13269">1</cx:pt>
          <cx:pt idx="13270">1</cx:pt>
          <cx:pt idx="13271">1</cx:pt>
          <cx:pt idx="13272">0</cx:pt>
          <cx:pt idx="13273">0</cx:pt>
          <cx:pt idx="13274">0</cx:pt>
          <cx:pt idx="13275">1</cx:pt>
          <cx:pt idx="13276">0</cx:pt>
          <cx:pt idx="13277">0</cx:pt>
          <cx:pt idx="13278">0</cx:pt>
          <cx:pt idx="13279">0</cx:pt>
          <cx:pt idx="13280">1</cx:pt>
          <cx:pt idx="13281">1</cx:pt>
          <cx:pt idx="13282">1</cx:pt>
          <cx:pt idx="13283">0</cx:pt>
          <cx:pt idx="13284">0</cx:pt>
          <cx:pt idx="13285">0</cx:pt>
          <cx:pt idx="13286">0</cx:pt>
          <cx:pt idx="13287">0</cx:pt>
          <cx:pt idx="13288">0</cx:pt>
          <cx:pt idx="13289">1</cx:pt>
          <cx:pt idx="13290">0</cx:pt>
          <cx:pt idx="13291">0</cx:pt>
          <cx:pt idx="13292">0</cx:pt>
          <cx:pt idx="13293">1</cx:pt>
          <cx:pt idx="13294">0</cx:pt>
          <cx:pt idx="13295">1</cx:pt>
          <cx:pt idx="13296">1</cx:pt>
          <cx:pt idx="13297">1</cx:pt>
          <cx:pt idx="13298">0</cx:pt>
          <cx:pt idx="13299">1</cx:pt>
          <cx:pt idx="13300">1</cx:pt>
          <cx:pt idx="13301">0</cx:pt>
          <cx:pt idx="13302">0</cx:pt>
          <cx:pt idx="13303">0</cx:pt>
          <cx:pt idx="13304">0</cx:pt>
          <cx:pt idx="13305">1</cx:pt>
          <cx:pt idx="13306">1</cx:pt>
          <cx:pt idx="13307">1</cx:pt>
          <cx:pt idx="13308">0</cx:pt>
          <cx:pt idx="13309">0</cx:pt>
          <cx:pt idx="13310">1</cx:pt>
          <cx:pt idx="13311">0</cx:pt>
          <cx:pt idx="13312">0</cx:pt>
          <cx:pt idx="13313">1</cx:pt>
          <cx:pt idx="13314">1</cx:pt>
          <cx:pt idx="13315">1</cx:pt>
          <cx:pt idx="13316">0</cx:pt>
          <cx:pt idx="13317">0</cx:pt>
          <cx:pt idx="13318">0</cx:pt>
          <cx:pt idx="13319">0</cx:pt>
          <cx:pt idx="13320">1</cx:pt>
          <cx:pt idx="13321">0</cx:pt>
          <cx:pt idx="13322">1</cx:pt>
          <cx:pt idx="13323">1</cx:pt>
          <cx:pt idx="13324">0</cx:pt>
          <cx:pt idx="13325">0</cx:pt>
          <cx:pt idx="13326">0</cx:pt>
          <cx:pt idx="13327">0</cx:pt>
          <cx:pt idx="13328">0</cx:pt>
          <cx:pt idx="13329">1</cx:pt>
          <cx:pt idx="13330">0</cx:pt>
          <cx:pt idx="13331">1</cx:pt>
          <cx:pt idx="13332">1</cx:pt>
          <cx:pt idx="13333">0</cx:pt>
          <cx:pt idx="13334">1</cx:pt>
          <cx:pt idx="13335">0</cx:pt>
          <cx:pt idx="13336">1</cx:pt>
          <cx:pt idx="13337">0</cx:pt>
          <cx:pt idx="13338">0</cx:pt>
          <cx:pt idx="13339">0</cx:pt>
          <cx:pt idx="13340">0</cx:pt>
          <cx:pt idx="13341">0</cx:pt>
          <cx:pt idx="13342">1</cx:pt>
          <cx:pt idx="13343">1</cx:pt>
          <cx:pt idx="13344">0</cx:pt>
          <cx:pt idx="13345">0</cx:pt>
          <cx:pt idx="13346">1</cx:pt>
          <cx:pt idx="13347">1</cx:pt>
          <cx:pt idx="13348">0</cx:pt>
          <cx:pt idx="13349">1</cx:pt>
          <cx:pt idx="13350">0</cx:pt>
          <cx:pt idx="13351">0</cx:pt>
          <cx:pt idx="13352">0</cx:pt>
          <cx:pt idx="13353">0</cx:pt>
          <cx:pt idx="13354">0</cx:pt>
          <cx:pt idx="13355">1</cx:pt>
          <cx:pt idx="13356">0</cx:pt>
          <cx:pt idx="13357">1</cx:pt>
          <cx:pt idx="13358">1</cx:pt>
          <cx:pt idx="13359">1</cx:pt>
          <cx:pt idx="13360">1</cx:pt>
          <cx:pt idx="13361">0</cx:pt>
          <cx:pt idx="13362">0</cx:pt>
          <cx:pt idx="13363">0</cx:pt>
          <cx:pt idx="13364">0</cx:pt>
          <cx:pt idx="13365">1</cx:pt>
          <cx:pt idx="13366">1</cx:pt>
          <cx:pt idx="13367">0</cx:pt>
          <cx:pt idx="13368">0</cx:pt>
          <cx:pt idx="13369">0</cx:pt>
          <cx:pt idx="13370">0</cx:pt>
          <cx:pt idx="13371">1</cx:pt>
          <cx:pt idx="13372">1</cx:pt>
          <cx:pt idx="13373">0</cx:pt>
          <cx:pt idx="13374">0</cx:pt>
          <cx:pt idx="13375">1</cx:pt>
          <cx:pt idx="13376">1</cx:pt>
          <cx:pt idx="13377">1</cx:pt>
          <cx:pt idx="13378">0</cx:pt>
          <cx:pt idx="13379">0</cx:pt>
          <cx:pt idx="13380">1</cx:pt>
          <cx:pt idx="13381">0</cx:pt>
          <cx:pt idx="13382">0</cx:pt>
          <cx:pt idx="13383">0</cx:pt>
          <cx:pt idx="13384">1</cx:pt>
          <cx:pt idx="13385">0</cx:pt>
          <cx:pt idx="13386">0</cx:pt>
          <cx:pt idx="13387">0</cx:pt>
          <cx:pt idx="13388">1</cx:pt>
          <cx:pt idx="13389">1</cx:pt>
          <cx:pt idx="13390">0</cx:pt>
          <cx:pt idx="13391">1</cx:pt>
          <cx:pt idx="13392">0</cx:pt>
          <cx:pt idx="13393">0</cx:pt>
          <cx:pt idx="13394">0</cx:pt>
          <cx:pt idx="13395">0</cx:pt>
          <cx:pt idx="13396">0</cx:pt>
          <cx:pt idx="13397">1</cx:pt>
          <cx:pt idx="13398">1</cx:pt>
          <cx:pt idx="13399">1</cx:pt>
          <cx:pt idx="13400">0</cx:pt>
          <cx:pt idx="13401">1</cx:pt>
          <cx:pt idx="13402">1</cx:pt>
          <cx:pt idx="13403">1</cx:pt>
          <cx:pt idx="13404">1</cx:pt>
          <cx:pt idx="13405">1</cx:pt>
          <cx:pt idx="13406">0</cx:pt>
          <cx:pt idx="13407">1</cx:pt>
          <cx:pt idx="13408">0</cx:pt>
          <cx:pt idx="13409">0</cx:pt>
          <cx:pt idx="13410">1</cx:pt>
          <cx:pt idx="13411">0</cx:pt>
          <cx:pt idx="13412">0</cx:pt>
          <cx:pt idx="13413">0</cx:pt>
          <cx:pt idx="13414">0</cx:pt>
          <cx:pt idx="13415">0</cx:pt>
          <cx:pt idx="13416">0</cx:pt>
          <cx:pt idx="13417">0</cx:pt>
          <cx:pt idx="13418">1</cx:pt>
          <cx:pt idx="13419">0</cx:pt>
          <cx:pt idx="13420">1</cx:pt>
          <cx:pt idx="13421">1</cx:pt>
          <cx:pt idx="13422">0</cx:pt>
          <cx:pt idx="13423">0</cx:pt>
          <cx:pt idx="13424">1</cx:pt>
          <cx:pt idx="13425">1</cx:pt>
          <cx:pt idx="13426">0</cx:pt>
          <cx:pt idx="13427">0</cx:pt>
          <cx:pt idx="13428">0</cx:pt>
          <cx:pt idx="13429">0</cx:pt>
          <cx:pt idx="13430">0</cx:pt>
          <cx:pt idx="13431">0</cx:pt>
          <cx:pt idx="13432">0</cx:pt>
          <cx:pt idx="13433">1</cx:pt>
          <cx:pt idx="13434">1</cx:pt>
          <cx:pt idx="13435">1</cx:pt>
          <cx:pt idx="13436">0</cx:pt>
          <cx:pt idx="13437">1</cx:pt>
          <cx:pt idx="13438">1</cx:pt>
          <cx:pt idx="13439">0</cx:pt>
          <cx:pt idx="13440">1</cx:pt>
          <cx:pt idx="13441">1</cx:pt>
          <cx:pt idx="13442">0</cx:pt>
          <cx:pt idx="13443">1</cx:pt>
          <cx:pt idx="13444">0</cx:pt>
          <cx:pt idx="13445">1</cx:pt>
          <cx:pt idx="13446">0</cx:pt>
          <cx:pt idx="13447">0</cx:pt>
          <cx:pt idx="13448">0</cx:pt>
          <cx:pt idx="13449">0</cx:pt>
          <cx:pt idx="13450">1</cx:pt>
          <cx:pt idx="13451">0</cx:pt>
          <cx:pt idx="13452">0</cx:pt>
          <cx:pt idx="13453">1</cx:pt>
          <cx:pt idx="13454">0</cx:pt>
          <cx:pt idx="13455">1</cx:pt>
          <cx:pt idx="13456">0</cx:pt>
          <cx:pt idx="13457">1</cx:pt>
          <cx:pt idx="13458">0</cx:pt>
          <cx:pt idx="13459">0</cx:pt>
          <cx:pt idx="13460">1</cx:pt>
          <cx:pt idx="13461">1</cx:pt>
          <cx:pt idx="13462">1</cx:pt>
          <cx:pt idx="13463">0</cx:pt>
          <cx:pt idx="13464">1</cx:pt>
          <cx:pt idx="13465">0</cx:pt>
          <cx:pt idx="13466">1</cx:pt>
          <cx:pt idx="13467">0</cx:pt>
          <cx:pt idx="13468">1</cx:pt>
          <cx:pt idx="13469">0</cx:pt>
          <cx:pt idx="13470">1</cx:pt>
          <cx:pt idx="13471">0</cx:pt>
          <cx:pt idx="13472">1</cx:pt>
          <cx:pt idx="13473">0</cx:pt>
          <cx:pt idx="13474">1</cx:pt>
          <cx:pt idx="13475">1</cx:pt>
          <cx:pt idx="13476">0</cx:pt>
          <cx:pt idx="13477">0</cx:pt>
          <cx:pt idx="13478">1</cx:pt>
          <cx:pt idx="13479">0</cx:pt>
          <cx:pt idx="13480">0</cx:pt>
          <cx:pt idx="13481">0</cx:pt>
          <cx:pt idx="13482">1</cx:pt>
          <cx:pt idx="13483">0</cx:pt>
          <cx:pt idx="13484">1</cx:pt>
          <cx:pt idx="13485">1</cx:pt>
          <cx:pt idx="13486">1</cx:pt>
          <cx:pt idx="13487">1</cx:pt>
          <cx:pt idx="13488">0</cx:pt>
          <cx:pt idx="13489">0</cx:pt>
          <cx:pt idx="13490">1</cx:pt>
          <cx:pt idx="13491">0</cx:pt>
          <cx:pt idx="13492">0</cx:pt>
          <cx:pt idx="13493">0</cx:pt>
          <cx:pt idx="13494">0</cx:pt>
          <cx:pt idx="13495">1</cx:pt>
          <cx:pt idx="13496">1</cx:pt>
          <cx:pt idx="13497">0</cx:pt>
          <cx:pt idx="13498">0</cx:pt>
          <cx:pt idx="13499">1</cx:pt>
          <cx:pt idx="13500">0</cx:pt>
          <cx:pt idx="13501">1</cx:pt>
          <cx:pt idx="13502">0</cx:pt>
          <cx:pt idx="13503">1</cx:pt>
          <cx:pt idx="13504">1</cx:pt>
          <cx:pt idx="13505">0</cx:pt>
          <cx:pt idx="13506">0</cx:pt>
          <cx:pt idx="13507">0</cx:pt>
          <cx:pt idx="13508">1</cx:pt>
          <cx:pt idx="13509">1</cx:pt>
          <cx:pt idx="13510">0</cx:pt>
          <cx:pt idx="13511">0</cx:pt>
          <cx:pt idx="13512">0</cx:pt>
          <cx:pt idx="13513">0</cx:pt>
          <cx:pt idx="13514">0</cx:pt>
          <cx:pt idx="13515">0</cx:pt>
          <cx:pt idx="13516">0</cx:pt>
          <cx:pt idx="13517">0</cx:pt>
          <cx:pt idx="13518">1</cx:pt>
          <cx:pt idx="13519">1</cx:pt>
          <cx:pt idx="13520">0</cx:pt>
          <cx:pt idx="13521">1</cx:pt>
          <cx:pt idx="13522">1</cx:pt>
          <cx:pt idx="13523">0</cx:pt>
          <cx:pt idx="13524">0</cx:pt>
          <cx:pt idx="13525">1</cx:pt>
          <cx:pt idx="13526">0</cx:pt>
          <cx:pt idx="13527">0</cx:pt>
          <cx:pt idx="13528">0</cx:pt>
          <cx:pt idx="13529">0</cx:pt>
          <cx:pt idx="13530">1</cx:pt>
          <cx:pt idx="13531">0</cx:pt>
          <cx:pt idx="13532">0</cx:pt>
          <cx:pt idx="13533">0</cx:pt>
          <cx:pt idx="13534">1</cx:pt>
          <cx:pt idx="13535">0</cx:pt>
          <cx:pt idx="13536">0</cx:pt>
          <cx:pt idx="13537">0</cx:pt>
          <cx:pt idx="13538">1</cx:pt>
          <cx:pt idx="13539">0</cx:pt>
          <cx:pt idx="13540">1</cx:pt>
          <cx:pt idx="13541">1</cx:pt>
          <cx:pt idx="13542">0</cx:pt>
          <cx:pt idx="13543">0</cx:pt>
          <cx:pt idx="13544">1</cx:pt>
          <cx:pt idx="13545">0</cx:pt>
          <cx:pt idx="13546">0</cx:pt>
          <cx:pt idx="13547">1</cx:pt>
          <cx:pt idx="13548">0</cx:pt>
          <cx:pt idx="13549">1</cx:pt>
          <cx:pt idx="13550">0</cx:pt>
          <cx:pt idx="13551">1</cx:pt>
          <cx:pt idx="13552">1</cx:pt>
          <cx:pt idx="13553">1</cx:pt>
          <cx:pt idx="13554">1</cx:pt>
          <cx:pt idx="13555">1</cx:pt>
          <cx:pt idx="13556">1</cx:pt>
          <cx:pt idx="13557">0</cx:pt>
          <cx:pt idx="13558">0</cx:pt>
          <cx:pt idx="13559">1</cx:pt>
          <cx:pt idx="13560">1</cx:pt>
          <cx:pt idx="13561">1</cx:pt>
          <cx:pt idx="13562">1</cx:pt>
          <cx:pt idx="13563">1</cx:pt>
          <cx:pt idx="13564">1</cx:pt>
          <cx:pt idx="13565">0</cx:pt>
          <cx:pt idx="13566">1</cx:pt>
          <cx:pt idx="13567">0</cx:pt>
          <cx:pt idx="13568">0</cx:pt>
          <cx:pt idx="13569">0</cx:pt>
          <cx:pt idx="13570">1</cx:pt>
          <cx:pt idx="13571">1</cx:pt>
          <cx:pt idx="13572">0</cx:pt>
          <cx:pt idx="13573">0</cx:pt>
          <cx:pt idx="13574">1</cx:pt>
          <cx:pt idx="13575">0</cx:pt>
          <cx:pt idx="13576">1</cx:pt>
          <cx:pt idx="13577">0</cx:pt>
          <cx:pt idx="13578">0</cx:pt>
          <cx:pt idx="13579">0</cx:pt>
          <cx:pt idx="13580">1</cx:pt>
          <cx:pt idx="13581">0</cx:pt>
          <cx:pt idx="13582">0</cx:pt>
          <cx:pt idx="13583">0</cx:pt>
          <cx:pt idx="13584">0</cx:pt>
          <cx:pt idx="13585">0</cx:pt>
          <cx:pt idx="13586">0</cx:pt>
          <cx:pt idx="13587">1</cx:pt>
          <cx:pt idx="13588">1</cx:pt>
          <cx:pt idx="13589">0</cx:pt>
          <cx:pt idx="13590">0</cx:pt>
          <cx:pt idx="13591">1</cx:pt>
          <cx:pt idx="13592">0</cx:pt>
          <cx:pt idx="13593">0</cx:pt>
          <cx:pt idx="13594">1</cx:pt>
          <cx:pt idx="13595">1</cx:pt>
          <cx:pt idx="13596">1</cx:pt>
          <cx:pt idx="13597">1</cx:pt>
          <cx:pt idx="13598">0</cx:pt>
          <cx:pt idx="13599">1</cx:pt>
          <cx:pt idx="13600">1</cx:pt>
          <cx:pt idx="13601">0</cx:pt>
          <cx:pt idx="13602">0</cx:pt>
          <cx:pt idx="13603">0</cx:pt>
          <cx:pt idx="13604">1</cx:pt>
          <cx:pt idx="13605">1</cx:pt>
          <cx:pt idx="13606">0</cx:pt>
          <cx:pt idx="13607">1</cx:pt>
          <cx:pt idx="13608">0</cx:pt>
          <cx:pt idx="13609">1</cx:pt>
          <cx:pt idx="13610">0</cx:pt>
          <cx:pt idx="13611">0</cx:pt>
          <cx:pt idx="13612">1</cx:pt>
          <cx:pt idx="13613">0</cx:pt>
          <cx:pt idx="13614">0</cx:pt>
          <cx:pt idx="13615">0</cx:pt>
          <cx:pt idx="13616">0</cx:pt>
          <cx:pt idx="13617">0</cx:pt>
          <cx:pt idx="13618">1</cx:pt>
          <cx:pt idx="13619">1</cx:pt>
          <cx:pt idx="13620">1</cx:pt>
          <cx:pt idx="13621">0</cx:pt>
          <cx:pt idx="13622">0</cx:pt>
          <cx:pt idx="13623">0</cx:pt>
          <cx:pt idx="13624">0</cx:pt>
          <cx:pt idx="13625">1</cx:pt>
          <cx:pt idx="13626">1</cx:pt>
          <cx:pt idx="13627">1</cx:pt>
          <cx:pt idx="13628">0</cx:pt>
          <cx:pt idx="13629">0</cx:pt>
          <cx:pt idx="13630">0</cx:pt>
          <cx:pt idx="13631">1</cx:pt>
          <cx:pt idx="13632">1</cx:pt>
          <cx:pt idx="13633">0</cx:pt>
          <cx:pt idx="13634">1</cx:pt>
          <cx:pt idx="13635">1</cx:pt>
          <cx:pt idx="13636">0</cx:pt>
          <cx:pt idx="13637">1</cx:pt>
          <cx:pt idx="13638">0</cx:pt>
          <cx:pt idx="13639">1</cx:pt>
          <cx:pt idx="13640">1</cx:pt>
          <cx:pt idx="13641">1</cx:pt>
          <cx:pt idx="13642">1</cx:pt>
          <cx:pt idx="13643">1</cx:pt>
          <cx:pt idx="13644">1</cx:pt>
          <cx:pt idx="13645">0</cx:pt>
          <cx:pt idx="13646">0</cx:pt>
          <cx:pt idx="13647">0</cx:pt>
          <cx:pt idx="13648">0</cx:pt>
          <cx:pt idx="13649">1</cx:pt>
          <cx:pt idx="13650">1</cx:pt>
          <cx:pt idx="13651">0</cx:pt>
          <cx:pt idx="13652">1</cx:pt>
          <cx:pt idx="13653">0</cx:pt>
          <cx:pt idx="13654">1</cx:pt>
          <cx:pt idx="13655">0</cx:pt>
          <cx:pt idx="13656">0</cx:pt>
          <cx:pt idx="13657">1</cx:pt>
          <cx:pt idx="13658">1</cx:pt>
          <cx:pt idx="13659">0</cx:pt>
          <cx:pt idx="13660">1</cx:pt>
          <cx:pt idx="13661">1</cx:pt>
          <cx:pt idx="13662">1</cx:pt>
          <cx:pt idx="13663">1</cx:pt>
          <cx:pt idx="13664">0</cx:pt>
          <cx:pt idx="13665">0</cx:pt>
          <cx:pt idx="13666">1</cx:pt>
          <cx:pt idx="13667">1</cx:pt>
          <cx:pt idx="13668">0</cx:pt>
          <cx:pt idx="13669">0</cx:pt>
          <cx:pt idx="13670">1</cx:pt>
          <cx:pt idx="13671">0</cx:pt>
          <cx:pt idx="13672">1</cx:pt>
          <cx:pt idx="13673">1</cx:pt>
          <cx:pt idx="13674">0</cx:pt>
          <cx:pt idx="13675">0</cx:pt>
          <cx:pt idx="13676">1</cx:pt>
          <cx:pt idx="13677">0</cx:pt>
          <cx:pt idx="13678">1</cx:pt>
          <cx:pt idx="13679">0</cx:pt>
          <cx:pt idx="13680">1</cx:pt>
          <cx:pt idx="13681">0</cx:pt>
          <cx:pt idx="13682">1</cx:pt>
          <cx:pt idx="13683">0</cx:pt>
          <cx:pt idx="13684">1</cx:pt>
          <cx:pt idx="13685">1</cx:pt>
          <cx:pt idx="13686">0</cx:pt>
          <cx:pt idx="13687">0</cx:pt>
          <cx:pt idx="13688">0</cx:pt>
          <cx:pt idx="13689">1</cx:pt>
          <cx:pt idx="13690">0</cx:pt>
          <cx:pt idx="13691">1</cx:pt>
          <cx:pt idx="13692">0</cx:pt>
          <cx:pt idx="13693">0</cx:pt>
          <cx:pt idx="13694">0</cx:pt>
          <cx:pt idx="13695">1</cx:pt>
          <cx:pt idx="13696">1</cx:pt>
          <cx:pt idx="13697">0</cx:pt>
          <cx:pt idx="13698">1</cx:pt>
          <cx:pt idx="13699">1</cx:pt>
          <cx:pt idx="13700">1</cx:pt>
          <cx:pt idx="13701">0</cx:pt>
          <cx:pt idx="13702">0</cx:pt>
          <cx:pt idx="13703">0</cx:pt>
          <cx:pt idx="13704">0</cx:pt>
          <cx:pt idx="13705">0</cx:pt>
          <cx:pt idx="13706">0</cx:pt>
          <cx:pt idx="13707">0</cx:pt>
          <cx:pt idx="13708">1</cx:pt>
          <cx:pt idx="13709">0</cx:pt>
          <cx:pt idx="13710">0</cx:pt>
          <cx:pt idx="13711">1</cx:pt>
          <cx:pt idx="13712">1</cx:pt>
          <cx:pt idx="13713">1</cx:pt>
          <cx:pt idx="13714">1</cx:pt>
          <cx:pt idx="13715">1</cx:pt>
          <cx:pt idx="13716">1</cx:pt>
          <cx:pt idx="13717">1</cx:pt>
          <cx:pt idx="13718">0</cx:pt>
          <cx:pt idx="13719">1</cx:pt>
          <cx:pt idx="13720">1</cx:pt>
          <cx:pt idx="13721">0</cx:pt>
          <cx:pt idx="13722">1</cx:pt>
          <cx:pt idx="13723">0</cx:pt>
          <cx:pt idx="13724">1</cx:pt>
          <cx:pt idx="13725">0</cx:pt>
          <cx:pt idx="13726">0</cx:pt>
          <cx:pt idx="13727">1</cx:pt>
          <cx:pt idx="13728">0</cx:pt>
          <cx:pt idx="13729">1</cx:pt>
          <cx:pt idx="13730">1</cx:pt>
          <cx:pt idx="13731">1</cx:pt>
          <cx:pt idx="13732">1</cx:pt>
          <cx:pt idx="13733">1</cx:pt>
          <cx:pt idx="13734">0</cx:pt>
          <cx:pt idx="13735">1</cx:pt>
          <cx:pt idx="13736">0</cx:pt>
          <cx:pt idx="13737">0</cx:pt>
          <cx:pt idx="13738">1</cx:pt>
          <cx:pt idx="13739">0</cx:pt>
          <cx:pt idx="13740">0</cx:pt>
          <cx:pt idx="13741">1</cx:pt>
          <cx:pt idx="13742">1</cx:pt>
          <cx:pt idx="13743">0</cx:pt>
          <cx:pt idx="13744">1</cx:pt>
          <cx:pt idx="13745">0</cx:pt>
          <cx:pt idx="13746">0</cx:pt>
          <cx:pt idx="13747">0</cx:pt>
          <cx:pt idx="13748">1</cx:pt>
          <cx:pt idx="13749">0</cx:pt>
          <cx:pt idx="13750">0</cx:pt>
          <cx:pt idx="13751">1</cx:pt>
          <cx:pt idx="13752">0</cx:pt>
          <cx:pt idx="13753">0</cx:pt>
          <cx:pt idx="13754">1</cx:pt>
          <cx:pt idx="13755">0</cx:pt>
          <cx:pt idx="13756">0</cx:pt>
          <cx:pt idx="13757">0</cx:pt>
          <cx:pt idx="13758">0</cx:pt>
          <cx:pt idx="13759">1</cx:pt>
          <cx:pt idx="13760">1</cx:pt>
          <cx:pt idx="13761">1</cx:pt>
          <cx:pt idx="13762">1</cx:pt>
          <cx:pt idx="13763">1</cx:pt>
          <cx:pt idx="13764">0</cx:pt>
          <cx:pt idx="13765">0</cx:pt>
          <cx:pt idx="13766">1</cx:pt>
          <cx:pt idx="13767">0</cx:pt>
          <cx:pt idx="13768">1</cx:pt>
          <cx:pt idx="13769">0</cx:pt>
          <cx:pt idx="13770">1</cx:pt>
          <cx:pt idx="13771">0</cx:pt>
          <cx:pt idx="13772">1</cx:pt>
          <cx:pt idx="13773">0</cx:pt>
          <cx:pt idx="13774">0</cx:pt>
          <cx:pt idx="13775">1</cx:pt>
          <cx:pt idx="13776">0</cx:pt>
          <cx:pt idx="13777">0</cx:pt>
          <cx:pt idx="13778">1</cx:pt>
          <cx:pt idx="13779">1</cx:pt>
          <cx:pt idx="13780">0</cx:pt>
          <cx:pt idx="13781">0</cx:pt>
          <cx:pt idx="13782">1</cx:pt>
          <cx:pt idx="13783">1</cx:pt>
          <cx:pt idx="13784">0</cx:pt>
          <cx:pt idx="13785">0</cx:pt>
          <cx:pt idx="13786">0</cx:pt>
          <cx:pt idx="13787">1</cx:pt>
          <cx:pt idx="13788">0</cx:pt>
          <cx:pt idx="13789">0</cx:pt>
          <cx:pt idx="13790">0</cx:pt>
          <cx:pt idx="13791">1</cx:pt>
          <cx:pt idx="13792">1</cx:pt>
          <cx:pt idx="13793">1</cx:pt>
          <cx:pt idx="13794">1</cx:pt>
          <cx:pt idx="13795">0</cx:pt>
          <cx:pt idx="13796">1</cx:pt>
          <cx:pt idx="13797">1</cx:pt>
          <cx:pt idx="13798">1</cx:pt>
          <cx:pt idx="13799">0</cx:pt>
          <cx:pt idx="13800">0</cx:pt>
          <cx:pt idx="13801">0</cx:pt>
          <cx:pt idx="13802">0</cx:pt>
          <cx:pt idx="13803">1</cx:pt>
          <cx:pt idx="13804">0</cx:pt>
          <cx:pt idx="13805">0</cx:pt>
          <cx:pt idx="13806">1</cx:pt>
          <cx:pt idx="13807">0</cx:pt>
          <cx:pt idx="13808">1</cx:pt>
          <cx:pt idx="13809">0</cx:pt>
          <cx:pt idx="13810">1</cx:pt>
          <cx:pt idx="13811">0</cx:pt>
          <cx:pt idx="13812">0</cx:pt>
          <cx:pt idx="13813">0</cx:pt>
          <cx:pt idx="13814">1</cx:pt>
          <cx:pt idx="13815">0</cx:pt>
          <cx:pt idx="13816">1</cx:pt>
          <cx:pt idx="13817">1</cx:pt>
          <cx:pt idx="13818">1</cx:pt>
          <cx:pt idx="13819">0</cx:pt>
          <cx:pt idx="13820">1</cx:pt>
          <cx:pt idx="13821">1</cx:pt>
          <cx:pt idx="13822">1</cx:pt>
          <cx:pt idx="13823">0</cx:pt>
          <cx:pt idx="13824">0</cx:pt>
          <cx:pt idx="13825">1</cx:pt>
          <cx:pt idx="13826">0</cx:pt>
          <cx:pt idx="13827">1</cx:pt>
          <cx:pt idx="13828">0</cx:pt>
          <cx:pt idx="13829">1</cx:pt>
          <cx:pt idx="13830">0</cx:pt>
          <cx:pt idx="13831">0</cx:pt>
          <cx:pt idx="13832">1</cx:pt>
          <cx:pt idx="13833">0</cx:pt>
          <cx:pt idx="13834">0</cx:pt>
          <cx:pt idx="13835">0</cx:pt>
          <cx:pt idx="13836">0</cx:pt>
          <cx:pt idx="13837">0</cx:pt>
          <cx:pt idx="13838">0</cx:pt>
          <cx:pt idx="13839">0</cx:pt>
          <cx:pt idx="13840">1</cx:pt>
          <cx:pt idx="13841">0</cx:pt>
          <cx:pt idx="13842">1</cx:pt>
          <cx:pt idx="13843">1</cx:pt>
          <cx:pt idx="13844">1</cx:pt>
          <cx:pt idx="13845">0</cx:pt>
          <cx:pt idx="13846">1</cx:pt>
          <cx:pt idx="13847">0</cx:pt>
          <cx:pt idx="13848">1</cx:pt>
          <cx:pt idx="13849">0</cx:pt>
          <cx:pt idx="13850">0</cx:pt>
          <cx:pt idx="13851">0</cx:pt>
          <cx:pt idx="13852">1</cx:pt>
          <cx:pt idx="13853">0</cx:pt>
          <cx:pt idx="13854">0</cx:pt>
          <cx:pt idx="13855">1</cx:pt>
          <cx:pt idx="13856">0</cx:pt>
          <cx:pt idx="13857">1</cx:pt>
          <cx:pt idx="13858">0</cx:pt>
          <cx:pt idx="13859">0</cx:pt>
          <cx:pt idx="13860">0</cx:pt>
          <cx:pt idx="13861">1</cx:pt>
          <cx:pt idx="13862">0</cx:pt>
          <cx:pt idx="13863">1</cx:pt>
          <cx:pt idx="13864">1</cx:pt>
          <cx:pt idx="13865">0</cx:pt>
          <cx:pt idx="13866">1</cx:pt>
          <cx:pt idx="13867">1</cx:pt>
          <cx:pt idx="13868">0</cx:pt>
          <cx:pt idx="13869">1</cx:pt>
          <cx:pt idx="13870">1</cx:pt>
          <cx:pt idx="13871">0</cx:pt>
          <cx:pt idx="13872">0</cx:pt>
          <cx:pt idx="13873">1</cx:pt>
          <cx:pt idx="13874">1</cx:pt>
          <cx:pt idx="13875">1</cx:pt>
          <cx:pt idx="13876">0</cx:pt>
          <cx:pt idx="13877">1</cx:pt>
          <cx:pt idx="13878">1</cx:pt>
          <cx:pt idx="13879">1</cx:pt>
          <cx:pt idx="13880">1</cx:pt>
          <cx:pt idx="13881">0</cx:pt>
          <cx:pt idx="13882">0</cx:pt>
          <cx:pt idx="13883">1</cx:pt>
          <cx:pt idx="13884">0</cx:pt>
          <cx:pt idx="13885">1</cx:pt>
          <cx:pt idx="13886">0</cx:pt>
          <cx:pt idx="13887">0</cx:pt>
          <cx:pt idx="13888">0</cx:pt>
          <cx:pt idx="13889">1</cx:pt>
          <cx:pt idx="13890">1</cx:pt>
          <cx:pt idx="13891">1</cx:pt>
          <cx:pt idx="13892">1</cx:pt>
          <cx:pt idx="13893">0</cx:pt>
          <cx:pt idx="13894">1</cx:pt>
          <cx:pt idx="13895">0</cx:pt>
          <cx:pt idx="13896">1</cx:pt>
          <cx:pt idx="13897">0</cx:pt>
          <cx:pt idx="13898">1</cx:pt>
          <cx:pt idx="13899">0</cx:pt>
          <cx:pt idx="13900">1</cx:pt>
          <cx:pt idx="13901">1</cx:pt>
          <cx:pt idx="13902">0</cx:pt>
          <cx:pt idx="13903">0</cx:pt>
          <cx:pt idx="13904">1</cx:pt>
          <cx:pt idx="13905">0</cx:pt>
          <cx:pt idx="13906">0</cx:pt>
          <cx:pt idx="13907">0</cx:pt>
          <cx:pt idx="13908">1</cx:pt>
          <cx:pt idx="13909">0</cx:pt>
          <cx:pt idx="13910">1</cx:pt>
          <cx:pt idx="13911">1</cx:pt>
          <cx:pt idx="13912">0</cx:pt>
          <cx:pt idx="13913">0</cx:pt>
          <cx:pt idx="13914">0</cx:pt>
          <cx:pt idx="13915">0</cx:pt>
          <cx:pt idx="13916">1</cx:pt>
          <cx:pt idx="13917">1</cx:pt>
          <cx:pt idx="13918">0</cx:pt>
          <cx:pt idx="13919">0</cx:pt>
          <cx:pt idx="13920">1</cx:pt>
          <cx:pt idx="13921">0</cx:pt>
          <cx:pt idx="13922">0</cx:pt>
          <cx:pt idx="13923">0</cx:pt>
          <cx:pt idx="13924">0</cx:pt>
          <cx:pt idx="13925">0</cx:pt>
          <cx:pt idx="13926">1</cx:pt>
          <cx:pt idx="13927">0</cx:pt>
          <cx:pt idx="13928">1</cx:pt>
          <cx:pt idx="13929">1</cx:pt>
          <cx:pt idx="13930">0</cx:pt>
          <cx:pt idx="13931">1</cx:pt>
          <cx:pt idx="13932">1</cx:pt>
          <cx:pt idx="13933">1</cx:pt>
          <cx:pt idx="13934">0</cx:pt>
          <cx:pt idx="13935">0</cx:pt>
          <cx:pt idx="13936">0</cx:pt>
          <cx:pt idx="13937">1</cx:pt>
          <cx:pt idx="13938">1</cx:pt>
          <cx:pt idx="13939">0</cx:pt>
          <cx:pt idx="13940">1</cx:pt>
          <cx:pt idx="13941">1</cx:pt>
          <cx:pt idx="13942">0</cx:pt>
          <cx:pt idx="13943">0</cx:pt>
          <cx:pt idx="13944">0</cx:pt>
          <cx:pt idx="13945">0</cx:pt>
          <cx:pt idx="13946">0</cx:pt>
          <cx:pt idx="13947">0</cx:pt>
          <cx:pt idx="13948">0</cx:pt>
          <cx:pt idx="13949">0</cx:pt>
          <cx:pt idx="13950">0</cx:pt>
          <cx:pt idx="13951">1</cx:pt>
          <cx:pt idx="13952">1</cx:pt>
          <cx:pt idx="13953">0</cx:pt>
          <cx:pt idx="13954">0</cx:pt>
          <cx:pt idx="13955">0</cx:pt>
          <cx:pt idx="13956">0</cx:pt>
          <cx:pt idx="13957">1</cx:pt>
          <cx:pt idx="13958">1</cx:pt>
          <cx:pt idx="13959">1</cx:pt>
          <cx:pt idx="13960">0</cx:pt>
          <cx:pt idx="13961">1</cx:pt>
          <cx:pt idx="13962">1</cx:pt>
          <cx:pt idx="13963">1</cx:pt>
          <cx:pt idx="13964">0</cx:pt>
          <cx:pt idx="13965">1</cx:pt>
          <cx:pt idx="13966">0</cx:pt>
          <cx:pt idx="13967">0</cx:pt>
          <cx:pt idx="13968">1</cx:pt>
          <cx:pt idx="13969">0</cx:pt>
          <cx:pt idx="13970">0</cx:pt>
          <cx:pt idx="13971">0</cx:pt>
          <cx:pt idx="13972">1</cx:pt>
          <cx:pt idx="13973">0</cx:pt>
          <cx:pt idx="13974">0</cx:pt>
          <cx:pt idx="13975">1</cx:pt>
          <cx:pt idx="13976">0</cx:pt>
          <cx:pt idx="13977">0</cx:pt>
          <cx:pt idx="13978">0</cx:pt>
          <cx:pt idx="13979">0</cx:pt>
          <cx:pt idx="13980">1</cx:pt>
          <cx:pt idx="13981">1</cx:pt>
          <cx:pt idx="13982">0</cx:pt>
          <cx:pt idx="13983">0</cx:pt>
          <cx:pt idx="13984">1</cx:pt>
          <cx:pt idx="13985">0</cx:pt>
          <cx:pt idx="13986">1</cx:pt>
          <cx:pt idx="13987">1</cx:pt>
          <cx:pt idx="13988">0</cx:pt>
          <cx:pt idx="13989">0</cx:pt>
          <cx:pt idx="13990">1</cx:pt>
          <cx:pt idx="13991">0</cx:pt>
          <cx:pt idx="13992">1</cx:pt>
          <cx:pt idx="13993">1</cx:pt>
          <cx:pt idx="13994">1</cx:pt>
          <cx:pt idx="13995">1</cx:pt>
          <cx:pt idx="13996">1</cx:pt>
          <cx:pt idx="13997">1</cx:pt>
          <cx:pt idx="13998">1</cx:pt>
          <cx:pt idx="13999">0</cx:pt>
          <cx:pt idx="14000">0</cx:pt>
          <cx:pt idx="14001">1</cx:pt>
          <cx:pt idx="14002">1</cx:pt>
          <cx:pt idx="14003">1</cx:pt>
          <cx:pt idx="14004">1</cx:pt>
          <cx:pt idx="14005">0</cx:pt>
          <cx:pt idx="14006">1</cx:pt>
          <cx:pt idx="14007">0</cx:pt>
          <cx:pt idx="14008">1</cx:pt>
          <cx:pt idx="14009">0</cx:pt>
          <cx:pt idx="14010">1</cx:pt>
          <cx:pt idx="14011">1</cx:pt>
          <cx:pt idx="14012">1</cx:pt>
          <cx:pt idx="14013">1</cx:pt>
          <cx:pt idx="14014">1</cx:pt>
          <cx:pt idx="14015">0</cx:pt>
          <cx:pt idx="14016">0</cx:pt>
          <cx:pt idx="14017">1</cx:pt>
          <cx:pt idx="14018">0</cx:pt>
          <cx:pt idx="14019">0</cx:pt>
          <cx:pt idx="14020">0</cx:pt>
          <cx:pt idx="14021">1</cx:pt>
          <cx:pt idx="14022">0</cx:pt>
          <cx:pt idx="14023">1</cx:pt>
          <cx:pt idx="14024">0</cx:pt>
          <cx:pt idx="14025">1</cx:pt>
          <cx:pt idx="14026">0</cx:pt>
          <cx:pt idx="14027">1</cx:pt>
          <cx:pt idx="14028">0</cx:pt>
          <cx:pt idx="14029">1</cx:pt>
          <cx:pt idx="14030">0</cx:pt>
          <cx:pt idx="14031">0</cx:pt>
          <cx:pt idx="14032">0</cx:pt>
          <cx:pt idx="14033">0</cx:pt>
          <cx:pt idx="14034">0</cx:pt>
          <cx:pt idx="14035">0</cx:pt>
          <cx:pt idx="14036">1</cx:pt>
          <cx:pt idx="14037">1</cx:pt>
          <cx:pt idx="14038">0</cx:pt>
          <cx:pt idx="14039">0</cx:pt>
          <cx:pt idx="14040">0</cx:pt>
          <cx:pt idx="14041">1</cx:pt>
          <cx:pt idx="14042">0</cx:pt>
          <cx:pt idx="14043">1</cx:pt>
          <cx:pt idx="14044">0</cx:pt>
          <cx:pt idx="14045">0</cx:pt>
          <cx:pt idx="14046">0</cx:pt>
          <cx:pt idx="14047">1</cx:pt>
          <cx:pt idx="14048">0</cx:pt>
          <cx:pt idx="14049">1</cx:pt>
          <cx:pt idx="14050">1</cx:pt>
          <cx:pt idx="14051">0</cx:pt>
          <cx:pt idx="14052">0</cx:pt>
          <cx:pt idx="14053">0</cx:pt>
          <cx:pt idx="14054">1</cx:pt>
          <cx:pt idx="14055">1</cx:pt>
          <cx:pt idx="14056">1</cx:pt>
          <cx:pt idx="14057">1</cx:pt>
          <cx:pt idx="14058">0</cx:pt>
          <cx:pt idx="14059">1</cx:pt>
          <cx:pt idx="14060">0</cx:pt>
          <cx:pt idx="14061">0</cx:pt>
          <cx:pt idx="14062">1</cx:pt>
          <cx:pt idx="14063">0</cx:pt>
          <cx:pt idx="14064">0</cx:pt>
          <cx:pt idx="14065">0</cx:pt>
          <cx:pt idx="14066">1</cx:pt>
          <cx:pt idx="14067">0</cx:pt>
          <cx:pt idx="14068">1</cx:pt>
          <cx:pt idx="14069">0</cx:pt>
          <cx:pt idx="14070">1</cx:pt>
          <cx:pt idx="14071">0</cx:pt>
          <cx:pt idx="14072">0</cx:pt>
          <cx:pt idx="14073">1</cx:pt>
          <cx:pt idx="14074">0</cx:pt>
          <cx:pt idx="14075">1</cx:pt>
          <cx:pt idx="14076">0</cx:pt>
          <cx:pt idx="14077">0</cx:pt>
          <cx:pt idx="14078">0</cx:pt>
          <cx:pt idx="14079">0</cx:pt>
          <cx:pt idx="14080">0</cx:pt>
          <cx:pt idx="14081">1</cx:pt>
          <cx:pt idx="14082">0</cx:pt>
          <cx:pt idx="14083">1</cx:pt>
          <cx:pt idx="14084">0</cx:pt>
          <cx:pt idx="14085">0</cx:pt>
          <cx:pt idx="14086">0</cx:pt>
          <cx:pt idx="14087">0</cx:pt>
          <cx:pt idx="14088">0</cx:pt>
          <cx:pt idx="14089">0</cx:pt>
          <cx:pt idx="14090">1</cx:pt>
          <cx:pt idx="14091">1</cx:pt>
          <cx:pt idx="14092">0</cx:pt>
          <cx:pt idx="14093">0</cx:pt>
          <cx:pt idx="14094">0</cx:pt>
          <cx:pt idx="14095">0</cx:pt>
          <cx:pt idx="14096">0</cx:pt>
          <cx:pt idx="14097">1</cx:pt>
          <cx:pt idx="14098">0</cx:pt>
          <cx:pt idx="14099">0</cx:pt>
          <cx:pt idx="14100">0</cx:pt>
          <cx:pt idx="14101">1</cx:pt>
          <cx:pt idx="14102">0</cx:pt>
          <cx:pt idx="14103">0</cx:pt>
          <cx:pt idx="14104">0</cx:pt>
          <cx:pt idx="14105">1</cx:pt>
          <cx:pt idx="14106">1</cx:pt>
          <cx:pt idx="14107">0</cx:pt>
          <cx:pt idx="14108">1</cx:pt>
          <cx:pt idx="14109">0</cx:pt>
          <cx:pt idx="14110">1</cx:pt>
          <cx:pt idx="14111">1</cx:pt>
          <cx:pt idx="14112">0</cx:pt>
          <cx:pt idx="14113">0</cx:pt>
          <cx:pt idx="14114">0</cx:pt>
          <cx:pt idx="14115">0</cx:pt>
          <cx:pt idx="14116">1</cx:pt>
          <cx:pt idx="14117">0</cx:pt>
          <cx:pt idx="14118">0</cx:pt>
          <cx:pt idx="14119">1</cx:pt>
          <cx:pt idx="14120">0</cx:pt>
          <cx:pt idx="14121">1</cx:pt>
          <cx:pt idx="14122">0</cx:pt>
          <cx:pt idx="14123">0</cx:pt>
          <cx:pt idx="14124">0</cx:pt>
          <cx:pt idx="14125">1</cx:pt>
          <cx:pt idx="14126">1</cx:pt>
          <cx:pt idx="14127">0</cx:pt>
          <cx:pt idx="14128">1</cx:pt>
          <cx:pt idx="14129">1</cx:pt>
          <cx:pt idx="14130">0</cx:pt>
          <cx:pt idx="14131">1</cx:pt>
          <cx:pt idx="14132">0</cx:pt>
          <cx:pt idx="14133">0</cx:pt>
          <cx:pt idx="14134">0</cx:pt>
          <cx:pt idx="14135">0</cx:pt>
          <cx:pt idx="14136">0</cx:pt>
          <cx:pt idx="14137">0</cx:pt>
          <cx:pt idx="14138">0</cx:pt>
          <cx:pt idx="14139">0</cx:pt>
          <cx:pt idx="14140">1</cx:pt>
          <cx:pt idx="14141">1</cx:pt>
          <cx:pt idx="14142">0</cx:pt>
          <cx:pt idx="14143">1</cx:pt>
          <cx:pt idx="14144">0</cx:pt>
          <cx:pt idx="14145">1</cx:pt>
          <cx:pt idx="14146">0</cx:pt>
          <cx:pt idx="14147">1</cx:pt>
          <cx:pt idx="14148">1</cx:pt>
          <cx:pt idx="14149">1</cx:pt>
          <cx:pt idx="14150">1</cx:pt>
          <cx:pt idx="14151">0</cx:pt>
          <cx:pt idx="14152">0</cx:pt>
          <cx:pt idx="14153">1</cx:pt>
          <cx:pt idx="14154">1</cx:pt>
          <cx:pt idx="14155">0</cx:pt>
          <cx:pt idx="14156">1</cx:pt>
          <cx:pt idx="14157">0</cx:pt>
          <cx:pt idx="14158">0</cx:pt>
          <cx:pt idx="14159">1</cx:pt>
          <cx:pt idx="14160">0</cx:pt>
          <cx:pt idx="14161">1</cx:pt>
          <cx:pt idx="14162">0</cx:pt>
          <cx:pt idx="14163">1</cx:pt>
          <cx:pt idx="14164">0</cx:pt>
          <cx:pt idx="14165">0</cx:pt>
          <cx:pt idx="14166">1</cx:pt>
          <cx:pt idx="14167">0</cx:pt>
          <cx:pt idx="14168">1</cx:pt>
          <cx:pt idx="14169">1</cx:pt>
          <cx:pt idx="14170">1</cx:pt>
          <cx:pt idx="14171">0</cx:pt>
          <cx:pt idx="14172">1</cx:pt>
          <cx:pt idx="14173">1</cx:pt>
          <cx:pt idx="14174">0</cx:pt>
          <cx:pt idx="14175">0</cx:pt>
          <cx:pt idx="14176">0</cx:pt>
          <cx:pt idx="14177">0</cx:pt>
          <cx:pt idx="14178">0</cx:pt>
          <cx:pt idx="14179">0</cx:pt>
          <cx:pt idx="14180">0</cx:pt>
          <cx:pt idx="14181">1</cx:pt>
          <cx:pt idx="14182">0</cx:pt>
          <cx:pt idx="14183">1</cx:pt>
          <cx:pt idx="14184">1</cx:pt>
          <cx:pt idx="14185">1</cx:pt>
          <cx:pt idx="14186">1</cx:pt>
          <cx:pt idx="14187">1</cx:pt>
          <cx:pt idx="14188">0</cx:pt>
          <cx:pt idx="14189">1</cx:pt>
          <cx:pt idx="14190">1</cx:pt>
          <cx:pt idx="14191">1</cx:pt>
          <cx:pt idx="14192">1</cx:pt>
          <cx:pt idx="14193">0</cx:pt>
          <cx:pt idx="14194">0</cx:pt>
          <cx:pt idx="14195">1</cx:pt>
          <cx:pt idx="14196">0</cx:pt>
          <cx:pt idx="14197">1</cx:pt>
          <cx:pt idx="14198">0</cx:pt>
          <cx:pt idx="14199">1</cx:pt>
          <cx:pt idx="14200">0</cx:pt>
          <cx:pt idx="14201">0</cx:pt>
          <cx:pt idx="14202">0</cx:pt>
          <cx:pt idx="14203">1</cx:pt>
          <cx:pt idx="14204">0</cx:pt>
          <cx:pt idx="14205">1</cx:pt>
          <cx:pt idx="14206">1</cx:pt>
          <cx:pt idx="14207">0</cx:pt>
          <cx:pt idx="14208">0</cx:pt>
          <cx:pt idx="14209">0</cx:pt>
          <cx:pt idx="14210">0</cx:pt>
          <cx:pt idx="14211">1</cx:pt>
          <cx:pt idx="14212">1</cx:pt>
          <cx:pt idx="14213">0</cx:pt>
          <cx:pt idx="14214">0</cx:pt>
          <cx:pt idx="14215">0</cx:pt>
          <cx:pt idx="14216">0</cx:pt>
          <cx:pt idx="14217">1</cx:pt>
          <cx:pt idx="14218">0</cx:pt>
          <cx:pt idx="14219">1</cx:pt>
          <cx:pt idx="14220">0</cx:pt>
          <cx:pt idx="14221">0</cx:pt>
          <cx:pt idx="14222">0</cx:pt>
          <cx:pt idx="14223">0</cx:pt>
          <cx:pt idx="14224">1</cx:pt>
          <cx:pt idx="14225">1</cx:pt>
          <cx:pt idx="14226">1</cx:pt>
          <cx:pt idx="14227">1</cx:pt>
          <cx:pt idx="14228">1</cx:pt>
          <cx:pt idx="14229">0</cx:pt>
          <cx:pt idx="14230">1</cx:pt>
          <cx:pt idx="14231">0</cx:pt>
          <cx:pt idx="14232">0</cx:pt>
          <cx:pt idx="14233">0</cx:pt>
          <cx:pt idx="14234">1</cx:pt>
          <cx:pt idx="14235">0</cx:pt>
          <cx:pt idx="14236">1</cx:pt>
          <cx:pt idx="14237">0</cx:pt>
          <cx:pt idx="14238">1</cx:pt>
          <cx:pt idx="14239">0</cx:pt>
          <cx:pt idx="14240">1</cx:pt>
          <cx:pt idx="14241">0</cx:pt>
          <cx:pt idx="14242">1</cx:pt>
          <cx:pt idx="14243">0</cx:pt>
          <cx:pt idx="14244">0</cx:pt>
          <cx:pt idx="14245">0</cx:pt>
          <cx:pt idx="14246">1</cx:pt>
          <cx:pt idx="14247">0</cx:pt>
          <cx:pt idx="14248">1</cx:pt>
          <cx:pt idx="14249">0</cx:pt>
          <cx:pt idx="14250">1</cx:pt>
          <cx:pt idx="14251">1</cx:pt>
          <cx:pt idx="14252">1</cx:pt>
          <cx:pt idx="14253">1</cx:pt>
          <cx:pt idx="14254">1</cx:pt>
          <cx:pt idx="14255">0</cx:pt>
          <cx:pt idx="14256">0</cx:pt>
          <cx:pt idx="14257">1</cx:pt>
          <cx:pt idx="14258">0</cx:pt>
          <cx:pt idx="14259">0</cx:pt>
          <cx:pt idx="14260">1</cx:pt>
          <cx:pt idx="14261">0</cx:pt>
          <cx:pt idx="14262">0</cx:pt>
          <cx:pt idx="14263">1</cx:pt>
          <cx:pt idx="14264">1</cx:pt>
          <cx:pt idx="14265">1</cx:pt>
          <cx:pt idx="14266">1</cx:pt>
          <cx:pt idx="14267">0</cx:pt>
          <cx:pt idx="14268">1</cx:pt>
          <cx:pt idx="14269">0</cx:pt>
          <cx:pt idx="14270">0</cx:pt>
          <cx:pt idx="14271">0</cx:pt>
          <cx:pt idx="14272">1</cx:pt>
          <cx:pt idx="14273">1</cx:pt>
          <cx:pt idx="14274">0</cx:pt>
          <cx:pt idx="14275">0</cx:pt>
          <cx:pt idx="14276">1</cx:pt>
          <cx:pt idx="14277">0</cx:pt>
          <cx:pt idx="14278">1</cx:pt>
          <cx:pt idx="14279">0</cx:pt>
          <cx:pt idx="14280">0</cx:pt>
          <cx:pt idx="14281">0</cx:pt>
          <cx:pt idx="14282">1</cx:pt>
          <cx:pt idx="14283">0</cx:pt>
          <cx:pt idx="14284">0</cx:pt>
          <cx:pt idx="14285">1</cx:pt>
          <cx:pt idx="14286">0</cx:pt>
          <cx:pt idx="14287">1</cx:pt>
          <cx:pt idx="14288">0</cx:pt>
          <cx:pt idx="14289">1</cx:pt>
          <cx:pt idx="14290">1</cx:pt>
          <cx:pt idx="14291">0</cx:pt>
          <cx:pt idx="14292">1</cx:pt>
          <cx:pt idx="14293">1</cx:pt>
          <cx:pt idx="14294">1</cx:pt>
          <cx:pt idx="14295">1</cx:pt>
          <cx:pt idx="14296">0</cx:pt>
          <cx:pt idx="14297">0</cx:pt>
          <cx:pt idx="14298">1</cx:pt>
          <cx:pt idx="14299">1</cx:pt>
          <cx:pt idx="14300">0</cx:pt>
          <cx:pt idx="14301">0</cx:pt>
          <cx:pt idx="14302">1</cx:pt>
          <cx:pt idx="14303">0</cx:pt>
          <cx:pt idx="14304">1</cx:pt>
          <cx:pt idx="14305">1</cx:pt>
          <cx:pt idx="14306">1</cx:pt>
          <cx:pt idx="14307">0</cx:pt>
          <cx:pt idx="14308">0</cx:pt>
          <cx:pt idx="14309">0</cx:pt>
          <cx:pt idx="14310">0</cx:pt>
          <cx:pt idx="14311">0</cx:pt>
          <cx:pt idx="14312">0</cx:pt>
          <cx:pt idx="14313">0</cx:pt>
          <cx:pt idx="14314">0</cx:pt>
          <cx:pt idx="14315">0</cx:pt>
          <cx:pt idx="14316">0</cx:pt>
          <cx:pt idx="14317">0</cx:pt>
          <cx:pt idx="14318">0</cx:pt>
          <cx:pt idx="14319">0</cx:pt>
          <cx:pt idx="14320">0</cx:pt>
          <cx:pt idx="14321">0</cx:pt>
          <cx:pt idx="14322">1</cx:pt>
          <cx:pt idx="14323">1</cx:pt>
          <cx:pt idx="14324">1</cx:pt>
          <cx:pt idx="14325">1</cx:pt>
          <cx:pt idx="14326">0</cx:pt>
          <cx:pt idx="14327">0</cx:pt>
          <cx:pt idx="14328">0</cx:pt>
          <cx:pt idx="14329">0</cx:pt>
          <cx:pt idx="14330">0</cx:pt>
          <cx:pt idx="14331">0</cx:pt>
          <cx:pt idx="14332">1</cx:pt>
          <cx:pt idx="14333">0</cx:pt>
          <cx:pt idx="14334">0</cx:pt>
          <cx:pt idx="14335">1</cx:pt>
          <cx:pt idx="14336">1</cx:pt>
          <cx:pt idx="14337">0</cx:pt>
          <cx:pt idx="14338">0</cx:pt>
          <cx:pt idx="14339">0</cx:pt>
          <cx:pt idx="14340">0</cx:pt>
          <cx:pt idx="14341">0</cx:pt>
          <cx:pt idx="14342">0</cx:pt>
          <cx:pt idx="14343">0</cx:pt>
          <cx:pt idx="14344">1</cx:pt>
          <cx:pt idx="14345">1</cx:pt>
          <cx:pt idx="14346">0</cx:pt>
          <cx:pt idx="14347">0</cx:pt>
          <cx:pt idx="14348">1</cx:pt>
          <cx:pt idx="14349">0</cx:pt>
          <cx:pt idx="14350">0</cx:pt>
          <cx:pt idx="14351">0</cx:pt>
          <cx:pt idx="14352">0</cx:pt>
          <cx:pt idx="14353">0</cx:pt>
          <cx:pt idx="14354">1</cx:pt>
          <cx:pt idx="14355">1</cx:pt>
          <cx:pt idx="14356">1</cx:pt>
          <cx:pt idx="14357">0</cx:pt>
          <cx:pt idx="14358">0</cx:pt>
          <cx:pt idx="14359">0</cx:pt>
          <cx:pt idx="14360">0</cx:pt>
          <cx:pt idx="14361">1</cx:pt>
          <cx:pt idx="14362">0</cx:pt>
          <cx:pt idx="14363">1</cx:pt>
          <cx:pt idx="14364">1</cx:pt>
          <cx:pt idx="14365">1</cx:pt>
          <cx:pt idx="14366">1</cx:pt>
          <cx:pt idx="14367">1</cx:pt>
          <cx:pt idx="14368">1</cx:pt>
          <cx:pt idx="14369">1</cx:pt>
          <cx:pt idx="14370">0</cx:pt>
          <cx:pt idx="14371">1</cx:pt>
          <cx:pt idx="14372">0</cx:pt>
          <cx:pt idx="14373">0</cx:pt>
          <cx:pt idx="14374">0</cx:pt>
          <cx:pt idx="14375">1</cx:pt>
          <cx:pt idx="14376">1</cx:pt>
          <cx:pt idx="14377">1</cx:pt>
          <cx:pt idx="14378">0</cx:pt>
          <cx:pt idx="14379">1</cx:pt>
          <cx:pt idx="14380">1</cx:pt>
          <cx:pt idx="14381">0</cx:pt>
          <cx:pt idx="14382">1</cx:pt>
          <cx:pt idx="14383">1</cx:pt>
          <cx:pt idx="14384">0</cx:pt>
          <cx:pt idx="14385">0</cx:pt>
          <cx:pt idx="14386">0</cx:pt>
          <cx:pt idx="14387">1</cx:pt>
          <cx:pt idx="14388">0</cx:pt>
          <cx:pt idx="14389">1</cx:pt>
          <cx:pt idx="14390">1</cx:pt>
          <cx:pt idx="14391">0</cx:pt>
          <cx:pt idx="14392">0</cx:pt>
          <cx:pt idx="14393">1</cx:pt>
          <cx:pt idx="14394">0</cx:pt>
          <cx:pt idx="14395">0</cx:pt>
          <cx:pt idx="14396">0</cx:pt>
          <cx:pt idx="14397">0</cx:pt>
          <cx:pt idx="14398">0</cx:pt>
          <cx:pt idx="14399">1</cx:pt>
          <cx:pt idx="14400">1</cx:pt>
          <cx:pt idx="14401">0</cx:pt>
          <cx:pt idx="14402">0</cx:pt>
          <cx:pt idx="14403">1</cx:pt>
          <cx:pt idx="14404">0</cx:pt>
          <cx:pt idx="14405">0</cx:pt>
          <cx:pt idx="14406">0</cx:pt>
          <cx:pt idx="14407">1</cx:pt>
          <cx:pt idx="14408">0</cx:pt>
          <cx:pt idx="14409">0</cx:pt>
          <cx:pt idx="14410">1</cx:pt>
          <cx:pt idx="14411">1</cx:pt>
          <cx:pt idx="14412">0</cx:pt>
          <cx:pt idx="14413">1</cx:pt>
          <cx:pt idx="14414">0</cx:pt>
          <cx:pt idx="14415">0</cx:pt>
          <cx:pt idx="14416">1</cx:pt>
          <cx:pt idx="14417">0</cx:pt>
          <cx:pt idx="14418">0</cx:pt>
          <cx:pt idx="14419">0</cx:pt>
          <cx:pt idx="14420">0</cx:pt>
          <cx:pt idx="14421">0</cx:pt>
          <cx:pt idx="14422">1</cx:pt>
          <cx:pt idx="14423">0</cx:pt>
          <cx:pt idx="14424">0</cx:pt>
          <cx:pt idx="14425">1</cx:pt>
          <cx:pt idx="14426">1</cx:pt>
          <cx:pt idx="14427">0</cx:pt>
          <cx:pt idx="14428">0</cx:pt>
          <cx:pt idx="14429">0</cx:pt>
          <cx:pt idx="14430">0</cx:pt>
          <cx:pt idx="14431">0</cx:pt>
          <cx:pt idx="14432">0</cx:pt>
          <cx:pt idx="14433">1</cx:pt>
          <cx:pt idx="14434">0</cx:pt>
          <cx:pt idx="14435">0</cx:pt>
          <cx:pt idx="14436">0</cx:pt>
          <cx:pt idx="14437">1</cx:pt>
          <cx:pt idx="14438">0</cx:pt>
          <cx:pt idx="14439">1</cx:pt>
          <cx:pt idx="14440">1</cx:pt>
          <cx:pt idx="14441">0</cx:pt>
          <cx:pt idx="14442">0</cx:pt>
          <cx:pt idx="14443">1</cx:pt>
          <cx:pt idx="14444">0</cx:pt>
          <cx:pt idx="14445">0</cx:pt>
          <cx:pt idx="14446">1</cx:pt>
          <cx:pt idx="14447">1</cx:pt>
          <cx:pt idx="14448">1</cx:pt>
          <cx:pt idx="14449">0</cx:pt>
          <cx:pt idx="14450">0</cx:pt>
          <cx:pt idx="14451">0</cx:pt>
          <cx:pt idx="14452">1</cx:pt>
          <cx:pt idx="14453">0</cx:pt>
          <cx:pt idx="14454">0</cx:pt>
          <cx:pt idx="14455">1</cx:pt>
          <cx:pt idx="14456">0</cx:pt>
          <cx:pt idx="14457">1</cx:pt>
          <cx:pt idx="14458">1</cx:pt>
          <cx:pt idx="14459">0</cx:pt>
          <cx:pt idx="14460">0</cx:pt>
          <cx:pt idx="14461">1</cx:pt>
          <cx:pt idx="14462">1</cx:pt>
          <cx:pt idx="14463">0</cx:pt>
          <cx:pt idx="14464">1</cx:pt>
          <cx:pt idx="14465">0</cx:pt>
          <cx:pt idx="14466">0</cx:pt>
          <cx:pt idx="14467">1</cx:pt>
          <cx:pt idx="14468">0</cx:pt>
          <cx:pt idx="14469">0</cx:pt>
          <cx:pt idx="14470">0</cx:pt>
          <cx:pt idx="14471">0</cx:pt>
          <cx:pt idx="14472">0</cx:pt>
          <cx:pt idx="14473">1</cx:pt>
          <cx:pt idx="14474">0</cx:pt>
          <cx:pt idx="14475">1</cx:pt>
          <cx:pt idx="14476">1</cx:pt>
          <cx:pt idx="14477">0</cx:pt>
          <cx:pt idx="14478">0</cx:pt>
          <cx:pt idx="14479">0</cx:pt>
          <cx:pt idx="14480">0</cx:pt>
          <cx:pt idx="14481">0</cx:pt>
          <cx:pt idx="14482">0</cx:pt>
          <cx:pt idx="14483">0</cx:pt>
          <cx:pt idx="14484">0</cx:pt>
          <cx:pt idx="14485">1</cx:pt>
          <cx:pt idx="14486">0</cx:pt>
          <cx:pt idx="14487">1</cx:pt>
          <cx:pt idx="14488">0</cx:pt>
          <cx:pt idx="14489">0</cx:pt>
          <cx:pt idx="14490">1</cx:pt>
          <cx:pt idx="14491">1</cx:pt>
          <cx:pt idx="14492">0</cx:pt>
          <cx:pt idx="14493">0</cx:pt>
          <cx:pt idx="14494">1</cx:pt>
          <cx:pt idx="14495">1</cx:pt>
          <cx:pt idx="14496">0</cx:pt>
          <cx:pt idx="14497">0</cx:pt>
          <cx:pt idx="14498">1</cx:pt>
          <cx:pt idx="14499">1</cx:pt>
          <cx:pt idx="14500">0</cx:pt>
          <cx:pt idx="14501">1</cx:pt>
          <cx:pt idx="14502">0</cx:pt>
          <cx:pt idx="14503">1</cx:pt>
          <cx:pt idx="14504">0</cx:pt>
          <cx:pt idx="14505">0</cx:pt>
          <cx:pt idx="14506">1</cx:pt>
          <cx:pt idx="14507">1</cx:pt>
          <cx:pt idx="14508">1</cx:pt>
          <cx:pt idx="14509">1</cx:pt>
          <cx:pt idx="14510">0</cx:pt>
          <cx:pt idx="14511">1</cx:pt>
          <cx:pt idx="14512">0</cx:pt>
          <cx:pt idx="14513">1</cx:pt>
          <cx:pt idx="14514">0</cx:pt>
          <cx:pt idx="14515">0</cx:pt>
          <cx:pt idx="14516">1</cx:pt>
          <cx:pt idx="14517">1</cx:pt>
          <cx:pt idx="14518">0</cx:pt>
          <cx:pt idx="14519">1</cx:pt>
          <cx:pt idx="14520">1</cx:pt>
          <cx:pt idx="14521">0</cx:pt>
          <cx:pt idx="14522">1</cx:pt>
          <cx:pt idx="14523">1</cx:pt>
          <cx:pt idx="14524">1</cx:pt>
          <cx:pt idx="14525">1</cx:pt>
          <cx:pt idx="14526">0</cx:pt>
          <cx:pt idx="14527">0</cx:pt>
          <cx:pt idx="14528">1</cx:pt>
          <cx:pt idx="14529">1</cx:pt>
          <cx:pt idx="14530">0</cx:pt>
          <cx:pt idx="14531">1</cx:pt>
          <cx:pt idx="14532">1</cx:pt>
          <cx:pt idx="14533">0</cx:pt>
          <cx:pt idx="14534">1</cx:pt>
          <cx:pt idx="14535">1</cx:pt>
          <cx:pt idx="14536">0</cx:pt>
          <cx:pt idx="14537">1</cx:pt>
          <cx:pt idx="14538">0</cx:pt>
          <cx:pt idx="14539">1</cx:pt>
          <cx:pt idx="14540">0</cx:pt>
          <cx:pt idx="14541">0</cx:pt>
          <cx:pt idx="14542">0</cx:pt>
          <cx:pt idx="14543">1</cx:pt>
          <cx:pt idx="14544">0</cx:pt>
          <cx:pt idx="14545">0</cx:pt>
          <cx:pt idx="14546">0</cx:pt>
          <cx:pt idx="14547">0</cx:pt>
          <cx:pt idx="14548">1</cx:pt>
          <cx:pt idx="14549">1</cx:pt>
          <cx:pt idx="14550">0</cx:pt>
          <cx:pt idx="14551">0</cx:pt>
          <cx:pt idx="14552">1</cx:pt>
          <cx:pt idx="14553">1</cx:pt>
          <cx:pt idx="14554">1</cx:pt>
          <cx:pt idx="14555">0</cx:pt>
          <cx:pt idx="14556">1</cx:pt>
          <cx:pt idx="14557">0</cx:pt>
          <cx:pt idx="14558">1</cx:pt>
          <cx:pt idx="14559">0</cx:pt>
          <cx:pt idx="14560">0</cx:pt>
          <cx:pt idx="14561">0</cx:pt>
          <cx:pt idx="14562">0</cx:pt>
          <cx:pt idx="14563">1</cx:pt>
          <cx:pt idx="14564">0</cx:pt>
          <cx:pt idx="14565">0</cx:pt>
          <cx:pt idx="14566">0</cx:pt>
          <cx:pt idx="14567">0</cx:pt>
          <cx:pt idx="14568">1</cx:pt>
          <cx:pt idx="14569">1</cx:pt>
          <cx:pt idx="14570">1</cx:pt>
          <cx:pt idx="14571">1</cx:pt>
          <cx:pt idx="14572">0</cx:pt>
          <cx:pt idx="14573">0</cx:pt>
          <cx:pt idx="14574">1</cx:pt>
          <cx:pt idx="14575">0</cx:pt>
          <cx:pt idx="14576">1</cx:pt>
          <cx:pt idx="14577">0</cx:pt>
          <cx:pt idx="14578">0</cx:pt>
          <cx:pt idx="14579">1</cx:pt>
          <cx:pt idx="14580">1</cx:pt>
          <cx:pt idx="14581">0</cx:pt>
          <cx:pt idx="14582">1</cx:pt>
          <cx:pt idx="14583">0</cx:pt>
          <cx:pt idx="14584">0</cx:pt>
          <cx:pt idx="14585">0</cx:pt>
          <cx:pt idx="14586">1</cx:pt>
          <cx:pt idx="14587">0</cx:pt>
          <cx:pt idx="14588">1</cx:pt>
          <cx:pt idx="14589">0</cx:pt>
          <cx:pt idx="14590">0</cx:pt>
          <cx:pt idx="14591">0</cx:pt>
          <cx:pt idx="14592">0</cx:pt>
          <cx:pt idx="14593">0</cx:pt>
          <cx:pt idx="14594">0</cx:pt>
          <cx:pt idx="14595">0</cx:pt>
          <cx:pt idx="14596">0</cx:pt>
          <cx:pt idx="14597">1</cx:pt>
          <cx:pt idx="14598">1</cx:pt>
          <cx:pt idx="14599">1</cx:pt>
          <cx:pt idx="14600">0</cx:pt>
          <cx:pt idx="14601">0</cx:pt>
          <cx:pt idx="14602">1</cx:pt>
          <cx:pt idx="14603">0</cx:pt>
          <cx:pt idx="14604">0</cx:pt>
          <cx:pt idx="14605">1</cx:pt>
          <cx:pt idx="14606">0</cx:pt>
          <cx:pt idx="14607">0</cx:pt>
          <cx:pt idx="14608">1</cx:pt>
          <cx:pt idx="14609">1</cx:pt>
          <cx:pt idx="14610">1</cx:pt>
          <cx:pt idx="14611">0</cx:pt>
          <cx:pt idx="14612">1</cx:pt>
          <cx:pt idx="14613">0</cx:pt>
          <cx:pt idx="14614">0</cx:pt>
          <cx:pt idx="14615">1</cx:pt>
          <cx:pt idx="14616">0</cx:pt>
          <cx:pt idx="14617">1</cx:pt>
          <cx:pt idx="14618">1</cx:pt>
          <cx:pt idx="14619">0</cx:pt>
          <cx:pt idx="14620">0</cx:pt>
          <cx:pt idx="14621">1</cx:pt>
          <cx:pt idx="14622">0</cx:pt>
          <cx:pt idx="14623">1</cx:pt>
          <cx:pt idx="14624">0</cx:pt>
          <cx:pt idx="14625">1</cx:pt>
          <cx:pt idx="14626">0</cx:pt>
          <cx:pt idx="14627">0</cx:pt>
          <cx:pt idx="14628">1</cx:pt>
          <cx:pt idx="14629">1</cx:pt>
          <cx:pt idx="14630">0</cx:pt>
          <cx:pt idx="14631">0</cx:pt>
          <cx:pt idx="14632">1</cx:pt>
          <cx:pt idx="14633">1</cx:pt>
          <cx:pt idx="14634">0</cx:pt>
          <cx:pt idx="14635">0</cx:pt>
          <cx:pt idx="14636">1</cx:pt>
          <cx:pt idx="14637">1</cx:pt>
          <cx:pt idx="14638">0</cx:pt>
          <cx:pt idx="14639">0</cx:pt>
          <cx:pt idx="14640">1</cx:pt>
          <cx:pt idx="14641">0</cx:pt>
          <cx:pt idx="14642">1</cx:pt>
          <cx:pt idx="14643">0</cx:pt>
          <cx:pt idx="14644">1</cx:pt>
          <cx:pt idx="14645">0</cx:pt>
          <cx:pt idx="14646">1</cx:pt>
          <cx:pt idx="14647">0</cx:pt>
          <cx:pt idx="14648">0</cx:pt>
          <cx:pt idx="14649">1</cx:pt>
          <cx:pt idx="14650">0</cx:pt>
          <cx:pt idx="14651">1</cx:pt>
          <cx:pt idx="14652">1</cx:pt>
          <cx:pt idx="14653">1</cx:pt>
          <cx:pt idx="14654">0</cx:pt>
          <cx:pt idx="14655">1</cx:pt>
          <cx:pt idx="14656">0</cx:pt>
          <cx:pt idx="14657">1</cx:pt>
          <cx:pt idx="14658">0</cx:pt>
          <cx:pt idx="14659">1</cx:pt>
          <cx:pt idx="14660">0</cx:pt>
          <cx:pt idx="14661">1</cx:pt>
          <cx:pt idx="14662">0</cx:pt>
          <cx:pt idx="14663">0</cx:pt>
          <cx:pt idx="14664">1</cx:pt>
          <cx:pt idx="14665">1</cx:pt>
          <cx:pt idx="14666">1</cx:pt>
          <cx:pt idx="14667">0</cx:pt>
          <cx:pt idx="14668">0</cx:pt>
          <cx:pt idx="14669">0</cx:pt>
          <cx:pt idx="14670">0</cx:pt>
          <cx:pt idx="14671">1</cx:pt>
          <cx:pt idx="14672">0</cx:pt>
          <cx:pt idx="14673">0</cx:pt>
          <cx:pt idx="14674">1</cx:pt>
          <cx:pt idx="14675">1</cx:pt>
          <cx:pt idx="14676">0</cx:pt>
          <cx:pt idx="14677">0</cx:pt>
          <cx:pt idx="14678">1</cx:pt>
          <cx:pt idx="14679">0</cx:pt>
          <cx:pt idx="14680">1</cx:pt>
          <cx:pt idx="14681">0</cx:pt>
          <cx:pt idx="14682">1</cx:pt>
          <cx:pt idx="14683">0</cx:pt>
          <cx:pt idx="14684">0</cx:pt>
          <cx:pt idx="14685">0</cx:pt>
          <cx:pt idx="14686">0</cx:pt>
          <cx:pt idx="14687">0</cx:pt>
          <cx:pt idx="14688">0</cx:pt>
          <cx:pt idx="14689">0</cx:pt>
          <cx:pt idx="14690">0</cx:pt>
          <cx:pt idx="14691">0</cx:pt>
          <cx:pt idx="14692">1</cx:pt>
          <cx:pt idx="14693">1</cx:pt>
          <cx:pt idx="14694">0</cx:pt>
          <cx:pt idx="14695">0</cx:pt>
          <cx:pt idx="14696">1</cx:pt>
          <cx:pt idx="14697">0</cx:pt>
          <cx:pt idx="14698">1</cx:pt>
          <cx:pt idx="14699">1</cx:pt>
          <cx:pt idx="14700">0</cx:pt>
          <cx:pt idx="14701">1</cx:pt>
          <cx:pt idx="14702">0</cx:pt>
          <cx:pt idx="14703">1</cx:pt>
          <cx:pt idx="14704">1</cx:pt>
          <cx:pt idx="14705">0</cx:pt>
          <cx:pt idx="14706">1</cx:pt>
          <cx:pt idx="14707">0</cx:pt>
          <cx:pt idx="14708">1</cx:pt>
          <cx:pt idx="14709">0</cx:pt>
          <cx:pt idx="14710">1</cx:pt>
          <cx:pt idx="14711">0</cx:pt>
          <cx:pt idx="14712">0</cx:pt>
          <cx:pt idx="14713">1</cx:pt>
          <cx:pt idx="14714">1</cx:pt>
          <cx:pt idx="14715">1</cx:pt>
          <cx:pt idx="14716">0</cx:pt>
          <cx:pt idx="14717">0</cx:pt>
          <cx:pt idx="14718">0</cx:pt>
          <cx:pt idx="14719">1</cx:pt>
          <cx:pt idx="14720">1</cx:pt>
          <cx:pt idx="14721">1</cx:pt>
          <cx:pt idx="14722">1</cx:pt>
          <cx:pt idx="14723">0</cx:pt>
          <cx:pt idx="14724">1</cx:pt>
          <cx:pt idx="14725">1</cx:pt>
          <cx:pt idx="14726">1</cx:pt>
          <cx:pt idx="14727">0</cx:pt>
          <cx:pt idx="14728">0</cx:pt>
          <cx:pt idx="14729">0</cx:pt>
          <cx:pt idx="14730">0</cx:pt>
          <cx:pt idx="14731">0</cx:pt>
          <cx:pt idx="14732">1</cx:pt>
          <cx:pt idx="14733">1</cx:pt>
          <cx:pt idx="14734">1</cx:pt>
          <cx:pt idx="14735">1</cx:pt>
          <cx:pt idx="14736">1</cx:pt>
          <cx:pt idx="14737">1</cx:pt>
          <cx:pt idx="14738">0</cx:pt>
          <cx:pt idx="14739">0</cx:pt>
          <cx:pt idx="14740">1</cx:pt>
          <cx:pt idx="14741">0</cx:pt>
          <cx:pt idx="14742">1</cx:pt>
          <cx:pt idx="14743">1</cx:pt>
          <cx:pt idx="14744">1</cx:pt>
          <cx:pt idx="14745">0</cx:pt>
          <cx:pt idx="14746">0</cx:pt>
          <cx:pt idx="14747">0</cx:pt>
          <cx:pt idx="14748">0</cx:pt>
          <cx:pt idx="14749">0</cx:pt>
          <cx:pt idx="14750">1</cx:pt>
          <cx:pt idx="14751">0</cx:pt>
          <cx:pt idx="14752">1</cx:pt>
          <cx:pt idx="14753">1</cx:pt>
          <cx:pt idx="14754">0</cx:pt>
          <cx:pt idx="14755">0</cx:pt>
          <cx:pt idx="14756">0</cx:pt>
          <cx:pt idx="14757">1</cx:pt>
          <cx:pt idx="14758">1</cx:pt>
          <cx:pt idx="14759">0</cx:pt>
          <cx:pt idx="14760">1</cx:pt>
          <cx:pt idx="14761">0</cx:pt>
          <cx:pt idx="14762">0</cx:pt>
          <cx:pt idx="14763">0</cx:pt>
          <cx:pt idx="14764">0</cx:pt>
          <cx:pt idx="14765">1</cx:pt>
          <cx:pt idx="14766">1</cx:pt>
          <cx:pt idx="14767">1</cx:pt>
          <cx:pt idx="14768">1</cx:pt>
          <cx:pt idx="14769">0</cx:pt>
          <cx:pt idx="14770">1</cx:pt>
          <cx:pt idx="14771">0</cx:pt>
          <cx:pt idx="14772">0</cx:pt>
          <cx:pt idx="14773">0</cx:pt>
          <cx:pt idx="14774">0</cx:pt>
          <cx:pt idx="14775">1</cx:pt>
          <cx:pt idx="14776">0</cx:pt>
          <cx:pt idx="14777">1</cx:pt>
          <cx:pt idx="14778">1</cx:pt>
          <cx:pt idx="14779">0</cx:pt>
          <cx:pt idx="14780">1</cx:pt>
          <cx:pt idx="14781">0</cx:pt>
          <cx:pt idx="14782">1</cx:pt>
          <cx:pt idx="14783">1</cx:pt>
          <cx:pt idx="14784">1</cx:pt>
          <cx:pt idx="14785">0</cx:pt>
          <cx:pt idx="14786">1</cx:pt>
          <cx:pt idx="14787">1</cx:pt>
          <cx:pt idx="14788">0</cx:pt>
          <cx:pt idx="14789">1</cx:pt>
          <cx:pt idx="14790">1</cx:pt>
          <cx:pt idx="14791">0</cx:pt>
          <cx:pt idx="14792">1</cx:pt>
          <cx:pt idx="14793">0</cx:pt>
          <cx:pt idx="14794">1</cx:pt>
          <cx:pt idx="14795">1</cx:pt>
          <cx:pt idx="14796">0</cx:pt>
          <cx:pt idx="14797">1</cx:pt>
          <cx:pt idx="14798">1</cx:pt>
          <cx:pt idx="14799">0</cx:pt>
          <cx:pt idx="14800">1</cx:pt>
          <cx:pt idx="14801">1</cx:pt>
          <cx:pt idx="14802">1</cx:pt>
          <cx:pt idx="14803">0</cx:pt>
          <cx:pt idx="14804">1</cx:pt>
          <cx:pt idx="14805">1</cx:pt>
          <cx:pt idx="14806">0</cx:pt>
          <cx:pt idx="14807">1</cx:pt>
          <cx:pt idx="14808">1</cx:pt>
          <cx:pt idx="14809">0</cx:pt>
          <cx:pt idx="14810">0</cx:pt>
          <cx:pt idx="14811">1</cx:pt>
          <cx:pt idx="14812">1</cx:pt>
          <cx:pt idx="14813">1</cx:pt>
          <cx:pt idx="14814">1</cx:pt>
          <cx:pt idx="14815">1</cx:pt>
          <cx:pt idx="14816">1</cx:pt>
          <cx:pt idx="14817">0</cx:pt>
          <cx:pt idx="14818">0</cx:pt>
          <cx:pt idx="14819">0</cx:pt>
          <cx:pt idx="14820">0</cx:pt>
          <cx:pt idx="14821">1</cx:pt>
          <cx:pt idx="14822">1</cx:pt>
          <cx:pt idx="14823">0</cx:pt>
          <cx:pt idx="14824">1</cx:pt>
          <cx:pt idx="14825">1</cx:pt>
          <cx:pt idx="14826">0</cx:pt>
          <cx:pt idx="14827">1</cx:pt>
          <cx:pt idx="14828">1</cx:pt>
          <cx:pt idx="14829">1</cx:pt>
          <cx:pt idx="14830">0</cx:pt>
          <cx:pt idx="14831">0</cx:pt>
          <cx:pt idx="14832">0</cx:pt>
          <cx:pt idx="14833">0</cx:pt>
          <cx:pt idx="14834">1</cx:pt>
          <cx:pt idx="14835">0</cx:pt>
          <cx:pt idx="14836">0</cx:pt>
          <cx:pt idx="14837">1</cx:pt>
          <cx:pt idx="14838">1</cx:pt>
          <cx:pt idx="14839">1</cx:pt>
          <cx:pt idx="14840">0</cx:pt>
          <cx:pt idx="14841">0</cx:pt>
          <cx:pt idx="14842">0</cx:pt>
          <cx:pt idx="14843">0</cx:pt>
          <cx:pt idx="14844">1</cx:pt>
          <cx:pt idx="14845">1</cx:pt>
          <cx:pt idx="14846">0</cx:pt>
          <cx:pt idx="14847">0</cx:pt>
          <cx:pt idx="14848">1</cx:pt>
          <cx:pt idx="14849">0</cx:pt>
          <cx:pt idx="14850">1</cx:pt>
          <cx:pt idx="14851">0</cx:pt>
          <cx:pt idx="14852">0</cx:pt>
          <cx:pt idx="14853">0</cx:pt>
          <cx:pt idx="14854">0</cx:pt>
          <cx:pt idx="14855">1</cx:pt>
          <cx:pt idx="14856">0</cx:pt>
          <cx:pt idx="14857">1</cx:pt>
          <cx:pt idx="14858">1</cx:pt>
          <cx:pt idx="14859">0</cx:pt>
          <cx:pt idx="14860">0</cx:pt>
          <cx:pt idx="14861">0</cx:pt>
          <cx:pt idx="14862">1</cx:pt>
          <cx:pt idx="14863">1</cx:pt>
          <cx:pt idx="14864">0</cx:pt>
          <cx:pt idx="14865">0</cx:pt>
          <cx:pt idx="14866">0</cx:pt>
          <cx:pt idx="14867">0</cx:pt>
          <cx:pt idx="14868">0</cx:pt>
          <cx:pt idx="14869">1</cx:pt>
          <cx:pt idx="14870">0</cx:pt>
          <cx:pt idx="14871">0</cx:pt>
          <cx:pt idx="14872">0</cx:pt>
          <cx:pt idx="14873">1</cx:pt>
          <cx:pt idx="14874">1</cx:pt>
          <cx:pt idx="14875">1</cx:pt>
          <cx:pt idx="14876">0</cx:pt>
          <cx:pt idx="14877">0</cx:pt>
          <cx:pt idx="14878">0</cx:pt>
          <cx:pt idx="14879">0</cx:pt>
          <cx:pt idx="14880">1</cx:pt>
          <cx:pt idx="14881">1</cx:pt>
          <cx:pt idx="14882">1</cx:pt>
          <cx:pt idx="14883">0</cx:pt>
          <cx:pt idx="14884">0</cx:pt>
          <cx:pt idx="14885">0</cx:pt>
          <cx:pt idx="14886">0</cx:pt>
          <cx:pt idx="14887">1</cx:pt>
          <cx:pt idx="14888">1</cx:pt>
          <cx:pt idx="14889">0</cx:pt>
          <cx:pt idx="14890">1</cx:pt>
          <cx:pt idx="14891">1</cx:pt>
          <cx:pt idx="14892">0</cx:pt>
          <cx:pt idx="14893">0</cx:pt>
          <cx:pt idx="14894">0</cx:pt>
          <cx:pt idx="14895">1</cx:pt>
          <cx:pt idx="14896">0</cx:pt>
          <cx:pt idx="14897">1</cx:pt>
          <cx:pt idx="14898">0</cx:pt>
          <cx:pt idx="14899">0</cx:pt>
          <cx:pt idx="14900">1</cx:pt>
          <cx:pt idx="14901">0</cx:pt>
          <cx:pt idx="14902">0</cx:pt>
          <cx:pt idx="14903">1</cx:pt>
          <cx:pt idx="14904">1</cx:pt>
          <cx:pt idx="14905">0</cx:pt>
          <cx:pt idx="14906">1</cx:pt>
          <cx:pt idx="14907">1</cx:pt>
          <cx:pt idx="14908">0</cx:pt>
          <cx:pt idx="14909">0</cx:pt>
          <cx:pt idx="14910">1</cx:pt>
          <cx:pt idx="14911">1</cx:pt>
          <cx:pt idx="14912">0</cx:pt>
          <cx:pt idx="14913">0</cx:pt>
          <cx:pt idx="14914">1</cx:pt>
          <cx:pt idx="14915">1</cx:pt>
          <cx:pt idx="14916">1</cx:pt>
          <cx:pt idx="14917">1</cx:pt>
          <cx:pt idx="14918">0</cx:pt>
          <cx:pt idx="14919">0</cx:pt>
          <cx:pt idx="14920">1</cx:pt>
          <cx:pt idx="14921">0</cx:pt>
          <cx:pt idx="14922">1</cx:pt>
          <cx:pt idx="14923">0</cx:pt>
          <cx:pt idx="14924">1</cx:pt>
          <cx:pt idx="14925">0</cx:pt>
          <cx:pt idx="14926">0</cx:pt>
          <cx:pt idx="14927">0</cx:pt>
          <cx:pt idx="14928">0</cx:pt>
          <cx:pt idx="14929">0</cx:pt>
          <cx:pt idx="14930">0</cx:pt>
          <cx:pt idx="14931">0</cx:pt>
          <cx:pt idx="14932">1</cx:pt>
          <cx:pt idx="14933">0</cx:pt>
          <cx:pt idx="14934">1</cx:pt>
          <cx:pt idx="14935">0</cx:pt>
          <cx:pt idx="14936">1</cx:pt>
          <cx:pt idx="14937">1</cx:pt>
          <cx:pt idx="14938">0</cx:pt>
          <cx:pt idx="14939">1</cx:pt>
          <cx:pt idx="14940">0</cx:pt>
          <cx:pt idx="14941">0</cx:pt>
          <cx:pt idx="14942">1</cx:pt>
          <cx:pt idx="14943">0</cx:pt>
          <cx:pt idx="14944">0</cx:pt>
          <cx:pt idx="14945">1</cx:pt>
          <cx:pt idx="14946">0</cx:pt>
          <cx:pt idx="14947">1</cx:pt>
          <cx:pt idx="14948">1</cx:pt>
          <cx:pt idx="14949">0</cx:pt>
          <cx:pt idx="14950">1</cx:pt>
          <cx:pt idx="14951">0</cx:pt>
          <cx:pt idx="14952">0</cx:pt>
          <cx:pt idx="14953">0</cx:pt>
          <cx:pt idx="14954">1</cx:pt>
          <cx:pt idx="14955">0</cx:pt>
          <cx:pt idx="14956">0</cx:pt>
          <cx:pt idx="14957">0</cx:pt>
          <cx:pt idx="14958">0</cx:pt>
          <cx:pt idx="14959">1</cx:pt>
          <cx:pt idx="14960">0</cx:pt>
          <cx:pt idx="14961">0</cx:pt>
          <cx:pt idx="14962">0</cx:pt>
          <cx:pt idx="14963">1</cx:pt>
          <cx:pt idx="14964">0</cx:pt>
          <cx:pt idx="14965">1</cx:pt>
          <cx:pt idx="14966">0</cx:pt>
          <cx:pt idx="14967">1</cx:pt>
          <cx:pt idx="14968">1</cx:pt>
          <cx:pt idx="14969">0</cx:pt>
          <cx:pt idx="14970">1</cx:pt>
          <cx:pt idx="14971">0</cx:pt>
          <cx:pt idx="14972">0</cx:pt>
          <cx:pt idx="14973">1</cx:pt>
          <cx:pt idx="14974">1</cx:pt>
          <cx:pt idx="14975">0</cx:pt>
          <cx:pt idx="14976">0</cx:pt>
          <cx:pt idx="14977">1</cx:pt>
          <cx:pt idx="14978">0</cx:pt>
          <cx:pt idx="14979">1</cx:pt>
          <cx:pt idx="14980">0</cx:pt>
          <cx:pt idx="14981">1</cx:pt>
          <cx:pt idx="14982">1</cx:pt>
          <cx:pt idx="14983">0</cx:pt>
          <cx:pt idx="14984">0</cx:pt>
          <cx:pt idx="14985">0</cx:pt>
          <cx:pt idx="14986">0</cx:pt>
          <cx:pt idx="14987">0</cx:pt>
          <cx:pt idx="14988">0</cx:pt>
          <cx:pt idx="14989">0</cx:pt>
          <cx:pt idx="14990">0</cx:pt>
          <cx:pt idx="14991">0</cx:pt>
          <cx:pt idx="14992">0</cx:pt>
          <cx:pt idx="14993">0</cx:pt>
          <cx:pt idx="14994">0</cx:pt>
          <cx:pt idx="14995">0</cx:pt>
          <cx:pt idx="14996">0</cx:pt>
          <cx:pt idx="14997">1</cx:pt>
          <cx:pt idx="14998">0</cx:pt>
          <cx:pt idx="14999">0</cx:pt>
          <cx:pt idx="15000">0</cx:pt>
          <cx:pt idx="15001">1</cx:pt>
          <cx:pt idx="15002">0</cx:pt>
          <cx:pt idx="15003">0</cx:pt>
          <cx:pt idx="15004">1</cx:pt>
          <cx:pt idx="15005">1</cx:pt>
          <cx:pt idx="15006">1</cx:pt>
          <cx:pt idx="15007">1</cx:pt>
          <cx:pt idx="15008">1</cx:pt>
          <cx:pt idx="15009">0</cx:pt>
          <cx:pt idx="15010">0</cx:pt>
          <cx:pt idx="15011">0</cx:pt>
          <cx:pt idx="15012">0</cx:pt>
          <cx:pt idx="15013">0</cx:pt>
          <cx:pt idx="15014">1</cx:pt>
          <cx:pt idx="15015">0</cx:pt>
          <cx:pt idx="15016">0</cx:pt>
          <cx:pt idx="15017">0</cx:pt>
          <cx:pt idx="15018">0</cx:pt>
          <cx:pt idx="15019">0</cx:pt>
          <cx:pt idx="15020">0</cx:pt>
          <cx:pt idx="15021">1</cx:pt>
          <cx:pt idx="15022">0</cx:pt>
          <cx:pt idx="15023">0</cx:pt>
          <cx:pt idx="15024">1</cx:pt>
          <cx:pt idx="15025">1</cx:pt>
          <cx:pt idx="15026">1</cx:pt>
          <cx:pt idx="15027">0</cx:pt>
          <cx:pt idx="15028">1</cx:pt>
          <cx:pt idx="15029">1</cx:pt>
          <cx:pt idx="15030">1</cx:pt>
          <cx:pt idx="15031">1</cx:pt>
          <cx:pt idx="15032">1</cx:pt>
          <cx:pt idx="15033">0</cx:pt>
          <cx:pt idx="15034">0</cx:pt>
          <cx:pt idx="15035">0</cx:pt>
          <cx:pt idx="15036">0</cx:pt>
          <cx:pt idx="15037">0</cx:pt>
          <cx:pt idx="15038">1</cx:pt>
          <cx:pt idx="15039">1</cx:pt>
          <cx:pt idx="15040">0</cx:pt>
          <cx:pt idx="15041">1</cx:pt>
          <cx:pt idx="15042">0</cx:pt>
          <cx:pt idx="15043">0</cx:pt>
          <cx:pt idx="15044">0</cx:pt>
          <cx:pt idx="15045">1</cx:pt>
          <cx:pt idx="15046">1</cx:pt>
          <cx:pt idx="15047">1</cx:pt>
          <cx:pt idx="15048">0</cx:pt>
          <cx:pt idx="15049">0</cx:pt>
          <cx:pt idx="15050">1</cx:pt>
          <cx:pt idx="15051">1</cx:pt>
          <cx:pt idx="15052">1</cx:pt>
          <cx:pt idx="15053">0</cx:pt>
          <cx:pt idx="15054">1</cx:pt>
          <cx:pt idx="15055">1</cx:pt>
          <cx:pt idx="15056">1</cx:pt>
          <cx:pt idx="15057">0</cx:pt>
          <cx:pt idx="15058">1</cx:pt>
          <cx:pt idx="15059">1</cx:pt>
          <cx:pt idx="15060">1</cx:pt>
          <cx:pt idx="15061">0</cx:pt>
          <cx:pt idx="15062">1</cx:pt>
          <cx:pt idx="15063">1</cx:pt>
          <cx:pt idx="15064">1</cx:pt>
          <cx:pt idx="15065">0</cx:pt>
          <cx:pt idx="15066">1</cx:pt>
          <cx:pt idx="15067">1</cx:pt>
          <cx:pt idx="15068">1</cx:pt>
          <cx:pt idx="15069">1</cx:pt>
          <cx:pt idx="15070">1</cx:pt>
          <cx:pt idx="15071">1</cx:pt>
          <cx:pt idx="15072">1</cx:pt>
          <cx:pt idx="15073">0</cx:pt>
          <cx:pt idx="15074">1</cx:pt>
          <cx:pt idx="15075">0</cx:pt>
          <cx:pt idx="15076">0</cx:pt>
          <cx:pt idx="15077">1</cx:pt>
          <cx:pt idx="15078">0</cx:pt>
          <cx:pt idx="15079">0</cx:pt>
          <cx:pt idx="15080">1</cx:pt>
          <cx:pt idx="15081">0</cx:pt>
          <cx:pt idx="15082">0</cx:pt>
          <cx:pt idx="15083">1</cx:pt>
          <cx:pt idx="15084">1</cx:pt>
          <cx:pt idx="15085">1</cx:pt>
          <cx:pt idx="15086">0</cx:pt>
          <cx:pt idx="15087">1</cx:pt>
          <cx:pt idx="15088">1</cx:pt>
          <cx:pt idx="15089">1</cx:pt>
          <cx:pt idx="15090">1</cx:pt>
          <cx:pt idx="15091">1</cx:pt>
          <cx:pt idx="15092">0</cx:pt>
          <cx:pt idx="15093">0</cx:pt>
          <cx:pt idx="15094">0</cx:pt>
          <cx:pt idx="15095">1</cx:pt>
          <cx:pt idx="15096">1</cx:pt>
          <cx:pt idx="15097">1</cx:pt>
          <cx:pt idx="15098">0</cx:pt>
          <cx:pt idx="15099">1</cx:pt>
          <cx:pt idx="15100">0</cx:pt>
          <cx:pt idx="15101">0</cx:pt>
          <cx:pt idx="15102">0</cx:pt>
          <cx:pt idx="15103">1</cx:pt>
          <cx:pt idx="15104">0</cx:pt>
          <cx:pt idx="15105">1</cx:pt>
          <cx:pt idx="15106">1</cx:pt>
          <cx:pt idx="15107">1</cx:pt>
          <cx:pt idx="15108">0</cx:pt>
          <cx:pt idx="15109">1</cx:pt>
          <cx:pt idx="15110">0</cx:pt>
          <cx:pt idx="15111">0</cx:pt>
          <cx:pt idx="15112">1</cx:pt>
          <cx:pt idx="15113">0</cx:pt>
          <cx:pt idx="15114">1</cx:pt>
          <cx:pt idx="15115">0</cx:pt>
          <cx:pt idx="15116">0</cx:pt>
          <cx:pt idx="15117">0</cx:pt>
          <cx:pt idx="15118">0</cx:pt>
          <cx:pt idx="15119">0</cx:pt>
          <cx:pt idx="15120">0</cx:pt>
          <cx:pt idx="15121">0</cx:pt>
          <cx:pt idx="15122">0</cx:pt>
          <cx:pt idx="15123">0</cx:pt>
          <cx:pt idx="15124">1</cx:pt>
          <cx:pt idx="15125">1</cx:pt>
          <cx:pt idx="15126">1</cx:pt>
          <cx:pt idx="15127">1</cx:pt>
          <cx:pt idx="15128">1</cx:pt>
          <cx:pt idx="15129">0</cx:pt>
          <cx:pt idx="15130">1</cx:pt>
          <cx:pt idx="15131">0</cx:pt>
          <cx:pt idx="15132">0</cx:pt>
          <cx:pt idx="15133">1</cx:pt>
          <cx:pt idx="15134">1</cx:pt>
          <cx:pt idx="15135">0</cx:pt>
          <cx:pt idx="15136">1</cx:pt>
          <cx:pt idx="15137">0</cx:pt>
          <cx:pt idx="15138">0</cx:pt>
          <cx:pt idx="15139">0</cx:pt>
          <cx:pt idx="15140">0</cx:pt>
          <cx:pt idx="15141">1</cx:pt>
          <cx:pt idx="15142">0</cx:pt>
          <cx:pt idx="15143">1</cx:pt>
          <cx:pt idx="15144">0</cx:pt>
          <cx:pt idx="15145">0</cx:pt>
          <cx:pt idx="15146">0</cx:pt>
          <cx:pt idx="15147">0</cx:pt>
          <cx:pt idx="15148">1</cx:pt>
          <cx:pt idx="15149">0</cx:pt>
          <cx:pt idx="15150">1</cx:pt>
          <cx:pt idx="15151">0</cx:pt>
          <cx:pt idx="15152">1</cx:pt>
          <cx:pt idx="15153">0</cx:pt>
          <cx:pt idx="15154">1</cx:pt>
          <cx:pt idx="15155">1</cx:pt>
          <cx:pt idx="15156">1</cx:pt>
          <cx:pt idx="15157">1</cx:pt>
          <cx:pt idx="15158">0</cx:pt>
          <cx:pt idx="15159">0</cx:pt>
          <cx:pt idx="15160">0</cx:pt>
          <cx:pt idx="15161">0</cx:pt>
          <cx:pt idx="15162">1</cx:pt>
          <cx:pt idx="15163">0</cx:pt>
          <cx:pt idx="15164">1</cx:pt>
          <cx:pt idx="15165">0</cx:pt>
          <cx:pt idx="15166">1</cx:pt>
          <cx:pt idx="15167">1</cx:pt>
          <cx:pt idx="15168">1</cx:pt>
          <cx:pt idx="15169">1</cx:pt>
          <cx:pt idx="15170">0</cx:pt>
          <cx:pt idx="15171">0</cx:pt>
          <cx:pt idx="15172">1</cx:pt>
          <cx:pt idx="15173">0</cx:pt>
          <cx:pt idx="15174">1</cx:pt>
          <cx:pt idx="15175">1</cx:pt>
          <cx:pt idx="15176">1</cx:pt>
          <cx:pt idx="15177">0</cx:pt>
          <cx:pt idx="15178">0</cx:pt>
          <cx:pt idx="15179">1</cx:pt>
          <cx:pt idx="15180">1</cx:pt>
          <cx:pt idx="15181">1</cx:pt>
          <cx:pt idx="15182">0</cx:pt>
          <cx:pt idx="15183">1</cx:pt>
          <cx:pt idx="15184">0</cx:pt>
          <cx:pt idx="15185">0</cx:pt>
          <cx:pt idx="15186">0</cx:pt>
          <cx:pt idx="15187">1</cx:pt>
          <cx:pt idx="15188">0</cx:pt>
          <cx:pt idx="15189">0</cx:pt>
          <cx:pt idx="15190">0</cx:pt>
          <cx:pt idx="15191">1</cx:pt>
          <cx:pt idx="15192">0</cx:pt>
          <cx:pt idx="15193">1</cx:pt>
          <cx:pt idx="15194">0</cx:pt>
          <cx:pt idx="15195">0</cx:pt>
          <cx:pt idx="15196">0</cx:pt>
          <cx:pt idx="15197">0</cx:pt>
          <cx:pt idx="15198">1</cx:pt>
          <cx:pt idx="15199">1</cx:pt>
          <cx:pt idx="15200">0</cx:pt>
          <cx:pt idx="15201">1</cx:pt>
          <cx:pt idx="15202">1</cx:pt>
          <cx:pt idx="15203">1</cx:pt>
          <cx:pt idx="15204">1</cx:pt>
          <cx:pt idx="15205">0</cx:pt>
          <cx:pt idx="15206">1</cx:pt>
          <cx:pt idx="15207">0</cx:pt>
          <cx:pt idx="15208">1</cx:pt>
          <cx:pt idx="15209">1</cx:pt>
          <cx:pt idx="15210">0</cx:pt>
          <cx:pt idx="15211">1</cx:pt>
          <cx:pt idx="15212">0</cx:pt>
          <cx:pt idx="15213">1</cx:pt>
          <cx:pt idx="15214">1</cx:pt>
          <cx:pt idx="15215">1</cx:pt>
          <cx:pt idx="15216">0</cx:pt>
          <cx:pt idx="15217">1</cx:pt>
          <cx:pt idx="15218">1</cx:pt>
          <cx:pt idx="15219">0</cx:pt>
          <cx:pt idx="15220">1</cx:pt>
          <cx:pt idx="15221">0</cx:pt>
          <cx:pt idx="15222">0</cx:pt>
          <cx:pt idx="15223">1</cx:pt>
          <cx:pt idx="15224">0</cx:pt>
          <cx:pt idx="15225">0</cx:pt>
          <cx:pt idx="15226">1</cx:pt>
          <cx:pt idx="15227">1</cx:pt>
          <cx:pt idx="15228">1</cx:pt>
          <cx:pt idx="15229">0</cx:pt>
          <cx:pt idx="15230">0</cx:pt>
          <cx:pt idx="15231">0</cx:pt>
          <cx:pt idx="15232">0</cx:pt>
          <cx:pt idx="15233">0</cx:pt>
          <cx:pt idx="15234">0</cx:pt>
          <cx:pt idx="15235">0</cx:pt>
          <cx:pt idx="15236">0</cx:pt>
          <cx:pt idx="15237">1</cx:pt>
          <cx:pt idx="15238">0</cx:pt>
          <cx:pt idx="15239">1</cx:pt>
          <cx:pt idx="15240">0</cx:pt>
          <cx:pt idx="15241">1</cx:pt>
          <cx:pt idx="15242">0</cx:pt>
          <cx:pt idx="15243">1</cx:pt>
          <cx:pt idx="15244">0</cx:pt>
          <cx:pt idx="15245">0</cx:pt>
          <cx:pt idx="15246">0</cx:pt>
          <cx:pt idx="15247">1</cx:pt>
          <cx:pt idx="15248">1</cx:pt>
          <cx:pt idx="15249">1</cx:pt>
          <cx:pt idx="15250">0</cx:pt>
          <cx:pt idx="15251">0</cx:pt>
          <cx:pt idx="15252">1</cx:pt>
          <cx:pt idx="15253">1</cx:pt>
          <cx:pt idx="15254">1</cx:pt>
          <cx:pt idx="15255">1</cx:pt>
          <cx:pt idx="15256">0</cx:pt>
          <cx:pt idx="15257">1</cx:pt>
          <cx:pt idx="15258">1</cx:pt>
          <cx:pt idx="15259">1</cx:pt>
          <cx:pt idx="15260">0</cx:pt>
          <cx:pt idx="15261">0</cx:pt>
          <cx:pt idx="15262">0</cx:pt>
          <cx:pt idx="15263">0</cx:pt>
          <cx:pt idx="15264">1</cx:pt>
          <cx:pt idx="15265">1</cx:pt>
          <cx:pt idx="15266">1</cx:pt>
          <cx:pt idx="15267">0</cx:pt>
          <cx:pt idx="15268">1</cx:pt>
          <cx:pt idx="15269">0</cx:pt>
          <cx:pt idx="15270">1</cx:pt>
          <cx:pt idx="15271">1</cx:pt>
          <cx:pt idx="15272">0</cx:pt>
          <cx:pt idx="15273">0</cx:pt>
          <cx:pt idx="15274">0</cx:pt>
          <cx:pt idx="15275">0</cx:pt>
          <cx:pt idx="15276">0</cx:pt>
          <cx:pt idx="15277">1</cx:pt>
          <cx:pt idx="15278">0</cx:pt>
          <cx:pt idx="15279">1</cx:pt>
          <cx:pt idx="15280">0</cx:pt>
          <cx:pt idx="15281">0</cx:pt>
          <cx:pt idx="15282">1</cx:pt>
          <cx:pt idx="15283">1</cx:pt>
          <cx:pt idx="15284">0</cx:pt>
          <cx:pt idx="15285">0</cx:pt>
          <cx:pt idx="15286">0</cx:pt>
          <cx:pt idx="15287">0</cx:pt>
          <cx:pt idx="15288">0</cx:pt>
          <cx:pt idx="15289">1</cx:pt>
          <cx:pt idx="15290">1</cx:pt>
          <cx:pt idx="15291">0</cx:pt>
          <cx:pt idx="15292">1</cx:pt>
          <cx:pt idx="15293">1</cx:pt>
          <cx:pt idx="15294">1</cx:pt>
          <cx:pt idx="15295">0</cx:pt>
          <cx:pt idx="15296">0</cx:pt>
          <cx:pt idx="15297">0</cx:pt>
          <cx:pt idx="15298">0</cx:pt>
          <cx:pt idx="15299">0</cx:pt>
          <cx:pt idx="15300">0</cx:pt>
          <cx:pt idx="15301">1</cx:pt>
          <cx:pt idx="15302">0</cx:pt>
          <cx:pt idx="15303">0</cx:pt>
          <cx:pt idx="15304">1</cx:pt>
          <cx:pt idx="15305">0</cx:pt>
          <cx:pt idx="15306">0</cx:pt>
          <cx:pt idx="15307">1</cx:pt>
          <cx:pt idx="15308">0</cx:pt>
          <cx:pt idx="15309">1</cx:pt>
          <cx:pt idx="15310">0</cx:pt>
          <cx:pt idx="15311">1</cx:pt>
          <cx:pt idx="15312">1</cx:pt>
          <cx:pt idx="15313">0</cx:pt>
          <cx:pt idx="15314">1</cx:pt>
          <cx:pt idx="15315">1</cx:pt>
          <cx:pt idx="15316">0</cx:pt>
          <cx:pt idx="15317">0</cx:pt>
          <cx:pt idx="15318">1</cx:pt>
          <cx:pt idx="15319">0</cx:pt>
          <cx:pt idx="15320">0</cx:pt>
          <cx:pt idx="15321">0</cx:pt>
          <cx:pt idx="15322">0</cx:pt>
          <cx:pt idx="15323">0</cx:pt>
          <cx:pt idx="15324">0</cx:pt>
          <cx:pt idx="15325">0</cx:pt>
          <cx:pt idx="15326">1</cx:pt>
          <cx:pt idx="15327">0</cx:pt>
          <cx:pt idx="15328">1</cx:pt>
          <cx:pt idx="15329">1</cx:pt>
          <cx:pt idx="15330">1</cx:pt>
          <cx:pt idx="15331">1</cx:pt>
          <cx:pt idx="15332">0</cx:pt>
          <cx:pt idx="15333">1</cx:pt>
          <cx:pt idx="15334">0</cx:pt>
          <cx:pt idx="15335">0</cx:pt>
          <cx:pt idx="15336">1</cx:pt>
          <cx:pt idx="15337">0</cx:pt>
          <cx:pt idx="15338">0</cx:pt>
          <cx:pt idx="15339">1</cx:pt>
          <cx:pt idx="15340">1</cx:pt>
          <cx:pt idx="15341">1</cx:pt>
          <cx:pt idx="15342">1</cx:pt>
          <cx:pt idx="15343">1</cx:pt>
          <cx:pt idx="15344">1</cx:pt>
          <cx:pt idx="15345">0</cx:pt>
          <cx:pt idx="15346">1</cx:pt>
          <cx:pt idx="15347">0</cx:pt>
          <cx:pt idx="15348">0</cx:pt>
          <cx:pt idx="15349">1</cx:pt>
          <cx:pt idx="15350">0</cx:pt>
          <cx:pt idx="15351">1</cx:pt>
          <cx:pt idx="15352">0</cx:pt>
          <cx:pt idx="15353">0</cx:pt>
          <cx:pt idx="15354">0</cx:pt>
          <cx:pt idx="15355">0</cx:pt>
          <cx:pt idx="15356">1</cx:pt>
          <cx:pt idx="15357">0</cx:pt>
          <cx:pt idx="15358">0</cx:pt>
          <cx:pt idx="15359">1</cx:pt>
          <cx:pt idx="15360">1</cx:pt>
          <cx:pt idx="15361">0</cx:pt>
          <cx:pt idx="15362">1</cx:pt>
          <cx:pt idx="15363">0</cx:pt>
          <cx:pt idx="15364">0</cx:pt>
          <cx:pt idx="15365">0</cx:pt>
          <cx:pt idx="15366">1</cx:pt>
          <cx:pt idx="15367">1</cx:pt>
          <cx:pt idx="15368">0</cx:pt>
          <cx:pt idx="15369">1</cx:pt>
          <cx:pt idx="15370">0</cx:pt>
          <cx:pt idx="15371">0</cx:pt>
          <cx:pt idx="15372">1</cx:pt>
          <cx:pt idx="15373">0</cx:pt>
          <cx:pt idx="15374">0</cx:pt>
          <cx:pt idx="15375">1</cx:pt>
          <cx:pt idx="15376">0</cx:pt>
          <cx:pt idx="15377">0</cx:pt>
          <cx:pt idx="15378">1</cx:pt>
          <cx:pt idx="15379">0</cx:pt>
          <cx:pt idx="15380">1</cx:pt>
          <cx:pt idx="15381">1</cx:pt>
          <cx:pt idx="15382">0</cx:pt>
          <cx:pt idx="15383">0</cx:pt>
          <cx:pt idx="15384">1</cx:pt>
          <cx:pt idx="15385">1</cx:pt>
          <cx:pt idx="15386">0</cx:pt>
          <cx:pt idx="15387">1</cx:pt>
          <cx:pt idx="15388">0</cx:pt>
          <cx:pt idx="15389">1</cx:pt>
          <cx:pt idx="15390">1</cx:pt>
          <cx:pt idx="15391">0</cx:pt>
          <cx:pt idx="15392">0</cx:pt>
          <cx:pt idx="15393">0</cx:pt>
          <cx:pt idx="15394">0</cx:pt>
          <cx:pt idx="15395">1</cx:pt>
          <cx:pt idx="15396">0</cx:pt>
          <cx:pt idx="15397">1</cx:pt>
          <cx:pt idx="15398">0</cx:pt>
          <cx:pt idx="15399">1</cx:pt>
          <cx:pt idx="15400">1</cx:pt>
          <cx:pt idx="15401">1</cx:pt>
          <cx:pt idx="15402">1</cx:pt>
          <cx:pt idx="15403">1</cx:pt>
          <cx:pt idx="15404">1</cx:pt>
          <cx:pt idx="15405">0</cx:pt>
          <cx:pt idx="15406">0</cx:pt>
          <cx:pt idx="15407">0</cx:pt>
          <cx:pt idx="15408">1</cx:pt>
          <cx:pt idx="15409">1</cx:pt>
          <cx:pt idx="15410">1</cx:pt>
          <cx:pt idx="15411">0</cx:pt>
          <cx:pt idx="15412">1</cx:pt>
          <cx:pt idx="15413">0</cx:pt>
          <cx:pt idx="15414">0</cx:pt>
          <cx:pt idx="15415">0</cx:pt>
          <cx:pt idx="15416">0</cx:pt>
          <cx:pt idx="15417">1</cx:pt>
          <cx:pt idx="15418">0</cx:pt>
          <cx:pt idx="15419">0</cx:pt>
          <cx:pt idx="15420">0</cx:pt>
          <cx:pt idx="15421">0</cx:pt>
          <cx:pt idx="15422">0</cx:pt>
          <cx:pt idx="15423">0</cx:pt>
          <cx:pt idx="15424">0</cx:pt>
          <cx:pt idx="15425">0</cx:pt>
          <cx:pt idx="15426">1</cx:pt>
          <cx:pt idx="15427">0</cx:pt>
          <cx:pt idx="15428">0</cx:pt>
          <cx:pt idx="15429">0</cx:pt>
          <cx:pt idx="15430">1</cx:pt>
          <cx:pt idx="15431">1</cx:pt>
          <cx:pt idx="15432">0</cx:pt>
          <cx:pt idx="15433">0</cx:pt>
          <cx:pt idx="15434">1</cx:pt>
          <cx:pt idx="15435">1</cx:pt>
          <cx:pt idx="15436">0</cx:pt>
          <cx:pt idx="15437">1</cx:pt>
          <cx:pt idx="15438">0</cx:pt>
          <cx:pt idx="15439">0</cx:pt>
          <cx:pt idx="15440">0</cx:pt>
          <cx:pt idx="15441">0</cx:pt>
          <cx:pt idx="15442">1</cx:pt>
          <cx:pt idx="15443">1</cx:pt>
          <cx:pt idx="15444">0</cx:pt>
          <cx:pt idx="15445">1</cx:pt>
          <cx:pt idx="15446">0</cx:pt>
          <cx:pt idx="15447">0</cx:pt>
          <cx:pt idx="15448">0</cx:pt>
          <cx:pt idx="15449">0</cx:pt>
          <cx:pt idx="15450">1</cx:pt>
          <cx:pt idx="15451">1</cx:pt>
          <cx:pt idx="15452">1</cx:pt>
          <cx:pt idx="15453">1</cx:pt>
          <cx:pt idx="15454">0</cx:pt>
          <cx:pt idx="15455">0</cx:pt>
          <cx:pt idx="15456">0</cx:pt>
          <cx:pt idx="15457">1</cx:pt>
          <cx:pt idx="15458">0</cx:pt>
          <cx:pt idx="15459">0</cx:pt>
          <cx:pt idx="15460">0</cx:pt>
          <cx:pt idx="15461">0</cx:pt>
          <cx:pt idx="15462">0</cx:pt>
          <cx:pt idx="15463">0</cx:pt>
          <cx:pt idx="15464">0</cx:pt>
          <cx:pt idx="15465">1</cx:pt>
          <cx:pt idx="15466">0</cx:pt>
          <cx:pt idx="15467">0</cx:pt>
          <cx:pt idx="15468">0</cx:pt>
          <cx:pt idx="15469">0</cx:pt>
          <cx:pt idx="15470">0</cx:pt>
          <cx:pt idx="15471">0</cx:pt>
          <cx:pt idx="15472">0</cx:pt>
          <cx:pt idx="15473">0</cx:pt>
          <cx:pt idx="15474">1</cx:pt>
          <cx:pt idx="15475">1</cx:pt>
          <cx:pt idx="15476">1</cx:pt>
          <cx:pt idx="15477">1</cx:pt>
          <cx:pt idx="15478">0</cx:pt>
          <cx:pt idx="15479">0</cx:pt>
          <cx:pt idx="15480">0</cx:pt>
          <cx:pt idx="15481">0</cx:pt>
          <cx:pt idx="15482">1</cx:pt>
          <cx:pt idx="15483">0</cx:pt>
          <cx:pt idx="15484">1</cx:pt>
          <cx:pt idx="15485">0</cx:pt>
          <cx:pt idx="15486">1</cx:pt>
          <cx:pt idx="15487">0</cx:pt>
          <cx:pt idx="15488">1</cx:pt>
          <cx:pt idx="15489">0</cx:pt>
          <cx:pt idx="15490">0</cx:pt>
          <cx:pt idx="15491">0</cx:pt>
          <cx:pt idx="15492">1</cx:pt>
          <cx:pt idx="15493">0</cx:pt>
          <cx:pt idx="15494">1</cx:pt>
          <cx:pt idx="15495">0</cx:pt>
          <cx:pt idx="15496">0</cx:pt>
          <cx:pt idx="15497">0</cx:pt>
          <cx:pt idx="15498">0</cx:pt>
          <cx:pt idx="15499">0</cx:pt>
          <cx:pt idx="15500">0</cx:pt>
          <cx:pt idx="15501">0</cx:pt>
          <cx:pt idx="15502">1</cx:pt>
          <cx:pt idx="15503">0</cx:pt>
          <cx:pt idx="15504">1</cx:pt>
          <cx:pt idx="15505">0</cx:pt>
          <cx:pt idx="15506">1</cx:pt>
          <cx:pt idx="15507">1</cx:pt>
          <cx:pt idx="15508">0</cx:pt>
          <cx:pt idx="15509">0</cx:pt>
          <cx:pt idx="15510">0</cx:pt>
          <cx:pt idx="15511">0</cx:pt>
          <cx:pt idx="15512">1</cx:pt>
          <cx:pt idx="15513">0</cx:pt>
          <cx:pt idx="15514">1</cx:pt>
          <cx:pt idx="15515">0</cx:pt>
          <cx:pt idx="15516">0</cx:pt>
          <cx:pt idx="15517">1</cx:pt>
          <cx:pt idx="15518">0</cx:pt>
          <cx:pt idx="15519">0</cx:pt>
          <cx:pt idx="15520">0</cx:pt>
          <cx:pt idx="15521">0</cx:pt>
          <cx:pt idx="15522">1</cx:pt>
          <cx:pt idx="15523">1</cx:pt>
          <cx:pt idx="15524">0</cx:pt>
          <cx:pt idx="15525">0</cx:pt>
          <cx:pt idx="15526">0</cx:pt>
          <cx:pt idx="15527">0</cx:pt>
          <cx:pt idx="15528">0</cx:pt>
          <cx:pt idx="15529">0</cx:pt>
          <cx:pt idx="15530">1</cx:pt>
          <cx:pt idx="15531">0</cx:pt>
          <cx:pt idx="15532">1</cx:pt>
          <cx:pt idx="15533">0</cx:pt>
          <cx:pt idx="15534">1</cx:pt>
          <cx:pt idx="15535">0</cx:pt>
          <cx:pt idx="15536">1</cx:pt>
          <cx:pt idx="15537">1</cx:pt>
          <cx:pt idx="15538">1</cx:pt>
          <cx:pt idx="15539">0</cx:pt>
          <cx:pt idx="15540">0</cx:pt>
          <cx:pt idx="15541">0</cx:pt>
          <cx:pt idx="15542">1</cx:pt>
          <cx:pt idx="15543">0</cx:pt>
          <cx:pt idx="15544">0</cx:pt>
          <cx:pt idx="15545">1</cx:pt>
          <cx:pt idx="15546">0</cx:pt>
          <cx:pt idx="15547">1</cx:pt>
          <cx:pt idx="15548">0</cx:pt>
          <cx:pt idx="15549">0</cx:pt>
          <cx:pt idx="15550">0</cx:pt>
          <cx:pt idx="15551">0</cx:pt>
          <cx:pt idx="15552">0</cx:pt>
          <cx:pt idx="15553">0</cx:pt>
          <cx:pt idx="15554">1</cx:pt>
          <cx:pt idx="15555">0</cx:pt>
          <cx:pt idx="15556">0</cx:pt>
          <cx:pt idx="15557">1</cx:pt>
          <cx:pt idx="15558">1</cx:pt>
          <cx:pt idx="15559">1</cx:pt>
          <cx:pt idx="15560">0</cx:pt>
          <cx:pt idx="15561">1</cx:pt>
          <cx:pt idx="15562">0</cx:pt>
          <cx:pt idx="15563">1</cx:pt>
          <cx:pt idx="15564">0</cx:pt>
          <cx:pt idx="15565">1</cx:pt>
          <cx:pt idx="15566">1</cx:pt>
          <cx:pt idx="15567">1</cx:pt>
          <cx:pt idx="15568">0</cx:pt>
          <cx:pt idx="15569">0</cx:pt>
          <cx:pt idx="15570">1</cx:pt>
          <cx:pt idx="15571">0</cx:pt>
          <cx:pt idx="15572">1</cx:pt>
          <cx:pt idx="15573">0</cx:pt>
          <cx:pt idx="15574">0</cx:pt>
          <cx:pt idx="15575">1</cx:pt>
          <cx:pt idx="15576">0</cx:pt>
          <cx:pt idx="15577">0</cx:pt>
          <cx:pt idx="15578">0</cx:pt>
          <cx:pt idx="15579">1</cx:pt>
          <cx:pt idx="15580">0</cx:pt>
          <cx:pt idx="15581">0</cx:pt>
          <cx:pt idx="15582">0</cx:pt>
          <cx:pt idx="15583">1</cx:pt>
          <cx:pt idx="15584">0</cx:pt>
          <cx:pt idx="15585">1</cx:pt>
          <cx:pt idx="15586">0</cx:pt>
          <cx:pt idx="15587">1</cx:pt>
          <cx:pt idx="15588">0</cx:pt>
          <cx:pt idx="15589">1</cx:pt>
          <cx:pt idx="15590">1</cx:pt>
          <cx:pt idx="15591">1</cx:pt>
          <cx:pt idx="15592">1</cx:pt>
          <cx:pt idx="15593">0</cx:pt>
          <cx:pt idx="15594">0</cx:pt>
          <cx:pt idx="15595">1</cx:pt>
          <cx:pt idx="15596">0</cx:pt>
          <cx:pt idx="15597">1</cx:pt>
          <cx:pt idx="15598">1</cx:pt>
          <cx:pt idx="15599">0</cx:pt>
          <cx:pt idx="15600">1</cx:pt>
          <cx:pt idx="15601">0</cx:pt>
          <cx:pt idx="15602">1</cx:pt>
          <cx:pt idx="15603">1</cx:pt>
          <cx:pt idx="15604">1</cx:pt>
          <cx:pt idx="15605">0</cx:pt>
          <cx:pt idx="15606">1</cx:pt>
          <cx:pt idx="15607">1</cx:pt>
          <cx:pt idx="15608">1</cx:pt>
          <cx:pt idx="15609">1</cx:pt>
          <cx:pt idx="15610">0</cx:pt>
          <cx:pt idx="15611">0</cx:pt>
          <cx:pt idx="15612">1</cx:pt>
          <cx:pt idx="15613">1</cx:pt>
          <cx:pt idx="15614">1</cx:pt>
          <cx:pt idx="15615">0</cx:pt>
          <cx:pt idx="15616">1</cx:pt>
          <cx:pt idx="15617">0</cx:pt>
          <cx:pt idx="15618">0</cx:pt>
          <cx:pt idx="15619">0</cx:pt>
          <cx:pt idx="15620">1</cx:pt>
          <cx:pt idx="15621">1</cx:pt>
          <cx:pt idx="15622">0</cx:pt>
          <cx:pt idx="15623">1</cx:pt>
          <cx:pt idx="15624">0</cx:pt>
          <cx:pt idx="15625">1</cx:pt>
          <cx:pt idx="15626">1</cx:pt>
          <cx:pt idx="15627">0</cx:pt>
          <cx:pt idx="15628">1</cx:pt>
          <cx:pt idx="15629">0</cx:pt>
          <cx:pt idx="15630">1</cx:pt>
          <cx:pt idx="15631">1</cx:pt>
          <cx:pt idx="15632">0</cx:pt>
          <cx:pt idx="15633">0</cx:pt>
          <cx:pt idx="15634">1</cx:pt>
          <cx:pt idx="15635">0</cx:pt>
          <cx:pt idx="15636">1</cx:pt>
          <cx:pt idx="15637">1</cx:pt>
          <cx:pt idx="15638">1</cx:pt>
          <cx:pt idx="15639">1</cx:pt>
          <cx:pt idx="15640">1</cx:pt>
          <cx:pt idx="15641">0</cx:pt>
          <cx:pt idx="15642">0</cx:pt>
          <cx:pt idx="15643">1</cx:pt>
          <cx:pt idx="15644">1</cx:pt>
          <cx:pt idx="15645">0</cx:pt>
          <cx:pt idx="15646">0</cx:pt>
          <cx:pt idx="15647">1</cx:pt>
          <cx:pt idx="15648">0</cx:pt>
          <cx:pt idx="15649">0</cx:pt>
          <cx:pt idx="15650">0</cx:pt>
          <cx:pt idx="15651">0</cx:pt>
          <cx:pt idx="15652">1</cx:pt>
          <cx:pt idx="15653">1</cx:pt>
          <cx:pt idx="15654">0</cx:pt>
          <cx:pt idx="15655">1</cx:pt>
          <cx:pt idx="15656">0</cx:pt>
          <cx:pt idx="15657">1</cx:pt>
          <cx:pt idx="15658">0</cx:pt>
          <cx:pt idx="15659">0</cx:pt>
          <cx:pt idx="15660">0</cx:pt>
          <cx:pt idx="15661">1</cx:pt>
          <cx:pt idx="15662">1</cx:pt>
          <cx:pt idx="15663">1</cx:pt>
          <cx:pt idx="15664">1</cx:pt>
          <cx:pt idx="15665">0</cx:pt>
          <cx:pt idx="15666">0</cx:pt>
          <cx:pt idx="15667">0</cx:pt>
          <cx:pt idx="15668">0</cx:pt>
          <cx:pt idx="15669">1</cx:pt>
          <cx:pt idx="15670">0</cx:pt>
          <cx:pt idx="15671">0</cx:pt>
          <cx:pt idx="15672">1</cx:pt>
          <cx:pt idx="15673">1</cx:pt>
          <cx:pt idx="15674">0</cx:pt>
          <cx:pt idx="15675">1</cx:pt>
          <cx:pt idx="15676">0</cx:pt>
          <cx:pt idx="15677">0</cx:pt>
          <cx:pt idx="15678">0</cx:pt>
          <cx:pt idx="15679">0</cx:pt>
          <cx:pt idx="15680">0</cx:pt>
          <cx:pt idx="15681">0</cx:pt>
          <cx:pt idx="15682">1</cx:pt>
          <cx:pt idx="15683">0</cx:pt>
          <cx:pt idx="15684">1</cx:pt>
          <cx:pt idx="15685">0</cx:pt>
          <cx:pt idx="15686">1</cx:pt>
          <cx:pt idx="15687">0</cx:pt>
          <cx:pt idx="15688">0</cx:pt>
          <cx:pt idx="15689">0</cx:pt>
          <cx:pt idx="15690">0</cx:pt>
          <cx:pt idx="15691">1</cx:pt>
          <cx:pt idx="15692">0</cx:pt>
          <cx:pt idx="15693">1</cx:pt>
          <cx:pt idx="15694">1</cx:pt>
          <cx:pt idx="15695">0</cx:pt>
          <cx:pt idx="15696">0</cx:pt>
          <cx:pt idx="15697">1</cx:pt>
          <cx:pt idx="15698">1</cx:pt>
          <cx:pt idx="15699">0</cx:pt>
          <cx:pt idx="15700">1</cx:pt>
          <cx:pt idx="15701">1</cx:pt>
          <cx:pt idx="15702">0</cx:pt>
          <cx:pt idx="15703">1</cx:pt>
          <cx:pt idx="15704">0</cx:pt>
          <cx:pt idx="15705">0</cx:pt>
          <cx:pt idx="15706">0</cx:pt>
          <cx:pt idx="15707">1</cx:pt>
          <cx:pt idx="15708">0</cx:pt>
          <cx:pt idx="15709">1</cx:pt>
          <cx:pt idx="15710">1</cx:pt>
          <cx:pt idx="15711">0</cx:pt>
          <cx:pt idx="15712">0</cx:pt>
          <cx:pt idx="15713">1</cx:pt>
          <cx:pt idx="15714">1</cx:pt>
          <cx:pt idx="15715">0</cx:pt>
          <cx:pt idx="15716">0</cx:pt>
          <cx:pt idx="15717">0</cx:pt>
          <cx:pt idx="15718">1</cx:pt>
          <cx:pt idx="15719">1</cx:pt>
          <cx:pt idx="15720">1</cx:pt>
          <cx:pt idx="15721">1</cx:pt>
          <cx:pt idx="15722">1</cx:pt>
          <cx:pt idx="15723">1</cx:pt>
          <cx:pt idx="15724">0</cx:pt>
          <cx:pt idx="15725">0</cx:pt>
          <cx:pt idx="15726">1</cx:pt>
          <cx:pt idx="15727">0</cx:pt>
          <cx:pt idx="15728">1</cx:pt>
          <cx:pt idx="15729">1</cx:pt>
          <cx:pt idx="15730">1</cx:pt>
          <cx:pt idx="15731">0</cx:pt>
          <cx:pt idx="15732">1</cx:pt>
          <cx:pt idx="15733">0</cx:pt>
          <cx:pt idx="15734">1</cx:pt>
          <cx:pt idx="15735">0</cx:pt>
          <cx:pt idx="15736">0</cx:pt>
          <cx:pt idx="15737">0</cx:pt>
          <cx:pt idx="15738">1</cx:pt>
          <cx:pt idx="15739">0</cx:pt>
          <cx:pt idx="15740">0</cx:pt>
          <cx:pt idx="15741">0</cx:pt>
          <cx:pt idx="15742">1</cx:pt>
          <cx:pt idx="15743">0</cx:pt>
          <cx:pt idx="15744">1</cx:pt>
          <cx:pt idx="15745">1</cx:pt>
          <cx:pt idx="15746">0</cx:pt>
          <cx:pt idx="15747">0</cx:pt>
          <cx:pt idx="15748">0</cx:pt>
          <cx:pt idx="15749">0</cx:pt>
          <cx:pt idx="15750">1</cx:pt>
          <cx:pt idx="15751">1</cx:pt>
          <cx:pt idx="15752">1</cx:pt>
          <cx:pt idx="15753">0</cx:pt>
          <cx:pt idx="15754">0</cx:pt>
          <cx:pt idx="15755">1</cx:pt>
          <cx:pt idx="15756">0</cx:pt>
          <cx:pt idx="15757">0</cx:pt>
          <cx:pt idx="15758">1</cx:pt>
          <cx:pt idx="15759">1</cx:pt>
          <cx:pt idx="15760">0</cx:pt>
          <cx:pt idx="15761">0</cx:pt>
          <cx:pt idx="15762">1</cx:pt>
          <cx:pt idx="15763">1</cx:pt>
          <cx:pt idx="15764">0</cx:pt>
          <cx:pt idx="15765">0</cx:pt>
          <cx:pt idx="15766">0</cx:pt>
          <cx:pt idx="15767">1</cx:pt>
          <cx:pt idx="15768">1</cx:pt>
          <cx:pt idx="15769">0</cx:pt>
          <cx:pt idx="15770">0</cx:pt>
          <cx:pt idx="15771">0</cx:pt>
          <cx:pt idx="15772">0</cx:pt>
          <cx:pt idx="15773">0</cx:pt>
          <cx:pt idx="15774">0</cx:pt>
          <cx:pt idx="15775">1</cx:pt>
          <cx:pt idx="15776">0</cx:pt>
          <cx:pt idx="15777">0</cx:pt>
          <cx:pt idx="15778">1</cx:pt>
          <cx:pt idx="15779">0</cx:pt>
          <cx:pt idx="15780">0</cx:pt>
          <cx:pt idx="15781">0</cx:pt>
          <cx:pt idx="15782">0</cx:pt>
          <cx:pt idx="15783">1</cx:pt>
          <cx:pt idx="15784">0</cx:pt>
          <cx:pt idx="15785">1</cx:pt>
          <cx:pt idx="15786">1</cx:pt>
          <cx:pt idx="15787">0</cx:pt>
          <cx:pt idx="15788">0</cx:pt>
          <cx:pt idx="15789">0</cx:pt>
          <cx:pt idx="15790">1</cx:pt>
          <cx:pt idx="15791">1</cx:pt>
          <cx:pt idx="15792">0</cx:pt>
          <cx:pt idx="15793">1</cx:pt>
          <cx:pt idx="15794">0</cx:pt>
          <cx:pt idx="15795">0</cx:pt>
          <cx:pt idx="15796">0</cx:pt>
          <cx:pt idx="15797">1</cx:pt>
          <cx:pt idx="15798">0</cx:pt>
          <cx:pt idx="15799">1</cx:pt>
          <cx:pt idx="15800">0</cx:pt>
          <cx:pt idx="15801">0</cx:pt>
          <cx:pt idx="15802">1</cx:pt>
          <cx:pt idx="15803">1</cx:pt>
          <cx:pt idx="15804">0</cx:pt>
          <cx:pt idx="15805">1</cx:pt>
          <cx:pt idx="15806">1</cx:pt>
          <cx:pt idx="15807">1</cx:pt>
          <cx:pt idx="15808">1</cx:pt>
          <cx:pt idx="15809">0</cx:pt>
          <cx:pt idx="15810">0</cx:pt>
          <cx:pt idx="15811">1</cx:pt>
          <cx:pt idx="15812">1</cx:pt>
          <cx:pt idx="15813">1</cx:pt>
          <cx:pt idx="15814">0</cx:pt>
          <cx:pt idx="15815">1</cx:pt>
          <cx:pt idx="15816">0</cx:pt>
          <cx:pt idx="15817">1</cx:pt>
          <cx:pt idx="15818">1</cx:pt>
          <cx:pt idx="15819">1</cx:pt>
          <cx:pt idx="15820">0</cx:pt>
          <cx:pt idx="15821">1</cx:pt>
          <cx:pt idx="15822">0</cx:pt>
          <cx:pt idx="15823">0</cx:pt>
          <cx:pt idx="15824">0</cx:pt>
          <cx:pt idx="15825">1</cx:pt>
          <cx:pt idx="15826">1</cx:pt>
          <cx:pt idx="15827">0</cx:pt>
          <cx:pt idx="15828">0</cx:pt>
          <cx:pt idx="15829">1</cx:pt>
          <cx:pt idx="15830">1</cx:pt>
          <cx:pt idx="15831">0</cx:pt>
          <cx:pt idx="15832">1</cx:pt>
          <cx:pt idx="15833">0</cx:pt>
          <cx:pt idx="15834">0</cx:pt>
          <cx:pt idx="15835">0</cx:pt>
          <cx:pt idx="15836">0</cx:pt>
          <cx:pt idx="15837">0</cx:pt>
          <cx:pt idx="15838">0</cx:pt>
          <cx:pt idx="15839">0</cx:pt>
          <cx:pt idx="15840">1</cx:pt>
          <cx:pt idx="15841">0</cx:pt>
          <cx:pt idx="15842">0</cx:pt>
          <cx:pt idx="15843">0</cx:pt>
          <cx:pt idx="15844">0</cx:pt>
          <cx:pt idx="15845">1</cx:pt>
          <cx:pt idx="15846">0</cx:pt>
          <cx:pt idx="15847">0</cx:pt>
          <cx:pt idx="15848">0</cx:pt>
          <cx:pt idx="15849">0</cx:pt>
          <cx:pt idx="15850">0</cx:pt>
          <cx:pt idx="15851">1</cx:pt>
          <cx:pt idx="15852">1</cx:pt>
          <cx:pt idx="15853">1</cx:pt>
          <cx:pt idx="15854">1</cx:pt>
          <cx:pt idx="15855">1</cx:pt>
          <cx:pt idx="15856">0</cx:pt>
          <cx:pt idx="15857">0</cx:pt>
          <cx:pt idx="15858">0</cx:pt>
          <cx:pt idx="15859">1</cx:pt>
          <cx:pt idx="15860">0</cx:pt>
          <cx:pt idx="15861">0</cx:pt>
          <cx:pt idx="15862">0</cx:pt>
          <cx:pt idx="15863">1</cx:pt>
          <cx:pt idx="15864">1</cx:pt>
          <cx:pt idx="15865">0</cx:pt>
          <cx:pt idx="15866">1</cx:pt>
          <cx:pt idx="15867">1</cx:pt>
          <cx:pt idx="15868">1</cx:pt>
          <cx:pt idx="15869">1</cx:pt>
          <cx:pt idx="15870">1</cx:pt>
          <cx:pt idx="15871">1</cx:pt>
          <cx:pt idx="15872">1</cx:pt>
          <cx:pt idx="15873">0</cx:pt>
          <cx:pt idx="15874">0</cx:pt>
          <cx:pt idx="15875">1</cx:pt>
          <cx:pt idx="15876">1</cx:pt>
          <cx:pt idx="15877">1</cx:pt>
          <cx:pt idx="15878">1</cx:pt>
          <cx:pt idx="15879">0</cx:pt>
          <cx:pt idx="15880">0</cx:pt>
          <cx:pt idx="15881">0</cx:pt>
          <cx:pt idx="15882">0</cx:pt>
          <cx:pt idx="15883">0</cx:pt>
          <cx:pt idx="15884">0</cx:pt>
          <cx:pt idx="15885">0</cx:pt>
          <cx:pt idx="15886">1</cx:pt>
          <cx:pt idx="15887">1</cx:pt>
          <cx:pt idx="15888">1</cx:pt>
          <cx:pt idx="15889">0</cx:pt>
          <cx:pt idx="15890">0</cx:pt>
          <cx:pt idx="15891">1</cx:pt>
          <cx:pt idx="15892">1</cx:pt>
          <cx:pt idx="15893">1</cx:pt>
          <cx:pt idx="15894">1</cx:pt>
          <cx:pt idx="15895">0</cx:pt>
          <cx:pt idx="15896">0</cx:pt>
          <cx:pt idx="15897">1</cx:pt>
          <cx:pt idx="15898">1</cx:pt>
          <cx:pt idx="15899">1</cx:pt>
          <cx:pt idx="15900">1</cx:pt>
          <cx:pt idx="15901">0</cx:pt>
          <cx:pt idx="15902">0</cx:pt>
          <cx:pt idx="15903">1</cx:pt>
          <cx:pt idx="15904">0</cx:pt>
          <cx:pt idx="15905">1</cx:pt>
          <cx:pt idx="15906">1</cx:pt>
          <cx:pt idx="15907">1</cx:pt>
          <cx:pt idx="15908">1</cx:pt>
          <cx:pt idx="15909">0</cx:pt>
          <cx:pt idx="15910">0</cx:pt>
          <cx:pt idx="15911">0</cx:pt>
          <cx:pt idx="15912">0</cx:pt>
          <cx:pt idx="15913">0</cx:pt>
          <cx:pt idx="15914">0</cx:pt>
          <cx:pt idx="15915">1</cx:pt>
          <cx:pt idx="15916">0</cx:pt>
          <cx:pt idx="15917">0</cx:pt>
          <cx:pt idx="15918">0</cx:pt>
          <cx:pt idx="15919">0</cx:pt>
          <cx:pt idx="15920">1</cx:pt>
          <cx:pt idx="15921">0</cx:pt>
          <cx:pt idx="15922">0</cx:pt>
          <cx:pt idx="15923">0</cx:pt>
          <cx:pt idx="15924">0</cx:pt>
          <cx:pt idx="15925">1</cx:pt>
          <cx:pt idx="15926">1</cx:pt>
          <cx:pt idx="15927">0</cx:pt>
          <cx:pt idx="15928">0</cx:pt>
          <cx:pt idx="15929">1</cx:pt>
          <cx:pt idx="15930">0</cx:pt>
          <cx:pt idx="15931">0</cx:pt>
          <cx:pt idx="15932">0</cx:pt>
          <cx:pt idx="15933">0</cx:pt>
          <cx:pt idx="15934">0</cx:pt>
          <cx:pt idx="15935">0</cx:pt>
          <cx:pt idx="15936">0</cx:pt>
          <cx:pt idx="15937">0</cx:pt>
          <cx:pt idx="15938">0</cx:pt>
          <cx:pt idx="15939">0</cx:pt>
          <cx:pt idx="15940">0</cx:pt>
          <cx:pt idx="15941">1</cx:pt>
          <cx:pt idx="15942">0</cx:pt>
          <cx:pt idx="15943">0</cx:pt>
          <cx:pt idx="15944">0</cx:pt>
          <cx:pt idx="15945">1</cx:pt>
          <cx:pt idx="15946">0</cx:pt>
          <cx:pt idx="15947">1</cx:pt>
          <cx:pt idx="15948">1</cx:pt>
          <cx:pt idx="15949">0</cx:pt>
          <cx:pt idx="15950">0</cx:pt>
          <cx:pt idx="15951">0</cx:pt>
          <cx:pt idx="15952">0</cx:pt>
          <cx:pt idx="15953">1</cx:pt>
          <cx:pt idx="15954">0</cx:pt>
          <cx:pt idx="15955">0</cx:pt>
          <cx:pt idx="15956">1</cx:pt>
          <cx:pt idx="15957">1</cx:pt>
          <cx:pt idx="15958">0</cx:pt>
          <cx:pt idx="15959">0</cx:pt>
          <cx:pt idx="15960">0</cx:pt>
          <cx:pt idx="15961">1</cx:pt>
          <cx:pt idx="15962">1</cx:pt>
          <cx:pt idx="15963">0</cx:pt>
          <cx:pt idx="15964">0</cx:pt>
          <cx:pt idx="15965">1</cx:pt>
          <cx:pt idx="15966">0</cx:pt>
          <cx:pt idx="15967">0</cx:pt>
          <cx:pt idx="15968">1</cx:pt>
          <cx:pt idx="15969">0</cx:pt>
          <cx:pt idx="15970">1</cx:pt>
          <cx:pt idx="15971">0</cx:pt>
          <cx:pt idx="15972">0</cx:pt>
          <cx:pt idx="15973">1</cx:pt>
          <cx:pt idx="15974">1</cx:pt>
          <cx:pt idx="15975">1</cx:pt>
          <cx:pt idx="15976">0</cx:pt>
          <cx:pt idx="15977">1</cx:pt>
          <cx:pt idx="15978">0</cx:pt>
          <cx:pt idx="15979">1</cx:pt>
          <cx:pt idx="15980">0</cx:pt>
          <cx:pt idx="15981">0</cx:pt>
          <cx:pt idx="15982">0</cx:pt>
          <cx:pt idx="15983">1</cx:pt>
          <cx:pt idx="15984">0</cx:pt>
          <cx:pt idx="15985">0</cx:pt>
          <cx:pt idx="15986">0</cx:pt>
          <cx:pt idx="15987">0</cx:pt>
          <cx:pt idx="15988">1</cx:pt>
          <cx:pt idx="15989">0</cx:pt>
          <cx:pt idx="15990">0</cx:pt>
          <cx:pt idx="15991">0</cx:pt>
          <cx:pt idx="15992">1</cx:pt>
          <cx:pt idx="15993">1</cx:pt>
          <cx:pt idx="15994">0</cx:pt>
          <cx:pt idx="15995">1</cx:pt>
          <cx:pt idx="15996">0</cx:pt>
          <cx:pt idx="15997">1</cx:pt>
          <cx:pt idx="15998">1</cx:pt>
          <cx:pt idx="15999">1</cx:pt>
          <cx:pt idx="16000">0</cx:pt>
          <cx:pt idx="16001">0</cx:pt>
          <cx:pt idx="16002">0</cx:pt>
          <cx:pt idx="16003">0</cx:pt>
          <cx:pt idx="16004">0</cx:pt>
          <cx:pt idx="16005">0</cx:pt>
          <cx:pt idx="16006">1</cx:pt>
          <cx:pt idx="16007">0</cx:pt>
          <cx:pt idx="16008">0</cx:pt>
          <cx:pt idx="16009">0</cx:pt>
          <cx:pt idx="16010">0</cx:pt>
          <cx:pt idx="16011">1</cx:pt>
          <cx:pt idx="16012">0</cx:pt>
          <cx:pt idx="16013">0</cx:pt>
          <cx:pt idx="16014">1</cx:pt>
          <cx:pt idx="16015">1</cx:pt>
          <cx:pt idx="16016">0</cx:pt>
          <cx:pt idx="16017">0</cx:pt>
          <cx:pt idx="16018">0</cx:pt>
          <cx:pt idx="16019">1</cx:pt>
          <cx:pt idx="16020">0</cx:pt>
          <cx:pt idx="16021">1</cx:pt>
          <cx:pt idx="16022">0</cx:pt>
          <cx:pt idx="16023">0</cx:pt>
          <cx:pt idx="16024">1</cx:pt>
          <cx:pt idx="16025">1</cx:pt>
          <cx:pt idx="16026">1</cx:pt>
          <cx:pt idx="16027">1</cx:pt>
          <cx:pt idx="16028">1</cx:pt>
          <cx:pt idx="16029">1</cx:pt>
          <cx:pt idx="16030">1</cx:pt>
          <cx:pt idx="16031">0</cx:pt>
          <cx:pt idx="16032">1</cx:pt>
          <cx:pt idx="16033">1</cx:pt>
          <cx:pt idx="16034">1</cx:pt>
          <cx:pt idx="16035">0</cx:pt>
          <cx:pt idx="16036">0</cx:pt>
          <cx:pt idx="16037">0</cx:pt>
          <cx:pt idx="16038">0</cx:pt>
          <cx:pt idx="16039">0</cx:pt>
          <cx:pt idx="16040">0</cx:pt>
          <cx:pt idx="16041">1</cx:pt>
          <cx:pt idx="16042">0</cx:pt>
          <cx:pt idx="16043">0</cx:pt>
          <cx:pt idx="16044">0</cx:pt>
          <cx:pt idx="16045">1</cx:pt>
          <cx:pt idx="16046">0</cx:pt>
          <cx:pt idx="16047">1</cx:pt>
          <cx:pt idx="16048">1</cx:pt>
          <cx:pt idx="16049">0</cx:pt>
          <cx:pt idx="16050">1</cx:pt>
          <cx:pt idx="16051">0</cx:pt>
          <cx:pt idx="16052">0</cx:pt>
          <cx:pt idx="16053">1</cx:pt>
          <cx:pt idx="16054">0</cx:pt>
          <cx:pt idx="16055">0</cx:pt>
          <cx:pt idx="16056">1</cx:pt>
          <cx:pt idx="16057">0</cx:pt>
          <cx:pt idx="16058">0</cx:pt>
          <cx:pt idx="16059">0</cx:pt>
          <cx:pt idx="16060">0</cx:pt>
          <cx:pt idx="16061">0</cx:pt>
          <cx:pt idx="16062">0</cx:pt>
          <cx:pt idx="16063">0</cx:pt>
          <cx:pt idx="16064">1</cx:pt>
          <cx:pt idx="16065">0</cx:pt>
          <cx:pt idx="16066">1</cx:pt>
          <cx:pt idx="16067">1</cx:pt>
          <cx:pt idx="16068">0</cx:pt>
          <cx:pt idx="16069">0</cx:pt>
          <cx:pt idx="16070">1</cx:pt>
          <cx:pt idx="16071">0</cx:pt>
          <cx:pt idx="16072">1</cx:pt>
          <cx:pt idx="16073">0</cx:pt>
          <cx:pt idx="16074">1</cx:pt>
          <cx:pt idx="16075">0</cx:pt>
          <cx:pt idx="16076">0</cx:pt>
          <cx:pt idx="16077">0</cx:pt>
          <cx:pt idx="16078">0</cx:pt>
          <cx:pt idx="16079">1</cx:pt>
          <cx:pt idx="16080">0</cx:pt>
          <cx:pt idx="16081">1</cx:pt>
          <cx:pt idx="16082">0</cx:pt>
          <cx:pt idx="16083">1</cx:pt>
          <cx:pt idx="16084">1</cx:pt>
          <cx:pt idx="16085">0</cx:pt>
          <cx:pt idx="16086">0</cx:pt>
          <cx:pt idx="16087">0</cx:pt>
          <cx:pt idx="16088">0</cx:pt>
          <cx:pt idx="16089">0</cx:pt>
          <cx:pt idx="16090">0</cx:pt>
          <cx:pt idx="16091">1</cx:pt>
          <cx:pt idx="16092">1</cx:pt>
          <cx:pt idx="16093">1</cx:pt>
          <cx:pt idx="16094">1</cx:pt>
          <cx:pt idx="16095">1</cx:pt>
          <cx:pt idx="16096">0</cx:pt>
          <cx:pt idx="16097">1</cx:pt>
          <cx:pt idx="16098">1</cx:pt>
          <cx:pt idx="16099">1</cx:pt>
          <cx:pt idx="16100">0</cx:pt>
          <cx:pt idx="16101">1</cx:pt>
          <cx:pt idx="16102">0</cx:pt>
          <cx:pt idx="16103">0</cx:pt>
          <cx:pt idx="16104">0</cx:pt>
          <cx:pt idx="16105">0</cx:pt>
          <cx:pt idx="16106">0</cx:pt>
          <cx:pt idx="16107">0</cx:pt>
          <cx:pt idx="16108">1</cx:pt>
          <cx:pt idx="16109">1</cx:pt>
          <cx:pt idx="16110">0</cx:pt>
          <cx:pt idx="16111">1</cx:pt>
          <cx:pt idx="16112">0</cx:pt>
          <cx:pt idx="16113">1</cx:pt>
          <cx:pt idx="16114">1</cx:pt>
          <cx:pt idx="16115">1</cx:pt>
          <cx:pt idx="16116">1</cx:pt>
          <cx:pt idx="16117">0</cx:pt>
          <cx:pt idx="16118">1</cx:pt>
          <cx:pt idx="16119">1</cx:pt>
          <cx:pt idx="16120">1</cx:pt>
          <cx:pt idx="16121">0</cx:pt>
          <cx:pt idx="16122">0</cx:pt>
          <cx:pt idx="16123">0</cx:pt>
          <cx:pt idx="16124">0</cx:pt>
          <cx:pt idx="16125">1</cx:pt>
          <cx:pt idx="16126">0</cx:pt>
          <cx:pt idx="16127">0</cx:pt>
          <cx:pt idx="16128">0</cx:pt>
          <cx:pt idx="16129">0</cx:pt>
          <cx:pt idx="16130">0</cx:pt>
          <cx:pt idx="16131">0</cx:pt>
          <cx:pt idx="16132">1</cx:pt>
          <cx:pt idx="16133">1</cx:pt>
          <cx:pt idx="16134">0</cx:pt>
          <cx:pt idx="16135">0</cx:pt>
          <cx:pt idx="16136">0</cx:pt>
          <cx:pt idx="16137">0</cx:pt>
          <cx:pt idx="16138">0</cx:pt>
          <cx:pt idx="16139">0</cx:pt>
          <cx:pt idx="16140">1</cx:pt>
          <cx:pt idx="16141">0</cx:pt>
          <cx:pt idx="16142">0</cx:pt>
          <cx:pt idx="16143">1</cx:pt>
          <cx:pt idx="16144">0</cx:pt>
          <cx:pt idx="16145">1</cx:pt>
          <cx:pt idx="16146">1</cx:pt>
          <cx:pt idx="16147">1</cx:pt>
          <cx:pt idx="16148">0</cx:pt>
          <cx:pt idx="16149">0</cx:pt>
          <cx:pt idx="16150">0</cx:pt>
          <cx:pt idx="16151">0</cx:pt>
          <cx:pt idx="16152">0</cx:pt>
          <cx:pt idx="16153">0</cx:pt>
          <cx:pt idx="16154">0</cx:pt>
          <cx:pt idx="16155">0</cx:pt>
          <cx:pt idx="16156">0</cx:pt>
          <cx:pt idx="16157">1</cx:pt>
          <cx:pt idx="16158">0</cx:pt>
          <cx:pt idx="16159">1</cx:pt>
          <cx:pt idx="16160">1</cx:pt>
          <cx:pt idx="16161">1</cx:pt>
          <cx:pt idx="16162">1</cx:pt>
          <cx:pt idx="16163">0</cx:pt>
          <cx:pt idx="16164">0</cx:pt>
          <cx:pt idx="16165">0</cx:pt>
          <cx:pt idx="16166">0</cx:pt>
          <cx:pt idx="16167">0</cx:pt>
          <cx:pt idx="16168">1</cx:pt>
          <cx:pt idx="16169">0</cx:pt>
          <cx:pt idx="16170">0</cx:pt>
          <cx:pt idx="16171">0</cx:pt>
          <cx:pt idx="16172">1</cx:pt>
          <cx:pt idx="16173">1</cx:pt>
          <cx:pt idx="16174">0</cx:pt>
          <cx:pt idx="16175">0</cx:pt>
          <cx:pt idx="16176">1</cx:pt>
          <cx:pt idx="16177">1</cx:pt>
          <cx:pt idx="16178">0</cx:pt>
          <cx:pt idx="16179">0</cx:pt>
          <cx:pt idx="16180">1</cx:pt>
          <cx:pt idx="16181">0</cx:pt>
          <cx:pt idx="16182">0</cx:pt>
          <cx:pt idx="16183">0</cx:pt>
          <cx:pt idx="16184">0</cx:pt>
          <cx:pt idx="16185">0</cx:pt>
          <cx:pt idx="16186">1</cx:pt>
          <cx:pt idx="16187">0</cx:pt>
          <cx:pt idx="16188">0</cx:pt>
          <cx:pt idx="16189">1</cx:pt>
          <cx:pt idx="16190">0</cx:pt>
          <cx:pt idx="16191">1</cx:pt>
          <cx:pt idx="16192">0</cx:pt>
          <cx:pt idx="16193">1</cx:pt>
          <cx:pt idx="16194">1</cx:pt>
          <cx:pt idx="16195">1</cx:pt>
          <cx:pt idx="16196">1</cx:pt>
          <cx:pt idx="16197">1</cx:pt>
          <cx:pt idx="16198">1</cx:pt>
          <cx:pt idx="16199">1</cx:pt>
          <cx:pt idx="16200">1</cx:pt>
          <cx:pt idx="16201">0</cx:pt>
          <cx:pt idx="16202">0</cx:pt>
          <cx:pt idx="16203">0</cx:pt>
          <cx:pt idx="16204">1</cx:pt>
          <cx:pt idx="16205">1</cx:pt>
          <cx:pt idx="16206">0</cx:pt>
          <cx:pt idx="16207">0</cx:pt>
          <cx:pt idx="16208">0</cx:pt>
          <cx:pt idx="16209">1</cx:pt>
          <cx:pt idx="16210">0</cx:pt>
          <cx:pt idx="16211">1</cx:pt>
          <cx:pt idx="16212">1</cx:pt>
          <cx:pt idx="16213">0</cx:pt>
          <cx:pt idx="16214">0</cx:pt>
          <cx:pt idx="16215">1</cx:pt>
          <cx:pt idx="16216">0</cx:pt>
          <cx:pt idx="16217">0</cx:pt>
          <cx:pt idx="16218">0</cx:pt>
          <cx:pt idx="16219">0</cx:pt>
          <cx:pt idx="16220">0</cx:pt>
          <cx:pt idx="16221">1</cx:pt>
          <cx:pt idx="16222">1</cx:pt>
          <cx:pt idx="16223">0</cx:pt>
          <cx:pt idx="16224">0</cx:pt>
          <cx:pt idx="16225">0</cx:pt>
          <cx:pt idx="16226">0</cx:pt>
          <cx:pt idx="16227">1</cx:pt>
          <cx:pt idx="16228">1</cx:pt>
          <cx:pt idx="16229">0</cx:pt>
          <cx:pt idx="16230">0</cx:pt>
          <cx:pt idx="16231">0</cx:pt>
          <cx:pt idx="16232">0</cx:pt>
          <cx:pt idx="16233">1</cx:pt>
          <cx:pt idx="16234">1</cx:pt>
          <cx:pt idx="16235">0</cx:pt>
          <cx:pt idx="16236">0</cx:pt>
          <cx:pt idx="16237">0</cx:pt>
          <cx:pt idx="16238">0</cx:pt>
          <cx:pt idx="16239">1</cx:pt>
          <cx:pt idx="16240">1</cx:pt>
          <cx:pt idx="16241">1</cx:pt>
          <cx:pt idx="16242">0</cx:pt>
          <cx:pt idx="16243">1</cx:pt>
          <cx:pt idx="16244">0</cx:pt>
          <cx:pt idx="16245">1</cx:pt>
          <cx:pt idx="16246">0</cx:pt>
          <cx:pt idx="16247">0</cx:pt>
          <cx:pt idx="16248">0</cx:pt>
          <cx:pt idx="16249">1</cx:pt>
          <cx:pt idx="16250">1</cx:pt>
          <cx:pt idx="16251">0</cx:pt>
          <cx:pt idx="16252">0</cx:pt>
          <cx:pt idx="16253">1</cx:pt>
          <cx:pt idx="16254">0</cx:pt>
          <cx:pt idx="16255">0</cx:pt>
          <cx:pt idx="16256">0</cx:pt>
          <cx:pt idx="16257">1</cx:pt>
          <cx:pt idx="16258">1</cx:pt>
          <cx:pt idx="16259">0</cx:pt>
          <cx:pt idx="16260">1</cx:pt>
          <cx:pt idx="16261">1</cx:pt>
          <cx:pt idx="16262">0</cx:pt>
          <cx:pt idx="16263">0</cx:pt>
          <cx:pt idx="16264">0</cx:pt>
          <cx:pt idx="16265">0</cx:pt>
          <cx:pt idx="16266">0</cx:pt>
          <cx:pt idx="16267">0</cx:pt>
          <cx:pt idx="16268">1</cx:pt>
          <cx:pt idx="16269">1</cx:pt>
          <cx:pt idx="16270">0</cx:pt>
          <cx:pt idx="16271">0</cx:pt>
          <cx:pt idx="16272">0</cx:pt>
          <cx:pt idx="16273">1</cx:pt>
          <cx:pt idx="16274">0</cx:pt>
          <cx:pt idx="16275">1</cx:pt>
          <cx:pt idx="16276">0</cx:pt>
          <cx:pt idx="16277">1</cx:pt>
          <cx:pt idx="16278">1</cx:pt>
          <cx:pt idx="16279">0</cx:pt>
          <cx:pt idx="16280">0</cx:pt>
          <cx:pt idx="16281">0</cx:pt>
          <cx:pt idx="16282">0</cx:pt>
          <cx:pt idx="16283">1</cx:pt>
          <cx:pt idx="16284">0</cx:pt>
          <cx:pt idx="16285">0</cx:pt>
          <cx:pt idx="16286">0</cx:pt>
          <cx:pt idx="16287">0</cx:pt>
          <cx:pt idx="16288">1</cx:pt>
          <cx:pt idx="16289">1</cx:pt>
          <cx:pt idx="16290">0</cx:pt>
          <cx:pt idx="16291">0</cx:pt>
          <cx:pt idx="16292">1</cx:pt>
          <cx:pt idx="16293">1</cx:pt>
          <cx:pt idx="16294">1</cx:pt>
          <cx:pt idx="16295">0</cx:pt>
          <cx:pt idx="16296">1</cx:pt>
          <cx:pt idx="16297">1</cx:pt>
          <cx:pt idx="16298">0</cx:pt>
          <cx:pt idx="16299">1</cx:pt>
          <cx:pt idx="16300">1</cx:pt>
          <cx:pt idx="16301">0</cx:pt>
          <cx:pt idx="16302">1</cx:pt>
          <cx:pt idx="16303">0</cx:pt>
          <cx:pt idx="16304">1</cx:pt>
          <cx:pt idx="16305">1</cx:pt>
          <cx:pt idx="16306">1</cx:pt>
          <cx:pt idx="16307">0</cx:pt>
          <cx:pt idx="16308">0</cx:pt>
          <cx:pt idx="16309">0</cx:pt>
          <cx:pt idx="16310">0</cx:pt>
          <cx:pt idx="16311">0</cx:pt>
          <cx:pt idx="16312">0</cx:pt>
          <cx:pt idx="16313">0</cx:pt>
          <cx:pt idx="16314">1</cx:pt>
          <cx:pt idx="16315">0</cx:pt>
          <cx:pt idx="16316">1</cx:pt>
          <cx:pt idx="16317">0</cx:pt>
          <cx:pt idx="16318">1</cx:pt>
          <cx:pt idx="16319">0</cx:pt>
          <cx:pt idx="16320">0</cx:pt>
          <cx:pt idx="16321">1</cx:pt>
          <cx:pt idx="16322">1</cx:pt>
          <cx:pt idx="16323">1</cx:pt>
          <cx:pt idx="16324">0</cx:pt>
          <cx:pt idx="16325">1</cx:pt>
          <cx:pt idx="16326">1</cx:pt>
          <cx:pt idx="16327">0</cx:pt>
          <cx:pt idx="16328">1</cx:pt>
          <cx:pt idx="16329">1</cx:pt>
          <cx:pt idx="16330">0</cx:pt>
          <cx:pt idx="16331">0</cx:pt>
          <cx:pt idx="16332">0</cx:pt>
          <cx:pt idx="16333">0</cx:pt>
          <cx:pt idx="16334">1</cx:pt>
          <cx:pt idx="16335">0</cx:pt>
          <cx:pt idx="16336">0</cx:pt>
          <cx:pt idx="16337">0</cx:pt>
          <cx:pt idx="16338">0</cx:pt>
          <cx:pt idx="16339">0</cx:pt>
          <cx:pt idx="16340">1</cx:pt>
          <cx:pt idx="16341">0</cx:pt>
          <cx:pt idx="16342">1</cx:pt>
          <cx:pt idx="16343">1</cx:pt>
          <cx:pt idx="16344">1</cx:pt>
          <cx:pt idx="16345">0</cx:pt>
          <cx:pt idx="16346">1</cx:pt>
          <cx:pt idx="16347">1</cx:pt>
          <cx:pt idx="16348">1</cx:pt>
          <cx:pt idx="16349">1</cx:pt>
          <cx:pt idx="16350">1</cx:pt>
          <cx:pt idx="16351">0</cx:pt>
          <cx:pt idx="16352">0</cx:pt>
          <cx:pt idx="16353">1</cx:pt>
          <cx:pt idx="16354">1</cx:pt>
          <cx:pt idx="16355">0</cx:pt>
          <cx:pt idx="16356">1</cx:pt>
          <cx:pt idx="16357">0</cx:pt>
          <cx:pt idx="16358">0</cx:pt>
          <cx:pt idx="16359">1</cx:pt>
          <cx:pt idx="16360">0</cx:pt>
          <cx:pt idx="16361">0</cx:pt>
          <cx:pt idx="16362">0</cx:pt>
          <cx:pt idx="16363">1</cx:pt>
          <cx:pt idx="16364">0</cx:pt>
          <cx:pt idx="16365">1</cx:pt>
          <cx:pt idx="16366">0</cx:pt>
          <cx:pt idx="16367">0</cx:pt>
          <cx:pt idx="16368">1</cx:pt>
          <cx:pt idx="16369">0</cx:pt>
          <cx:pt idx="16370">0</cx:pt>
          <cx:pt idx="16371">0</cx:pt>
          <cx:pt idx="16372">1</cx:pt>
          <cx:pt idx="16373">1</cx:pt>
          <cx:pt idx="16374">1</cx:pt>
          <cx:pt idx="16375">1</cx:pt>
          <cx:pt idx="16376">1</cx:pt>
          <cx:pt idx="16377">0</cx:pt>
          <cx:pt idx="16378">0</cx:pt>
          <cx:pt idx="16379">0</cx:pt>
          <cx:pt idx="16380">1</cx:pt>
          <cx:pt idx="16381">0</cx:pt>
          <cx:pt idx="16382">1</cx:pt>
          <cx:pt idx="16383">0</cx:pt>
          <cx:pt idx="16384">0</cx:pt>
          <cx:pt idx="16385">1</cx:pt>
          <cx:pt idx="16386">1</cx:pt>
          <cx:pt idx="16387">1</cx:pt>
          <cx:pt idx="16388">0</cx:pt>
          <cx:pt idx="16389">0</cx:pt>
          <cx:pt idx="16390">0</cx:pt>
          <cx:pt idx="16391">1</cx:pt>
          <cx:pt idx="16392">0</cx:pt>
          <cx:pt idx="16393">1</cx:pt>
          <cx:pt idx="16394">1</cx:pt>
          <cx:pt idx="16395">0</cx:pt>
          <cx:pt idx="16396">1</cx:pt>
          <cx:pt idx="16397">1</cx:pt>
          <cx:pt idx="16398">1</cx:pt>
          <cx:pt idx="16399">0</cx:pt>
          <cx:pt idx="16400">0</cx:pt>
          <cx:pt idx="16401">0</cx:pt>
          <cx:pt idx="16402">0</cx:pt>
          <cx:pt idx="16403">0</cx:pt>
          <cx:pt idx="16404">0</cx:pt>
          <cx:pt idx="16405">0</cx:pt>
          <cx:pt idx="16406">0</cx:pt>
          <cx:pt idx="16407">1</cx:pt>
          <cx:pt idx="16408">1</cx:pt>
          <cx:pt idx="16409">0</cx:pt>
          <cx:pt idx="16410">1</cx:pt>
          <cx:pt idx="16411">1</cx:pt>
          <cx:pt idx="16412">0</cx:pt>
          <cx:pt idx="16413">0</cx:pt>
          <cx:pt idx="16414">0</cx:pt>
          <cx:pt idx="16415">1</cx:pt>
          <cx:pt idx="16416">1</cx:pt>
          <cx:pt idx="16417">0</cx:pt>
          <cx:pt idx="16418">0</cx:pt>
          <cx:pt idx="16419">0</cx:pt>
          <cx:pt idx="16420">0</cx:pt>
          <cx:pt idx="16421">0</cx:pt>
          <cx:pt idx="16422">1</cx:pt>
          <cx:pt idx="16423">1</cx:pt>
          <cx:pt idx="16424">1</cx:pt>
          <cx:pt idx="16425">0</cx:pt>
          <cx:pt idx="16426">1</cx:pt>
          <cx:pt idx="16427">1</cx:pt>
          <cx:pt idx="16428">1</cx:pt>
          <cx:pt idx="16429">0</cx:pt>
          <cx:pt idx="16430">1</cx:pt>
          <cx:pt idx="16431">0</cx:pt>
          <cx:pt idx="16432">1</cx:pt>
          <cx:pt idx="16433">0</cx:pt>
          <cx:pt idx="16434">1</cx:pt>
          <cx:pt idx="16435">1</cx:pt>
          <cx:pt idx="16436">0</cx:pt>
          <cx:pt idx="16437">0</cx:pt>
          <cx:pt idx="16438">1</cx:pt>
          <cx:pt idx="16439">0</cx:pt>
          <cx:pt idx="16440">1</cx:pt>
          <cx:pt idx="16441">1</cx:pt>
          <cx:pt idx="16442">1</cx:pt>
          <cx:pt idx="16443">1</cx:pt>
          <cx:pt idx="16444">1</cx:pt>
          <cx:pt idx="16445">0</cx:pt>
          <cx:pt idx="16446">1</cx:pt>
          <cx:pt idx="16447">0</cx:pt>
          <cx:pt idx="16448">1</cx:pt>
          <cx:pt idx="16449">1</cx:pt>
          <cx:pt idx="16450">1</cx:pt>
          <cx:pt idx="16451">0</cx:pt>
          <cx:pt idx="16452">1</cx:pt>
          <cx:pt idx="16453">0</cx:pt>
          <cx:pt idx="16454">1</cx:pt>
          <cx:pt idx="16455">1</cx:pt>
          <cx:pt idx="16456">0</cx:pt>
          <cx:pt idx="16457">1</cx:pt>
          <cx:pt idx="16458">0</cx:pt>
          <cx:pt idx="16459">0</cx:pt>
          <cx:pt idx="16460">0</cx:pt>
          <cx:pt idx="16461">1</cx:pt>
          <cx:pt idx="16462">0</cx:pt>
          <cx:pt idx="16463">1</cx:pt>
          <cx:pt idx="16464">1</cx:pt>
          <cx:pt idx="16465">1</cx:pt>
          <cx:pt idx="16466">1</cx:pt>
          <cx:pt idx="16467">0</cx:pt>
          <cx:pt idx="16468">0</cx:pt>
          <cx:pt idx="16469">0</cx:pt>
          <cx:pt idx="16470">0</cx:pt>
          <cx:pt idx="16471">0</cx:pt>
          <cx:pt idx="16472">0</cx:pt>
          <cx:pt idx="16473">1</cx:pt>
          <cx:pt idx="16474">1</cx:pt>
          <cx:pt idx="16475">0</cx:pt>
          <cx:pt idx="16476">0</cx:pt>
          <cx:pt idx="16477">0</cx:pt>
          <cx:pt idx="16478">0</cx:pt>
          <cx:pt idx="16479">0</cx:pt>
          <cx:pt idx="16480">0</cx:pt>
          <cx:pt idx="16481">1</cx:pt>
          <cx:pt idx="16482">0</cx:pt>
          <cx:pt idx="16483">0</cx:pt>
          <cx:pt idx="16484">1</cx:pt>
          <cx:pt idx="16485">1</cx:pt>
          <cx:pt idx="16486">0</cx:pt>
          <cx:pt idx="16487">1</cx:pt>
          <cx:pt idx="16488">1</cx:pt>
          <cx:pt idx="16489">0</cx:pt>
          <cx:pt idx="16490">0</cx:pt>
          <cx:pt idx="16491">0</cx:pt>
          <cx:pt idx="16492">0</cx:pt>
          <cx:pt idx="16493">1</cx:pt>
          <cx:pt idx="16494">1</cx:pt>
          <cx:pt idx="16495">0</cx:pt>
          <cx:pt idx="16496">1</cx:pt>
          <cx:pt idx="16497">0</cx:pt>
          <cx:pt idx="16498">1</cx:pt>
          <cx:pt idx="16499">0</cx:pt>
          <cx:pt idx="16500">0</cx:pt>
          <cx:pt idx="16501">0</cx:pt>
          <cx:pt idx="16502">1</cx:pt>
          <cx:pt idx="16503">1</cx:pt>
          <cx:pt idx="16504">0</cx:pt>
          <cx:pt idx="16505">0</cx:pt>
          <cx:pt idx="16506">0</cx:pt>
          <cx:pt idx="16507">0</cx:pt>
          <cx:pt idx="16508">1</cx:pt>
          <cx:pt idx="16509">1</cx:pt>
          <cx:pt idx="16510">0</cx:pt>
          <cx:pt idx="16511">1</cx:pt>
          <cx:pt idx="16512">0</cx:pt>
          <cx:pt idx="16513">0</cx:pt>
          <cx:pt idx="16514">0</cx:pt>
          <cx:pt idx="16515">1</cx:pt>
          <cx:pt idx="16516">0</cx:pt>
          <cx:pt idx="16517">0</cx:pt>
          <cx:pt idx="16518">1</cx:pt>
          <cx:pt idx="16519">0</cx:pt>
          <cx:pt idx="16520">0</cx:pt>
          <cx:pt idx="16521">0</cx:pt>
          <cx:pt idx="16522">1</cx:pt>
          <cx:pt idx="16523">0</cx:pt>
          <cx:pt idx="16524">0</cx:pt>
          <cx:pt idx="16525">0</cx:pt>
          <cx:pt idx="16526">0</cx:pt>
          <cx:pt idx="16527">0</cx:pt>
          <cx:pt idx="16528">0</cx:pt>
          <cx:pt idx="16529">0</cx:pt>
          <cx:pt idx="16530">0</cx:pt>
          <cx:pt idx="16531">0</cx:pt>
          <cx:pt idx="16532">1</cx:pt>
          <cx:pt idx="16533">1</cx:pt>
          <cx:pt idx="16534">0</cx:pt>
          <cx:pt idx="16535">1</cx:pt>
          <cx:pt idx="16536">0</cx:pt>
          <cx:pt idx="16537">1</cx:pt>
          <cx:pt idx="16538">0</cx:pt>
          <cx:pt idx="16539">1</cx:pt>
          <cx:pt idx="16540">0</cx:pt>
          <cx:pt idx="16541">1</cx:pt>
          <cx:pt idx="16542">0</cx:pt>
          <cx:pt idx="16543">0</cx:pt>
          <cx:pt idx="16544">0</cx:pt>
          <cx:pt idx="16545">0</cx:pt>
          <cx:pt idx="16546">1</cx:pt>
          <cx:pt idx="16547">1</cx:pt>
          <cx:pt idx="16548">1</cx:pt>
          <cx:pt idx="16549">0</cx:pt>
          <cx:pt idx="16550">1</cx:pt>
          <cx:pt idx="16551">0</cx:pt>
          <cx:pt idx="16552">0</cx:pt>
          <cx:pt idx="16553">1</cx:pt>
          <cx:pt idx="16554">0</cx:pt>
          <cx:pt idx="16555">1</cx:pt>
          <cx:pt idx="16556">1</cx:pt>
          <cx:pt idx="16557">1</cx:pt>
          <cx:pt idx="16558">1</cx:pt>
          <cx:pt idx="16559">0</cx:pt>
          <cx:pt idx="16560">1</cx:pt>
          <cx:pt idx="16561">1</cx:pt>
          <cx:pt idx="16562">0</cx:pt>
          <cx:pt idx="16563">1</cx:pt>
          <cx:pt idx="16564">1</cx:pt>
          <cx:pt idx="16565">0</cx:pt>
          <cx:pt idx="16566">0</cx:pt>
          <cx:pt idx="16567">0</cx:pt>
          <cx:pt idx="16568">0</cx:pt>
          <cx:pt idx="16569">0</cx:pt>
          <cx:pt idx="16570">0</cx:pt>
          <cx:pt idx="16571">0</cx:pt>
          <cx:pt idx="16572">0</cx:pt>
          <cx:pt idx="16573">0</cx:pt>
          <cx:pt idx="16574">0</cx:pt>
          <cx:pt idx="16575">0</cx:pt>
          <cx:pt idx="16576">0</cx:pt>
          <cx:pt idx="16577">0</cx:pt>
          <cx:pt idx="16578">0</cx:pt>
          <cx:pt idx="16579">0</cx:pt>
          <cx:pt idx="16580">0</cx:pt>
          <cx:pt idx="16581">1</cx:pt>
          <cx:pt idx="16582">1</cx:pt>
          <cx:pt idx="16583">1</cx:pt>
          <cx:pt idx="16584">1</cx:pt>
          <cx:pt idx="16585">1</cx:pt>
          <cx:pt idx="16586">0</cx:pt>
          <cx:pt idx="16587">0</cx:pt>
          <cx:pt idx="16588">1</cx:pt>
          <cx:pt idx="16589">1</cx:pt>
          <cx:pt idx="16590">0</cx:pt>
          <cx:pt idx="16591">0</cx:pt>
          <cx:pt idx="16592">1</cx:pt>
          <cx:pt idx="16593">0</cx:pt>
          <cx:pt idx="16594">1</cx:pt>
          <cx:pt idx="16595">1</cx:pt>
          <cx:pt idx="16596">0</cx:pt>
          <cx:pt idx="16597">0</cx:pt>
          <cx:pt idx="16598">1</cx:pt>
          <cx:pt idx="16599">1</cx:pt>
          <cx:pt idx="16600">0</cx:pt>
          <cx:pt idx="16601">1</cx:pt>
          <cx:pt idx="16602">0</cx:pt>
          <cx:pt idx="16603">1</cx:pt>
          <cx:pt idx="16604">0</cx:pt>
          <cx:pt idx="16605">1</cx:pt>
          <cx:pt idx="16606">1</cx:pt>
          <cx:pt idx="16607">1</cx:pt>
          <cx:pt idx="16608">0</cx:pt>
          <cx:pt idx="16609">0</cx:pt>
          <cx:pt idx="16610">0</cx:pt>
          <cx:pt idx="16611">1</cx:pt>
          <cx:pt idx="16612">1</cx:pt>
          <cx:pt idx="16613">1</cx:pt>
          <cx:pt idx="16614">1</cx:pt>
          <cx:pt idx="16615">1</cx:pt>
          <cx:pt idx="16616">0</cx:pt>
          <cx:pt idx="16617">0</cx:pt>
          <cx:pt idx="16618">1</cx:pt>
          <cx:pt idx="16619">1</cx:pt>
          <cx:pt idx="16620">0</cx:pt>
          <cx:pt idx="16621">0</cx:pt>
          <cx:pt idx="16622">1</cx:pt>
          <cx:pt idx="16623">1</cx:pt>
          <cx:pt idx="16624">1</cx:pt>
          <cx:pt idx="16625">0</cx:pt>
          <cx:pt idx="16626">0</cx:pt>
          <cx:pt idx="16627">0</cx:pt>
          <cx:pt idx="16628">1</cx:pt>
          <cx:pt idx="16629">0</cx:pt>
          <cx:pt idx="16630">1</cx:pt>
          <cx:pt idx="16631">1</cx:pt>
          <cx:pt idx="16632">1</cx:pt>
          <cx:pt idx="16633">0</cx:pt>
          <cx:pt idx="16634">0</cx:pt>
          <cx:pt idx="16635">0</cx:pt>
          <cx:pt idx="16636">0</cx:pt>
          <cx:pt idx="16637">0</cx:pt>
          <cx:pt idx="16638">0</cx:pt>
          <cx:pt idx="16639">0</cx:pt>
          <cx:pt idx="16640">0</cx:pt>
          <cx:pt idx="16641">1</cx:pt>
          <cx:pt idx="16642">1</cx:pt>
          <cx:pt idx="16643">1</cx:pt>
          <cx:pt idx="16644">0</cx:pt>
          <cx:pt idx="16645">0</cx:pt>
          <cx:pt idx="16646">0</cx:pt>
          <cx:pt idx="16647">0</cx:pt>
          <cx:pt idx="16648">1</cx:pt>
          <cx:pt idx="16649">0</cx:pt>
          <cx:pt idx="16650">1</cx:pt>
          <cx:pt idx="16651">1</cx:pt>
          <cx:pt idx="16652">0</cx:pt>
          <cx:pt idx="16653">0</cx:pt>
          <cx:pt idx="16654">0</cx:pt>
          <cx:pt idx="16655">1</cx:pt>
          <cx:pt idx="16656">1</cx:pt>
          <cx:pt idx="16657">1</cx:pt>
          <cx:pt idx="16658">1</cx:pt>
          <cx:pt idx="16659">0</cx:pt>
          <cx:pt idx="16660">0</cx:pt>
          <cx:pt idx="16661">0</cx:pt>
          <cx:pt idx="16662">0</cx:pt>
          <cx:pt idx="16663">1</cx:pt>
          <cx:pt idx="16664">1</cx:pt>
          <cx:pt idx="16665">1</cx:pt>
          <cx:pt idx="16666">1</cx:pt>
          <cx:pt idx="16667">0</cx:pt>
          <cx:pt idx="16668">1</cx:pt>
          <cx:pt idx="16669">1</cx:pt>
          <cx:pt idx="16670">0</cx:pt>
          <cx:pt idx="16671">0</cx:pt>
          <cx:pt idx="16672">0</cx:pt>
          <cx:pt idx="16673">0</cx:pt>
          <cx:pt idx="16674">1</cx:pt>
          <cx:pt idx="16675">1</cx:pt>
          <cx:pt idx="16676">0</cx:pt>
          <cx:pt idx="16677">0</cx:pt>
          <cx:pt idx="16678">1</cx:pt>
          <cx:pt idx="16679">0</cx:pt>
          <cx:pt idx="16680">0</cx:pt>
          <cx:pt idx="16681">1</cx:pt>
          <cx:pt idx="16682">0</cx:pt>
          <cx:pt idx="16683">1</cx:pt>
          <cx:pt idx="16684">1</cx:pt>
          <cx:pt idx="16685">1</cx:pt>
          <cx:pt idx="16686">1</cx:pt>
          <cx:pt idx="16687">1</cx:pt>
          <cx:pt idx="16688">0</cx:pt>
          <cx:pt idx="16689">1</cx:pt>
          <cx:pt idx="16690">0</cx:pt>
          <cx:pt idx="16691">1</cx:pt>
          <cx:pt idx="16692">0</cx:pt>
          <cx:pt idx="16693">1</cx:pt>
          <cx:pt idx="16694">0</cx:pt>
          <cx:pt idx="16695">0</cx:pt>
          <cx:pt idx="16696">1</cx:pt>
          <cx:pt idx="16697">1</cx:pt>
          <cx:pt idx="16698">0</cx:pt>
          <cx:pt idx="16699">0</cx:pt>
          <cx:pt idx="16700">0</cx:pt>
          <cx:pt idx="16701">1</cx:pt>
          <cx:pt idx="16702">1</cx:pt>
          <cx:pt idx="16703">1</cx:pt>
          <cx:pt idx="16704">1</cx:pt>
          <cx:pt idx="16705">0</cx:pt>
          <cx:pt idx="16706">0</cx:pt>
          <cx:pt idx="16707">1</cx:pt>
          <cx:pt idx="16708">1</cx:pt>
          <cx:pt idx="16709">0</cx:pt>
          <cx:pt idx="16710">1</cx:pt>
          <cx:pt idx="16711">0</cx:pt>
          <cx:pt idx="16712">1</cx:pt>
          <cx:pt idx="16713">0</cx:pt>
          <cx:pt idx="16714">0</cx:pt>
          <cx:pt idx="16715">0</cx:pt>
          <cx:pt idx="16716">0</cx:pt>
          <cx:pt idx="16717">0</cx:pt>
          <cx:pt idx="16718">1</cx:pt>
          <cx:pt idx="16719">0</cx:pt>
          <cx:pt idx="16720">1</cx:pt>
          <cx:pt idx="16721">1</cx:pt>
          <cx:pt idx="16722">0</cx:pt>
          <cx:pt idx="16723">1</cx:pt>
          <cx:pt idx="16724">0</cx:pt>
          <cx:pt idx="16725">1</cx:pt>
          <cx:pt idx="16726">0</cx:pt>
          <cx:pt idx="16727">1</cx:pt>
          <cx:pt idx="16728">1</cx:pt>
          <cx:pt idx="16729">1</cx:pt>
          <cx:pt idx="16730">0</cx:pt>
          <cx:pt idx="16731">1</cx:pt>
          <cx:pt idx="16732">1</cx:pt>
          <cx:pt idx="16733">0</cx:pt>
          <cx:pt idx="16734">1</cx:pt>
          <cx:pt idx="16735">1</cx:pt>
          <cx:pt idx="16736">0</cx:pt>
          <cx:pt idx="16737">0</cx:pt>
          <cx:pt idx="16738">0</cx:pt>
          <cx:pt idx="16739">1</cx:pt>
          <cx:pt idx="16740">1</cx:pt>
          <cx:pt idx="16741">1</cx:pt>
          <cx:pt idx="16742">0</cx:pt>
          <cx:pt idx="16743">1</cx:pt>
          <cx:pt idx="16744">0</cx:pt>
          <cx:pt idx="16745">0</cx:pt>
          <cx:pt idx="16746">1</cx:pt>
          <cx:pt idx="16747">1</cx:pt>
          <cx:pt idx="16748">1</cx:pt>
          <cx:pt idx="16749">0</cx:pt>
          <cx:pt idx="16750">0</cx:pt>
          <cx:pt idx="16751">0</cx:pt>
          <cx:pt idx="16752">1</cx:pt>
          <cx:pt idx="16753">1</cx:pt>
          <cx:pt idx="16754">0</cx:pt>
          <cx:pt idx="16755">0</cx:pt>
          <cx:pt idx="16756">1</cx:pt>
          <cx:pt idx="16757">0</cx:pt>
          <cx:pt idx="16758">0</cx:pt>
          <cx:pt idx="16759">0</cx:pt>
          <cx:pt idx="16760">0</cx:pt>
          <cx:pt idx="16761">1</cx:pt>
          <cx:pt idx="16762">1</cx:pt>
          <cx:pt idx="16763">1</cx:pt>
          <cx:pt idx="16764">0</cx:pt>
          <cx:pt idx="16765">1</cx:pt>
          <cx:pt idx="16766">0</cx:pt>
          <cx:pt idx="16767">1</cx:pt>
          <cx:pt idx="16768">0</cx:pt>
          <cx:pt idx="16769">0</cx:pt>
          <cx:pt idx="16770">0</cx:pt>
          <cx:pt idx="16771">0</cx:pt>
          <cx:pt idx="16772">1</cx:pt>
          <cx:pt idx="16773">1</cx:pt>
          <cx:pt idx="16774">1</cx:pt>
          <cx:pt idx="16775">1</cx:pt>
          <cx:pt idx="16776">1</cx:pt>
          <cx:pt idx="16777">0</cx:pt>
          <cx:pt idx="16778">1</cx:pt>
          <cx:pt idx="16779">1</cx:pt>
          <cx:pt idx="16780">1</cx:pt>
          <cx:pt idx="16781">0</cx:pt>
          <cx:pt idx="16782">0</cx:pt>
          <cx:pt idx="16783">1</cx:pt>
          <cx:pt idx="16784">1</cx:pt>
          <cx:pt idx="16785">0</cx:pt>
          <cx:pt idx="16786">0</cx:pt>
          <cx:pt idx="16787">1</cx:pt>
          <cx:pt idx="16788">0</cx:pt>
          <cx:pt idx="16789">0</cx:pt>
          <cx:pt idx="16790">1</cx:pt>
          <cx:pt idx="16791">0</cx:pt>
          <cx:pt idx="16792">0</cx:pt>
          <cx:pt idx="16793">0</cx:pt>
          <cx:pt idx="16794">1</cx:pt>
          <cx:pt idx="16795">1</cx:pt>
          <cx:pt idx="16796">0</cx:pt>
          <cx:pt idx="16797">1</cx:pt>
          <cx:pt idx="16798">1</cx:pt>
          <cx:pt idx="16799">0</cx:pt>
          <cx:pt idx="16800">0</cx:pt>
          <cx:pt idx="16801">0</cx:pt>
          <cx:pt idx="16802">0</cx:pt>
          <cx:pt idx="16803">1</cx:pt>
          <cx:pt idx="16804">0</cx:pt>
          <cx:pt idx="16805">0</cx:pt>
          <cx:pt idx="16806">1</cx:pt>
          <cx:pt idx="16807">1</cx:pt>
          <cx:pt idx="16808">0</cx:pt>
          <cx:pt idx="16809">0</cx:pt>
          <cx:pt idx="16810">0</cx:pt>
          <cx:pt idx="16811">1</cx:pt>
          <cx:pt idx="16812">1</cx:pt>
          <cx:pt idx="16813">0</cx:pt>
          <cx:pt idx="16814">0</cx:pt>
          <cx:pt idx="16815">0</cx:pt>
          <cx:pt idx="16816">1</cx:pt>
          <cx:pt idx="16817">1</cx:pt>
          <cx:pt idx="16818">0</cx:pt>
          <cx:pt idx="16819">1</cx:pt>
          <cx:pt idx="16820">0</cx:pt>
          <cx:pt idx="16821">0</cx:pt>
          <cx:pt idx="16822">1</cx:pt>
          <cx:pt idx="16823">1</cx:pt>
          <cx:pt idx="16824">0</cx:pt>
          <cx:pt idx="16825">1</cx:pt>
          <cx:pt idx="16826">1</cx:pt>
          <cx:pt idx="16827">1</cx:pt>
          <cx:pt idx="16828">0</cx:pt>
          <cx:pt idx="16829">0</cx:pt>
          <cx:pt idx="16830">1</cx:pt>
          <cx:pt idx="16831">0</cx:pt>
          <cx:pt idx="16832">0</cx:pt>
          <cx:pt idx="16833">1</cx:pt>
          <cx:pt idx="16834">0</cx:pt>
          <cx:pt idx="16835">0</cx:pt>
          <cx:pt idx="16836">0</cx:pt>
          <cx:pt idx="16837">0</cx:pt>
          <cx:pt idx="16838">0</cx:pt>
          <cx:pt idx="16839">0</cx:pt>
          <cx:pt idx="16840">0</cx:pt>
          <cx:pt idx="16841">1</cx:pt>
          <cx:pt idx="16842">1</cx:pt>
          <cx:pt idx="16843">0</cx:pt>
          <cx:pt idx="16844">0</cx:pt>
          <cx:pt idx="16845">0</cx:pt>
          <cx:pt idx="16846">0</cx:pt>
          <cx:pt idx="16847">1</cx:pt>
          <cx:pt idx="16848">0</cx:pt>
          <cx:pt idx="16849">0</cx:pt>
          <cx:pt idx="16850">1</cx:pt>
          <cx:pt idx="16851">1</cx:pt>
          <cx:pt idx="16852">1</cx:pt>
          <cx:pt idx="16853">1</cx:pt>
          <cx:pt idx="16854">1</cx:pt>
          <cx:pt idx="16855">1</cx:pt>
          <cx:pt idx="16856">0</cx:pt>
          <cx:pt idx="16857">1</cx:pt>
          <cx:pt idx="16858">1</cx:pt>
          <cx:pt idx="16859">1</cx:pt>
          <cx:pt idx="16860">0</cx:pt>
          <cx:pt idx="16861">1</cx:pt>
          <cx:pt idx="16862">0</cx:pt>
          <cx:pt idx="16863">0</cx:pt>
          <cx:pt idx="16864">0</cx:pt>
          <cx:pt idx="16865">0</cx:pt>
          <cx:pt idx="16866">0</cx:pt>
          <cx:pt idx="16867">0</cx:pt>
          <cx:pt idx="16868">0</cx:pt>
          <cx:pt idx="16869">1</cx:pt>
          <cx:pt idx="16870">1</cx:pt>
          <cx:pt idx="16871">1</cx:pt>
          <cx:pt idx="16872">1</cx:pt>
          <cx:pt idx="16873">0</cx:pt>
          <cx:pt idx="16874">0</cx:pt>
          <cx:pt idx="16875">0</cx:pt>
          <cx:pt idx="16876">0</cx:pt>
          <cx:pt idx="16877">0</cx:pt>
          <cx:pt idx="16878">1</cx:pt>
          <cx:pt idx="16879">0</cx:pt>
          <cx:pt idx="16880">1</cx:pt>
          <cx:pt idx="16881">1</cx:pt>
          <cx:pt idx="16882">0</cx:pt>
          <cx:pt idx="16883">1</cx:pt>
          <cx:pt idx="16884">0</cx:pt>
          <cx:pt idx="16885">0</cx:pt>
          <cx:pt idx="16886">0</cx:pt>
          <cx:pt idx="16887">0</cx:pt>
          <cx:pt idx="16888">0</cx:pt>
          <cx:pt idx="16889">1</cx:pt>
          <cx:pt idx="16890">1</cx:pt>
          <cx:pt idx="16891">1</cx:pt>
          <cx:pt idx="16892">1</cx:pt>
          <cx:pt idx="16893">0</cx:pt>
          <cx:pt idx="16894">1</cx:pt>
          <cx:pt idx="16895">1</cx:pt>
          <cx:pt idx="16896">1</cx:pt>
          <cx:pt idx="16897">1</cx:pt>
          <cx:pt idx="16898">0</cx:pt>
          <cx:pt idx="16899">0</cx:pt>
          <cx:pt idx="16900">0</cx:pt>
          <cx:pt idx="16901">1</cx:pt>
          <cx:pt idx="16902">1</cx:pt>
          <cx:pt idx="16903">1</cx:pt>
          <cx:pt idx="16904">0</cx:pt>
          <cx:pt idx="16905">0</cx:pt>
          <cx:pt idx="16906">0</cx:pt>
          <cx:pt idx="16907">1</cx:pt>
          <cx:pt idx="16908">1</cx:pt>
          <cx:pt idx="16909">1</cx:pt>
          <cx:pt idx="16910">0</cx:pt>
          <cx:pt idx="16911">0</cx:pt>
          <cx:pt idx="16912">0</cx:pt>
          <cx:pt idx="16913">1</cx:pt>
          <cx:pt idx="16914">0</cx:pt>
          <cx:pt idx="16915">0</cx:pt>
          <cx:pt idx="16916">0</cx:pt>
          <cx:pt idx="16917">0</cx:pt>
          <cx:pt idx="16918">0</cx:pt>
          <cx:pt idx="16919">0</cx:pt>
          <cx:pt idx="16920">0</cx:pt>
          <cx:pt idx="16921">1</cx:pt>
          <cx:pt idx="16922">0</cx:pt>
          <cx:pt idx="16923">1</cx:pt>
          <cx:pt idx="16924">1</cx:pt>
          <cx:pt idx="16925">1</cx:pt>
          <cx:pt idx="16926">1</cx:pt>
          <cx:pt idx="16927">1</cx:pt>
          <cx:pt idx="16928">1</cx:pt>
          <cx:pt idx="16929">1</cx:pt>
          <cx:pt idx="16930">0</cx:pt>
          <cx:pt idx="16931">1</cx:pt>
          <cx:pt idx="16932">0</cx:pt>
          <cx:pt idx="16933">1</cx:pt>
          <cx:pt idx="16934">0</cx:pt>
          <cx:pt idx="16935">1</cx:pt>
          <cx:pt idx="16936">1</cx:pt>
          <cx:pt idx="16937">1</cx:pt>
          <cx:pt idx="16938">1</cx:pt>
          <cx:pt idx="16939">0</cx:pt>
          <cx:pt idx="16940">0</cx:pt>
          <cx:pt idx="16941">0</cx:pt>
          <cx:pt idx="16942">0</cx:pt>
          <cx:pt idx="16943">1</cx:pt>
          <cx:pt idx="16944">0</cx:pt>
          <cx:pt idx="16945">0</cx:pt>
          <cx:pt idx="16946">0</cx:pt>
          <cx:pt idx="16947">0</cx:pt>
          <cx:pt idx="16948">1</cx:pt>
          <cx:pt idx="16949">0</cx:pt>
          <cx:pt idx="16950">1</cx:pt>
          <cx:pt idx="16951">0</cx:pt>
          <cx:pt idx="16952">1</cx:pt>
          <cx:pt idx="16953">1</cx:pt>
          <cx:pt idx="16954">0</cx:pt>
          <cx:pt idx="16955">0</cx:pt>
          <cx:pt idx="16956">0</cx:pt>
          <cx:pt idx="16957">1</cx:pt>
          <cx:pt idx="16958">0</cx:pt>
          <cx:pt idx="16959">0</cx:pt>
          <cx:pt idx="16960">0</cx:pt>
          <cx:pt idx="16961">1</cx:pt>
          <cx:pt idx="16962">1</cx:pt>
          <cx:pt idx="16963">1</cx:pt>
          <cx:pt idx="16964">0</cx:pt>
          <cx:pt idx="16965">0</cx:pt>
          <cx:pt idx="16966">1</cx:pt>
          <cx:pt idx="16967">0</cx:pt>
          <cx:pt idx="16968">1</cx:pt>
          <cx:pt idx="16969">1</cx:pt>
          <cx:pt idx="16970">1</cx:pt>
          <cx:pt idx="16971">0</cx:pt>
          <cx:pt idx="16972">0</cx:pt>
          <cx:pt idx="16973">0</cx:pt>
          <cx:pt idx="16974">0</cx:pt>
          <cx:pt idx="16975">1</cx:pt>
          <cx:pt idx="16976">0</cx:pt>
          <cx:pt idx="16977">1</cx:pt>
          <cx:pt idx="16978">0</cx:pt>
          <cx:pt idx="16979">1</cx:pt>
          <cx:pt idx="16980">0</cx:pt>
          <cx:pt idx="16981">1</cx:pt>
          <cx:pt idx="16982">0</cx:pt>
          <cx:pt idx="16983">0</cx:pt>
          <cx:pt idx="16984">0</cx:pt>
          <cx:pt idx="16985">0</cx:pt>
          <cx:pt idx="16986">1</cx:pt>
          <cx:pt idx="16987">0</cx:pt>
          <cx:pt idx="16988">0</cx:pt>
          <cx:pt idx="16989">0</cx:pt>
          <cx:pt idx="16990">0</cx:pt>
          <cx:pt idx="16991">0</cx:pt>
          <cx:pt idx="16992">0</cx:pt>
          <cx:pt idx="16993">0</cx:pt>
          <cx:pt idx="16994">1</cx:pt>
          <cx:pt idx="16995">0</cx:pt>
          <cx:pt idx="16996">0</cx:pt>
          <cx:pt idx="16997">0</cx:pt>
          <cx:pt idx="16998">0</cx:pt>
          <cx:pt idx="16999">0</cx:pt>
          <cx:pt idx="17000">0</cx:pt>
          <cx:pt idx="17001">0</cx:pt>
          <cx:pt idx="17002">1</cx:pt>
          <cx:pt idx="17003">0</cx:pt>
          <cx:pt idx="17004">0</cx:pt>
          <cx:pt idx="17005">0</cx:pt>
          <cx:pt idx="17006">0</cx:pt>
          <cx:pt idx="17007">0</cx:pt>
          <cx:pt idx="17008">0</cx:pt>
          <cx:pt idx="17009">0</cx:pt>
          <cx:pt idx="17010">0</cx:pt>
          <cx:pt idx="17011">0</cx:pt>
          <cx:pt idx="17012">1</cx:pt>
          <cx:pt idx="17013">1</cx:pt>
          <cx:pt idx="17014">1</cx:pt>
          <cx:pt idx="17015">0</cx:pt>
          <cx:pt idx="17016">0</cx:pt>
          <cx:pt idx="17017">1</cx:pt>
          <cx:pt idx="17018">0</cx:pt>
          <cx:pt idx="17019">0</cx:pt>
          <cx:pt idx="17020">0</cx:pt>
          <cx:pt idx="17021">0</cx:pt>
          <cx:pt idx="17022">0</cx:pt>
          <cx:pt idx="17023">0</cx:pt>
          <cx:pt idx="17024">1</cx:pt>
          <cx:pt idx="17025">0</cx:pt>
          <cx:pt idx="17026">0</cx:pt>
          <cx:pt idx="17027">0</cx:pt>
          <cx:pt idx="17028">1</cx:pt>
          <cx:pt idx="17029">0</cx:pt>
          <cx:pt idx="17030">0</cx:pt>
          <cx:pt idx="17031">0</cx:pt>
          <cx:pt idx="17032">0</cx:pt>
          <cx:pt idx="17033">1</cx:pt>
          <cx:pt idx="17034">0</cx:pt>
          <cx:pt idx="17035">0</cx:pt>
          <cx:pt idx="17036">1</cx:pt>
          <cx:pt idx="17037">1</cx:pt>
          <cx:pt idx="17038">0</cx:pt>
          <cx:pt idx="17039">1</cx:pt>
          <cx:pt idx="17040">1</cx:pt>
          <cx:pt idx="17041">0</cx:pt>
          <cx:pt idx="17042">0</cx:pt>
          <cx:pt idx="17043">0</cx:pt>
          <cx:pt idx="17044">0</cx:pt>
          <cx:pt idx="17045">0</cx:pt>
          <cx:pt idx="17046">1</cx:pt>
          <cx:pt idx="17047">0</cx:pt>
          <cx:pt idx="17048">1</cx:pt>
          <cx:pt idx="17049">1</cx:pt>
          <cx:pt idx="17050">0</cx:pt>
          <cx:pt idx="17051">1</cx:pt>
          <cx:pt idx="17052">1</cx:pt>
          <cx:pt idx="17053">0</cx:pt>
          <cx:pt idx="17054">1</cx:pt>
          <cx:pt idx="17055">1</cx:pt>
          <cx:pt idx="17056">1</cx:pt>
          <cx:pt idx="17057">1</cx:pt>
          <cx:pt idx="17058">1</cx:pt>
          <cx:pt idx="17059">0</cx:pt>
          <cx:pt idx="17060">0</cx:pt>
          <cx:pt idx="17061">0</cx:pt>
          <cx:pt idx="17062">1</cx:pt>
          <cx:pt idx="17063">1</cx:pt>
          <cx:pt idx="17064">0</cx:pt>
          <cx:pt idx="17065">0</cx:pt>
          <cx:pt idx="17066">1</cx:pt>
          <cx:pt idx="17067">0</cx:pt>
          <cx:pt idx="17068">1</cx:pt>
          <cx:pt idx="17069">0</cx:pt>
          <cx:pt idx="17070">0</cx:pt>
          <cx:pt idx="17071">1</cx:pt>
          <cx:pt idx="17072">0</cx:pt>
          <cx:pt idx="17073">1</cx:pt>
          <cx:pt idx="17074">1</cx:pt>
          <cx:pt idx="17075">1</cx:pt>
          <cx:pt idx="17076">1</cx:pt>
          <cx:pt idx="17077">0</cx:pt>
          <cx:pt idx="17078">0</cx:pt>
          <cx:pt idx="17079">1</cx:pt>
          <cx:pt idx="17080">0</cx:pt>
          <cx:pt idx="17081">0</cx:pt>
          <cx:pt idx="17082">0</cx:pt>
          <cx:pt idx="17083">1</cx:pt>
          <cx:pt idx="17084">0</cx:pt>
          <cx:pt idx="17085">0</cx:pt>
          <cx:pt idx="17086">0</cx:pt>
          <cx:pt idx="17087">0</cx:pt>
          <cx:pt idx="17088">1</cx:pt>
          <cx:pt idx="17089">1</cx:pt>
          <cx:pt idx="17090">0</cx:pt>
          <cx:pt idx="17091">0</cx:pt>
          <cx:pt idx="17092">0</cx:pt>
          <cx:pt idx="17093">0</cx:pt>
          <cx:pt idx="17094">0</cx:pt>
          <cx:pt idx="17095">0</cx:pt>
          <cx:pt idx="17096">1</cx:pt>
          <cx:pt idx="17097">0</cx:pt>
          <cx:pt idx="17098">1</cx:pt>
          <cx:pt idx="17099">1</cx:pt>
          <cx:pt idx="17100">1</cx:pt>
          <cx:pt idx="17101">1</cx:pt>
          <cx:pt idx="17102">0</cx:pt>
          <cx:pt idx="17103">0</cx:pt>
          <cx:pt idx="17104">0</cx:pt>
          <cx:pt idx="17105">0</cx:pt>
          <cx:pt idx="17106">1</cx:pt>
          <cx:pt idx="17107">0</cx:pt>
          <cx:pt idx="17108">1</cx:pt>
          <cx:pt idx="17109">0</cx:pt>
          <cx:pt idx="17110">1</cx:pt>
          <cx:pt idx="17111">1</cx:pt>
          <cx:pt idx="17112">0</cx:pt>
          <cx:pt idx="17113">1</cx:pt>
          <cx:pt idx="17114">1</cx:pt>
          <cx:pt idx="17115">1</cx:pt>
          <cx:pt idx="17116">1</cx:pt>
          <cx:pt idx="17117">0</cx:pt>
          <cx:pt idx="17118">0</cx:pt>
          <cx:pt idx="17119">0</cx:pt>
          <cx:pt idx="17120">0</cx:pt>
          <cx:pt idx="17121">1</cx:pt>
          <cx:pt idx="17122">0</cx:pt>
          <cx:pt idx="17123">0</cx:pt>
          <cx:pt idx="17124">0</cx:pt>
          <cx:pt idx="17125">0</cx:pt>
          <cx:pt idx="17126">0</cx:pt>
          <cx:pt idx="17127">1</cx:pt>
          <cx:pt idx="17128">1</cx:pt>
          <cx:pt idx="17129">0</cx:pt>
          <cx:pt idx="17130">0</cx:pt>
          <cx:pt idx="17131">0</cx:pt>
          <cx:pt idx="17132">0</cx:pt>
          <cx:pt idx="17133">0</cx:pt>
          <cx:pt idx="17134">1</cx:pt>
          <cx:pt idx="17135">0</cx:pt>
          <cx:pt idx="17136">1</cx:pt>
          <cx:pt idx="17137">0</cx:pt>
          <cx:pt idx="17138">1</cx:pt>
          <cx:pt idx="17139">1</cx:pt>
          <cx:pt idx="17140">0</cx:pt>
          <cx:pt idx="17141">0</cx:pt>
          <cx:pt idx="17142">0</cx:pt>
          <cx:pt idx="17143">0</cx:pt>
          <cx:pt idx="17144">0</cx:pt>
          <cx:pt idx="17145">1</cx:pt>
          <cx:pt idx="17146">0</cx:pt>
          <cx:pt idx="17147">1</cx:pt>
          <cx:pt idx="17148">0</cx:pt>
          <cx:pt idx="17149">1</cx:pt>
          <cx:pt idx="17150">0</cx:pt>
          <cx:pt idx="17151">1</cx:pt>
          <cx:pt idx="17152">1</cx:pt>
          <cx:pt idx="17153">0</cx:pt>
          <cx:pt idx="17154">0</cx:pt>
          <cx:pt idx="17155">0</cx:pt>
          <cx:pt idx="17156">0</cx:pt>
          <cx:pt idx="17157">1</cx:pt>
          <cx:pt idx="17158">1</cx:pt>
          <cx:pt idx="17159">0</cx:pt>
          <cx:pt idx="17160">1</cx:pt>
          <cx:pt idx="17161">1</cx:pt>
          <cx:pt idx="17162">1</cx:pt>
          <cx:pt idx="17163">0</cx:pt>
          <cx:pt idx="17164">0</cx:pt>
          <cx:pt idx="17165">0</cx:pt>
          <cx:pt idx="17166">1</cx:pt>
          <cx:pt idx="17167">0</cx:pt>
          <cx:pt idx="17168">0</cx:pt>
          <cx:pt idx="17169">1</cx:pt>
          <cx:pt idx="17170">1</cx:pt>
          <cx:pt idx="17171">1</cx:pt>
          <cx:pt idx="17172">0</cx:pt>
          <cx:pt idx="17173">0</cx:pt>
          <cx:pt idx="17174">1</cx:pt>
          <cx:pt idx="17175">1</cx:pt>
          <cx:pt idx="17176">0</cx:pt>
          <cx:pt idx="17177">1</cx:pt>
          <cx:pt idx="17178">1</cx:pt>
          <cx:pt idx="17179">0</cx:pt>
          <cx:pt idx="17180">0</cx:pt>
          <cx:pt idx="17181">0</cx:pt>
          <cx:pt idx="17182">1</cx:pt>
          <cx:pt idx="17183">1</cx:pt>
          <cx:pt idx="17184">0</cx:pt>
          <cx:pt idx="17185">0</cx:pt>
          <cx:pt idx="17186">0</cx:pt>
          <cx:pt idx="17187">1</cx:pt>
          <cx:pt idx="17188">0</cx:pt>
          <cx:pt idx="17189">1</cx:pt>
          <cx:pt idx="17190">0</cx:pt>
          <cx:pt idx="17191">1</cx:pt>
          <cx:pt idx="17192">1</cx:pt>
          <cx:pt idx="17193">1</cx:pt>
          <cx:pt idx="17194">1</cx:pt>
          <cx:pt idx="17195">0</cx:pt>
          <cx:pt idx="17196">1</cx:pt>
          <cx:pt idx="17197">1</cx:pt>
          <cx:pt idx="17198">1</cx:pt>
          <cx:pt idx="17199">0</cx:pt>
          <cx:pt idx="17200">1</cx:pt>
          <cx:pt idx="17201">1</cx:pt>
          <cx:pt idx="17202">1</cx:pt>
          <cx:pt idx="17203">1</cx:pt>
          <cx:pt idx="17204">1</cx:pt>
          <cx:pt idx="17205">0</cx:pt>
          <cx:pt idx="17206">0</cx:pt>
          <cx:pt idx="17207">0</cx:pt>
          <cx:pt idx="17208">0</cx:pt>
          <cx:pt idx="17209">1</cx:pt>
          <cx:pt idx="17210">0</cx:pt>
          <cx:pt idx="17211">1</cx:pt>
          <cx:pt idx="17212">0</cx:pt>
          <cx:pt idx="17213">0</cx:pt>
          <cx:pt idx="17214">1</cx:pt>
          <cx:pt idx="17215">0</cx:pt>
          <cx:pt idx="17216">0</cx:pt>
          <cx:pt idx="17217">1</cx:pt>
          <cx:pt idx="17218">0</cx:pt>
          <cx:pt idx="17219">1</cx:pt>
          <cx:pt idx="17220">0</cx:pt>
          <cx:pt idx="17221">0</cx:pt>
          <cx:pt idx="17222">1</cx:pt>
          <cx:pt idx="17223">0</cx:pt>
          <cx:pt idx="17224">1</cx:pt>
          <cx:pt idx="17225">0</cx:pt>
          <cx:pt idx="17226">1</cx:pt>
          <cx:pt idx="17227">1</cx:pt>
          <cx:pt idx="17228">0</cx:pt>
          <cx:pt idx="17229">0</cx:pt>
          <cx:pt idx="17230">0</cx:pt>
          <cx:pt idx="17231">0</cx:pt>
          <cx:pt idx="17232">1</cx:pt>
          <cx:pt idx="17233">0</cx:pt>
          <cx:pt idx="17234">1</cx:pt>
          <cx:pt idx="17235">1</cx:pt>
          <cx:pt idx="17236">0</cx:pt>
          <cx:pt idx="17237">0</cx:pt>
          <cx:pt idx="17238">0</cx:pt>
          <cx:pt idx="17239">1</cx:pt>
          <cx:pt idx="17240">0</cx:pt>
          <cx:pt idx="17241">0</cx:pt>
          <cx:pt idx="17242">0</cx:pt>
          <cx:pt idx="17243">0</cx:pt>
          <cx:pt idx="17244">1</cx:pt>
          <cx:pt idx="17245">0</cx:pt>
          <cx:pt idx="17246">0</cx:pt>
          <cx:pt idx="17247">0</cx:pt>
          <cx:pt idx="17248">0</cx:pt>
          <cx:pt idx="17249">0</cx:pt>
          <cx:pt idx="17250">1</cx:pt>
          <cx:pt idx="17251">1</cx:pt>
          <cx:pt idx="17252">0</cx:pt>
          <cx:pt idx="17253">0</cx:pt>
          <cx:pt idx="17254">0</cx:pt>
          <cx:pt idx="17255">1</cx:pt>
          <cx:pt idx="17256">0</cx:pt>
          <cx:pt idx="17257">1</cx:pt>
          <cx:pt idx="17258">1</cx:pt>
          <cx:pt idx="17259">0</cx:pt>
          <cx:pt idx="17260">0</cx:pt>
          <cx:pt idx="17261">0</cx:pt>
          <cx:pt idx="17262">0</cx:pt>
          <cx:pt idx="17263">0</cx:pt>
          <cx:pt idx="17264">0</cx:pt>
          <cx:pt idx="17265">1</cx:pt>
          <cx:pt idx="17266">0</cx:pt>
          <cx:pt idx="17267">1</cx:pt>
          <cx:pt idx="17268">1</cx:pt>
          <cx:pt idx="17269">1</cx:pt>
          <cx:pt idx="17270">0</cx:pt>
          <cx:pt idx="17271">0</cx:pt>
          <cx:pt idx="17272">0</cx:pt>
          <cx:pt idx="17273">0</cx:pt>
          <cx:pt idx="17274">0</cx:pt>
          <cx:pt idx="17275">1</cx:pt>
          <cx:pt idx="17276">0</cx:pt>
          <cx:pt idx="17277">0</cx:pt>
          <cx:pt idx="17278">1</cx:pt>
          <cx:pt idx="17279">1</cx:pt>
          <cx:pt idx="17280">0</cx:pt>
          <cx:pt idx="17281">0</cx:pt>
          <cx:pt idx="17282">0</cx:pt>
          <cx:pt idx="17283">0</cx:pt>
          <cx:pt idx="17284">1</cx:pt>
          <cx:pt idx="17285">0</cx:pt>
          <cx:pt idx="17286">1</cx:pt>
          <cx:pt idx="17287">1</cx:pt>
          <cx:pt idx="17288">0</cx:pt>
          <cx:pt idx="17289">1</cx:pt>
          <cx:pt idx="17290">0</cx:pt>
          <cx:pt idx="17291">1</cx:pt>
          <cx:pt idx="17292">1</cx:pt>
          <cx:pt idx="17293">0</cx:pt>
          <cx:pt idx="17294">0</cx:pt>
          <cx:pt idx="17295">0</cx:pt>
          <cx:pt idx="17296">0</cx:pt>
          <cx:pt idx="17297">1</cx:pt>
          <cx:pt idx="17298">0</cx:pt>
          <cx:pt idx="17299">0</cx:pt>
          <cx:pt idx="17300">0</cx:pt>
          <cx:pt idx="17301">0</cx:pt>
          <cx:pt idx="17302">1</cx:pt>
          <cx:pt idx="17303">0</cx:pt>
          <cx:pt idx="17304">1</cx:pt>
          <cx:pt idx="17305">1</cx:pt>
          <cx:pt idx="17306">1</cx:pt>
          <cx:pt idx="17307">1</cx:pt>
          <cx:pt idx="17308">1</cx:pt>
          <cx:pt idx="17309">0</cx:pt>
          <cx:pt idx="17310">1</cx:pt>
          <cx:pt idx="17311">0</cx:pt>
          <cx:pt idx="17312">0</cx:pt>
          <cx:pt idx="17313">1</cx:pt>
          <cx:pt idx="17314">0</cx:pt>
          <cx:pt idx="17315">0</cx:pt>
          <cx:pt idx="17316">0</cx:pt>
          <cx:pt idx="17317">0</cx:pt>
          <cx:pt idx="17318">1</cx:pt>
          <cx:pt idx="17319">0</cx:pt>
          <cx:pt idx="17320">1</cx:pt>
          <cx:pt idx="17321">0</cx:pt>
          <cx:pt idx="17322">1</cx:pt>
          <cx:pt idx="17323">0</cx:pt>
          <cx:pt idx="17324">0</cx:pt>
          <cx:pt idx="17325">0</cx:pt>
          <cx:pt idx="17326">1</cx:pt>
          <cx:pt idx="17327">1</cx:pt>
          <cx:pt idx="17328">0</cx:pt>
          <cx:pt idx="17329">1</cx:pt>
          <cx:pt idx="17330">0</cx:pt>
          <cx:pt idx="17331">1</cx:pt>
          <cx:pt idx="17332">0</cx:pt>
          <cx:pt idx="17333">0</cx:pt>
          <cx:pt idx="17334">0</cx:pt>
          <cx:pt idx="17335">0</cx:pt>
          <cx:pt idx="17336">1</cx:pt>
          <cx:pt idx="17337">1</cx:pt>
          <cx:pt idx="17338">0</cx:pt>
          <cx:pt idx="17339">0</cx:pt>
          <cx:pt idx="17340">0</cx:pt>
          <cx:pt idx="17341">0</cx:pt>
          <cx:pt idx="17342">1</cx:pt>
          <cx:pt idx="17343">0</cx:pt>
          <cx:pt idx="17344">0</cx:pt>
          <cx:pt idx="17345">0</cx:pt>
          <cx:pt idx="17346">1</cx:pt>
          <cx:pt idx="17347">0</cx:pt>
          <cx:pt idx="17348">1</cx:pt>
          <cx:pt idx="17349">1</cx:pt>
          <cx:pt idx="17350">1</cx:pt>
          <cx:pt idx="17351">0</cx:pt>
          <cx:pt idx="17352">1</cx:pt>
          <cx:pt idx="17353">0</cx:pt>
          <cx:pt idx="17354">0</cx:pt>
          <cx:pt idx="17355">0</cx:pt>
          <cx:pt idx="17356">0</cx:pt>
          <cx:pt idx="17357">1</cx:pt>
          <cx:pt idx="17358">0</cx:pt>
          <cx:pt idx="17359">0</cx:pt>
          <cx:pt idx="17360">0</cx:pt>
          <cx:pt idx="17361">0</cx:pt>
          <cx:pt idx="17362">0</cx:pt>
          <cx:pt idx="17363">0</cx:pt>
          <cx:pt idx="17364">1</cx:pt>
          <cx:pt idx="17365">0</cx:pt>
          <cx:pt idx="17366">0</cx:pt>
          <cx:pt idx="17367">1</cx:pt>
          <cx:pt idx="17368">0</cx:pt>
          <cx:pt idx="17369">1</cx:pt>
          <cx:pt idx="17370">0</cx:pt>
          <cx:pt idx="17371">0</cx:pt>
          <cx:pt idx="17372">1</cx:pt>
          <cx:pt idx="17373">0</cx:pt>
          <cx:pt idx="17374">1</cx:pt>
          <cx:pt idx="17375">0</cx:pt>
          <cx:pt idx="17376">0</cx:pt>
          <cx:pt idx="17377">0</cx:pt>
          <cx:pt idx="17378">0</cx:pt>
          <cx:pt idx="17379">1</cx:pt>
          <cx:pt idx="17380">1</cx:pt>
          <cx:pt idx="17381">0</cx:pt>
          <cx:pt idx="17382">1</cx:pt>
          <cx:pt idx="17383">0</cx:pt>
          <cx:pt idx="17384">0</cx:pt>
          <cx:pt idx="17385">1</cx:pt>
          <cx:pt idx="17386">0</cx:pt>
          <cx:pt idx="17387">0</cx:pt>
          <cx:pt idx="17388">0</cx:pt>
          <cx:pt idx="17389">0</cx:pt>
          <cx:pt idx="17390">1</cx:pt>
          <cx:pt idx="17391">1</cx:pt>
          <cx:pt idx="17392">1</cx:pt>
          <cx:pt idx="17393">1</cx:pt>
          <cx:pt idx="17394">1</cx:pt>
          <cx:pt idx="17395">1</cx:pt>
          <cx:pt idx="17396">1</cx:pt>
          <cx:pt idx="17397">0</cx:pt>
          <cx:pt idx="17398">0</cx:pt>
          <cx:pt idx="17399">0</cx:pt>
          <cx:pt idx="17400">0</cx:pt>
          <cx:pt idx="17401">1</cx:pt>
          <cx:pt idx="17402">0</cx:pt>
          <cx:pt idx="17403">0</cx:pt>
          <cx:pt idx="17404">0</cx:pt>
          <cx:pt idx="17405">0</cx:pt>
          <cx:pt idx="17406">1</cx:pt>
          <cx:pt idx="17407">0</cx:pt>
          <cx:pt idx="17408">0</cx:pt>
          <cx:pt idx="17409">1</cx:pt>
          <cx:pt idx="17410">1</cx:pt>
          <cx:pt idx="17411">1</cx:pt>
          <cx:pt idx="17412">0</cx:pt>
          <cx:pt idx="17413">0</cx:pt>
          <cx:pt idx="17414">1</cx:pt>
          <cx:pt idx="17415">1</cx:pt>
          <cx:pt idx="17416">1</cx:pt>
          <cx:pt idx="17417">1</cx:pt>
          <cx:pt idx="17418">1</cx:pt>
          <cx:pt idx="17419">0</cx:pt>
          <cx:pt idx="17420">0</cx:pt>
          <cx:pt idx="17421">0</cx:pt>
          <cx:pt idx="17422">0</cx:pt>
          <cx:pt idx="17423">0</cx:pt>
          <cx:pt idx="17424">1</cx:pt>
          <cx:pt idx="17425">1</cx:pt>
          <cx:pt idx="17426">1</cx:pt>
          <cx:pt idx="17427">1</cx:pt>
          <cx:pt idx="17428">0</cx:pt>
          <cx:pt idx="17429">1</cx:pt>
          <cx:pt idx="17430">1</cx:pt>
          <cx:pt idx="17431">1</cx:pt>
          <cx:pt idx="17432">0</cx:pt>
          <cx:pt idx="17433">0</cx:pt>
          <cx:pt idx="17434">0</cx:pt>
          <cx:pt idx="17435">0</cx:pt>
          <cx:pt idx="17436">0</cx:pt>
          <cx:pt idx="17437">0</cx:pt>
          <cx:pt idx="17438">1</cx:pt>
          <cx:pt idx="17439">0</cx:pt>
          <cx:pt idx="17440">0</cx:pt>
          <cx:pt idx="17441">0</cx:pt>
          <cx:pt idx="17442">0</cx:pt>
          <cx:pt idx="17443">1</cx:pt>
          <cx:pt idx="17444">1</cx:pt>
          <cx:pt idx="17445">1</cx:pt>
          <cx:pt idx="17446">0</cx:pt>
          <cx:pt idx="17447">1</cx:pt>
          <cx:pt idx="17448">0</cx:pt>
          <cx:pt idx="17449">0</cx:pt>
          <cx:pt idx="17450">0</cx:pt>
          <cx:pt idx="17451">1</cx:pt>
          <cx:pt idx="17452">0</cx:pt>
          <cx:pt idx="17453">1</cx:pt>
          <cx:pt idx="17454">0</cx:pt>
          <cx:pt idx="17455">0</cx:pt>
          <cx:pt idx="17456">1</cx:pt>
          <cx:pt idx="17457">1</cx:pt>
          <cx:pt idx="17458">0</cx:pt>
          <cx:pt idx="17459">0</cx:pt>
          <cx:pt idx="17460">1</cx:pt>
          <cx:pt idx="17461">1</cx:pt>
          <cx:pt idx="17462">0</cx:pt>
          <cx:pt idx="17463">0</cx:pt>
          <cx:pt idx="17464">1</cx:pt>
          <cx:pt idx="17465">0</cx:pt>
          <cx:pt idx="17466">0</cx:pt>
          <cx:pt idx="17467">1</cx:pt>
          <cx:pt idx="17468">0</cx:pt>
          <cx:pt idx="17469">1</cx:pt>
          <cx:pt idx="17470">0</cx:pt>
          <cx:pt idx="17471">0</cx:pt>
          <cx:pt idx="17472">0</cx:pt>
          <cx:pt idx="17473">0</cx:pt>
          <cx:pt idx="17474">0</cx:pt>
          <cx:pt idx="17475">0</cx:pt>
          <cx:pt idx="17476">0</cx:pt>
          <cx:pt idx="17477">1</cx:pt>
          <cx:pt idx="17478">1</cx:pt>
          <cx:pt idx="17479">0</cx:pt>
          <cx:pt idx="17480">0</cx:pt>
          <cx:pt idx="17481">1</cx:pt>
          <cx:pt idx="17482">1</cx:pt>
          <cx:pt idx="17483">0</cx:pt>
          <cx:pt idx="17484">0</cx:pt>
          <cx:pt idx="17485">1</cx:pt>
          <cx:pt idx="17486">0</cx:pt>
          <cx:pt idx="17487">0</cx:pt>
          <cx:pt idx="17488">0</cx:pt>
          <cx:pt idx="17489">1</cx:pt>
          <cx:pt idx="17490">1</cx:pt>
          <cx:pt idx="17491">1</cx:pt>
          <cx:pt idx="17492">1</cx:pt>
          <cx:pt idx="17493">1</cx:pt>
          <cx:pt idx="17494">0</cx:pt>
          <cx:pt idx="17495">1</cx:pt>
          <cx:pt idx="17496">1</cx:pt>
          <cx:pt idx="17497">1</cx:pt>
          <cx:pt idx="17498">0</cx:pt>
          <cx:pt idx="17499">0</cx:pt>
          <cx:pt idx="17500">1</cx:pt>
          <cx:pt idx="17501">1</cx:pt>
          <cx:pt idx="17502">1</cx:pt>
          <cx:pt idx="17503">0</cx:pt>
          <cx:pt idx="17504">0</cx:pt>
          <cx:pt idx="17505">0</cx:pt>
          <cx:pt idx="17506">1</cx:pt>
          <cx:pt idx="17507">1</cx:pt>
          <cx:pt idx="17508">0</cx:pt>
          <cx:pt idx="17509">1</cx:pt>
          <cx:pt idx="17510">0</cx:pt>
          <cx:pt idx="17511">0</cx:pt>
          <cx:pt idx="17512">1</cx:pt>
          <cx:pt idx="17513">0</cx:pt>
          <cx:pt idx="17514">1</cx:pt>
          <cx:pt idx="17515">1</cx:pt>
          <cx:pt idx="17516">0</cx:pt>
          <cx:pt idx="17517">1</cx:pt>
          <cx:pt idx="17518">1</cx:pt>
          <cx:pt idx="17519">0</cx:pt>
          <cx:pt idx="17520">0</cx:pt>
          <cx:pt idx="17521">0</cx:pt>
          <cx:pt idx="17522">1</cx:pt>
          <cx:pt idx="17523">1</cx:pt>
          <cx:pt idx="17524">0</cx:pt>
          <cx:pt idx="17525">0</cx:pt>
          <cx:pt idx="17526">1</cx:pt>
          <cx:pt idx="17527">0</cx:pt>
          <cx:pt idx="17528">0</cx:pt>
          <cx:pt idx="17529">1</cx:pt>
          <cx:pt idx="17530">1</cx:pt>
          <cx:pt idx="17531">0</cx:pt>
          <cx:pt idx="17532">1</cx:pt>
          <cx:pt idx="17533">1</cx:pt>
          <cx:pt idx="17534">0</cx:pt>
          <cx:pt idx="17535">0</cx:pt>
          <cx:pt idx="17536">0</cx:pt>
          <cx:pt idx="17537">1</cx:pt>
          <cx:pt idx="17538">0</cx:pt>
          <cx:pt idx="17539">1</cx:pt>
          <cx:pt idx="17540">1</cx:pt>
          <cx:pt idx="17541">0</cx:pt>
          <cx:pt idx="17542">1</cx:pt>
          <cx:pt idx="17543">1</cx:pt>
          <cx:pt idx="17544">0</cx:pt>
          <cx:pt idx="17545">1</cx:pt>
          <cx:pt idx="17546">1</cx:pt>
          <cx:pt idx="17547">0</cx:pt>
          <cx:pt idx="17548">1</cx:pt>
          <cx:pt idx="17549">0</cx:pt>
          <cx:pt idx="17550">0</cx:pt>
          <cx:pt idx="17551">0</cx:pt>
          <cx:pt idx="17552">1</cx:pt>
          <cx:pt idx="17553">0</cx:pt>
          <cx:pt idx="17554">0</cx:pt>
          <cx:pt idx="17555">0</cx:pt>
          <cx:pt idx="17556">0</cx:pt>
          <cx:pt idx="17557">0</cx:pt>
          <cx:pt idx="17558">1</cx:pt>
          <cx:pt idx="17559">1</cx:pt>
          <cx:pt idx="17560">0</cx:pt>
          <cx:pt idx="17561">0</cx:pt>
          <cx:pt idx="17562">0</cx:pt>
          <cx:pt idx="17563">1</cx:pt>
          <cx:pt idx="17564">1</cx:pt>
          <cx:pt idx="17565">1</cx:pt>
          <cx:pt idx="17566">1</cx:pt>
          <cx:pt idx="17567">1</cx:pt>
          <cx:pt idx="17568">1</cx:pt>
          <cx:pt idx="17569">0</cx:pt>
          <cx:pt idx="17570">0</cx:pt>
          <cx:pt idx="17571">1</cx:pt>
          <cx:pt idx="17572">0</cx:pt>
          <cx:pt idx="17573">1</cx:pt>
          <cx:pt idx="17574">0</cx:pt>
          <cx:pt idx="17575">0</cx:pt>
          <cx:pt idx="17576">1</cx:pt>
          <cx:pt idx="17577">0</cx:pt>
          <cx:pt idx="17578">0</cx:pt>
          <cx:pt idx="17579">0</cx:pt>
          <cx:pt idx="17580">0</cx:pt>
          <cx:pt idx="17581">0</cx:pt>
          <cx:pt idx="17582">1</cx:pt>
          <cx:pt idx="17583">1</cx:pt>
          <cx:pt idx="17584">0</cx:pt>
          <cx:pt idx="17585">1</cx:pt>
          <cx:pt idx="17586">1</cx:pt>
          <cx:pt idx="17587">0</cx:pt>
          <cx:pt idx="17588">1</cx:pt>
          <cx:pt idx="17589">0</cx:pt>
          <cx:pt idx="17590">0</cx:pt>
          <cx:pt idx="17591">1</cx:pt>
          <cx:pt idx="17592">0</cx:pt>
          <cx:pt idx="17593">1</cx:pt>
          <cx:pt idx="17594">1</cx:pt>
          <cx:pt idx="17595">1</cx:pt>
          <cx:pt idx="17596">1</cx:pt>
          <cx:pt idx="17597">1</cx:pt>
          <cx:pt idx="17598">1</cx:pt>
          <cx:pt idx="17599">1</cx:pt>
          <cx:pt idx="17600">0</cx:pt>
          <cx:pt idx="17601">0</cx:pt>
          <cx:pt idx="17602">1</cx:pt>
          <cx:pt idx="17603">0</cx:pt>
          <cx:pt idx="17604">0</cx:pt>
          <cx:pt idx="17605">0</cx:pt>
          <cx:pt idx="17606">1</cx:pt>
          <cx:pt idx="17607">1</cx:pt>
          <cx:pt idx="17608">0</cx:pt>
          <cx:pt idx="17609">0</cx:pt>
          <cx:pt idx="17610">1</cx:pt>
          <cx:pt idx="17611">0</cx:pt>
          <cx:pt idx="17612">0</cx:pt>
          <cx:pt idx="17613">0</cx:pt>
          <cx:pt idx="17614">0</cx:pt>
          <cx:pt idx="17615">0</cx:pt>
          <cx:pt idx="17616">0</cx:pt>
          <cx:pt idx="17617">0</cx:pt>
          <cx:pt idx="17618">1</cx:pt>
          <cx:pt idx="17619">0</cx:pt>
          <cx:pt idx="17620">0</cx:pt>
          <cx:pt idx="17621">0</cx:pt>
          <cx:pt idx="17622">1</cx:pt>
          <cx:pt idx="17623">1</cx:pt>
          <cx:pt idx="17624">0</cx:pt>
          <cx:pt idx="17625">0</cx:pt>
          <cx:pt idx="17626">0</cx:pt>
          <cx:pt idx="17627">0</cx:pt>
          <cx:pt idx="17628">1</cx:pt>
          <cx:pt idx="17629">1</cx:pt>
          <cx:pt idx="17630">0</cx:pt>
          <cx:pt idx="17631">1</cx:pt>
          <cx:pt idx="17632">1</cx:pt>
          <cx:pt idx="17633">0</cx:pt>
          <cx:pt idx="17634">1</cx:pt>
          <cx:pt idx="17635">0</cx:pt>
          <cx:pt idx="17636">0</cx:pt>
          <cx:pt idx="17637">0</cx:pt>
          <cx:pt idx="17638">0</cx:pt>
          <cx:pt idx="17639">1</cx:pt>
          <cx:pt idx="17640">1</cx:pt>
          <cx:pt idx="17641">0</cx:pt>
          <cx:pt idx="17642">0</cx:pt>
          <cx:pt idx="17643">1</cx:pt>
          <cx:pt idx="17644">0</cx:pt>
          <cx:pt idx="17645">1</cx:pt>
          <cx:pt idx="17646">0</cx:pt>
          <cx:pt idx="17647">1</cx:pt>
          <cx:pt idx="17648">1</cx:pt>
          <cx:pt idx="17649">0</cx:pt>
          <cx:pt idx="17650">0</cx:pt>
          <cx:pt idx="17651">0</cx:pt>
          <cx:pt idx="17652">1</cx:pt>
          <cx:pt idx="17653">0</cx:pt>
          <cx:pt idx="17654">0</cx:pt>
          <cx:pt idx="17655">1</cx:pt>
          <cx:pt idx="17656">0</cx:pt>
          <cx:pt idx="17657">1</cx:pt>
          <cx:pt idx="17658">0</cx:pt>
          <cx:pt idx="17659">1</cx:pt>
          <cx:pt idx="17660">1</cx:pt>
          <cx:pt idx="17661">1</cx:pt>
          <cx:pt idx="17662">1</cx:pt>
          <cx:pt idx="17663">0</cx:pt>
          <cx:pt idx="17664">1</cx:pt>
          <cx:pt idx="17665">1</cx:pt>
          <cx:pt idx="17666">0</cx:pt>
          <cx:pt idx="17667">1</cx:pt>
          <cx:pt idx="17668">0</cx:pt>
          <cx:pt idx="17669">0</cx:pt>
          <cx:pt idx="17670">1</cx:pt>
          <cx:pt idx="17671">0</cx:pt>
          <cx:pt idx="17672">0</cx:pt>
          <cx:pt idx="17673">0</cx:pt>
          <cx:pt idx="17674">0</cx:pt>
          <cx:pt idx="17675">1</cx:pt>
          <cx:pt idx="17676">0</cx:pt>
          <cx:pt idx="17677">0</cx:pt>
          <cx:pt idx="17678">0</cx:pt>
          <cx:pt idx="17679">1</cx:pt>
          <cx:pt idx="17680">1</cx:pt>
          <cx:pt idx="17681">1</cx:pt>
          <cx:pt idx="17682">1</cx:pt>
          <cx:pt idx="17683">0</cx:pt>
          <cx:pt idx="17684">1</cx:pt>
          <cx:pt idx="17685">0</cx:pt>
          <cx:pt idx="17686">0</cx:pt>
          <cx:pt idx="17687">1</cx:pt>
          <cx:pt idx="17688">1</cx:pt>
          <cx:pt idx="17689">0</cx:pt>
          <cx:pt idx="17690">1</cx:pt>
          <cx:pt idx="17691">0</cx:pt>
          <cx:pt idx="17692">0</cx:pt>
          <cx:pt idx="17693">0</cx:pt>
          <cx:pt idx="17694">1</cx:pt>
          <cx:pt idx="17695">1</cx:pt>
          <cx:pt idx="17696">1</cx:pt>
          <cx:pt idx="17697">1</cx:pt>
          <cx:pt idx="17698">0</cx:pt>
          <cx:pt idx="17699">0</cx:pt>
          <cx:pt idx="17700">1</cx:pt>
          <cx:pt idx="17701">1</cx:pt>
          <cx:pt idx="17702">1</cx:pt>
          <cx:pt idx="17703">0</cx:pt>
          <cx:pt idx="17704">1</cx:pt>
          <cx:pt idx="17705">1</cx:pt>
          <cx:pt idx="17706">1</cx:pt>
          <cx:pt idx="17707">0</cx:pt>
          <cx:pt idx="17708">0</cx:pt>
          <cx:pt idx="17709">0</cx:pt>
          <cx:pt idx="17710">0</cx:pt>
          <cx:pt idx="17711">1</cx:pt>
          <cx:pt idx="17712">0</cx:pt>
          <cx:pt idx="17713">1</cx:pt>
          <cx:pt idx="17714">0</cx:pt>
          <cx:pt idx="17715">1</cx:pt>
          <cx:pt idx="17716">0</cx:pt>
          <cx:pt idx="17717">1</cx:pt>
          <cx:pt idx="17718">1</cx:pt>
          <cx:pt idx="17719">1</cx:pt>
          <cx:pt idx="17720">0</cx:pt>
          <cx:pt idx="17721">0</cx:pt>
          <cx:pt idx="17722">0</cx:pt>
          <cx:pt idx="17723">0</cx:pt>
          <cx:pt idx="17724">0</cx:pt>
          <cx:pt idx="17725">1</cx:pt>
          <cx:pt idx="17726">1</cx:pt>
          <cx:pt idx="17727">0</cx:pt>
          <cx:pt idx="17728">1</cx:pt>
          <cx:pt idx="17729">0</cx:pt>
          <cx:pt idx="17730">1</cx:pt>
          <cx:pt idx="17731">0</cx:pt>
          <cx:pt idx="17732">0</cx:pt>
          <cx:pt idx="17733">1</cx:pt>
          <cx:pt idx="17734">1</cx:pt>
          <cx:pt idx="17735">1</cx:pt>
          <cx:pt idx="17736">0</cx:pt>
          <cx:pt idx="17737">0</cx:pt>
          <cx:pt idx="17738">1</cx:pt>
          <cx:pt idx="17739">1</cx:pt>
          <cx:pt idx="17740">0</cx:pt>
          <cx:pt idx="17741">0</cx:pt>
          <cx:pt idx="17742">1</cx:pt>
          <cx:pt idx="17743">0</cx:pt>
          <cx:pt idx="17744">0</cx:pt>
          <cx:pt idx="17745">0</cx:pt>
          <cx:pt idx="17746">1</cx:pt>
          <cx:pt idx="17747">0</cx:pt>
          <cx:pt idx="17748">0</cx:pt>
          <cx:pt idx="17749">1</cx:pt>
          <cx:pt idx="17750">0</cx:pt>
          <cx:pt idx="17751">1</cx:pt>
          <cx:pt idx="17752">1</cx:pt>
          <cx:pt idx="17753">0</cx:pt>
          <cx:pt idx="17754">0</cx:pt>
          <cx:pt idx="17755">1</cx:pt>
          <cx:pt idx="17756">1</cx:pt>
          <cx:pt idx="17757">0</cx:pt>
          <cx:pt idx="17758">0</cx:pt>
          <cx:pt idx="17759">1</cx:pt>
          <cx:pt idx="17760">1</cx:pt>
          <cx:pt idx="17761">0</cx:pt>
          <cx:pt idx="17762">0</cx:pt>
          <cx:pt idx="17763">0</cx:pt>
          <cx:pt idx="17764">0</cx:pt>
          <cx:pt idx="17765">1</cx:pt>
          <cx:pt idx="17766">0</cx:pt>
          <cx:pt idx="17767">1</cx:pt>
          <cx:pt idx="17768">0</cx:pt>
          <cx:pt idx="17769">1</cx:pt>
          <cx:pt idx="17770">0</cx:pt>
          <cx:pt idx="17771">0</cx:pt>
          <cx:pt idx="17772">1</cx:pt>
          <cx:pt idx="17773">0</cx:pt>
          <cx:pt idx="17774">0</cx:pt>
          <cx:pt idx="17775">0</cx:pt>
          <cx:pt idx="17776">0</cx:pt>
          <cx:pt idx="17777">1</cx:pt>
          <cx:pt idx="17778">0</cx:pt>
          <cx:pt idx="17779">0</cx:pt>
          <cx:pt idx="17780">0</cx:pt>
          <cx:pt idx="17781">1</cx:pt>
          <cx:pt idx="17782">0</cx:pt>
          <cx:pt idx="17783">1</cx:pt>
          <cx:pt idx="17784">0</cx:pt>
          <cx:pt idx="17785">1</cx:pt>
          <cx:pt idx="17786">1</cx:pt>
          <cx:pt idx="17787">0</cx:pt>
          <cx:pt idx="17788">0</cx:pt>
          <cx:pt idx="17789">1</cx:pt>
          <cx:pt idx="17790">0</cx:pt>
          <cx:pt idx="17791">1</cx:pt>
          <cx:pt idx="17792">0</cx:pt>
          <cx:pt idx="17793">0</cx:pt>
          <cx:pt idx="17794">0</cx:pt>
          <cx:pt idx="17795">1</cx:pt>
          <cx:pt idx="17796">0</cx:pt>
          <cx:pt idx="17797">1</cx:pt>
          <cx:pt idx="17798">0</cx:pt>
          <cx:pt idx="17799">0</cx:pt>
          <cx:pt idx="17800">1</cx:pt>
          <cx:pt idx="17801">1</cx:pt>
          <cx:pt idx="17802">0</cx:pt>
          <cx:pt idx="17803">0</cx:pt>
          <cx:pt idx="17804">1</cx:pt>
          <cx:pt idx="17805">1</cx:pt>
          <cx:pt idx="17806">0</cx:pt>
          <cx:pt idx="17807">1</cx:pt>
          <cx:pt idx="17808">1</cx:pt>
          <cx:pt idx="17809">0</cx:pt>
          <cx:pt idx="17810">0</cx:pt>
          <cx:pt idx="17811">0</cx:pt>
          <cx:pt idx="17812">0</cx:pt>
          <cx:pt idx="17813">0</cx:pt>
          <cx:pt idx="17814">0</cx:pt>
          <cx:pt idx="17815">0</cx:pt>
          <cx:pt idx="17816">0</cx:pt>
          <cx:pt idx="17817">0</cx:pt>
          <cx:pt idx="17818">1</cx:pt>
          <cx:pt idx="17819">1</cx:pt>
          <cx:pt idx="17820">1</cx:pt>
          <cx:pt idx="17821">1</cx:pt>
          <cx:pt idx="17822">0</cx:pt>
          <cx:pt idx="17823">1</cx:pt>
          <cx:pt idx="17824">1</cx:pt>
          <cx:pt idx="17825">0</cx:pt>
          <cx:pt idx="17826">0</cx:pt>
          <cx:pt idx="17827">0</cx:pt>
          <cx:pt idx="17828">1</cx:pt>
          <cx:pt idx="17829">1</cx:pt>
          <cx:pt idx="17830">0</cx:pt>
          <cx:pt idx="17831">1</cx:pt>
          <cx:pt idx="17832">0</cx:pt>
          <cx:pt idx="17833">1</cx:pt>
          <cx:pt idx="17834">0</cx:pt>
          <cx:pt idx="17835">0</cx:pt>
          <cx:pt idx="17836">1</cx:pt>
          <cx:pt idx="17837">0</cx:pt>
          <cx:pt idx="17838">1</cx:pt>
          <cx:pt idx="17839">1</cx:pt>
          <cx:pt idx="17840">1</cx:pt>
          <cx:pt idx="17841">0</cx:pt>
          <cx:pt idx="17842">0</cx:pt>
          <cx:pt idx="17843">0</cx:pt>
          <cx:pt idx="17844">0</cx:pt>
          <cx:pt idx="17845">0</cx:pt>
          <cx:pt idx="17846">1</cx:pt>
          <cx:pt idx="17847">1</cx:pt>
          <cx:pt idx="17848">1</cx:pt>
          <cx:pt idx="17849">1</cx:pt>
          <cx:pt idx="17850">0</cx:pt>
          <cx:pt idx="17851">0</cx:pt>
          <cx:pt idx="17852">1</cx:pt>
          <cx:pt idx="17853">0</cx:pt>
          <cx:pt idx="17854">1</cx:pt>
          <cx:pt idx="17855">0</cx:pt>
          <cx:pt idx="17856">0</cx:pt>
          <cx:pt idx="17857">0</cx:pt>
          <cx:pt idx="17858">0</cx:pt>
          <cx:pt idx="17859">0</cx:pt>
          <cx:pt idx="17860">0</cx:pt>
          <cx:pt idx="17861">1</cx:pt>
          <cx:pt idx="17862">0</cx:pt>
          <cx:pt idx="17863">1</cx:pt>
          <cx:pt idx="17864">1</cx:pt>
          <cx:pt idx="17865">1</cx:pt>
          <cx:pt idx="17866">0</cx:pt>
          <cx:pt idx="17867">1</cx:pt>
          <cx:pt idx="17868">1</cx:pt>
          <cx:pt idx="17869">0</cx:pt>
          <cx:pt idx="17870">0</cx:pt>
          <cx:pt idx="17871">0</cx:pt>
          <cx:pt idx="17872">1</cx:pt>
          <cx:pt idx="17873">0</cx:pt>
          <cx:pt idx="17874">0</cx:pt>
          <cx:pt idx="17875">0</cx:pt>
          <cx:pt idx="17876">1</cx:pt>
          <cx:pt idx="17877">0</cx:pt>
          <cx:pt idx="17878">0</cx:pt>
          <cx:pt idx="17879">0</cx:pt>
          <cx:pt idx="17880">1</cx:pt>
          <cx:pt idx="17881">0</cx:pt>
          <cx:pt idx="17882">1</cx:pt>
          <cx:pt idx="17883">1</cx:pt>
          <cx:pt idx="17884">1</cx:pt>
          <cx:pt idx="17885">0</cx:pt>
          <cx:pt idx="17886">0</cx:pt>
          <cx:pt idx="17887">0</cx:pt>
          <cx:pt idx="17888">1</cx:pt>
          <cx:pt idx="17889">0</cx:pt>
          <cx:pt idx="17890">1</cx:pt>
          <cx:pt idx="17891">1</cx:pt>
          <cx:pt idx="17892">0</cx:pt>
          <cx:pt idx="17893">0</cx:pt>
          <cx:pt idx="17894">0</cx:pt>
          <cx:pt idx="17895">1</cx:pt>
          <cx:pt idx="17896">0</cx:pt>
          <cx:pt idx="17897">1</cx:pt>
          <cx:pt idx="17898">1</cx:pt>
          <cx:pt idx="17899">0</cx:pt>
          <cx:pt idx="17900">0</cx:pt>
          <cx:pt idx="17901">0</cx:pt>
          <cx:pt idx="17902">0</cx:pt>
          <cx:pt idx="17903">1</cx:pt>
          <cx:pt idx="17904">1</cx:pt>
          <cx:pt idx="17905">0</cx:pt>
          <cx:pt idx="17906">0</cx:pt>
          <cx:pt idx="17907">1</cx:pt>
          <cx:pt idx="17908">1</cx:pt>
          <cx:pt idx="17909">1</cx:pt>
          <cx:pt idx="17910">0</cx:pt>
          <cx:pt idx="17911">0</cx:pt>
          <cx:pt idx="17912">0</cx:pt>
          <cx:pt idx="17913">0</cx:pt>
          <cx:pt idx="17914">0</cx:pt>
          <cx:pt idx="17915">0</cx:pt>
          <cx:pt idx="17916">0</cx:pt>
          <cx:pt idx="17917">0</cx:pt>
          <cx:pt idx="17918">1</cx:pt>
          <cx:pt idx="17919">0</cx:pt>
          <cx:pt idx="17920">0</cx:pt>
          <cx:pt idx="17921">0</cx:pt>
          <cx:pt idx="17922">0</cx:pt>
          <cx:pt idx="17923">0</cx:pt>
          <cx:pt idx="17924">1</cx:pt>
          <cx:pt idx="17925">0</cx:pt>
          <cx:pt idx="17926">0</cx:pt>
          <cx:pt idx="17927">0</cx:pt>
          <cx:pt idx="17928">1</cx:pt>
          <cx:pt idx="17929">0</cx:pt>
          <cx:pt idx="17930">0</cx:pt>
          <cx:pt idx="17931">1</cx:pt>
          <cx:pt idx="17932">1</cx:pt>
          <cx:pt idx="17933">0</cx:pt>
          <cx:pt idx="17934">0</cx:pt>
          <cx:pt idx="17935">0</cx:pt>
          <cx:pt idx="17936">0</cx:pt>
          <cx:pt idx="17937">0</cx:pt>
          <cx:pt idx="17938">0</cx:pt>
          <cx:pt idx="17939">1</cx:pt>
          <cx:pt idx="17940">0</cx:pt>
          <cx:pt idx="17941">0</cx:pt>
          <cx:pt idx="17942">0</cx:pt>
          <cx:pt idx="17943">0</cx:pt>
          <cx:pt idx="17944">1</cx:pt>
          <cx:pt idx="17945">0</cx:pt>
          <cx:pt idx="17946">0</cx:pt>
          <cx:pt idx="17947">0</cx:pt>
          <cx:pt idx="17948">0</cx:pt>
          <cx:pt idx="17949">0</cx:pt>
          <cx:pt idx="17950">0</cx:pt>
          <cx:pt idx="17951">0</cx:pt>
          <cx:pt idx="17952">1</cx:pt>
          <cx:pt idx="17953">1</cx:pt>
          <cx:pt idx="17954">0</cx:pt>
          <cx:pt idx="17955">0</cx:pt>
          <cx:pt idx="17956">0</cx:pt>
          <cx:pt idx="17957">1</cx:pt>
          <cx:pt idx="17958">0</cx:pt>
          <cx:pt idx="17959">0</cx:pt>
          <cx:pt idx="17960">1</cx:pt>
          <cx:pt idx="17961">0</cx:pt>
          <cx:pt idx="17962">1</cx:pt>
          <cx:pt idx="17963">1</cx:pt>
          <cx:pt idx="17964">0</cx:pt>
          <cx:pt idx="17965">1</cx:pt>
          <cx:pt idx="17966">0</cx:pt>
          <cx:pt idx="17967">1</cx:pt>
          <cx:pt idx="17968">0</cx:pt>
          <cx:pt idx="17969">0</cx:pt>
          <cx:pt idx="17970">0</cx:pt>
          <cx:pt idx="17971">0</cx:pt>
          <cx:pt idx="17972">0</cx:pt>
          <cx:pt idx="17973">0</cx:pt>
          <cx:pt idx="17974">0</cx:pt>
          <cx:pt idx="17975">0</cx:pt>
          <cx:pt idx="17976">1</cx:pt>
          <cx:pt idx="17977">1</cx:pt>
          <cx:pt idx="17978">1</cx:pt>
          <cx:pt idx="17979">0</cx:pt>
          <cx:pt idx="17980">0</cx:pt>
          <cx:pt idx="17981">0</cx:pt>
          <cx:pt idx="17982">0</cx:pt>
          <cx:pt idx="17983">1</cx:pt>
          <cx:pt idx="17984">0</cx:pt>
          <cx:pt idx="17985">1</cx:pt>
          <cx:pt idx="17986">1</cx:pt>
          <cx:pt idx="17987">1</cx:pt>
          <cx:pt idx="17988">1</cx:pt>
          <cx:pt idx="17989">1</cx:pt>
          <cx:pt idx="17990">0</cx:pt>
          <cx:pt idx="17991">1</cx:pt>
          <cx:pt idx="17992">0</cx:pt>
          <cx:pt idx="17993">0</cx:pt>
          <cx:pt idx="17994">0</cx:pt>
          <cx:pt idx="17995">1</cx:pt>
          <cx:pt idx="17996">1</cx:pt>
          <cx:pt idx="17997">0</cx:pt>
          <cx:pt idx="17998">1</cx:pt>
          <cx:pt idx="17999">1</cx:pt>
          <cx:pt idx="18000">0</cx:pt>
          <cx:pt idx="18001">1</cx:pt>
          <cx:pt idx="18002">0</cx:pt>
          <cx:pt idx="18003">1</cx:pt>
          <cx:pt idx="18004">0</cx:pt>
          <cx:pt idx="18005">0</cx:pt>
          <cx:pt idx="18006">0</cx:pt>
          <cx:pt idx="18007">1</cx:pt>
          <cx:pt idx="18008">0</cx:pt>
          <cx:pt idx="18009">1</cx:pt>
          <cx:pt idx="18010">1</cx:pt>
          <cx:pt idx="18011">1</cx:pt>
          <cx:pt idx="18012">1</cx:pt>
          <cx:pt idx="18013">0</cx:pt>
          <cx:pt idx="18014">0</cx:pt>
          <cx:pt idx="18015">0</cx:pt>
          <cx:pt idx="18016">0</cx:pt>
          <cx:pt idx="18017">1</cx:pt>
          <cx:pt idx="18018">0</cx:pt>
          <cx:pt idx="18019">1</cx:pt>
          <cx:pt idx="18020">0</cx:pt>
          <cx:pt idx="18021">0</cx:pt>
          <cx:pt idx="18022">1</cx:pt>
          <cx:pt idx="18023">0</cx:pt>
          <cx:pt idx="18024">0</cx:pt>
          <cx:pt idx="18025">0</cx:pt>
          <cx:pt idx="18026">1</cx:pt>
          <cx:pt idx="18027">1</cx:pt>
          <cx:pt idx="18028">0</cx:pt>
          <cx:pt idx="18029">1</cx:pt>
          <cx:pt idx="18030">0</cx:pt>
          <cx:pt idx="18031">1</cx:pt>
          <cx:pt idx="18032">0</cx:pt>
          <cx:pt idx="18033">0</cx:pt>
          <cx:pt idx="18034">0</cx:pt>
          <cx:pt idx="18035">1</cx:pt>
          <cx:pt idx="18036">1</cx:pt>
          <cx:pt idx="18037">0</cx:pt>
          <cx:pt idx="18038">0</cx:pt>
          <cx:pt idx="18039">1</cx:pt>
          <cx:pt idx="18040">0</cx:pt>
          <cx:pt idx="18041">0</cx:pt>
          <cx:pt idx="18042">0</cx:pt>
          <cx:pt idx="18043">1</cx:pt>
          <cx:pt idx="18044">0</cx:pt>
          <cx:pt idx="18045">1</cx:pt>
          <cx:pt idx="18046">0</cx:pt>
          <cx:pt idx="18047">1</cx:pt>
          <cx:pt idx="18048">0</cx:pt>
          <cx:pt idx="18049">0</cx:pt>
          <cx:pt idx="18050">0</cx:pt>
          <cx:pt idx="18051">0</cx:pt>
          <cx:pt idx="18052">0</cx:pt>
          <cx:pt idx="18053">0</cx:pt>
          <cx:pt idx="18054">0</cx:pt>
          <cx:pt idx="18055">1</cx:pt>
          <cx:pt idx="18056">1</cx:pt>
          <cx:pt idx="18057">1</cx:pt>
          <cx:pt idx="18058">1</cx:pt>
          <cx:pt idx="18059">0</cx:pt>
          <cx:pt idx="18060">0</cx:pt>
          <cx:pt idx="18061">1</cx:pt>
          <cx:pt idx="18062">0</cx:pt>
          <cx:pt idx="18063">0</cx:pt>
          <cx:pt idx="18064">1</cx:pt>
          <cx:pt idx="18065">1</cx:pt>
          <cx:pt idx="18066">0</cx:pt>
          <cx:pt idx="18067">1</cx:pt>
          <cx:pt idx="18068">0</cx:pt>
          <cx:pt idx="18069">0</cx:pt>
          <cx:pt idx="18070">0</cx:pt>
          <cx:pt idx="18071">0</cx:pt>
          <cx:pt idx="18072">0</cx:pt>
          <cx:pt idx="18073">0</cx:pt>
          <cx:pt idx="18074">0</cx:pt>
          <cx:pt idx="18075">1</cx:pt>
          <cx:pt idx="18076">1</cx:pt>
          <cx:pt idx="18077">0</cx:pt>
          <cx:pt idx="18078">1</cx:pt>
          <cx:pt idx="18079">0</cx:pt>
          <cx:pt idx="18080">0</cx:pt>
          <cx:pt idx="18081">1</cx:pt>
          <cx:pt idx="18082">1</cx:pt>
          <cx:pt idx="18083">1</cx:pt>
          <cx:pt idx="18084">1</cx:pt>
          <cx:pt idx="18085">0</cx:pt>
          <cx:pt idx="18086">0</cx:pt>
          <cx:pt idx="18087">0</cx:pt>
          <cx:pt idx="18088">0</cx:pt>
          <cx:pt idx="18089">0</cx:pt>
          <cx:pt idx="18090">1</cx:pt>
          <cx:pt idx="18091">0</cx:pt>
          <cx:pt idx="18092">0</cx:pt>
          <cx:pt idx="18093">0</cx:pt>
          <cx:pt idx="18094">0</cx:pt>
          <cx:pt idx="18095">0</cx:pt>
          <cx:pt idx="18096">0</cx:pt>
          <cx:pt idx="18097">0</cx:pt>
          <cx:pt idx="18098">0</cx:pt>
          <cx:pt idx="18099">0</cx:pt>
          <cx:pt idx="18100">1</cx:pt>
          <cx:pt idx="18101">1</cx:pt>
          <cx:pt idx="18102">1</cx:pt>
          <cx:pt idx="18103">0</cx:pt>
          <cx:pt idx="18104">1</cx:pt>
          <cx:pt idx="18105">0</cx:pt>
          <cx:pt idx="18106">0</cx:pt>
          <cx:pt idx="18107">0</cx:pt>
          <cx:pt idx="18108">0</cx:pt>
          <cx:pt idx="18109">1</cx:pt>
          <cx:pt idx="18110">0</cx:pt>
          <cx:pt idx="18111">0</cx:pt>
          <cx:pt idx="18112">1</cx:pt>
          <cx:pt idx="18113">0</cx:pt>
          <cx:pt idx="18114">0</cx:pt>
          <cx:pt idx="18115">1</cx:pt>
          <cx:pt idx="18116">0</cx:pt>
          <cx:pt idx="18117">0</cx:pt>
          <cx:pt idx="18118">0</cx:pt>
          <cx:pt idx="18119">0</cx:pt>
          <cx:pt idx="18120">1</cx:pt>
          <cx:pt idx="18121">0</cx:pt>
          <cx:pt idx="18122">0</cx:pt>
          <cx:pt idx="18123">1</cx:pt>
          <cx:pt idx="18124">0</cx:pt>
          <cx:pt idx="18125">1</cx:pt>
          <cx:pt idx="18126">1</cx:pt>
          <cx:pt idx="18127">0</cx:pt>
          <cx:pt idx="18128">1</cx:pt>
          <cx:pt idx="18129">0</cx:pt>
          <cx:pt idx="18130">0</cx:pt>
          <cx:pt idx="18131">0</cx:pt>
          <cx:pt idx="18132">1</cx:pt>
          <cx:pt idx="18133">1</cx:pt>
          <cx:pt idx="18134">1</cx:pt>
          <cx:pt idx="18135">1</cx:pt>
          <cx:pt idx="18136">0</cx:pt>
          <cx:pt idx="18137">1</cx:pt>
          <cx:pt idx="18138">0</cx:pt>
          <cx:pt idx="18139">0</cx:pt>
          <cx:pt idx="18140">0</cx:pt>
          <cx:pt idx="18141">0</cx:pt>
          <cx:pt idx="18142">0</cx:pt>
          <cx:pt idx="18143">0</cx:pt>
          <cx:pt idx="18144">1</cx:pt>
          <cx:pt idx="18145">1</cx:pt>
          <cx:pt idx="18146">1</cx:pt>
          <cx:pt idx="18147">0</cx:pt>
          <cx:pt idx="18148">1</cx:pt>
          <cx:pt idx="18149">1</cx:pt>
          <cx:pt idx="18150">0</cx:pt>
          <cx:pt idx="18151">1</cx:pt>
          <cx:pt idx="18152">1</cx:pt>
          <cx:pt idx="18153">0</cx:pt>
          <cx:pt idx="18154">0</cx:pt>
          <cx:pt idx="18155">0</cx:pt>
          <cx:pt idx="18156">0</cx:pt>
          <cx:pt idx="18157">1</cx:pt>
          <cx:pt idx="18158">0</cx:pt>
          <cx:pt idx="18159">0</cx:pt>
          <cx:pt idx="18160">0</cx:pt>
          <cx:pt idx="18161">0</cx:pt>
          <cx:pt idx="18162">0</cx:pt>
          <cx:pt idx="18163">0</cx:pt>
          <cx:pt idx="18164">0</cx:pt>
          <cx:pt idx="18165">0</cx:pt>
          <cx:pt idx="18166">0</cx:pt>
          <cx:pt idx="18167">0</cx:pt>
          <cx:pt idx="18168">1</cx:pt>
          <cx:pt idx="18169">1</cx:pt>
          <cx:pt idx="18170">0</cx:pt>
          <cx:pt idx="18171">1</cx:pt>
          <cx:pt idx="18172">0</cx:pt>
          <cx:pt idx="18173">0</cx:pt>
          <cx:pt idx="18174">0</cx:pt>
          <cx:pt idx="18175">1</cx:pt>
          <cx:pt idx="18176">0</cx:pt>
          <cx:pt idx="18177">0</cx:pt>
          <cx:pt idx="18178">1</cx:pt>
          <cx:pt idx="18179">1</cx:pt>
          <cx:pt idx="18180">1</cx:pt>
          <cx:pt idx="18181">1</cx:pt>
          <cx:pt idx="18182">1</cx:pt>
          <cx:pt idx="18183">0</cx:pt>
          <cx:pt idx="18184">0</cx:pt>
          <cx:pt idx="18185">0</cx:pt>
          <cx:pt idx="18186">1</cx:pt>
          <cx:pt idx="18187">0</cx:pt>
          <cx:pt idx="18188">1</cx:pt>
          <cx:pt idx="18189">0</cx:pt>
          <cx:pt idx="18190">1</cx:pt>
          <cx:pt idx="18191">0</cx:pt>
          <cx:pt idx="18192">1</cx:pt>
          <cx:pt idx="18193">1</cx:pt>
          <cx:pt idx="18194">1</cx:pt>
          <cx:pt idx="18195">0</cx:pt>
          <cx:pt idx="18196">0</cx:pt>
          <cx:pt idx="18197">0</cx:pt>
          <cx:pt idx="18198">0</cx:pt>
          <cx:pt idx="18199">1</cx:pt>
          <cx:pt idx="18200">0</cx:pt>
          <cx:pt idx="18201">0</cx:pt>
          <cx:pt idx="18202">0</cx:pt>
          <cx:pt idx="18203">0</cx:pt>
          <cx:pt idx="18204">0</cx:pt>
          <cx:pt idx="18205">1</cx:pt>
          <cx:pt idx="18206">1</cx:pt>
          <cx:pt idx="18207">0</cx:pt>
          <cx:pt idx="18208">0</cx:pt>
          <cx:pt idx="18209">1</cx:pt>
          <cx:pt idx="18210">1</cx:pt>
          <cx:pt idx="18211">0</cx:pt>
          <cx:pt idx="18212">1</cx:pt>
          <cx:pt idx="18213">0</cx:pt>
          <cx:pt idx="18214">1</cx:pt>
          <cx:pt idx="18215">0</cx:pt>
          <cx:pt idx="18216">0</cx:pt>
          <cx:pt idx="18217">0</cx:pt>
          <cx:pt idx="18218">1</cx:pt>
          <cx:pt idx="18219">0</cx:pt>
          <cx:pt idx="18220">1</cx:pt>
          <cx:pt idx="18221">1</cx:pt>
          <cx:pt idx="18222">1</cx:pt>
          <cx:pt idx="18223">0</cx:pt>
          <cx:pt idx="18224">0</cx:pt>
          <cx:pt idx="18225">0</cx:pt>
          <cx:pt idx="18226">0</cx:pt>
          <cx:pt idx="18227">0</cx:pt>
          <cx:pt idx="18228">1</cx:pt>
          <cx:pt idx="18229">1</cx:pt>
          <cx:pt idx="18230">1</cx:pt>
          <cx:pt idx="18231">0</cx:pt>
          <cx:pt idx="18232">1</cx:pt>
          <cx:pt idx="18233">0</cx:pt>
          <cx:pt idx="18234">0</cx:pt>
          <cx:pt idx="18235">1</cx:pt>
          <cx:pt idx="18236">0</cx:pt>
          <cx:pt idx="18237">1</cx:pt>
          <cx:pt idx="18238">1</cx:pt>
          <cx:pt idx="18239">0</cx:pt>
          <cx:pt idx="18240">1</cx:pt>
          <cx:pt idx="18241">1</cx:pt>
          <cx:pt idx="18242">1</cx:pt>
          <cx:pt idx="18243">1</cx:pt>
          <cx:pt idx="18244">1</cx:pt>
          <cx:pt idx="18245">0</cx:pt>
          <cx:pt idx="18246">0</cx:pt>
          <cx:pt idx="18247">1</cx:pt>
          <cx:pt idx="18248">0</cx:pt>
          <cx:pt idx="18249">0</cx:pt>
          <cx:pt idx="18250">0</cx:pt>
          <cx:pt idx="18251">1</cx:pt>
          <cx:pt idx="18252">1</cx:pt>
          <cx:pt idx="18253">0</cx:pt>
          <cx:pt idx="18254">1</cx:pt>
          <cx:pt idx="18255">1</cx:pt>
          <cx:pt idx="18256">0</cx:pt>
          <cx:pt idx="18257">1</cx:pt>
          <cx:pt idx="18258">1</cx:pt>
          <cx:pt idx="18259">0</cx:pt>
          <cx:pt idx="18260">0</cx:pt>
          <cx:pt idx="18261">0</cx:pt>
          <cx:pt idx="18262">0</cx:pt>
          <cx:pt idx="18263">1</cx:pt>
          <cx:pt idx="18264">0</cx:pt>
          <cx:pt idx="18265">0</cx:pt>
          <cx:pt idx="18266">1</cx:pt>
          <cx:pt idx="18267">0</cx:pt>
          <cx:pt idx="18268">0</cx:pt>
          <cx:pt idx="18269">0</cx:pt>
          <cx:pt idx="18270">0</cx:pt>
          <cx:pt idx="18271">1</cx:pt>
          <cx:pt idx="18272">1</cx:pt>
          <cx:pt idx="18273">0</cx:pt>
          <cx:pt idx="18274">1</cx:pt>
          <cx:pt idx="18275">1</cx:pt>
          <cx:pt idx="18276">0</cx:pt>
          <cx:pt idx="18277">0</cx:pt>
          <cx:pt idx="18278">1</cx:pt>
          <cx:pt idx="18279">0</cx:pt>
          <cx:pt idx="18280">0</cx:pt>
          <cx:pt idx="18281">0</cx:pt>
          <cx:pt idx="18282">1</cx:pt>
          <cx:pt idx="18283">1</cx:pt>
          <cx:pt idx="18284">1</cx:pt>
          <cx:pt idx="18285">1</cx:pt>
          <cx:pt idx="18286">1</cx:pt>
          <cx:pt idx="18287">0</cx:pt>
          <cx:pt idx="18288">0</cx:pt>
          <cx:pt idx="18289">1</cx:pt>
          <cx:pt idx="18290">1</cx:pt>
          <cx:pt idx="18291">1</cx:pt>
          <cx:pt idx="18292">0</cx:pt>
          <cx:pt idx="18293">0</cx:pt>
          <cx:pt idx="18294">1</cx:pt>
          <cx:pt idx="18295">0</cx:pt>
          <cx:pt idx="18296">1</cx:pt>
          <cx:pt idx="18297">0</cx:pt>
          <cx:pt idx="18298">0</cx:pt>
          <cx:pt idx="18299">0</cx:pt>
          <cx:pt idx="18300">1</cx:pt>
          <cx:pt idx="18301">0</cx:pt>
          <cx:pt idx="18302">1</cx:pt>
          <cx:pt idx="18303">0</cx:pt>
          <cx:pt idx="18304">0</cx:pt>
          <cx:pt idx="18305">1</cx:pt>
          <cx:pt idx="18306">0</cx:pt>
          <cx:pt idx="18307">1</cx:pt>
          <cx:pt idx="18308">1</cx:pt>
          <cx:pt idx="18309">0</cx:pt>
          <cx:pt idx="18310">1</cx:pt>
          <cx:pt idx="18311">1</cx:pt>
          <cx:pt idx="18312">0</cx:pt>
          <cx:pt idx="18313">0</cx:pt>
          <cx:pt idx="18314">0</cx:pt>
          <cx:pt idx="18315">1</cx:pt>
          <cx:pt idx="18316">1</cx:pt>
          <cx:pt idx="18317">1</cx:pt>
          <cx:pt idx="18318">0</cx:pt>
          <cx:pt idx="18319">0</cx:pt>
          <cx:pt idx="18320">1</cx:pt>
          <cx:pt idx="18321">0</cx:pt>
          <cx:pt idx="18322">0</cx:pt>
          <cx:pt idx="18323">1</cx:pt>
          <cx:pt idx="18324">0</cx:pt>
          <cx:pt idx="18325">0</cx:pt>
          <cx:pt idx="18326">0</cx:pt>
          <cx:pt idx="18327">0</cx:pt>
          <cx:pt idx="18328">0</cx:pt>
          <cx:pt idx="18329">0</cx:pt>
          <cx:pt idx="18330">1</cx:pt>
          <cx:pt idx="18331">1</cx:pt>
          <cx:pt idx="18332">0</cx:pt>
          <cx:pt idx="18333">0</cx:pt>
          <cx:pt idx="18334">0</cx:pt>
          <cx:pt idx="18335">1</cx:pt>
          <cx:pt idx="18336">1</cx:pt>
          <cx:pt idx="18337">0</cx:pt>
          <cx:pt idx="18338">0</cx:pt>
          <cx:pt idx="18339">0</cx:pt>
          <cx:pt idx="18340">0</cx:pt>
          <cx:pt idx="18341">1</cx:pt>
          <cx:pt idx="18342">1</cx:pt>
          <cx:pt idx="18343">0</cx:pt>
          <cx:pt idx="18344">1</cx:pt>
          <cx:pt idx="18345">0</cx:pt>
          <cx:pt idx="18346">0</cx:pt>
          <cx:pt idx="18347">1</cx:pt>
          <cx:pt idx="18348">0</cx:pt>
          <cx:pt idx="18349">1</cx:pt>
          <cx:pt idx="18350">0</cx:pt>
          <cx:pt idx="18351">0</cx:pt>
          <cx:pt idx="18352">0</cx:pt>
          <cx:pt idx="18353">1</cx:pt>
          <cx:pt idx="18354">0</cx:pt>
          <cx:pt idx="18355">1</cx:pt>
          <cx:pt idx="18356">0</cx:pt>
          <cx:pt idx="18357">0</cx:pt>
          <cx:pt idx="18358">0</cx:pt>
          <cx:pt idx="18359">1</cx:pt>
          <cx:pt idx="18360">0</cx:pt>
          <cx:pt idx="18361">0</cx:pt>
          <cx:pt idx="18362">0</cx:pt>
          <cx:pt idx="18363">0</cx:pt>
          <cx:pt idx="18364">1</cx:pt>
          <cx:pt idx="18365">0</cx:pt>
          <cx:pt idx="18366">1</cx:pt>
          <cx:pt idx="18367">0</cx:pt>
          <cx:pt idx="18368">1</cx:pt>
          <cx:pt idx="18369">0</cx:pt>
          <cx:pt idx="18370">1</cx:pt>
          <cx:pt idx="18371">0</cx:pt>
          <cx:pt idx="18372">1</cx:pt>
          <cx:pt idx="18373">0</cx:pt>
          <cx:pt idx="18374">0</cx:pt>
          <cx:pt idx="18375">0</cx:pt>
          <cx:pt idx="18376">0</cx:pt>
          <cx:pt idx="18377">0</cx:pt>
          <cx:pt idx="18378">0</cx:pt>
          <cx:pt idx="18379">0</cx:pt>
          <cx:pt idx="18380">0</cx:pt>
          <cx:pt idx="18381">1</cx:pt>
          <cx:pt idx="18382">0</cx:pt>
          <cx:pt idx="18383">0</cx:pt>
          <cx:pt idx="18384">0</cx:pt>
          <cx:pt idx="18385">0</cx:pt>
          <cx:pt idx="18386">0</cx:pt>
          <cx:pt idx="18387">0</cx:pt>
          <cx:pt idx="18388">0</cx:pt>
          <cx:pt idx="18389">1</cx:pt>
          <cx:pt idx="18390">1</cx:pt>
          <cx:pt idx="18391">0</cx:pt>
          <cx:pt idx="18392">0</cx:pt>
          <cx:pt idx="18393">0</cx:pt>
          <cx:pt idx="18394">0</cx:pt>
          <cx:pt idx="18395">0</cx:pt>
          <cx:pt idx="18396">1</cx:pt>
          <cx:pt idx="18397">0</cx:pt>
          <cx:pt idx="18398">0</cx:pt>
          <cx:pt idx="18399">1</cx:pt>
          <cx:pt idx="18400">0</cx:pt>
          <cx:pt idx="18401">0</cx:pt>
          <cx:pt idx="18402">0</cx:pt>
          <cx:pt idx="18403">0</cx:pt>
          <cx:pt idx="18404">1</cx:pt>
          <cx:pt idx="18405">1</cx:pt>
          <cx:pt idx="18406">0</cx:pt>
          <cx:pt idx="18407">0</cx:pt>
          <cx:pt idx="18408">1</cx:pt>
          <cx:pt idx="18409">0</cx:pt>
          <cx:pt idx="18410">1</cx:pt>
          <cx:pt idx="18411">0</cx:pt>
          <cx:pt idx="18412">0</cx:pt>
          <cx:pt idx="18413">0</cx:pt>
          <cx:pt idx="18414">1</cx:pt>
          <cx:pt idx="18415">1</cx:pt>
          <cx:pt idx="18416">0</cx:pt>
          <cx:pt idx="18417">1</cx:pt>
          <cx:pt idx="18418">0</cx:pt>
          <cx:pt idx="18419">0</cx:pt>
          <cx:pt idx="18420">1</cx:pt>
          <cx:pt idx="18421">0</cx:pt>
          <cx:pt idx="18422">0</cx:pt>
          <cx:pt idx="18423">0</cx:pt>
          <cx:pt idx="18424">1</cx:pt>
          <cx:pt idx="18425">0</cx:pt>
          <cx:pt idx="18426">0</cx:pt>
          <cx:pt idx="18427">0</cx:pt>
          <cx:pt idx="18428">1</cx:pt>
          <cx:pt idx="18429">0</cx:pt>
          <cx:pt idx="18430">1</cx:pt>
          <cx:pt idx="18431">0</cx:pt>
          <cx:pt idx="18432">0</cx:pt>
          <cx:pt idx="18433">0</cx:pt>
          <cx:pt idx="18434">1</cx:pt>
          <cx:pt idx="18435">0</cx:pt>
          <cx:pt idx="18436">1</cx:pt>
          <cx:pt idx="18437">0</cx:pt>
          <cx:pt idx="18438">0</cx:pt>
          <cx:pt idx="18439">0</cx:pt>
          <cx:pt idx="18440">1</cx:pt>
          <cx:pt idx="18441">0</cx:pt>
          <cx:pt idx="18442">1</cx:pt>
          <cx:pt idx="18443">1</cx:pt>
          <cx:pt idx="18444">0</cx:pt>
          <cx:pt idx="18445">0</cx:pt>
          <cx:pt idx="18446">0</cx:pt>
          <cx:pt idx="18447">0</cx:pt>
          <cx:pt idx="18448">0</cx:pt>
          <cx:pt idx="18449">0</cx:pt>
          <cx:pt idx="18450">0</cx:pt>
          <cx:pt idx="18451">1</cx:pt>
          <cx:pt idx="18452">1</cx:pt>
          <cx:pt idx="18453">0</cx:pt>
          <cx:pt idx="18454">1</cx:pt>
          <cx:pt idx="18455">0</cx:pt>
          <cx:pt idx="18456">0</cx:pt>
          <cx:pt idx="18457">1</cx:pt>
          <cx:pt idx="18458">1</cx:pt>
          <cx:pt idx="18459">0</cx:pt>
          <cx:pt idx="18460">0</cx:pt>
          <cx:pt idx="18461">0</cx:pt>
          <cx:pt idx="18462">1</cx:pt>
          <cx:pt idx="18463">1</cx:pt>
          <cx:pt idx="18464">0</cx:pt>
          <cx:pt idx="18465">1</cx:pt>
          <cx:pt idx="18466">1</cx:pt>
          <cx:pt idx="18467">1</cx:pt>
          <cx:pt idx="18468">1</cx:pt>
          <cx:pt idx="18469">0</cx:pt>
          <cx:pt idx="18470">0</cx:pt>
          <cx:pt idx="18471">0</cx:pt>
          <cx:pt idx="18472">1</cx:pt>
          <cx:pt idx="18473">0</cx:pt>
          <cx:pt idx="18474">0</cx:pt>
          <cx:pt idx="18475">1</cx:pt>
          <cx:pt idx="18476">0</cx:pt>
          <cx:pt idx="18477">1</cx:pt>
          <cx:pt idx="18478">0</cx:pt>
          <cx:pt idx="18479">0</cx:pt>
          <cx:pt idx="18480">0</cx:pt>
          <cx:pt idx="18481">0</cx:pt>
          <cx:pt idx="18482">1</cx:pt>
          <cx:pt idx="18483">0</cx:pt>
          <cx:pt idx="18484">1</cx:pt>
          <cx:pt idx="18485">0</cx:pt>
          <cx:pt idx="18486">0</cx:pt>
          <cx:pt idx="18487">0</cx:pt>
          <cx:pt idx="18488">1</cx:pt>
          <cx:pt idx="18489">0</cx:pt>
          <cx:pt idx="18490">0</cx:pt>
          <cx:pt idx="18491">0</cx:pt>
          <cx:pt idx="18492">1</cx:pt>
          <cx:pt idx="18493">0</cx:pt>
          <cx:pt idx="18494">1</cx:pt>
          <cx:pt idx="18495">0</cx:pt>
          <cx:pt idx="18496">1</cx:pt>
          <cx:pt idx="18497">0</cx:pt>
          <cx:pt idx="18498">0</cx:pt>
          <cx:pt idx="18499">0</cx:pt>
          <cx:pt idx="18500">0</cx:pt>
          <cx:pt idx="18501">1</cx:pt>
          <cx:pt idx="18502">0</cx:pt>
          <cx:pt idx="18503">0</cx:pt>
          <cx:pt idx="18504">1</cx:pt>
          <cx:pt idx="18505">0</cx:pt>
          <cx:pt idx="18506">1</cx:pt>
          <cx:pt idx="18507">0</cx:pt>
          <cx:pt idx="18508">0</cx:pt>
          <cx:pt idx="18509">0</cx:pt>
          <cx:pt idx="18510">0</cx:pt>
          <cx:pt idx="18511">0</cx:pt>
          <cx:pt idx="18512">1</cx:pt>
          <cx:pt idx="18513">0</cx:pt>
          <cx:pt idx="18514">0</cx:pt>
          <cx:pt idx="18515">0</cx:pt>
          <cx:pt idx="18516">0</cx:pt>
          <cx:pt idx="18517">0</cx:pt>
          <cx:pt idx="18518">0</cx:pt>
          <cx:pt idx="18519">1</cx:pt>
          <cx:pt idx="18520">1</cx:pt>
          <cx:pt idx="18521">0</cx:pt>
          <cx:pt idx="18522">0</cx:pt>
          <cx:pt idx="18523">1</cx:pt>
          <cx:pt idx="18524">0</cx:pt>
          <cx:pt idx="18525">1</cx:pt>
          <cx:pt idx="18526">1</cx:pt>
          <cx:pt idx="18527">0</cx:pt>
          <cx:pt idx="18528">0</cx:pt>
          <cx:pt idx="18529">0</cx:pt>
          <cx:pt idx="18530">1</cx:pt>
          <cx:pt idx="18531">1</cx:pt>
          <cx:pt idx="18532">0</cx:pt>
          <cx:pt idx="18533">1</cx:pt>
          <cx:pt idx="18534">0</cx:pt>
          <cx:pt idx="18535">0</cx:pt>
          <cx:pt idx="18536">0</cx:pt>
          <cx:pt idx="18537">0</cx:pt>
          <cx:pt idx="18538">1</cx:pt>
          <cx:pt idx="18539">1</cx:pt>
          <cx:pt idx="18540">0</cx:pt>
          <cx:pt idx="18541">0</cx:pt>
          <cx:pt idx="18542">1</cx:pt>
          <cx:pt idx="18543">0</cx:pt>
          <cx:pt idx="18544">1</cx:pt>
          <cx:pt idx="18545">1</cx:pt>
          <cx:pt idx="18546">0</cx:pt>
          <cx:pt idx="18547">1</cx:pt>
          <cx:pt idx="18548">1</cx:pt>
          <cx:pt idx="18549">0</cx:pt>
          <cx:pt idx="18550">1</cx:pt>
          <cx:pt idx="18551">1</cx:pt>
          <cx:pt idx="18552">0</cx:pt>
          <cx:pt idx="18553">0</cx:pt>
          <cx:pt idx="18554">1</cx:pt>
          <cx:pt idx="18555">1</cx:pt>
          <cx:pt idx="18556">1</cx:pt>
          <cx:pt idx="18557">0</cx:pt>
          <cx:pt idx="18558">0</cx:pt>
          <cx:pt idx="18559">1</cx:pt>
          <cx:pt idx="18560">0</cx:pt>
          <cx:pt idx="18561">1</cx:pt>
          <cx:pt idx="18562">1</cx:pt>
          <cx:pt idx="18563">1</cx:pt>
          <cx:pt idx="18564">1</cx:pt>
          <cx:pt idx="18565">0</cx:pt>
          <cx:pt idx="18566">1</cx:pt>
          <cx:pt idx="18567">1</cx:pt>
          <cx:pt idx="18568">0</cx:pt>
          <cx:pt idx="18569">1</cx:pt>
          <cx:pt idx="18570">0</cx:pt>
          <cx:pt idx="18571">0</cx:pt>
          <cx:pt idx="18572">1</cx:pt>
          <cx:pt idx="18573">1</cx:pt>
          <cx:pt idx="18574">1</cx:pt>
          <cx:pt idx="18575">1</cx:pt>
          <cx:pt idx="18576">0</cx:pt>
          <cx:pt idx="18577">1</cx:pt>
          <cx:pt idx="18578">1</cx:pt>
          <cx:pt idx="18579">0</cx:pt>
          <cx:pt idx="18580">0</cx:pt>
          <cx:pt idx="18581">1</cx:pt>
          <cx:pt idx="18582">0</cx:pt>
          <cx:pt idx="18583">0</cx:pt>
          <cx:pt idx="18584">0</cx:pt>
          <cx:pt idx="18585">0</cx:pt>
          <cx:pt idx="18586">1</cx:pt>
          <cx:pt idx="18587">1</cx:pt>
          <cx:pt idx="18588">0</cx:pt>
          <cx:pt idx="18589">0</cx:pt>
          <cx:pt idx="18590">0</cx:pt>
          <cx:pt idx="18591">0</cx:pt>
          <cx:pt idx="18592">0</cx:pt>
          <cx:pt idx="18593">0</cx:pt>
          <cx:pt idx="18594">1</cx:pt>
          <cx:pt idx="18595">1</cx:pt>
          <cx:pt idx="18596">1</cx:pt>
          <cx:pt idx="18597">0</cx:pt>
          <cx:pt idx="18598">0</cx:pt>
          <cx:pt idx="18599">0</cx:pt>
          <cx:pt idx="18600">1</cx:pt>
          <cx:pt idx="18601">1</cx:pt>
          <cx:pt idx="18602">1</cx:pt>
          <cx:pt idx="18603">1</cx:pt>
          <cx:pt idx="18604">0</cx:pt>
          <cx:pt idx="18605">0</cx:pt>
          <cx:pt idx="18606">1</cx:pt>
          <cx:pt idx="18607">1</cx:pt>
          <cx:pt idx="18608">1</cx:pt>
          <cx:pt idx="18609">1</cx:pt>
          <cx:pt idx="18610">1</cx:pt>
          <cx:pt idx="18611">1</cx:pt>
          <cx:pt idx="18612">0</cx:pt>
          <cx:pt idx="18613">1</cx:pt>
          <cx:pt idx="18614">0</cx:pt>
          <cx:pt idx="18615">0</cx:pt>
          <cx:pt idx="18616">1</cx:pt>
          <cx:pt idx="18617">1</cx:pt>
          <cx:pt idx="18618">0</cx:pt>
          <cx:pt idx="18619">1</cx:pt>
          <cx:pt idx="18620">1</cx:pt>
          <cx:pt idx="18621">0</cx:pt>
          <cx:pt idx="18622">1</cx:pt>
          <cx:pt idx="18623">0</cx:pt>
          <cx:pt idx="18624">1</cx:pt>
          <cx:pt idx="18625">1</cx:pt>
          <cx:pt idx="18626">0</cx:pt>
          <cx:pt idx="18627">0</cx:pt>
          <cx:pt idx="18628">0</cx:pt>
          <cx:pt idx="18629">0</cx:pt>
          <cx:pt idx="18630">0</cx:pt>
          <cx:pt idx="18631">0</cx:pt>
          <cx:pt idx="18632">1</cx:pt>
          <cx:pt idx="18633">0</cx:pt>
          <cx:pt idx="18634">0</cx:pt>
          <cx:pt idx="18635">1</cx:pt>
          <cx:pt idx="18636">1</cx:pt>
          <cx:pt idx="18637">0</cx:pt>
          <cx:pt idx="18638">0</cx:pt>
          <cx:pt idx="18639">0</cx:pt>
          <cx:pt idx="18640">0</cx:pt>
          <cx:pt idx="18641">1</cx:pt>
          <cx:pt idx="18642">0</cx:pt>
          <cx:pt idx="18643">0</cx:pt>
          <cx:pt idx="18644">0</cx:pt>
          <cx:pt idx="18645">0</cx:pt>
          <cx:pt idx="18646">0</cx:pt>
          <cx:pt idx="18647">1</cx:pt>
          <cx:pt idx="18648">1</cx:pt>
          <cx:pt idx="18649">1</cx:pt>
          <cx:pt idx="18650">0</cx:pt>
          <cx:pt idx="18651">0</cx:pt>
          <cx:pt idx="18652">0</cx:pt>
          <cx:pt idx="18653">0</cx:pt>
          <cx:pt idx="18654">0</cx:pt>
          <cx:pt idx="18655">0</cx:pt>
          <cx:pt idx="18656">1</cx:pt>
          <cx:pt idx="18657">0</cx:pt>
          <cx:pt idx="18658">0</cx:pt>
          <cx:pt idx="18659">0</cx:pt>
          <cx:pt idx="18660">0</cx:pt>
          <cx:pt idx="18661">1</cx:pt>
          <cx:pt idx="18662">0</cx:pt>
          <cx:pt idx="18663">1</cx:pt>
          <cx:pt idx="18664">1</cx:pt>
          <cx:pt idx="18665">1</cx:pt>
          <cx:pt idx="18666">1</cx:pt>
          <cx:pt idx="18667">1</cx:pt>
          <cx:pt idx="18668">0</cx:pt>
          <cx:pt idx="18669">0</cx:pt>
          <cx:pt idx="18670">0</cx:pt>
          <cx:pt idx="18671">1</cx:pt>
          <cx:pt idx="18672">1</cx:pt>
          <cx:pt idx="18673">0</cx:pt>
          <cx:pt idx="18674">1</cx:pt>
          <cx:pt idx="18675">0</cx:pt>
          <cx:pt idx="18676">0</cx:pt>
          <cx:pt idx="18677">1</cx:pt>
          <cx:pt idx="18678">0</cx:pt>
          <cx:pt idx="18679">0</cx:pt>
          <cx:pt idx="18680">1</cx:pt>
          <cx:pt idx="18681">0</cx:pt>
          <cx:pt idx="18682">1</cx:pt>
          <cx:pt idx="18683">1</cx:pt>
          <cx:pt idx="18684">0</cx:pt>
          <cx:pt idx="18685">0</cx:pt>
          <cx:pt idx="18686">0</cx:pt>
          <cx:pt idx="18687">1</cx:pt>
          <cx:pt idx="18688">1</cx:pt>
          <cx:pt idx="18689">0</cx:pt>
          <cx:pt idx="18690">0</cx:pt>
          <cx:pt idx="18691">1</cx:pt>
          <cx:pt idx="18692">1</cx:pt>
          <cx:pt idx="18693">1</cx:pt>
          <cx:pt idx="18694">1</cx:pt>
          <cx:pt idx="18695">0</cx:pt>
          <cx:pt idx="18696">0</cx:pt>
          <cx:pt idx="18697">0</cx:pt>
          <cx:pt idx="18698">0</cx:pt>
          <cx:pt idx="18699">0</cx:pt>
          <cx:pt idx="18700">1</cx:pt>
          <cx:pt idx="18701">1</cx:pt>
          <cx:pt idx="18702">0</cx:pt>
          <cx:pt idx="18703">0</cx:pt>
          <cx:pt idx="18704">0</cx:pt>
          <cx:pt idx="18705">1</cx:pt>
          <cx:pt idx="18706">0</cx:pt>
          <cx:pt idx="18707">0</cx:pt>
          <cx:pt idx="18708">1</cx:pt>
          <cx:pt idx="18709">1</cx:pt>
          <cx:pt idx="18710">0</cx:pt>
          <cx:pt idx="18711">1</cx:pt>
          <cx:pt idx="18712">0</cx:pt>
          <cx:pt idx="18713">0</cx:pt>
          <cx:pt idx="18714">0</cx:pt>
          <cx:pt idx="18715">0</cx:pt>
          <cx:pt idx="18716">0</cx:pt>
          <cx:pt idx="18717">0</cx:pt>
          <cx:pt idx="18718">0</cx:pt>
          <cx:pt idx="18719">0</cx:pt>
          <cx:pt idx="18720">1</cx:pt>
          <cx:pt idx="18721">1</cx:pt>
          <cx:pt idx="18722">0</cx:pt>
          <cx:pt idx="18723">1</cx:pt>
          <cx:pt idx="18724">1</cx:pt>
          <cx:pt idx="18725">1</cx:pt>
          <cx:pt idx="18726">0</cx:pt>
          <cx:pt idx="18727">1</cx:pt>
          <cx:pt idx="18728">1</cx:pt>
          <cx:pt idx="18729">0</cx:pt>
          <cx:pt idx="18730">0</cx:pt>
          <cx:pt idx="18731">1</cx:pt>
          <cx:pt idx="18732">0</cx:pt>
          <cx:pt idx="18733">0</cx:pt>
          <cx:pt idx="18734">1</cx:pt>
          <cx:pt idx="18735">1</cx:pt>
          <cx:pt idx="18736">0</cx:pt>
          <cx:pt idx="18737">0</cx:pt>
          <cx:pt idx="18738">0</cx:pt>
          <cx:pt idx="18739">0</cx:pt>
          <cx:pt idx="18740">0</cx:pt>
          <cx:pt idx="18741">1</cx:pt>
          <cx:pt idx="18742">0</cx:pt>
          <cx:pt idx="18743">1</cx:pt>
          <cx:pt idx="18744">1</cx:pt>
          <cx:pt idx="18745">1</cx:pt>
          <cx:pt idx="18746">0</cx:pt>
          <cx:pt idx="18747">0</cx:pt>
          <cx:pt idx="18748">0</cx:pt>
          <cx:pt idx="18749">0</cx:pt>
          <cx:pt idx="18750">0</cx:pt>
          <cx:pt idx="18751">0</cx:pt>
          <cx:pt idx="18752">1</cx:pt>
          <cx:pt idx="18753">0</cx:pt>
          <cx:pt idx="18754">1</cx:pt>
          <cx:pt idx="18755">0</cx:pt>
          <cx:pt idx="18756">1</cx:pt>
          <cx:pt idx="18757">1</cx:pt>
          <cx:pt idx="18758">0</cx:pt>
          <cx:pt idx="18759">0</cx:pt>
          <cx:pt idx="18760">0</cx:pt>
          <cx:pt idx="18761">1</cx:pt>
          <cx:pt idx="18762">0</cx:pt>
          <cx:pt idx="18763">0</cx:pt>
          <cx:pt idx="18764">1</cx:pt>
          <cx:pt idx="18765">0</cx:pt>
          <cx:pt idx="18766">1</cx:pt>
          <cx:pt idx="18767">0</cx:pt>
          <cx:pt idx="18768">1</cx:pt>
          <cx:pt idx="18769">1</cx:pt>
          <cx:pt idx="18770">0</cx:pt>
          <cx:pt idx="18771">0</cx:pt>
          <cx:pt idx="18772">0</cx:pt>
          <cx:pt idx="18773">1</cx:pt>
          <cx:pt idx="18774">0</cx:pt>
          <cx:pt idx="18775">1</cx:pt>
          <cx:pt idx="18776">1</cx:pt>
          <cx:pt idx="18777">1</cx:pt>
          <cx:pt idx="18778">0</cx:pt>
          <cx:pt idx="18779">0</cx:pt>
          <cx:pt idx="18780">1</cx:pt>
          <cx:pt idx="18781">0</cx:pt>
          <cx:pt idx="18782">0</cx:pt>
          <cx:pt idx="18783">0</cx:pt>
          <cx:pt idx="18784">0</cx:pt>
          <cx:pt idx="18785">0</cx:pt>
          <cx:pt idx="18786">1</cx:pt>
          <cx:pt idx="18787">1</cx:pt>
          <cx:pt idx="18788">1</cx:pt>
          <cx:pt idx="18789">1</cx:pt>
          <cx:pt idx="18790">0</cx:pt>
          <cx:pt idx="18791">1</cx:pt>
          <cx:pt idx="18792">1</cx:pt>
          <cx:pt idx="18793">0</cx:pt>
          <cx:pt idx="18794">1</cx:pt>
          <cx:pt idx="18795">1</cx:pt>
          <cx:pt idx="18796">0</cx:pt>
          <cx:pt idx="18797">0</cx:pt>
          <cx:pt idx="18798">1</cx:pt>
          <cx:pt idx="18799">1</cx:pt>
          <cx:pt idx="18800">1</cx:pt>
          <cx:pt idx="18801">0</cx:pt>
          <cx:pt idx="18802">1</cx:pt>
          <cx:pt idx="18803">0</cx:pt>
          <cx:pt idx="18804">1</cx:pt>
          <cx:pt idx="18805">0</cx:pt>
          <cx:pt idx="18806">1</cx:pt>
          <cx:pt idx="18807">0</cx:pt>
          <cx:pt idx="18808">0</cx:pt>
          <cx:pt idx="18809">1</cx:pt>
          <cx:pt idx="18810">0</cx:pt>
          <cx:pt idx="18811">1</cx:pt>
          <cx:pt idx="18812">1</cx:pt>
          <cx:pt idx="18813">0</cx:pt>
          <cx:pt idx="18814">1</cx:pt>
          <cx:pt idx="18815">1</cx:pt>
          <cx:pt idx="18816">1</cx:pt>
          <cx:pt idx="18817">0</cx:pt>
          <cx:pt idx="18818">0</cx:pt>
          <cx:pt idx="18819">0</cx:pt>
          <cx:pt idx="18820">0</cx:pt>
          <cx:pt idx="18821">1</cx:pt>
          <cx:pt idx="18822">1</cx:pt>
          <cx:pt idx="18823">1</cx:pt>
          <cx:pt idx="18824">0</cx:pt>
          <cx:pt idx="18825">0</cx:pt>
          <cx:pt idx="18826">0</cx:pt>
          <cx:pt idx="18827">1</cx:pt>
          <cx:pt idx="18828">1</cx:pt>
          <cx:pt idx="18829">1</cx:pt>
          <cx:pt idx="18830">0</cx:pt>
          <cx:pt idx="18831">0</cx:pt>
          <cx:pt idx="18832">1</cx:pt>
          <cx:pt idx="18833">0</cx:pt>
          <cx:pt idx="18834">0</cx:pt>
          <cx:pt idx="18835">0</cx:pt>
          <cx:pt idx="18836">0</cx:pt>
          <cx:pt idx="18837">1</cx:pt>
          <cx:pt idx="18838">1</cx:pt>
          <cx:pt idx="18839">0</cx:pt>
          <cx:pt idx="18840">1</cx:pt>
          <cx:pt idx="18841">0</cx:pt>
          <cx:pt idx="18842">0</cx:pt>
          <cx:pt idx="18843">1</cx:pt>
          <cx:pt idx="18844">0</cx:pt>
          <cx:pt idx="18845">0</cx:pt>
          <cx:pt idx="18846">0</cx:pt>
          <cx:pt idx="18847">1</cx:pt>
          <cx:pt idx="18848">1</cx:pt>
          <cx:pt idx="18849">1</cx:pt>
          <cx:pt idx="18850">0</cx:pt>
          <cx:pt idx="18851">0</cx:pt>
          <cx:pt idx="18852">0</cx:pt>
          <cx:pt idx="18853">0</cx:pt>
          <cx:pt idx="18854">0</cx:pt>
          <cx:pt idx="18855">1</cx:pt>
          <cx:pt idx="18856">0</cx:pt>
          <cx:pt idx="18857">0</cx:pt>
          <cx:pt idx="18858">0</cx:pt>
          <cx:pt idx="18859">0</cx:pt>
          <cx:pt idx="18860">0</cx:pt>
          <cx:pt idx="18861">0</cx:pt>
          <cx:pt idx="18862">0</cx:pt>
          <cx:pt idx="18863">0</cx:pt>
          <cx:pt idx="18864">1</cx:pt>
          <cx:pt idx="18865">1</cx:pt>
          <cx:pt idx="18866">0</cx:pt>
          <cx:pt idx="18867">0</cx:pt>
          <cx:pt idx="18868">0</cx:pt>
          <cx:pt idx="18869">0</cx:pt>
          <cx:pt idx="18870">0</cx:pt>
          <cx:pt idx="18871">0</cx:pt>
          <cx:pt idx="18872">0</cx:pt>
          <cx:pt idx="18873">0</cx:pt>
          <cx:pt idx="18874">1</cx:pt>
          <cx:pt idx="18875">0</cx:pt>
          <cx:pt idx="18876">0</cx:pt>
          <cx:pt idx="18877">1</cx:pt>
          <cx:pt idx="18878">1</cx:pt>
          <cx:pt idx="18879">1</cx:pt>
          <cx:pt idx="18880">0</cx:pt>
          <cx:pt idx="18881">0</cx:pt>
          <cx:pt idx="18882">0</cx:pt>
          <cx:pt idx="18883">1</cx:pt>
          <cx:pt idx="18884">1</cx:pt>
          <cx:pt idx="18885">1</cx:pt>
          <cx:pt idx="18886">1</cx:pt>
          <cx:pt idx="18887">1</cx:pt>
          <cx:pt idx="18888">0</cx:pt>
          <cx:pt idx="18889">1</cx:pt>
          <cx:pt idx="18890">1</cx:pt>
          <cx:pt idx="18891">0</cx:pt>
          <cx:pt idx="18892">0</cx:pt>
          <cx:pt idx="18893">0</cx:pt>
          <cx:pt idx="18894">1</cx:pt>
          <cx:pt idx="18895">0</cx:pt>
          <cx:pt idx="18896">1</cx:pt>
          <cx:pt idx="18897">1</cx:pt>
          <cx:pt idx="18898">1</cx:pt>
          <cx:pt idx="18899">0</cx:pt>
          <cx:pt idx="18900">1</cx:pt>
          <cx:pt idx="18901">1</cx:pt>
          <cx:pt idx="18902">1</cx:pt>
          <cx:pt idx="18903">1</cx:pt>
          <cx:pt idx="18904">0</cx:pt>
          <cx:pt idx="18905">1</cx:pt>
          <cx:pt idx="18906">0</cx:pt>
          <cx:pt idx="18907">1</cx:pt>
          <cx:pt idx="18908">0</cx:pt>
          <cx:pt idx="18909">1</cx:pt>
          <cx:pt idx="18910">0</cx:pt>
          <cx:pt idx="18911">1</cx:pt>
          <cx:pt idx="18912">1</cx:pt>
          <cx:pt idx="18913">0</cx:pt>
          <cx:pt idx="18914">1</cx:pt>
          <cx:pt idx="18915">0</cx:pt>
          <cx:pt idx="18916">0</cx:pt>
          <cx:pt idx="18917">0</cx:pt>
          <cx:pt idx="18918">1</cx:pt>
          <cx:pt idx="18919">0</cx:pt>
          <cx:pt idx="18920">0</cx:pt>
          <cx:pt idx="18921">0</cx:pt>
          <cx:pt idx="18922">0</cx:pt>
          <cx:pt idx="18923">1</cx:pt>
          <cx:pt idx="18924">1</cx:pt>
          <cx:pt idx="18925">1</cx:pt>
          <cx:pt idx="18926">0</cx:pt>
          <cx:pt idx="18927">0</cx:pt>
          <cx:pt idx="18928">0</cx:pt>
          <cx:pt idx="18929">1</cx:pt>
          <cx:pt idx="18930">0</cx:pt>
          <cx:pt idx="18931">1</cx:pt>
          <cx:pt idx="18932">1</cx:pt>
          <cx:pt idx="18933">1</cx:pt>
          <cx:pt idx="18934">0</cx:pt>
          <cx:pt idx="18935">0</cx:pt>
          <cx:pt idx="18936">0</cx:pt>
          <cx:pt idx="18937">1</cx:pt>
          <cx:pt idx="18938">0</cx:pt>
          <cx:pt idx="18939">1</cx:pt>
          <cx:pt idx="18940">0</cx:pt>
          <cx:pt idx="18941">1</cx:pt>
          <cx:pt idx="18942">0</cx:pt>
          <cx:pt idx="18943">0</cx:pt>
          <cx:pt idx="18944">0</cx:pt>
          <cx:pt idx="18945">1</cx:pt>
          <cx:pt idx="18946">1</cx:pt>
          <cx:pt idx="18947">1</cx:pt>
          <cx:pt idx="18948">0</cx:pt>
          <cx:pt idx="18949">0</cx:pt>
          <cx:pt idx="18950">1</cx:pt>
          <cx:pt idx="18951">0</cx:pt>
          <cx:pt idx="18952">0</cx:pt>
          <cx:pt idx="18953">1</cx:pt>
          <cx:pt idx="18954">0</cx:pt>
          <cx:pt idx="18955">0</cx:pt>
          <cx:pt idx="18956">0</cx:pt>
          <cx:pt idx="18957">1</cx:pt>
          <cx:pt idx="18958">0</cx:pt>
          <cx:pt idx="18959">1</cx:pt>
          <cx:pt idx="18960">1</cx:pt>
          <cx:pt idx="18961">1</cx:pt>
          <cx:pt idx="18962">0</cx:pt>
          <cx:pt idx="18963">0</cx:pt>
          <cx:pt idx="18964">1</cx:pt>
          <cx:pt idx="18965">0</cx:pt>
          <cx:pt idx="18966">0</cx:pt>
          <cx:pt idx="18967">1</cx:pt>
          <cx:pt idx="18968">1</cx:pt>
          <cx:pt idx="18969">0</cx:pt>
          <cx:pt idx="18970">1</cx:pt>
          <cx:pt idx="18971">0</cx:pt>
          <cx:pt idx="18972">0</cx:pt>
          <cx:pt idx="18973">1</cx:pt>
          <cx:pt idx="18974">0</cx:pt>
          <cx:pt idx="18975">1</cx:pt>
          <cx:pt idx="18976">1</cx:pt>
          <cx:pt idx="18977">0</cx:pt>
          <cx:pt idx="18978">1</cx:pt>
          <cx:pt idx="18979">1</cx:pt>
          <cx:pt idx="18980">0</cx:pt>
          <cx:pt idx="18981">1</cx:pt>
          <cx:pt idx="18982">0</cx:pt>
          <cx:pt idx="18983">0</cx:pt>
          <cx:pt idx="18984">0</cx:pt>
          <cx:pt idx="18985">0</cx:pt>
          <cx:pt idx="18986">1</cx:pt>
          <cx:pt idx="18987">0</cx:pt>
          <cx:pt idx="18988">1</cx:pt>
          <cx:pt idx="18989">1</cx:pt>
          <cx:pt idx="18990">0</cx:pt>
          <cx:pt idx="18991">0</cx:pt>
          <cx:pt idx="18992">1</cx:pt>
          <cx:pt idx="18993">1</cx:pt>
          <cx:pt idx="18994">0</cx:pt>
          <cx:pt idx="18995">0</cx:pt>
          <cx:pt idx="18996">1</cx:pt>
          <cx:pt idx="18997">1</cx:pt>
          <cx:pt idx="18998">0</cx:pt>
          <cx:pt idx="18999">1</cx:pt>
          <cx:pt idx="19000">0</cx:pt>
          <cx:pt idx="19001">0</cx:pt>
          <cx:pt idx="19002">0</cx:pt>
          <cx:pt idx="19003">0</cx:pt>
          <cx:pt idx="19004">0</cx:pt>
          <cx:pt idx="19005">1</cx:pt>
          <cx:pt idx="19006">1</cx:pt>
          <cx:pt idx="19007">1</cx:pt>
          <cx:pt idx="19008">1</cx:pt>
          <cx:pt idx="19009">1</cx:pt>
          <cx:pt idx="19010">0</cx:pt>
          <cx:pt idx="19011">1</cx:pt>
          <cx:pt idx="19012">1</cx:pt>
          <cx:pt idx="19013">1</cx:pt>
          <cx:pt idx="19014">0</cx:pt>
          <cx:pt idx="19015">0</cx:pt>
          <cx:pt idx="19016">0</cx:pt>
          <cx:pt idx="19017">0</cx:pt>
          <cx:pt idx="19018">1</cx:pt>
          <cx:pt idx="19019">0</cx:pt>
          <cx:pt idx="19020">1</cx:pt>
          <cx:pt idx="19021">0</cx:pt>
          <cx:pt idx="19022">0</cx:pt>
          <cx:pt idx="19023">0</cx:pt>
          <cx:pt idx="19024">1</cx:pt>
          <cx:pt idx="19025">1</cx:pt>
          <cx:pt idx="19026">1</cx:pt>
          <cx:pt idx="19027">0</cx:pt>
          <cx:pt idx="19028">1</cx:pt>
          <cx:pt idx="19029">1</cx:pt>
          <cx:pt idx="19030">0</cx:pt>
          <cx:pt idx="19031">1</cx:pt>
          <cx:pt idx="19032">0</cx:pt>
          <cx:pt idx="19033">1</cx:pt>
          <cx:pt idx="19034">1</cx:pt>
          <cx:pt idx="19035">0</cx:pt>
          <cx:pt idx="19036">0</cx:pt>
          <cx:pt idx="19037">0</cx:pt>
          <cx:pt idx="19038">1</cx:pt>
          <cx:pt idx="19039">1</cx:pt>
          <cx:pt idx="19040">0</cx:pt>
          <cx:pt idx="19041">0</cx:pt>
          <cx:pt idx="19042">1</cx:pt>
          <cx:pt idx="19043">0</cx:pt>
          <cx:pt idx="19044">0</cx:pt>
          <cx:pt idx="19045">0</cx:pt>
          <cx:pt idx="19046">0</cx:pt>
          <cx:pt idx="19047">1</cx:pt>
          <cx:pt idx="19048">0</cx:pt>
          <cx:pt idx="19049">0</cx:pt>
          <cx:pt idx="19050">0</cx:pt>
          <cx:pt idx="19051">1</cx:pt>
          <cx:pt idx="19052">1</cx:pt>
          <cx:pt idx="19053">0</cx:pt>
          <cx:pt idx="19054">0</cx:pt>
          <cx:pt idx="19055">1</cx:pt>
          <cx:pt idx="19056">1</cx:pt>
          <cx:pt idx="19057">0</cx:pt>
          <cx:pt idx="19058">1</cx:pt>
          <cx:pt idx="19059">0</cx:pt>
          <cx:pt idx="19060">0</cx:pt>
          <cx:pt idx="19061">0</cx:pt>
          <cx:pt idx="19062">1</cx:pt>
          <cx:pt idx="19063">0</cx:pt>
          <cx:pt idx="19064">0</cx:pt>
          <cx:pt idx="19065">1</cx:pt>
          <cx:pt idx="19066">0</cx:pt>
          <cx:pt idx="19067">1</cx:pt>
          <cx:pt idx="19068">1</cx:pt>
          <cx:pt idx="19069">0</cx:pt>
          <cx:pt idx="19070">1</cx:pt>
          <cx:pt idx="19071">1</cx:pt>
          <cx:pt idx="19072">1</cx:pt>
          <cx:pt idx="19073">1</cx:pt>
          <cx:pt idx="19074">0</cx:pt>
          <cx:pt idx="19075">1</cx:pt>
          <cx:pt idx="19076">0</cx:pt>
          <cx:pt idx="19077">1</cx:pt>
          <cx:pt idx="19078">0</cx:pt>
          <cx:pt idx="19079">1</cx:pt>
          <cx:pt idx="19080">0</cx:pt>
          <cx:pt idx="19081">0</cx:pt>
          <cx:pt idx="19082">0</cx:pt>
          <cx:pt idx="19083">0</cx:pt>
          <cx:pt idx="19084">1</cx:pt>
          <cx:pt idx="19085">1</cx:pt>
          <cx:pt idx="19086">0</cx:pt>
          <cx:pt idx="19087">1</cx:pt>
          <cx:pt idx="19088">1</cx:pt>
          <cx:pt idx="19089">1</cx:pt>
          <cx:pt idx="19090">0</cx:pt>
          <cx:pt idx="19091">1</cx:pt>
          <cx:pt idx="19092">1</cx:pt>
          <cx:pt idx="19093">0</cx:pt>
          <cx:pt idx="19094">0</cx:pt>
          <cx:pt idx="19095">0</cx:pt>
          <cx:pt idx="19096">0</cx:pt>
          <cx:pt idx="19097">1</cx:pt>
          <cx:pt idx="19098">1</cx:pt>
          <cx:pt idx="19099">0</cx:pt>
          <cx:pt idx="19100">0</cx:pt>
          <cx:pt idx="19101">0</cx:pt>
          <cx:pt idx="19102">0</cx:pt>
          <cx:pt idx="19103">1</cx:pt>
          <cx:pt idx="19104">1</cx:pt>
          <cx:pt idx="19105">1</cx:pt>
          <cx:pt idx="19106">1</cx:pt>
          <cx:pt idx="19107">1</cx:pt>
          <cx:pt idx="19108">0</cx:pt>
          <cx:pt idx="19109">0</cx:pt>
          <cx:pt idx="19110">0</cx:pt>
          <cx:pt idx="19111">0</cx:pt>
          <cx:pt idx="19112">1</cx:pt>
          <cx:pt idx="19113">0</cx:pt>
          <cx:pt idx="19114">0</cx:pt>
          <cx:pt idx="19115">0</cx:pt>
          <cx:pt idx="19116">0</cx:pt>
          <cx:pt idx="19117">1</cx:pt>
          <cx:pt idx="19118">1</cx:pt>
          <cx:pt idx="19119">1</cx:pt>
          <cx:pt idx="19120">1</cx:pt>
          <cx:pt idx="19121">1</cx:pt>
          <cx:pt idx="19122">1</cx:pt>
          <cx:pt idx="19123">0</cx:pt>
          <cx:pt idx="19124">0</cx:pt>
          <cx:pt idx="19125">0</cx:pt>
          <cx:pt idx="19126">1</cx:pt>
          <cx:pt idx="19127">0</cx:pt>
          <cx:pt idx="19128">1</cx:pt>
          <cx:pt idx="19129">1</cx:pt>
          <cx:pt idx="19130">0</cx:pt>
          <cx:pt idx="19131">0</cx:pt>
          <cx:pt idx="19132">1</cx:pt>
          <cx:pt idx="19133">1</cx:pt>
          <cx:pt idx="19134">0</cx:pt>
          <cx:pt idx="19135">1</cx:pt>
          <cx:pt idx="19136">0</cx:pt>
          <cx:pt idx="19137">1</cx:pt>
          <cx:pt idx="19138">1</cx:pt>
          <cx:pt idx="19139">0</cx:pt>
          <cx:pt idx="19140">1</cx:pt>
          <cx:pt idx="19141">0</cx:pt>
          <cx:pt idx="19142">1</cx:pt>
          <cx:pt idx="19143">1</cx:pt>
          <cx:pt idx="19144">0</cx:pt>
          <cx:pt idx="19145">1</cx:pt>
          <cx:pt idx="19146">1</cx:pt>
          <cx:pt idx="19147">0</cx:pt>
          <cx:pt idx="19148">1</cx:pt>
          <cx:pt idx="19149">1</cx:pt>
          <cx:pt idx="19150">0</cx:pt>
          <cx:pt idx="19151">1</cx:pt>
          <cx:pt idx="19152">1</cx:pt>
          <cx:pt idx="19153">0</cx:pt>
          <cx:pt idx="19154">1</cx:pt>
          <cx:pt idx="19155">1</cx:pt>
          <cx:pt idx="19156">1</cx:pt>
          <cx:pt idx="19157">1</cx:pt>
          <cx:pt idx="19158">1</cx:pt>
          <cx:pt idx="19159">1</cx:pt>
          <cx:pt idx="19160">0</cx:pt>
          <cx:pt idx="19161">0</cx:pt>
          <cx:pt idx="19162">0</cx:pt>
          <cx:pt idx="19163">0</cx:pt>
          <cx:pt idx="19164">0</cx:pt>
          <cx:pt idx="19165">1</cx:pt>
          <cx:pt idx="19166">0</cx:pt>
          <cx:pt idx="19167">1</cx:pt>
          <cx:pt idx="19168">0</cx:pt>
          <cx:pt idx="19169">0</cx:pt>
          <cx:pt idx="19170">1</cx:pt>
          <cx:pt idx="19171">0</cx:pt>
          <cx:pt idx="19172">1</cx:pt>
          <cx:pt idx="19173">1</cx:pt>
          <cx:pt idx="19174">0</cx:pt>
          <cx:pt idx="19175">0</cx:pt>
          <cx:pt idx="19176">1</cx:pt>
          <cx:pt idx="19177">1</cx:pt>
          <cx:pt idx="19178">0</cx:pt>
          <cx:pt idx="19179">0</cx:pt>
          <cx:pt idx="19180">1</cx:pt>
          <cx:pt idx="19181">0</cx:pt>
          <cx:pt idx="19182">0</cx:pt>
          <cx:pt idx="19183">1</cx:pt>
          <cx:pt idx="19184">1</cx:pt>
          <cx:pt idx="19185">0</cx:pt>
          <cx:pt idx="19186">1</cx:pt>
          <cx:pt idx="19187">0</cx:pt>
          <cx:pt idx="19188">0</cx:pt>
          <cx:pt idx="19189">0</cx:pt>
          <cx:pt idx="19190">1</cx:pt>
          <cx:pt idx="19191">1</cx:pt>
          <cx:pt idx="19192">0</cx:pt>
          <cx:pt idx="19193">1</cx:pt>
          <cx:pt idx="19194">0</cx:pt>
          <cx:pt idx="19195">0</cx:pt>
          <cx:pt idx="19196">0</cx:pt>
          <cx:pt idx="19197">0</cx:pt>
          <cx:pt idx="19198">0</cx:pt>
          <cx:pt idx="19199">1</cx:pt>
          <cx:pt idx="19200">0</cx:pt>
          <cx:pt idx="19201">0</cx:pt>
          <cx:pt idx="19202">0</cx:pt>
          <cx:pt idx="19203">1</cx:pt>
          <cx:pt idx="19204">0</cx:pt>
          <cx:pt idx="19205">1</cx:pt>
          <cx:pt idx="19206">0</cx:pt>
          <cx:pt idx="19207">0</cx:pt>
          <cx:pt idx="19208">1</cx:pt>
          <cx:pt idx="19209">1</cx:pt>
          <cx:pt idx="19210">0</cx:pt>
          <cx:pt idx="19211">1</cx:pt>
          <cx:pt idx="19212">1</cx:pt>
          <cx:pt idx="19213">0</cx:pt>
          <cx:pt idx="19214">0</cx:pt>
          <cx:pt idx="19215">0</cx:pt>
          <cx:pt idx="19216">1</cx:pt>
          <cx:pt idx="19217">0</cx:pt>
          <cx:pt idx="19218">1</cx:pt>
          <cx:pt idx="19219">0</cx:pt>
          <cx:pt idx="19220">1</cx:pt>
          <cx:pt idx="19221">1</cx:pt>
          <cx:pt idx="19222">1</cx:pt>
          <cx:pt idx="19223">1</cx:pt>
          <cx:pt idx="19224">0</cx:pt>
          <cx:pt idx="19225">0</cx:pt>
          <cx:pt idx="19226">0</cx:pt>
          <cx:pt idx="19227">1</cx:pt>
          <cx:pt idx="19228">0</cx:pt>
          <cx:pt idx="19229">1</cx:pt>
          <cx:pt idx="19230">0</cx:pt>
          <cx:pt idx="19231">1</cx:pt>
          <cx:pt idx="19232">1</cx:pt>
          <cx:pt idx="19233">1</cx:pt>
          <cx:pt idx="19234">0</cx:pt>
          <cx:pt idx="19235">1</cx:pt>
          <cx:pt idx="19236">0</cx:pt>
          <cx:pt idx="19237">0</cx:pt>
          <cx:pt idx="19238">1</cx:pt>
          <cx:pt idx="19239">0</cx:pt>
          <cx:pt idx="19240">1</cx:pt>
          <cx:pt idx="19241">1</cx:pt>
          <cx:pt idx="19242">0</cx:pt>
          <cx:pt idx="19243">1</cx:pt>
          <cx:pt idx="19244">0</cx:pt>
          <cx:pt idx="19245">1</cx:pt>
          <cx:pt idx="19246">1</cx:pt>
          <cx:pt idx="19247">1</cx:pt>
          <cx:pt idx="19248">1</cx:pt>
          <cx:pt idx="19249">0</cx:pt>
          <cx:pt idx="19250">0</cx:pt>
          <cx:pt idx="19251">1</cx:pt>
          <cx:pt idx="19252">0</cx:pt>
          <cx:pt idx="19253">0</cx:pt>
          <cx:pt idx="19254">1</cx:pt>
          <cx:pt idx="19255">0</cx:pt>
          <cx:pt idx="19256">0</cx:pt>
          <cx:pt idx="19257">0</cx:pt>
          <cx:pt idx="19258">0</cx:pt>
          <cx:pt idx="19259">0</cx:pt>
          <cx:pt idx="19260">1</cx:pt>
          <cx:pt idx="19261">0</cx:pt>
          <cx:pt idx="19262">1</cx:pt>
          <cx:pt idx="19263">0</cx:pt>
          <cx:pt idx="19264">1</cx:pt>
          <cx:pt idx="19265">1</cx:pt>
          <cx:pt idx="19266">1</cx:pt>
          <cx:pt idx="19267">1</cx:pt>
          <cx:pt idx="19268">0</cx:pt>
          <cx:pt idx="19269">1</cx:pt>
          <cx:pt idx="19270">0</cx:pt>
          <cx:pt idx="19271">1</cx:pt>
          <cx:pt idx="19272">0</cx:pt>
          <cx:pt idx="19273">1</cx:pt>
          <cx:pt idx="19274">1</cx:pt>
          <cx:pt idx="19275">1</cx:pt>
          <cx:pt idx="19276">0</cx:pt>
          <cx:pt idx="19277">0</cx:pt>
          <cx:pt idx="19278">1</cx:pt>
          <cx:pt idx="19279">0</cx:pt>
          <cx:pt idx="19280">0</cx:pt>
          <cx:pt idx="19281">0</cx:pt>
          <cx:pt idx="19282">0</cx:pt>
          <cx:pt idx="19283">0</cx:pt>
          <cx:pt idx="19284">0</cx:pt>
          <cx:pt idx="19285">0</cx:pt>
          <cx:pt idx="19286">1</cx:pt>
          <cx:pt idx="19287">0</cx:pt>
          <cx:pt idx="19288">1</cx:pt>
          <cx:pt idx="19289">0</cx:pt>
          <cx:pt idx="19290">0</cx:pt>
          <cx:pt idx="19291">0</cx:pt>
          <cx:pt idx="19292">1</cx:pt>
          <cx:pt idx="19293">1</cx:pt>
          <cx:pt idx="19294">0</cx:pt>
          <cx:pt idx="19295">1</cx:pt>
          <cx:pt idx="19296">1</cx:pt>
          <cx:pt idx="19297">0</cx:pt>
          <cx:pt idx="19298">1</cx:pt>
          <cx:pt idx="19299">1</cx:pt>
          <cx:pt idx="19300">0</cx:pt>
          <cx:pt idx="19301">0</cx:pt>
          <cx:pt idx="19302">0</cx:pt>
          <cx:pt idx="19303">0</cx:pt>
          <cx:pt idx="19304">0</cx:pt>
          <cx:pt idx="19305">0</cx:pt>
          <cx:pt idx="19306">0</cx:pt>
          <cx:pt idx="19307">0</cx:pt>
          <cx:pt idx="19308">1</cx:pt>
          <cx:pt idx="19309">1</cx:pt>
          <cx:pt idx="19310">0</cx:pt>
          <cx:pt idx="19311">0</cx:pt>
          <cx:pt idx="19312">0</cx:pt>
          <cx:pt idx="19313">1</cx:pt>
          <cx:pt idx="19314">1</cx:pt>
          <cx:pt idx="19315">1</cx:pt>
          <cx:pt idx="19316">1</cx:pt>
          <cx:pt idx="19317">0</cx:pt>
          <cx:pt idx="19318">1</cx:pt>
          <cx:pt idx="19319">1</cx:pt>
          <cx:pt idx="19320">0</cx:pt>
          <cx:pt idx="19321">0</cx:pt>
          <cx:pt idx="19322">1</cx:pt>
          <cx:pt idx="19323">0</cx:pt>
          <cx:pt idx="19324">1</cx:pt>
          <cx:pt idx="19325">1</cx:pt>
          <cx:pt idx="19326">0</cx:pt>
          <cx:pt idx="19327">0</cx:pt>
          <cx:pt idx="19328">1</cx:pt>
          <cx:pt idx="19329">1</cx:pt>
          <cx:pt idx="19330">0</cx:pt>
          <cx:pt idx="19331">0</cx:pt>
          <cx:pt idx="19332">1</cx:pt>
          <cx:pt idx="19333">1</cx:pt>
          <cx:pt idx="19334">1</cx:pt>
          <cx:pt idx="19335">0</cx:pt>
          <cx:pt idx="19336">0</cx:pt>
          <cx:pt idx="19337">0</cx:pt>
          <cx:pt idx="19338">0</cx:pt>
          <cx:pt idx="19339">1</cx:pt>
          <cx:pt idx="19340">0</cx:pt>
          <cx:pt idx="19341">1</cx:pt>
          <cx:pt idx="19342">0</cx:pt>
          <cx:pt idx="19343">1</cx:pt>
          <cx:pt idx="19344">1</cx:pt>
          <cx:pt idx="19345">0</cx:pt>
          <cx:pt idx="19346">0</cx:pt>
          <cx:pt idx="19347">0</cx:pt>
          <cx:pt idx="19348">0</cx:pt>
          <cx:pt idx="19349">0</cx:pt>
          <cx:pt idx="19350">0</cx:pt>
          <cx:pt idx="19351">0</cx:pt>
          <cx:pt idx="19352">0</cx:pt>
          <cx:pt idx="19353">0</cx:pt>
          <cx:pt idx="19354">0</cx:pt>
          <cx:pt idx="19355">0</cx:pt>
          <cx:pt idx="19356">1</cx:pt>
          <cx:pt idx="19357">1</cx:pt>
          <cx:pt idx="19358">0</cx:pt>
          <cx:pt idx="19359">1</cx:pt>
          <cx:pt idx="19360">1</cx:pt>
          <cx:pt idx="19361">0</cx:pt>
          <cx:pt idx="19362">1</cx:pt>
          <cx:pt idx="19363">1</cx:pt>
          <cx:pt idx="19364">1</cx:pt>
          <cx:pt idx="19365">0</cx:pt>
          <cx:pt idx="19366">1</cx:pt>
          <cx:pt idx="19367">0</cx:pt>
          <cx:pt idx="19368">1</cx:pt>
          <cx:pt idx="19369">0</cx:pt>
          <cx:pt idx="19370">0</cx:pt>
          <cx:pt idx="19371">1</cx:pt>
          <cx:pt idx="19372">0</cx:pt>
          <cx:pt idx="19373">0</cx:pt>
          <cx:pt idx="19374">0</cx:pt>
          <cx:pt idx="19375">0</cx:pt>
          <cx:pt idx="19376">1</cx:pt>
          <cx:pt idx="19377">1</cx:pt>
          <cx:pt idx="19378">0</cx:pt>
          <cx:pt idx="19379">0</cx:pt>
          <cx:pt idx="19380">1</cx:pt>
          <cx:pt idx="19381">1</cx:pt>
          <cx:pt idx="19382">0</cx:pt>
          <cx:pt idx="19383">0</cx:pt>
          <cx:pt idx="19384">0</cx:pt>
          <cx:pt idx="19385">0</cx:pt>
          <cx:pt idx="19386">0</cx:pt>
          <cx:pt idx="19387">1</cx:pt>
          <cx:pt idx="19388">0</cx:pt>
          <cx:pt idx="19389">1</cx:pt>
          <cx:pt idx="19390">1</cx:pt>
          <cx:pt idx="19391">1</cx:pt>
          <cx:pt idx="19392">0</cx:pt>
          <cx:pt idx="19393">0</cx:pt>
          <cx:pt idx="19394">1</cx:pt>
          <cx:pt idx="19395">1</cx:pt>
          <cx:pt idx="19396">1</cx:pt>
          <cx:pt idx="19397">1</cx:pt>
          <cx:pt idx="19398">1</cx:pt>
          <cx:pt idx="19399">0</cx:pt>
          <cx:pt idx="19400">0</cx:pt>
          <cx:pt idx="19401">1</cx:pt>
          <cx:pt idx="19402">1</cx:pt>
          <cx:pt idx="19403">1</cx:pt>
          <cx:pt idx="19404">0</cx:pt>
          <cx:pt idx="19405">0</cx:pt>
          <cx:pt idx="19406">1</cx:pt>
          <cx:pt idx="19407">0</cx:pt>
          <cx:pt idx="19408">1</cx:pt>
          <cx:pt idx="19409">0</cx:pt>
          <cx:pt idx="19410">1</cx:pt>
          <cx:pt idx="19411">1</cx:pt>
          <cx:pt idx="19412">1</cx:pt>
          <cx:pt idx="19413">0</cx:pt>
          <cx:pt idx="19414">1</cx:pt>
          <cx:pt idx="19415">1</cx:pt>
          <cx:pt idx="19416">0</cx:pt>
          <cx:pt idx="19417">1</cx:pt>
          <cx:pt idx="19418">0</cx:pt>
          <cx:pt idx="19419">1</cx:pt>
          <cx:pt idx="19420">1</cx:pt>
          <cx:pt idx="19421">0</cx:pt>
          <cx:pt idx="19422">0</cx:pt>
          <cx:pt idx="19423">0</cx:pt>
          <cx:pt idx="19424">0</cx:pt>
          <cx:pt idx="19425">1</cx:pt>
          <cx:pt idx="19426">0</cx:pt>
          <cx:pt idx="19427">1</cx:pt>
          <cx:pt idx="19428">0</cx:pt>
          <cx:pt idx="19429">0</cx:pt>
          <cx:pt idx="19430">1</cx:pt>
          <cx:pt idx="19431">0</cx:pt>
          <cx:pt idx="19432">0</cx:pt>
          <cx:pt idx="19433">1</cx:pt>
          <cx:pt idx="19434">0</cx:pt>
          <cx:pt idx="19435">0</cx:pt>
          <cx:pt idx="19436">0</cx:pt>
          <cx:pt idx="19437">0</cx:pt>
          <cx:pt idx="19438">0</cx:pt>
          <cx:pt idx="19439">1</cx:pt>
          <cx:pt idx="19440">1</cx:pt>
          <cx:pt idx="19441">0</cx:pt>
          <cx:pt idx="19442">0</cx:pt>
          <cx:pt idx="19443">1</cx:pt>
          <cx:pt idx="19444">0</cx:pt>
          <cx:pt idx="19445">0</cx:pt>
          <cx:pt idx="19446">1</cx:pt>
          <cx:pt idx="19447">0</cx:pt>
          <cx:pt idx="19448">0</cx:pt>
          <cx:pt idx="19449">0</cx:pt>
          <cx:pt idx="19450">0</cx:pt>
          <cx:pt idx="19451">0</cx:pt>
          <cx:pt idx="19452">1</cx:pt>
          <cx:pt idx="19453">0</cx:pt>
          <cx:pt idx="19454">0</cx:pt>
          <cx:pt idx="19455">1</cx:pt>
          <cx:pt idx="19456">0</cx:pt>
          <cx:pt idx="19457">0</cx:pt>
          <cx:pt idx="19458">1</cx:pt>
          <cx:pt idx="19459">0</cx:pt>
          <cx:pt idx="19460">0</cx:pt>
          <cx:pt idx="19461">0</cx:pt>
          <cx:pt idx="19462">0</cx:pt>
          <cx:pt idx="19463">1</cx:pt>
          <cx:pt idx="19464">0</cx:pt>
          <cx:pt idx="19465">1</cx:pt>
          <cx:pt idx="19466">0</cx:pt>
          <cx:pt idx="19467">1</cx:pt>
          <cx:pt idx="19468">0</cx:pt>
          <cx:pt idx="19469">1</cx:pt>
          <cx:pt idx="19470">1</cx:pt>
          <cx:pt idx="19471">1</cx:pt>
          <cx:pt idx="19472">1</cx:pt>
          <cx:pt idx="19473">1</cx:pt>
          <cx:pt idx="19474">1</cx:pt>
          <cx:pt idx="19475">1</cx:pt>
          <cx:pt idx="19476">1</cx:pt>
          <cx:pt idx="19477">0</cx:pt>
          <cx:pt idx="19478">1</cx:pt>
          <cx:pt idx="19479">1</cx:pt>
          <cx:pt idx="19480">0</cx:pt>
          <cx:pt idx="19481">1</cx:pt>
          <cx:pt idx="19482">1</cx:pt>
          <cx:pt idx="19483">1</cx:pt>
          <cx:pt idx="19484">1</cx:pt>
          <cx:pt idx="19485">1</cx:pt>
          <cx:pt idx="19486">1</cx:pt>
          <cx:pt idx="19487">1</cx:pt>
          <cx:pt idx="19488">0</cx:pt>
          <cx:pt idx="19489">1</cx:pt>
          <cx:pt idx="19490">0</cx:pt>
          <cx:pt idx="19491">1</cx:pt>
          <cx:pt idx="19492">1</cx:pt>
          <cx:pt idx="19493">0</cx:pt>
          <cx:pt idx="19494">1</cx:pt>
          <cx:pt idx="19495">0</cx:pt>
          <cx:pt idx="19496">1</cx:pt>
          <cx:pt idx="19497">0</cx:pt>
          <cx:pt idx="19498">0</cx:pt>
          <cx:pt idx="19499">0</cx:pt>
          <cx:pt idx="19500">1</cx:pt>
          <cx:pt idx="19501">0</cx:pt>
          <cx:pt idx="19502">0</cx:pt>
          <cx:pt idx="19503">0</cx:pt>
          <cx:pt idx="19504">1</cx:pt>
          <cx:pt idx="19505">0</cx:pt>
          <cx:pt idx="19506">1</cx:pt>
          <cx:pt idx="19507">1</cx:pt>
          <cx:pt idx="19508">0</cx:pt>
          <cx:pt idx="19509">1</cx:pt>
          <cx:pt idx="19510">0</cx:pt>
          <cx:pt idx="19511">1</cx:pt>
          <cx:pt idx="19512">1</cx:pt>
          <cx:pt idx="19513">0</cx:pt>
          <cx:pt idx="19514">0</cx:pt>
          <cx:pt idx="19515">1</cx:pt>
          <cx:pt idx="19516">0</cx:pt>
          <cx:pt idx="19517">1</cx:pt>
          <cx:pt idx="19518">1</cx:pt>
          <cx:pt idx="19519">0</cx:pt>
          <cx:pt idx="19520">1</cx:pt>
          <cx:pt idx="19521">1</cx:pt>
          <cx:pt idx="19522">1</cx:pt>
          <cx:pt idx="19523">0</cx:pt>
          <cx:pt idx="19524">1</cx:pt>
          <cx:pt idx="19525">1</cx:pt>
          <cx:pt idx="19526">0</cx:pt>
          <cx:pt idx="19527">1</cx:pt>
          <cx:pt idx="19528">0</cx:pt>
          <cx:pt idx="19529">1</cx:pt>
          <cx:pt idx="19530">0</cx:pt>
          <cx:pt idx="19531">0</cx:pt>
          <cx:pt idx="19532">1</cx:pt>
          <cx:pt idx="19533">1</cx:pt>
          <cx:pt idx="19534">1</cx:pt>
          <cx:pt idx="19535">0</cx:pt>
          <cx:pt idx="19536">0</cx:pt>
          <cx:pt idx="19537">0</cx:pt>
          <cx:pt idx="19538">1</cx:pt>
          <cx:pt idx="19539">0</cx:pt>
          <cx:pt idx="19540">1</cx:pt>
          <cx:pt idx="19541">1</cx:pt>
          <cx:pt idx="19542">0</cx:pt>
          <cx:pt idx="19543">1</cx:pt>
          <cx:pt idx="19544">0</cx:pt>
          <cx:pt idx="19545">1</cx:pt>
          <cx:pt idx="19546">1</cx:pt>
          <cx:pt idx="19547">1</cx:pt>
          <cx:pt idx="19548">1</cx:pt>
          <cx:pt idx="19549">1</cx:pt>
          <cx:pt idx="19550">0</cx:pt>
          <cx:pt idx="19551">0</cx:pt>
          <cx:pt idx="19552">0</cx:pt>
          <cx:pt idx="19553">1</cx:pt>
          <cx:pt idx="19554">1</cx:pt>
          <cx:pt idx="19555">0</cx:pt>
          <cx:pt idx="19556">0</cx:pt>
          <cx:pt idx="19557">1</cx:pt>
          <cx:pt idx="19558">0</cx:pt>
          <cx:pt idx="19559">0</cx:pt>
          <cx:pt idx="19560">0</cx:pt>
          <cx:pt idx="19561">0</cx:pt>
          <cx:pt idx="19562">1</cx:pt>
          <cx:pt idx="19563">1</cx:pt>
          <cx:pt idx="19564">1</cx:pt>
          <cx:pt idx="19565">1</cx:pt>
          <cx:pt idx="19566">0</cx:pt>
          <cx:pt idx="19567">0</cx:pt>
          <cx:pt idx="19568">1</cx:pt>
          <cx:pt idx="19569">0</cx:pt>
          <cx:pt idx="19570">0</cx:pt>
          <cx:pt idx="19571">0</cx:pt>
          <cx:pt idx="19572">0</cx:pt>
          <cx:pt idx="19573">1</cx:pt>
          <cx:pt idx="19574">1</cx:pt>
          <cx:pt idx="19575">0</cx:pt>
          <cx:pt idx="19576">1</cx:pt>
          <cx:pt idx="19577">1</cx:pt>
          <cx:pt idx="19578">0</cx:pt>
          <cx:pt idx="19579">0</cx:pt>
          <cx:pt idx="19580">0</cx:pt>
          <cx:pt idx="19581">0</cx:pt>
          <cx:pt idx="19582">1</cx:pt>
          <cx:pt idx="19583">1</cx:pt>
          <cx:pt idx="19584">0</cx:pt>
          <cx:pt idx="19585">1</cx:pt>
          <cx:pt idx="19586">1</cx:pt>
          <cx:pt idx="19587">0</cx:pt>
          <cx:pt idx="19588">1</cx:pt>
          <cx:pt idx="19589">1</cx:pt>
          <cx:pt idx="19590">0</cx:pt>
          <cx:pt idx="19591">0</cx:pt>
          <cx:pt idx="19592">0</cx:pt>
          <cx:pt idx="19593">0</cx:pt>
          <cx:pt idx="19594">1</cx:pt>
          <cx:pt idx="19595">0</cx:pt>
          <cx:pt idx="19596">0</cx:pt>
          <cx:pt idx="19597">1</cx:pt>
          <cx:pt idx="19598">0</cx:pt>
          <cx:pt idx="19599">0</cx:pt>
          <cx:pt idx="19600">0</cx:pt>
          <cx:pt idx="19601">1</cx:pt>
          <cx:pt idx="19602">1</cx:pt>
          <cx:pt idx="19603">0</cx:pt>
          <cx:pt idx="19604">1</cx:pt>
          <cx:pt idx="19605">0</cx:pt>
          <cx:pt idx="19606">0</cx:pt>
          <cx:pt idx="19607">0</cx:pt>
          <cx:pt idx="19608">1</cx:pt>
          <cx:pt idx="19609">0</cx:pt>
          <cx:pt idx="19610">0</cx:pt>
          <cx:pt idx="19611">1</cx:pt>
          <cx:pt idx="19612">0</cx:pt>
          <cx:pt idx="19613">0</cx:pt>
          <cx:pt idx="19614">1</cx:pt>
          <cx:pt idx="19615">1</cx:pt>
          <cx:pt idx="19616">1</cx:pt>
          <cx:pt idx="19617">1</cx:pt>
          <cx:pt idx="19618">0</cx:pt>
          <cx:pt idx="19619">1</cx:pt>
          <cx:pt idx="19620">0</cx:pt>
          <cx:pt idx="19621">0</cx:pt>
          <cx:pt idx="19622">0</cx:pt>
          <cx:pt idx="19623">0</cx:pt>
          <cx:pt idx="19624">0</cx:pt>
          <cx:pt idx="19625">0</cx:pt>
          <cx:pt idx="19626">1</cx:pt>
          <cx:pt idx="19627">0</cx:pt>
          <cx:pt idx="19628">0</cx:pt>
          <cx:pt idx="19629">1</cx:pt>
          <cx:pt idx="19630">0</cx:pt>
          <cx:pt idx="19631">0</cx:pt>
          <cx:pt idx="19632">1</cx:pt>
          <cx:pt idx="19633">1</cx:pt>
          <cx:pt idx="19634">0</cx:pt>
          <cx:pt idx="19635">0</cx:pt>
          <cx:pt idx="19636">0</cx:pt>
          <cx:pt idx="19637">1</cx:pt>
          <cx:pt idx="19638">0</cx:pt>
          <cx:pt idx="19639">1</cx:pt>
          <cx:pt idx="19640">0</cx:pt>
          <cx:pt idx="19641">0</cx:pt>
          <cx:pt idx="19642">1</cx:pt>
          <cx:pt idx="19643">1</cx:pt>
          <cx:pt idx="19644">0</cx:pt>
          <cx:pt idx="19645">0</cx:pt>
          <cx:pt idx="19646">0</cx:pt>
          <cx:pt idx="19647">1</cx:pt>
          <cx:pt idx="19648">1</cx:pt>
          <cx:pt idx="19649">0</cx:pt>
          <cx:pt idx="19650">1</cx:pt>
          <cx:pt idx="19651">0</cx:pt>
          <cx:pt idx="19652">1</cx:pt>
          <cx:pt idx="19653">1</cx:pt>
          <cx:pt idx="19654">0</cx:pt>
          <cx:pt idx="19655">0</cx:pt>
          <cx:pt idx="19656">1</cx:pt>
          <cx:pt idx="19657">0</cx:pt>
          <cx:pt idx="19658">1</cx:pt>
          <cx:pt idx="19659">0</cx:pt>
          <cx:pt idx="19660">0</cx:pt>
          <cx:pt idx="19661">1</cx:pt>
          <cx:pt idx="19662">0</cx:pt>
          <cx:pt idx="19663">1</cx:pt>
          <cx:pt idx="19664">0</cx:pt>
          <cx:pt idx="19665">0</cx:pt>
          <cx:pt idx="19666">0</cx:pt>
          <cx:pt idx="19667">0</cx:pt>
          <cx:pt idx="19668">0</cx:pt>
          <cx:pt idx="19669">0</cx:pt>
          <cx:pt idx="19670">0</cx:pt>
          <cx:pt idx="19671">0</cx:pt>
          <cx:pt idx="19672">1</cx:pt>
          <cx:pt idx="19673">0</cx:pt>
          <cx:pt idx="19674">1</cx:pt>
          <cx:pt idx="19675">1</cx:pt>
          <cx:pt idx="19676">0</cx:pt>
          <cx:pt idx="19677">0</cx:pt>
          <cx:pt idx="19678">1</cx:pt>
          <cx:pt idx="19679">0</cx:pt>
          <cx:pt idx="19680">1</cx:pt>
          <cx:pt idx="19681">0</cx:pt>
          <cx:pt idx="19682">1</cx:pt>
          <cx:pt idx="19683">0</cx:pt>
          <cx:pt idx="19684">1</cx:pt>
          <cx:pt idx="19685">0</cx:pt>
          <cx:pt idx="19686">1</cx:pt>
          <cx:pt idx="19687">1</cx:pt>
          <cx:pt idx="19688">0</cx:pt>
          <cx:pt idx="19689">1</cx:pt>
          <cx:pt idx="19690">1</cx:pt>
          <cx:pt idx="19691">1</cx:pt>
          <cx:pt idx="19692">0</cx:pt>
          <cx:pt idx="19693">0</cx:pt>
          <cx:pt idx="19694">0</cx:pt>
          <cx:pt idx="19695">1</cx:pt>
          <cx:pt idx="19696">1</cx:pt>
          <cx:pt idx="19697">0</cx:pt>
          <cx:pt idx="19698">1</cx:pt>
          <cx:pt idx="19699">0</cx:pt>
          <cx:pt idx="19700">1</cx:pt>
          <cx:pt idx="19701">0</cx:pt>
          <cx:pt idx="19702">1</cx:pt>
          <cx:pt idx="19703">0</cx:pt>
          <cx:pt idx="19704">0</cx:pt>
          <cx:pt idx="19705">1</cx:pt>
          <cx:pt idx="19706">0</cx:pt>
          <cx:pt idx="19707">1</cx:pt>
          <cx:pt idx="19708">1</cx:pt>
          <cx:pt idx="19709">1</cx:pt>
          <cx:pt idx="19710">0</cx:pt>
          <cx:pt idx="19711">1</cx:pt>
          <cx:pt idx="19712">1</cx:pt>
          <cx:pt idx="19713">0</cx:pt>
          <cx:pt idx="19714">1</cx:pt>
          <cx:pt idx="19715">1</cx:pt>
          <cx:pt idx="19716">1</cx:pt>
          <cx:pt idx="19717">0</cx:pt>
          <cx:pt idx="19718">0</cx:pt>
          <cx:pt idx="19719">1</cx:pt>
          <cx:pt idx="19720">0</cx:pt>
          <cx:pt idx="19721">1</cx:pt>
          <cx:pt idx="19722">0</cx:pt>
          <cx:pt idx="19723">0</cx:pt>
          <cx:pt idx="19724">1</cx:pt>
          <cx:pt idx="19725">0</cx:pt>
          <cx:pt idx="19726">0</cx:pt>
          <cx:pt idx="19727">1</cx:pt>
          <cx:pt idx="19728">1</cx:pt>
          <cx:pt idx="19729">0</cx:pt>
          <cx:pt idx="19730">0</cx:pt>
          <cx:pt idx="19731">0</cx:pt>
          <cx:pt idx="19732">0</cx:pt>
          <cx:pt idx="19733">0</cx:pt>
          <cx:pt idx="19734">0</cx:pt>
          <cx:pt idx="19735">0</cx:pt>
          <cx:pt idx="19736">0</cx:pt>
          <cx:pt idx="19737">0</cx:pt>
          <cx:pt idx="19738">1</cx:pt>
          <cx:pt idx="19739">1</cx:pt>
          <cx:pt idx="19740">1</cx:pt>
          <cx:pt idx="19741">1</cx:pt>
          <cx:pt idx="19742">1</cx:pt>
          <cx:pt idx="19743">1</cx:pt>
          <cx:pt idx="19744">0</cx:pt>
          <cx:pt idx="19745">0</cx:pt>
          <cx:pt idx="19746">0</cx:pt>
          <cx:pt idx="19747">0</cx:pt>
          <cx:pt idx="19748">0</cx:pt>
          <cx:pt idx="19749">0</cx:pt>
          <cx:pt idx="19750">1</cx:pt>
          <cx:pt idx="19751">0</cx:pt>
          <cx:pt idx="19752">1</cx:pt>
          <cx:pt idx="19753">0</cx:pt>
          <cx:pt idx="19754">1</cx:pt>
          <cx:pt idx="19755">1</cx:pt>
          <cx:pt idx="19756">0</cx:pt>
          <cx:pt idx="19757">0</cx:pt>
          <cx:pt idx="19758">1</cx:pt>
          <cx:pt idx="19759">0</cx:pt>
          <cx:pt idx="19760">1</cx:pt>
          <cx:pt idx="19761">0</cx:pt>
          <cx:pt idx="19762">1</cx:pt>
          <cx:pt idx="19763">1</cx:pt>
          <cx:pt idx="19764">0</cx:pt>
          <cx:pt idx="19765">1</cx:pt>
          <cx:pt idx="19766">1</cx:pt>
          <cx:pt idx="19767">0</cx:pt>
          <cx:pt idx="19768">1</cx:pt>
          <cx:pt idx="19769">0</cx:pt>
          <cx:pt idx="19770">0</cx:pt>
          <cx:pt idx="19771">1</cx:pt>
          <cx:pt idx="19772">0</cx:pt>
          <cx:pt idx="19773">1</cx:pt>
          <cx:pt idx="19774">0</cx:pt>
          <cx:pt idx="19775">0</cx:pt>
          <cx:pt idx="19776">0</cx:pt>
          <cx:pt idx="19777">0</cx:pt>
          <cx:pt idx="19778">1</cx:pt>
          <cx:pt idx="19779">0</cx:pt>
          <cx:pt idx="19780">0</cx:pt>
          <cx:pt idx="19781">0</cx:pt>
          <cx:pt idx="19782">0</cx:pt>
          <cx:pt idx="19783">0</cx:pt>
          <cx:pt idx="19784">0</cx:pt>
          <cx:pt idx="19785">0</cx:pt>
          <cx:pt idx="19786">1</cx:pt>
          <cx:pt idx="19787">1</cx:pt>
          <cx:pt idx="19788">1</cx:pt>
          <cx:pt idx="19789">1</cx:pt>
          <cx:pt idx="19790">0</cx:pt>
          <cx:pt idx="19791">0</cx:pt>
          <cx:pt idx="19792">1</cx:pt>
          <cx:pt idx="19793">0</cx:pt>
          <cx:pt idx="19794">0</cx:pt>
          <cx:pt idx="19795">1</cx:pt>
          <cx:pt idx="19796">1</cx:pt>
          <cx:pt idx="19797">0</cx:pt>
          <cx:pt idx="19798">0</cx:pt>
          <cx:pt idx="19799">1</cx:pt>
          <cx:pt idx="19800">0</cx:pt>
          <cx:pt idx="19801">0</cx:pt>
          <cx:pt idx="19802">0</cx:pt>
          <cx:pt idx="19803">1</cx:pt>
          <cx:pt idx="19804">0</cx:pt>
          <cx:pt idx="19805">0</cx:pt>
          <cx:pt idx="19806">0</cx:pt>
          <cx:pt idx="19807">1</cx:pt>
          <cx:pt idx="19808">0</cx:pt>
          <cx:pt idx="19809">0</cx:pt>
          <cx:pt idx="19810">1</cx:pt>
          <cx:pt idx="19811">1</cx:pt>
          <cx:pt idx="19812">1</cx:pt>
          <cx:pt idx="19813">0</cx:pt>
          <cx:pt idx="19814">1</cx:pt>
          <cx:pt idx="19815">0</cx:pt>
          <cx:pt idx="19816">1</cx:pt>
          <cx:pt idx="19817">0</cx:pt>
          <cx:pt idx="19818">1</cx:pt>
          <cx:pt idx="19819">1</cx:pt>
          <cx:pt idx="19820">0</cx:pt>
          <cx:pt idx="19821">0</cx:pt>
          <cx:pt idx="19822">0</cx:pt>
          <cx:pt idx="19823">1</cx:pt>
          <cx:pt idx="19824">0</cx:pt>
          <cx:pt idx="19825">1</cx:pt>
          <cx:pt idx="19826">0</cx:pt>
          <cx:pt idx="19827">1</cx:pt>
          <cx:pt idx="19828">0</cx:pt>
          <cx:pt idx="19829">0</cx:pt>
          <cx:pt idx="19830">0</cx:pt>
          <cx:pt idx="19831">1</cx:pt>
          <cx:pt idx="19832">0</cx:pt>
          <cx:pt idx="19833">1</cx:pt>
          <cx:pt idx="19834">0</cx:pt>
          <cx:pt idx="19835">1</cx:pt>
          <cx:pt idx="19836">1</cx:pt>
          <cx:pt idx="19837">1</cx:pt>
          <cx:pt idx="19838">1</cx:pt>
          <cx:pt idx="19839">0</cx:pt>
          <cx:pt idx="19840">1</cx:pt>
          <cx:pt idx="19841">1</cx:pt>
          <cx:pt idx="19842">0</cx:pt>
          <cx:pt idx="19843">1</cx:pt>
          <cx:pt idx="19844">1</cx:pt>
          <cx:pt idx="19845">0</cx:pt>
          <cx:pt idx="19846">1</cx:pt>
          <cx:pt idx="19847">0</cx:pt>
          <cx:pt idx="19848">0</cx:pt>
          <cx:pt idx="19849">0</cx:pt>
          <cx:pt idx="19850">0</cx:pt>
          <cx:pt idx="19851">0</cx:pt>
          <cx:pt idx="19852">0</cx:pt>
          <cx:pt idx="19853">1</cx:pt>
          <cx:pt idx="19854">1</cx:pt>
          <cx:pt idx="19855">0</cx:pt>
          <cx:pt idx="19856">0</cx:pt>
          <cx:pt idx="19857">1</cx:pt>
          <cx:pt idx="19858">0</cx:pt>
          <cx:pt idx="19859">0</cx:pt>
          <cx:pt idx="19860">0</cx:pt>
          <cx:pt idx="19861">1</cx:pt>
          <cx:pt idx="19862">1</cx:pt>
          <cx:pt idx="19863">0</cx:pt>
          <cx:pt idx="19864">0</cx:pt>
          <cx:pt idx="19865">0</cx:pt>
          <cx:pt idx="19866">0</cx:pt>
          <cx:pt idx="19867">1</cx:pt>
          <cx:pt idx="19868">0</cx:pt>
          <cx:pt idx="19869">0</cx:pt>
          <cx:pt idx="19870">0</cx:pt>
          <cx:pt idx="19871">0</cx:pt>
          <cx:pt idx="19872">0</cx:pt>
          <cx:pt idx="19873">1</cx:pt>
          <cx:pt idx="19874">1</cx:pt>
          <cx:pt idx="19875">0</cx:pt>
          <cx:pt idx="19876">0</cx:pt>
          <cx:pt idx="19877">1</cx:pt>
          <cx:pt idx="19878">1</cx:pt>
          <cx:pt idx="19879">0</cx:pt>
          <cx:pt idx="19880">1</cx:pt>
          <cx:pt idx="19881">1</cx:pt>
          <cx:pt idx="19882">0</cx:pt>
          <cx:pt idx="19883">1</cx:pt>
          <cx:pt idx="19884">0</cx:pt>
          <cx:pt idx="19885">1</cx:pt>
          <cx:pt idx="19886">1</cx:pt>
          <cx:pt idx="19887">1</cx:pt>
          <cx:pt idx="19888">1</cx:pt>
          <cx:pt idx="19889">0</cx:pt>
          <cx:pt idx="19890">1</cx:pt>
          <cx:pt idx="19891">1</cx:pt>
          <cx:pt idx="19892">0</cx:pt>
          <cx:pt idx="19893">1</cx:pt>
          <cx:pt idx="19894">0</cx:pt>
          <cx:pt idx="19895">1</cx:pt>
          <cx:pt idx="19896">0</cx:pt>
          <cx:pt idx="19897">0</cx:pt>
          <cx:pt idx="19898">0</cx:pt>
          <cx:pt idx="19899">0</cx:pt>
          <cx:pt idx="19900">0</cx:pt>
          <cx:pt idx="19901">1</cx:pt>
          <cx:pt idx="19902">0</cx:pt>
          <cx:pt idx="19903">0</cx:pt>
          <cx:pt idx="19904">1</cx:pt>
          <cx:pt idx="19905">0</cx:pt>
          <cx:pt idx="19906">1</cx:pt>
          <cx:pt idx="19907">0</cx:pt>
          <cx:pt idx="19908">0</cx:pt>
          <cx:pt idx="19909">1</cx:pt>
          <cx:pt idx="19910">0</cx:pt>
          <cx:pt idx="19911">0</cx:pt>
          <cx:pt idx="19912">1</cx:pt>
          <cx:pt idx="19913">1</cx:pt>
          <cx:pt idx="19914">1</cx:pt>
          <cx:pt idx="19915">1</cx:pt>
          <cx:pt idx="19916">1</cx:pt>
          <cx:pt idx="19917">0</cx:pt>
          <cx:pt idx="19918">1</cx:pt>
          <cx:pt idx="19919">1</cx:pt>
          <cx:pt idx="19920">1</cx:pt>
          <cx:pt idx="19921">1</cx:pt>
          <cx:pt idx="19922">1</cx:pt>
          <cx:pt idx="19923">0</cx:pt>
          <cx:pt idx="19924">0</cx:pt>
          <cx:pt idx="19925">0</cx:pt>
          <cx:pt idx="19926">0</cx:pt>
          <cx:pt idx="19927">1</cx:pt>
          <cx:pt idx="19928">1</cx:pt>
          <cx:pt idx="19929">0</cx:pt>
          <cx:pt idx="19930">0</cx:pt>
          <cx:pt idx="19931">1</cx:pt>
          <cx:pt idx="19932">1</cx:pt>
          <cx:pt idx="19933">0</cx:pt>
          <cx:pt idx="19934">1</cx:pt>
          <cx:pt idx="19935">0</cx:pt>
          <cx:pt idx="19936">1</cx:pt>
          <cx:pt idx="19937">0</cx:pt>
          <cx:pt idx="19938">1</cx:pt>
          <cx:pt idx="19939">1</cx:pt>
          <cx:pt idx="19940">0</cx:pt>
          <cx:pt idx="19941">1</cx:pt>
          <cx:pt idx="19942">1</cx:pt>
          <cx:pt idx="19943">1</cx:pt>
          <cx:pt idx="19944">0</cx:pt>
          <cx:pt idx="19945">1</cx:pt>
          <cx:pt idx="19946">1</cx:pt>
          <cx:pt idx="19947">1</cx:pt>
          <cx:pt idx="19948">1</cx:pt>
          <cx:pt idx="19949">0</cx:pt>
          <cx:pt idx="19950">0</cx:pt>
          <cx:pt idx="19951">1</cx:pt>
          <cx:pt idx="19952">0</cx:pt>
          <cx:pt idx="19953">0</cx:pt>
          <cx:pt idx="19954">0</cx:pt>
          <cx:pt idx="19955">0</cx:pt>
          <cx:pt idx="19956">1</cx:pt>
          <cx:pt idx="19957">0</cx:pt>
          <cx:pt idx="19958">0</cx:pt>
          <cx:pt idx="19959">1</cx:pt>
          <cx:pt idx="19960">1</cx:pt>
          <cx:pt idx="19961">1</cx:pt>
          <cx:pt idx="19962">1</cx:pt>
          <cx:pt idx="19963">0</cx:pt>
          <cx:pt idx="19964">1</cx:pt>
          <cx:pt idx="19965">0</cx:pt>
          <cx:pt idx="19966">1</cx:pt>
          <cx:pt idx="19967">1</cx:pt>
          <cx:pt idx="19968">1</cx:pt>
          <cx:pt idx="19969">0</cx:pt>
          <cx:pt idx="19970">1</cx:pt>
          <cx:pt idx="19971">1</cx:pt>
          <cx:pt idx="19972">0</cx:pt>
          <cx:pt idx="19973">1</cx:pt>
          <cx:pt idx="19974">1</cx:pt>
          <cx:pt idx="19975">0</cx:pt>
          <cx:pt idx="19976">0</cx:pt>
          <cx:pt idx="19977">0</cx:pt>
          <cx:pt idx="19978">1</cx:pt>
          <cx:pt idx="19979">0</cx:pt>
          <cx:pt idx="19980">1</cx:pt>
          <cx:pt idx="19981">1</cx:pt>
          <cx:pt idx="19982">0</cx:pt>
          <cx:pt idx="19983">0</cx:pt>
          <cx:pt idx="19984">0</cx:pt>
          <cx:pt idx="19985">1</cx:pt>
          <cx:pt idx="19986">1</cx:pt>
          <cx:pt idx="19987">0</cx:pt>
          <cx:pt idx="19988">0</cx:pt>
          <cx:pt idx="19989">0</cx:pt>
          <cx:pt idx="19990">0</cx:pt>
          <cx:pt idx="19991">0</cx:pt>
          <cx:pt idx="19992">0</cx:pt>
          <cx:pt idx="19993">1</cx:pt>
          <cx:pt idx="19994">0</cx:pt>
          <cx:pt idx="19995">1</cx:pt>
          <cx:pt idx="19996">0</cx:pt>
          <cx:pt idx="19997">1</cx:pt>
          <cx:pt idx="19998">0</cx:pt>
          <cx:pt idx="19999">1</cx:pt>
          <cx:pt idx="20000">0</cx:pt>
          <cx:pt idx="20001">0</cx:pt>
          <cx:pt idx="20002">0</cx:pt>
          <cx:pt idx="20003">0</cx:pt>
          <cx:pt idx="20004">1</cx:pt>
          <cx:pt idx="20005">1</cx:pt>
          <cx:pt idx="20006">0</cx:pt>
          <cx:pt idx="20007">1</cx:pt>
          <cx:pt idx="20008">1</cx:pt>
          <cx:pt idx="20009">0</cx:pt>
          <cx:pt idx="20010">0</cx:pt>
          <cx:pt idx="20011">1</cx:pt>
          <cx:pt idx="20012">0</cx:pt>
          <cx:pt idx="20013">0</cx:pt>
          <cx:pt idx="20014">1</cx:pt>
          <cx:pt idx="20015">0</cx:pt>
          <cx:pt idx="20016">1</cx:pt>
          <cx:pt idx="20017">1</cx:pt>
          <cx:pt idx="20018">0</cx:pt>
          <cx:pt idx="20019">0</cx:pt>
          <cx:pt idx="20020">0</cx:pt>
          <cx:pt idx="20021">0</cx:pt>
          <cx:pt idx="20022">0</cx:pt>
          <cx:pt idx="20023">0</cx:pt>
          <cx:pt idx="20024">1</cx:pt>
          <cx:pt idx="20025">0</cx:pt>
          <cx:pt idx="20026">0</cx:pt>
          <cx:pt idx="20027">1</cx:pt>
          <cx:pt idx="20028">1</cx:pt>
          <cx:pt idx="20029">0</cx:pt>
          <cx:pt idx="20030">0</cx:pt>
          <cx:pt idx="20031">1</cx:pt>
          <cx:pt idx="20032">1</cx:pt>
          <cx:pt idx="20033">0</cx:pt>
          <cx:pt idx="20034">1</cx:pt>
          <cx:pt idx="20035">1</cx:pt>
          <cx:pt idx="20036">0</cx:pt>
          <cx:pt idx="20037">1</cx:pt>
          <cx:pt idx="20038">0</cx:pt>
          <cx:pt idx="20039">0</cx:pt>
          <cx:pt idx="20040">0</cx:pt>
          <cx:pt idx="20041">1</cx:pt>
          <cx:pt idx="20042">0</cx:pt>
          <cx:pt idx="20043">1</cx:pt>
          <cx:pt idx="20044">1</cx:pt>
          <cx:pt idx="20045">0</cx:pt>
          <cx:pt idx="20046">0</cx:pt>
          <cx:pt idx="20047">1</cx:pt>
          <cx:pt idx="20048">1</cx:pt>
          <cx:pt idx="20049">0</cx:pt>
          <cx:pt idx="20050">0</cx:pt>
          <cx:pt idx="20051">1</cx:pt>
          <cx:pt idx="20052">0</cx:pt>
          <cx:pt idx="20053">0</cx:pt>
          <cx:pt idx="20054">1</cx:pt>
          <cx:pt idx="20055">1</cx:pt>
          <cx:pt idx="20056">1</cx:pt>
          <cx:pt idx="20057">0</cx:pt>
          <cx:pt idx="20058">0</cx:pt>
          <cx:pt idx="20059">0</cx:pt>
          <cx:pt idx="20060">1</cx:pt>
          <cx:pt idx="20061">0</cx:pt>
          <cx:pt idx="20062">1</cx:pt>
          <cx:pt idx="20063">0</cx:pt>
          <cx:pt idx="20064">0</cx:pt>
          <cx:pt idx="20065">0</cx:pt>
          <cx:pt idx="20066">0</cx:pt>
          <cx:pt idx="20067">0</cx:pt>
          <cx:pt idx="20068">0</cx:pt>
          <cx:pt idx="20069">0</cx:pt>
          <cx:pt idx="20070">0</cx:pt>
          <cx:pt idx="20071">0</cx:pt>
          <cx:pt idx="20072">0</cx:pt>
          <cx:pt idx="20073">0</cx:pt>
          <cx:pt idx="20074">0</cx:pt>
          <cx:pt idx="20075">1</cx:pt>
          <cx:pt idx="20076">0</cx:pt>
          <cx:pt idx="20077">0</cx:pt>
          <cx:pt idx="20078">1</cx:pt>
          <cx:pt idx="20079">0</cx:pt>
          <cx:pt idx="20080">1</cx:pt>
          <cx:pt idx="20081">0</cx:pt>
          <cx:pt idx="20082">1</cx:pt>
          <cx:pt idx="20083">1</cx:pt>
          <cx:pt idx="20084">0</cx:pt>
          <cx:pt idx="20085">1</cx:pt>
          <cx:pt idx="20086">0</cx:pt>
          <cx:pt idx="20087">1</cx:pt>
          <cx:pt idx="20088">1</cx:pt>
          <cx:pt idx="20089">0</cx:pt>
          <cx:pt idx="20090">1</cx:pt>
          <cx:pt idx="20091">1</cx:pt>
          <cx:pt idx="20092">0</cx:pt>
          <cx:pt idx="20093">0</cx:pt>
          <cx:pt idx="20094">0</cx:pt>
          <cx:pt idx="20095">0</cx:pt>
          <cx:pt idx="20096">0</cx:pt>
          <cx:pt idx="20097">0</cx:pt>
          <cx:pt idx="20098">0</cx:pt>
          <cx:pt idx="20099">1</cx:pt>
          <cx:pt idx="20100">1</cx:pt>
          <cx:pt idx="20101">1</cx:pt>
          <cx:pt idx="20102">1</cx:pt>
          <cx:pt idx="20103">0</cx:pt>
          <cx:pt idx="20104">0</cx:pt>
          <cx:pt idx="20105">0</cx:pt>
          <cx:pt idx="20106">1</cx:pt>
          <cx:pt idx="20107">1</cx:pt>
          <cx:pt idx="20108">0</cx:pt>
          <cx:pt idx="20109">0</cx:pt>
          <cx:pt idx="20110">1</cx:pt>
          <cx:pt idx="20111">0</cx:pt>
          <cx:pt idx="20112">1</cx:pt>
          <cx:pt idx="20113">0</cx:pt>
          <cx:pt idx="20114">0</cx:pt>
          <cx:pt idx="20115">1</cx:pt>
          <cx:pt idx="20116">0</cx:pt>
          <cx:pt idx="20117">1</cx:pt>
          <cx:pt idx="20118">1</cx:pt>
          <cx:pt idx="20119">1</cx:pt>
          <cx:pt idx="20120">0</cx:pt>
          <cx:pt idx="20121">1</cx:pt>
          <cx:pt idx="20122">1</cx:pt>
          <cx:pt idx="20123">0</cx:pt>
          <cx:pt idx="20124">0</cx:pt>
          <cx:pt idx="20125">0</cx:pt>
          <cx:pt idx="20126">1</cx:pt>
          <cx:pt idx="20127">0</cx:pt>
          <cx:pt idx="20128">0</cx:pt>
          <cx:pt idx="20129">0</cx:pt>
          <cx:pt idx="20130">0</cx:pt>
          <cx:pt idx="20131">1</cx:pt>
          <cx:pt idx="20132">1</cx:pt>
          <cx:pt idx="20133">1</cx:pt>
          <cx:pt idx="20134">0</cx:pt>
          <cx:pt idx="20135">0</cx:pt>
          <cx:pt idx="20136">1</cx:pt>
          <cx:pt idx="20137">0</cx:pt>
          <cx:pt idx="20138">0</cx:pt>
          <cx:pt idx="20139">0</cx:pt>
          <cx:pt idx="20140">1</cx:pt>
          <cx:pt idx="20141">0</cx:pt>
          <cx:pt idx="20142">0</cx:pt>
          <cx:pt idx="20143">0</cx:pt>
          <cx:pt idx="20144">1</cx:pt>
          <cx:pt idx="20145">1</cx:pt>
          <cx:pt idx="20146">0</cx:pt>
          <cx:pt idx="20147">0</cx:pt>
          <cx:pt idx="20148">0</cx:pt>
          <cx:pt idx="20149">1</cx:pt>
          <cx:pt idx="20150">0</cx:pt>
          <cx:pt idx="20151">0</cx:pt>
          <cx:pt idx="20152">1</cx:pt>
          <cx:pt idx="20153">1</cx:pt>
          <cx:pt idx="20154">0</cx:pt>
          <cx:pt idx="20155">0</cx:pt>
          <cx:pt idx="20156">1</cx:pt>
          <cx:pt idx="20157">0</cx:pt>
          <cx:pt idx="20158">0</cx:pt>
          <cx:pt idx="20159">1</cx:pt>
          <cx:pt idx="20160">0</cx:pt>
          <cx:pt idx="20161">0</cx:pt>
          <cx:pt idx="20162">0</cx:pt>
          <cx:pt idx="20163">0</cx:pt>
          <cx:pt idx="20164">0</cx:pt>
          <cx:pt idx="20165">1</cx:pt>
          <cx:pt idx="20166">0</cx:pt>
          <cx:pt idx="20167">1</cx:pt>
          <cx:pt idx="20168">0</cx:pt>
          <cx:pt idx="20169">0</cx:pt>
          <cx:pt idx="20170">0</cx:pt>
          <cx:pt idx="20171">1</cx:pt>
          <cx:pt idx="20172">0</cx:pt>
          <cx:pt idx="20173">1</cx:pt>
          <cx:pt idx="20174">0</cx:pt>
          <cx:pt idx="20175">0</cx:pt>
          <cx:pt idx="20176">1</cx:pt>
          <cx:pt idx="20177">1</cx:pt>
          <cx:pt idx="20178">0</cx:pt>
          <cx:pt idx="20179">0</cx:pt>
          <cx:pt idx="20180">1</cx:pt>
          <cx:pt idx="20181">1</cx:pt>
          <cx:pt idx="20182">0</cx:pt>
          <cx:pt idx="20183">0</cx:pt>
          <cx:pt idx="20184">0</cx:pt>
          <cx:pt idx="20185">0</cx:pt>
          <cx:pt idx="20186">0</cx:pt>
          <cx:pt idx="20187">1</cx:pt>
          <cx:pt idx="20188">1</cx:pt>
          <cx:pt idx="20189">0</cx:pt>
          <cx:pt idx="20190">1</cx:pt>
          <cx:pt idx="20191">0</cx:pt>
          <cx:pt idx="20192">1</cx:pt>
          <cx:pt idx="20193">0</cx:pt>
          <cx:pt idx="20194">1</cx:pt>
          <cx:pt idx="20195">1</cx:pt>
          <cx:pt idx="20196">0</cx:pt>
          <cx:pt idx="20197">0</cx:pt>
          <cx:pt idx="20198">1</cx:pt>
          <cx:pt idx="20199">1</cx:pt>
          <cx:pt idx="20200">1</cx:pt>
          <cx:pt idx="20201">0</cx:pt>
          <cx:pt idx="20202">0</cx:pt>
          <cx:pt idx="20203">1</cx:pt>
          <cx:pt idx="20204">0</cx:pt>
          <cx:pt idx="20205">0</cx:pt>
          <cx:pt idx="20206">0</cx:pt>
          <cx:pt idx="20207">0</cx:pt>
          <cx:pt idx="20208">0</cx:pt>
          <cx:pt idx="20209">1</cx:pt>
          <cx:pt idx="20210">1</cx:pt>
          <cx:pt idx="20211">0</cx:pt>
          <cx:pt idx="20212">0</cx:pt>
          <cx:pt idx="20213">1</cx:pt>
          <cx:pt idx="20214">1</cx:pt>
          <cx:pt idx="20215">1</cx:pt>
          <cx:pt idx="20216">0</cx:pt>
          <cx:pt idx="20217">1</cx:pt>
          <cx:pt idx="20218">1</cx:pt>
          <cx:pt idx="20219">0</cx:pt>
          <cx:pt idx="20220">1</cx:pt>
          <cx:pt idx="20221">0</cx:pt>
          <cx:pt idx="20222">0</cx:pt>
          <cx:pt idx="20223">0</cx:pt>
          <cx:pt idx="20224">0</cx:pt>
          <cx:pt idx="20225">0</cx:pt>
          <cx:pt idx="20226">0</cx:pt>
          <cx:pt idx="20227">0</cx:pt>
          <cx:pt idx="20228">0</cx:pt>
          <cx:pt idx="20229">1</cx:pt>
          <cx:pt idx="20230">0</cx:pt>
          <cx:pt idx="20231">0</cx:pt>
          <cx:pt idx="20232">0</cx:pt>
          <cx:pt idx="20233">0</cx:pt>
          <cx:pt idx="20234">0</cx:pt>
          <cx:pt idx="20235">1</cx:pt>
          <cx:pt idx="20236">0</cx:pt>
          <cx:pt idx="20237">0</cx:pt>
          <cx:pt idx="20238">0</cx:pt>
          <cx:pt idx="20239">0</cx:pt>
          <cx:pt idx="20240">1</cx:pt>
          <cx:pt idx="20241">0</cx:pt>
          <cx:pt idx="20242">1</cx:pt>
          <cx:pt idx="20243">0</cx:pt>
          <cx:pt idx="20244">0</cx:pt>
          <cx:pt idx="20245">1</cx:pt>
          <cx:pt idx="20246">0</cx:pt>
          <cx:pt idx="20247">0</cx:pt>
          <cx:pt idx="20248">0</cx:pt>
          <cx:pt idx="20249">1</cx:pt>
          <cx:pt idx="20250">1</cx:pt>
          <cx:pt idx="20251">1</cx:pt>
          <cx:pt idx="20252">0</cx:pt>
          <cx:pt idx="20253">0</cx:pt>
          <cx:pt idx="20254">0</cx:pt>
          <cx:pt idx="20255">0</cx:pt>
          <cx:pt idx="20256">0</cx:pt>
          <cx:pt idx="20257">1</cx:pt>
          <cx:pt idx="20258">1</cx:pt>
          <cx:pt idx="20259">0</cx:pt>
          <cx:pt idx="20260">1</cx:pt>
          <cx:pt idx="20261">0</cx:pt>
          <cx:pt idx="20262">0</cx:pt>
          <cx:pt idx="20263">1</cx:pt>
          <cx:pt idx="20264">0</cx:pt>
          <cx:pt idx="20265">0</cx:pt>
          <cx:pt idx="20266">1</cx:pt>
          <cx:pt idx="20267">1</cx:pt>
          <cx:pt idx="20268">0</cx:pt>
          <cx:pt idx="20269">1</cx:pt>
          <cx:pt idx="20270">0</cx:pt>
          <cx:pt idx="20271">1</cx:pt>
          <cx:pt idx="20272">1</cx:pt>
          <cx:pt idx="20273">1</cx:pt>
          <cx:pt idx="20274">0</cx:pt>
          <cx:pt idx="20275">0</cx:pt>
          <cx:pt idx="20276">0</cx:pt>
          <cx:pt idx="20277">0</cx:pt>
          <cx:pt idx="20278">1</cx:pt>
          <cx:pt idx="20279">0</cx:pt>
          <cx:pt idx="20280">1</cx:pt>
          <cx:pt idx="20281">0</cx:pt>
          <cx:pt idx="20282">0</cx:pt>
          <cx:pt idx="20283">1</cx:pt>
          <cx:pt idx="20284">1</cx:pt>
          <cx:pt idx="20285">1</cx:pt>
          <cx:pt idx="20286">1</cx:pt>
          <cx:pt idx="20287">1</cx:pt>
          <cx:pt idx="20288">1</cx:pt>
          <cx:pt idx="20289">0</cx:pt>
          <cx:pt idx="20290">0</cx:pt>
          <cx:pt idx="20291">1</cx:pt>
          <cx:pt idx="20292">0</cx:pt>
          <cx:pt idx="20293">0</cx:pt>
          <cx:pt idx="20294">0</cx:pt>
          <cx:pt idx="20295">0</cx:pt>
          <cx:pt idx="20296">1</cx:pt>
          <cx:pt idx="20297">1</cx:pt>
          <cx:pt idx="20298">1</cx:pt>
          <cx:pt idx="20299">1</cx:pt>
          <cx:pt idx="20300">0</cx:pt>
          <cx:pt idx="20301">0</cx:pt>
          <cx:pt idx="20302">0</cx:pt>
          <cx:pt idx="20303">1</cx:pt>
          <cx:pt idx="20304">0</cx:pt>
          <cx:pt idx="20305">1</cx:pt>
          <cx:pt idx="20306">0</cx:pt>
          <cx:pt idx="20307">0</cx:pt>
          <cx:pt idx="20308">1</cx:pt>
          <cx:pt idx="20309">0</cx:pt>
          <cx:pt idx="20310">1</cx:pt>
          <cx:pt idx="20311">0</cx:pt>
          <cx:pt idx="20312">0</cx:pt>
          <cx:pt idx="20313">0</cx:pt>
          <cx:pt idx="20314">0</cx:pt>
          <cx:pt idx="20315">1</cx:pt>
          <cx:pt idx="20316">0</cx:pt>
          <cx:pt idx="20317">0</cx:pt>
          <cx:pt idx="20318">0</cx:pt>
          <cx:pt idx="20319">1</cx:pt>
          <cx:pt idx="20320">0</cx:pt>
          <cx:pt idx="20321">1</cx:pt>
          <cx:pt idx="20322">1</cx:pt>
          <cx:pt idx="20323">0</cx:pt>
          <cx:pt idx="20324">1</cx:pt>
          <cx:pt idx="20325">1</cx:pt>
          <cx:pt idx="20326">0</cx:pt>
          <cx:pt idx="20327">1</cx:pt>
          <cx:pt idx="20328">0</cx:pt>
          <cx:pt idx="20329">1</cx:pt>
          <cx:pt idx="20330">1</cx:pt>
          <cx:pt idx="20331">0</cx:pt>
          <cx:pt idx="20332">1</cx:pt>
          <cx:pt idx="20333">0</cx:pt>
          <cx:pt idx="20334">0</cx:pt>
          <cx:pt idx="20335">1</cx:pt>
          <cx:pt idx="20336">0</cx:pt>
          <cx:pt idx="20337">0</cx:pt>
          <cx:pt idx="20338">1</cx:pt>
          <cx:pt idx="20339">0</cx:pt>
          <cx:pt idx="20340">1</cx:pt>
          <cx:pt idx="20341">0</cx:pt>
          <cx:pt idx="20342">0</cx:pt>
          <cx:pt idx="20343">1</cx:pt>
          <cx:pt idx="20344">1</cx:pt>
          <cx:pt idx="20345">1</cx:pt>
          <cx:pt idx="20346">0</cx:pt>
          <cx:pt idx="20347">1</cx:pt>
          <cx:pt idx="20348">0</cx:pt>
          <cx:pt idx="20349">1</cx:pt>
          <cx:pt idx="20350">1</cx:pt>
          <cx:pt idx="20351">1</cx:pt>
          <cx:pt idx="20352">0</cx:pt>
          <cx:pt idx="20353">0</cx:pt>
          <cx:pt idx="20354">1</cx:pt>
          <cx:pt idx="20355">1</cx:pt>
          <cx:pt idx="20356">1</cx:pt>
          <cx:pt idx="20357">0</cx:pt>
          <cx:pt idx="20358">0</cx:pt>
          <cx:pt idx="20359">1</cx:pt>
          <cx:pt idx="20360">1</cx:pt>
          <cx:pt idx="20361">0</cx:pt>
          <cx:pt idx="20362">1</cx:pt>
          <cx:pt idx="20363">0</cx:pt>
          <cx:pt idx="20364">1</cx:pt>
          <cx:pt idx="20365">1</cx:pt>
          <cx:pt idx="20366">1</cx:pt>
          <cx:pt idx="20367">0</cx:pt>
          <cx:pt idx="20368">1</cx:pt>
          <cx:pt idx="20369">0</cx:pt>
          <cx:pt idx="20370">1</cx:pt>
          <cx:pt idx="20371">0</cx:pt>
          <cx:pt idx="20372">0</cx:pt>
          <cx:pt idx="20373">0</cx:pt>
          <cx:pt idx="20374">0</cx:pt>
          <cx:pt idx="20375">0</cx:pt>
          <cx:pt idx="20376">1</cx:pt>
          <cx:pt idx="20377">1</cx:pt>
          <cx:pt idx="20378">0</cx:pt>
          <cx:pt idx="20379">1</cx:pt>
          <cx:pt idx="20380">1</cx:pt>
          <cx:pt idx="20381">0</cx:pt>
          <cx:pt idx="20382">1</cx:pt>
          <cx:pt idx="20383">0</cx:pt>
          <cx:pt idx="20384">0</cx:pt>
          <cx:pt idx="20385">0</cx:pt>
          <cx:pt idx="20386">1</cx:pt>
          <cx:pt idx="20387">0</cx:pt>
          <cx:pt idx="20388">0</cx:pt>
          <cx:pt idx="20389">0</cx:pt>
          <cx:pt idx="20390">0</cx:pt>
          <cx:pt idx="20391">1</cx:pt>
          <cx:pt idx="20392">0</cx:pt>
          <cx:pt idx="20393">0</cx:pt>
          <cx:pt idx="20394">1</cx:pt>
          <cx:pt idx="20395">1</cx:pt>
          <cx:pt idx="20396">1</cx:pt>
          <cx:pt idx="20397">1</cx:pt>
          <cx:pt idx="20398">0</cx:pt>
          <cx:pt idx="20399">1</cx:pt>
          <cx:pt idx="20400">1</cx:pt>
          <cx:pt idx="20401">0</cx:pt>
          <cx:pt idx="20402">1</cx:pt>
          <cx:pt idx="20403">0</cx:pt>
          <cx:pt idx="20404">1</cx:pt>
          <cx:pt idx="20405">0</cx:pt>
          <cx:pt idx="20406">1</cx:pt>
          <cx:pt idx="20407">0</cx:pt>
          <cx:pt idx="20408">0</cx:pt>
          <cx:pt idx="20409">0</cx:pt>
          <cx:pt idx="20410">1</cx:pt>
          <cx:pt idx="20411">1</cx:pt>
          <cx:pt idx="20412">0</cx:pt>
          <cx:pt idx="20413">0</cx:pt>
          <cx:pt idx="20414">0</cx:pt>
          <cx:pt idx="20415">0</cx:pt>
          <cx:pt idx="20416">0</cx:pt>
          <cx:pt idx="20417">0</cx:pt>
          <cx:pt idx="20418">1</cx:pt>
          <cx:pt idx="20419">0</cx:pt>
          <cx:pt idx="20420">1</cx:pt>
          <cx:pt idx="20421">0</cx:pt>
          <cx:pt idx="20422">1</cx:pt>
          <cx:pt idx="20423">0</cx:pt>
          <cx:pt idx="20424">1</cx:pt>
          <cx:pt idx="20425">1</cx:pt>
          <cx:pt idx="20426">0</cx:pt>
          <cx:pt idx="20427">0</cx:pt>
          <cx:pt idx="20428">0</cx:pt>
          <cx:pt idx="20429">1</cx:pt>
          <cx:pt idx="20430">0</cx:pt>
          <cx:pt idx="20431">0</cx:pt>
          <cx:pt idx="20432">0</cx:pt>
          <cx:pt idx="20433">1</cx:pt>
          <cx:pt idx="20434">0</cx:pt>
          <cx:pt idx="20435">1</cx:pt>
          <cx:pt idx="20436">1</cx:pt>
          <cx:pt idx="20437">1</cx:pt>
          <cx:pt idx="20438">0</cx:pt>
          <cx:pt idx="20439">1</cx:pt>
          <cx:pt idx="20440">0</cx:pt>
          <cx:pt idx="20441">0</cx:pt>
          <cx:pt idx="20442">1</cx:pt>
          <cx:pt idx="20443">0</cx:pt>
          <cx:pt idx="20444">1</cx:pt>
          <cx:pt idx="20445">1</cx:pt>
          <cx:pt idx="20446">0</cx:pt>
          <cx:pt idx="20447">1</cx:pt>
          <cx:pt idx="20448">1</cx:pt>
          <cx:pt idx="20449">1</cx:pt>
          <cx:pt idx="20450">0</cx:pt>
          <cx:pt idx="20451">0</cx:pt>
          <cx:pt idx="20452">1</cx:pt>
          <cx:pt idx="20453">0</cx:pt>
          <cx:pt idx="20454">0</cx:pt>
          <cx:pt idx="20455">0</cx:pt>
          <cx:pt idx="20456">1</cx:pt>
          <cx:pt idx="20457">0</cx:pt>
          <cx:pt idx="20458">0</cx:pt>
          <cx:pt idx="20459">0</cx:pt>
          <cx:pt idx="20460">0</cx:pt>
          <cx:pt idx="20461">1</cx:pt>
          <cx:pt idx="20462">1</cx:pt>
          <cx:pt idx="20463">0</cx:pt>
          <cx:pt idx="20464">1</cx:pt>
          <cx:pt idx="20465">1</cx:pt>
          <cx:pt idx="20466">1</cx:pt>
          <cx:pt idx="20467">1</cx:pt>
          <cx:pt idx="20468">0</cx:pt>
          <cx:pt idx="20469">0</cx:pt>
          <cx:pt idx="20470">1</cx:pt>
          <cx:pt idx="20471">1</cx:pt>
          <cx:pt idx="20472">0</cx:pt>
          <cx:pt idx="20473">1</cx:pt>
          <cx:pt idx="20474">0</cx:pt>
          <cx:pt idx="20475">0</cx:pt>
          <cx:pt idx="20476">0</cx:pt>
          <cx:pt idx="20477">1</cx:pt>
          <cx:pt idx="20478">1</cx:pt>
          <cx:pt idx="20479">1</cx:pt>
          <cx:pt idx="20480">0</cx:pt>
          <cx:pt idx="20481">1</cx:pt>
          <cx:pt idx="20482">1</cx:pt>
          <cx:pt idx="20483">0</cx:pt>
          <cx:pt idx="20484">0</cx:pt>
          <cx:pt idx="20485">1</cx:pt>
          <cx:pt idx="20486">1</cx:pt>
          <cx:pt idx="20487">1</cx:pt>
          <cx:pt idx="20488">0</cx:pt>
          <cx:pt idx="20489">1</cx:pt>
          <cx:pt idx="20490">0</cx:pt>
          <cx:pt idx="20491">0</cx:pt>
          <cx:pt idx="20492">1</cx:pt>
          <cx:pt idx="20493">0</cx:pt>
          <cx:pt idx="20494">1</cx:pt>
          <cx:pt idx="20495">0</cx:pt>
          <cx:pt idx="20496">1</cx:pt>
          <cx:pt idx="20497">1</cx:pt>
          <cx:pt idx="20498">1</cx:pt>
          <cx:pt idx="20499">1</cx:pt>
          <cx:pt idx="20500">0</cx:pt>
          <cx:pt idx="20501">0</cx:pt>
          <cx:pt idx="20502">0</cx:pt>
          <cx:pt idx="20503">1</cx:pt>
          <cx:pt idx="20504">0</cx:pt>
          <cx:pt idx="20505">0</cx:pt>
          <cx:pt idx="20506">1</cx:pt>
          <cx:pt idx="20507">0</cx:pt>
          <cx:pt idx="20508">0</cx:pt>
          <cx:pt idx="20509">0</cx:pt>
          <cx:pt idx="20510">0</cx:pt>
          <cx:pt idx="20511">1</cx:pt>
          <cx:pt idx="20512">1</cx:pt>
          <cx:pt idx="20513">0</cx:pt>
          <cx:pt idx="20514">0</cx:pt>
          <cx:pt idx="20515">0</cx:pt>
          <cx:pt idx="20516">1</cx:pt>
          <cx:pt idx="20517">0</cx:pt>
          <cx:pt idx="20518">0</cx:pt>
          <cx:pt idx="20519">1</cx:pt>
          <cx:pt idx="20520">0</cx:pt>
          <cx:pt idx="20521">0</cx:pt>
          <cx:pt idx="20522">0</cx:pt>
          <cx:pt idx="20523">0</cx:pt>
          <cx:pt idx="20524">0</cx:pt>
          <cx:pt idx="20525">1</cx:pt>
          <cx:pt idx="20526">0</cx:pt>
          <cx:pt idx="20527">1</cx:pt>
          <cx:pt idx="20528">0</cx:pt>
          <cx:pt idx="20529">1</cx:pt>
          <cx:pt idx="20530">1</cx:pt>
          <cx:pt idx="20531">0</cx:pt>
          <cx:pt idx="20532">0</cx:pt>
          <cx:pt idx="20533">0</cx:pt>
          <cx:pt idx="20534">0</cx:pt>
          <cx:pt idx="20535">1</cx:pt>
          <cx:pt idx="20536">0</cx:pt>
          <cx:pt idx="20537">0</cx:pt>
          <cx:pt idx="20538">0</cx:pt>
          <cx:pt idx="20539">0</cx:pt>
          <cx:pt idx="20540">0</cx:pt>
          <cx:pt idx="20541">0</cx:pt>
          <cx:pt idx="20542">0</cx:pt>
          <cx:pt idx="20543">0</cx:pt>
          <cx:pt idx="20544">1</cx:pt>
          <cx:pt idx="20545">1</cx:pt>
          <cx:pt idx="20546">0</cx:pt>
          <cx:pt idx="20547">0</cx:pt>
          <cx:pt idx="20548">1</cx:pt>
          <cx:pt idx="20549">0</cx:pt>
          <cx:pt idx="20550">1</cx:pt>
          <cx:pt idx="20551">1</cx:pt>
          <cx:pt idx="20552">0</cx:pt>
          <cx:pt idx="20553">0</cx:pt>
          <cx:pt idx="20554">0</cx:pt>
          <cx:pt idx="20555">0</cx:pt>
          <cx:pt idx="20556">0</cx:pt>
          <cx:pt idx="20557">0</cx:pt>
          <cx:pt idx="20558">1</cx:pt>
          <cx:pt idx="20559">1</cx:pt>
          <cx:pt idx="20560">1</cx:pt>
          <cx:pt idx="20561">1</cx:pt>
          <cx:pt idx="20562">1</cx:pt>
          <cx:pt idx="20563">1</cx:pt>
          <cx:pt idx="20564">0</cx:pt>
          <cx:pt idx="20565">1</cx:pt>
          <cx:pt idx="20566">0</cx:pt>
          <cx:pt idx="20567">1</cx:pt>
          <cx:pt idx="20568">1</cx:pt>
          <cx:pt idx="20569">1</cx:pt>
          <cx:pt idx="20570">0</cx:pt>
          <cx:pt idx="20571">1</cx:pt>
          <cx:pt idx="20572">0</cx:pt>
          <cx:pt idx="20573">1</cx:pt>
          <cx:pt idx="20574">0</cx:pt>
          <cx:pt idx="20575">1</cx:pt>
          <cx:pt idx="20576">0</cx:pt>
          <cx:pt idx="20577">0</cx:pt>
          <cx:pt idx="20578">0</cx:pt>
          <cx:pt idx="20579">1</cx:pt>
          <cx:pt idx="20580">0</cx:pt>
          <cx:pt idx="20581">1</cx:pt>
          <cx:pt idx="20582">0</cx:pt>
          <cx:pt idx="20583">0</cx:pt>
          <cx:pt idx="20584">1</cx:pt>
          <cx:pt idx="20585">1</cx:pt>
          <cx:pt idx="20586">0</cx:pt>
          <cx:pt idx="20587">0</cx:pt>
          <cx:pt idx="20588">0</cx:pt>
          <cx:pt idx="20589">0</cx:pt>
          <cx:pt idx="20590">1</cx:pt>
          <cx:pt idx="20591">0</cx:pt>
          <cx:pt idx="20592">0</cx:pt>
          <cx:pt idx="20593">0</cx:pt>
          <cx:pt idx="20594">1</cx:pt>
          <cx:pt idx="20595">1</cx:pt>
          <cx:pt idx="20596">0</cx:pt>
          <cx:pt idx="20597">1</cx:pt>
          <cx:pt idx="20598">1</cx:pt>
          <cx:pt idx="20599">0</cx:pt>
          <cx:pt idx="20600">0</cx:pt>
          <cx:pt idx="20601">0</cx:pt>
          <cx:pt idx="20602">1</cx:pt>
          <cx:pt idx="20603">1</cx:pt>
          <cx:pt idx="20604">1</cx:pt>
          <cx:pt idx="20605">0</cx:pt>
          <cx:pt idx="20606">0</cx:pt>
          <cx:pt idx="20607">1</cx:pt>
          <cx:pt idx="20608">1</cx:pt>
          <cx:pt idx="20609">1</cx:pt>
          <cx:pt idx="20610">1</cx:pt>
          <cx:pt idx="20611">0</cx:pt>
          <cx:pt idx="20612">1</cx:pt>
          <cx:pt idx="20613">1</cx:pt>
          <cx:pt idx="20614">0</cx:pt>
          <cx:pt idx="20615">0</cx:pt>
          <cx:pt idx="20616">0</cx:pt>
          <cx:pt idx="20617">1</cx:pt>
          <cx:pt idx="20618">1</cx:pt>
          <cx:pt idx="20619">0</cx:pt>
          <cx:pt idx="20620">1</cx:pt>
          <cx:pt idx="20621">1</cx:pt>
          <cx:pt idx="20622">0</cx:pt>
          <cx:pt idx="20623">0</cx:pt>
          <cx:pt idx="20624">0</cx:pt>
          <cx:pt idx="20625">1</cx:pt>
          <cx:pt idx="20626">0</cx:pt>
          <cx:pt idx="20627">1</cx:pt>
          <cx:pt idx="20628">0</cx:pt>
          <cx:pt idx="20629">1</cx:pt>
          <cx:pt idx="20630">1</cx:pt>
          <cx:pt idx="20631">1</cx:pt>
          <cx:pt idx="20632">1</cx:pt>
          <cx:pt idx="20633">1</cx:pt>
          <cx:pt idx="20634">1</cx:pt>
          <cx:pt idx="20635">1</cx:pt>
          <cx:pt idx="20636">1</cx:pt>
          <cx:pt idx="20637">1</cx:pt>
          <cx:pt idx="20638">0</cx:pt>
          <cx:pt idx="20639">0</cx:pt>
          <cx:pt idx="20640">0</cx:pt>
          <cx:pt idx="20641">0</cx:pt>
          <cx:pt idx="20642">0</cx:pt>
          <cx:pt idx="20643">1</cx:pt>
          <cx:pt idx="20644">1</cx:pt>
          <cx:pt idx="20645">1</cx:pt>
          <cx:pt idx="20646">1</cx:pt>
          <cx:pt idx="20647">1</cx:pt>
          <cx:pt idx="20648">0</cx:pt>
          <cx:pt idx="20649">0</cx:pt>
          <cx:pt idx="20650">0</cx:pt>
          <cx:pt idx="20651">1</cx:pt>
          <cx:pt idx="20652">0</cx:pt>
          <cx:pt idx="20653">1</cx:pt>
          <cx:pt idx="20654">0</cx:pt>
          <cx:pt idx="20655">0</cx:pt>
          <cx:pt idx="20656">0</cx:pt>
          <cx:pt idx="20657">0</cx:pt>
          <cx:pt idx="20658">0</cx:pt>
          <cx:pt idx="20659">1</cx:pt>
          <cx:pt idx="20660">1</cx:pt>
          <cx:pt idx="20661">0</cx:pt>
          <cx:pt idx="20662">1</cx:pt>
          <cx:pt idx="20663">0</cx:pt>
          <cx:pt idx="20664">1</cx:pt>
          <cx:pt idx="20665">1</cx:pt>
          <cx:pt idx="20666">1</cx:pt>
          <cx:pt idx="20667">1</cx:pt>
          <cx:pt idx="20668">0</cx:pt>
          <cx:pt idx="20669">1</cx:pt>
          <cx:pt idx="20670">0</cx:pt>
          <cx:pt idx="20671">1</cx:pt>
          <cx:pt idx="20672">1</cx:pt>
          <cx:pt idx="20673">1</cx:pt>
          <cx:pt idx="20674">1</cx:pt>
          <cx:pt idx="20675">0</cx:pt>
          <cx:pt idx="20676">0</cx:pt>
          <cx:pt idx="20677">1</cx:pt>
          <cx:pt idx="20678">1</cx:pt>
          <cx:pt idx="20679">1</cx:pt>
          <cx:pt idx="20680">1</cx:pt>
          <cx:pt idx="20681">0</cx:pt>
          <cx:pt idx="20682">0</cx:pt>
          <cx:pt idx="20683">0</cx:pt>
          <cx:pt idx="20684">0</cx:pt>
          <cx:pt idx="20685">1</cx:pt>
          <cx:pt idx="20686">1</cx:pt>
          <cx:pt idx="20687">1</cx:pt>
          <cx:pt idx="20688">0</cx:pt>
          <cx:pt idx="20689">0</cx:pt>
          <cx:pt idx="20690">0</cx:pt>
          <cx:pt idx="20691">1</cx:pt>
          <cx:pt idx="20692">0</cx:pt>
          <cx:pt idx="20693">1</cx:pt>
          <cx:pt idx="20694">0</cx:pt>
          <cx:pt idx="20695">1</cx:pt>
          <cx:pt idx="20696">1</cx:pt>
          <cx:pt idx="20697">0</cx:pt>
          <cx:pt idx="20698">0</cx:pt>
          <cx:pt idx="20699">1</cx:pt>
          <cx:pt idx="20700">1</cx:pt>
          <cx:pt idx="20701">0</cx:pt>
          <cx:pt idx="20702">0</cx:pt>
          <cx:pt idx="20703">1</cx:pt>
          <cx:pt idx="20704">0</cx:pt>
          <cx:pt idx="20705">0</cx:pt>
          <cx:pt idx="20706">1</cx:pt>
          <cx:pt idx="20707">0</cx:pt>
          <cx:pt idx="20708">1</cx:pt>
          <cx:pt idx="20709">1</cx:pt>
          <cx:pt idx="20710">0</cx:pt>
          <cx:pt idx="20711">0</cx:pt>
          <cx:pt idx="20712">0</cx:pt>
          <cx:pt idx="20713">0</cx:pt>
          <cx:pt idx="20714">0</cx:pt>
          <cx:pt idx="20715">0</cx:pt>
          <cx:pt idx="20716">1</cx:pt>
          <cx:pt idx="20717">1</cx:pt>
          <cx:pt idx="20718">1</cx:pt>
          <cx:pt idx="20719">0</cx:pt>
          <cx:pt idx="20720">0</cx:pt>
          <cx:pt idx="20721">0</cx:pt>
          <cx:pt idx="20722">1</cx:pt>
          <cx:pt idx="20723">1</cx:pt>
          <cx:pt idx="20724">0</cx:pt>
          <cx:pt idx="20725">1</cx:pt>
          <cx:pt idx="20726">0</cx:pt>
          <cx:pt idx="20727">1</cx:pt>
          <cx:pt idx="20728">0</cx:pt>
          <cx:pt idx="20729">1</cx:pt>
          <cx:pt idx="20730">1</cx:pt>
          <cx:pt idx="20731">0</cx:pt>
          <cx:pt idx="20732">1</cx:pt>
          <cx:pt idx="20733">0</cx:pt>
          <cx:pt idx="20734">0</cx:pt>
          <cx:pt idx="20735">0</cx:pt>
          <cx:pt idx="20736">0</cx:pt>
          <cx:pt idx="20737">1</cx:pt>
          <cx:pt idx="20738">1</cx:pt>
          <cx:pt idx="20739">1</cx:pt>
          <cx:pt idx="20740">1</cx:pt>
          <cx:pt idx="20741">0</cx:pt>
          <cx:pt idx="20742">0</cx:pt>
          <cx:pt idx="20743">1</cx:pt>
          <cx:pt idx="20744">1</cx:pt>
          <cx:pt idx="20745">0</cx:pt>
          <cx:pt idx="20746">0</cx:pt>
          <cx:pt idx="20747">1</cx:pt>
          <cx:pt idx="20748">1</cx:pt>
          <cx:pt idx="20749">0</cx:pt>
          <cx:pt idx="20750">1</cx:pt>
          <cx:pt idx="20751">0</cx:pt>
          <cx:pt idx="20752">0</cx:pt>
          <cx:pt idx="20753">0</cx:pt>
          <cx:pt idx="20754">1</cx:pt>
          <cx:pt idx="20755">1</cx:pt>
          <cx:pt idx="20756">1</cx:pt>
          <cx:pt idx="20757">0</cx:pt>
          <cx:pt idx="20758">0</cx:pt>
          <cx:pt idx="20759">0</cx:pt>
          <cx:pt idx="20760">1</cx:pt>
          <cx:pt idx="20761">0</cx:pt>
          <cx:pt idx="20762">1</cx:pt>
          <cx:pt idx="20763">0</cx:pt>
          <cx:pt idx="20764">0</cx:pt>
          <cx:pt idx="20765">0</cx:pt>
          <cx:pt idx="20766">0</cx:pt>
          <cx:pt idx="20767">1</cx:pt>
          <cx:pt idx="20768">1</cx:pt>
          <cx:pt idx="20769">1</cx:pt>
          <cx:pt idx="20770">0</cx:pt>
          <cx:pt idx="20771">0</cx:pt>
          <cx:pt idx="20772">1</cx:pt>
          <cx:pt idx="20773">1</cx:pt>
          <cx:pt idx="20774">1</cx:pt>
          <cx:pt idx="20775">0</cx:pt>
          <cx:pt idx="20776">1</cx:pt>
          <cx:pt idx="20777">1</cx:pt>
          <cx:pt idx="20778">1</cx:pt>
          <cx:pt idx="20779">1</cx:pt>
          <cx:pt idx="20780">0</cx:pt>
          <cx:pt idx="20781">0</cx:pt>
          <cx:pt idx="20782">1</cx:pt>
          <cx:pt idx="20783">0</cx:pt>
          <cx:pt idx="20784">1</cx:pt>
          <cx:pt idx="20785">1</cx:pt>
          <cx:pt idx="20786">0</cx:pt>
          <cx:pt idx="20787">1</cx:pt>
          <cx:pt idx="20788">0</cx:pt>
          <cx:pt idx="20789">0</cx:pt>
          <cx:pt idx="20790">0</cx:pt>
          <cx:pt idx="20791">0</cx:pt>
          <cx:pt idx="20792">0</cx:pt>
          <cx:pt idx="20793">0</cx:pt>
          <cx:pt idx="20794">0</cx:pt>
          <cx:pt idx="20795">1</cx:pt>
          <cx:pt idx="20796">0</cx:pt>
          <cx:pt idx="20797">0</cx:pt>
          <cx:pt idx="20798">1</cx:pt>
          <cx:pt idx="20799">0</cx:pt>
          <cx:pt idx="20800">0</cx:pt>
          <cx:pt idx="20801">1</cx:pt>
          <cx:pt idx="20802">1</cx:pt>
          <cx:pt idx="20803">0</cx:pt>
          <cx:pt idx="20804">1</cx:pt>
          <cx:pt idx="20805">0</cx:pt>
          <cx:pt idx="20806">1</cx:pt>
          <cx:pt idx="20807">0</cx:pt>
          <cx:pt idx="20808">1</cx:pt>
          <cx:pt idx="20809">0</cx:pt>
          <cx:pt idx="20810">0</cx:pt>
          <cx:pt idx="20811">0</cx:pt>
          <cx:pt idx="20812">0</cx:pt>
          <cx:pt idx="20813">0</cx:pt>
          <cx:pt idx="20814">1</cx:pt>
          <cx:pt idx="20815">1</cx:pt>
          <cx:pt idx="20816">1</cx:pt>
          <cx:pt idx="20817">0</cx:pt>
          <cx:pt idx="20818">1</cx:pt>
          <cx:pt idx="20819">0</cx:pt>
          <cx:pt idx="20820">1</cx:pt>
          <cx:pt idx="20821">0</cx:pt>
          <cx:pt idx="20822">1</cx:pt>
          <cx:pt idx="20823">0</cx:pt>
          <cx:pt idx="20824">0</cx:pt>
          <cx:pt idx="20825">0</cx:pt>
          <cx:pt idx="20826">1</cx:pt>
          <cx:pt idx="20827">1</cx:pt>
          <cx:pt idx="20828">1</cx:pt>
          <cx:pt idx="20829">1</cx:pt>
          <cx:pt idx="20830">1</cx:pt>
          <cx:pt idx="20831">0</cx:pt>
          <cx:pt idx="20832">1</cx:pt>
          <cx:pt idx="20833">1</cx:pt>
          <cx:pt idx="20834">0</cx:pt>
          <cx:pt idx="20835">1</cx:pt>
          <cx:pt idx="20836">1</cx:pt>
          <cx:pt idx="20837">0</cx:pt>
          <cx:pt idx="20838">1</cx:pt>
          <cx:pt idx="20839">0</cx:pt>
          <cx:pt idx="20840">1</cx:pt>
          <cx:pt idx="20841">0</cx:pt>
          <cx:pt idx="20842">1</cx:pt>
          <cx:pt idx="20843">0</cx:pt>
          <cx:pt idx="20844">0</cx:pt>
          <cx:pt idx="20845">1</cx:pt>
          <cx:pt idx="20846">1</cx:pt>
          <cx:pt idx="20847">0</cx:pt>
          <cx:pt idx="20848">0</cx:pt>
          <cx:pt idx="20849">1</cx:pt>
          <cx:pt idx="20850">0</cx:pt>
          <cx:pt idx="20851">0</cx:pt>
          <cx:pt idx="20852">0</cx:pt>
          <cx:pt idx="20853">0</cx:pt>
          <cx:pt idx="20854">0</cx:pt>
          <cx:pt idx="20855">0</cx:pt>
          <cx:pt idx="20856">1</cx:pt>
          <cx:pt idx="20857">1</cx:pt>
          <cx:pt idx="20858">0</cx:pt>
          <cx:pt idx="20859">0</cx:pt>
          <cx:pt idx="20860">0</cx:pt>
          <cx:pt idx="20861">0</cx:pt>
          <cx:pt idx="20862">0</cx:pt>
          <cx:pt idx="20863">0</cx:pt>
          <cx:pt idx="20864">0</cx:pt>
          <cx:pt idx="20865">1</cx:pt>
          <cx:pt idx="20866">1</cx:pt>
          <cx:pt idx="20867">1</cx:pt>
          <cx:pt idx="20868">0</cx:pt>
          <cx:pt idx="20869">0</cx:pt>
          <cx:pt idx="20870">0</cx:pt>
          <cx:pt idx="20871">0</cx:pt>
          <cx:pt idx="20872">0</cx:pt>
          <cx:pt idx="20873">0</cx:pt>
          <cx:pt idx="20874">1</cx:pt>
          <cx:pt idx="20875">0</cx:pt>
          <cx:pt idx="20876">0</cx:pt>
          <cx:pt idx="20877">0</cx:pt>
          <cx:pt idx="20878">1</cx:pt>
          <cx:pt idx="20879">1</cx:pt>
          <cx:pt idx="20880">0</cx:pt>
          <cx:pt idx="20881">0</cx:pt>
          <cx:pt idx="20882">0</cx:pt>
          <cx:pt idx="20883">1</cx:pt>
          <cx:pt idx="20884">1</cx:pt>
          <cx:pt idx="20885">1</cx:pt>
          <cx:pt idx="20886">1</cx:pt>
          <cx:pt idx="20887">1</cx:pt>
          <cx:pt idx="20888">0</cx:pt>
          <cx:pt idx="20889">0</cx:pt>
          <cx:pt idx="20890">0</cx:pt>
          <cx:pt idx="20891">1</cx:pt>
          <cx:pt idx="20892">0</cx:pt>
          <cx:pt idx="20893">1</cx:pt>
          <cx:pt idx="20894">1</cx:pt>
          <cx:pt idx="20895">1</cx:pt>
          <cx:pt idx="20896">0</cx:pt>
          <cx:pt idx="20897">1</cx:pt>
          <cx:pt idx="20898">1</cx:pt>
          <cx:pt idx="20899">1</cx:pt>
          <cx:pt idx="20900">1</cx:pt>
          <cx:pt idx="20901">1</cx:pt>
          <cx:pt idx="20902">0</cx:pt>
          <cx:pt idx="20903">0</cx:pt>
          <cx:pt idx="20904">0</cx:pt>
          <cx:pt idx="20905">1</cx:pt>
          <cx:pt idx="20906">1</cx:pt>
          <cx:pt idx="20907">1</cx:pt>
          <cx:pt idx="20908">1</cx:pt>
          <cx:pt idx="20909">1</cx:pt>
          <cx:pt idx="20910">0</cx:pt>
          <cx:pt idx="20911">0</cx:pt>
          <cx:pt idx="20912">0</cx:pt>
          <cx:pt idx="20913">0</cx:pt>
          <cx:pt idx="20914">0</cx:pt>
          <cx:pt idx="20915">0</cx:pt>
          <cx:pt idx="20916">1</cx:pt>
          <cx:pt idx="20917">0</cx:pt>
          <cx:pt idx="20918">0</cx:pt>
          <cx:pt idx="20919">0</cx:pt>
          <cx:pt idx="20920">0</cx:pt>
          <cx:pt idx="20921">0</cx:pt>
          <cx:pt idx="20922">1</cx:pt>
          <cx:pt idx="20923">0</cx:pt>
          <cx:pt idx="20924">1</cx:pt>
          <cx:pt idx="20925">0</cx:pt>
          <cx:pt idx="20926">0</cx:pt>
          <cx:pt idx="20927">0</cx:pt>
          <cx:pt idx="20928">1</cx:pt>
          <cx:pt idx="20929">1</cx:pt>
          <cx:pt idx="20930">1</cx:pt>
          <cx:pt idx="20931">1</cx:pt>
          <cx:pt idx="20932">0</cx:pt>
          <cx:pt idx="20933">1</cx:pt>
          <cx:pt idx="20934">1</cx:pt>
          <cx:pt idx="20935">1</cx:pt>
          <cx:pt idx="20936">1</cx:pt>
          <cx:pt idx="20937">0</cx:pt>
          <cx:pt idx="20938">0</cx:pt>
          <cx:pt idx="20939">1</cx:pt>
          <cx:pt idx="20940">0</cx:pt>
          <cx:pt idx="20941">0</cx:pt>
          <cx:pt idx="20942">1</cx:pt>
          <cx:pt idx="20943">0</cx:pt>
          <cx:pt idx="20944">0</cx:pt>
          <cx:pt idx="20945">0</cx:pt>
          <cx:pt idx="20946">0</cx:pt>
          <cx:pt idx="20947">0</cx:pt>
          <cx:pt idx="20948">1</cx:pt>
          <cx:pt idx="20949">0</cx:pt>
          <cx:pt idx="20950">0</cx:pt>
          <cx:pt idx="20951">0</cx:pt>
          <cx:pt idx="20952">0</cx:pt>
          <cx:pt idx="20953">1</cx:pt>
          <cx:pt idx="20954">0</cx:pt>
          <cx:pt idx="20955">0</cx:pt>
          <cx:pt idx="20956">1</cx:pt>
          <cx:pt idx="20957">1</cx:pt>
          <cx:pt idx="20958">1</cx:pt>
          <cx:pt idx="20959">1</cx:pt>
          <cx:pt idx="20960">0</cx:pt>
          <cx:pt idx="20961">1</cx:pt>
          <cx:pt idx="20962">0</cx:pt>
          <cx:pt idx="20963">1</cx:pt>
          <cx:pt idx="20964">0</cx:pt>
          <cx:pt idx="20965">0</cx:pt>
          <cx:pt idx="20966">0</cx:pt>
          <cx:pt idx="20967">0</cx:pt>
          <cx:pt idx="20968">1</cx:pt>
          <cx:pt idx="20969">0</cx:pt>
          <cx:pt idx="20970">1</cx:pt>
          <cx:pt idx="20971">1</cx:pt>
          <cx:pt idx="20972">1</cx:pt>
          <cx:pt idx="20973">0</cx:pt>
          <cx:pt idx="20974">1</cx:pt>
          <cx:pt idx="20975">0</cx:pt>
          <cx:pt idx="20976">0</cx:pt>
          <cx:pt idx="20977">0</cx:pt>
          <cx:pt idx="20978">1</cx:pt>
          <cx:pt idx="20979">0</cx:pt>
          <cx:pt idx="20980">0</cx:pt>
          <cx:pt idx="20981">0</cx:pt>
          <cx:pt idx="20982">0</cx:pt>
          <cx:pt idx="20983">1</cx:pt>
          <cx:pt idx="20984">1</cx:pt>
          <cx:pt idx="20985">0</cx:pt>
          <cx:pt idx="20986">0</cx:pt>
          <cx:pt idx="20987">1</cx:pt>
          <cx:pt idx="20988">1</cx:pt>
          <cx:pt idx="20989">1</cx:pt>
          <cx:pt idx="20990">0</cx:pt>
          <cx:pt idx="20991">1</cx:pt>
          <cx:pt idx="20992">1</cx:pt>
          <cx:pt idx="20993">0</cx:pt>
          <cx:pt idx="20994">1</cx:pt>
          <cx:pt idx="20995">1</cx:pt>
          <cx:pt idx="20996">1</cx:pt>
          <cx:pt idx="20997">1</cx:pt>
          <cx:pt idx="20998">0</cx:pt>
          <cx:pt idx="20999">1</cx:pt>
          <cx:pt idx="21000">1</cx:pt>
          <cx:pt idx="21001">0</cx:pt>
          <cx:pt idx="21002">1</cx:pt>
          <cx:pt idx="21003">1</cx:pt>
          <cx:pt idx="21004">1</cx:pt>
          <cx:pt idx="21005">0</cx:pt>
          <cx:pt idx="21006">0</cx:pt>
          <cx:pt idx="21007">0</cx:pt>
          <cx:pt idx="21008">1</cx:pt>
          <cx:pt idx="21009">0</cx:pt>
          <cx:pt idx="21010">0</cx:pt>
          <cx:pt idx="21011">1</cx:pt>
          <cx:pt idx="21012">1</cx:pt>
          <cx:pt idx="21013">0</cx:pt>
          <cx:pt idx="21014">1</cx:pt>
          <cx:pt idx="21015">1</cx:pt>
          <cx:pt idx="21016">0</cx:pt>
          <cx:pt idx="21017">0</cx:pt>
          <cx:pt idx="21018">0</cx:pt>
          <cx:pt idx="21019">0</cx:pt>
          <cx:pt idx="21020">0</cx:pt>
          <cx:pt idx="21021">0</cx:pt>
          <cx:pt idx="21022">0</cx:pt>
          <cx:pt idx="21023">1</cx:pt>
          <cx:pt idx="21024">0</cx:pt>
          <cx:pt idx="21025">1</cx:pt>
          <cx:pt idx="21026">1</cx:pt>
          <cx:pt idx="21027">0</cx:pt>
          <cx:pt idx="21028">0</cx:pt>
          <cx:pt idx="21029">0</cx:pt>
          <cx:pt idx="21030">0</cx:pt>
          <cx:pt idx="21031">1</cx:pt>
          <cx:pt idx="21032">0</cx:pt>
          <cx:pt idx="21033">0</cx:pt>
          <cx:pt idx="21034">1</cx:pt>
          <cx:pt idx="21035">1</cx:pt>
          <cx:pt idx="21036">0</cx:pt>
          <cx:pt idx="21037">0</cx:pt>
          <cx:pt idx="21038">0</cx:pt>
          <cx:pt idx="21039">0</cx:pt>
          <cx:pt idx="21040">0</cx:pt>
          <cx:pt idx="21041">0</cx:pt>
          <cx:pt idx="21042">0</cx:pt>
          <cx:pt idx="21043">0</cx:pt>
          <cx:pt idx="21044">1</cx:pt>
          <cx:pt idx="21045">0</cx:pt>
          <cx:pt idx="21046">1</cx:pt>
          <cx:pt idx="21047">0</cx:pt>
          <cx:pt idx="21048">1</cx:pt>
          <cx:pt idx="21049">0</cx:pt>
          <cx:pt idx="21050">0</cx:pt>
          <cx:pt idx="21051">1</cx:pt>
          <cx:pt idx="21052">1</cx:pt>
          <cx:pt idx="21053">1</cx:pt>
          <cx:pt idx="21054">0</cx:pt>
          <cx:pt idx="21055">0</cx:pt>
          <cx:pt idx="21056">1</cx:pt>
          <cx:pt idx="21057">1</cx:pt>
          <cx:pt idx="21058">1</cx:pt>
          <cx:pt idx="21059">0</cx:pt>
          <cx:pt idx="21060">1</cx:pt>
          <cx:pt idx="21061">1</cx:pt>
          <cx:pt idx="21062">1</cx:pt>
          <cx:pt idx="21063">0</cx:pt>
          <cx:pt idx="21064">0</cx:pt>
          <cx:pt idx="21065">1</cx:pt>
          <cx:pt idx="21066">0</cx:pt>
          <cx:pt idx="21067">1</cx:pt>
          <cx:pt idx="21068">0</cx:pt>
          <cx:pt idx="21069">0</cx:pt>
          <cx:pt idx="21070">1</cx:pt>
          <cx:pt idx="21071">0</cx:pt>
          <cx:pt idx="21072">0</cx:pt>
          <cx:pt idx="21073">1</cx:pt>
          <cx:pt idx="21074">0</cx:pt>
          <cx:pt idx="21075">1</cx:pt>
          <cx:pt idx="21076">1</cx:pt>
          <cx:pt idx="21077">0</cx:pt>
          <cx:pt idx="21078">1</cx:pt>
          <cx:pt idx="21079">1</cx:pt>
          <cx:pt idx="21080">0</cx:pt>
          <cx:pt idx="21081">0</cx:pt>
          <cx:pt idx="21082">0</cx:pt>
          <cx:pt idx="21083">0</cx:pt>
          <cx:pt idx="21084">1</cx:pt>
          <cx:pt idx="21085">0</cx:pt>
          <cx:pt idx="21086">0</cx:pt>
          <cx:pt idx="21087">0</cx:pt>
          <cx:pt idx="21088">1</cx:pt>
          <cx:pt idx="21089">0</cx:pt>
          <cx:pt idx="21090">0</cx:pt>
          <cx:pt idx="21091">1</cx:pt>
          <cx:pt idx="21092">0</cx:pt>
          <cx:pt idx="21093">0</cx:pt>
          <cx:pt idx="21094">0</cx:pt>
          <cx:pt idx="21095">0</cx:pt>
          <cx:pt idx="21096">0</cx:pt>
          <cx:pt idx="21097">0</cx:pt>
          <cx:pt idx="21098">0</cx:pt>
          <cx:pt idx="21099">0</cx:pt>
          <cx:pt idx="21100">0</cx:pt>
          <cx:pt idx="21101">1</cx:pt>
          <cx:pt idx="21102">1</cx:pt>
          <cx:pt idx="21103">1</cx:pt>
          <cx:pt idx="21104">0</cx:pt>
          <cx:pt idx="21105">0</cx:pt>
          <cx:pt idx="21106">0</cx:pt>
          <cx:pt idx="21107">0</cx:pt>
          <cx:pt idx="21108">0</cx:pt>
          <cx:pt idx="21109">1</cx:pt>
          <cx:pt idx="21110">0</cx:pt>
          <cx:pt idx="21111">0</cx:pt>
          <cx:pt idx="21112">1</cx:pt>
          <cx:pt idx="21113">0</cx:pt>
          <cx:pt idx="21114">1</cx:pt>
          <cx:pt idx="21115">1</cx:pt>
          <cx:pt idx="21116">1</cx:pt>
          <cx:pt idx="21117">1</cx:pt>
          <cx:pt idx="21118">0</cx:pt>
          <cx:pt idx="21119">1</cx:pt>
          <cx:pt idx="21120">0</cx:pt>
          <cx:pt idx="21121">1</cx:pt>
          <cx:pt idx="21122">0</cx:pt>
          <cx:pt idx="21123">0</cx:pt>
          <cx:pt idx="21124">0</cx:pt>
          <cx:pt idx="21125">1</cx:pt>
          <cx:pt idx="21126">1</cx:pt>
          <cx:pt idx="21127">0</cx:pt>
          <cx:pt idx="21128">0</cx:pt>
          <cx:pt idx="21129">1</cx:pt>
          <cx:pt idx="21130">0</cx:pt>
          <cx:pt idx="21131">0</cx:pt>
          <cx:pt idx="21132">0</cx:pt>
          <cx:pt idx="21133">0</cx:pt>
          <cx:pt idx="21134">0</cx:pt>
          <cx:pt idx="21135">0</cx:pt>
          <cx:pt idx="21136">1</cx:pt>
          <cx:pt idx="21137">0</cx:pt>
          <cx:pt idx="21138">0</cx:pt>
          <cx:pt idx="21139">1</cx:pt>
          <cx:pt idx="21140">0</cx:pt>
          <cx:pt idx="21141">1</cx:pt>
          <cx:pt idx="21142">0</cx:pt>
          <cx:pt idx="21143">0</cx:pt>
          <cx:pt idx="21144">0</cx:pt>
          <cx:pt idx="21145">0</cx:pt>
          <cx:pt idx="21146">0</cx:pt>
          <cx:pt idx="21147">0</cx:pt>
          <cx:pt idx="21148">1</cx:pt>
          <cx:pt idx="21149">1</cx:pt>
          <cx:pt idx="21150">0</cx:pt>
          <cx:pt idx="21151">0</cx:pt>
          <cx:pt idx="21152">0</cx:pt>
          <cx:pt idx="21153">1</cx:pt>
          <cx:pt idx="21154">1</cx:pt>
          <cx:pt idx="21155">1</cx:pt>
          <cx:pt idx="21156">1</cx:pt>
          <cx:pt idx="21157">0</cx:pt>
          <cx:pt idx="21158">0</cx:pt>
          <cx:pt idx="21159">0</cx:pt>
          <cx:pt idx="21160">1</cx:pt>
          <cx:pt idx="21161">1</cx:pt>
          <cx:pt idx="21162">1</cx:pt>
          <cx:pt idx="21163">0</cx:pt>
          <cx:pt idx="21164">0</cx:pt>
          <cx:pt idx="21165">1</cx:pt>
          <cx:pt idx="21166">0</cx:pt>
          <cx:pt idx="21167">1</cx:pt>
          <cx:pt idx="21168">0</cx:pt>
          <cx:pt idx="21169">1</cx:pt>
          <cx:pt idx="21170">1</cx:pt>
          <cx:pt idx="21171">1</cx:pt>
          <cx:pt idx="21172">1</cx:pt>
          <cx:pt idx="21173">1</cx:pt>
          <cx:pt idx="21174">0</cx:pt>
          <cx:pt idx="21175">0</cx:pt>
          <cx:pt idx="21176">0</cx:pt>
          <cx:pt idx="21177">1</cx:pt>
          <cx:pt idx="21178">1</cx:pt>
          <cx:pt idx="21179">1</cx:pt>
          <cx:pt idx="21180">1</cx:pt>
          <cx:pt idx="21181">0</cx:pt>
          <cx:pt idx="21182">0</cx:pt>
          <cx:pt idx="21183">0</cx:pt>
          <cx:pt idx="21184">0</cx:pt>
          <cx:pt idx="21185">1</cx:pt>
          <cx:pt idx="21186">0</cx:pt>
          <cx:pt idx="21187">0</cx:pt>
          <cx:pt idx="21188">0</cx:pt>
          <cx:pt idx="21189">1</cx:pt>
          <cx:pt idx="21190">0</cx:pt>
          <cx:pt idx="21191">0</cx:pt>
          <cx:pt idx="21192">0</cx:pt>
          <cx:pt idx="21193">0</cx:pt>
          <cx:pt idx="21194">1</cx:pt>
          <cx:pt idx="21195">1</cx:pt>
          <cx:pt idx="21196">0</cx:pt>
          <cx:pt idx="21197">1</cx:pt>
          <cx:pt idx="21198">1</cx:pt>
          <cx:pt idx="21199">0</cx:pt>
          <cx:pt idx="21200">1</cx:pt>
          <cx:pt idx="21201">0</cx:pt>
          <cx:pt idx="21202">1</cx:pt>
          <cx:pt idx="21203">0</cx:pt>
          <cx:pt idx="21204">0</cx:pt>
          <cx:pt idx="21205">0</cx:pt>
          <cx:pt idx="21206">0</cx:pt>
          <cx:pt idx="21207">0</cx:pt>
          <cx:pt idx="21208">1</cx:pt>
          <cx:pt idx="21209">0</cx:pt>
          <cx:pt idx="21210">1</cx:pt>
          <cx:pt idx="21211">1</cx:pt>
          <cx:pt idx="21212">0</cx:pt>
          <cx:pt idx="21213">1</cx:pt>
          <cx:pt idx="21214">1</cx:pt>
          <cx:pt idx="21215">0</cx:pt>
          <cx:pt idx="21216">0</cx:pt>
          <cx:pt idx="21217">0</cx:pt>
          <cx:pt idx="21218">1</cx:pt>
          <cx:pt idx="21219">1</cx:pt>
          <cx:pt idx="21220">1</cx:pt>
          <cx:pt idx="21221">0</cx:pt>
          <cx:pt idx="21222">0</cx:pt>
          <cx:pt idx="21223">0</cx:pt>
          <cx:pt idx="21224">0</cx:pt>
          <cx:pt idx="21225">1</cx:pt>
          <cx:pt idx="21226">0</cx:pt>
          <cx:pt idx="21227">1</cx:pt>
          <cx:pt idx="21228">0</cx:pt>
          <cx:pt idx="21229">0</cx:pt>
          <cx:pt idx="21230">1</cx:pt>
          <cx:pt idx="21231">1</cx:pt>
          <cx:pt idx="21232">1</cx:pt>
          <cx:pt idx="21233">0</cx:pt>
          <cx:pt idx="21234">0</cx:pt>
          <cx:pt idx="21235">1</cx:pt>
          <cx:pt idx="21236">0</cx:pt>
          <cx:pt idx="21237">1</cx:pt>
          <cx:pt idx="21238">0</cx:pt>
          <cx:pt idx="21239">0</cx:pt>
          <cx:pt idx="21240">0</cx:pt>
          <cx:pt idx="21241">1</cx:pt>
          <cx:pt idx="21242">0</cx:pt>
          <cx:pt idx="21243">1</cx:pt>
          <cx:pt idx="21244">0</cx:pt>
          <cx:pt idx="21245">0</cx:pt>
          <cx:pt idx="21246">0</cx:pt>
          <cx:pt idx="21247">0</cx:pt>
          <cx:pt idx="21248">1</cx:pt>
          <cx:pt idx="21249">1</cx:pt>
          <cx:pt idx="21250">0</cx:pt>
          <cx:pt idx="21251">1</cx:pt>
          <cx:pt idx="21252">0</cx:pt>
          <cx:pt idx="21253">1</cx:pt>
          <cx:pt idx="21254">1</cx:pt>
          <cx:pt idx="21255">0</cx:pt>
          <cx:pt idx="21256">1</cx:pt>
          <cx:pt idx="21257">1</cx:pt>
          <cx:pt idx="21258">0</cx:pt>
          <cx:pt idx="21259">0</cx:pt>
          <cx:pt idx="21260">1</cx:pt>
          <cx:pt idx="21261">0</cx:pt>
          <cx:pt idx="21262">1</cx:pt>
          <cx:pt idx="21263">1</cx:pt>
          <cx:pt idx="21264">0</cx:pt>
          <cx:pt idx="21265">0</cx:pt>
          <cx:pt idx="21266">0</cx:pt>
          <cx:pt idx="21267">0</cx:pt>
          <cx:pt idx="21268">1</cx:pt>
          <cx:pt idx="21269">1</cx:pt>
          <cx:pt idx="21270">0</cx:pt>
          <cx:pt idx="21271">1</cx:pt>
          <cx:pt idx="21272">1</cx:pt>
          <cx:pt idx="21273">0</cx:pt>
          <cx:pt idx="21274">0</cx:pt>
          <cx:pt idx="21275">1</cx:pt>
          <cx:pt idx="21276">0</cx:pt>
          <cx:pt idx="21277">1</cx:pt>
          <cx:pt idx="21278">0</cx:pt>
          <cx:pt idx="21279">0</cx:pt>
          <cx:pt idx="21280">0</cx:pt>
          <cx:pt idx="21281">1</cx:pt>
          <cx:pt idx="21282">1</cx:pt>
          <cx:pt idx="21283">1</cx:pt>
          <cx:pt idx="21284">1</cx:pt>
          <cx:pt idx="21285">0</cx:pt>
          <cx:pt idx="21286">1</cx:pt>
          <cx:pt idx="21287">0</cx:pt>
          <cx:pt idx="21288">0</cx:pt>
          <cx:pt idx="21289">0</cx:pt>
          <cx:pt idx="21290">0</cx:pt>
          <cx:pt idx="21291">0</cx:pt>
          <cx:pt idx="21292">1</cx:pt>
          <cx:pt idx="21293">1</cx:pt>
          <cx:pt idx="21294">1</cx:pt>
          <cx:pt idx="21295">1</cx:pt>
          <cx:pt idx="21296">1</cx:pt>
          <cx:pt idx="21297">0</cx:pt>
          <cx:pt idx="21298">1</cx:pt>
          <cx:pt idx="21299">0</cx:pt>
          <cx:pt idx="21300">1</cx:pt>
          <cx:pt idx="21301">1</cx:pt>
          <cx:pt idx="21302">0</cx:pt>
          <cx:pt idx="21303">0</cx:pt>
          <cx:pt idx="21304">1</cx:pt>
          <cx:pt idx="21305">0</cx:pt>
          <cx:pt idx="21306">0</cx:pt>
          <cx:pt idx="21307">0</cx:pt>
          <cx:pt idx="21308">0</cx:pt>
          <cx:pt idx="21309">0</cx:pt>
          <cx:pt idx="21310">0</cx:pt>
          <cx:pt idx="21311">0</cx:pt>
          <cx:pt idx="21312">0</cx:pt>
          <cx:pt idx="21313">1</cx:pt>
          <cx:pt idx="21314">1</cx:pt>
          <cx:pt idx="21315">0</cx:pt>
          <cx:pt idx="21316">1</cx:pt>
          <cx:pt idx="21317">1</cx:pt>
          <cx:pt idx="21318">1</cx:pt>
          <cx:pt idx="21319">0</cx:pt>
          <cx:pt idx="21320">0</cx:pt>
          <cx:pt idx="21321">1</cx:pt>
          <cx:pt idx="21322">1</cx:pt>
          <cx:pt idx="21323">0</cx:pt>
          <cx:pt idx="21324">1</cx:pt>
          <cx:pt idx="21325">0</cx:pt>
          <cx:pt idx="21326">0</cx:pt>
          <cx:pt idx="21327">1</cx:pt>
          <cx:pt idx="21328">0</cx:pt>
          <cx:pt idx="21329">0</cx:pt>
          <cx:pt idx="21330">0</cx:pt>
          <cx:pt idx="21331">0</cx:pt>
          <cx:pt idx="21332">1</cx:pt>
          <cx:pt idx="21333">1</cx:pt>
          <cx:pt idx="21334">0</cx:pt>
          <cx:pt idx="21335">1</cx:pt>
          <cx:pt idx="21336">0</cx:pt>
          <cx:pt idx="21337">1</cx:pt>
          <cx:pt idx="21338">1</cx:pt>
          <cx:pt idx="21339">1</cx:pt>
          <cx:pt idx="21340">0</cx:pt>
          <cx:pt idx="21341">0</cx:pt>
          <cx:pt idx="21342">0</cx:pt>
          <cx:pt idx="21343">1</cx:pt>
          <cx:pt idx="21344">1</cx:pt>
          <cx:pt idx="21345">0</cx:pt>
          <cx:pt idx="21346">1</cx:pt>
          <cx:pt idx="21347">1</cx:pt>
          <cx:pt idx="21348">0</cx:pt>
          <cx:pt idx="21349">0</cx:pt>
          <cx:pt idx="21350">0</cx:pt>
          <cx:pt idx="21351">1</cx:pt>
          <cx:pt idx="21352">0</cx:pt>
          <cx:pt idx="21353">0</cx:pt>
          <cx:pt idx="21354">0</cx:pt>
          <cx:pt idx="21355">0</cx:pt>
          <cx:pt idx="21356">1</cx:pt>
          <cx:pt idx="21357">1</cx:pt>
          <cx:pt idx="21358">0</cx:pt>
          <cx:pt idx="21359">1</cx:pt>
          <cx:pt idx="21360">0</cx:pt>
          <cx:pt idx="21361">0</cx:pt>
          <cx:pt idx="21362">0</cx:pt>
          <cx:pt idx="21363">0</cx:pt>
          <cx:pt idx="21364">0</cx:pt>
          <cx:pt idx="21365">1</cx:pt>
          <cx:pt idx="21366">1</cx:pt>
          <cx:pt idx="21367">1</cx:pt>
          <cx:pt idx="21368">1</cx:pt>
          <cx:pt idx="21369">1</cx:pt>
          <cx:pt idx="21370">1</cx:pt>
          <cx:pt idx="21371">0</cx:pt>
          <cx:pt idx="21372">0</cx:pt>
          <cx:pt idx="21373">1</cx:pt>
          <cx:pt idx="21374">0</cx:pt>
          <cx:pt idx="21375">1</cx:pt>
          <cx:pt idx="21376">0</cx:pt>
          <cx:pt idx="21377">0</cx:pt>
          <cx:pt idx="21378">0</cx:pt>
          <cx:pt idx="21379">1</cx:pt>
          <cx:pt idx="21380">0</cx:pt>
          <cx:pt idx="21381">1</cx:pt>
          <cx:pt idx="21382">0</cx:pt>
          <cx:pt idx="21383">1</cx:pt>
          <cx:pt idx="21384">0</cx:pt>
          <cx:pt idx="21385">0</cx:pt>
          <cx:pt idx="21386">0</cx:pt>
          <cx:pt idx="21387">0</cx:pt>
          <cx:pt idx="21388">1</cx:pt>
          <cx:pt idx="21389">0</cx:pt>
          <cx:pt idx="21390">1</cx:pt>
          <cx:pt idx="21391">0</cx:pt>
          <cx:pt idx="21392">0</cx:pt>
          <cx:pt idx="21393">1</cx:pt>
          <cx:pt idx="21394">0</cx:pt>
          <cx:pt idx="21395">0</cx:pt>
          <cx:pt idx="21396">0</cx:pt>
          <cx:pt idx="21397">0</cx:pt>
          <cx:pt idx="21398">0</cx:pt>
          <cx:pt idx="21399">1</cx:pt>
          <cx:pt idx="21400">1</cx:pt>
          <cx:pt idx="21401">0</cx:pt>
          <cx:pt idx="21402">0</cx:pt>
          <cx:pt idx="21403">1</cx:pt>
          <cx:pt idx="21404">0</cx:pt>
          <cx:pt idx="21405">1</cx:pt>
          <cx:pt idx="21406">1</cx:pt>
          <cx:pt idx="21407">0</cx:pt>
          <cx:pt idx="21408">0</cx:pt>
          <cx:pt idx="21409">0</cx:pt>
          <cx:pt idx="21410">0</cx:pt>
          <cx:pt idx="21411">1</cx:pt>
          <cx:pt idx="21412">1</cx:pt>
          <cx:pt idx="21413">0</cx:pt>
          <cx:pt idx="21414">0</cx:pt>
          <cx:pt idx="21415">1</cx:pt>
          <cx:pt idx="21416">1</cx:pt>
          <cx:pt idx="21417">1</cx:pt>
          <cx:pt idx="21418">0</cx:pt>
          <cx:pt idx="21419">1</cx:pt>
          <cx:pt idx="21420">1</cx:pt>
          <cx:pt idx="21421">0</cx:pt>
          <cx:pt idx="21422">0</cx:pt>
          <cx:pt idx="21423">1</cx:pt>
          <cx:pt idx="21424">0</cx:pt>
          <cx:pt idx="21425">1</cx:pt>
          <cx:pt idx="21426">0</cx:pt>
          <cx:pt idx="21427">1</cx:pt>
          <cx:pt idx="21428">1</cx:pt>
          <cx:pt idx="21429">1</cx:pt>
          <cx:pt idx="21430">1</cx:pt>
          <cx:pt idx="21431">0</cx:pt>
          <cx:pt idx="21432">0</cx:pt>
          <cx:pt idx="21433">1</cx:pt>
          <cx:pt idx="21434">0</cx:pt>
          <cx:pt idx="21435">1</cx:pt>
          <cx:pt idx="21436">0</cx:pt>
          <cx:pt idx="21437">1</cx:pt>
          <cx:pt idx="21438">1</cx:pt>
          <cx:pt idx="21439">0</cx:pt>
          <cx:pt idx="21440">1</cx:pt>
          <cx:pt idx="21441">0</cx:pt>
          <cx:pt idx="21442">1</cx:pt>
          <cx:pt idx="21443">1</cx:pt>
          <cx:pt idx="21444">0</cx:pt>
          <cx:pt idx="21445">0</cx:pt>
          <cx:pt idx="21446">0</cx:pt>
          <cx:pt idx="21447">0</cx:pt>
          <cx:pt idx="21448">0</cx:pt>
          <cx:pt idx="21449">0</cx:pt>
          <cx:pt idx="21450">1</cx:pt>
          <cx:pt idx="21451">0</cx:pt>
          <cx:pt idx="21452">1</cx:pt>
          <cx:pt idx="21453">0</cx:pt>
          <cx:pt idx="21454">0</cx:pt>
          <cx:pt idx="21455">1</cx:pt>
          <cx:pt idx="21456">0</cx:pt>
          <cx:pt idx="21457">1</cx:pt>
          <cx:pt idx="21458">0</cx:pt>
          <cx:pt idx="21459">0</cx:pt>
          <cx:pt idx="21460">0</cx:pt>
          <cx:pt idx="21461">1</cx:pt>
          <cx:pt idx="21462">1</cx:pt>
          <cx:pt idx="21463">0</cx:pt>
          <cx:pt idx="21464">0</cx:pt>
          <cx:pt idx="21465">0</cx:pt>
          <cx:pt idx="21466">1</cx:pt>
          <cx:pt idx="21467">0</cx:pt>
          <cx:pt idx="21468">1</cx:pt>
          <cx:pt idx="21469">0</cx:pt>
          <cx:pt idx="21470">1</cx:pt>
          <cx:pt idx="21471">1</cx:pt>
          <cx:pt idx="21472">0</cx:pt>
          <cx:pt idx="21473">1</cx:pt>
          <cx:pt idx="21474">0</cx:pt>
          <cx:pt idx="21475">1</cx:pt>
          <cx:pt idx="21476">1</cx:pt>
          <cx:pt idx="21477">1</cx:pt>
          <cx:pt idx="21478">0</cx:pt>
          <cx:pt idx="21479">1</cx:pt>
          <cx:pt idx="21480">1</cx:pt>
          <cx:pt idx="21481">1</cx:pt>
          <cx:pt idx="21482">0</cx:pt>
          <cx:pt idx="21483">1</cx:pt>
          <cx:pt idx="21484">1</cx:pt>
          <cx:pt idx="21485">0</cx:pt>
          <cx:pt idx="21486">0</cx:pt>
          <cx:pt idx="21487">1</cx:pt>
          <cx:pt idx="21488">0</cx:pt>
          <cx:pt idx="21489">0</cx:pt>
          <cx:pt idx="21490">0</cx:pt>
          <cx:pt idx="21491">0</cx:pt>
          <cx:pt idx="21492">0</cx:pt>
          <cx:pt idx="21493">1</cx:pt>
          <cx:pt idx="21494">0</cx:pt>
          <cx:pt idx="21495">0</cx:pt>
          <cx:pt idx="21496">0</cx:pt>
          <cx:pt idx="21497">1</cx:pt>
          <cx:pt idx="21498">0</cx:pt>
          <cx:pt idx="21499">0</cx:pt>
          <cx:pt idx="21500">1</cx:pt>
          <cx:pt idx="21501">0</cx:pt>
          <cx:pt idx="21502">0</cx:pt>
          <cx:pt idx="21503">1</cx:pt>
          <cx:pt idx="21504">1</cx:pt>
          <cx:pt idx="21505">0</cx:pt>
          <cx:pt idx="21506">1</cx:pt>
          <cx:pt idx="21507">1</cx:pt>
          <cx:pt idx="21508">0</cx:pt>
          <cx:pt idx="21509">0</cx:pt>
          <cx:pt idx="21510">0</cx:pt>
          <cx:pt idx="21511">1</cx:pt>
          <cx:pt idx="21512">0</cx:pt>
          <cx:pt idx="21513">0</cx:pt>
          <cx:pt idx="21514">0</cx:pt>
          <cx:pt idx="21515">0</cx:pt>
          <cx:pt idx="21516">0</cx:pt>
          <cx:pt idx="21517">1</cx:pt>
          <cx:pt idx="21518">1</cx:pt>
          <cx:pt idx="21519">1</cx:pt>
          <cx:pt idx="21520">1</cx:pt>
          <cx:pt idx="21521">0</cx:pt>
          <cx:pt idx="21522">0</cx:pt>
          <cx:pt idx="21523">0</cx:pt>
          <cx:pt idx="21524">0</cx:pt>
          <cx:pt idx="21525">0</cx:pt>
          <cx:pt idx="21526">1</cx:pt>
          <cx:pt idx="21527">0</cx:pt>
          <cx:pt idx="21528">0</cx:pt>
          <cx:pt idx="21529">0</cx:pt>
          <cx:pt idx="21530">1</cx:pt>
          <cx:pt idx="21531">1</cx:pt>
          <cx:pt idx="21532">0</cx:pt>
          <cx:pt idx="21533">0</cx:pt>
          <cx:pt idx="21534">0</cx:pt>
          <cx:pt idx="21535">0</cx:pt>
          <cx:pt idx="21536">0</cx:pt>
          <cx:pt idx="21537">0</cx:pt>
          <cx:pt idx="21538">0</cx:pt>
          <cx:pt idx="21539">1</cx:pt>
          <cx:pt idx="21540">1</cx:pt>
          <cx:pt idx="21541">1</cx:pt>
          <cx:pt idx="21542">0</cx:pt>
          <cx:pt idx="21543">0</cx:pt>
          <cx:pt idx="21544">0</cx:pt>
          <cx:pt idx="21545">0</cx:pt>
          <cx:pt idx="21546">1</cx:pt>
          <cx:pt idx="21547">1</cx:pt>
          <cx:pt idx="21548">1</cx:pt>
          <cx:pt idx="21549">0</cx:pt>
          <cx:pt idx="21550">1</cx:pt>
          <cx:pt idx="21551">0</cx:pt>
          <cx:pt idx="21552">1</cx:pt>
          <cx:pt idx="21553">0</cx:pt>
          <cx:pt idx="21554">0</cx:pt>
          <cx:pt idx="21555">1</cx:pt>
          <cx:pt idx="21556">1</cx:pt>
          <cx:pt idx="21557">1</cx:pt>
          <cx:pt idx="21558">1</cx:pt>
          <cx:pt idx="21559">0</cx:pt>
          <cx:pt idx="21560">0</cx:pt>
          <cx:pt idx="21561">1</cx:pt>
          <cx:pt idx="21562">0</cx:pt>
          <cx:pt idx="21563">0</cx:pt>
          <cx:pt idx="21564">1</cx:pt>
          <cx:pt idx="21565">1</cx:pt>
          <cx:pt idx="21566">0</cx:pt>
          <cx:pt idx="21567">0</cx:pt>
          <cx:pt idx="21568">1</cx:pt>
          <cx:pt idx="21569">0</cx:pt>
          <cx:pt idx="21570">0</cx:pt>
          <cx:pt idx="21571">0</cx:pt>
          <cx:pt idx="21572">1</cx:pt>
          <cx:pt idx="21573">0</cx:pt>
          <cx:pt idx="21574">1</cx:pt>
          <cx:pt idx="21575">0</cx:pt>
          <cx:pt idx="21576">1</cx:pt>
          <cx:pt idx="21577">0</cx:pt>
          <cx:pt idx="21578">0</cx:pt>
          <cx:pt idx="21579">0</cx:pt>
          <cx:pt idx="21580">1</cx:pt>
          <cx:pt idx="21581">0</cx:pt>
          <cx:pt idx="21582">1</cx:pt>
          <cx:pt idx="21583">0</cx:pt>
          <cx:pt idx="21584">1</cx:pt>
          <cx:pt idx="21585">0</cx:pt>
          <cx:pt idx="21586">1</cx:pt>
          <cx:pt idx="21587">1</cx:pt>
          <cx:pt idx="21588">1</cx:pt>
          <cx:pt idx="21589">1</cx:pt>
          <cx:pt idx="21590">1</cx:pt>
          <cx:pt idx="21591">0</cx:pt>
          <cx:pt idx="21592">0</cx:pt>
          <cx:pt idx="21593">0</cx:pt>
          <cx:pt idx="21594">1</cx:pt>
          <cx:pt idx="21595">1</cx:pt>
          <cx:pt idx="21596">0</cx:pt>
          <cx:pt idx="21597">0</cx:pt>
          <cx:pt idx="21598">0</cx:pt>
          <cx:pt idx="21599">1</cx:pt>
          <cx:pt idx="21600">1</cx:pt>
          <cx:pt idx="21601">1</cx:pt>
          <cx:pt idx="21602">0</cx:pt>
          <cx:pt idx="21603">0</cx:pt>
          <cx:pt idx="21604">0</cx:pt>
          <cx:pt idx="21605">1</cx:pt>
          <cx:pt idx="21606">0</cx:pt>
          <cx:pt idx="21607">0</cx:pt>
          <cx:pt idx="21608">0</cx:pt>
          <cx:pt idx="21609">0</cx:pt>
          <cx:pt idx="21610">1</cx:pt>
          <cx:pt idx="21611">0</cx:pt>
          <cx:pt idx="21612">1</cx:pt>
          <cx:pt idx="21613">0</cx:pt>
          <cx:pt idx="21614">0</cx:pt>
          <cx:pt idx="21615">1</cx:pt>
          <cx:pt idx="21616">1</cx:pt>
          <cx:pt idx="21617">0</cx:pt>
          <cx:pt idx="21618">1</cx:pt>
          <cx:pt idx="21619">0</cx:pt>
          <cx:pt idx="21620">1</cx:pt>
          <cx:pt idx="21621">0</cx:pt>
          <cx:pt idx="21622">0</cx:pt>
          <cx:pt idx="21623">0</cx:pt>
          <cx:pt idx="21624">1</cx:pt>
          <cx:pt idx="21625">1</cx:pt>
          <cx:pt idx="21626">0</cx:pt>
          <cx:pt idx="21627">1</cx:pt>
          <cx:pt idx="21628">0</cx:pt>
          <cx:pt idx="21629">0</cx:pt>
          <cx:pt idx="21630">0</cx:pt>
          <cx:pt idx="21631">0</cx:pt>
          <cx:pt idx="21632">0</cx:pt>
          <cx:pt idx="21633">0</cx:pt>
          <cx:pt idx="21634">1</cx:pt>
          <cx:pt idx="21635">1</cx:pt>
          <cx:pt idx="21636">0</cx:pt>
          <cx:pt idx="21637">1</cx:pt>
          <cx:pt idx="21638">0</cx:pt>
          <cx:pt idx="21639">0</cx:pt>
          <cx:pt idx="21640">1</cx:pt>
          <cx:pt idx="21641">0</cx:pt>
          <cx:pt idx="21642">0</cx:pt>
          <cx:pt idx="21643">0</cx:pt>
          <cx:pt idx="21644">1</cx:pt>
          <cx:pt idx="21645">1</cx:pt>
          <cx:pt idx="21646">1</cx:pt>
          <cx:pt idx="21647">0</cx:pt>
          <cx:pt idx="21648">0</cx:pt>
          <cx:pt idx="21649">0</cx:pt>
          <cx:pt idx="21650">0</cx:pt>
          <cx:pt idx="21651">1</cx:pt>
          <cx:pt idx="21652">1</cx:pt>
          <cx:pt idx="21653">1</cx:pt>
          <cx:pt idx="21654">0</cx:pt>
          <cx:pt idx="21655">0</cx:pt>
          <cx:pt idx="21656">0</cx:pt>
          <cx:pt idx="21657">0</cx:pt>
          <cx:pt idx="21658">0</cx:pt>
          <cx:pt idx="21659">1</cx:pt>
          <cx:pt idx="21660">1</cx:pt>
          <cx:pt idx="21661">1</cx:pt>
          <cx:pt idx="21662">0</cx:pt>
          <cx:pt idx="21663">1</cx:pt>
          <cx:pt idx="21664">0</cx:pt>
          <cx:pt idx="21665">1</cx:pt>
          <cx:pt idx="21666">0</cx:pt>
          <cx:pt idx="21667">0</cx:pt>
          <cx:pt idx="21668">0</cx:pt>
          <cx:pt idx="21669">0</cx:pt>
          <cx:pt idx="21670">1</cx:pt>
          <cx:pt idx="21671">0</cx:pt>
          <cx:pt idx="21672">0</cx:pt>
          <cx:pt idx="21673">0</cx:pt>
          <cx:pt idx="21674">0</cx:pt>
          <cx:pt idx="21675">1</cx:pt>
          <cx:pt idx="21676">0</cx:pt>
          <cx:pt idx="21677">1</cx:pt>
          <cx:pt idx="21678">1</cx:pt>
          <cx:pt idx="21679">1</cx:pt>
          <cx:pt idx="21680">0</cx:pt>
          <cx:pt idx="21681">0</cx:pt>
          <cx:pt idx="21682">1</cx:pt>
          <cx:pt idx="21683">0</cx:pt>
          <cx:pt idx="21684">0</cx:pt>
          <cx:pt idx="21685">0</cx:pt>
          <cx:pt idx="21686">0</cx:pt>
          <cx:pt idx="21687">1</cx:pt>
          <cx:pt idx="21688">0</cx:pt>
          <cx:pt idx="21689">0</cx:pt>
          <cx:pt idx="21690">0</cx:pt>
          <cx:pt idx="21691">1</cx:pt>
          <cx:pt idx="21692">1</cx:pt>
          <cx:pt idx="21693">1</cx:pt>
          <cx:pt idx="21694">1</cx:pt>
          <cx:pt idx="21695">0</cx:pt>
          <cx:pt idx="21696">1</cx:pt>
          <cx:pt idx="21697">0</cx:pt>
          <cx:pt idx="21698">1</cx:pt>
          <cx:pt idx="21699">0</cx:pt>
          <cx:pt idx="21700">0</cx:pt>
          <cx:pt idx="21701">1</cx:pt>
          <cx:pt idx="21702">1</cx:pt>
          <cx:pt idx="21703">1</cx:pt>
          <cx:pt idx="21704">0</cx:pt>
          <cx:pt idx="21705">1</cx:pt>
          <cx:pt idx="21706">0</cx:pt>
          <cx:pt idx="21707">0</cx:pt>
          <cx:pt idx="21708">0</cx:pt>
          <cx:pt idx="21709">1</cx:pt>
          <cx:pt idx="21710">0</cx:pt>
          <cx:pt idx="21711">1</cx:pt>
          <cx:pt idx="21712">0</cx:pt>
          <cx:pt idx="21713">1</cx:pt>
          <cx:pt idx="21714">0</cx:pt>
          <cx:pt idx="21715">0</cx:pt>
          <cx:pt idx="21716">0</cx:pt>
          <cx:pt idx="21717">1</cx:pt>
          <cx:pt idx="21718">0</cx:pt>
          <cx:pt idx="21719">1</cx:pt>
          <cx:pt idx="21720">0</cx:pt>
          <cx:pt idx="21721">0</cx:pt>
          <cx:pt idx="21722">1</cx:pt>
          <cx:pt idx="21723">0</cx:pt>
          <cx:pt idx="21724">1</cx:pt>
          <cx:pt idx="21725">0</cx:pt>
          <cx:pt idx="21726">1</cx:pt>
          <cx:pt idx="21727">0</cx:pt>
          <cx:pt idx="21728">0</cx:pt>
          <cx:pt idx="21729">0</cx:pt>
          <cx:pt idx="21730">0</cx:pt>
          <cx:pt idx="21731">1</cx:pt>
          <cx:pt idx="21732">1</cx:pt>
          <cx:pt idx="21733">0</cx:pt>
          <cx:pt idx="21734">0</cx:pt>
          <cx:pt idx="21735">1</cx:pt>
          <cx:pt idx="21736">1</cx:pt>
          <cx:pt idx="21737">1</cx:pt>
          <cx:pt idx="21738">0</cx:pt>
          <cx:pt idx="21739">0</cx:pt>
          <cx:pt idx="21740">0</cx:pt>
          <cx:pt idx="21741">0</cx:pt>
          <cx:pt idx="21742">1</cx:pt>
          <cx:pt idx="21743">1</cx:pt>
          <cx:pt idx="21744">0</cx:pt>
          <cx:pt idx="21745">0</cx:pt>
          <cx:pt idx="21746">1</cx:pt>
          <cx:pt idx="21747">1</cx:pt>
          <cx:pt idx="21748">0</cx:pt>
          <cx:pt idx="21749">0</cx:pt>
          <cx:pt idx="21750">1</cx:pt>
          <cx:pt idx="21751">0</cx:pt>
          <cx:pt idx="21752">1</cx:pt>
          <cx:pt idx="21753">1</cx:pt>
          <cx:pt idx="21754">1</cx:pt>
          <cx:pt idx="21755">1</cx:pt>
          <cx:pt idx="21756">1</cx:pt>
          <cx:pt idx="21757">0</cx:pt>
          <cx:pt idx="21758">1</cx:pt>
          <cx:pt idx="21759">1</cx:pt>
          <cx:pt idx="21760">0</cx:pt>
          <cx:pt idx="21761">0</cx:pt>
          <cx:pt idx="21762">1</cx:pt>
          <cx:pt idx="21763">0</cx:pt>
          <cx:pt idx="21764">1</cx:pt>
          <cx:pt idx="21765">1</cx:pt>
          <cx:pt idx="21766">1</cx:pt>
          <cx:pt idx="21767">0</cx:pt>
          <cx:pt idx="21768">1</cx:pt>
          <cx:pt idx="21769">1</cx:pt>
          <cx:pt idx="21770">1</cx:pt>
          <cx:pt idx="21771">1</cx:pt>
          <cx:pt idx="21772">1</cx:pt>
          <cx:pt idx="21773">1</cx:pt>
          <cx:pt idx="21774">1</cx:pt>
          <cx:pt idx="21775">1</cx:pt>
          <cx:pt idx="21776">1</cx:pt>
          <cx:pt idx="21777">1</cx:pt>
          <cx:pt idx="21778">1</cx:pt>
          <cx:pt idx="21779">0</cx:pt>
          <cx:pt idx="21780">0</cx:pt>
          <cx:pt idx="21781">0</cx:pt>
          <cx:pt idx="21782">0</cx:pt>
          <cx:pt idx="21783">1</cx:pt>
          <cx:pt idx="21784">0</cx:pt>
          <cx:pt idx="21785">1</cx:pt>
          <cx:pt idx="21786">1</cx:pt>
          <cx:pt idx="21787">1</cx:pt>
          <cx:pt idx="21788">1</cx:pt>
          <cx:pt idx="21789">0</cx:pt>
          <cx:pt idx="21790">0</cx:pt>
          <cx:pt idx="21791">0</cx:pt>
          <cx:pt idx="21792">1</cx:pt>
          <cx:pt idx="21793">0</cx:pt>
          <cx:pt idx="21794">0</cx:pt>
          <cx:pt idx="21795">1</cx:pt>
          <cx:pt idx="21796">1</cx:pt>
          <cx:pt idx="21797">1</cx:pt>
          <cx:pt idx="21798">1</cx:pt>
          <cx:pt idx="21799">0</cx:pt>
          <cx:pt idx="21800">1</cx:pt>
          <cx:pt idx="21801">0</cx:pt>
          <cx:pt idx="21802">1</cx:pt>
          <cx:pt idx="21803">0</cx:pt>
          <cx:pt idx="21804">0</cx:pt>
          <cx:pt idx="21805">0</cx:pt>
          <cx:pt idx="21806">1</cx:pt>
          <cx:pt idx="21807">1</cx:pt>
          <cx:pt idx="21808">0</cx:pt>
          <cx:pt idx="21809">1</cx:pt>
          <cx:pt idx="21810">1</cx:pt>
          <cx:pt idx="21811">1</cx:pt>
          <cx:pt idx="21812">0</cx:pt>
          <cx:pt idx="21813">1</cx:pt>
          <cx:pt idx="21814">1</cx:pt>
          <cx:pt idx="21815">0</cx:pt>
          <cx:pt idx="21816">1</cx:pt>
          <cx:pt idx="21817">1</cx:pt>
          <cx:pt idx="21818">1</cx:pt>
          <cx:pt idx="21819">0</cx:pt>
          <cx:pt idx="21820">0</cx:pt>
          <cx:pt idx="21821">0</cx:pt>
          <cx:pt idx="21822">1</cx:pt>
          <cx:pt idx="21823">1</cx:pt>
          <cx:pt idx="21824">1</cx:pt>
          <cx:pt idx="21825">0</cx:pt>
          <cx:pt idx="21826">1</cx:pt>
          <cx:pt idx="21827">1</cx:pt>
          <cx:pt idx="21828">0</cx:pt>
          <cx:pt idx="21829">0</cx:pt>
          <cx:pt idx="21830">0</cx:pt>
          <cx:pt idx="21831">0</cx:pt>
          <cx:pt idx="21832">1</cx:pt>
          <cx:pt idx="21833">1</cx:pt>
          <cx:pt idx="21834">1</cx:pt>
          <cx:pt idx="21835">0</cx:pt>
          <cx:pt idx="21836">0</cx:pt>
          <cx:pt idx="21837">0</cx:pt>
          <cx:pt idx="21838">0</cx:pt>
          <cx:pt idx="21839">0</cx:pt>
          <cx:pt idx="21840">0</cx:pt>
          <cx:pt idx="21841">0</cx:pt>
          <cx:pt idx="21842">0</cx:pt>
          <cx:pt idx="21843">0</cx:pt>
          <cx:pt idx="21844">0</cx:pt>
          <cx:pt idx="21845">1</cx:pt>
          <cx:pt idx="21846">0</cx:pt>
          <cx:pt idx="21847">0</cx:pt>
          <cx:pt idx="21848">0</cx:pt>
          <cx:pt idx="21849">1</cx:pt>
          <cx:pt idx="21850">1</cx:pt>
          <cx:pt idx="21851">1</cx:pt>
          <cx:pt idx="21852">1</cx:pt>
          <cx:pt idx="21853">1</cx:pt>
          <cx:pt idx="21854">0</cx:pt>
          <cx:pt idx="21855">1</cx:pt>
          <cx:pt idx="21856">0</cx:pt>
          <cx:pt idx="21857">0</cx:pt>
          <cx:pt idx="21858">1</cx:pt>
          <cx:pt idx="21859">0</cx:pt>
          <cx:pt idx="21860">1</cx:pt>
          <cx:pt idx="21861">0</cx:pt>
          <cx:pt idx="21862">1</cx:pt>
          <cx:pt idx="21863">1</cx:pt>
          <cx:pt idx="21864">1</cx:pt>
          <cx:pt idx="21865">1</cx:pt>
          <cx:pt idx="21866">0</cx:pt>
          <cx:pt idx="21867">0</cx:pt>
          <cx:pt idx="21868">1</cx:pt>
          <cx:pt idx="21869">0</cx:pt>
          <cx:pt idx="21870">0</cx:pt>
          <cx:pt idx="21871">1</cx:pt>
          <cx:pt idx="21872">0</cx:pt>
          <cx:pt idx="21873">1</cx:pt>
          <cx:pt idx="21874">1</cx:pt>
          <cx:pt idx="21875">0</cx:pt>
          <cx:pt idx="21876">0</cx:pt>
          <cx:pt idx="21877">0</cx:pt>
          <cx:pt idx="21878">0</cx:pt>
          <cx:pt idx="21879">1</cx:pt>
          <cx:pt idx="21880">1</cx:pt>
          <cx:pt idx="21881">0</cx:pt>
          <cx:pt idx="21882">1</cx:pt>
          <cx:pt idx="21883">0</cx:pt>
          <cx:pt idx="21884">1</cx:pt>
          <cx:pt idx="21885">1</cx:pt>
          <cx:pt idx="21886">0</cx:pt>
          <cx:pt idx="21887">1</cx:pt>
          <cx:pt idx="21888">1</cx:pt>
          <cx:pt idx="21889">0</cx:pt>
          <cx:pt idx="21890">1</cx:pt>
          <cx:pt idx="21891">1</cx:pt>
          <cx:pt idx="21892">1</cx:pt>
          <cx:pt idx="21893">0</cx:pt>
          <cx:pt idx="21894">0</cx:pt>
          <cx:pt idx="21895">0</cx:pt>
          <cx:pt idx="21896">0</cx:pt>
          <cx:pt idx="21897">0</cx:pt>
          <cx:pt idx="21898">0</cx:pt>
          <cx:pt idx="21899">1</cx:pt>
          <cx:pt idx="21900">0</cx:pt>
          <cx:pt idx="21901">0</cx:pt>
          <cx:pt idx="21902">0</cx:pt>
          <cx:pt idx="21903">1</cx:pt>
          <cx:pt idx="21904">1</cx:pt>
          <cx:pt idx="21905">0</cx:pt>
          <cx:pt idx="21906">0</cx:pt>
          <cx:pt idx="21907">1</cx:pt>
          <cx:pt idx="21908">0</cx:pt>
          <cx:pt idx="21909">0</cx:pt>
          <cx:pt idx="21910">1</cx:pt>
          <cx:pt idx="21911">0</cx:pt>
          <cx:pt idx="21912">0</cx:pt>
          <cx:pt idx="21913">0</cx:pt>
          <cx:pt idx="21914">1</cx:pt>
          <cx:pt idx="21915">0</cx:pt>
          <cx:pt idx="21916">0</cx:pt>
          <cx:pt idx="21917">0</cx:pt>
          <cx:pt idx="21918">1</cx:pt>
          <cx:pt idx="21919">1</cx:pt>
          <cx:pt idx="21920">0</cx:pt>
          <cx:pt idx="21921">0</cx:pt>
          <cx:pt idx="21922">0</cx:pt>
          <cx:pt idx="21923">0</cx:pt>
          <cx:pt idx="21924">0</cx:pt>
          <cx:pt idx="21925">1</cx:pt>
          <cx:pt idx="21926">0</cx:pt>
          <cx:pt idx="21927">1</cx:pt>
          <cx:pt idx="21928">0</cx:pt>
          <cx:pt idx="21929">0</cx:pt>
          <cx:pt idx="21930">0</cx:pt>
          <cx:pt idx="21931">0</cx:pt>
          <cx:pt idx="21932">1</cx:pt>
          <cx:pt idx="21933">0</cx:pt>
          <cx:pt idx="21934">0</cx:pt>
          <cx:pt idx="21935">1</cx:pt>
          <cx:pt idx="21936">1</cx:pt>
          <cx:pt idx="21937">0</cx:pt>
          <cx:pt idx="21938">1</cx:pt>
          <cx:pt idx="21939">1</cx:pt>
          <cx:pt idx="21940">1</cx:pt>
          <cx:pt idx="21941">0</cx:pt>
          <cx:pt idx="21942">0</cx:pt>
          <cx:pt idx="21943">0</cx:pt>
          <cx:pt idx="21944">0</cx:pt>
          <cx:pt idx="21945">1</cx:pt>
          <cx:pt idx="21946">0</cx:pt>
          <cx:pt idx="21947">1</cx:pt>
          <cx:pt idx="21948">0</cx:pt>
          <cx:pt idx="21949">1</cx:pt>
          <cx:pt idx="21950">0</cx:pt>
          <cx:pt idx="21951">0</cx:pt>
          <cx:pt idx="21952">1</cx:pt>
          <cx:pt idx="21953">0</cx:pt>
          <cx:pt idx="21954">1</cx:pt>
          <cx:pt idx="21955">0</cx:pt>
          <cx:pt idx="21956">0</cx:pt>
          <cx:pt idx="21957">0</cx:pt>
          <cx:pt idx="21958">0</cx:pt>
          <cx:pt idx="21959">0</cx:pt>
          <cx:pt idx="21960">1</cx:pt>
          <cx:pt idx="21961">0</cx:pt>
          <cx:pt idx="21962">1</cx:pt>
          <cx:pt idx="21963">0</cx:pt>
          <cx:pt idx="21964">1</cx:pt>
          <cx:pt idx="21965">1</cx:pt>
          <cx:pt idx="21966">1</cx:pt>
          <cx:pt idx="21967">0</cx:pt>
          <cx:pt idx="21968">1</cx:pt>
          <cx:pt idx="21969">1</cx:pt>
          <cx:pt idx="21970">1</cx:pt>
          <cx:pt idx="21971">0</cx:pt>
          <cx:pt idx="21972">1</cx:pt>
          <cx:pt idx="21973">0</cx:pt>
          <cx:pt idx="21974">0</cx:pt>
          <cx:pt idx="21975">0</cx:pt>
          <cx:pt idx="21976">1</cx:pt>
          <cx:pt idx="21977">1</cx:pt>
          <cx:pt idx="21978">0</cx:pt>
          <cx:pt idx="21979">0</cx:pt>
          <cx:pt idx="21980">0</cx:pt>
          <cx:pt idx="21981">0</cx:pt>
          <cx:pt idx="21982">0</cx:pt>
          <cx:pt idx="21983">0</cx:pt>
          <cx:pt idx="21984">0</cx:pt>
          <cx:pt idx="21985">1</cx:pt>
          <cx:pt idx="21986">0</cx:pt>
          <cx:pt idx="21987">1</cx:pt>
          <cx:pt idx="21988">1</cx:pt>
          <cx:pt idx="21989">1</cx:pt>
          <cx:pt idx="21990">0</cx:pt>
          <cx:pt idx="21991">1</cx:pt>
          <cx:pt idx="21992">0</cx:pt>
          <cx:pt idx="21993">1</cx:pt>
          <cx:pt idx="21994">0</cx:pt>
          <cx:pt idx="21995">0</cx:pt>
          <cx:pt idx="21996">0</cx:pt>
          <cx:pt idx="21997">0</cx:pt>
          <cx:pt idx="21998">0</cx:pt>
          <cx:pt idx="21999">0</cx:pt>
          <cx:pt idx="22000">0</cx:pt>
          <cx:pt idx="22001">0</cx:pt>
          <cx:pt idx="22002">1</cx:pt>
          <cx:pt idx="22003">1</cx:pt>
          <cx:pt idx="22004">0</cx:pt>
          <cx:pt idx="22005">0</cx:pt>
          <cx:pt idx="22006">0</cx:pt>
          <cx:pt idx="22007">0</cx:pt>
          <cx:pt idx="22008">1</cx:pt>
          <cx:pt idx="22009">1</cx:pt>
          <cx:pt idx="22010">0</cx:pt>
          <cx:pt idx="22011">0</cx:pt>
          <cx:pt idx="22012">1</cx:pt>
          <cx:pt idx="22013">1</cx:pt>
          <cx:pt idx="22014">1</cx:pt>
          <cx:pt idx="22015">1</cx:pt>
          <cx:pt idx="22016">0</cx:pt>
          <cx:pt idx="22017">1</cx:pt>
          <cx:pt idx="22018">0</cx:pt>
          <cx:pt idx="22019">0</cx:pt>
          <cx:pt idx="22020">1</cx:pt>
          <cx:pt idx="22021">1</cx:pt>
          <cx:pt idx="22022">0</cx:pt>
          <cx:pt idx="22023">0</cx:pt>
          <cx:pt idx="22024">0</cx:pt>
          <cx:pt idx="22025">0</cx:pt>
          <cx:pt idx="22026">0</cx:pt>
          <cx:pt idx="22027">0</cx:pt>
          <cx:pt idx="22028">1</cx:pt>
          <cx:pt idx="22029">1</cx:pt>
          <cx:pt idx="22030">1</cx:pt>
          <cx:pt idx="22031">0</cx:pt>
          <cx:pt idx="22032">1</cx:pt>
          <cx:pt idx="22033">1</cx:pt>
          <cx:pt idx="22034">0</cx:pt>
          <cx:pt idx="22035">1</cx:pt>
          <cx:pt idx="22036">0</cx:pt>
          <cx:pt idx="22037">1</cx:pt>
          <cx:pt idx="22038">1</cx:pt>
          <cx:pt idx="22039">0</cx:pt>
          <cx:pt idx="22040">1</cx:pt>
          <cx:pt idx="22041">0</cx:pt>
          <cx:pt idx="22042">0</cx:pt>
          <cx:pt idx="22043">0</cx:pt>
          <cx:pt idx="22044">0</cx:pt>
          <cx:pt idx="22045">0</cx:pt>
          <cx:pt idx="22046">0</cx:pt>
          <cx:pt idx="22047">0</cx:pt>
          <cx:pt idx="22048">0</cx:pt>
          <cx:pt idx="22049">1</cx:pt>
          <cx:pt idx="22050">1</cx:pt>
          <cx:pt idx="22051">0</cx:pt>
          <cx:pt idx="22052">1</cx:pt>
          <cx:pt idx="22053">1</cx:pt>
          <cx:pt idx="22054">1</cx:pt>
          <cx:pt idx="22055">0</cx:pt>
          <cx:pt idx="22056">1</cx:pt>
          <cx:pt idx="22057">1</cx:pt>
          <cx:pt idx="22058">0</cx:pt>
          <cx:pt idx="22059">0</cx:pt>
          <cx:pt idx="22060">1</cx:pt>
          <cx:pt idx="22061">0</cx:pt>
          <cx:pt idx="22062">0</cx:pt>
          <cx:pt idx="22063">1</cx:pt>
          <cx:pt idx="22064">1</cx:pt>
          <cx:pt idx="22065">1</cx:pt>
          <cx:pt idx="22066">0</cx:pt>
          <cx:pt idx="22067">1</cx:pt>
          <cx:pt idx="22068">0</cx:pt>
          <cx:pt idx="22069">1</cx:pt>
          <cx:pt idx="22070">0</cx:pt>
          <cx:pt idx="22071">0</cx:pt>
          <cx:pt idx="22072">0</cx:pt>
          <cx:pt idx="22073">0</cx:pt>
          <cx:pt idx="22074">0</cx:pt>
          <cx:pt idx="22075">0</cx:pt>
          <cx:pt idx="22076">1</cx:pt>
          <cx:pt idx="22077">1</cx:pt>
          <cx:pt idx="22078">0</cx:pt>
          <cx:pt idx="22079">0</cx:pt>
          <cx:pt idx="22080">1</cx:pt>
          <cx:pt idx="22081">1</cx:pt>
          <cx:pt idx="22082">1</cx:pt>
          <cx:pt idx="22083">0</cx:pt>
          <cx:pt idx="22084">0</cx:pt>
          <cx:pt idx="22085">0</cx:pt>
          <cx:pt idx="22086">0</cx:pt>
          <cx:pt idx="22087">0</cx:pt>
          <cx:pt idx="22088">1</cx:pt>
          <cx:pt idx="22089">0</cx:pt>
          <cx:pt idx="22090">0</cx:pt>
          <cx:pt idx="22091">1</cx:pt>
          <cx:pt idx="22092">1</cx:pt>
          <cx:pt idx="22093">1</cx:pt>
          <cx:pt idx="22094">1</cx:pt>
          <cx:pt idx="22095">0</cx:pt>
          <cx:pt idx="22096">0</cx:pt>
          <cx:pt idx="22097">0</cx:pt>
          <cx:pt idx="22098">0</cx:pt>
          <cx:pt idx="22099">0</cx:pt>
          <cx:pt idx="22100">0</cx:pt>
          <cx:pt idx="22101">1</cx:pt>
          <cx:pt idx="22102">0</cx:pt>
          <cx:pt idx="22103">0</cx:pt>
          <cx:pt idx="22104">1</cx:pt>
          <cx:pt idx="22105">1</cx:pt>
          <cx:pt idx="22106">1</cx:pt>
          <cx:pt idx="22107">0</cx:pt>
          <cx:pt idx="22108">1</cx:pt>
          <cx:pt idx="22109">1</cx:pt>
          <cx:pt idx="22110">1</cx:pt>
          <cx:pt idx="22111">0</cx:pt>
          <cx:pt idx="22112">1</cx:pt>
          <cx:pt idx="22113">0</cx:pt>
          <cx:pt idx="22114">0</cx:pt>
          <cx:pt idx="22115">1</cx:pt>
          <cx:pt idx="22116">1</cx:pt>
          <cx:pt idx="22117">1</cx:pt>
          <cx:pt idx="22118">0</cx:pt>
          <cx:pt idx="22119">0</cx:pt>
          <cx:pt idx="22120">0</cx:pt>
          <cx:pt idx="22121">0</cx:pt>
          <cx:pt idx="22122">1</cx:pt>
          <cx:pt idx="22123">0</cx:pt>
          <cx:pt idx="22124">1</cx:pt>
          <cx:pt idx="22125">0</cx:pt>
          <cx:pt idx="22126">1</cx:pt>
          <cx:pt idx="22127">1</cx:pt>
          <cx:pt idx="22128">0</cx:pt>
          <cx:pt idx="22129">0</cx:pt>
          <cx:pt idx="22130">1</cx:pt>
          <cx:pt idx="22131">0</cx:pt>
          <cx:pt idx="22132">1</cx:pt>
          <cx:pt idx="22133">0</cx:pt>
          <cx:pt idx="22134">1</cx:pt>
          <cx:pt idx="22135">0</cx:pt>
          <cx:pt idx="22136">0</cx:pt>
          <cx:pt idx="22137">0</cx:pt>
          <cx:pt idx="22138">0</cx:pt>
          <cx:pt idx="22139">1</cx:pt>
          <cx:pt idx="22140">0</cx:pt>
          <cx:pt idx="22141">1</cx:pt>
          <cx:pt idx="22142">1</cx:pt>
          <cx:pt idx="22143">0</cx:pt>
          <cx:pt idx="22144">0</cx:pt>
          <cx:pt idx="22145">0</cx:pt>
          <cx:pt idx="22146">1</cx:pt>
          <cx:pt idx="22147">0</cx:pt>
          <cx:pt idx="22148">0</cx:pt>
          <cx:pt idx="22149">0</cx:pt>
          <cx:pt idx="22150">0</cx:pt>
          <cx:pt idx="22151">0</cx:pt>
          <cx:pt idx="22152">1</cx:pt>
          <cx:pt idx="22153">0</cx:pt>
          <cx:pt idx="22154">0</cx:pt>
          <cx:pt idx="22155">0</cx:pt>
          <cx:pt idx="22156">0</cx:pt>
          <cx:pt idx="22157">0</cx:pt>
          <cx:pt idx="22158">0</cx:pt>
          <cx:pt idx="22159">1</cx:pt>
          <cx:pt idx="22160">1</cx:pt>
          <cx:pt idx="22161">0</cx:pt>
          <cx:pt idx="22162">0</cx:pt>
          <cx:pt idx="22163">1</cx:pt>
          <cx:pt idx="22164">0</cx:pt>
          <cx:pt idx="22165">0</cx:pt>
          <cx:pt idx="22166">1</cx:pt>
          <cx:pt idx="22167">0</cx:pt>
          <cx:pt idx="22168">0</cx:pt>
          <cx:pt idx="22169">0</cx:pt>
          <cx:pt idx="22170">1</cx:pt>
          <cx:pt idx="22171">0</cx:pt>
          <cx:pt idx="22172">1</cx:pt>
          <cx:pt idx="22173">0</cx:pt>
          <cx:pt idx="22174">1</cx:pt>
          <cx:pt idx="22175">0</cx:pt>
          <cx:pt idx="22176">1</cx:pt>
          <cx:pt idx="22177">1</cx:pt>
          <cx:pt idx="22178">0</cx:pt>
          <cx:pt idx="22179">1</cx:pt>
          <cx:pt idx="22180">1</cx:pt>
          <cx:pt idx="22181">0</cx:pt>
          <cx:pt idx="22182">0</cx:pt>
          <cx:pt idx="22183">1</cx:pt>
          <cx:pt idx="22184">1</cx:pt>
          <cx:pt idx="22185">0</cx:pt>
          <cx:pt idx="22186">1</cx:pt>
          <cx:pt idx="22187">0</cx:pt>
          <cx:pt idx="22188">1</cx:pt>
          <cx:pt idx="22189">1</cx:pt>
          <cx:pt idx="22190">0</cx:pt>
          <cx:pt idx="22191">1</cx:pt>
          <cx:pt idx="22192">1</cx:pt>
          <cx:pt idx="22193">1</cx:pt>
          <cx:pt idx="22194">1</cx:pt>
          <cx:pt idx="22195">0</cx:pt>
          <cx:pt idx="22196">1</cx:pt>
          <cx:pt idx="22197">0</cx:pt>
          <cx:pt idx="22198">0</cx:pt>
          <cx:pt idx="22199">0</cx:pt>
          <cx:pt idx="22200">1</cx:pt>
          <cx:pt idx="22201">1</cx:pt>
          <cx:pt idx="22202">1</cx:pt>
          <cx:pt idx="22203">1</cx:pt>
          <cx:pt idx="22204">1</cx:pt>
          <cx:pt idx="22205">0</cx:pt>
          <cx:pt idx="22206">0</cx:pt>
          <cx:pt idx="22207">1</cx:pt>
          <cx:pt idx="22208">1</cx:pt>
          <cx:pt idx="22209">0</cx:pt>
          <cx:pt idx="22210">0</cx:pt>
          <cx:pt idx="22211">0</cx:pt>
          <cx:pt idx="22212">1</cx:pt>
          <cx:pt idx="22213">1</cx:pt>
          <cx:pt idx="22214">0</cx:pt>
          <cx:pt idx="22215">1</cx:pt>
          <cx:pt idx="22216">0</cx:pt>
          <cx:pt idx="22217">0</cx:pt>
          <cx:pt idx="22218">0</cx:pt>
          <cx:pt idx="22219">1</cx:pt>
          <cx:pt idx="22220">0</cx:pt>
          <cx:pt idx="22221">1</cx:pt>
          <cx:pt idx="22222">0</cx:pt>
          <cx:pt idx="22223">0</cx:pt>
          <cx:pt idx="22224">0</cx:pt>
          <cx:pt idx="22225">0</cx:pt>
          <cx:pt idx="22226">1</cx:pt>
          <cx:pt idx="22227">0</cx:pt>
          <cx:pt idx="22228">1</cx:pt>
          <cx:pt idx="22229">0</cx:pt>
          <cx:pt idx="22230">1</cx:pt>
          <cx:pt idx="22231">0</cx:pt>
          <cx:pt idx="22232">0</cx:pt>
          <cx:pt idx="22233">0</cx:pt>
          <cx:pt idx="22234">0</cx:pt>
          <cx:pt idx="22235">0</cx:pt>
          <cx:pt idx="22236">0</cx:pt>
          <cx:pt idx="22237">1</cx:pt>
          <cx:pt idx="22238">0</cx:pt>
          <cx:pt idx="22239">0</cx:pt>
          <cx:pt idx="22240">1</cx:pt>
          <cx:pt idx="22241">0</cx:pt>
          <cx:pt idx="22242">0</cx:pt>
          <cx:pt idx="22243">1</cx:pt>
          <cx:pt idx="22244">0</cx:pt>
          <cx:pt idx="22245">1</cx:pt>
          <cx:pt idx="22246">0</cx:pt>
          <cx:pt idx="22247">1</cx:pt>
          <cx:pt idx="22248">0</cx:pt>
          <cx:pt idx="22249">0</cx:pt>
          <cx:pt idx="22250">1</cx:pt>
          <cx:pt idx="22251">0</cx:pt>
          <cx:pt idx="22252">0</cx:pt>
          <cx:pt idx="22253">1</cx:pt>
          <cx:pt idx="22254">1</cx:pt>
          <cx:pt idx="22255">1</cx:pt>
          <cx:pt idx="22256">0</cx:pt>
          <cx:pt idx="22257">0</cx:pt>
          <cx:pt idx="22258">0</cx:pt>
          <cx:pt idx="22259">0</cx:pt>
          <cx:pt idx="22260">0</cx:pt>
          <cx:pt idx="22261">0</cx:pt>
          <cx:pt idx="22262">1</cx:pt>
          <cx:pt idx="22263">0</cx:pt>
          <cx:pt idx="22264">1</cx:pt>
          <cx:pt idx="22265">1</cx:pt>
          <cx:pt idx="22266">1</cx:pt>
          <cx:pt idx="22267">1</cx:pt>
          <cx:pt idx="22268">0</cx:pt>
          <cx:pt idx="22269">1</cx:pt>
          <cx:pt idx="22270">0</cx:pt>
          <cx:pt idx="22271">1</cx:pt>
          <cx:pt idx="22272">0</cx:pt>
          <cx:pt idx="22273">0</cx:pt>
          <cx:pt idx="22274">0</cx:pt>
          <cx:pt idx="22275">0</cx:pt>
          <cx:pt idx="22276">1</cx:pt>
          <cx:pt idx="22277">0</cx:pt>
          <cx:pt idx="22278">1</cx:pt>
          <cx:pt idx="22279">1</cx:pt>
          <cx:pt idx="22280">0</cx:pt>
          <cx:pt idx="22281">1</cx:pt>
          <cx:pt idx="22282">0</cx:pt>
          <cx:pt idx="22283">1</cx:pt>
          <cx:pt idx="22284">1</cx:pt>
          <cx:pt idx="22285">0</cx:pt>
          <cx:pt idx="22286">0</cx:pt>
          <cx:pt idx="22287">0</cx:pt>
          <cx:pt idx="22288">0</cx:pt>
          <cx:pt idx="22289">0</cx:pt>
          <cx:pt idx="22290">1</cx:pt>
          <cx:pt idx="22291">0</cx:pt>
          <cx:pt idx="22292">1</cx:pt>
          <cx:pt idx="22293">0</cx:pt>
          <cx:pt idx="22294">0</cx:pt>
          <cx:pt idx="22295">1</cx:pt>
          <cx:pt idx="22296">1</cx:pt>
          <cx:pt idx="22297">0</cx:pt>
          <cx:pt idx="22298">0</cx:pt>
          <cx:pt idx="22299">0</cx:pt>
          <cx:pt idx="22300">0</cx:pt>
          <cx:pt idx="22301">0</cx:pt>
          <cx:pt idx="22302">0</cx:pt>
          <cx:pt idx="22303">0</cx:pt>
          <cx:pt idx="22304">1</cx:pt>
          <cx:pt idx="22305">1</cx:pt>
          <cx:pt idx="22306">1</cx:pt>
          <cx:pt idx="22307">1</cx:pt>
          <cx:pt idx="22308">0</cx:pt>
          <cx:pt idx="22309">1</cx:pt>
          <cx:pt idx="22310">0</cx:pt>
          <cx:pt idx="22311">1</cx:pt>
          <cx:pt idx="22312">0</cx:pt>
          <cx:pt idx="22313">1</cx:pt>
          <cx:pt idx="22314">0</cx:pt>
          <cx:pt idx="22315">1</cx:pt>
          <cx:pt idx="22316">1</cx:pt>
          <cx:pt idx="22317">1</cx:pt>
          <cx:pt idx="22318">0</cx:pt>
          <cx:pt idx="22319">0</cx:pt>
          <cx:pt idx="22320">1</cx:pt>
          <cx:pt idx="22321">0</cx:pt>
          <cx:pt idx="22322">0</cx:pt>
          <cx:pt idx="22323">1</cx:pt>
          <cx:pt idx="22324">1</cx:pt>
          <cx:pt idx="22325">0</cx:pt>
          <cx:pt idx="22326">0</cx:pt>
          <cx:pt idx="22327">0</cx:pt>
          <cx:pt idx="22328">0</cx:pt>
          <cx:pt idx="22329">0</cx:pt>
          <cx:pt idx="22330">0</cx:pt>
          <cx:pt idx="22331">1</cx:pt>
          <cx:pt idx="22332">1</cx:pt>
          <cx:pt idx="22333">0</cx:pt>
          <cx:pt idx="22334">0</cx:pt>
          <cx:pt idx="22335">0</cx:pt>
          <cx:pt idx="22336">1</cx:pt>
          <cx:pt idx="22337">0</cx:pt>
          <cx:pt idx="22338">1</cx:pt>
          <cx:pt idx="22339">0</cx:pt>
          <cx:pt idx="22340">0</cx:pt>
          <cx:pt idx="22341">0</cx:pt>
          <cx:pt idx="22342">1</cx:pt>
          <cx:pt idx="22343">1</cx:pt>
          <cx:pt idx="22344">0</cx:pt>
          <cx:pt idx="22345">1</cx:pt>
          <cx:pt idx="22346">0</cx:pt>
          <cx:pt idx="22347">1</cx:pt>
          <cx:pt idx="22348">1</cx:pt>
          <cx:pt idx="22349">0</cx:pt>
          <cx:pt idx="22350">0</cx:pt>
          <cx:pt idx="22351">1</cx:pt>
          <cx:pt idx="22352">0</cx:pt>
          <cx:pt idx="22353">0</cx:pt>
          <cx:pt idx="22354">1</cx:pt>
          <cx:pt idx="22355">1</cx:pt>
          <cx:pt idx="22356">0</cx:pt>
          <cx:pt idx="22357">0</cx:pt>
          <cx:pt idx="22358">1</cx:pt>
          <cx:pt idx="22359">1</cx:pt>
          <cx:pt idx="22360">0</cx:pt>
          <cx:pt idx="22361">0</cx:pt>
          <cx:pt idx="22362">0</cx:pt>
          <cx:pt idx="22363">1</cx:pt>
          <cx:pt idx="22364">0</cx:pt>
          <cx:pt idx="22365">0</cx:pt>
          <cx:pt idx="22366">0</cx:pt>
          <cx:pt idx="22367">1</cx:pt>
          <cx:pt idx="22368">0</cx:pt>
          <cx:pt idx="22369">0</cx:pt>
          <cx:pt idx="22370">1</cx:pt>
          <cx:pt idx="22371">0</cx:pt>
          <cx:pt idx="22372">0</cx:pt>
          <cx:pt idx="22373">1</cx:pt>
          <cx:pt idx="22374">1</cx:pt>
          <cx:pt idx="22375">0</cx:pt>
          <cx:pt idx="22376">1</cx:pt>
          <cx:pt idx="22377">0</cx:pt>
          <cx:pt idx="22378">0</cx:pt>
          <cx:pt idx="22379">0</cx:pt>
          <cx:pt idx="22380">0</cx:pt>
          <cx:pt idx="22381">0</cx:pt>
          <cx:pt idx="22382">0</cx:pt>
          <cx:pt idx="22383">0</cx:pt>
          <cx:pt idx="22384">0</cx:pt>
          <cx:pt idx="22385">0</cx:pt>
          <cx:pt idx="22386">0</cx:pt>
          <cx:pt idx="22387">1</cx:pt>
          <cx:pt idx="22388">0</cx:pt>
          <cx:pt idx="22389">1</cx:pt>
          <cx:pt idx="22390">0</cx:pt>
          <cx:pt idx="22391">0</cx:pt>
          <cx:pt idx="22392">0</cx:pt>
          <cx:pt idx="22393">1</cx:pt>
          <cx:pt idx="22394">0</cx:pt>
          <cx:pt idx="22395">0</cx:pt>
          <cx:pt idx="22396">1</cx:pt>
          <cx:pt idx="22397">0</cx:pt>
          <cx:pt idx="22398">1</cx:pt>
          <cx:pt idx="22399">1</cx:pt>
          <cx:pt idx="22400">0</cx:pt>
          <cx:pt idx="22401">0</cx:pt>
          <cx:pt idx="22402">1</cx:pt>
          <cx:pt idx="22403">1</cx:pt>
          <cx:pt idx="22404">0</cx:pt>
          <cx:pt idx="22405">0</cx:pt>
          <cx:pt idx="22406">1</cx:pt>
          <cx:pt idx="22407">1</cx:pt>
          <cx:pt idx="22408">1</cx:pt>
          <cx:pt idx="22409">0</cx:pt>
          <cx:pt idx="22410">0</cx:pt>
          <cx:pt idx="22411">1</cx:pt>
          <cx:pt idx="22412">0</cx:pt>
          <cx:pt idx="22413">0</cx:pt>
          <cx:pt idx="22414">0</cx:pt>
          <cx:pt idx="22415">0</cx:pt>
          <cx:pt idx="22416">0</cx:pt>
          <cx:pt idx="22417">1</cx:pt>
          <cx:pt idx="22418">0</cx:pt>
          <cx:pt idx="22419">1</cx:pt>
          <cx:pt idx="22420">1</cx:pt>
          <cx:pt idx="22421">1</cx:pt>
          <cx:pt idx="22422">1</cx:pt>
          <cx:pt idx="22423">0</cx:pt>
          <cx:pt idx="22424">1</cx:pt>
          <cx:pt idx="22425">0</cx:pt>
          <cx:pt idx="22426">0</cx:pt>
          <cx:pt idx="22427">0</cx:pt>
          <cx:pt idx="22428">1</cx:pt>
          <cx:pt idx="22429">0</cx:pt>
          <cx:pt idx="22430">0</cx:pt>
          <cx:pt idx="22431">0</cx:pt>
          <cx:pt idx="22432">1</cx:pt>
          <cx:pt idx="22433">0</cx:pt>
          <cx:pt idx="22434">1</cx:pt>
          <cx:pt idx="22435">0</cx:pt>
          <cx:pt idx="22436">0</cx:pt>
          <cx:pt idx="22437">0</cx:pt>
          <cx:pt idx="22438">0</cx:pt>
          <cx:pt idx="22439">1</cx:pt>
          <cx:pt idx="22440">1</cx:pt>
          <cx:pt idx="22441">1</cx:pt>
          <cx:pt idx="22442">1</cx:pt>
          <cx:pt idx="22443">1</cx:pt>
          <cx:pt idx="22444">0</cx:pt>
          <cx:pt idx="22445">1</cx:pt>
          <cx:pt idx="22446">0</cx:pt>
          <cx:pt idx="22447">0</cx:pt>
          <cx:pt idx="22448">0</cx:pt>
          <cx:pt idx="22449">0</cx:pt>
          <cx:pt idx="22450">1</cx:pt>
          <cx:pt idx="22451">0</cx:pt>
          <cx:pt idx="22452">0</cx:pt>
          <cx:pt idx="22453">0</cx:pt>
          <cx:pt idx="22454">1</cx:pt>
          <cx:pt idx="22455">1</cx:pt>
          <cx:pt idx="22456">0</cx:pt>
          <cx:pt idx="22457">0</cx:pt>
          <cx:pt idx="22458">1</cx:pt>
          <cx:pt idx="22459">0</cx:pt>
          <cx:pt idx="22460">0</cx:pt>
          <cx:pt idx="22461">1</cx:pt>
          <cx:pt idx="22462">0</cx:pt>
          <cx:pt idx="22463">0</cx:pt>
          <cx:pt idx="22464">0</cx:pt>
          <cx:pt idx="22465">1</cx:pt>
          <cx:pt idx="22466">0</cx:pt>
          <cx:pt idx="22467">0</cx:pt>
          <cx:pt idx="22468">1</cx:pt>
          <cx:pt idx="22469">1</cx:pt>
          <cx:pt idx="22470">1</cx:pt>
          <cx:pt idx="22471">0</cx:pt>
          <cx:pt idx="22472">1</cx:pt>
          <cx:pt idx="22473">1</cx:pt>
          <cx:pt idx="22474">1</cx:pt>
          <cx:pt idx="22475">0</cx:pt>
          <cx:pt idx="22476">0</cx:pt>
          <cx:pt idx="22477">1</cx:pt>
          <cx:pt idx="22478">0</cx:pt>
          <cx:pt idx="22479">0</cx:pt>
          <cx:pt idx="22480">0</cx:pt>
          <cx:pt idx="22481">1</cx:pt>
          <cx:pt idx="22482">1</cx:pt>
          <cx:pt idx="22483">1</cx:pt>
          <cx:pt idx="22484">0</cx:pt>
          <cx:pt idx="22485">1</cx:pt>
          <cx:pt idx="22486">0</cx:pt>
          <cx:pt idx="22487">1</cx:pt>
          <cx:pt idx="22488">0</cx:pt>
          <cx:pt idx="22489">0</cx:pt>
          <cx:pt idx="22490">0</cx:pt>
          <cx:pt idx="22491">0</cx:pt>
          <cx:pt idx="22492">1</cx:pt>
          <cx:pt idx="22493">0</cx:pt>
          <cx:pt idx="22494">1</cx:pt>
          <cx:pt idx="22495">0</cx:pt>
          <cx:pt idx="22496">0</cx:pt>
          <cx:pt idx="22497">1</cx:pt>
          <cx:pt idx="22498">0</cx:pt>
          <cx:pt idx="22499">0</cx:pt>
          <cx:pt idx="22500">1</cx:pt>
          <cx:pt idx="22501">1</cx:pt>
          <cx:pt idx="22502">0</cx:pt>
          <cx:pt idx="22503">1</cx:pt>
          <cx:pt idx="22504">1</cx:pt>
          <cx:pt idx="22505">0</cx:pt>
          <cx:pt idx="22506">0</cx:pt>
          <cx:pt idx="22507">0</cx:pt>
          <cx:pt idx="22508">0</cx:pt>
          <cx:pt idx="22509">0</cx:pt>
          <cx:pt idx="22510">0</cx:pt>
          <cx:pt idx="22511">0</cx:pt>
          <cx:pt idx="22512">1</cx:pt>
          <cx:pt idx="22513">0</cx:pt>
          <cx:pt idx="22514">1</cx:pt>
          <cx:pt idx="22515">0</cx:pt>
          <cx:pt idx="22516">1</cx:pt>
          <cx:pt idx="22517">1</cx:pt>
          <cx:pt idx="22518">0</cx:pt>
          <cx:pt idx="22519">1</cx:pt>
          <cx:pt idx="22520">0</cx:pt>
          <cx:pt idx="22521">0</cx:pt>
          <cx:pt idx="22522">1</cx:pt>
          <cx:pt idx="22523">1</cx:pt>
          <cx:pt idx="22524">1</cx:pt>
          <cx:pt idx="22525">0</cx:pt>
          <cx:pt idx="22526">1</cx:pt>
          <cx:pt idx="22527">1</cx:pt>
          <cx:pt idx="22528">1</cx:pt>
          <cx:pt idx="22529">1</cx:pt>
          <cx:pt idx="22530">0</cx:pt>
          <cx:pt idx="22531">0</cx:pt>
          <cx:pt idx="22532">0</cx:pt>
          <cx:pt idx="22533">0</cx:pt>
          <cx:pt idx="22534">1</cx:pt>
          <cx:pt idx="22535">1</cx:pt>
          <cx:pt idx="22536">0</cx:pt>
          <cx:pt idx="22537">0</cx:pt>
          <cx:pt idx="22538">1</cx:pt>
          <cx:pt idx="22539">0</cx:pt>
          <cx:pt idx="22540">1</cx:pt>
          <cx:pt idx="22541">0</cx:pt>
          <cx:pt idx="22542">1</cx:pt>
          <cx:pt idx="22543">0</cx:pt>
          <cx:pt idx="22544">1</cx:pt>
          <cx:pt idx="22545">0</cx:pt>
          <cx:pt idx="22546">1</cx:pt>
          <cx:pt idx="22547">1</cx:pt>
          <cx:pt idx="22548">0</cx:pt>
          <cx:pt idx="22549">1</cx:pt>
          <cx:pt idx="22550">1</cx:pt>
          <cx:pt idx="22551">0</cx:pt>
          <cx:pt idx="22552">0</cx:pt>
          <cx:pt idx="22553">1</cx:pt>
          <cx:pt idx="22554">1</cx:pt>
          <cx:pt idx="22555">0</cx:pt>
          <cx:pt idx="22556">0</cx:pt>
          <cx:pt idx="22557">0</cx:pt>
          <cx:pt idx="22558">1</cx:pt>
          <cx:pt idx="22559">0</cx:pt>
          <cx:pt idx="22560">1</cx:pt>
          <cx:pt idx="22561">1</cx:pt>
          <cx:pt idx="22562">1</cx:pt>
          <cx:pt idx="22563">1</cx:pt>
          <cx:pt idx="22564">0</cx:pt>
          <cx:pt idx="22565">1</cx:pt>
          <cx:pt idx="22566">1</cx:pt>
          <cx:pt idx="22567">1</cx:pt>
          <cx:pt idx="22568">1</cx:pt>
          <cx:pt idx="22569">1</cx:pt>
          <cx:pt idx="22570">1</cx:pt>
          <cx:pt idx="22571">1</cx:pt>
          <cx:pt idx="22572">0</cx:pt>
          <cx:pt idx="22573">0</cx:pt>
          <cx:pt idx="22574">1</cx:pt>
          <cx:pt idx="22575">1</cx:pt>
          <cx:pt idx="22576">1</cx:pt>
          <cx:pt idx="22577">0</cx:pt>
          <cx:pt idx="22578">1</cx:pt>
          <cx:pt idx="22579">0</cx:pt>
          <cx:pt idx="22580">1</cx:pt>
          <cx:pt idx="22581">0</cx:pt>
          <cx:pt idx="22582">0</cx:pt>
          <cx:pt idx="22583">0</cx:pt>
          <cx:pt idx="22584">0</cx:pt>
          <cx:pt idx="22585">0</cx:pt>
          <cx:pt idx="22586">0</cx:pt>
          <cx:pt idx="22587">0</cx:pt>
          <cx:pt idx="22588">1</cx:pt>
          <cx:pt idx="22589">0</cx:pt>
          <cx:pt idx="22590">0</cx:pt>
          <cx:pt idx="22591">0</cx:pt>
          <cx:pt idx="22592">1</cx:pt>
          <cx:pt idx="22593">1</cx:pt>
          <cx:pt idx="22594">1</cx:pt>
          <cx:pt idx="22595">0</cx:pt>
          <cx:pt idx="22596">0</cx:pt>
          <cx:pt idx="22597">1</cx:pt>
          <cx:pt idx="22598">0</cx:pt>
          <cx:pt idx="22599">0</cx:pt>
          <cx:pt idx="22600">1</cx:pt>
          <cx:pt idx="22601">0</cx:pt>
          <cx:pt idx="22602">1</cx:pt>
          <cx:pt idx="22603">1</cx:pt>
          <cx:pt idx="22604">0</cx:pt>
          <cx:pt idx="22605">0</cx:pt>
          <cx:pt idx="22606">1</cx:pt>
          <cx:pt idx="22607">1</cx:pt>
          <cx:pt idx="22608">0</cx:pt>
          <cx:pt idx="22609">1</cx:pt>
          <cx:pt idx="22610">0</cx:pt>
          <cx:pt idx="22611">1</cx:pt>
          <cx:pt idx="22612">0</cx:pt>
          <cx:pt idx="22613">0</cx:pt>
          <cx:pt idx="22614">1</cx:pt>
          <cx:pt idx="22615">1</cx:pt>
          <cx:pt idx="22616">1</cx:pt>
          <cx:pt idx="22617">0</cx:pt>
          <cx:pt idx="22618">0</cx:pt>
          <cx:pt idx="22619">0</cx:pt>
          <cx:pt idx="22620">0</cx:pt>
          <cx:pt idx="22621">0</cx:pt>
          <cx:pt idx="22622">1</cx:pt>
          <cx:pt idx="22623">0</cx:pt>
          <cx:pt idx="22624">1</cx:pt>
          <cx:pt idx="22625">0</cx:pt>
          <cx:pt idx="22626">0</cx:pt>
          <cx:pt idx="22627">0</cx:pt>
          <cx:pt idx="22628">0</cx:pt>
          <cx:pt idx="22629">0</cx:pt>
          <cx:pt idx="22630">0</cx:pt>
          <cx:pt idx="22631">1</cx:pt>
          <cx:pt idx="22632">1</cx:pt>
          <cx:pt idx="22633">1</cx:pt>
          <cx:pt idx="22634">0</cx:pt>
          <cx:pt idx="22635">0</cx:pt>
          <cx:pt idx="22636">0</cx:pt>
          <cx:pt idx="22637">0</cx:pt>
          <cx:pt idx="22638">0</cx:pt>
          <cx:pt idx="22639">0</cx:pt>
          <cx:pt idx="22640">0</cx:pt>
          <cx:pt idx="22641">0</cx:pt>
          <cx:pt idx="22642">1</cx:pt>
          <cx:pt idx="22643">1</cx:pt>
          <cx:pt idx="22644">1</cx:pt>
          <cx:pt idx="22645">1</cx:pt>
          <cx:pt idx="22646">0</cx:pt>
          <cx:pt idx="22647">0</cx:pt>
          <cx:pt idx="22648">0</cx:pt>
          <cx:pt idx="22649">0</cx:pt>
          <cx:pt idx="22650">0</cx:pt>
          <cx:pt idx="22651">0</cx:pt>
          <cx:pt idx="22652">0</cx:pt>
          <cx:pt idx="22653">1</cx:pt>
          <cx:pt idx="22654">1</cx:pt>
          <cx:pt idx="22655">0</cx:pt>
          <cx:pt idx="22656">0</cx:pt>
          <cx:pt idx="22657">0</cx:pt>
          <cx:pt idx="22658">1</cx:pt>
          <cx:pt idx="22659">0</cx:pt>
          <cx:pt idx="22660">1</cx:pt>
          <cx:pt idx="22661">1</cx:pt>
          <cx:pt idx="22662">1</cx:pt>
          <cx:pt idx="22663">0</cx:pt>
          <cx:pt idx="22664">1</cx:pt>
          <cx:pt idx="22665">1</cx:pt>
          <cx:pt idx="22666">1</cx:pt>
          <cx:pt idx="22667">0</cx:pt>
          <cx:pt idx="22668">0</cx:pt>
          <cx:pt idx="22669">0</cx:pt>
          <cx:pt idx="22670">0</cx:pt>
          <cx:pt idx="22671">1</cx:pt>
          <cx:pt idx="22672">0</cx:pt>
          <cx:pt idx="22673">0</cx:pt>
          <cx:pt idx="22674">0</cx:pt>
          <cx:pt idx="22675">0</cx:pt>
          <cx:pt idx="22676">0</cx:pt>
          <cx:pt idx="22677">1</cx:pt>
          <cx:pt idx="22678">1</cx:pt>
          <cx:pt idx="22679">1</cx:pt>
          <cx:pt idx="22680">0</cx:pt>
          <cx:pt idx="22681">1</cx:pt>
          <cx:pt idx="22682">0</cx:pt>
          <cx:pt idx="22683">0</cx:pt>
          <cx:pt idx="22684">0</cx:pt>
          <cx:pt idx="22685">0</cx:pt>
          <cx:pt idx="22686">0</cx:pt>
          <cx:pt idx="22687">1</cx:pt>
          <cx:pt idx="22688">0</cx:pt>
          <cx:pt idx="22689">0</cx:pt>
          <cx:pt idx="22690">1</cx:pt>
          <cx:pt idx="22691">1</cx:pt>
          <cx:pt idx="22692">0</cx:pt>
          <cx:pt idx="22693">1</cx:pt>
          <cx:pt idx="22694">0</cx:pt>
          <cx:pt idx="22695">1</cx:pt>
          <cx:pt idx="22696">0</cx:pt>
          <cx:pt idx="22697">1</cx:pt>
          <cx:pt idx="22698">1</cx:pt>
          <cx:pt idx="22699">1</cx:pt>
          <cx:pt idx="22700">1</cx:pt>
          <cx:pt idx="22701">0</cx:pt>
          <cx:pt idx="22702">0</cx:pt>
          <cx:pt idx="22703">0</cx:pt>
          <cx:pt idx="22704">1</cx:pt>
          <cx:pt idx="22705">1</cx:pt>
          <cx:pt idx="22706">1</cx:pt>
          <cx:pt idx="22707">1</cx:pt>
          <cx:pt idx="22708">0</cx:pt>
          <cx:pt idx="22709">1</cx:pt>
          <cx:pt idx="22710">0</cx:pt>
          <cx:pt idx="22711">0</cx:pt>
          <cx:pt idx="22712">0</cx:pt>
          <cx:pt idx="22713">1</cx:pt>
          <cx:pt idx="22714">0</cx:pt>
          <cx:pt idx="22715">0</cx:pt>
          <cx:pt idx="22716">0</cx:pt>
          <cx:pt idx="22717">0</cx:pt>
          <cx:pt idx="22718">1</cx:pt>
          <cx:pt idx="22719">1</cx:pt>
          <cx:pt idx="22720">1</cx:pt>
          <cx:pt idx="22721">0</cx:pt>
          <cx:pt idx="22722">0</cx:pt>
          <cx:pt idx="22723">0</cx:pt>
          <cx:pt idx="22724">0</cx:pt>
          <cx:pt idx="22725">1</cx:pt>
          <cx:pt idx="22726">1</cx:pt>
          <cx:pt idx="22727">1</cx:pt>
          <cx:pt idx="22728">0</cx:pt>
          <cx:pt idx="22729">0</cx:pt>
          <cx:pt idx="22730">0</cx:pt>
          <cx:pt idx="22731">0</cx:pt>
          <cx:pt idx="22732">0</cx:pt>
          <cx:pt idx="22733">0</cx:pt>
          <cx:pt idx="22734">1</cx:pt>
          <cx:pt idx="22735">0</cx:pt>
          <cx:pt idx="22736">1</cx:pt>
          <cx:pt idx="22737">0</cx:pt>
          <cx:pt idx="22738">1</cx:pt>
          <cx:pt idx="22739">1</cx:pt>
          <cx:pt idx="22740">1</cx:pt>
          <cx:pt idx="22741">1</cx:pt>
          <cx:pt idx="22742">0</cx:pt>
          <cx:pt idx="22743">0</cx:pt>
          <cx:pt idx="22744">0</cx:pt>
          <cx:pt idx="22745">0</cx:pt>
          <cx:pt idx="22746">0</cx:pt>
          <cx:pt idx="22747">0</cx:pt>
          <cx:pt idx="22748">0</cx:pt>
          <cx:pt idx="22749">1</cx:pt>
          <cx:pt idx="22750">0</cx:pt>
          <cx:pt idx="22751">0</cx:pt>
          <cx:pt idx="22752">0</cx:pt>
          <cx:pt idx="22753">1</cx:pt>
          <cx:pt idx="22754">0</cx:pt>
          <cx:pt idx="22755">0</cx:pt>
          <cx:pt idx="22756">0</cx:pt>
          <cx:pt idx="22757">0</cx:pt>
          <cx:pt idx="22758">1</cx:pt>
          <cx:pt idx="22759">1</cx:pt>
          <cx:pt idx="22760">1</cx:pt>
          <cx:pt idx="22761">0</cx:pt>
          <cx:pt idx="22762">0</cx:pt>
          <cx:pt idx="22763">0</cx:pt>
          <cx:pt idx="22764">0</cx:pt>
          <cx:pt idx="22765">1</cx:pt>
          <cx:pt idx="22766">1</cx:pt>
          <cx:pt idx="22767">1</cx:pt>
          <cx:pt idx="22768">1</cx:pt>
          <cx:pt idx="22769">1</cx:pt>
          <cx:pt idx="22770">0</cx:pt>
          <cx:pt idx="22771">1</cx:pt>
          <cx:pt idx="22772">1</cx:pt>
          <cx:pt idx="22773">0</cx:pt>
          <cx:pt idx="22774">0</cx:pt>
          <cx:pt idx="22775">1</cx:pt>
          <cx:pt idx="22776">1</cx:pt>
          <cx:pt idx="22777">0</cx:pt>
          <cx:pt idx="22778">1</cx:pt>
          <cx:pt idx="22779">0</cx:pt>
          <cx:pt idx="22780">1</cx:pt>
          <cx:pt idx="22781">1</cx:pt>
          <cx:pt idx="22782">0</cx:pt>
          <cx:pt idx="22783">0</cx:pt>
          <cx:pt idx="22784">0</cx:pt>
          <cx:pt idx="22785">1</cx:pt>
          <cx:pt idx="22786">0</cx:pt>
          <cx:pt idx="22787">0</cx:pt>
          <cx:pt idx="22788">1</cx:pt>
          <cx:pt idx="22789">0</cx:pt>
          <cx:pt idx="22790">1</cx:pt>
          <cx:pt idx="22791">0</cx:pt>
          <cx:pt idx="22792">0</cx:pt>
          <cx:pt idx="22793">1</cx:pt>
          <cx:pt idx="22794">1</cx:pt>
          <cx:pt idx="22795">0</cx:pt>
          <cx:pt idx="22796">0</cx:pt>
          <cx:pt idx="22797">0</cx:pt>
          <cx:pt idx="22798">0</cx:pt>
          <cx:pt idx="22799">0</cx:pt>
          <cx:pt idx="22800">1</cx:pt>
          <cx:pt idx="22801">1</cx:pt>
          <cx:pt idx="22802">1</cx:pt>
          <cx:pt idx="22803">0</cx:pt>
          <cx:pt idx="22804">0</cx:pt>
          <cx:pt idx="22805">0</cx:pt>
          <cx:pt idx="22806">0</cx:pt>
          <cx:pt idx="22807">1</cx:pt>
          <cx:pt idx="22808">0</cx:pt>
          <cx:pt idx="22809">1</cx:pt>
          <cx:pt idx="22810">1</cx:pt>
          <cx:pt idx="22811">1</cx:pt>
          <cx:pt idx="22812">0</cx:pt>
          <cx:pt idx="22813">0</cx:pt>
          <cx:pt idx="22814">1</cx:pt>
          <cx:pt idx="22815">0</cx:pt>
          <cx:pt idx="22816">0</cx:pt>
          <cx:pt idx="22817">0</cx:pt>
          <cx:pt idx="22818">0</cx:pt>
          <cx:pt idx="22819">0</cx:pt>
          <cx:pt idx="22820">1</cx:pt>
          <cx:pt idx="22821">0</cx:pt>
          <cx:pt idx="22822">1</cx:pt>
          <cx:pt idx="22823">1</cx:pt>
          <cx:pt idx="22824">0</cx:pt>
          <cx:pt idx="22825">1</cx:pt>
          <cx:pt idx="22826">0</cx:pt>
          <cx:pt idx="22827">1</cx:pt>
          <cx:pt idx="22828">1</cx:pt>
          <cx:pt idx="22829">1</cx:pt>
          <cx:pt idx="22830">0</cx:pt>
          <cx:pt idx="22831">0</cx:pt>
          <cx:pt idx="22832">0</cx:pt>
          <cx:pt idx="22833">1</cx:pt>
          <cx:pt idx="22834">0</cx:pt>
          <cx:pt idx="22835">1</cx:pt>
          <cx:pt idx="22836">1</cx:pt>
          <cx:pt idx="22837">0</cx:pt>
          <cx:pt idx="22838">0</cx:pt>
          <cx:pt idx="22839">1</cx:pt>
          <cx:pt idx="22840">1</cx:pt>
          <cx:pt idx="22841">1</cx:pt>
          <cx:pt idx="22842">1</cx:pt>
          <cx:pt idx="22843">1</cx:pt>
          <cx:pt idx="22844">1</cx:pt>
          <cx:pt idx="22845">0</cx:pt>
          <cx:pt idx="22846">0</cx:pt>
          <cx:pt idx="22847">1</cx:pt>
          <cx:pt idx="22848">1</cx:pt>
          <cx:pt idx="22849">0</cx:pt>
          <cx:pt idx="22850">1</cx:pt>
          <cx:pt idx="22851">0</cx:pt>
          <cx:pt idx="22852">1</cx:pt>
          <cx:pt idx="22853">1</cx:pt>
          <cx:pt idx="22854">0</cx:pt>
          <cx:pt idx="22855">0</cx:pt>
          <cx:pt idx="22856">0</cx:pt>
          <cx:pt idx="22857">1</cx:pt>
          <cx:pt idx="22858">1</cx:pt>
          <cx:pt idx="22859">1</cx:pt>
          <cx:pt idx="22860">1</cx:pt>
          <cx:pt idx="22861">0</cx:pt>
          <cx:pt idx="22862">0</cx:pt>
          <cx:pt idx="22863">1</cx:pt>
          <cx:pt idx="22864">1</cx:pt>
          <cx:pt idx="22865">1</cx:pt>
          <cx:pt idx="22866">0</cx:pt>
          <cx:pt idx="22867">0</cx:pt>
          <cx:pt idx="22868">0</cx:pt>
          <cx:pt idx="22869">1</cx:pt>
          <cx:pt idx="22870">0</cx:pt>
          <cx:pt idx="22871">0</cx:pt>
          <cx:pt idx="22872">0</cx:pt>
          <cx:pt idx="22873">0</cx:pt>
          <cx:pt idx="22874">0</cx:pt>
          <cx:pt idx="22875">0</cx:pt>
          <cx:pt idx="22876">1</cx:pt>
          <cx:pt idx="22877">1</cx:pt>
          <cx:pt idx="22878">1</cx:pt>
          <cx:pt idx="22879">1</cx:pt>
          <cx:pt idx="22880">0</cx:pt>
          <cx:pt idx="22881">0</cx:pt>
          <cx:pt idx="22882">0</cx:pt>
          <cx:pt idx="22883">1</cx:pt>
          <cx:pt idx="22884">1</cx:pt>
          <cx:pt idx="22885">0</cx:pt>
          <cx:pt idx="22886">1</cx:pt>
          <cx:pt idx="22887">1</cx:pt>
          <cx:pt idx="22888">0</cx:pt>
          <cx:pt idx="22889">0</cx:pt>
          <cx:pt idx="22890">1</cx:pt>
          <cx:pt idx="22891">0</cx:pt>
          <cx:pt idx="22892">1</cx:pt>
          <cx:pt idx="22893">0</cx:pt>
          <cx:pt idx="22894">0</cx:pt>
          <cx:pt idx="22895">1</cx:pt>
          <cx:pt idx="22896">1</cx:pt>
          <cx:pt idx="22897">0</cx:pt>
          <cx:pt idx="22898">1</cx:pt>
          <cx:pt idx="22899">0</cx:pt>
          <cx:pt idx="22900">0</cx:pt>
          <cx:pt idx="22901">0</cx:pt>
          <cx:pt idx="22902">0</cx:pt>
          <cx:pt idx="22903">0</cx:pt>
          <cx:pt idx="22904">1</cx:pt>
          <cx:pt idx="22905">1</cx:pt>
          <cx:pt idx="22906">1</cx:pt>
          <cx:pt idx="22907">0</cx:pt>
          <cx:pt idx="22908">0</cx:pt>
          <cx:pt idx="22909">0</cx:pt>
          <cx:pt idx="22910">0</cx:pt>
          <cx:pt idx="22911">0</cx:pt>
          <cx:pt idx="22912">1</cx:pt>
          <cx:pt idx="22913">0</cx:pt>
          <cx:pt idx="22914">0</cx:pt>
          <cx:pt idx="22915">0</cx:pt>
          <cx:pt idx="22916">0</cx:pt>
          <cx:pt idx="22917">1</cx:pt>
          <cx:pt idx="22918">0</cx:pt>
          <cx:pt idx="22919">0</cx:pt>
          <cx:pt idx="22920">1</cx:pt>
          <cx:pt idx="22921">0</cx:pt>
          <cx:pt idx="22922">0</cx:pt>
          <cx:pt idx="22923">0</cx:pt>
          <cx:pt idx="22924">0</cx:pt>
          <cx:pt idx="22925">1</cx:pt>
          <cx:pt idx="22926">0</cx:pt>
          <cx:pt idx="22927">1</cx:pt>
          <cx:pt idx="22928">0</cx:pt>
          <cx:pt idx="22929">1</cx:pt>
          <cx:pt idx="22930">1</cx:pt>
          <cx:pt idx="22931">1</cx:pt>
          <cx:pt idx="22932">0</cx:pt>
          <cx:pt idx="22933">0</cx:pt>
          <cx:pt idx="22934">0</cx:pt>
          <cx:pt idx="22935">1</cx:pt>
          <cx:pt idx="22936">1</cx:pt>
          <cx:pt idx="22937">1</cx:pt>
          <cx:pt idx="22938">0</cx:pt>
          <cx:pt idx="22939">1</cx:pt>
          <cx:pt idx="22940">1</cx:pt>
          <cx:pt idx="22941">0</cx:pt>
          <cx:pt idx="22942">0</cx:pt>
          <cx:pt idx="22943">1</cx:pt>
          <cx:pt idx="22944">1</cx:pt>
          <cx:pt idx="22945">1</cx:pt>
          <cx:pt idx="22946">1</cx:pt>
          <cx:pt idx="22947">1</cx:pt>
          <cx:pt idx="22948">0</cx:pt>
          <cx:pt idx="22949">0</cx:pt>
          <cx:pt idx="22950">1</cx:pt>
          <cx:pt idx="22951">0</cx:pt>
          <cx:pt idx="22952">0</cx:pt>
          <cx:pt idx="22953">0</cx:pt>
          <cx:pt idx="22954">0</cx:pt>
          <cx:pt idx="22955">1</cx:pt>
          <cx:pt idx="22956">0</cx:pt>
          <cx:pt idx="22957">0</cx:pt>
          <cx:pt idx="22958">1</cx:pt>
          <cx:pt idx="22959">1</cx:pt>
          <cx:pt idx="22960">0</cx:pt>
          <cx:pt idx="22961">1</cx:pt>
          <cx:pt idx="22962">0</cx:pt>
          <cx:pt idx="22963">0</cx:pt>
          <cx:pt idx="22964">1</cx:pt>
          <cx:pt idx="22965">0</cx:pt>
          <cx:pt idx="22966">0</cx:pt>
          <cx:pt idx="22967">0</cx:pt>
          <cx:pt idx="22968">0</cx:pt>
          <cx:pt idx="22969">1</cx:pt>
          <cx:pt idx="22970">1</cx:pt>
          <cx:pt idx="22971">0</cx:pt>
          <cx:pt idx="22972">0</cx:pt>
          <cx:pt idx="22973">0</cx:pt>
          <cx:pt idx="22974">0</cx:pt>
          <cx:pt idx="22975">0</cx:pt>
          <cx:pt idx="22976">1</cx:pt>
          <cx:pt idx="22977">0</cx:pt>
          <cx:pt idx="22978">1</cx:pt>
          <cx:pt idx="22979">1</cx:pt>
          <cx:pt idx="22980">0</cx:pt>
          <cx:pt idx="22981">0</cx:pt>
          <cx:pt idx="22982">1</cx:pt>
          <cx:pt idx="22983">0</cx:pt>
          <cx:pt idx="22984">0</cx:pt>
          <cx:pt idx="22985">1</cx:pt>
          <cx:pt idx="22986">0</cx:pt>
          <cx:pt idx="22987">0</cx:pt>
          <cx:pt idx="22988">1</cx:pt>
          <cx:pt idx="22989">1</cx:pt>
          <cx:pt idx="22990">0</cx:pt>
          <cx:pt idx="22991">1</cx:pt>
          <cx:pt idx="22992">0</cx:pt>
          <cx:pt idx="22993">0</cx:pt>
          <cx:pt idx="22994">1</cx:pt>
          <cx:pt idx="22995">1</cx:pt>
          <cx:pt idx="22996">0</cx:pt>
          <cx:pt idx="22997">1</cx:pt>
          <cx:pt idx="22998">0</cx:pt>
          <cx:pt idx="22999">0</cx:pt>
          <cx:pt idx="23000">1</cx:pt>
          <cx:pt idx="23001">0</cx:pt>
          <cx:pt idx="23002">0</cx:pt>
          <cx:pt idx="23003">0</cx:pt>
          <cx:pt idx="23004">1</cx:pt>
          <cx:pt idx="23005">0</cx:pt>
          <cx:pt idx="23006">1</cx:pt>
          <cx:pt idx="23007">0</cx:pt>
          <cx:pt idx="23008">1</cx:pt>
          <cx:pt idx="23009">0</cx:pt>
          <cx:pt idx="23010">1</cx:pt>
          <cx:pt idx="23011">1</cx:pt>
          <cx:pt idx="23012">0</cx:pt>
          <cx:pt idx="23013">1</cx:pt>
          <cx:pt idx="23014">0</cx:pt>
          <cx:pt idx="23015">0</cx:pt>
          <cx:pt idx="23016">1</cx:pt>
          <cx:pt idx="23017">1</cx:pt>
          <cx:pt idx="23018">0</cx:pt>
          <cx:pt idx="23019">0</cx:pt>
          <cx:pt idx="23020">1</cx:pt>
          <cx:pt idx="23021">0</cx:pt>
          <cx:pt idx="23022">1</cx:pt>
          <cx:pt idx="23023">0</cx:pt>
          <cx:pt idx="23024">1</cx:pt>
          <cx:pt idx="23025">0</cx:pt>
          <cx:pt idx="23026">1</cx:pt>
          <cx:pt idx="23027">0</cx:pt>
          <cx:pt idx="23028">0</cx:pt>
          <cx:pt idx="23029">0</cx:pt>
          <cx:pt idx="23030">0</cx:pt>
          <cx:pt idx="23031">0</cx:pt>
          <cx:pt idx="23032">0</cx:pt>
          <cx:pt idx="23033">1</cx:pt>
          <cx:pt idx="23034">1</cx:pt>
          <cx:pt idx="23035">1</cx:pt>
          <cx:pt idx="23036">0</cx:pt>
          <cx:pt idx="23037">0</cx:pt>
          <cx:pt idx="23038">1</cx:pt>
          <cx:pt idx="23039">0</cx:pt>
          <cx:pt idx="23040">1</cx:pt>
          <cx:pt idx="23041">0</cx:pt>
          <cx:pt idx="23042">0</cx:pt>
          <cx:pt idx="23043">0</cx:pt>
          <cx:pt idx="23044">0</cx:pt>
          <cx:pt idx="23045">0</cx:pt>
          <cx:pt idx="23046">0</cx:pt>
          <cx:pt idx="23047">0</cx:pt>
          <cx:pt idx="23048">0</cx:pt>
          <cx:pt idx="23049">0</cx:pt>
          <cx:pt idx="23050">1</cx:pt>
          <cx:pt idx="23051">1</cx:pt>
          <cx:pt idx="23052">0</cx:pt>
          <cx:pt idx="23053">0</cx:pt>
          <cx:pt idx="23054">1</cx:pt>
          <cx:pt idx="23055">0</cx:pt>
          <cx:pt idx="23056">1</cx:pt>
          <cx:pt idx="23057">1</cx:pt>
          <cx:pt idx="23058">0</cx:pt>
          <cx:pt idx="23059">0</cx:pt>
          <cx:pt idx="23060">0</cx:pt>
          <cx:pt idx="23061">0</cx:pt>
          <cx:pt idx="23062">1</cx:pt>
          <cx:pt idx="23063">0</cx:pt>
          <cx:pt idx="23064">1</cx:pt>
          <cx:pt idx="23065">0</cx:pt>
          <cx:pt idx="23066">1</cx:pt>
          <cx:pt idx="23067">0</cx:pt>
          <cx:pt idx="23068">0</cx:pt>
          <cx:pt idx="23069">1</cx:pt>
          <cx:pt idx="23070">1</cx:pt>
          <cx:pt idx="23071">0</cx:pt>
          <cx:pt idx="23072">1</cx:pt>
          <cx:pt idx="23073">0</cx:pt>
          <cx:pt idx="23074">0</cx:pt>
          <cx:pt idx="23075">1</cx:pt>
          <cx:pt idx="23076">0</cx:pt>
          <cx:pt idx="23077">0</cx:pt>
          <cx:pt idx="23078">1</cx:pt>
          <cx:pt idx="23079">0</cx:pt>
          <cx:pt idx="23080">1</cx:pt>
          <cx:pt idx="23081">0</cx:pt>
          <cx:pt idx="23082">1</cx:pt>
          <cx:pt idx="23083">0</cx:pt>
          <cx:pt idx="23084">0</cx:pt>
          <cx:pt idx="23085">0</cx:pt>
          <cx:pt idx="23086">1</cx:pt>
          <cx:pt idx="23087">0</cx:pt>
          <cx:pt idx="23088">0</cx:pt>
          <cx:pt idx="23089">0</cx:pt>
          <cx:pt idx="23090">0</cx:pt>
          <cx:pt idx="23091">1</cx:pt>
          <cx:pt idx="23092">1</cx:pt>
          <cx:pt idx="23093">0</cx:pt>
          <cx:pt idx="23094">0</cx:pt>
          <cx:pt idx="23095">1</cx:pt>
          <cx:pt idx="23096">1</cx:pt>
          <cx:pt idx="23097">0</cx:pt>
          <cx:pt idx="23098">1</cx:pt>
          <cx:pt idx="23099">0</cx:pt>
          <cx:pt idx="23100">1</cx:pt>
          <cx:pt idx="23101">0</cx:pt>
          <cx:pt idx="23102">0</cx:pt>
          <cx:pt idx="23103">1</cx:pt>
          <cx:pt idx="23104">0</cx:pt>
          <cx:pt idx="23105">1</cx:pt>
          <cx:pt idx="23106">0</cx:pt>
          <cx:pt idx="23107">0</cx:pt>
          <cx:pt idx="23108">0</cx:pt>
          <cx:pt idx="23109">0</cx:pt>
          <cx:pt idx="23110">1</cx:pt>
          <cx:pt idx="23111">1</cx:pt>
          <cx:pt idx="23112">0</cx:pt>
          <cx:pt idx="23113">0</cx:pt>
          <cx:pt idx="23114">0</cx:pt>
          <cx:pt idx="23115">0</cx:pt>
          <cx:pt idx="23116">0</cx:pt>
          <cx:pt idx="23117">1</cx:pt>
          <cx:pt idx="23118">1</cx:pt>
          <cx:pt idx="23119">0</cx:pt>
          <cx:pt idx="23120">0</cx:pt>
          <cx:pt idx="23121">1</cx:pt>
          <cx:pt idx="23122">0</cx:pt>
          <cx:pt idx="23123">1</cx:pt>
          <cx:pt idx="23124">1</cx:pt>
          <cx:pt idx="23125">0</cx:pt>
          <cx:pt idx="23126">1</cx:pt>
          <cx:pt idx="23127">1</cx:pt>
          <cx:pt idx="23128">0</cx:pt>
          <cx:pt idx="23129">0</cx:pt>
          <cx:pt idx="23130">0</cx:pt>
          <cx:pt idx="23131">0</cx:pt>
          <cx:pt idx="23132">0</cx:pt>
          <cx:pt idx="23133">0</cx:pt>
          <cx:pt idx="23134">1</cx:pt>
          <cx:pt idx="23135">0</cx:pt>
          <cx:pt idx="23136">1</cx:pt>
          <cx:pt idx="23137">0</cx:pt>
          <cx:pt idx="23138">0</cx:pt>
          <cx:pt idx="23139">0</cx:pt>
          <cx:pt idx="23140">0</cx:pt>
          <cx:pt idx="23141">0</cx:pt>
          <cx:pt idx="23142">1</cx:pt>
          <cx:pt idx="23143">0</cx:pt>
          <cx:pt idx="23144">0</cx:pt>
          <cx:pt idx="23145">0</cx:pt>
          <cx:pt idx="23146">1</cx:pt>
          <cx:pt idx="23147">1</cx:pt>
          <cx:pt idx="23148">1</cx:pt>
          <cx:pt idx="23149">1</cx:pt>
          <cx:pt idx="23150">1</cx:pt>
          <cx:pt idx="23151">0</cx:pt>
          <cx:pt idx="23152">0</cx:pt>
          <cx:pt idx="23153">0</cx:pt>
          <cx:pt idx="23154">1</cx:pt>
          <cx:pt idx="23155">1</cx:pt>
          <cx:pt idx="23156">0</cx:pt>
          <cx:pt idx="23157">1</cx:pt>
          <cx:pt idx="23158">1</cx:pt>
          <cx:pt idx="23159">0</cx:pt>
          <cx:pt idx="23160">1</cx:pt>
          <cx:pt idx="23161">1</cx:pt>
          <cx:pt idx="23162">0</cx:pt>
          <cx:pt idx="23163">1</cx:pt>
          <cx:pt idx="23164">1</cx:pt>
          <cx:pt idx="23165">1</cx:pt>
          <cx:pt idx="23166">0</cx:pt>
          <cx:pt idx="23167">0</cx:pt>
          <cx:pt idx="23168">1</cx:pt>
          <cx:pt idx="23169">1</cx:pt>
          <cx:pt idx="23170">0</cx:pt>
          <cx:pt idx="23171">0</cx:pt>
          <cx:pt idx="23172">1</cx:pt>
          <cx:pt idx="23173">0</cx:pt>
          <cx:pt idx="23174">0</cx:pt>
          <cx:pt idx="23175">0</cx:pt>
          <cx:pt idx="23176">1</cx:pt>
          <cx:pt idx="23177">1</cx:pt>
          <cx:pt idx="23178">1</cx:pt>
          <cx:pt idx="23179">1</cx:pt>
          <cx:pt idx="23180">0</cx:pt>
          <cx:pt idx="23181">0</cx:pt>
          <cx:pt idx="23182">0</cx:pt>
          <cx:pt idx="23183">0</cx:pt>
          <cx:pt idx="23184">1</cx:pt>
          <cx:pt idx="23185">0</cx:pt>
          <cx:pt idx="23186">1</cx:pt>
          <cx:pt idx="23187">1</cx:pt>
          <cx:pt idx="23188">0</cx:pt>
          <cx:pt idx="23189">0</cx:pt>
          <cx:pt idx="23190">1</cx:pt>
          <cx:pt idx="23191">0</cx:pt>
          <cx:pt idx="23192">1</cx:pt>
          <cx:pt idx="23193">1</cx:pt>
          <cx:pt idx="23194">0</cx:pt>
          <cx:pt idx="23195">0</cx:pt>
          <cx:pt idx="23196">0</cx:pt>
          <cx:pt idx="23197">1</cx:pt>
          <cx:pt idx="23198">0</cx:pt>
          <cx:pt idx="23199">0</cx:pt>
          <cx:pt idx="23200">0</cx:pt>
          <cx:pt idx="23201">1</cx:pt>
          <cx:pt idx="23202">0</cx:pt>
          <cx:pt idx="23203">1</cx:pt>
          <cx:pt idx="23204">0</cx:pt>
          <cx:pt idx="23205">0</cx:pt>
          <cx:pt idx="23206">0</cx:pt>
          <cx:pt idx="23207">0</cx:pt>
          <cx:pt idx="23208">0</cx:pt>
          <cx:pt idx="23209">0</cx:pt>
          <cx:pt idx="23210">0</cx:pt>
          <cx:pt idx="23211">0</cx:pt>
          <cx:pt idx="23212">0</cx:pt>
          <cx:pt idx="23213">1</cx:pt>
          <cx:pt idx="23214">1</cx:pt>
          <cx:pt idx="23215">0</cx:pt>
          <cx:pt idx="23216">0</cx:pt>
          <cx:pt idx="23217">1</cx:pt>
          <cx:pt idx="23218">0</cx:pt>
          <cx:pt idx="23219">0</cx:pt>
          <cx:pt idx="23220">0</cx:pt>
          <cx:pt idx="23221">0</cx:pt>
          <cx:pt idx="23222">0</cx:pt>
          <cx:pt idx="23223">1</cx:pt>
          <cx:pt idx="23224">0</cx:pt>
          <cx:pt idx="23225">1</cx:pt>
          <cx:pt idx="23226">1</cx:pt>
          <cx:pt idx="23227">0</cx:pt>
          <cx:pt idx="23228">0</cx:pt>
          <cx:pt idx="23229">1</cx:pt>
          <cx:pt idx="23230">0</cx:pt>
          <cx:pt idx="23231">0</cx:pt>
          <cx:pt idx="23232">1</cx:pt>
          <cx:pt idx="23233">1</cx:pt>
          <cx:pt idx="23234">1</cx:pt>
          <cx:pt idx="23235">1</cx:pt>
          <cx:pt idx="23236">0</cx:pt>
          <cx:pt idx="23237">1</cx:pt>
          <cx:pt idx="23238">0</cx:pt>
          <cx:pt idx="23239">1</cx:pt>
          <cx:pt idx="23240">1</cx:pt>
          <cx:pt idx="23241">0</cx:pt>
          <cx:pt idx="23242">0</cx:pt>
          <cx:pt idx="23243">0</cx:pt>
          <cx:pt idx="23244">1</cx:pt>
          <cx:pt idx="23245">0</cx:pt>
          <cx:pt idx="23246">0</cx:pt>
          <cx:pt idx="23247">1</cx:pt>
          <cx:pt idx="23248">0</cx:pt>
          <cx:pt idx="23249">0</cx:pt>
          <cx:pt idx="23250">0</cx:pt>
          <cx:pt idx="23251">1</cx:pt>
          <cx:pt idx="23252">0</cx:pt>
          <cx:pt idx="23253">0</cx:pt>
          <cx:pt idx="23254">0</cx:pt>
          <cx:pt idx="23255">0</cx:pt>
          <cx:pt idx="23256">1</cx:pt>
          <cx:pt idx="23257">0</cx:pt>
          <cx:pt idx="23258">1</cx:pt>
          <cx:pt idx="23259">1</cx:pt>
          <cx:pt idx="23260">1</cx:pt>
          <cx:pt idx="23261">1</cx:pt>
          <cx:pt idx="23262">1</cx:pt>
          <cx:pt idx="23263">0</cx:pt>
          <cx:pt idx="23264">1</cx:pt>
          <cx:pt idx="23265">1</cx:pt>
          <cx:pt idx="23266">0</cx:pt>
          <cx:pt idx="23267">1</cx:pt>
          <cx:pt idx="23268">0</cx:pt>
          <cx:pt idx="23269">0</cx:pt>
          <cx:pt idx="23270">1</cx:pt>
          <cx:pt idx="23271">0</cx:pt>
          <cx:pt idx="23272">0</cx:pt>
          <cx:pt idx="23273">0</cx:pt>
          <cx:pt idx="23274">1</cx:pt>
          <cx:pt idx="23275">1</cx:pt>
          <cx:pt idx="23276">0</cx:pt>
          <cx:pt idx="23277">0</cx:pt>
          <cx:pt idx="23278">0</cx:pt>
          <cx:pt idx="23279">0</cx:pt>
          <cx:pt idx="23280">0</cx:pt>
          <cx:pt idx="23281">1</cx:pt>
          <cx:pt idx="23282">1</cx:pt>
          <cx:pt idx="23283">1</cx:pt>
          <cx:pt idx="23284">0</cx:pt>
          <cx:pt idx="23285">0</cx:pt>
          <cx:pt idx="23286">1</cx:pt>
          <cx:pt idx="23287">1</cx:pt>
          <cx:pt idx="23288">0</cx:pt>
          <cx:pt idx="23289">1</cx:pt>
          <cx:pt idx="23290">1</cx:pt>
          <cx:pt idx="23291">0</cx:pt>
          <cx:pt idx="23292">1</cx:pt>
          <cx:pt idx="23293">0</cx:pt>
          <cx:pt idx="23294">0</cx:pt>
          <cx:pt idx="23295">1</cx:pt>
          <cx:pt idx="23296">0</cx:pt>
          <cx:pt idx="23297">0</cx:pt>
          <cx:pt idx="23298">0</cx:pt>
          <cx:pt idx="23299">0</cx:pt>
          <cx:pt idx="23300">0</cx:pt>
          <cx:pt idx="23301">0</cx:pt>
          <cx:pt idx="23302">0</cx:pt>
          <cx:pt idx="23303">1</cx:pt>
          <cx:pt idx="23304">0</cx:pt>
          <cx:pt idx="23305">1</cx:pt>
          <cx:pt idx="23306">1</cx:pt>
          <cx:pt idx="23307">0</cx:pt>
          <cx:pt idx="23308">0</cx:pt>
          <cx:pt idx="23309">1</cx:pt>
          <cx:pt idx="23310">0</cx:pt>
          <cx:pt idx="23311">0</cx:pt>
          <cx:pt idx="23312">1</cx:pt>
          <cx:pt idx="23313">1</cx:pt>
          <cx:pt idx="23314">1</cx:pt>
          <cx:pt idx="23315">0</cx:pt>
          <cx:pt idx="23316">1</cx:pt>
          <cx:pt idx="23317">0</cx:pt>
          <cx:pt idx="23318">0</cx:pt>
          <cx:pt idx="23319">0</cx:pt>
          <cx:pt idx="23320">1</cx:pt>
          <cx:pt idx="23321">0</cx:pt>
          <cx:pt idx="23322">1</cx:pt>
          <cx:pt idx="23323">1</cx:pt>
          <cx:pt idx="23324">1</cx:pt>
          <cx:pt idx="23325">0</cx:pt>
          <cx:pt idx="23326">0</cx:pt>
          <cx:pt idx="23327">0</cx:pt>
          <cx:pt idx="23328">1</cx:pt>
          <cx:pt idx="23329">1</cx:pt>
          <cx:pt idx="23330">1</cx:pt>
          <cx:pt idx="23331">0</cx:pt>
          <cx:pt idx="23332">0</cx:pt>
          <cx:pt idx="23333">0</cx:pt>
          <cx:pt idx="23334">1</cx:pt>
          <cx:pt idx="23335">1</cx:pt>
          <cx:pt idx="23336">1</cx:pt>
          <cx:pt idx="23337">1</cx:pt>
          <cx:pt idx="23338">0</cx:pt>
          <cx:pt idx="23339">0</cx:pt>
          <cx:pt idx="23340">1</cx:pt>
          <cx:pt idx="23341">0</cx:pt>
          <cx:pt idx="23342">0</cx:pt>
          <cx:pt idx="23343">0</cx:pt>
          <cx:pt idx="23344">1</cx:pt>
          <cx:pt idx="23345">1</cx:pt>
          <cx:pt idx="23346">1</cx:pt>
          <cx:pt idx="23347">0</cx:pt>
          <cx:pt idx="23348">1</cx:pt>
          <cx:pt idx="23349">1</cx:pt>
          <cx:pt idx="23350">1</cx:pt>
          <cx:pt idx="23351">0</cx:pt>
          <cx:pt idx="23352">1</cx:pt>
          <cx:pt idx="23353">1</cx:pt>
          <cx:pt idx="23354">0</cx:pt>
          <cx:pt idx="23355">1</cx:pt>
          <cx:pt idx="23356">1</cx:pt>
          <cx:pt idx="23357">0</cx:pt>
          <cx:pt idx="23358">0</cx:pt>
          <cx:pt idx="23359">1</cx:pt>
          <cx:pt idx="23360">0</cx:pt>
          <cx:pt idx="23361">0</cx:pt>
          <cx:pt idx="23362">1</cx:pt>
          <cx:pt idx="23363">1</cx:pt>
          <cx:pt idx="23364">0</cx:pt>
          <cx:pt idx="23365">1</cx:pt>
          <cx:pt idx="23366">0</cx:pt>
          <cx:pt idx="23367">0</cx:pt>
          <cx:pt idx="23368">0</cx:pt>
          <cx:pt idx="23369">0</cx:pt>
          <cx:pt idx="23370">1</cx:pt>
          <cx:pt idx="23371">0</cx:pt>
          <cx:pt idx="23372">0</cx:pt>
          <cx:pt idx="23373">0</cx:pt>
          <cx:pt idx="23374">1</cx:pt>
          <cx:pt idx="23375">1</cx:pt>
          <cx:pt idx="23376">1</cx:pt>
          <cx:pt idx="23377">0</cx:pt>
          <cx:pt idx="23378">1</cx:pt>
          <cx:pt idx="23379">0</cx:pt>
          <cx:pt idx="23380">1</cx:pt>
          <cx:pt idx="23381">0</cx:pt>
          <cx:pt idx="23382">0</cx:pt>
          <cx:pt idx="23383">1</cx:pt>
          <cx:pt idx="23384">0</cx:pt>
          <cx:pt idx="23385">0</cx:pt>
          <cx:pt idx="23386">1</cx:pt>
          <cx:pt idx="23387">1</cx:pt>
          <cx:pt idx="23388">0</cx:pt>
          <cx:pt idx="23389">0</cx:pt>
          <cx:pt idx="23390">0</cx:pt>
          <cx:pt idx="23391">0</cx:pt>
          <cx:pt idx="23392">0</cx:pt>
          <cx:pt idx="23393">1</cx:pt>
          <cx:pt idx="23394">0</cx:pt>
          <cx:pt idx="23395">1</cx:pt>
          <cx:pt idx="23396">0</cx:pt>
          <cx:pt idx="23397">1</cx:pt>
          <cx:pt idx="23398">0</cx:pt>
          <cx:pt idx="23399">0</cx:pt>
          <cx:pt idx="23400">1</cx:pt>
          <cx:pt idx="23401">1</cx:pt>
          <cx:pt idx="23402">1</cx:pt>
          <cx:pt idx="23403">0</cx:pt>
          <cx:pt idx="23404">0</cx:pt>
          <cx:pt idx="23405">0</cx:pt>
          <cx:pt idx="23406">1</cx:pt>
          <cx:pt idx="23407">0</cx:pt>
          <cx:pt idx="23408">0</cx:pt>
          <cx:pt idx="23409">1</cx:pt>
          <cx:pt idx="23410">0</cx:pt>
          <cx:pt idx="23411">0</cx:pt>
          <cx:pt idx="23412">0</cx:pt>
          <cx:pt idx="23413">0</cx:pt>
          <cx:pt idx="23414">0</cx:pt>
          <cx:pt idx="23415">0</cx:pt>
          <cx:pt idx="23416">0</cx:pt>
          <cx:pt idx="23417">1</cx:pt>
          <cx:pt idx="23418">1</cx:pt>
          <cx:pt idx="23419">0</cx:pt>
          <cx:pt idx="23420">1</cx:pt>
          <cx:pt idx="23421">0</cx:pt>
          <cx:pt idx="23422">0</cx:pt>
          <cx:pt idx="23423">0</cx:pt>
          <cx:pt idx="23424">0</cx:pt>
          <cx:pt idx="23425">1</cx:pt>
          <cx:pt idx="23426">1</cx:pt>
          <cx:pt idx="23427">1</cx:pt>
          <cx:pt idx="23428">1</cx:pt>
          <cx:pt idx="23429">0</cx:pt>
          <cx:pt idx="23430">0</cx:pt>
          <cx:pt idx="23431">1</cx:pt>
          <cx:pt idx="23432">0</cx:pt>
          <cx:pt idx="23433">0</cx:pt>
          <cx:pt idx="23434">0</cx:pt>
          <cx:pt idx="23435">0</cx:pt>
          <cx:pt idx="23436">1</cx:pt>
          <cx:pt idx="23437">1</cx:pt>
          <cx:pt idx="23438">0</cx:pt>
          <cx:pt idx="23439">1</cx:pt>
          <cx:pt idx="23440">1</cx:pt>
          <cx:pt idx="23441">0</cx:pt>
          <cx:pt idx="23442">1</cx:pt>
          <cx:pt idx="23443">0</cx:pt>
          <cx:pt idx="23444">1</cx:pt>
          <cx:pt idx="23445">1</cx:pt>
          <cx:pt idx="23446">1</cx:pt>
          <cx:pt idx="23447">0</cx:pt>
          <cx:pt idx="23448">1</cx:pt>
          <cx:pt idx="23449">1</cx:pt>
          <cx:pt idx="23450">0</cx:pt>
          <cx:pt idx="23451">1</cx:pt>
          <cx:pt idx="23452">0</cx:pt>
          <cx:pt idx="23453">0</cx:pt>
          <cx:pt idx="23454">0</cx:pt>
          <cx:pt idx="23455">0</cx:pt>
          <cx:pt idx="23456">1</cx:pt>
          <cx:pt idx="23457">0</cx:pt>
          <cx:pt idx="23458">0</cx:pt>
          <cx:pt idx="23459">1</cx:pt>
          <cx:pt idx="23460">0</cx:pt>
          <cx:pt idx="23461">1</cx:pt>
          <cx:pt idx="23462">0</cx:pt>
          <cx:pt idx="23463">1</cx:pt>
          <cx:pt idx="23464">0</cx:pt>
          <cx:pt idx="23465">0</cx:pt>
          <cx:pt idx="23466">0</cx:pt>
          <cx:pt idx="23467">1</cx:pt>
          <cx:pt idx="23468">1</cx:pt>
          <cx:pt idx="23469">0</cx:pt>
          <cx:pt idx="23470">0</cx:pt>
          <cx:pt idx="23471">1</cx:pt>
          <cx:pt idx="23472">1</cx:pt>
          <cx:pt idx="23473">1</cx:pt>
          <cx:pt idx="23474">0</cx:pt>
          <cx:pt idx="23475">1</cx:pt>
          <cx:pt idx="23476">0</cx:pt>
          <cx:pt idx="23477">0</cx:pt>
          <cx:pt idx="23478">0</cx:pt>
          <cx:pt idx="23479">1</cx:pt>
          <cx:pt idx="23480">1</cx:pt>
          <cx:pt idx="23481">0</cx:pt>
          <cx:pt idx="23482">1</cx:pt>
          <cx:pt idx="23483">0</cx:pt>
          <cx:pt idx="23484">1</cx:pt>
          <cx:pt idx="23485">1</cx:pt>
          <cx:pt idx="23486">0</cx:pt>
          <cx:pt idx="23487">1</cx:pt>
          <cx:pt idx="23488">0</cx:pt>
          <cx:pt idx="23489">0</cx:pt>
          <cx:pt idx="23490">1</cx:pt>
          <cx:pt idx="23491">1</cx:pt>
          <cx:pt idx="23492">1</cx:pt>
          <cx:pt idx="23493">0</cx:pt>
          <cx:pt idx="23494">1</cx:pt>
          <cx:pt idx="23495">1</cx:pt>
          <cx:pt idx="23496">0</cx:pt>
          <cx:pt idx="23497">1</cx:pt>
          <cx:pt idx="23498">1</cx:pt>
          <cx:pt idx="23499">1</cx:pt>
          <cx:pt idx="23500">0</cx:pt>
          <cx:pt idx="23501">0</cx:pt>
          <cx:pt idx="23502">0</cx:pt>
          <cx:pt idx="23503">0</cx:pt>
          <cx:pt idx="23504">0</cx:pt>
          <cx:pt idx="23505">1</cx:pt>
          <cx:pt idx="23506">0</cx:pt>
          <cx:pt idx="23507">0</cx:pt>
          <cx:pt idx="23508">0</cx:pt>
          <cx:pt idx="23509">0</cx:pt>
          <cx:pt idx="23510">1</cx:pt>
          <cx:pt idx="23511">1</cx:pt>
          <cx:pt idx="23512">1</cx:pt>
          <cx:pt idx="23513">1</cx:pt>
          <cx:pt idx="23514">1</cx:pt>
          <cx:pt idx="23515">1</cx:pt>
          <cx:pt idx="23516">1</cx:pt>
          <cx:pt idx="23517">0</cx:pt>
          <cx:pt idx="23518">0</cx:pt>
          <cx:pt idx="23519">0</cx:pt>
          <cx:pt idx="23520">0</cx:pt>
          <cx:pt idx="23521">1</cx:pt>
          <cx:pt idx="23522">0</cx:pt>
          <cx:pt idx="23523">0</cx:pt>
          <cx:pt idx="23524">1</cx:pt>
          <cx:pt idx="23525">0</cx:pt>
          <cx:pt idx="23526">0</cx:pt>
          <cx:pt idx="23527">1</cx:pt>
          <cx:pt idx="23528">0</cx:pt>
          <cx:pt idx="23529">0</cx:pt>
          <cx:pt idx="23530">0</cx:pt>
          <cx:pt idx="23531">0</cx:pt>
          <cx:pt idx="23532">1</cx:pt>
          <cx:pt idx="23533">1</cx:pt>
          <cx:pt idx="23534">1</cx:pt>
          <cx:pt idx="23535">1</cx:pt>
          <cx:pt idx="23536">1</cx:pt>
          <cx:pt idx="23537">1</cx:pt>
          <cx:pt idx="23538">1</cx:pt>
          <cx:pt idx="23539">1</cx:pt>
          <cx:pt idx="23540">1</cx:pt>
          <cx:pt idx="23541">0</cx:pt>
          <cx:pt idx="23542">0</cx:pt>
          <cx:pt idx="23543">0</cx:pt>
          <cx:pt idx="23544">1</cx:pt>
          <cx:pt idx="23545">0</cx:pt>
          <cx:pt idx="23546">0</cx:pt>
          <cx:pt idx="23547">0</cx:pt>
          <cx:pt idx="23548">0</cx:pt>
          <cx:pt idx="23549">0</cx:pt>
          <cx:pt idx="23550">1</cx:pt>
          <cx:pt idx="23551">0</cx:pt>
          <cx:pt idx="23552">0</cx:pt>
          <cx:pt idx="23553">0</cx:pt>
          <cx:pt idx="23554">0</cx:pt>
          <cx:pt idx="23555">1</cx:pt>
          <cx:pt idx="23556">0</cx:pt>
          <cx:pt idx="23557">1</cx:pt>
          <cx:pt idx="23558">0</cx:pt>
          <cx:pt idx="23559">0</cx:pt>
          <cx:pt idx="23560">0</cx:pt>
          <cx:pt idx="23561">0</cx:pt>
          <cx:pt idx="23562">0</cx:pt>
          <cx:pt idx="23563">1</cx:pt>
          <cx:pt idx="23564">1</cx:pt>
          <cx:pt idx="23565">1</cx:pt>
          <cx:pt idx="23566">0</cx:pt>
          <cx:pt idx="23567">0</cx:pt>
          <cx:pt idx="23568">1</cx:pt>
          <cx:pt idx="23569">1</cx:pt>
          <cx:pt idx="23570">0</cx:pt>
          <cx:pt idx="23571">0</cx:pt>
          <cx:pt idx="23572">0</cx:pt>
          <cx:pt idx="23573">1</cx:pt>
          <cx:pt idx="23574">0</cx:pt>
          <cx:pt idx="23575">0</cx:pt>
          <cx:pt idx="23576">0</cx:pt>
          <cx:pt idx="23577">0</cx:pt>
          <cx:pt idx="23578">1</cx:pt>
          <cx:pt idx="23579">1</cx:pt>
          <cx:pt idx="23580">0</cx:pt>
          <cx:pt idx="23581">1</cx:pt>
          <cx:pt idx="23582">0</cx:pt>
          <cx:pt idx="23583">1</cx:pt>
          <cx:pt idx="23584">1</cx:pt>
          <cx:pt idx="23585">0</cx:pt>
          <cx:pt idx="23586">1</cx:pt>
          <cx:pt idx="23587">1</cx:pt>
          <cx:pt idx="23588">0</cx:pt>
          <cx:pt idx="23589">0</cx:pt>
          <cx:pt idx="23590">1</cx:pt>
          <cx:pt idx="23591">0</cx:pt>
          <cx:pt idx="23592">0</cx:pt>
          <cx:pt idx="23593">0</cx:pt>
          <cx:pt idx="23594">0</cx:pt>
          <cx:pt idx="23595">1</cx:pt>
          <cx:pt idx="23596">1</cx:pt>
          <cx:pt idx="23597">1</cx:pt>
          <cx:pt idx="23598">1</cx:pt>
          <cx:pt idx="23599">1</cx:pt>
          <cx:pt idx="23600">0</cx:pt>
          <cx:pt idx="23601">1</cx:pt>
          <cx:pt idx="23602">0</cx:pt>
          <cx:pt idx="23603">0</cx:pt>
          <cx:pt idx="23604">0</cx:pt>
          <cx:pt idx="23605">1</cx:pt>
          <cx:pt idx="23606">1</cx:pt>
          <cx:pt idx="23607">1</cx:pt>
          <cx:pt idx="23608">0</cx:pt>
          <cx:pt idx="23609">1</cx:pt>
          <cx:pt idx="23610">1</cx:pt>
          <cx:pt idx="23611">0</cx:pt>
          <cx:pt idx="23612">0</cx:pt>
          <cx:pt idx="23613">1</cx:pt>
          <cx:pt idx="23614">1</cx:pt>
          <cx:pt idx="23615">1</cx:pt>
          <cx:pt idx="23616">0</cx:pt>
          <cx:pt idx="23617">0</cx:pt>
          <cx:pt idx="23618">0</cx:pt>
          <cx:pt idx="23619">1</cx:pt>
          <cx:pt idx="23620">1</cx:pt>
          <cx:pt idx="23621">1</cx:pt>
          <cx:pt idx="23622">0</cx:pt>
          <cx:pt idx="23623">0</cx:pt>
          <cx:pt idx="23624">1</cx:pt>
          <cx:pt idx="23625">0</cx:pt>
          <cx:pt idx="23626">0</cx:pt>
          <cx:pt idx="23627">1</cx:pt>
          <cx:pt idx="23628">0</cx:pt>
          <cx:pt idx="23629">1</cx:pt>
          <cx:pt idx="23630">1</cx:pt>
          <cx:pt idx="23631">1</cx:pt>
          <cx:pt idx="23632">0</cx:pt>
          <cx:pt idx="23633">0</cx:pt>
          <cx:pt idx="23634">1</cx:pt>
          <cx:pt idx="23635">0</cx:pt>
          <cx:pt idx="23636">0</cx:pt>
          <cx:pt idx="23637">0</cx:pt>
          <cx:pt idx="23638">0</cx:pt>
          <cx:pt idx="23639">1</cx:pt>
          <cx:pt idx="23640">0</cx:pt>
          <cx:pt idx="23641">1</cx:pt>
          <cx:pt idx="23642">0</cx:pt>
          <cx:pt idx="23643">0</cx:pt>
          <cx:pt idx="23644">0</cx:pt>
          <cx:pt idx="23645">1</cx:pt>
          <cx:pt idx="23646">1</cx:pt>
          <cx:pt idx="23647">1</cx:pt>
          <cx:pt idx="23648">1</cx:pt>
          <cx:pt idx="23649">1</cx:pt>
          <cx:pt idx="23650">1</cx:pt>
          <cx:pt idx="23651">1</cx:pt>
          <cx:pt idx="23652">1</cx:pt>
          <cx:pt idx="23653">0</cx:pt>
          <cx:pt idx="23654">0</cx:pt>
          <cx:pt idx="23655">1</cx:pt>
          <cx:pt idx="23656">1</cx:pt>
          <cx:pt idx="23657">0</cx:pt>
          <cx:pt idx="23658">0</cx:pt>
          <cx:pt idx="23659">1</cx:pt>
          <cx:pt idx="23660">0</cx:pt>
          <cx:pt idx="23661">1</cx:pt>
          <cx:pt idx="23662">0</cx:pt>
          <cx:pt idx="23663">0</cx:pt>
          <cx:pt idx="23664">1</cx:pt>
          <cx:pt idx="23665">1</cx:pt>
          <cx:pt idx="23666">0</cx:pt>
          <cx:pt idx="23667">0</cx:pt>
          <cx:pt idx="23668">0</cx:pt>
          <cx:pt idx="23669">1</cx:pt>
          <cx:pt idx="23670">1</cx:pt>
          <cx:pt idx="23671">1</cx:pt>
          <cx:pt idx="23672">0</cx:pt>
          <cx:pt idx="23673">1</cx:pt>
          <cx:pt idx="23674">0</cx:pt>
          <cx:pt idx="23675">1</cx:pt>
          <cx:pt idx="23676">1</cx:pt>
          <cx:pt idx="23677">0</cx:pt>
          <cx:pt idx="23678">1</cx:pt>
          <cx:pt idx="23679">0</cx:pt>
          <cx:pt idx="23680">0</cx:pt>
          <cx:pt idx="23681">0</cx:pt>
          <cx:pt idx="23682">0</cx:pt>
          <cx:pt idx="23683">1</cx:pt>
          <cx:pt idx="23684">1</cx:pt>
          <cx:pt idx="23685">1</cx:pt>
          <cx:pt idx="23686">0</cx:pt>
          <cx:pt idx="23687">0</cx:pt>
          <cx:pt idx="23688">0</cx:pt>
          <cx:pt idx="23689">1</cx:pt>
          <cx:pt idx="23690">1</cx:pt>
          <cx:pt idx="23691">1</cx:pt>
          <cx:pt idx="23692">0</cx:pt>
          <cx:pt idx="23693">0</cx:pt>
          <cx:pt idx="23694">0</cx:pt>
          <cx:pt idx="23695">0</cx:pt>
          <cx:pt idx="23696">1</cx:pt>
          <cx:pt idx="23697">0</cx:pt>
          <cx:pt idx="23698">1</cx:pt>
          <cx:pt idx="23699">0</cx:pt>
          <cx:pt idx="23700">1</cx:pt>
          <cx:pt idx="23701">1</cx:pt>
          <cx:pt idx="23702">0</cx:pt>
          <cx:pt idx="23703">1</cx:pt>
          <cx:pt idx="23704">0</cx:pt>
          <cx:pt idx="23705">0</cx:pt>
          <cx:pt idx="23706">0</cx:pt>
          <cx:pt idx="23707">1</cx:pt>
          <cx:pt idx="23708">0</cx:pt>
          <cx:pt idx="23709">1</cx:pt>
          <cx:pt idx="23710">1</cx:pt>
          <cx:pt idx="23711">1</cx:pt>
          <cx:pt idx="23712">0</cx:pt>
          <cx:pt idx="23713">1</cx:pt>
          <cx:pt idx="23714">0</cx:pt>
          <cx:pt idx="23715">0</cx:pt>
          <cx:pt idx="23716">1</cx:pt>
          <cx:pt idx="23717">1</cx:pt>
          <cx:pt idx="23718">1</cx:pt>
          <cx:pt idx="23719">1</cx:pt>
          <cx:pt idx="23720">1</cx:pt>
          <cx:pt idx="23721">1</cx:pt>
          <cx:pt idx="23722">1</cx:pt>
          <cx:pt idx="23723">1</cx:pt>
          <cx:pt idx="23724">1</cx:pt>
          <cx:pt idx="23725">0</cx:pt>
          <cx:pt idx="23726">1</cx:pt>
          <cx:pt idx="23727">0</cx:pt>
          <cx:pt idx="23728">0</cx:pt>
          <cx:pt idx="23729">1</cx:pt>
          <cx:pt idx="23730">0</cx:pt>
          <cx:pt idx="23731">0</cx:pt>
          <cx:pt idx="23732">0</cx:pt>
          <cx:pt idx="23733">1</cx:pt>
          <cx:pt idx="23734">0</cx:pt>
          <cx:pt idx="23735">1</cx:pt>
          <cx:pt idx="23736">0</cx:pt>
          <cx:pt idx="23737">0</cx:pt>
          <cx:pt idx="23738">1</cx:pt>
          <cx:pt idx="23739">0</cx:pt>
          <cx:pt idx="23740">0</cx:pt>
          <cx:pt idx="23741">1</cx:pt>
          <cx:pt idx="23742">1</cx:pt>
          <cx:pt idx="23743">1</cx:pt>
          <cx:pt idx="23744">1</cx:pt>
          <cx:pt idx="23745">0</cx:pt>
          <cx:pt idx="23746">1</cx:pt>
          <cx:pt idx="23747">0</cx:pt>
          <cx:pt idx="23748">0</cx:pt>
          <cx:pt idx="23749">0</cx:pt>
          <cx:pt idx="23750">1</cx:pt>
          <cx:pt idx="23751">1</cx:pt>
          <cx:pt idx="23752">1</cx:pt>
          <cx:pt idx="23753">1</cx:pt>
          <cx:pt idx="23754">1</cx:pt>
          <cx:pt idx="23755">0</cx:pt>
          <cx:pt idx="23756">1</cx:pt>
          <cx:pt idx="23757">1</cx:pt>
          <cx:pt idx="23758">1</cx:pt>
          <cx:pt idx="23759">1</cx:pt>
          <cx:pt idx="23760">0</cx:pt>
          <cx:pt idx="23761">0</cx:pt>
          <cx:pt idx="23762">0</cx:pt>
          <cx:pt idx="23763">0</cx:pt>
          <cx:pt idx="23764">1</cx:pt>
          <cx:pt idx="23765">1</cx:pt>
          <cx:pt idx="23766">1</cx:pt>
          <cx:pt idx="23767">0</cx:pt>
          <cx:pt idx="23768">1</cx:pt>
          <cx:pt idx="23769">1</cx:pt>
          <cx:pt idx="23770">0</cx:pt>
          <cx:pt idx="23771">1</cx:pt>
          <cx:pt idx="23772">0</cx:pt>
          <cx:pt idx="23773">0</cx:pt>
          <cx:pt idx="23774">1</cx:pt>
          <cx:pt idx="23775">0</cx:pt>
          <cx:pt idx="23776">1</cx:pt>
          <cx:pt idx="23777">0</cx:pt>
          <cx:pt idx="23778">0</cx:pt>
          <cx:pt idx="23779">0</cx:pt>
          <cx:pt idx="23780">1</cx:pt>
          <cx:pt idx="23781">0</cx:pt>
          <cx:pt idx="23782">1</cx:pt>
          <cx:pt idx="23783">0</cx:pt>
          <cx:pt idx="23784">1</cx:pt>
          <cx:pt idx="23785">1</cx:pt>
          <cx:pt idx="23786">1</cx:pt>
          <cx:pt idx="23787">1</cx:pt>
          <cx:pt idx="23788">0</cx:pt>
          <cx:pt idx="23789">0</cx:pt>
          <cx:pt idx="23790">1</cx:pt>
          <cx:pt idx="23791">1</cx:pt>
          <cx:pt idx="23792">0</cx:pt>
          <cx:pt idx="23793">0</cx:pt>
          <cx:pt idx="23794">0</cx:pt>
          <cx:pt idx="23795">1</cx:pt>
          <cx:pt idx="23796">0</cx:pt>
          <cx:pt idx="23797">1</cx:pt>
          <cx:pt idx="23798">1</cx:pt>
          <cx:pt idx="23799">1</cx:pt>
          <cx:pt idx="23800">0</cx:pt>
          <cx:pt idx="23801">1</cx:pt>
          <cx:pt idx="23802">1</cx:pt>
          <cx:pt idx="23803">1</cx:pt>
          <cx:pt idx="23804">0</cx:pt>
          <cx:pt idx="23805">0</cx:pt>
          <cx:pt idx="23806">0</cx:pt>
          <cx:pt idx="23807">0</cx:pt>
          <cx:pt idx="23808">0</cx:pt>
          <cx:pt idx="23809">0</cx:pt>
          <cx:pt idx="23810">0</cx:pt>
          <cx:pt idx="23811">0</cx:pt>
          <cx:pt idx="23812">1</cx:pt>
          <cx:pt idx="23813">1</cx:pt>
          <cx:pt idx="23814">1</cx:pt>
          <cx:pt idx="23815">0</cx:pt>
          <cx:pt idx="23816">0</cx:pt>
          <cx:pt idx="23817">0</cx:pt>
          <cx:pt idx="23818">0</cx:pt>
          <cx:pt idx="23819">1</cx:pt>
          <cx:pt idx="23820">1</cx:pt>
          <cx:pt idx="23821">0</cx:pt>
          <cx:pt idx="23822">0</cx:pt>
          <cx:pt idx="23823">0</cx:pt>
          <cx:pt idx="23824">0</cx:pt>
          <cx:pt idx="23825">1</cx:pt>
          <cx:pt idx="23826">1</cx:pt>
          <cx:pt idx="23827">0</cx:pt>
          <cx:pt idx="23828">1</cx:pt>
          <cx:pt idx="23829">0</cx:pt>
          <cx:pt idx="23830">0</cx:pt>
          <cx:pt idx="23831">1</cx:pt>
          <cx:pt idx="23832">1</cx:pt>
          <cx:pt idx="23833">0</cx:pt>
          <cx:pt idx="23834">0</cx:pt>
          <cx:pt idx="23835">1</cx:pt>
          <cx:pt idx="23836">1</cx:pt>
          <cx:pt idx="23837">1</cx:pt>
          <cx:pt idx="23838">0</cx:pt>
          <cx:pt idx="23839">1</cx:pt>
          <cx:pt idx="23840">0</cx:pt>
          <cx:pt idx="23841">1</cx:pt>
          <cx:pt idx="23842">1</cx:pt>
          <cx:pt idx="23843">1</cx:pt>
          <cx:pt idx="23844">0</cx:pt>
          <cx:pt idx="23845">1</cx:pt>
          <cx:pt idx="23846">1</cx:pt>
          <cx:pt idx="23847">0</cx:pt>
          <cx:pt idx="23848">1</cx:pt>
          <cx:pt idx="23849">1</cx:pt>
          <cx:pt idx="23850">1</cx:pt>
          <cx:pt idx="23851">0</cx:pt>
          <cx:pt idx="23852">0</cx:pt>
          <cx:pt idx="23853">1</cx:pt>
          <cx:pt idx="23854">0</cx:pt>
          <cx:pt idx="23855">1</cx:pt>
          <cx:pt idx="23856">1</cx:pt>
          <cx:pt idx="23857">1</cx:pt>
          <cx:pt idx="23858">0</cx:pt>
          <cx:pt idx="23859">0</cx:pt>
          <cx:pt idx="23860">0</cx:pt>
          <cx:pt idx="23861">0</cx:pt>
          <cx:pt idx="23862">0</cx:pt>
          <cx:pt idx="23863">1</cx:pt>
          <cx:pt idx="23864">1</cx:pt>
          <cx:pt idx="23865">0</cx:pt>
          <cx:pt idx="23866">0</cx:pt>
          <cx:pt idx="23867">0</cx:pt>
          <cx:pt idx="23868">1</cx:pt>
          <cx:pt idx="23869">1</cx:pt>
          <cx:pt idx="23870">1</cx:pt>
          <cx:pt idx="23871">1</cx:pt>
          <cx:pt idx="23872">1</cx:pt>
          <cx:pt idx="23873">1</cx:pt>
          <cx:pt idx="23874">0</cx:pt>
          <cx:pt idx="23875">0</cx:pt>
          <cx:pt idx="23876">1</cx:pt>
          <cx:pt idx="23877">0</cx:pt>
          <cx:pt idx="23878">0</cx:pt>
          <cx:pt idx="23879">0</cx:pt>
          <cx:pt idx="23880">1</cx:pt>
          <cx:pt idx="23881">0</cx:pt>
          <cx:pt idx="23882">1</cx:pt>
          <cx:pt idx="23883">0</cx:pt>
          <cx:pt idx="23884">0</cx:pt>
          <cx:pt idx="23885">1</cx:pt>
          <cx:pt idx="23886">0</cx:pt>
          <cx:pt idx="23887">1</cx:pt>
          <cx:pt idx="23888">0</cx:pt>
          <cx:pt idx="23889">1</cx:pt>
          <cx:pt idx="23890">1</cx:pt>
          <cx:pt idx="23891">1</cx:pt>
          <cx:pt idx="23892">1</cx:pt>
          <cx:pt idx="23893">1</cx:pt>
          <cx:pt idx="23894">0</cx:pt>
          <cx:pt idx="23895">0</cx:pt>
          <cx:pt idx="23896">1</cx:pt>
          <cx:pt idx="23897">1</cx:pt>
          <cx:pt idx="23898">0</cx:pt>
          <cx:pt idx="23899">0</cx:pt>
          <cx:pt idx="23900">0</cx:pt>
          <cx:pt idx="23901">0</cx:pt>
          <cx:pt idx="23902">1</cx:pt>
          <cx:pt idx="23903">0</cx:pt>
          <cx:pt idx="23904">0</cx:pt>
          <cx:pt idx="23905">1</cx:pt>
          <cx:pt idx="23906">1</cx:pt>
          <cx:pt idx="23907">0</cx:pt>
          <cx:pt idx="23908">1</cx:pt>
          <cx:pt idx="23909">0</cx:pt>
          <cx:pt idx="23910">1</cx:pt>
          <cx:pt idx="23911">0</cx:pt>
          <cx:pt idx="23912">0</cx:pt>
          <cx:pt idx="23913">1</cx:pt>
          <cx:pt idx="23914">1</cx:pt>
          <cx:pt idx="23915">0</cx:pt>
          <cx:pt idx="23916">0</cx:pt>
          <cx:pt idx="23917">0</cx:pt>
          <cx:pt idx="23918">0</cx:pt>
          <cx:pt idx="23919">1</cx:pt>
          <cx:pt idx="23920">1</cx:pt>
          <cx:pt idx="23921">0</cx:pt>
          <cx:pt idx="23922">0</cx:pt>
          <cx:pt idx="23923">0</cx:pt>
          <cx:pt idx="23924">0</cx:pt>
          <cx:pt idx="23925">1</cx:pt>
          <cx:pt idx="23926">1</cx:pt>
          <cx:pt idx="23927">1</cx:pt>
          <cx:pt idx="23928">0</cx:pt>
          <cx:pt idx="23929">1</cx:pt>
          <cx:pt idx="23930">1</cx:pt>
          <cx:pt idx="23931">1</cx:pt>
          <cx:pt idx="23932">0</cx:pt>
          <cx:pt idx="23933">0</cx:pt>
          <cx:pt idx="23934">1</cx:pt>
          <cx:pt idx="23935">0</cx:pt>
          <cx:pt idx="23936">1</cx:pt>
          <cx:pt idx="23937">0</cx:pt>
          <cx:pt idx="23938">0</cx:pt>
          <cx:pt idx="23939">0</cx:pt>
          <cx:pt idx="23940">0</cx:pt>
          <cx:pt idx="23941">0</cx:pt>
          <cx:pt idx="23942">1</cx:pt>
          <cx:pt idx="23943">0</cx:pt>
          <cx:pt idx="23944">1</cx:pt>
          <cx:pt idx="23945">0</cx:pt>
          <cx:pt idx="23946">1</cx:pt>
          <cx:pt idx="23947">0</cx:pt>
          <cx:pt idx="23948">1</cx:pt>
          <cx:pt idx="23949">0</cx:pt>
          <cx:pt idx="23950">1</cx:pt>
          <cx:pt idx="23951">1</cx:pt>
          <cx:pt idx="23952">0</cx:pt>
          <cx:pt idx="23953">0</cx:pt>
          <cx:pt idx="23954">0</cx:pt>
          <cx:pt idx="23955">1</cx:pt>
          <cx:pt idx="23956">0</cx:pt>
          <cx:pt idx="23957">0</cx:pt>
          <cx:pt idx="23958">0</cx:pt>
          <cx:pt idx="23959">0</cx:pt>
          <cx:pt idx="23960">0</cx:pt>
          <cx:pt idx="23961">0</cx:pt>
          <cx:pt idx="23962">0</cx:pt>
          <cx:pt idx="23963">1</cx:pt>
          <cx:pt idx="23964">0</cx:pt>
          <cx:pt idx="23965">0</cx:pt>
          <cx:pt idx="23966">0</cx:pt>
          <cx:pt idx="23967">0</cx:pt>
          <cx:pt idx="23968">1</cx:pt>
          <cx:pt idx="23969">1</cx:pt>
          <cx:pt idx="23970">1</cx:pt>
          <cx:pt idx="23971">0</cx:pt>
          <cx:pt idx="23972">1</cx:pt>
          <cx:pt idx="23973">1</cx:pt>
          <cx:pt idx="23974">1</cx:pt>
          <cx:pt idx="23975">0</cx:pt>
          <cx:pt idx="23976">0</cx:pt>
          <cx:pt idx="23977">1</cx:pt>
          <cx:pt idx="23978">0</cx:pt>
          <cx:pt idx="23979">0</cx:pt>
          <cx:pt idx="23980">1</cx:pt>
          <cx:pt idx="23981">0</cx:pt>
          <cx:pt idx="23982">1</cx:pt>
          <cx:pt idx="23983">1</cx:pt>
          <cx:pt idx="23984">1</cx:pt>
          <cx:pt idx="23985">0</cx:pt>
          <cx:pt idx="23986">0</cx:pt>
          <cx:pt idx="23987">1</cx:pt>
          <cx:pt idx="23988">0</cx:pt>
          <cx:pt idx="23989">0</cx:pt>
          <cx:pt idx="23990">1</cx:pt>
          <cx:pt idx="23991">0</cx:pt>
          <cx:pt idx="23992">1</cx:pt>
          <cx:pt idx="23993">0</cx:pt>
          <cx:pt idx="23994">1</cx:pt>
          <cx:pt idx="23995">1</cx:pt>
          <cx:pt idx="23996">1</cx:pt>
          <cx:pt idx="23997">0</cx:pt>
          <cx:pt idx="23998">0</cx:pt>
          <cx:pt idx="23999">0</cx:pt>
          <cx:pt idx="24000">0</cx:pt>
          <cx:pt idx="24001">0</cx:pt>
          <cx:pt idx="24002">1</cx:pt>
          <cx:pt idx="24003">1</cx:pt>
          <cx:pt idx="24004">1</cx:pt>
          <cx:pt idx="24005">0</cx:pt>
          <cx:pt idx="24006">1</cx:pt>
          <cx:pt idx="24007">0</cx:pt>
          <cx:pt idx="24008">0</cx:pt>
          <cx:pt idx="24009">1</cx:pt>
          <cx:pt idx="24010">0</cx:pt>
          <cx:pt idx="24011">0</cx:pt>
          <cx:pt idx="24012">0</cx:pt>
          <cx:pt idx="24013">0</cx:pt>
          <cx:pt idx="24014">1</cx:pt>
          <cx:pt idx="24015">0</cx:pt>
          <cx:pt idx="24016">1</cx:pt>
          <cx:pt idx="24017">1</cx:pt>
          <cx:pt idx="24018">0</cx:pt>
          <cx:pt idx="24019">0</cx:pt>
          <cx:pt idx="24020">0</cx:pt>
          <cx:pt idx="24021">0</cx:pt>
          <cx:pt idx="24022">1</cx:pt>
          <cx:pt idx="24023">0</cx:pt>
          <cx:pt idx="24024">1</cx:pt>
          <cx:pt idx="24025">1</cx:pt>
          <cx:pt idx="24026">0</cx:pt>
          <cx:pt idx="24027">0</cx:pt>
          <cx:pt idx="24028">0</cx:pt>
          <cx:pt idx="24029">0</cx:pt>
          <cx:pt idx="24030">0</cx:pt>
          <cx:pt idx="24031">0</cx:pt>
          <cx:pt idx="24032">1</cx:pt>
          <cx:pt idx="24033">0</cx:pt>
          <cx:pt idx="24034">1</cx:pt>
          <cx:pt idx="24035">0</cx:pt>
          <cx:pt idx="24036">1</cx:pt>
          <cx:pt idx="24037">0</cx:pt>
          <cx:pt idx="24038">1</cx:pt>
          <cx:pt idx="24039">0</cx:pt>
          <cx:pt idx="24040">0</cx:pt>
          <cx:pt idx="24041">0</cx:pt>
          <cx:pt idx="24042">0</cx:pt>
          <cx:pt idx="24043">1</cx:pt>
          <cx:pt idx="24044">0</cx:pt>
          <cx:pt idx="24045">1</cx:pt>
          <cx:pt idx="24046">1</cx:pt>
          <cx:pt idx="24047">1</cx:pt>
          <cx:pt idx="24048">1</cx:pt>
          <cx:pt idx="24049">0</cx:pt>
          <cx:pt idx="24050">0</cx:pt>
          <cx:pt idx="24051">1</cx:pt>
          <cx:pt idx="24052">1</cx:pt>
          <cx:pt idx="24053">1</cx:pt>
          <cx:pt idx="24054">1</cx:pt>
          <cx:pt idx="24055">1</cx:pt>
          <cx:pt idx="24056">0</cx:pt>
          <cx:pt idx="24057">1</cx:pt>
          <cx:pt idx="24058">0</cx:pt>
          <cx:pt idx="24059">0</cx:pt>
          <cx:pt idx="24060">0</cx:pt>
          <cx:pt idx="24061">1</cx:pt>
          <cx:pt idx="24062">1</cx:pt>
          <cx:pt idx="24063">1</cx:pt>
          <cx:pt idx="24064">0</cx:pt>
          <cx:pt idx="24065">1</cx:pt>
          <cx:pt idx="24066">1</cx:pt>
          <cx:pt idx="24067">0</cx:pt>
          <cx:pt idx="24068">1</cx:pt>
          <cx:pt idx="24069">1</cx:pt>
          <cx:pt idx="24070">0</cx:pt>
          <cx:pt idx="24071">0</cx:pt>
          <cx:pt idx="24072">1</cx:pt>
          <cx:pt idx="24073">0</cx:pt>
          <cx:pt idx="24074">1</cx:pt>
          <cx:pt idx="24075">0</cx:pt>
          <cx:pt idx="24076">0</cx:pt>
          <cx:pt idx="24077">0</cx:pt>
          <cx:pt idx="24078">0</cx:pt>
          <cx:pt idx="24079">0</cx:pt>
          <cx:pt idx="24080">0</cx:pt>
          <cx:pt idx="24081">0</cx:pt>
          <cx:pt idx="24082">0</cx:pt>
          <cx:pt idx="24083">0</cx:pt>
          <cx:pt idx="24084">1</cx:pt>
          <cx:pt idx="24085">0</cx:pt>
          <cx:pt idx="24086">0</cx:pt>
          <cx:pt idx="24087">1</cx:pt>
          <cx:pt idx="24088">0</cx:pt>
          <cx:pt idx="24089">0</cx:pt>
          <cx:pt idx="24090">0</cx:pt>
          <cx:pt idx="24091">1</cx:pt>
          <cx:pt idx="24092">0</cx:pt>
          <cx:pt idx="24093">1</cx:pt>
          <cx:pt idx="24094">1</cx:pt>
          <cx:pt idx="24095">0</cx:pt>
          <cx:pt idx="24096">0</cx:pt>
          <cx:pt idx="24097">1</cx:pt>
          <cx:pt idx="24098">1</cx:pt>
          <cx:pt idx="24099">1</cx:pt>
          <cx:pt idx="24100">0</cx:pt>
          <cx:pt idx="24101">1</cx:pt>
          <cx:pt idx="24102">0</cx:pt>
          <cx:pt idx="24103">0</cx:pt>
          <cx:pt idx="24104">1</cx:pt>
          <cx:pt idx="24105">0</cx:pt>
          <cx:pt idx="24106">1</cx:pt>
          <cx:pt idx="24107">0</cx:pt>
          <cx:pt idx="24108">1</cx:pt>
          <cx:pt idx="24109">0</cx:pt>
          <cx:pt idx="24110">0</cx:pt>
          <cx:pt idx="24111">1</cx:pt>
          <cx:pt idx="24112">0</cx:pt>
          <cx:pt idx="24113">0</cx:pt>
          <cx:pt idx="24114">1</cx:pt>
          <cx:pt idx="24115">0</cx:pt>
          <cx:pt idx="24116">0</cx:pt>
          <cx:pt idx="24117">0</cx:pt>
          <cx:pt idx="24118">1</cx:pt>
          <cx:pt idx="24119">1</cx:pt>
          <cx:pt idx="24120">0</cx:pt>
          <cx:pt idx="24121">0</cx:pt>
          <cx:pt idx="24122">1</cx:pt>
          <cx:pt idx="24123">0</cx:pt>
          <cx:pt idx="24124">1</cx:pt>
          <cx:pt idx="24125">1</cx:pt>
          <cx:pt idx="24126">0</cx:pt>
          <cx:pt idx="24127">1</cx:pt>
          <cx:pt idx="24128">1</cx:pt>
          <cx:pt idx="24129">0</cx:pt>
          <cx:pt idx="24130">1</cx:pt>
          <cx:pt idx="24131">0</cx:pt>
          <cx:pt idx="24132">1</cx:pt>
          <cx:pt idx="24133">0</cx:pt>
          <cx:pt idx="24134">0</cx:pt>
          <cx:pt idx="24135">0</cx:pt>
          <cx:pt idx="24136">1</cx:pt>
          <cx:pt idx="24137">0</cx:pt>
          <cx:pt idx="24138">1</cx:pt>
          <cx:pt idx="24139">0</cx:pt>
          <cx:pt idx="24140">0</cx:pt>
          <cx:pt idx="24141">1</cx:pt>
          <cx:pt idx="24142">1</cx:pt>
          <cx:pt idx="24143">0</cx:pt>
          <cx:pt idx="24144">0</cx:pt>
          <cx:pt idx="24145">0</cx:pt>
          <cx:pt idx="24146">1</cx:pt>
          <cx:pt idx="24147">1</cx:pt>
          <cx:pt idx="24148">1</cx:pt>
          <cx:pt idx="24149">0</cx:pt>
          <cx:pt idx="24150">0</cx:pt>
          <cx:pt idx="24151">0</cx:pt>
          <cx:pt idx="24152">1</cx:pt>
          <cx:pt idx="24153">0</cx:pt>
          <cx:pt idx="24154">1</cx:pt>
          <cx:pt idx="24155">1</cx:pt>
          <cx:pt idx="24156">0</cx:pt>
          <cx:pt idx="24157">0</cx:pt>
          <cx:pt idx="24158">0</cx:pt>
          <cx:pt idx="24159">1</cx:pt>
          <cx:pt idx="24160">1</cx:pt>
          <cx:pt idx="24161">1</cx:pt>
          <cx:pt idx="24162">0</cx:pt>
          <cx:pt idx="24163">0</cx:pt>
          <cx:pt idx="24164">0</cx:pt>
          <cx:pt idx="24165">0</cx:pt>
          <cx:pt idx="24166">0</cx:pt>
          <cx:pt idx="24167">0</cx:pt>
          <cx:pt idx="24168">0</cx:pt>
          <cx:pt idx="24169">1</cx:pt>
          <cx:pt idx="24170">0</cx:pt>
          <cx:pt idx="24171">0</cx:pt>
          <cx:pt idx="24172">0</cx:pt>
          <cx:pt idx="24173">1</cx:pt>
          <cx:pt idx="24174">0</cx:pt>
          <cx:pt idx="24175">0</cx:pt>
          <cx:pt idx="24176">1</cx:pt>
          <cx:pt idx="24177">0</cx:pt>
          <cx:pt idx="24178">1</cx:pt>
          <cx:pt idx="24179">0</cx:pt>
          <cx:pt idx="24180">1</cx:pt>
          <cx:pt idx="24181">1</cx:pt>
          <cx:pt idx="24182">0</cx:pt>
          <cx:pt idx="24183">0</cx:pt>
          <cx:pt idx="24184">1</cx:pt>
          <cx:pt idx="24185">1</cx:pt>
          <cx:pt idx="24186">0</cx:pt>
          <cx:pt idx="24187">1</cx:pt>
          <cx:pt idx="24188">1</cx:pt>
          <cx:pt idx="24189">0</cx:pt>
          <cx:pt idx="24190">1</cx:pt>
          <cx:pt idx="24191">1</cx:pt>
          <cx:pt idx="24192">1</cx:pt>
          <cx:pt idx="24193">0</cx:pt>
          <cx:pt idx="24194">1</cx:pt>
          <cx:pt idx="24195">0</cx:pt>
          <cx:pt idx="24196">0</cx:pt>
          <cx:pt idx="24197">0</cx:pt>
          <cx:pt idx="24198">0</cx:pt>
          <cx:pt idx="24199">0</cx:pt>
          <cx:pt idx="24200">0</cx:pt>
          <cx:pt idx="24201">1</cx:pt>
          <cx:pt idx="24202">1</cx:pt>
          <cx:pt idx="24203">0</cx:pt>
          <cx:pt idx="24204">0</cx:pt>
          <cx:pt idx="24205">0</cx:pt>
          <cx:pt idx="24206">1</cx:pt>
          <cx:pt idx="24207">1</cx:pt>
          <cx:pt idx="24208">1</cx:pt>
          <cx:pt idx="24209">0</cx:pt>
          <cx:pt idx="24210">0</cx:pt>
          <cx:pt idx="24211">1</cx:pt>
          <cx:pt idx="24212">1</cx:pt>
          <cx:pt idx="24213">0</cx:pt>
          <cx:pt idx="24214">1</cx:pt>
          <cx:pt idx="24215">0</cx:pt>
          <cx:pt idx="24216">1</cx:pt>
          <cx:pt idx="24217">0</cx:pt>
          <cx:pt idx="24218">0</cx:pt>
          <cx:pt idx="24219">0</cx:pt>
          <cx:pt idx="24220">1</cx:pt>
          <cx:pt idx="24221">1</cx:pt>
          <cx:pt idx="24222">0</cx:pt>
          <cx:pt idx="24223">0</cx:pt>
          <cx:pt idx="24224">1</cx:pt>
          <cx:pt idx="24225">0</cx:pt>
          <cx:pt idx="24226">0</cx:pt>
          <cx:pt idx="24227">1</cx:pt>
          <cx:pt idx="24228">0</cx:pt>
          <cx:pt idx="24229">0</cx:pt>
          <cx:pt idx="24230">0</cx:pt>
          <cx:pt idx="24231">1</cx:pt>
          <cx:pt idx="24232">0</cx:pt>
          <cx:pt idx="24233">1</cx:pt>
          <cx:pt idx="24234">1</cx:pt>
          <cx:pt idx="24235">1</cx:pt>
          <cx:pt idx="24236">1</cx:pt>
          <cx:pt idx="24237">0</cx:pt>
          <cx:pt idx="24238">0</cx:pt>
          <cx:pt idx="24239">0</cx:pt>
          <cx:pt idx="24240">1</cx:pt>
          <cx:pt idx="24241">0</cx:pt>
          <cx:pt idx="24242">0</cx:pt>
          <cx:pt idx="24243">0</cx:pt>
          <cx:pt idx="24244">1</cx:pt>
          <cx:pt idx="24245">0</cx:pt>
          <cx:pt idx="24246">0</cx:pt>
          <cx:pt idx="24247">0</cx:pt>
          <cx:pt idx="24248">0</cx:pt>
          <cx:pt idx="24249">0</cx:pt>
          <cx:pt idx="24250">0</cx:pt>
          <cx:pt idx="24251">0</cx:pt>
          <cx:pt idx="24252">1</cx:pt>
          <cx:pt idx="24253">1</cx:pt>
          <cx:pt idx="24254">1</cx:pt>
          <cx:pt idx="24255">0</cx:pt>
          <cx:pt idx="24256">1</cx:pt>
          <cx:pt idx="24257">0</cx:pt>
          <cx:pt idx="24258">1</cx:pt>
          <cx:pt idx="24259">0</cx:pt>
          <cx:pt idx="24260">0</cx:pt>
          <cx:pt idx="24261">1</cx:pt>
          <cx:pt idx="24262">1</cx:pt>
          <cx:pt idx="24263">1</cx:pt>
          <cx:pt idx="24264">0</cx:pt>
          <cx:pt idx="24265">1</cx:pt>
          <cx:pt idx="24266">1</cx:pt>
          <cx:pt idx="24267">0</cx:pt>
          <cx:pt idx="24268">0</cx:pt>
          <cx:pt idx="24269">0</cx:pt>
          <cx:pt idx="24270">1</cx:pt>
          <cx:pt idx="24271">0</cx:pt>
          <cx:pt idx="24272">0</cx:pt>
          <cx:pt idx="24273">1</cx:pt>
          <cx:pt idx="24274">0</cx:pt>
          <cx:pt idx="24275">1</cx:pt>
          <cx:pt idx="24276">0</cx:pt>
          <cx:pt idx="24277">0</cx:pt>
          <cx:pt idx="24278">1</cx:pt>
          <cx:pt idx="24279">0</cx:pt>
          <cx:pt idx="24280">1</cx:pt>
          <cx:pt idx="24281">0</cx:pt>
          <cx:pt idx="24282">0</cx:pt>
          <cx:pt idx="24283">1</cx:pt>
          <cx:pt idx="24284">0</cx:pt>
          <cx:pt idx="24285">0</cx:pt>
          <cx:pt idx="24286">1</cx:pt>
          <cx:pt idx="24287">1</cx:pt>
          <cx:pt idx="24288">0</cx:pt>
          <cx:pt idx="24289">0</cx:pt>
          <cx:pt idx="24290">0</cx:pt>
          <cx:pt idx="24291">1</cx:pt>
          <cx:pt idx="24292">1</cx:pt>
          <cx:pt idx="24293">1</cx:pt>
          <cx:pt idx="24294">1</cx:pt>
          <cx:pt idx="24295">0</cx:pt>
          <cx:pt idx="24296">0</cx:pt>
          <cx:pt idx="24297">0</cx:pt>
          <cx:pt idx="24298">0</cx:pt>
          <cx:pt idx="24299">0</cx:pt>
          <cx:pt idx="24300">0</cx:pt>
          <cx:pt idx="24301">1</cx:pt>
          <cx:pt idx="24302">0</cx:pt>
          <cx:pt idx="24303">0</cx:pt>
          <cx:pt idx="24304">1</cx:pt>
          <cx:pt idx="24305">1</cx:pt>
          <cx:pt idx="24306">1</cx:pt>
          <cx:pt idx="24307">0</cx:pt>
          <cx:pt idx="24308">0</cx:pt>
          <cx:pt idx="24309">1</cx:pt>
          <cx:pt idx="24310">0</cx:pt>
          <cx:pt idx="24311">0</cx:pt>
          <cx:pt idx="24312">0</cx:pt>
          <cx:pt idx="24313">1</cx:pt>
          <cx:pt idx="24314">1</cx:pt>
          <cx:pt idx="24315">1</cx:pt>
          <cx:pt idx="24316">1</cx:pt>
          <cx:pt idx="24317">1</cx:pt>
          <cx:pt idx="24318">1</cx:pt>
          <cx:pt idx="24319">0</cx:pt>
          <cx:pt idx="24320">0</cx:pt>
          <cx:pt idx="24321">0</cx:pt>
          <cx:pt idx="24322">0</cx:pt>
          <cx:pt idx="24323">1</cx:pt>
          <cx:pt idx="24324">1</cx:pt>
          <cx:pt idx="24325">1</cx:pt>
          <cx:pt idx="24326">0</cx:pt>
          <cx:pt idx="24327">0</cx:pt>
          <cx:pt idx="24328">0</cx:pt>
          <cx:pt idx="24329">1</cx:pt>
          <cx:pt idx="24330">0</cx:pt>
          <cx:pt idx="24331">0</cx:pt>
          <cx:pt idx="24332">0</cx:pt>
          <cx:pt idx="24333">0</cx:pt>
          <cx:pt idx="24334">0</cx:pt>
          <cx:pt idx="24335">0</cx:pt>
          <cx:pt idx="24336">0</cx:pt>
          <cx:pt idx="24337">1</cx:pt>
          <cx:pt idx="24338">0</cx:pt>
          <cx:pt idx="24339">0</cx:pt>
          <cx:pt idx="24340">0</cx:pt>
          <cx:pt idx="24341">1</cx:pt>
          <cx:pt idx="24342">1</cx:pt>
          <cx:pt idx="24343">1</cx:pt>
          <cx:pt idx="24344">0</cx:pt>
          <cx:pt idx="24345">0</cx:pt>
          <cx:pt idx="24346">1</cx:pt>
          <cx:pt idx="24347">1</cx:pt>
          <cx:pt idx="24348">0</cx:pt>
          <cx:pt idx="24349">1</cx:pt>
          <cx:pt idx="24350">0</cx:pt>
          <cx:pt idx="24351">0</cx:pt>
          <cx:pt idx="24352">1</cx:pt>
          <cx:pt idx="24353">0</cx:pt>
          <cx:pt idx="24354">0</cx:pt>
          <cx:pt idx="24355">0</cx:pt>
          <cx:pt idx="24356">1</cx:pt>
          <cx:pt idx="24357">0</cx:pt>
          <cx:pt idx="24358">0</cx:pt>
          <cx:pt idx="24359">1</cx:pt>
          <cx:pt idx="24360">1</cx:pt>
          <cx:pt idx="24361">0</cx:pt>
          <cx:pt idx="24362">0</cx:pt>
          <cx:pt idx="24363">0</cx:pt>
          <cx:pt idx="24364">1</cx:pt>
          <cx:pt idx="24365">1</cx:pt>
          <cx:pt idx="24366">1</cx:pt>
          <cx:pt idx="24367">1</cx:pt>
          <cx:pt idx="24368">0</cx:pt>
          <cx:pt idx="24369">0</cx:pt>
          <cx:pt idx="24370">0</cx:pt>
          <cx:pt idx="24371">1</cx:pt>
          <cx:pt idx="24372">0</cx:pt>
          <cx:pt idx="24373">0</cx:pt>
          <cx:pt idx="24374">1</cx:pt>
          <cx:pt idx="24375">1</cx:pt>
          <cx:pt idx="24376">1</cx:pt>
          <cx:pt idx="24377">0</cx:pt>
          <cx:pt idx="24378">0</cx:pt>
          <cx:pt idx="24379">0</cx:pt>
          <cx:pt idx="24380">1</cx:pt>
          <cx:pt idx="24381">1</cx:pt>
          <cx:pt idx="24382">0</cx:pt>
          <cx:pt idx="24383">0</cx:pt>
          <cx:pt idx="24384">1</cx:pt>
          <cx:pt idx="24385">0</cx:pt>
          <cx:pt idx="24386">1</cx:pt>
          <cx:pt idx="24387">1</cx:pt>
          <cx:pt idx="24388">0</cx:pt>
          <cx:pt idx="24389">0</cx:pt>
          <cx:pt idx="24390">1</cx:pt>
          <cx:pt idx="24391">1</cx:pt>
          <cx:pt idx="24392">0</cx:pt>
          <cx:pt idx="24393">0</cx:pt>
          <cx:pt idx="24394">1</cx:pt>
          <cx:pt idx="24395">1</cx:pt>
          <cx:pt idx="24396">1</cx:pt>
          <cx:pt idx="24397">1</cx:pt>
          <cx:pt idx="24398">0</cx:pt>
          <cx:pt idx="24399">1</cx:pt>
          <cx:pt idx="24400">1</cx:pt>
          <cx:pt idx="24401">0</cx:pt>
          <cx:pt idx="24402">1</cx:pt>
          <cx:pt idx="24403">0</cx:pt>
          <cx:pt idx="24404">0</cx:pt>
          <cx:pt idx="24405">0</cx:pt>
          <cx:pt idx="24406">0</cx:pt>
          <cx:pt idx="24407">1</cx:pt>
          <cx:pt idx="24408">0</cx:pt>
          <cx:pt idx="24409">1</cx:pt>
          <cx:pt idx="24410">0</cx:pt>
          <cx:pt idx="24411">0</cx:pt>
          <cx:pt idx="24412">1</cx:pt>
          <cx:pt idx="24413">0</cx:pt>
          <cx:pt idx="24414">0</cx:pt>
          <cx:pt idx="24415">0</cx:pt>
          <cx:pt idx="24416">1</cx:pt>
          <cx:pt idx="24417">1</cx:pt>
          <cx:pt idx="24418">1</cx:pt>
          <cx:pt idx="24419">0</cx:pt>
          <cx:pt idx="24420">0</cx:pt>
          <cx:pt idx="24421">1</cx:pt>
          <cx:pt idx="24422">0</cx:pt>
          <cx:pt idx="24423">0</cx:pt>
          <cx:pt idx="24424">0</cx:pt>
          <cx:pt idx="24425">1</cx:pt>
          <cx:pt idx="24426">1</cx:pt>
          <cx:pt idx="24427">0</cx:pt>
          <cx:pt idx="24428">1</cx:pt>
          <cx:pt idx="24429">1</cx:pt>
          <cx:pt idx="24430">0</cx:pt>
          <cx:pt idx="24431">1</cx:pt>
          <cx:pt idx="24432">1</cx:pt>
          <cx:pt idx="24433">0</cx:pt>
          <cx:pt idx="24434">1</cx:pt>
          <cx:pt idx="24435">0</cx:pt>
          <cx:pt idx="24436">0</cx:pt>
          <cx:pt idx="24437">0</cx:pt>
          <cx:pt idx="24438">0</cx:pt>
          <cx:pt idx="24439">0</cx:pt>
          <cx:pt idx="24440">0</cx:pt>
          <cx:pt idx="24441">0</cx:pt>
          <cx:pt idx="24442">0</cx:pt>
          <cx:pt idx="24443">1</cx:pt>
          <cx:pt idx="24444">1</cx:pt>
          <cx:pt idx="24445">1</cx:pt>
          <cx:pt idx="24446">0</cx:pt>
          <cx:pt idx="24447">0</cx:pt>
          <cx:pt idx="24448">1</cx:pt>
          <cx:pt idx="24449">0</cx:pt>
          <cx:pt idx="24450">1</cx:pt>
          <cx:pt idx="24451">1</cx:pt>
          <cx:pt idx="24452">1</cx:pt>
          <cx:pt idx="24453">0</cx:pt>
          <cx:pt idx="24454">0</cx:pt>
          <cx:pt idx="24455">0</cx:pt>
          <cx:pt idx="24456">0</cx:pt>
          <cx:pt idx="24457">0</cx:pt>
          <cx:pt idx="24458">0</cx:pt>
          <cx:pt idx="24459">0</cx:pt>
          <cx:pt idx="24460">0</cx:pt>
          <cx:pt idx="24461">0</cx:pt>
          <cx:pt idx="24462">0</cx:pt>
          <cx:pt idx="24463">0</cx:pt>
          <cx:pt idx="24464">1</cx:pt>
          <cx:pt idx="24465">1</cx:pt>
          <cx:pt idx="24466">0</cx:pt>
          <cx:pt idx="24467">0</cx:pt>
          <cx:pt idx="24468">0</cx:pt>
          <cx:pt idx="24469">1</cx:pt>
          <cx:pt idx="24470">0</cx:pt>
          <cx:pt idx="24471">1</cx:pt>
          <cx:pt idx="24472">1</cx:pt>
          <cx:pt idx="24473">1</cx:pt>
          <cx:pt idx="24474">0</cx:pt>
          <cx:pt idx="24475">0</cx:pt>
          <cx:pt idx="24476">1</cx:pt>
          <cx:pt idx="24477">0</cx:pt>
          <cx:pt idx="24478">1</cx:pt>
          <cx:pt idx="24479">1</cx:pt>
          <cx:pt idx="24480">0</cx:pt>
          <cx:pt idx="24481">1</cx:pt>
          <cx:pt idx="24482">1</cx:pt>
          <cx:pt idx="24483">1</cx:pt>
          <cx:pt idx="24484">0</cx:pt>
          <cx:pt idx="24485">1</cx:pt>
          <cx:pt idx="24486">0</cx:pt>
          <cx:pt idx="24487">0</cx:pt>
          <cx:pt idx="24488">1</cx:pt>
          <cx:pt idx="24489">1</cx:pt>
          <cx:pt idx="24490">1</cx:pt>
          <cx:pt idx="24491">1</cx:pt>
          <cx:pt idx="24492">0</cx:pt>
          <cx:pt idx="24493">0</cx:pt>
          <cx:pt idx="24494">0</cx:pt>
          <cx:pt idx="24495">0</cx:pt>
          <cx:pt idx="24496">1</cx:pt>
          <cx:pt idx="24497">1</cx:pt>
          <cx:pt idx="24498">1</cx:pt>
          <cx:pt idx="24499">1</cx:pt>
          <cx:pt idx="24500">0</cx:pt>
          <cx:pt idx="24501">1</cx:pt>
          <cx:pt idx="24502">0</cx:pt>
          <cx:pt idx="24503">0</cx:pt>
          <cx:pt idx="24504">0</cx:pt>
          <cx:pt idx="24505">0</cx:pt>
          <cx:pt idx="24506">1</cx:pt>
          <cx:pt idx="24507">0</cx:pt>
          <cx:pt idx="24508">1</cx:pt>
          <cx:pt idx="24509">0</cx:pt>
          <cx:pt idx="24510">1</cx:pt>
          <cx:pt idx="24511">1</cx:pt>
          <cx:pt idx="24512">1</cx:pt>
          <cx:pt idx="24513">0</cx:pt>
          <cx:pt idx="24514">0</cx:pt>
          <cx:pt idx="24515">0</cx:pt>
          <cx:pt idx="24516">1</cx:pt>
          <cx:pt idx="24517">1</cx:pt>
          <cx:pt idx="24518">0</cx:pt>
          <cx:pt idx="24519">0</cx:pt>
          <cx:pt idx="24520">0</cx:pt>
          <cx:pt idx="24521">0</cx:pt>
          <cx:pt idx="24522">0</cx:pt>
          <cx:pt idx="24523">0</cx:pt>
          <cx:pt idx="24524">1</cx:pt>
          <cx:pt idx="24525">1</cx:pt>
          <cx:pt idx="24526">0</cx:pt>
          <cx:pt idx="24527">1</cx:pt>
          <cx:pt idx="24528">0</cx:pt>
          <cx:pt idx="24529">0</cx:pt>
          <cx:pt idx="24530">1</cx:pt>
          <cx:pt idx="24531">1</cx:pt>
          <cx:pt idx="24532">0</cx:pt>
          <cx:pt idx="24533">0</cx:pt>
          <cx:pt idx="24534">0</cx:pt>
          <cx:pt idx="24535">0</cx:pt>
          <cx:pt idx="24536">1</cx:pt>
          <cx:pt idx="24537">1</cx:pt>
          <cx:pt idx="24538">0</cx:pt>
          <cx:pt idx="24539">0</cx:pt>
          <cx:pt idx="24540">1</cx:pt>
          <cx:pt idx="24541">1</cx:pt>
          <cx:pt idx="24542">1</cx:pt>
          <cx:pt idx="24543">0</cx:pt>
          <cx:pt idx="24544">1</cx:pt>
          <cx:pt idx="24545">0</cx:pt>
          <cx:pt idx="24546">1</cx:pt>
          <cx:pt idx="24547">1</cx:pt>
          <cx:pt idx="24548">1</cx:pt>
          <cx:pt idx="24549">0</cx:pt>
          <cx:pt idx="24550">0</cx:pt>
          <cx:pt idx="24551">0</cx:pt>
          <cx:pt idx="24552">0</cx:pt>
          <cx:pt idx="24553">0</cx:pt>
          <cx:pt idx="24554">0</cx:pt>
          <cx:pt idx="24555">0</cx:pt>
          <cx:pt idx="24556">0</cx:pt>
          <cx:pt idx="24557">0</cx:pt>
          <cx:pt idx="24558">0</cx:pt>
          <cx:pt idx="24559">1</cx:pt>
          <cx:pt idx="24560">1</cx:pt>
          <cx:pt idx="24561">0</cx:pt>
          <cx:pt idx="24562">1</cx:pt>
          <cx:pt idx="24563">0</cx:pt>
          <cx:pt idx="24564">0</cx:pt>
          <cx:pt idx="24565">0</cx:pt>
          <cx:pt idx="24566">0</cx:pt>
          <cx:pt idx="24567">0</cx:pt>
          <cx:pt idx="24568">1</cx:pt>
          <cx:pt idx="24569">0</cx:pt>
          <cx:pt idx="24570">0</cx:pt>
          <cx:pt idx="24571">0</cx:pt>
          <cx:pt idx="24572">0</cx:pt>
          <cx:pt idx="24573">0</cx:pt>
          <cx:pt idx="24574">0</cx:pt>
          <cx:pt idx="24575">0</cx:pt>
          <cx:pt idx="24576">0</cx:pt>
          <cx:pt idx="24577">1</cx:pt>
          <cx:pt idx="24578">1</cx:pt>
          <cx:pt idx="24579">1</cx:pt>
          <cx:pt idx="24580">0</cx:pt>
          <cx:pt idx="24581">0</cx:pt>
          <cx:pt idx="24582">1</cx:pt>
          <cx:pt idx="24583">0</cx:pt>
          <cx:pt idx="24584">0</cx:pt>
          <cx:pt idx="24585">1</cx:pt>
          <cx:pt idx="24586">1</cx:pt>
          <cx:pt idx="24587">0</cx:pt>
          <cx:pt idx="24588">1</cx:pt>
          <cx:pt idx="24589">0</cx:pt>
          <cx:pt idx="24590">0</cx:pt>
          <cx:pt idx="24591">0</cx:pt>
          <cx:pt idx="24592">0</cx:pt>
          <cx:pt idx="24593">0</cx:pt>
          <cx:pt idx="24594">1</cx:pt>
          <cx:pt idx="24595">1</cx:pt>
          <cx:pt idx="24596">0</cx:pt>
          <cx:pt idx="24597">0</cx:pt>
          <cx:pt idx="24598">0</cx:pt>
          <cx:pt idx="24599">1</cx:pt>
          <cx:pt idx="24600">0</cx:pt>
          <cx:pt idx="24601">0</cx:pt>
          <cx:pt idx="24602">0</cx:pt>
          <cx:pt idx="24603">0</cx:pt>
          <cx:pt idx="24604">0</cx:pt>
          <cx:pt idx="24605">0</cx:pt>
          <cx:pt idx="24606">0</cx:pt>
          <cx:pt idx="24607">0</cx:pt>
          <cx:pt idx="24608">1</cx:pt>
          <cx:pt idx="24609">0</cx:pt>
          <cx:pt idx="24610">0</cx:pt>
          <cx:pt idx="24611">0</cx:pt>
          <cx:pt idx="24612">0</cx:pt>
          <cx:pt idx="24613">1</cx:pt>
          <cx:pt idx="24614">0</cx:pt>
          <cx:pt idx="24615">1</cx:pt>
          <cx:pt idx="24616">0</cx:pt>
          <cx:pt idx="24617">1</cx:pt>
          <cx:pt idx="24618">0</cx:pt>
          <cx:pt idx="24619">1</cx:pt>
          <cx:pt idx="24620">0</cx:pt>
          <cx:pt idx="24621">1</cx:pt>
          <cx:pt idx="24622">1</cx:pt>
          <cx:pt idx="24623">0</cx:pt>
          <cx:pt idx="24624">1</cx:pt>
          <cx:pt idx="24625">1</cx:pt>
          <cx:pt idx="24626">1</cx:pt>
          <cx:pt idx="24627">0</cx:pt>
          <cx:pt idx="24628">0</cx:pt>
          <cx:pt idx="24629">1</cx:pt>
          <cx:pt idx="24630">0</cx:pt>
          <cx:pt idx="24631">1</cx:pt>
          <cx:pt idx="24632">0</cx:pt>
          <cx:pt idx="24633">0</cx:pt>
          <cx:pt idx="24634">1</cx:pt>
          <cx:pt idx="24635">0</cx:pt>
          <cx:pt idx="24636">1</cx:pt>
          <cx:pt idx="24637">0</cx:pt>
          <cx:pt idx="24638">0</cx:pt>
          <cx:pt idx="24639">0</cx:pt>
          <cx:pt idx="24640">1</cx:pt>
          <cx:pt idx="24641">0</cx:pt>
          <cx:pt idx="24642">0</cx:pt>
          <cx:pt idx="24643">1</cx:pt>
          <cx:pt idx="24644">0</cx:pt>
          <cx:pt idx="24645">1</cx:pt>
          <cx:pt idx="24646">1</cx:pt>
          <cx:pt idx="24647">0</cx:pt>
          <cx:pt idx="24648">0</cx:pt>
          <cx:pt idx="24649">1</cx:pt>
          <cx:pt idx="24650">0</cx:pt>
          <cx:pt idx="24651">1</cx:pt>
          <cx:pt idx="24652">1</cx:pt>
          <cx:pt idx="24653">0</cx:pt>
          <cx:pt idx="24654">0</cx:pt>
          <cx:pt idx="24655">1</cx:pt>
          <cx:pt idx="24656">1</cx:pt>
          <cx:pt idx="24657">1</cx:pt>
          <cx:pt idx="24658">0</cx:pt>
          <cx:pt idx="24659">0</cx:pt>
          <cx:pt idx="24660">1</cx:pt>
          <cx:pt idx="24661">1</cx:pt>
          <cx:pt idx="24662">0</cx:pt>
          <cx:pt idx="24663">0</cx:pt>
          <cx:pt idx="24664">1</cx:pt>
          <cx:pt idx="24665">0</cx:pt>
          <cx:pt idx="24666">1</cx:pt>
          <cx:pt idx="24667">0</cx:pt>
          <cx:pt idx="24668">1</cx:pt>
          <cx:pt idx="24669">1</cx:pt>
          <cx:pt idx="24670">1</cx:pt>
          <cx:pt idx="24671">1</cx:pt>
          <cx:pt idx="24672">0</cx:pt>
          <cx:pt idx="24673">0</cx:pt>
          <cx:pt idx="24674">0</cx:pt>
          <cx:pt idx="24675">0</cx:pt>
          <cx:pt idx="24676">1</cx:pt>
          <cx:pt idx="24677">0</cx:pt>
          <cx:pt idx="24678">0</cx:pt>
          <cx:pt idx="24679">1</cx:pt>
          <cx:pt idx="24680">0</cx:pt>
          <cx:pt idx="24681">1</cx:pt>
          <cx:pt idx="24682">0</cx:pt>
          <cx:pt idx="24683">0</cx:pt>
          <cx:pt idx="24684">0</cx:pt>
          <cx:pt idx="24685">1</cx:pt>
          <cx:pt idx="24686">1</cx:pt>
          <cx:pt idx="24687">0</cx:pt>
          <cx:pt idx="24688">1</cx:pt>
          <cx:pt idx="24689">1</cx:pt>
          <cx:pt idx="24690">0</cx:pt>
          <cx:pt idx="24691">1</cx:pt>
          <cx:pt idx="24692">1</cx:pt>
          <cx:pt idx="24693">1</cx:pt>
          <cx:pt idx="24694">0</cx:pt>
          <cx:pt idx="24695">1</cx:pt>
          <cx:pt idx="24696">0</cx:pt>
          <cx:pt idx="24697">0</cx:pt>
          <cx:pt idx="24698">0</cx:pt>
          <cx:pt idx="24699">0</cx:pt>
          <cx:pt idx="24700">1</cx:pt>
          <cx:pt idx="24701">0</cx:pt>
          <cx:pt idx="24702">1</cx:pt>
          <cx:pt idx="24703">0</cx:pt>
          <cx:pt idx="24704">1</cx:pt>
          <cx:pt idx="24705">1</cx:pt>
          <cx:pt idx="24706">0</cx:pt>
          <cx:pt idx="24707">0</cx:pt>
          <cx:pt idx="24708">0</cx:pt>
          <cx:pt idx="24709">0</cx:pt>
          <cx:pt idx="24710">0</cx:pt>
          <cx:pt idx="24711">1</cx:pt>
          <cx:pt idx="24712">0</cx:pt>
          <cx:pt idx="24713">0</cx:pt>
          <cx:pt idx="24714">0</cx:pt>
          <cx:pt idx="24715">0</cx:pt>
          <cx:pt idx="24716">0</cx:pt>
          <cx:pt idx="24717">0</cx:pt>
          <cx:pt idx="24718">0</cx:pt>
          <cx:pt idx="24719">0</cx:pt>
          <cx:pt idx="24720">1</cx:pt>
          <cx:pt idx="24721">0</cx:pt>
          <cx:pt idx="24722">0</cx:pt>
          <cx:pt idx="24723">0</cx:pt>
          <cx:pt idx="24724">0</cx:pt>
          <cx:pt idx="24725">0</cx:pt>
          <cx:pt idx="24726">1</cx:pt>
          <cx:pt idx="24727">1</cx:pt>
          <cx:pt idx="24728">1</cx:pt>
          <cx:pt idx="24729">1</cx:pt>
          <cx:pt idx="24730">1</cx:pt>
          <cx:pt idx="24731">0</cx:pt>
          <cx:pt idx="24732">0</cx:pt>
          <cx:pt idx="24733">1</cx:pt>
          <cx:pt idx="24734">1</cx:pt>
          <cx:pt idx="24735">0</cx:pt>
          <cx:pt idx="24736">0</cx:pt>
          <cx:pt idx="24737">0</cx:pt>
          <cx:pt idx="24738">1</cx:pt>
          <cx:pt idx="24739">0</cx:pt>
          <cx:pt idx="24740">0</cx:pt>
          <cx:pt idx="24741">1</cx:pt>
          <cx:pt idx="24742">0</cx:pt>
          <cx:pt idx="24743">1</cx:pt>
          <cx:pt idx="24744">0</cx:pt>
          <cx:pt idx="24745">1</cx:pt>
          <cx:pt idx="24746">0</cx:pt>
          <cx:pt idx="24747">0</cx:pt>
          <cx:pt idx="24748">0</cx:pt>
          <cx:pt idx="24749">1</cx:pt>
          <cx:pt idx="24750">0</cx:pt>
          <cx:pt idx="24751">0</cx:pt>
          <cx:pt idx="24752">0</cx:pt>
          <cx:pt idx="24753">1</cx:pt>
          <cx:pt idx="24754">0</cx:pt>
          <cx:pt idx="24755">1</cx:pt>
          <cx:pt idx="24756">0</cx:pt>
          <cx:pt idx="24757">0</cx:pt>
          <cx:pt idx="24758">1</cx:pt>
          <cx:pt idx="24759">0</cx:pt>
          <cx:pt idx="24760">1</cx:pt>
          <cx:pt idx="24761">1</cx:pt>
          <cx:pt idx="24762">0</cx:pt>
          <cx:pt idx="24763">0</cx:pt>
          <cx:pt idx="24764">1</cx:pt>
          <cx:pt idx="24765">0</cx:pt>
          <cx:pt idx="24766">1</cx:pt>
          <cx:pt idx="24767">0</cx:pt>
          <cx:pt idx="24768">1</cx:pt>
          <cx:pt idx="24769">1</cx:pt>
          <cx:pt idx="24770">1</cx:pt>
          <cx:pt idx="24771">0</cx:pt>
          <cx:pt idx="24772">1</cx:pt>
          <cx:pt idx="24773">1</cx:pt>
          <cx:pt idx="24774">1</cx:pt>
          <cx:pt idx="24775">0</cx:pt>
          <cx:pt idx="24776">0</cx:pt>
          <cx:pt idx="24777">0</cx:pt>
          <cx:pt idx="24778">1</cx:pt>
          <cx:pt idx="24779">0</cx:pt>
          <cx:pt idx="24780">0</cx:pt>
          <cx:pt idx="24781">1</cx:pt>
          <cx:pt idx="24782">0</cx:pt>
          <cx:pt idx="24783">1</cx:pt>
          <cx:pt idx="24784">0</cx:pt>
          <cx:pt idx="24785">1</cx:pt>
          <cx:pt idx="24786">1</cx:pt>
          <cx:pt idx="24787">1</cx:pt>
          <cx:pt idx="24788">1</cx:pt>
          <cx:pt idx="24789">0</cx:pt>
          <cx:pt idx="24790">1</cx:pt>
          <cx:pt idx="24791">1</cx:pt>
          <cx:pt idx="24792">1</cx:pt>
          <cx:pt idx="24793">1</cx:pt>
          <cx:pt idx="24794">1</cx:pt>
          <cx:pt idx="24795">1</cx:pt>
          <cx:pt idx="24796">1</cx:pt>
          <cx:pt idx="24797">0</cx:pt>
          <cx:pt idx="24798">0</cx:pt>
          <cx:pt idx="24799">1</cx:pt>
          <cx:pt idx="24800">0</cx:pt>
          <cx:pt idx="24801">0</cx:pt>
          <cx:pt idx="24802">1</cx:pt>
          <cx:pt idx="24803">0</cx:pt>
          <cx:pt idx="24804">0</cx:pt>
          <cx:pt idx="24805">1</cx:pt>
          <cx:pt idx="24806">1</cx:pt>
          <cx:pt idx="24807">0</cx:pt>
          <cx:pt idx="24808">0</cx:pt>
          <cx:pt idx="24809">0</cx:pt>
          <cx:pt idx="24810">1</cx:pt>
          <cx:pt idx="24811">0</cx:pt>
          <cx:pt idx="24812">0</cx:pt>
          <cx:pt idx="24813">0</cx:pt>
          <cx:pt idx="24814">0</cx:pt>
          <cx:pt idx="24815">0</cx:pt>
          <cx:pt idx="24816">1</cx:pt>
          <cx:pt idx="24817">0</cx:pt>
          <cx:pt idx="24818">1</cx:pt>
          <cx:pt idx="24819">1</cx:pt>
          <cx:pt idx="24820">0</cx:pt>
          <cx:pt idx="24821">0</cx:pt>
          <cx:pt idx="24822">1</cx:pt>
          <cx:pt idx="24823">0</cx:pt>
          <cx:pt idx="24824">0</cx:pt>
          <cx:pt idx="24825">0</cx:pt>
          <cx:pt idx="24826">1</cx:pt>
          <cx:pt idx="24827">1</cx:pt>
          <cx:pt idx="24828">0</cx:pt>
          <cx:pt idx="24829">0</cx:pt>
          <cx:pt idx="24830">1</cx:pt>
          <cx:pt idx="24831">1</cx:pt>
          <cx:pt idx="24832">0</cx:pt>
          <cx:pt idx="24833">1</cx:pt>
          <cx:pt idx="24834">0</cx:pt>
          <cx:pt idx="24835">0</cx:pt>
          <cx:pt idx="24836">0</cx:pt>
          <cx:pt idx="24837">0</cx:pt>
          <cx:pt idx="24838">0</cx:pt>
          <cx:pt idx="24839">1</cx:pt>
          <cx:pt idx="24840">0</cx:pt>
          <cx:pt idx="24841">0</cx:pt>
          <cx:pt idx="24842">1</cx:pt>
          <cx:pt idx="24843">0</cx:pt>
          <cx:pt idx="24844">0</cx:pt>
          <cx:pt idx="24845">0</cx:pt>
          <cx:pt idx="24846">1</cx:pt>
          <cx:pt idx="24847">1</cx:pt>
          <cx:pt idx="24848">1</cx:pt>
          <cx:pt idx="24849">0</cx:pt>
          <cx:pt idx="24850">0</cx:pt>
          <cx:pt idx="24851">1</cx:pt>
          <cx:pt idx="24852">0</cx:pt>
          <cx:pt idx="24853">1</cx:pt>
          <cx:pt idx="24854">0</cx:pt>
          <cx:pt idx="24855">1</cx:pt>
          <cx:pt idx="24856">1</cx:pt>
          <cx:pt idx="24857">1</cx:pt>
          <cx:pt idx="24858">1</cx:pt>
          <cx:pt idx="24859">1</cx:pt>
          <cx:pt idx="24860">0</cx:pt>
          <cx:pt idx="24861">1</cx:pt>
          <cx:pt idx="24862">1</cx:pt>
          <cx:pt idx="24863">0</cx:pt>
          <cx:pt idx="24864">0</cx:pt>
          <cx:pt idx="24865">0</cx:pt>
          <cx:pt idx="24866">1</cx:pt>
          <cx:pt idx="24867">1</cx:pt>
          <cx:pt idx="24868">1</cx:pt>
          <cx:pt idx="24869">0</cx:pt>
          <cx:pt idx="24870">0</cx:pt>
          <cx:pt idx="24871">1</cx:pt>
          <cx:pt idx="24872">0</cx:pt>
          <cx:pt idx="24873">0</cx:pt>
          <cx:pt idx="24874">1</cx:pt>
          <cx:pt idx="24875">1</cx:pt>
          <cx:pt idx="24876">1</cx:pt>
          <cx:pt idx="24877">0</cx:pt>
          <cx:pt idx="24878">0</cx:pt>
          <cx:pt idx="24879">0</cx:pt>
          <cx:pt idx="24880">0</cx:pt>
          <cx:pt idx="24881">1</cx:pt>
          <cx:pt idx="24882">1</cx:pt>
          <cx:pt idx="24883">0</cx:pt>
          <cx:pt idx="24884">1</cx:pt>
          <cx:pt idx="24885">0</cx:pt>
          <cx:pt idx="24886">0</cx:pt>
          <cx:pt idx="24887">0</cx:pt>
          <cx:pt idx="24888">0</cx:pt>
          <cx:pt idx="24889">0</cx:pt>
          <cx:pt idx="24890">0</cx:pt>
          <cx:pt idx="24891">0</cx:pt>
          <cx:pt idx="24892">0</cx:pt>
          <cx:pt idx="24893">0</cx:pt>
          <cx:pt idx="24894">0</cx:pt>
          <cx:pt idx="24895">1</cx:pt>
          <cx:pt idx="24896">0</cx:pt>
          <cx:pt idx="24897">1</cx:pt>
          <cx:pt idx="24898">1</cx:pt>
          <cx:pt idx="24899">1</cx:pt>
          <cx:pt idx="24900">0</cx:pt>
          <cx:pt idx="24901">0</cx:pt>
          <cx:pt idx="24902">0</cx:pt>
          <cx:pt idx="24903">0</cx:pt>
          <cx:pt idx="24904">0</cx:pt>
          <cx:pt idx="24905">0</cx:pt>
          <cx:pt idx="24906">0</cx:pt>
          <cx:pt idx="24907">0</cx:pt>
          <cx:pt idx="24908">1</cx:pt>
          <cx:pt idx="24909">0</cx:pt>
          <cx:pt idx="24910">0</cx:pt>
          <cx:pt idx="24911">1</cx:pt>
          <cx:pt idx="24912">0</cx:pt>
          <cx:pt idx="24913">0</cx:pt>
          <cx:pt idx="24914">0</cx:pt>
          <cx:pt idx="24915">1</cx:pt>
          <cx:pt idx="24916">1</cx:pt>
          <cx:pt idx="24917">0</cx:pt>
          <cx:pt idx="24918">0</cx:pt>
          <cx:pt idx="24919">0</cx:pt>
          <cx:pt idx="24920">0</cx:pt>
          <cx:pt idx="24921">1</cx:pt>
          <cx:pt idx="24922">0</cx:pt>
          <cx:pt idx="24923">0</cx:pt>
          <cx:pt idx="24924">0</cx:pt>
          <cx:pt idx="24925">0</cx:pt>
          <cx:pt idx="24926">0</cx:pt>
          <cx:pt idx="24927">0</cx:pt>
          <cx:pt idx="24928">1</cx:pt>
          <cx:pt idx="24929">0</cx:pt>
          <cx:pt idx="24930">0</cx:pt>
          <cx:pt idx="24931">1</cx:pt>
          <cx:pt idx="24932">0</cx:pt>
          <cx:pt idx="24933">0</cx:pt>
          <cx:pt idx="24934">0</cx:pt>
          <cx:pt idx="24935">0</cx:pt>
          <cx:pt idx="24936">0</cx:pt>
          <cx:pt idx="24937">0</cx:pt>
          <cx:pt idx="24938">0</cx:pt>
          <cx:pt idx="24939">0</cx:pt>
          <cx:pt idx="24940">1</cx:pt>
          <cx:pt idx="24941">1</cx:pt>
          <cx:pt idx="24942">0</cx:pt>
          <cx:pt idx="24943">1</cx:pt>
          <cx:pt idx="24944">1</cx:pt>
          <cx:pt idx="24945">0</cx:pt>
          <cx:pt idx="24946">0</cx:pt>
          <cx:pt idx="24947">0</cx:pt>
          <cx:pt idx="24948">1</cx:pt>
          <cx:pt idx="24949">1</cx:pt>
          <cx:pt idx="24950">1</cx:pt>
          <cx:pt idx="24951">0</cx:pt>
          <cx:pt idx="24952">1</cx:pt>
          <cx:pt idx="24953">1</cx:pt>
          <cx:pt idx="24954">0</cx:pt>
          <cx:pt idx="24955">0</cx:pt>
          <cx:pt idx="24956">0</cx:pt>
          <cx:pt idx="24957">1</cx:pt>
          <cx:pt idx="24958">1</cx:pt>
          <cx:pt idx="24959">0</cx:pt>
          <cx:pt idx="24960">1</cx:pt>
          <cx:pt idx="24961">1</cx:pt>
          <cx:pt idx="24962">0</cx:pt>
          <cx:pt idx="24963">1</cx:pt>
          <cx:pt idx="24964">0</cx:pt>
          <cx:pt idx="24965">1</cx:pt>
          <cx:pt idx="24966">0</cx:pt>
          <cx:pt idx="24967">1</cx:pt>
          <cx:pt idx="24968">0</cx:pt>
          <cx:pt idx="24969">0</cx:pt>
          <cx:pt idx="24970">1</cx:pt>
          <cx:pt idx="24971">0</cx:pt>
          <cx:pt idx="24972">0</cx:pt>
          <cx:pt idx="24973">0</cx:pt>
          <cx:pt idx="24974">0</cx:pt>
          <cx:pt idx="24975">0</cx:pt>
          <cx:pt idx="24976">0</cx:pt>
          <cx:pt idx="24977">1</cx:pt>
          <cx:pt idx="24978">0</cx:pt>
          <cx:pt idx="24979">1</cx:pt>
          <cx:pt idx="24980">0</cx:pt>
          <cx:pt idx="24981">0</cx:pt>
          <cx:pt idx="24982">0</cx:pt>
          <cx:pt idx="24983">1</cx:pt>
          <cx:pt idx="24984">1</cx:pt>
          <cx:pt idx="24985">0</cx:pt>
          <cx:pt idx="24986">0</cx:pt>
          <cx:pt idx="24987">0</cx:pt>
          <cx:pt idx="24988">0</cx:pt>
          <cx:pt idx="24989">1</cx:pt>
          <cx:pt idx="24990">1</cx:pt>
          <cx:pt idx="24991">1</cx:pt>
          <cx:pt idx="24992">1</cx:pt>
          <cx:pt idx="24993">0</cx:pt>
          <cx:pt idx="24994">0</cx:pt>
          <cx:pt idx="24995">1</cx:pt>
          <cx:pt idx="24996">1</cx:pt>
          <cx:pt idx="24997">1</cx:pt>
          <cx:pt idx="24998">1</cx:pt>
          <cx:pt idx="24999">0</cx:pt>
          <cx:pt idx="25000">0</cx:pt>
          <cx:pt idx="25001">1</cx:pt>
          <cx:pt idx="25002">0</cx:pt>
          <cx:pt idx="25003">1</cx:pt>
          <cx:pt idx="25004">0</cx:pt>
          <cx:pt idx="25005">0</cx:pt>
          <cx:pt idx="25006">0</cx:pt>
          <cx:pt idx="25007">1</cx:pt>
          <cx:pt idx="25008">0</cx:pt>
          <cx:pt idx="25009">0</cx:pt>
          <cx:pt idx="25010">0</cx:pt>
          <cx:pt idx="25011">0</cx:pt>
          <cx:pt idx="25012">0</cx:pt>
          <cx:pt idx="25013">1</cx:pt>
          <cx:pt idx="25014">1</cx:pt>
          <cx:pt idx="25015">1</cx:pt>
          <cx:pt idx="25016">0</cx:pt>
          <cx:pt idx="25017">1</cx:pt>
          <cx:pt idx="25018">0</cx:pt>
          <cx:pt idx="25019">0</cx:pt>
          <cx:pt idx="25020">1</cx:pt>
          <cx:pt idx="25021">0</cx:pt>
          <cx:pt idx="25022">1</cx:pt>
          <cx:pt idx="25023">1</cx:pt>
          <cx:pt idx="25024">0</cx:pt>
          <cx:pt idx="25025">0</cx:pt>
          <cx:pt idx="25026">0</cx:pt>
          <cx:pt idx="25027">1</cx:pt>
          <cx:pt idx="25028">1</cx:pt>
          <cx:pt idx="25029">0</cx:pt>
          <cx:pt idx="25030">1</cx:pt>
          <cx:pt idx="25031">1</cx:pt>
          <cx:pt idx="25032">1</cx:pt>
          <cx:pt idx="25033">0</cx:pt>
          <cx:pt idx="25034">1</cx:pt>
          <cx:pt idx="25035">1</cx:pt>
          <cx:pt idx="25036">0</cx:pt>
          <cx:pt idx="25037">0</cx:pt>
          <cx:pt idx="25038">1</cx:pt>
          <cx:pt idx="25039">0</cx:pt>
          <cx:pt idx="25040">0</cx:pt>
          <cx:pt idx="25041">0</cx:pt>
          <cx:pt idx="25042">1</cx:pt>
          <cx:pt idx="25043">0</cx:pt>
          <cx:pt idx="25044">0</cx:pt>
          <cx:pt idx="25045">1</cx:pt>
          <cx:pt idx="25046">1</cx:pt>
          <cx:pt idx="25047">1</cx:pt>
          <cx:pt idx="25048">1</cx:pt>
          <cx:pt idx="25049">1</cx:pt>
          <cx:pt idx="25050">0</cx:pt>
          <cx:pt idx="25051">0</cx:pt>
          <cx:pt idx="25052">1</cx:pt>
          <cx:pt idx="25053">0</cx:pt>
          <cx:pt idx="25054">1</cx:pt>
          <cx:pt idx="25055">0</cx:pt>
          <cx:pt idx="25056">0</cx:pt>
          <cx:pt idx="25057">1</cx:pt>
          <cx:pt idx="25058">0</cx:pt>
          <cx:pt idx="25059">1</cx:pt>
          <cx:pt idx="25060">1</cx:pt>
          <cx:pt idx="25061">0</cx:pt>
          <cx:pt idx="25062">1</cx:pt>
          <cx:pt idx="25063">0</cx:pt>
          <cx:pt idx="25064">1</cx:pt>
          <cx:pt idx="25065">1</cx:pt>
          <cx:pt idx="25066">0</cx:pt>
          <cx:pt idx="25067">1</cx:pt>
          <cx:pt idx="25068">0</cx:pt>
          <cx:pt idx="25069">0</cx:pt>
          <cx:pt idx="25070">1</cx:pt>
          <cx:pt idx="25071">0</cx:pt>
          <cx:pt idx="25072">1</cx:pt>
          <cx:pt idx="25073">0</cx:pt>
          <cx:pt idx="25074">0</cx:pt>
          <cx:pt idx="25075">0</cx:pt>
          <cx:pt idx="25076">0</cx:pt>
          <cx:pt idx="25077">0</cx:pt>
          <cx:pt idx="25078">0</cx:pt>
          <cx:pt idx="25079">1</cx:pt>
          <cx:pt idx="25080">0</cx:pt>
          <cx:pt idx="25081">0</cx:pt>
          <cx:pt idx="25082">1</cx:pt>
          <cx:pt idx="25083">0</cx:pt>
          <cx:pt idx="25084">0</cx:pt>
          <cx:pt idx="25085">0</cx:pt>
          <cx:pt idx="25086">0</cx:pt>
          <cx:pt idx="25087">0</cx:pt>
          <cx:pt idx="25088">1</cx:pt>
          <cx:pt idx="25089">0</cx:pt>
          <cx:pt idx="25090">1</cx:pt>
          <cx:pt idx="25091">0</cx:pt>
          <cx:pt idx="25092">1</cx:pt>
          <cx:pt idx="25093">1</cx:pt>
          <cx:pt idx="25094">0</cx:pt>
          <cx:pt idx="25095">0</cx:pt>
          <cx:pt idx="25096">0</cx:pt>
          <cx:pt idx="25097">0</cx:pt>
          <cx:pt idx="25098">0</cx:pt>
          <cx:pt idx="25099">1</cx:pt>
          <cx:pt idx="25100">1</cx:pt>
          <cx:pt idx="25101">0</cx:pt>
          <cx:pt idx="25102">0</cx:pt>
          <cx:pt idx="25103">1</cx:pt>
          <cx:pt idx="25104">0</cx:pt>
          <cx:pt idx="25105">1</cx:pt>
          <cx:pt idx="25106">0</cx:pt>
          <cx:pt idx="25107">0</cx:pt>
          <cx:pt idx="25108">1</cx:pt>
          <cx:pt idx="25109">1</cx:pt>
          <cx:pt idx="25110">0</cx:pt>
          <cx:pt idx="25111">0</cx:pt>
          <cx:pt idx="25112">0</cx:pt>
          <cx:pt idx="25113">0</cx:pt>
          <cx:pt idx="25114">1</cx:pt>
          <cx:pt idx="25115">1</cx:pt>
          <cx:pt idx="25116">1</cx:pt>
          <cx:pt idx="25117">0</cx:pt>
          <cx:pt idx="25118">1</cx:pt>
          <cx:pt idx="25119">1</cx:pt>
          <cx:pt idx="25120">0</cx:pt>
          <cx:pt idx="25121">0</cx:pt>
          <cx:pt idx="25122">1</cx:pt>
          <cx:pt idx="25123">1</cx:pt>
          <cx:pt idx="25124">1</cx:pt>
          <cx:pt idx="25125">1</cx:pt>
          <cx:pt idx="25126">0</cx:pt>
          <cx:pt idx="25127">0</cx:pt>
          <cx:pt idx="25128">1</cx:pt>
          <cx:pt idx="25129">0</cx:pt>
          <cx:pt idx="25130">1</cx:pt>
          <cx:pt idx="25131">1</cx:pt>
          <cx:pt idx="25132">0</cx:pt>
          <cx:pt idx="25133">0</cx:pt>
          <cx:pt idx="25134">1</cx:pt>
          <cx:pt idx="25135">0</cx:pt>
          <cx:pt idx="25136">1</cx:pt>
          <cx:pt idx="25137">1</cx:pt>
          <cx:pt idx="25138">0</cx:pt>
          <cx:pt idx="25139">0</cx:pt>
          <cx:pt idx="25140">1</cx:pt>
          <cx:pt idx="25141">0</cx:pt>
          <cx:pt idx="25142">0</cx:pt>
          <cx:pt idx="25143">0</cx:pt>
          <cx:pt idx="25144">1</cx:pt>
          <cx:pt idx="25145">1</cx:pt>
          <cx:pt idx="25146">0</cx:pt>
          <cx:pt idx="25147">1</cx:pt>
          <cx:pt idx="25148">1</cx:pt>
          <cx:pt idx="25149">0</cx:pt>
          <cx:pt idx="25150">1</cx:pt>
          <cx:pt idx="25151">0</cx:pt>
          <cx:pt idx="25152">0</cx:pt>
          <cx:pt idx="25153">0</cx:pt>
          <cx:pt idx="25154">1</cx:pt>
          <cx:pt idx="25155">0</cx:pt>
          <cx:pt idx="25156">0</cx:pt>
          <cx:pt idx="25157">0</cx:pt>
          <cx:pt idx="25158">0</cx:pt>
          <cx:pt idx="25159">1</cx:pt>
          <cx:pt idx="25160">1</cx:pt>
          <cx:pt idx="25161">1</cx:pt>
          <cx:pt idx="25162">1</cx:pt>
          <cx:pt idx="25163">1</cx:pt>
          <cx:pt idx="25164">0</cx:pt>
          <cx:pt idx="25165">0</cx:pt>
          <cx:pt idx="25166">0</cx:pt>
          <cx:pt idx="25167">1</cx:pt>
          <cx:pt idx="25168">0</cx:pt>
          <cx:pt idx="25169">0</cx:pt>
          <cx:pt idx="25170">1</cx:pt>
          <cx:pt idx="25171">0</cx:pt>
          <cx:pt idx="25172">0</cx:pt>
          <cx:pt idx="25173">1</cx:pt>
          <cx:pt idx="25174">1</cx:pt>
          <cx:pt idx="25175">0</cx:pt>
          <cx:pt idx="25176">0</cx:pt>
          <cx:pt idx="25177">1</cx:pt>
          <cx:pt idx="25178">0</cx:pt>
          <cx:pt idx="25179">0</cx:pt>
          <cx:pt idx="25180">0</cx:pt>
          <cx:pt idx="25181">0</cx:pt>
          <cx:pt idx="25182">1</cx:pt>
          <cx:pt idx="25183">0</cx:pt>
          <cx:pt idx="25184">1</cx:pt>
          <cx:pt idx="25185">1</cx:pt>
          <cx:pt idx="25186">0</cx:pt>
          <cx:pt idx="25187">0</cx:pt>
          <cx:pt idx="25188">0</cx:pt>
          <cx:pt idx="25189">1</cx:pt>
          <cx:pt idx="25190">0</cx:pt>
          <cx:pt idx="25191">0</cx:pt>
          <cx:pt idx="25192">1</cx:pt>
          <cx:pt idx="25193">0</cx:pt>
          <cx:pt idx="25194">1</cx:pt>
          <cx:pt idx="25195">1</cx:pt>
          <cx:pt idx="25196">0</cx:pt>
          <cx:pt idx="25197">0</cx:pt>
          <cx:pt idx="25198">0</cx:pt>
          <cx:pt idx="25199">1</cx:pt>
          <cx:pt idx="25200">0</cx:pt>
          <cx:pt idx="25201">0</cx:pt>
          <cx:pt idx="25202">1</cx:pt>
          <cx:pt idx="25203">1</cx:pt>
          <cx:pt idx="25204">0</cx:pt>
          <cx:pt idx="25205">1</cx:pt>
          <cx:pt idx="25206">0</cx:pt>
          <cx:pt idx="25207">1</cx:pt>
          <cx:pt idx="25208">0</cx:pt>
          <cx:pt idx="25209">0</cx:pt>
          <cx:pt idx="25210">0</cx:pt>
          <cx:pt idx="25211">0</cx:pt>
          <cx:pt idx="25212">1</cx:pt>
          <cx:pt idx="25213">0</cx:pt>
          <cx:pt idx="25214">0</cx:pt>
          <cx:pt idx="25215">0</cx:pt>
          <cx:pt idx="25216">1</cx:pt>
          <cx:pt idx="25217">1</cx:pt>
          <cx:pt idx="25218">0</cx:pt>
          <cx:pt idx="25219">0</cx:pt>
          <cx:pt idx="25220">0</cx:pt>
          <cx:pt idx="25221">0</cx:pt>
          <cx:pt idx="25222">0</cx:pt>
          <cx:pt idx="25223">1</cx:pt>
          <cx:pt idx="25224">1</cx:pt>
          <cx:pt idx="25225">1</cx:pt>
          <cx:pt idx="25226">0</cx:pt>
          <cx:pt idx="25227">1</cx:pt>
          <cx:pt idx="25228">0</cx:pt>
          <cx:pt idx="25229">0</cx:pt>
          <cx:pt idx="25230">1</cx:pt>
          <cx:pt idx="25231">1</cx:pt>
          <cx:pt idx="25232">1</cx:pt>
          <cx:pt idx="25233">0</cx:pt>
          <cx:pt idx="25234">0</cx:pt>
          <cx:pt idx="25235">0</cx:pt>
          <cx:pt idx="25236">0</cx:pt>
          <cx:pt idx="25237">0</cx:pt>
          <cx:pt idx="25238">0</cx:pt>
          <cx:pt idx="25239">0</cx:pt>
          <cx:pt idx="25240">1</cx:pt>
          <cx:pt idx="25241">0</cx:pt>
          <cx:pt idx="25242">1</cx:pt>
          <cx:pt idx="25243">0</cx:pt>
          <cx:pt idx="25244">0</cx:pt>
          <cx:pt idx="25245">0</cx:pt>
          <cx:pt idx="25246">0</cx:pt>
          <cx:pt idx="25247">0</cx:pt>
          <cx:pt idx="25248">1</cx:pt>
          <cx:pt idx="25249">1</cx:pt>
          <cx:pt idx="25250">1</cx:pt>
          <cx:pt idx="25251">0</cx:pt>
          <cx:pt idx="25252">1</cx:pt>
          <cx:pt idx="25253">1</cx:pt>
          <cx:pt idx="25254">1</cx:pt>
          <cx:pt idx="25255">0</cx:pt>
          <cx:pt idx="25256">1</cx:pt>
          <cx:pt idx="25257">0</cx:pt>
          <cx:pt idx="25258">1</cx:pt>
          <cx:pt idx="25259">0</cx:pt>
          <cx:pt idx="25260">1</cx:pt>
          <cx:pt idx="25261">1</cx:pt>
          <cx:pt idx="25262">0</cx:pt>
          <cx:pt idx="25263">1</cx:pt>
          <cx:pt idx="25264">0</cx:pt>
          <cx:pt idx="25265">1</cx:pt>
          <cx:pt idx="25266">0</cx:pt>
          <cx:pt idx="25267">0</cx:pt>
          <cx:pt idx="25268">1</cx:pt>
          <cx:pt idx="25269">1</cx:pt>
          <cx:pt idx="25270">1</cx:pt>
          <cx:pt idx="25271">0</cx:pt>
          <cx:pt idx="25272">1</cx:pt>
          <cx:pt idx="25273">1</cx:pt>
          <cx:pt idx="25274">1</cx:pt>
          <cx:pt idx="25275">0</cx:pt>
          <cx:pt idx="25276">1</cx:pt>
          <cx:pt idx="25277">1</cx:pt>
          <cx:pt idx="25278">1</cx:pt>
          <cx:pt idx="25279">1</cx:pt>
          <cx:pt idx="25280">0</cx:pt>
          <cx:pt idx="25281">0</cx:pt>
          <cx:pt idx="25282">0</cx:pt>
          <cx:pt idx="25283">1</cx:pt>
          <cx:pt idx="25284">0</cx:pt>
          <cx:pt idx="25285">0</cx:pt>
          <cx:pt idx="25286">0</cx:pt>
          <cx:pt idx="25287">0</cx:pt>
          <cx:pt idx="25288">1</cx:pt>
          <cx:pt idx="25289">0</cx:pt>
          <cx:pt idx="25290">1</cx:pt>
          <cx:pt idx="25291">0</cx:pt>
          <cx:pt idx="25292">0</cx:pt>
          <cx:pt idx="25293">1</cx:pt>
          <cx:pt idx="25294">0</cx:pt>
          <cx:pt idx="25295">0</cx:pt>
          <cx:pt idx="25296">1</cx:pt>
          <cx:pt idx="25297">1</cx:pt>
          <cx:pt idx="25298">1</cx:pt>
          <cx:pt idx="25299">0</cx:pt>
          <cx:pt idx="25300">1</cx:pt>
          <cx:pt idx="25301">1</cx:pt>
          <cx:pt idx="25302">1</cx:pt>
          <cx:pt idx="25303">0</cx:pt>
          <cx:pt idx="25304">1</cx:pt>
          <cx:pt idx="25305">1</cx:pt>
          <cx:pt idx="25306">1</cx:pt>
          <cx:pt idx="25307">1</cx:pt>
          <cx:pt idx="25308">0</cx:pt>
          <cx:pt idx="25309">1</cx:pt>
          <cx:pt idx="25310">1</cx:pt>
          <cx:pt idx="25311">1</cx:pt>
          <cx:pt idx="25312">0</cx:pt>
          <cx:pt idx="25313">0</cx:pt>
          <cx:pt idx="25314">1</cx:pt>
          <cx:pt idx="25315">1</cx:pt>
          <cx:pt idx="25316">1</cx:pt>
          <cx:pt idx="25317">1</cx:pt>
          <cx:pt idx="25318">1</cx:pt>
          <cx:pt idx="25319">0</cx:pt>
          <cx:pt idx="25320">1</cx:pt>
          <cx:pt idx="25321">0</cx:pt>
          <cx:pt idx="25322">1</cx:pt>
          <cx:pt idx="25323">0</cx:pt>
          <cx:pt idx="25324">1</cx:pt>
          <cx:pt idx="25325">1</cx:pt>
          <cx:pt idx="25326">1</cx:pt>
          <cx:pt idx="25327">1</cx:pt>
          <cx:pt idx="25328">1</cx:pt>
          <cx:pt idx="25329">0</cx:pt>
          <cx:pt idx="25330">1</cx:pt>
          <cx:pt idx="25331">0</cx:pt>
          <cx:pt idx="25332">1</cx:pt>
          <cx:pt idx="25333">0</cx:pt>
          <cx:pt idx="25334">1</cx:pt>
          <cx:pt idx="25335">1</cx:pt>
          <cx:pt idx="25336">1</cx:pt>
          <cx:pt idx="25337">0</cx:pt>
          <cx:pt idx="25338">1</cx:pt>
          <cx:pt idx="25339">0</cx:pt>
          <cx:pt idx="25340">1</cx:pt>
          <cx:pt idx="25341">1</cx:pt>
          <cx:pt idx="25342">1</cx:pt>
          <cx:pt idx="25343">0</cx:pt>
          <cx:pt idx="25344">1</cx:pt>
          <cx:pt idx="25345">1</cx:pt>
          <cx:pt idx="25346">0</cx:pt>
          <cx:pt idx="25347">0</cx:pt>
          <cx:pt idx="25348">1</cx:pt>
          <cx:pt idx="25349">1</cx:pt>
          <cx:pt idx="25350">1</cx:pt>
          <cx:pt idx="25351">0</cx:pt>
          <cx:pt idx="25352">1</cx:pt>
          <cx:pt idx="25353">1</cx:pt>
          <cx:pt idx="25354">0</cx:pt>
          <cx:pt idx="25355">1</cx:pt>
          <cx:pt idx="25356">1</cx:pt>
          <cx:pt idx="25357">0</cx:pt>
          <cx:pt idx="25358">0</cx:pt>
          <cx:pt idx="25359">0</cx:pt>
          <cx:pt idx="25360">0</cx:pt>
          <cx:pt idx="25361">0</cx:pt>
          <cx:pt idx="25362">1</cx:pt>
          <cx:pt idx="25363">1</cx:pt>
          <cx:pt idx="25364">0</cx:pt>
          <cx:pt idx="25365">0</cx:pt>
          <cx:pt idx="25366">0</cx:pt>
          <cx:pt idx="25367">0</cx:pt>
          <cx:pt idx="25368">1</cx:pt>
          <cx:pt idx="25369">1</cx:pt>
          <cx:pt idx="25370">0</cx:pt>
          <cx:pt idx="25371">1</cx:pt>
          <cx:pt idx="25372">0</cx:pt>
          <cx:pt idx="25373">1</cx:pt>
          <cx:pt idx="25374">1</cx:pt>
          <cx:pt idx="25375">1</cx:pt>
          <cx:pt idx="25376">0</cx:pt>
          <cx:pt idx="25377">0</cx:pt>
          <cx:pt idx="25378">0</cx:pt>
          <cx:pt idx="25379">0</cx:pt>
          <cx:pt idx="25380">0</cx:pt>
          <cx:pt idx="25381">0</cx:pt>
          <cx:pt idx="25382">0</cx:pt>
          <cx:pt idx="25383">1</cx:pt>
          <cx:pt idx="25384">1</cx:pt>
          <cx:pt idx="25385">1</cx:pt>
          <cx:pt idx="25386">0</cx:pt>
          <cx:pt idx="25387">0</cx:pt>
          <cx:pt idx="25388">1</cx:pt>
          <cx:pt idx="25389">0</cx:pt>
          <cx:pt idx="25390">1</cx:pt>
          <cx:pt idx="25391">0</cx:pt>
          <cx:pt idx="25392">0</cx:pt>
          <cx:pt idx="25393">0</cx:pt>
          <cx:pt idx="25394">0</cx:pt>
          <cx:pt idx="25395">0</cx:pt>
          <cx:pt idx="25396">0</cx:pt>
          <cx:pt idx="25397">1</cx:pt>
          <cx:pt idx="25398">1</cx:pt>
          <cx:pt idx="25399">0</cx:pt>
          <cx:pt idx="25400">0</cx:pt>
          <cx:pt idx="25401">0</cx:pt>
          <cx:pt idx="25402">1</cx:pt>
          <cx:pt idx="25403">1</cx:pt>
          <cx:pt idx="25404">0</cx:pt>
          <cx:pt idx="25405">1</cx:pt>
          <cx:pt idx="25406">1</cx:pt>
          <cx:pt idx="25407">0</cx:pt>
          <cx:pt idx="25408">0</cx:pt>
          <cx:pt idx="25409">0</cx:pt>
          <cx:pt idx="25410">0</cx:pt>
          <cx:pt idx="25411">1</cx:pt>
          <cx:pt idx="25412">1</cx:pt>
          <cx:pt idx="25413">0</cx:pt>
          <cx:pt idx="25414">0</cx:pt>
          <cx:pt idx="25415">0</cx:pt>
          <cx:pt idx="25416">0</cx:pt>
          <cx:pt idx="25417">0</cx:pt>
          <cx:pt idx="25418">0</cx:pt>
          <cx:pt idx="25419">1</cx:pt>
          <cx:pt idx="25420">1</cx:pt>
          <cx:pt idx="25421">0</cx:pt>
          <cx:pt idx="25422">0</cx:pt>
          <cx:pt idx="25423">1</cx:pt>
          <cx:pt idx="25424">1</cx:pt>
          <cx:pt idx="25425">0</cx:pt>
          <cx:pt idx="25426">0</cx:pt>
          <cx:pt idx="25427">1</cx:pt>
          <cx:pt idx="25428">0</cx:pt>
          <cx:pt idx="25429">0</cx:pt>
          <cx:pt idx="25430">0</cx:pt>
          <cx:pt idx="25431">1</cx:pt>
          <cx:pt idx="25432">0</cx:pt>
          <cx:pt idx="25433">0</cx:pt>
          <cx:pt idx="25434">1</cx:pt>
          <cx:pt idx="25435">0</cx:pt>
          <cx:pt idx="25436">0</cx:pt>
          <cx:pt idx="25437">1</cx:pt>
          <cx:pt idx="25438">1</cx:pt>
          <cx:pt idx="25439">0</cx:pt>
          <cx:pt idx="25440">1</cx:pt>
          <cx:pt idx="25441">1</cx:pt>
          <cx:pt idx="25442">0</cx:pt>
          <cx:pt idx="25443">0</cx:pt>
          <cx:pt idx="25444">1</cx:pt>
          <cx:pt idx="25445">0</cx:pt>
          <cx:pt idx="25446">0</cx:pt>
          <cx:pt idx="25447">0</cx:pt>
          <cx:pt idx="25448">0</cx:pt>
          <cx:pt idx="25449">0</cx:pt>
          <cx:pt idx="25450">1</cx:pt>
          <cx:pt idx="25451">0</cx:pt>
          <cx:pt idx="25452">1</cx:pt>
          <cx:pt idx="25453">0</cx:pt>
          <cx:pt idx="25454">0</cx:pt>
          <cx:pt idx="25455">0</cx:pt>
          <cx:pt idx="25456">0</cx:pt>
          <cx:pt idx="25457">0</cx:pt>
          <cx:pt idx="25458">1</cx:pt>
          <cx:pt idx="25459">1</cx:pt>
          <cx:pt idx="25460">1</cx:pt>
          <cx:pt idx="25461">0</cx:pt>
          <cx:pt idx="25462">1</cx:pt>
          <cx:pt idx="25463">0</cx:pt>
          <cx:pt idx="25464">1</cx:pt>
          <cx:pt idx="25465">0</cx:pt>
          <cx:pt idx="25466">0</cx:pt>
          <cx:pt idx="25467">0</cx:pt>
          <cx:pt idx="25468">1</cx:pt>
          <cx:pt idx="25469">1</cx:pt>
          <cx:pt idx="25470">1</cx:pt>
          <cx:pt idx="25471">0</cx:pt>
          <cx:pt idx="25472">0</cx:pt>
          <cx:pt idx="25473">0</cx:pt>
          <cx:pt idx="25474">1</cx:pt>
          <cx:pt idx="25475">1</cx:pt>
          <cx:pt idx="25476">1</cx:pt>
          <cx:pt idx="25477">0</cx:pt>
          <cx:pt idx="25478">1</cx:pt>
          <cx:pt idx="25479">1</cx:pt>
          <cx:pt idx="25480">0</cx:pt>
          <cx:pt idx="25481">0</cx:pt>
          <cx:pt idx="25482">1</cx:pt>
          <cx:pt idx="25483">0</cx:pt>
          <cx:pt idx="25484">0</cx:pt>
          <cx:pt idx="25485">0</cx:pt>
          <cx:pt idx="25486">0</cx:pt>
          <cx:pt idx="25487">1</cx:pt>
          <cx:pt idx="25488">0</cx:pt>
          <cx:pt idx="25489">1</cx:pt>
          <cx:pt idx="25490">0</cx:pt>
          <cx:pt idx="25491">1</cx:pt>
          <cx:pt idx="25492">1</cx:pt>
          <cx:pt idx="25493">1</cx:pt>
          <cx:pt idx="25494">0</cx:pt>
          <cx:pt idx="25495">1</cx:pt>
          <cx:pt idx="25496">1</cx:pt>
          <cx:pt idx="25497">0</cx:pt>
          <cx:pt idx="25498">1</cx:pt>
          <cx:pt idx="25499">1</cx:pt>
          <cx:pt idx="25500">1</cx:pt>
          <cx:pt idx="25501">0</cx:pt>
          <cx:pt idx="25502">0</cx:pt>
          <cx:pt idx="25503">0</cx:pt>
          <cx:pt idx="25504">0</cx:pt>
          <cx:pt idx="25505">1</cx:pt>
          <cx:pt idx="25506">1</cx:pt>
          <cx:pt idx="25507">0</cx:pt>
          <cx:pt idx="25508">1</cx:pt>
          <cx:pt idx="25509">1</cx:pt>
          <cx:pt idx="25510">1</cx:pt>
          <cx:pt idx="25511">0</cx:pt>
          <cx:pt idx="25512">1</cx:pt>
          <cx:pt idx="25513">0</cx:pt>
          <cx:pt idx="25514">0</cx:pt>
          <cx:pt idx="25515">0</cx:pt>
          <cx:pt idx="25516">1</cx:pt>
          <cx:pt idx="25517">0</cx:pt>
          <cx:pt idx="25518">1</cx:pt>
          <cx:pt idx="25519">0</cx:pt>
          <cx:pt idx="25520">1</cx:pt>
          <cx:pt idx="25521">0</cx:pt>
          <cx:pt idx="25522">1</cx:pt>
          <cx:pt idx="25523">1</cx:pt>
          <cx:pt idx="25524">0</cx:pt>
          <cx:pt idx="25525">1</cx:pt>
          <cx:pt idx="25526">0</cx:pt>
          <cx:pt idx="25527">0</cx:pt>
          <cx:pt idx="25528">1</cx:pt>
          <cx:pt idx="25529">1</cx:pt>
          <cx:pt idx="25530">0</cx:pt>
          <cx:pt idx="25531">0</cx:pt>
          <cx:pt idx="25532">1</cx:pt>
          <cx:pt idx="25533">0</cx:pt>
          <cx:pt idx="25534">1</cx:pt>
          <cx:pt idx="25535">1</cx:pt>
          <cx:pt idx="25536">0</cx:pt>
          <cx:pt idx="25537">1</cx:pt>
          <cx:pt idx="25538">1</cx:pt>
          <cx:pt idx="25539">0</cx:pt>
          <cx:pt idx="25540">1</cx:pt>
          <cx:pt idx="25541">0</cx:pt>
          <cx:pt idx="25542">0</cx:pt>
          <cx:pt idx="25543">0</cx:pt>
          <cx:pt idx="25544">0</cx:pt>
          <cx:pt idx="25545">1</cx:pt>
          <cx:pt idx="25546">0</cx:pt>
          <cx:pt idx="25547">1</cx:pt>
          <cx:pt idx="25548">0</cx:pt>
          <cx:pt idx="25549">0</cx:pt>
          <cx:pt idx="25550">0</cx:pt>
          <cx:pt idx="25551">1</cx:pt>
          <cx:pt idx="25552">0</cx:pt>
          <cx:pt idx="25553">1</cx:pt>
          <cx:pt idx="25554">1</cx:pt>
          <cx:pt idx="25555">0</cx:pt>
          <cx:pt idx="25556">0</cx:pt>
          <cx:pt idx="25557">0</cx:pt>
          <cx:pt idx="25558">1</cx:pt>
          <cx:pt idx="25559">0</cx:pt>
          <cx:pt idx="25560">1</cx:pt>
          <cx:pt idx="25561">0</cx:pt>
          <cx:pt idx="25562">0</cx:pt>
          <cx:pt idx="25563">1</cx:pt>
          <cx:pt idx="25564">1</cx:pt>
          <cx:pt idx="25565">1</cx:pt>
          <cx:pt idx="25566">0</cx:pt>
          <cx:pt idx="25567">1</cx:pt>
          <cx:pt idx="25568">0</cx:pt>
          <cx:pt idx="25569">0</cx:pt>
          <cx:pt idx="25570">0</cx:pt>
          <cx:pt idx="25571">0</cx:pt>
          <cx:pt idx="25572">0</cx:pt>
          <cx:pt idx="25573">1</cx:pt>
          <cx:pt idx="25574">1</cx:pt>
          <cx:pt idx="25575">1</cx:pt>
          <cx:pt idx="25576">0</cx:pt>
          <cx:pt idx="25577">0</cx:pt>
          <cx:pt idx="25578">0</cx:pt>
          <cx:pt idx="25579">1</cx:pt>
          <cx:pt idx="25580">1</cx:pt>
          <cx:pt idx="25581">0</cx:pt>
          <cx:pt idx="25582">0</cx:pt>
          <cx:pt idx="25583">1</cx:pt>
          <cx:pt idx="25584">0</cx:pt>
          <cx:pt idx="25585">0</cx:pt>
          <cx:pt idx="25586">0</cx:pt>
          <cx:pt idx="25587">0</cx:pt>
          <cx:pt idx="25588">0</cx:pt>
          <cx:pt idx="25589">1</cx:pt>
          <cx:pt idx="25590">0</cx:pt>
          <cx:pt idx="25591">1</cx:pt>
          <cx:pt idx="25592">1</cx:pt>
          <cx:pt idx="25593">0</cx:pt>
          <cx:pt idx="25594">0</cx:pt>
          <cx:pt idx="25595">0</cx:pt>
          <cx:pt idx="25596">0</cx:pt>
          <cx:pt idx="25597">1</cx:pt>
          <cx:pt idx="25598">0</cx:pt>
          <cx:pt idx="25599">0</cx:pt>
          <cx:pt idx="25600">1</cx:pt>
          <cx:pt idx="25601">0</cx:pt>
          <cx:pt idx="25602">1</cx:pt>
          <cx:pt idx="25603">0</cx:pt>
          <cx:pt idx="25604">0</cx:pt>
          <cx:pt idx="25605">1</cx:pt>
          <cx:pt idx="25606">1</cx:pt>
          <cx:pt idx="25607">0</cx:pt>
          <cx:pt idx="25608">0</cx:pt>
          <cx:pt idx="25609">0</cx:pt>
          <cx:pt idx="25610">1</cx:pt>
          <cx:pt idx="25611">1</cx:pt>
          <cx:pt idx="25612">0</cx:pt>
          <cx:pt idx="25613">0</cx:pt>
          <cx:pt idx="25614">1</cx:pt>
          <cx:pt idx="25615">1</cx:pt>
          <cx:pt idx="25616">1</cx:pt>
          <cx:pt idx="25617">1</cx:pt>
          <cx:pt idx="25618">0</cx:pt>
          <cx:pt idx="25619">1</cx:pt>
          <cx:pt idx="25620">0</cx:pt>
          <cx:pt idx="25621">1</cx:pt>
          <cx:pt idx="25622">0</cx:pt>
          <cx:pt idx="25623">0</cx:pt>
          <cx:pt idx="25624">1</cx:pt>
          <cx:pt idx="25625">0</cx:pt>
          <cx:pt idx="25626">0</cx:pt>
          <cx:pt idx="25627">1</cx:pt>
          <cx:pt idx="25628">0</cx:pt>
          <cx:pt idx="25629">0</cx:pt>
          <cx:pt idx="25630">0</cx:pt>
          <cx:pt idx="25631">1</cx:pt>
          <cx:pt idx="25632">0</cx:pt>
          <cx:pt idx="25633">1</cx:pt>
          <cx:pt idx="25634">1</cx:pt>
          <cx:pt idx="25635">0</cx:pt>
          <cx:pt idx="25636">1</cx:pt>
          <cx:pt idx="25637">0</cx:pt>
          <cx:pt idx="25638">1</cx:pt>
          <cx:pt idx="25639">0</cx:pt>
          <cx:pt idx="25640">1</cx:pt>
          <cx:pt idx="25641">0</cx:pt>
          <cx:pt idx="25642">0</cx:pt>
          <cx:pt idx="25643">1</cx:pt>
          <cx:pt idx="25644">1</cx:pt>
          <cx:pt idx="25645">1</cx:pt>
          <cx:pt idx="25646">0</cx:pt>
          <cx:pt idx="25647">1</cx:pt>
          <cx:pt idx="25648">1</cx:pt>
          <cx:pt idx="25649">1</cx:pt>
          <cx:pt idx="25650">0</cx:pt>
          <cx:pt idx="25651">0</cx:pt>
          <cx:pt idx="25652">1</cx:pt>
          <cx:pt idx="25653">0</cx:pt>
          <cx:pt idx="25654">1</cx:pt>
          <cx:pt idx="25655">0</cx:pt>
          <cx:pt idx="25656">1</cx:pt>
          <cx:pt idx="25657">0</cx:pt>
          <cx:pt idx="25658">0</cx:pt>
          <cx:pt idx="25659">0</cx:pt>
          <cx:pt idx="25660">1</cx:pt>
          <cx:pt idx="25661">0</cx:pt>
          <cx:pt idx="25662">1</cx:pt>
          <cx:pt idx="25663">0</cx:pt>
          <cx:pt idx="25664">0</cx:pt>
          <cx:pt idx="25665">0</cx:pt>
          <cx:pt idx="25666">1</cx:pt>
          <cx:pt idx="25667">0</cx:pt>
          <cx:pt idx="25668">1</cx:pt>
          <cx:pt idx="25669">0</cx:pt>
          <cx:pt idx="25670">0</cx:pt>
          <cx:pt idx="25671">0</cx:pt>
          <cx:pt idx="25672">1</cx:pt>
          <cx:pt idx="25673">0</cx:pt>
          <cx:pt idx="25674">0</cx:pt>
          <cx:pt idx="25675">1</cx:pt>
          <cx:pt idx="25676">1</cx:pt>
          <cx:pt idx="25677">0</cx:pt>
          <cx:pt idx="25678">1</cx:pt>
          <cx:pt idx="25679">1</cx:pt>
          <cx:pt idx="25680">0</cx:pt>
          <cx:pt idx="25681">1</cx:pt>
          <cx:pt idx="25682">0</cx:pt>
          <cx:pt idx="25683">1</cx:pt>
          <cx:pt idx="25684">0</cx:pt>
          <cx:pt idx="25685">0</cx:pt>
          <cx:pt idx="25686">0</cx:pt>
          <cx:pt idx="25687">0</cx:pt>
          <cx:pt idx="25688">1</cx:pt>
          <cx:pt idx="25689">0</cx:pt>
          <cx:pt idx="25690">0</cx:pt>
          <cx:pt idx="25691">1</cx:pt>
          <cx:pt idx="25692">1</cx:pt>
          <cx:pt idx="25693">0</cx:pt>
          <cx:pt idx="25694">1</cx:pt>
          <cx:pt idx="25695">0</cx:pt>
          <cx:pt idx="25696">0</cx:pt>
          <cx:pt idx="25697">1</cx:pt>
          <cx:pt idx="25698">1</cx:pt>
          <cx:pt idx="25699">0</cx:pt>
          <cx:pt idx="25700">0</cx:pt>
          <cx:pt idx="25701">0</cx:pt>
          <cx:pt idx="25702">0</cx:pt>
          <cx:pt idx="25703">1</cx:pt>
          <cx:pt idx="25704">0</cx:pt>
          <cx:pt idx="25705">1</cx:pt>
          <cx:pt idx="25706">1</cx:pt>
          <cx:pt idx="25707">1</cx:pt>
          <cx:pt idx="25708">1</cx:pt>
          <cx:pt idx="25709">0</cx:pt>
          <cx:pt idx="25710">1</cx:pt>
          <cx:pt idx="25711">0</cx:pt>
          <cx:pt idx="25712">0</cx:pt>
          <cx:pt idx="25713">0</cx:pt>
          <cx:pt idx="25714">1</cx:pt>
          <cx:pt idx="25715">1</cx:pt>
          <cx:pt idx="25716">0</cx:pt>
          <cx:pt idx="25717">0</cx:pt>
          <cx:pt idx="25718">1</cx:pt>
          <cx:pt idx="25719">0</cx:pt>
          <cx:pt idx="25720">0</cx:pt>
          <cx:pt idx="25721">0</cx:pt>
          <cx:pt idx="25722">0</cx:pt>
          <cx:pt idx="25723">0</cx:pt>
          <cx:pt idx="25724">1</cx:pt>
          <cx:pt idx="25725">1</cx:pt>
          <cx:pt idx="25726">1</cx:pt>
          <cx:pt idx="25727">1</cx:pt>
          <cx:pt idx="25728">0</cx:pt>
          <cx:pt idx="25729">0</cx:pt>
          <cx:pt idx="25730">0</cx:pt>
          <cx:pt idx="25731">1</cx:pt>
          <cx:pt idx="25732">1</cx:pt>
          <cx:pt idx="25733">0</cx:pt>
          <cx:pt idx="25734">0</cx:pt>
          <cx:pt idx="25735">0</cx:pt>
          <cx:pt idx="25736">0</cx:pt>
          <cx:pt idx="25737">0</cx:pt>
          <cx:pt idx="25738">0</cx:pt>
          <cx:pt idx="25739">0</cx:pt>
          <cx:pt idx="25740">1</cx:pt>
          <cx:pt idx="25741">1</cx:pt>
          <cx:pt idx="25742">0</cx:pt>
          <cx:pt idx="25743">1</cx:pt>
          <cx:pt idx="25744">0</cx:pt>
          <cx:pt idx="25745">0</cx:pt>
          <cx:pt idx="25746">0</cx:pt>
          <cx:pt idx="25747">0</cx:pt>
          <cx:pt idx="25748">0</cx:pt>
          <cx:pt idx="25749">0</cx:pt>
          <cx:pt idx="25750">0</cx:pt>
          <cx:pt idx="25751">0</cx:pt>
          <cx:pt idx="25752">1</cx:pt>
          <cx:pt idx="25753">0</cx:pt>
          <cx:pt idx="25754">0</cx:pt>
          <cx:pt idx="25755">1</cx:pt>
          <cx:pt idx="25756">0</cx:pt>
          <cx:pt idx="25757">0</cx:pt>
          <cx:pt idx="25758">0</cx:pt>
          <cx:pt idx="25759">1</cx:pt>
          <cx:pt idx="25760">1</cx:pt>
          <cx:pt idx="25761">0</cx:pt>
          <cx:pt idx="25762">1</cx:pt>
          <cx:pt idx="25763">0</cx:pt>
          <cx:pt idx="25764">1</cx:pt>
          <cx:pt idx="25765">0</cx:pt>
          <cx:pt idx="25766">0</cx:pt>
          <cx:pt idx="25767">1</cx:pt>
          <cx:pt idx="25768">0</cx:pt>
          <cx:pt idx="25769">1</cx:pt>
          <cx:pt idx="25770">0</cx:pt>
          <cx:pt idx="25771">0</cx:pt>
          <cx:pt idx="25772">0</cx:pt>
          <cx:pt idx="25773">0</cx:pt>
          <cx:pt idx="25774">0</cx:pt>
          <cx:pt idx="25775">0</cx:pt>
          <cx:pt idx="25776">1</cx:pt>
          <cx:pt idx="25777">0</cx:pt>
          <cx:pt idx="25778">0</cx:pt>
          <cx:pt idx="25779">0</cx:pt>
          <cx:pt idx="25780">0</cx:pt>
          <cx:pt idx="25781">0</cx:pt>
          <cx:pt idx="25782">1</cx:pt>
          <cx:pt idx="25783">0</cx:pt>
          <cx:pt idx="25784">0</cx:pt>
          <cx:pt idx="25785">1</cx:pt>
          <cx:pt idx="25786">1</cx:pt>
          <cx:pt idx="25787">0</cx:pt>
          <cx:pt idx="25788">0</cx:pt>
          <cx:pt idx="25789">0</cx:pt>
          <cx:pt idx="25790">1</cx:pt>
          <cx:pt idx="25791">1</cx:pt>
          <cx:pt idx="25792">0</cx:pt>
          <cx:pt idx="25793">0</cx:pt>
          <cx:pt idx="25794">0</cx:pt>
          <cx:pt idx="25795">0</cx:pt>
          <cx:pt idx="25796">1</cx:pt>
          <cx:pt idx="25797">0</cx:pt>
          <cx:pt idx="25798">0</cx:pt>
          <cx:pt idx="25799">0</cx:pt>
          <cx:pt idx="25800">0</cx:pt>
          <cx:pt idx="25801">0</cx:pt>
          <cx:pt idx="25802">0</cx:pt>
          <cx:pt idx="25803">0</cx:pt>
          <cx:pt idx="25804">0</cx:pt>
          <cx:pt idx="25805">1</cx:pt>
          <cx:pt idx="25806">0</cx:pt>
          <cx:pt idx="25807">1</cx:pt>
          <cx:pt idx="25808">0</cx:pt>
          <cx:pt idx="25809">1</cx:pt>
          <cx:pt idx="25810">0</cx:pt>
          <cx:pt idx="25811">0</cx:pt>
          <cx:pt idx="25812">1</cx:pt>
          <cx:pt idx="25813">0</cx:pt>
          <cx:pt idx="25814">0</cx:pt>
          <cx:pt idx="25815">0</cx:pt>
          <cx:pt idx="25816">1</cx:pt>
          <cx:pt idx="25817">0</cx:pt>
          <cx:pt idx="25818">1</cx:pt>
          <cx:pt idx="25819">0</cx:pt>
          <cx:pt idx="25820">0</cx:pt>
          <cx:pt idx="25821">1</cx:pt>
          <cx:pt idx="25822">1</cx:pt>
          <cx:pt idx="25823">0</cx:pt>
          <cx:pt idx="25824">0</cx:pt>
          <cx:pt idx="25825">1</cx:pt>
          <cx:pt idx="25826">0</cx:pt>
          <cx:pt idx="25827">1</cx:pt>
          <cx:pt idx="25828">0</cx:pt>
          <cx:pt idx="25829">1</cx:pt>
          <cx:pt idx="25830">1</cx:pt>
          <cx:pt idx="25831">0</cx:pt>
          <cx:pt idx="25832">1</cx:pt>
          <cx:pt idx="25833">0</cx:pt>
          <cx:pt idx="25834">0</cx:pt>
          <cx:pt idx="25835">0</cx:pt>
          <cx:pt idx="25836">0</cx:pt>
          <cx:pt idx="25837">1</cx:pt>
          <cx:pt idx="25838">0</cx:pt>
          <cx:pt idx="25839">0</cx:pt>
          <cx:pt idx="25840">1</cx:pt>
          <cx:pt idx="25841">1</cx:pt>
          <cx:pt idx="25842">1</cx:pt>
          <cx:pt idx="25843">0</cx:pt>
          <cx:pt idx="25844">1</cx:pt>
          <cx:pt idx="25845">0</cx:pt>
          <cx:pt idx="25846">1</cx:pt>
          <cx:pt idx="25847">0</cx:pt>
          <cx:pt idx="25848">1</cx:pt>
          <cx:pt idx="25849">1</cx:pt>
          <cx:pt idx="25850">0</cx:pt>
          <cx:pt idx="25851">0</cx:pt>
          <cx:pt idx="25852">0</cx:pt>
          <cx:pt idx="25853">0</cx:pt>
          <cx:pt idx="25854">1</cx:pt>
          <cx:pt idx="25855">0</cx:pt>
          <cx:pt idx="25856">0</cx:pt>
          <cx:pt idx="25857">0</cx:pt>
          <cx:pt idx="25858">0</cx:pt>
          <cx:pt idx="25859">0</cx:pt>
          <cx:pt idx="25860">1</cx:pt>
          <cx:pt idx="25861">1</cx:pt>
          <cx:pt idx="25862">0</cx:pt>
          <cx:pt idx="25863">1</cx:pt>
          <cx:pt idx="25864">0</cx:pt>
          <cx:pt idx="25865">0</cx:pt>
          <cx:pt idx="25866">1</cx:pt>
          <cx:pt idx="25867">1</cx:pt>
          <cx:pt idx="25868">0</cx:pt>
          <cx:pt idx="25869">1</cx:pt>
          <cx:pt idx="25870">0</cx:pt>
          <cx:pt idx="25871">0</cx:pt>
          <cx:pt idx="25872">0</cx:pt>
          <cx:pt idx="25873">0</cx:pt>
          <cx:pt idx="25874">0</cx:pt>
          <cx:pt idx="25875">0</cx:pt>
          <cx:pt idx="25876">0</cx:pt>
          <cx:pt idx="25877">0</cx:pt>
          <cx:pt idx="25878">1</cx:pt>
          <cx:pt idx="25879">0</cx:pt>
          <cx:pt idx="25880">0</cx:pt>
          <cx:pt idx="25881">0</cx:pt>
          <cx:pt idx="25882">1</cx:pt>
          <cx:pt idx="25883">1</cx:pt>
          <cx:pt idx="25884">0</cx:pt>
          <cx:pt idx="25885">1</cx:pt>
          <cx:pt idx="25886">0</cx:pt>
          <cx:pt idx="25887">0</cx:pt>
          <cx:pt idx="25888">0</cx:pt>
          <cx:pt idx="25889">1</cx:pt>
          <cx:pt idx="25890">0</cx:pt>
          <cx:pt idx="25891">0</cx:pt>
          <cx:pt idx="25892">1</cx:pt>
          <cx:pt idx="25893">1</cx:pt>
          <cx:pt idx="25894">0</cx:pt>
          <cx:pt idx="25895">1</cx:pt>
          <cx:pt idx="25896">0</cx:pt>
          <cx:pt idx="25897">1</cx:pt>
          <cx:pt idx="25898">1</cx:pt>
          <cx:pt idx="25899">1</cx:pt>
          <cx:pt idx="25900">1</cx:pt>
          <cx:pt idx="25901">0</cx:pt>
          <cx:pt idx="25902">0</cx:pt>
          <cx:pt idx="25903">0</cx:pt>
          <cx:pt idx="25904">0</cx:pt>
          <cx:pt idx="25905">1</cx:pt>
          <cx:pt idx="25906">1</cx:pt>
          <cx:pt idx="25907">1</cx:pt>
          <cx:pt idx="25908">0</cx:pt>
          <cx:pt idx="25909">0</cx:pt>
          <cx:pt idx="25910">0</cx:pt>
          <cx:pt idx="25911">1</cx:pt>
          <cx:pt idx="25912">0</cx:pt>
          <cx:pt idx="25913">0</cx:pt>
          <cx:pt idx="25914">1</cx:pt>
          <cx:pt idx="25915">0</cx:pt>
          <cx:pt idx="25916">0</cx:pt>
          <cx:pt idx="25917">0</cx:pt>
          <cx:pt idx="25918">1</cx:pt>
          <cx:pt idx="25919">1</cx:pt>
          <cx:pt idx="25920">0</cx:pt>
          <cx:pt idx="25921">0</cx:pt>
          <cx:pt idx="25922">0</cx:pt>
          <cx:pt idx="25923">0</cx:pt>
          <cx:pt idx="25924">0</cx:pt>
          <cx:pt idx="25925">1</cx:pt>
          <cx:pt idx="25926">0</cx:pt>
          <cx:pt idx="25927">1</cx:pt>
          <cx:pt idx="25928">1</cx:pt>
          <cx:pt idx="25929">0</cx:pt>
          <cx:pt idx="25930">0</cx:pt>
          <cx:pt idx="25931">1</cx:pt>
          <cx:pt idx="25932">1</cx:pt>
          <cx:pt idx="25933">0</cx:pt>
          <cx:pt idx="25934">1</cx:pt>
          <cx:pt idx="25935">0</cx:pt>
          <cx:pt idx="25936">1</cx:pt>
          <cx:pt idx="25937">0</cx:pt>
          <cx:pt idx="25938">0</cx:pt>
          <cx:pt idx="25939">0</cx:pt>
          <cx:pt idx="25940">1</cx:pt>
          <cx:pt idx="25941">1</cx:pt>
          <cx:pt idx="25942">0</cx:pt>
          <cx:pt idx="25943">0</cx:pt>
          <cx:pt idx="25944">1</cx:pt>
          <cx:pt idx="25945">0</cx:pt>
          <cx:pt idx="25946">0</cx:pt>
          <cx:pt idx="25947">1</cx:pt>
          <cx:pt idx="25948">1</cx:pt>
          <cx:pt idx="25949">0</cx:pt>
          <cx:pt idx="25950">0</cx:pt>
          <cx:pt idx="25951">1</cx:pt>
          <cx:pt idx="25952">1</cx:pt>
          <cx:pt idx="25953">0</cx:pt>
          <cx:pt idx="25954">0</cx:pt>
          <cx:pt idx="25955">1</cx:pt>
          <cx:pt idx="25956">0</cx:pt>
          <cx:pt idx="25957">0</cx:pt>
          <cx:pt idx="25958">0</cx:pt>
          <cx:pt idx="25959">0</cx:pt>
          <cx:pt idx="25960">1</cx:pt>
          <cx:pt idx="25961">0</cx:pt>
          <cx:pt idx="25962">0</cx:pt>
          <cx:pt idx="25963">0</cx:pt>
          <cx:pt idx="25964">0</cx:pt>
          <cx:pt idx="25965">0</cx:pt>
          <cx:pt idx="25966">1</cx:pt>
          <cx:pt idx="25967">0</cx:pt>
          <cx:pt idx="25968">0</cx:pt>
          <cx:pt idx="25969">0</cx:pt>
          <cx:pt idx="25970">0</cx:pt>
          <cx:pt idx="25971">0</cx:pt>
          <cx:pt idx="25972">0</cx:pt>
          <cx:pt idx="25973">1</cx:pt>
          <cx:pt idx="25974">1</cx:pt>
          <cx:pt idx="25975">1</cx:pt>
          <cx:pt idx="25976">1</cx:pt>
          <cx:pt idx="25977">1</cx:pt>
          <cx:pt idx="25978">0</cx:pt>
          <cx:pt idx="25979">0</cx:pt>
          <cx:pt idx="25980">1</cx:pt>
          <cx:pt idx="25981">0</cx:pt>
          <cx:pt idx="25982">1</cx:pt>
          <cx:pt idx="25983">1</cx:pt>
          <cx:pt idx="25984">0</cx:pt>
          <cx:pt idx="25985">1</cx:pt>
          <cx:pt idx="25986">0</cx:pt>
          <cx:pt idx="25987">0</cx:pt>
          <cx:pt idx="25988">0</cx:pt>
          <cx:pt idx="25989">0</cx:pt>
          <cx:pt idx="25990">0</cx:pt>
          <cx:pt idx="25991">0</cx:pt>
          <cx:pt idx="25992">1</cx:pt>
          <cx:pt idx="25993">1</cx:pt>
          <cx:pt idx="25994">1</cx:pt>
          <cx:pt idx="25995">1</cx:pt>
          <cx:pt idx="25996">1</cx:pt>
          <cx:pt idx="25997">1</cx:pt>
          <cx:pt idx="25998">1</cx:pt>
          <cx:pt idx="25999">0</cx:pt>
          <cx:pt idx="26000">1</cx:pt>
          <cx:pt idx="26001">0</cx:pt>
          <cx:pt idx="26002">0</cx:pt>
          <cx:pt idx="26003">1</cx:pt>
          <cx:pt idx="26004">0</cx:pt>
          <cx:pt idx="26005">0</cx:pt>
          <cx:pt idx="26006">1</cx:pt>
          <cx:pt idx="26007">0</cx:pt>
          <cx:pt idx="26008">1</cx:pt>
          <cx:pt idx="26009">1</cx:pt>
          <cx:pt idx="26010">0</cx:pt>
          <cx:pt idx="26011">0</cx:pt>
          <cx:pt idx="26012">1</cx:pt>
          <cx:pt idx="26013">0</cx:pt>
          <cx:pt idx="26014">0</cx:pt>
          <cx:pt idx="26015">0</cx:pt>
          <cx:pt idx="26016">0</cx:pt>
          <cx:pt idx="26017">0</cx:pt>
          <cx:pt idx="26018">1</cx:pt>
          <cx:pt idx="26019">0</cx:pt>
          <cx:pt idx="26020">0</cx:pt>
          <cx:pt idx="26021">1</cx:pt>
          <cx:pt idx="26022">0</cx:pt>
          <cx:pt idx="26023">0</cx:pt>
          <cx:pt idx="26024">1</cx:pt>
          <cx:pt idx="26025">1</cx:pt>
          <cx:pt idx="26026">1</cx:pt>
          <cx:pt idx="26027">0</cx:pt>
          <cx:pt idx="26028">1</cx:pt>
          <cx:pt idx="26029">1</cx:pt>
          <cx:pt idx="26030">0</cx:pt>
          <cx:pt idx="26031">0</cx:pt>
          <cx:pt idx="26032">0</cx:pt>
          <cx:pt idx="26033">0</cx:pt>
          <cx:pt idx="26034">1</cx:pt>
          <cx:pt idx="26035">0</cx:pt>
          <cx:pt idx="26036">0</cx:pt>
          <cx:pt idx="26037">1</cx:pt>
          <cx:pt idx="26038">0</cx:pt>
          <cx:pt idx="26039">1</cx:pt>
          <cx:pt idx="26040">0</cx:pt>
          <cx:pt idx="26041">1</cx:pt>
          <cx:pt idx="26042">1</cx:pt>
          <cx:pt idx="26043">1</cx:pt>
          <cx:pt idx="26044">1</cx:pt>
          <cx:pt idx="26045">1</cx:pt>
          <cx:pt idx="26046">1</cx:pt>
          <cx:pt idx="26047">1</cx:pt>
          <cx:pt idx="26048">0</cx:pt>
          <cx:pt idx="26049">0</cx:pt>
          <cx:pt idx="26050">0</cx:pt>
          <cx:pt idx="26051">1</cx:pt>
          <cx:pt idx="26052">1</cx:pt>
          <cx:pt idx="26053">0</cx:pt>
          <cx:pt idx="26054">0</cx:pt>
          <cx:pt idx="26055">0</cx:pt>
          <cx:pt idx="26056">0</cx:pt>
          <cx:pt idx="26057">1</cx:pt>
          <cx:pt idx="26058">0</cx:pt>
          <cx:pt idx="26059">0</cx:pt>
          <cx:pt idx="26060">1</cx:pt>
          <cx:pt idx="26061">1</cx:pt>
          <cx:pt idx="26062">0</cx:pt>
          <cx:pt idx="26063">0</cx:pt>
          <cx:pt idx="26064">0</cx:pt>
          <cx:pt idx="26065">0</cx:pt>
          <cx:pt idx="26066">0</cx:pt>
          <cx:pt idx="26067">0</cx:pt>
          <cx:pt idx="26068">1</cx:pt>
          <cx:pt idx="26069">0</cx:pt>
          <cx:pt idx="26070">1</cx:pt>
          <cx:pt idx="26071">0</cx:pt>
          <cx:pt idx="26072">1</cx:pt>
          <cx:pt idx="26073">0</cx:pt>
          <cx:pt idx="26074">0</cx:pt>
          <cx:pt idx="26075">1</cx:pt>
          <cx:pt idx="26076">1</cx:pt>
          <cx:pt idx="26077">1</cx:pt>
          <cx:pt idx="26078">0</cx:pt>
          <cx:pt idx="26079">0</cx:pt>
          <cx:pt idx="26080">1</cx:pt>
          <cx:pt idx="26081">0</cx:pt>
          <cx:pt idx="26082">0</cx:pt>
          <cx:pt idx="26083">0</cx:pt>
          <cx:pt idx="26084">1</cx:pt>
          <cx:pt idx="26085">1</cx:pt>
          <cx:pt idx="26086">1</cx:pt>
          <cx:pt idx="26087">0</cx:pt>
          <cx:pt idx="26088">0</cx:pt>
          <cx:pt idx="26089">1</cx:pt>
          <cx:pt idx="26090">1</cx:pt>
          <cx:pt idx="26091">0</cx:pt>
          <cx:pt idx="26092">0</cx:pt>
          <cx:pt idx="26093">1</cx:pt>
          <cx:pt idx="26094">1</cx:pt>
          <cx:pt idx="26095">0</cx:pt>
          <cx:pt idx="26096">1</cx:pt>
          <cx:pt idx="26097">1</cx:pt>
          <cx:pt idx="26098">0</cx:pt>
          <cx:pt idx="26099">0</cx:pt>
          <cx:pt idx="26100">0</cx:pt>
          <cx:pt idx="26101">1</cx:pt>
          <cx:pt idx="26102">0</cx:pt>
          <cx:pt idx="26103">1</cx:pt>
          <cx:pt idx="26104">0</cx:pt>
          <cx:pt idx="26105">0</cx:pt>
          <cx:pt idx="26106">0</cx:pt>
          <cx:pt idx="26107">0</cx:pt>
          <cx:pt idx="26108">0</cx:pt>
          <cx:pt idx="26109">1</cx:pt>
          <cx:pt idx="26110">0</cx:pt>
          <cx:pt idx="26111">0</cx:pt>
          <cx:pt idx="26112">1</cx:pt>
          <cx:pt idx="26113">1</cx:pt>
          <cx:pt idx="26114">0</cx:pt>
          <cx:pt idx="26115">0</cx:pt>
          <cx:pt idx="26116">1</cx:pt>
          <cx:pt idx="26117">0</cx:pt>
          <cx:pt idx="26118">0</cx:pt>
          <cx:pt idx="26119">1</cx:pt>
          <cx:pt idx="26120">1</cx:pt>
          <cx:pt idx="26121">1</cx:pt>
          <cx:pt idx="26122">1</cx:pt>
          <cx:pt idx="26123">0</cx:pt>
          <cx:pt idx="26124">1</cx:pt>
          <cx:pt idx="26125">0</cx:pt>
          <cx:pt idx="26126">0</cx:pt>
          <cx:pt idx="26127">0</cx:pt>
          <cx:pt idx="26128">0</cx:pt>
          <cx:pt idx="26129">0</cx:pt>
          <cx:pt idx="26130">1</cx:pt>
          <cx:pt idx="26131">1</cx:pt>
          <cx:pt idx="26132">0</cx:pt>
          <cx:pt idx="26133">1</cx:pt>
          <cx:pt idx="26134">1</cx:pt>
          <cx:pt idx="26135">1</cx:pt>
          <cx:pt idx="26136">0</cx:pt>
          <cx:pt idx="26137">0</cx:pt>
          <cx:pt idx="26138">0</cx:pt>
          <cx:pt idx="26139">0</cx:pt>
          <cx:pt idx="26140">1</cx:pt>
          <cx:pt idx="26141">0</cx:pt>
          <cx:pt idx="26142">1</cx:pt>
          <cx:pt idx="26143">0</cx:pt>
          <cx:pt idx="26144">0</cx:pt>
          <cx:pt idx="26145">1</cx:pt>
          <cx:pt idx="26146">0</cx:pt>
          <cx:pt idx="26147">0</cx:pt>
          <cx:pt idx="26148">0</cx:pt>
          <cx:pt idx="26149">0</cx:pt>
          <cx:pt idx="26150">0</cx:pt>
          <cx:pt idx="26151">0</cx:pt>
          <cx:pt idx="26152">0</cx:pt>
          <cx:pt idx="26153">1</cx:pt>
          <cx:pt idx="26154">1</cx:pt>
          <cx:pt idx="26155">0</cx:pt>
          <cx:pt idx="26156">1</cx:pt>
          <cx:pt idx="26157">1</cx:pt>
          <cx:pt idx="26158">1</cx:pt>
          <cx:pt idx="26159">1</cx:pt>
          <cx:pt idx="26160">1</cx:pt>
          <cx:pt idx="26161">0</cx:pt>
          <cx:pt idx="26162">1</cx:pt>
          <cx:pt idx="26163">1</cx:pt>
          <cx:pt idx="26164">1</cx:pt>
          <cx:pt idx="26165">0</cx:pt>
          <cx:pt idx="26166">1</cx:pt>
          <cx:pt idx="26167">1</cx:pt>
          <cx:pt idx="26168">0</cx:pt>
          <cx:pt idx="26169">1</cx:pt>
          <cx:pt idx="26170">0</cx:pt>
          <cx:pt idx="26171">0</cx:pt>
          <cx:pt idx="26172">1</cx:pt>
          <cx:pt idx="26173">0</cx:pt>
          <cx:pt idx="26174">0</cx:pt>
          <cx:pt idx="26175">0</cx:pt>
          <cx:pt idx="26176">1</cx:pt>
          <cx:pt idx="26177">1</cx:pt>
          <cx:pt idx="26178">1</cx:pt>
          <cx:pt idx="26179">0</cx:pt>
          <cx:pt idx="26180">1</cx:pt>
          <cx:pt idx="26181">0</cx:pt>
          <cx:pt idx="26182">1</cx:pt>
          <cx:pt idx="26183">1</cx:pt>
          <cx:pt idx="26184">0</cx:pt>
          <cx:pt idx="26185">0</cx:pt>
          <cx:pt idx="26186">0</cx:pt>
          <cx:pt idx="26187">1</cx:pt>
          <cx:pt idx="26188">0</cx:pt>
          <cx:pt idx="26189">1</cx:pt>
          <cx:pt idx="26190">0</cx:pt>
          <cx:pt idx="26191">1</cx:pt>
          <cx:pt idx="26192">0</cx:pt>
          <cx:pt idx="26193">1</cx:pt>
          <cx:pt idx="26194">1</cx:pt>
          <cx:pt idx="26195">0</cx:pt>
          <cx:pt idx="26196">0</cx:pt>
          <cx:pt idx="26197">0</cx:pt>
          <cx:pt idx="26198">1</cx:pt>
          <cx:pt idx="26199">0</cx:pt>
          <cx:pt idx="26200">0</cx:pt>
          <cx:pt idx="26201">0</cx:pt>
          <cx:pt idx="26202">1</cx:pt>
          <cx:pt idx="26203">0</cx:pt>
          <cx:pt idx="26204">0</cx:pt>
          <cx:pt idx="26205">1</cx:pt>
          <cx:pt idx="26206">1</cx:pt>
          <cx:pt idx="26207">0</cx:pt>
          <cx:pt idx="26208">0</cx:pt>
          <cx:pt idx="26209">0</cx:pt>
          <cx:pt idx="26210">0</cx:pt>
          <cx:pt idx="26211">0</cx:pt>
          <cx:pt idx="26212">0</cx:pt>
          <cx:pt idx="26213">1</cx:pt>
          <cx:pt idx="26214">0</cx:pt>
          <cx:pt idx="26215">0</cx:pt>
          <cx:pt idx="26216">0</cx:pt>
          <cx:pt idx="26217">0</cx:pt>
          <cx:pt idx="26218">0</cx:pt>
          <cx:pt idx="26219">0</cx:pt>
          <cx:pt idx="26220">0</cx:pt>
          <cx:pt idx="26221">1</cx:pt>
          <cx:pt idx="26222">0</cx:pt>
          <cx:pt idx="26223">1</cx:pt>
          <cx:pt idx="26224">1</cx:pt>
          <cx:pt idx="26225">1</cx:pt>
          <cx:pt idx="26226">0</cx:pt>
          <cx:pt idx="26227">0</cx:pt>
          <cx:pt idx="26228">0</cx:pt>
          <cx:pt idx="26229">1</cx:pt>
          <cx:pt idx="26230">1</cx:pt>
          <cx:pt idx="26231">0</cx:pt>
          <cx:pt idx="26232">0</cx:pt>
          <cx:pt idx="26233">0</cx:pt>
          <cx:pt idx="26234">0</cx:pt>
          <cx:pt idx="26235">1</cx:pt>
          <cx:pt idx="26236">0</cx:pt>
          <cx:pt idx="26237">1</cx:pt>
          <cx:pt idx="26238">0</cx:pt>
          <cx:pt idx="26239">1</cx:pt>
          <cx:pt idx="26240">1</cx:pt>
          <cx:pt idx="26241">1</cx:pt>
          <cx:pt idx="26242">1</cx:pt>
          <cx:pt idx="26243">0</cx:pt>
          <cx:pt idx="26244">1</cx:pt>
          <cx:pt idx="26245">1</cx:pt>
          <cx:pt idx="26246">1</cx:pt>
          <cx:pt idx="26247">0</cx:pt>
          <cx:pt idx="26248">0</cx:pt>
          <cx:pt idx="26249">0</cx:pt>
          <cx:pt idx="26250">1</cx:pt>
          <cx:pt idx="26251">0</cx:pt>
          <cx:pt idx="26252">0</cx:pt>
          <cx:pt idx="26253">0</cx:pt>
          <cx:pt idx="26254">0</cx:pt>
          <cx:pt idx="26255">0</cx:pt>
          <cx:pt idx="26256">1</cx:pt>
          <cx:pt idx="26257">0</cx:pt>
          <cx:pt idx="26258">1</cx:pt>
          <cx:pt idx="26259">0</cx:pt>
          <cx:pt idx="26260">1</cx:pt>
          <cx:pt idx="26261">1</cx:pt>
          <cx:pt idx="26262">1</cx:pt>
          <cx:pt idx="26263">0</cx:pt>
          <cx:pt idx="26264">1</cx:pt>
          <cx:pt idx="26265">0</cx:pt>
          <cx:pt idx="26266">1</cx:pt>
          <cx:pt idx="26267">0</cx:pt>
          <cx:pt idx="26268">1</cx:pt>
          <cx:pt idx="26269">1</cx:pt>
          <cx:pt idx="26270">0</cx:pt>
          <cx:pt idx="26271">1</cx:pt>
          <cx:pt idx="26272">1</cx:pt>
          <cx:pt idx="26273">1</cx:pt>
          <cx:pt idx="26274">0</cx:pt>
          <cx:pt idx="26275">0</cx:pt>
          <cx:pt idx="26276">0</cx:pt>
          <cx:pt idx="26277">1</cx:pt>
          <cx:pt idx="26278">1</cx:pt>
          <cx:pt idx="26279">1</cx:pt>
          <cx:pt idx="26280">1</cx:pt>
          <cx:pt idx="26281">0</cx:pt>
          <cx:pt idx="26282">1</cx:pt>
          <cx:pt idx="26283">0</cx:pt>
          <cx:pt idx="26284">0</cx:pt>
          <cx:pt idx="26285">0</cx:pt>
          <cx:pt idx="26286">0</cx:pt>
          <cx:pt idx="26287">0</cx:pt>
          <cx:pt idx="26288">0</cx:pt>
          <cx:pt idx="26289">1</cx:pt>
          <cx:pt idx="26290">1</cx:pt>
          <cx:pt idx="26291">0</cx:pt>
          <cx:pt idx="26292">1</cx:pt>
          <cx:pt idx="26293">0</cx:pt>
          <cx:pt idx="26294">1</cx:pt>
          <cx:pt idx="26295">0</cx:pt>
          <cx:pt idx="26296">1</cx:pt>
          <cx:pt idx="26297">0</cx:pt>
          <cx:pt idx="26298">0</cx:pt>
          <cx:pt idx="26299">0</cx:pt>
          <cx:pt idx="26300">1</cx:pt>
          <cx:pt idx="26301">0</cx:pt>
          <cx:pt idx="26302">1</cx:pt>
          <cx:pt idx="26303">0</cx:pt>
          <cx:pt idx="26304">0</cx:pt>
          <cx:pt idx="26305">1</cx:pt>
          <cx:pt idx="26306">0</cx:pt>
          <cx:pt idx="26307">1</cx:pt>
          <cx:pt idx="26308">1</cx:pt>
          <cx:pt idx="26309">0</cx:pt>
          <cx:pt idx="26310">0</cx:pt>
          <cx:pt idx="26311">0</cx:pt>
          <cx:pt idx="26312">0</cx:pt>
          <cx:pt idx="26313">0</cx:pt>
          <cx:pt idx="26314">0</cx:pt>
          <cx:pt idx="26315">1</cx:pt>
          <cx:pt idx="26316">1</cx:pt>
          <cx:pt idx="26317">1</cx:pt>
          <cx:pt idx="26318">0</cx:pt>
          <cx:pt idx="26319">0</cx:pt>
          <cx:pt idx="26320">0</cx:pt>
          <cx:pt idx="26321">1</cx:pt>
          <cx:pt idx="26322">1</cx:pt>
          <cx:pt idx="26323">0</cx:pt>
          <cx:pt idx="26324">0</cx:pt>
          <cx:pt idx="26325">0</cx:pt>
          <cx:pt idx="26326">1</cx:pt>
          <cx:pt idx="26327">1</cx:pt>
          <cx:pt idx="26328">1</cx:pt>
          <cx:pt idx="26329">0</cx:pt>
          <cx:pt idx="26330">1</cx:pt>
          <cx:pt idx="26331">0</cx:pt>
          <cx:pt idx="26332">1</cx:pt>
          <cx:pt idx="26333">1</cx:pt>
          <cx:pt idx="26334">1</cx:pt>
          <cx:pt idx="26335">1</cx:pt>
          <cx:pt idx="26336">0</cx:pt>
          <cx:pt idx="26337">0</cx:pt>
          <cx:pt idx="26338">0</cx:pt>
          <cx:pt idx="26339">0</cx:pt>
          <cx:pt idx="26340">0</cx:pt>
          <cx:pt idx="26341">1</cx:pt>
          <cx:pt idx="26342">0</cx:pt>
          <cx:pt idx="26343">0</cx:pt>
          <cx:pt idx="26344">1</cx:pt>
          <cx:pt idx="26345">0</cx:pt>
          <cx:pt idx="26346">0</cx:pt>
          <cx:pt idx="26347">1</cx:pt>
          <cx:pt idx="26348">0</cx:pt>
          <cx:pt idx="26349">0</cx:pt>
          <cx:pt idx="26350">0</cx:pt>
          <cx:pt idx="26351">1</cx:pt>
          <cx:pt idx="26352">0</cx:pt>
          <cx:pt idx="26353">0</cx:pt>
          <cx:pt idx="26354">0</cx:pt>
          <cx:pt idx="26355">1</cx:pt>
          <cx:pt idx="26356">0</cx:pt>
          <cx:pt idx="26357">1</cx:pt>
          <cx:pt idx="26358">0</cx:pt>
          <cx:pt idx="26359">0</cx:pt>
          <cx:pt idx="26360">1</cx:pt>
          <cx:pt idx="26361">0</cx:pt>
          <cx:pt idx="26362">0</cx:pt>
          <cx:pt idx="26363">1</cx:pt>
          <cx:pt idx="26364">1</cx:pt>
          <cx:pt idx="26365">1</cx:pt>
          <cx:pt idx="26366">1</cx:pt>
          <cx:pt idx="26367">1</cx:pt>
          <cx:pt idx="26368">0</cx:pt>
          <cx:pt idx="26369">0</cx:pt>
          <cx:pt idx="26370">0</cx:pt>
          <cx:pt idx="26371">0</cx:pt>
          <cx:pt idx="26372">0</cx:pt>
          <cx:pt idx="26373">1</cx:pt>
          <cx:pt idx="26374">0</cx:pt>
          <cx:pt idx="26375">0</cx:pt>
          <cx:pt idx="26376">0</cx:pt>
          <cx:pt idx="26377">0</cx:pt>
          <cx:pt idx="26378">1</cx:pt>
          <cx:pt idx="26379">0</cx:pt>
          <cx:pt idx="26380">0</cx:pt>
          <cx:pt idx="26381">1</cx:pt>
          <cx:pt idx="26382">0</cx:pt>
          <cx:pt idx="26383">0</cx:pt>
          <cx:pt idx="26384">1</cx:pt>
          <cx:pt idx="26385">0</cx:pt>
          <cx:pt idx="26386">0</cx:pt>
          <cx:pt idx="26387">0</cx:pt>
          <cx:pt idx="26388">0</cx:pt>
          <cx:pt idx="26389">0</cx:pt>
          <cx:pt idx="26390">1</cx:pt>
          <cx:pt idx="26391">1</cx:pt>
          <cx:pt idx="26392">1</cx:pt>
          <cx:pt idx="26393">1</cx:pt>
          <cx:pt idx="26394">0</cx:pt>
          <cx:pt idx="26395">1</cx:pt>
          <cx:pt idx="26396">0</cx:pt>
          <cx:pt idx="26397">0</cx:pt>
          <cx:pt idx="26398">0</cx:pt>
          <cx:pt idx="26399">1</cx:pt>
          <cx:pt idx="26400">0</cx:pt>
          <cx:pt idx="26401">0</cx:pt>
          <cx:pt idx="26402">1</cx:pt>
          <cx:pt idx="26403">0</cx:pt>
          <cx:pt idx="26404">0</cx:pt>
          <cx:pt idx="26405">0</cx:pt>
          <cx:pt idx="26406">0</cx:pt>
          <cx:pt idx="26407">0</cx:pt>
          <cx:pt idx="26408">1</cx:pt>
          <cx:pt idx="26409">1</cx:pt>
          <cx:pt idx="26410">0</cx:pt>
          <cx:pt idx="26411">1</cx:pt>
          <cx:pt idx="26412">0</cx:pt>
          <cx:pt idx="26413">1</cx:pt>
          <cx:pt idx="26414">0</cx:pt>
          <cx:pt idx="26415">0</cx:pt>
          <cx:pt idx="26416">1</cx:pt>
          <cx:pt idx="26417">0</cx:pt>
          <cx:pt idx="26418">0</cx:pt>
          <cx:pt idx="26419">0</cx:pt>
          <cx:pt idx="26420">0</cx:pt>
          <cx:pt idx="26421">0</cx:pt>
          <cx:pt idx="26422">1</cx:pt>
          <cx:pt idx="26423">1</cx:pt>
          <cx:pt idx="26424">1</cx:pt>
          <cx:pt idx="26425">1</cx:pt>
          <cx:pt idx="26426">0</cx:pt>
          <cx:pt idx="26427">1</cx:pt>
          <cx:pt idx="26428">0</cx:pt>
          <cx:pt idx="26429">0</cx:pt>
          <cx:pt idx="26430">1</cx:pt>
          <cx:pt idx="26431">0</cx:pt>
          <cx:pt idx="26432">1</cx:pt>
          <cx:pt idx="26433">1</cx:pt>
          <cx:pt idx="26434">1</cx:pt>
          <cx:pt idx="26435">0</cx:pt>
          <cx:pt idx="26436">0</cx:pt>
          <cx:pt idx="26437">0</cx:pt>
          <cx:pt idx="26438">1</cx:pt>
          <cx:pt idx="26439">0</cx:pt>
          <cx:pt idx="26440">1</cx:pt>
          <cx:pt idx="26441">0</cx:pt>
          <cx:pt idx="26442">0</cx:pt>
          <cx:pt idx="26443">0</cx:pt>
          <cx:pt idx="26444">0</cx:pt>
          <cx:pt idx="26445">1</cx:pt>
          <cx:pt idx="26446">1</cx:pt>
          <cx:pt idx="26447">0</cx:pt>
          <cx:pt idx="26448">0</cx:pt>
          <cx:pt idx="26449">0</cx:pt>
          <cx:pt idx="26450">1</cx:pt>
          <cx:pt idx="26451">1</cx:pt>
          <cx:pt idx="26452">0</cx:pt>
          <cx:pt idx="26453">1</cx:pt>
          <cx:pt idx="26454">0</cx:pt>
          <cx:pt idx="26455">0</cx:pt>
          <cx:pt idx="26456">1</cx:pt>
          <cx:pt idx="26457">0</cx:pt>
          <cx:pt idx="26458">1</cx:pt>
          <cx:pt idx="26459">0</cx:pt>
          <cx:pt idx="26460">0</cx:pt>
          <cx:pt idx="26461">0</cx:pt>
          <cx:pt idx="26462">0</cx:pt>
          <cx:pt idx="26463">0</cx:pt>
          <cx:pt idx="26464">1</cx:pt>
          <cx:pt idx="26465">1</cx:pt>
          <cx:pt idx="26466">1</cx:pt>
          <cx:pt idx="26467">0</cx:pt>
          <cx:pt idx="26468">1</cx:pt>
          <cx:pt idx="26469">0</cx:pt>
          <cx:pt idx="26470">1</cx:pt>
          <cx:pt idx="26471">1</cx:pt>
          <cx:pt idx="26472">1</cx:pt>
          <cx:pt idx="26473">1</cx:pt>
          <cx:pt idx="26474">0</cx:pt>
          <cx:pt idx="26475">1</cx:pt>
          <cx:pt idx="26476">0</cx:pt>
          <cx:pt idx="26477">0</cx:pt>
          <cx:pt idx="26478">1</cx:pt>
          <cx:pt idx="26479">1</cx:pt>
          <cx:pt idx="26480">1</cx:pt>
          <cx:pt idx="26481">0</cx:pt>
          <cx:pt idx="26482">0</cx:pt>
          <cx:pt idx="26483">0</cx:pt>
          <cx:pt idx="26484">0</cx:pt>
          <cx:pt idx="26485">1</cx:pt>
          <cx:pt idx="26486">0</cx:pt>
          <cx:pt idx="26487">0</cx:pt>
          <cx:pt idx="26488">0</cx:pt>
          <cx:pt idx="26489">1</cx:pt>
          <cx:pt idx="26490">0</cx:pt>
          <cx:pt idx="26491">0</cx:pt>
          <cx:pt idx="26492">0</cx:pt>
          <cx:pt idx="26493">0</cx:pt>
          <cx:pt idx="26494">1</cx:pt>
          <cx:pt idx="26495">1</cx:pt>
          <cx:pt idx="26496">0</cx:pt>
          <cx:pt idx="26497">1</cx:pt>
          <cx:pt idx="26498">1</cx:pt>
          <cx:pt idx="26499">1</cx:pt>
          <cx:pt idx="26500">1</cx:pt>
          <cx:pt idx="26501">1</cx:pt>
          <cx:pt idx="26502">1</cx:pt>
          <cx:pt idx="26503">1</cx:pt>
          <cx:pt idx="26504">0</cx:pt>
          <cx:pt idx="26505">1</cx:pt>
          <cx:pt idx="26506">0</cx:pt>
          <cx:pt idx="26507">0</cx:pt>
          <cx:pt idx="26508">1</cx:pt>
          <cx:pt idx="26509">0</cx:pt>
          <cx:pt idx="26510">0</cx:pt>
          <cx:pt idx="26511">0</cx:pt>
          <cx:pt idx="26512">1</cx:pt>
          <cx:pt idx="26513">1</cx:pt>
          <cx:pt idx="26514">0</cx:pt>
          <cx:pt idx="26515">0</cx:pt>
          <cx:pt idx="26516">0</cx:pt>
          <cx:pt idx="26517">0</cx:pt>
          <cx:pt idx="26518">0</cx:pt>
          <cx:pt idx="26519">0</cx:pt>
          <cx:pt idx="26520">0</cx:pt>
          <cx:pt idx="26521">1</cx:pt>
          <cx:pt idx="26522">1</cx:pt>
          <cx:pt idx="26523">0</cx:pt>
          <cx:pt idx="26524">0</cx:pt>
          <cx:pt idx="26525">0</cx:pt>
          <cx:pt idx="26526">1</cx:pt>
          <cx:pt idx="26527">1</cx:pt>
          <cx:pt idx="26528">0</cx:pt>
          <cx:pt idx="26529">1</cx:pt>
          <cx:pt idx="26530">0</cx:pt>
          <cx:pt idx="26531">1</cx:pt>
          <cx:pt idx="26532">1</cx:pt>
          <cx:pt idx="26533">0</cx:pt>
          <cx:pt idx="26534">0</cx:pt>
          <cx:pt idx="26535">0</cx:pt>
          <cx:pt idx="26536">0</cx:pt>
          <cx:pt idx="26537">1</cx:pt>
          <cx:pt idx="26538">0</cx:pt>
          <cx:pt idx="26539">1</cx:pt>
          <cx:pt idx="26540">1</cx:pt>
          <cx:pt idx="26541">1</cx:pt>
          <cx:pt idx="26542">0</cx:pt>
          <cx:pt idx="26543">0</cx:pt>
          <cx:pt idx="26544">0</cx:pt>
          <cx:pt idx="26545">0</cx:pt>
          <cx:pt idx="26546">0</cx:pt>
          <cx:pt idx="26547">0</cx:pt>
          <cx:pt idx="26548">0</cx:pt>
          <cx:pt idx="26549">1</cx:pt>
          <cx:pt idx="26550">1</cx:pt>
          <cx:pt idx="26551">1</cx:pt>
          <cx:pt idx="26552">0</cx:pt>
          <cx:pt idx="26553">0</cx:pt>
          <cx:pt idx="26554">0</cx:pt>
          <cx:pt idx="26555">0</cx:pt>
          <cx:pt idx="26556">0</cx:pt>
          <cx:pt idx="26557">1</cx:pt>
          <cx:pt idx="26558">1</cx:pt>
          <cx:pt idx="26559">0</cx:pt>
          <cx:pt idx="26560">0</cx:pt>
          <cx:pt idx="26561">1</cx:pt>
          <cx:pt idx="26562">0</cx:pt>
          <cx:pt idx="26563">1</cx:pt>
          <cx:pt idx="26564">0</cx:pt>
          <cx:pt idx="26565">1</cx:pt>
          <cx:pt idx="26566">1</cx:pt>
          <cx:pt idx="26567">0</cx:pt>
          <cx:pt idx="26568">1</cx:pt>
          <cx:pt idx="26569">0</cx:pt>
          <cx:pt idx="26570">0</cx:pt>
          <cx:pt idx="26571">0</cx:pt>
          <cx:pt idx="26572">0</cx:pt>
          <cx:pt idx="26573">0</cx:pt>
          <cx:pt idx="26574">1</cx:pt>
          <cx:pt idx="26575">1</cx:pt>
          <cx:pt idx="26576">1</cx:pt>
          <cx:pt idx="26577">0</cx:pt>
          <cx:pt idx="26578">1</cx:pt>
          <cx:pt idx="26579">0</cx:pt>
          <cx:pt idx="26580">0</cx:pt>
          <cx:pt idx="26581">0</cx:pt>
          <cx:pt idx="26582">0</cx:pt>
          <cx:pt idx="26583">1</cx:pt>
          <cx:pt idx="26584">1</cx:pt>
          <cx:pt idx="26585">0</cx:pt>
          <cx:pt idx="26586">1</cx:pt>
          <cx:pt idx="26587">0</cx:pt>
          <cx:pt idx="26588">1</cx:pt>
          <cx:pt idx="26589">0</cx:pt>
          <cx:pt idx="26590">0</cx:pt>
          <cx:pt idx="26591">1</cx:pt>
          <cx:pt idx="26592">0</cx:pt>
          <cx:pt idx="26593">0</cx:pt>
          <cx:pt idx="26594">1</cx:pt>
          <cx:pt idx="26595">1</cx:pt>
          <cx:pt idx="26596">0</cx:pt>
          <cx:pt idx="26597">1</cx:pt>
          <cx:pt idx="26598">1</cx:pt>
          <cx:pt idx="26599">0</cx:pt>
          <cx:pt idx="26600">1</cx:pt>
          <cx:pt idx="26601">0</cx:pt>
          <cx:pt idx="26602">1</cx:pt>
          <cx:pt idx="26603">0</cx:pt>
          <cx:pt idx="26604">0</cx:pt>
          <cx:pt idx="26605">1</cx:pt>
          <cx:pt idx="26606">1</cx:pt>
          <cx:pt idx="26607">0</cx:pt>
          <cx:pt idx="26608">0</cx:pt>
          <cx:pt idx="26609">0</cx:pt>
          <cx:pt idx="26610">0</cx:pt>
          <cx:pt idx="26611">1</cx:pt>
          <cx:pt idx="26612">1</cx:pt>
          <cx:pt idx="26613">1</cx:pt>
          <cx:pt idx="26614">0</cx:pt>
          <cx:pt idx="26615">1</cx:pt>
          <cx:pt idx="26616">1</cx:pt>
          <cx:pt idx="26617">0</cx:pt>
          <cx:pt idx="26618">0</cx:pt>
          <cx:pt idx="26619">0</cx:pt>
          <cx:pt idx="26620">1</cx:pt>
          <cx:pt idx="26621">0</cx:pt>
          <cx:pt idx="26622">0</cx:pt>
          <cx:pt idx="26623">0</cx:pt>
          <cx:pt idx="26624">0</cx:pt>
          <cx:pt idx="26625">0</cx:pt>
          <cx:pt idx="26626">0</cx:pt>
          <cx:pt idx="26627">0</cx:pt>
          <cx:pt idx="26628">0</cx:pt>
          <cx:pt idx="26629">0</cx:pt>
          <cx:pt idx="26630">1</cx:pt>
          <cx:pt idx="26631">1</cx:pt>
          <cx:pt idx="26632">0</cx:pt>
          <cx:pt idx="26633">1</cx:pt>
          <cx:pt idx="26634">1</cx:pt>
          <cx:pt idx="26635">1</cx:pt>
          <cx:pt idx="26636">0</cx:pt>
          <cx:pt idx="26637">1</cx:pt>
          <cx:pt idx="26638">0</cx:pt>
          <cx:pt idx="26639">0</cx:pt>
          <cx:pt idx="26640">1</cx:pt>
          <cx:pt idx="26641">1</cx:pt>
          <cx:pt idx="26642">0</cx:pt>
          <cx:pt idx="26643">1</cx:pt>
          <cx:pt idx="26644">1</cx:pt>
          <cx:pt idx="26645">0</cx:pt>
          <cx:pt idx="26646">1</cx:pt>
          <cx:pt idx="26647">0</cx:pt>
          <cx:pt idx="26648">0</cx:pt>
          <cx:pt idx="26649">0</cx:pt>
          <cx:pt idx="26650">1</cx:pt>
          <cx:pt idx="26651">0</cx:pt>
          <cx:pt idx="26652">1</cx:pt>
          <cx:pt idx="26653">0</cx:pt>
          <cx:pt idx="26654">0</cx:pt>
          <cx:pt idx="26655">1</cx:pt>
          <cx:pt idx="26656">1</cx:pt>
          <cx:pt idx="26657">0</cx:pt>
          <cx:pt idx="26658">0</cx:pt>
          <cx:pt idx="26659">0</cx:pt>
          <cx:pt idx="26660">1</cx:pt>
          <cx:pt idx="26661">1</cx:pt>
          <cx:pt idx="26662">1</cx:pt>
          <cx:pt idx="26663">0</cx:pt>
          <cx:pt idx="26664">1</cx:pt>
          <cx:pt idx="26665">0</cx:pt>
          <cx:pt idx="26666">1</cx:pt>
          <cx:pt idx="26667">1</cx:pt>
          <cx:pt idx="26668">0</cx:pt>
          <cx:pt idx="26669">0</cx:pt>
          <cx:pt idx="26670">1</cx:pt>
          <cx:pt idx="26671">1</cx:pt>
          <cx:pt idx="26672">0</cx:pt>
          <cx:pt idx="26673">1</cx:pt>
          <cx:pt idx="26674">0</cx:pt>
          <cx:pt idx="26675">0</cx:pt>
          <cx:pt idx="26676">1</cx:pt>
          <cx:pt idx="26677">1</cx:pt>
          <cx:pt idx="26678">1</cx:pt>
          <cx:pt idx="26679">0</cx:pt>
          <cx:pt idx="26680">1</cx:pt>
          <cx:pt idx="26681">1</cx:pt>
          <cx:pt idx="26682">0</cx:pt>
          <cx:pt idx="26683">0</cx:pt>
          <cx:pt idx="26684">1</cx:pt>
          <cx:pt idx="26685">1</cx:pt>
          <cx:pt idx="26686">1</cx:pt>
          <cx:pt idx="26687">1</cx:pt>
          <cx:pt idx="26688">1</cx:pt>
          <cx:pt idx="26689">1</cx:pt>
          <cx:pt idx="26690">1</cx:pt>
          <cx:pt idx="26691">1</cx:pt>
          <cx:pt idx="26692">1</cx:pt>
          <cx:pt idx="26693">1</cx:pt>
          <cx:pt idx="26694">1</cx:pt>
          <cx:pt idx="26695">1</cx:pt>
          <cx:pt idx="26696">0</cx:pt>
          <cx:pt idx="26697">1</cx:pt>
          <cx:pt idx="26698">0</cx:pt>
          <cx:pt idx="26699">0</cx:pt>
          <cx:pt idx="26700">1</cx:pt>
          <cx:pt idx="26701">0</cx:pt>
          <cx:pt idx="26702">1</cx:pt>
          <cx:pt idx="26703">1</cx:pt>
          <cx:pt idx="26704">1</cx:pt>
          <cx:pt idx="26705">0</cx:pt>
          <cx:pt idx="26706">0</cx:pt>
          <cx:pt idx="26707">1</cx:pt>
          <cx:pt idx="26708">1</cx:pt>
          <cx:pt idx="26709">0</cx:pt>
          <cx:pt idx="26710">1</cx:pt>
          <cx:pt idx="26711">1</cx:pt>
          <cx:pt idx="26712">0</cx:pt>
          <cx:pt idx="26713">1</cx:pt>
          <cx:pt idx="26714">1</cx:pt>
          <cx:pt idx="26715">1</cx:pt>
          <cx:pt idx="26716">1</cx:pt>
          <cx:pt idx="26717">1</cx:pt>
          <cx:pt idx="26718">0</cx:pt>
          <cx:pt idx="26719">1</cx:pt>
          <cx:pt idx="26720">0</cx:pt>
          <cx:pt idx="26721">0</cx:pt>
          <cx:pt idx="26722">0</cx:pt>
          <cx:pt idx="26723">0</cx:pt>
          <cx:pt idx="26724">1</cx:pt>
          <cx:pt idx="26725">1</cx:pt>
          <cx:pt idx="26726">0</cx:pt>
          <cx:pt idx="26727">0</cx:pt>
          <cx:pt idx="26728">0</cx:pt>
          <cx:pt idx="26729">0</cx:pt>
          <cx:pt idx="26730">0</cx:pt>
          <cx:pt idx="26731">0</cx:pt>
          <cx:pt idx="26732">1</cx:pt>
          <cx:pt idx="26733">1</cx:pt>
          <cx:pt idx="26734">0</cx:pt>
          <cx:pt idx="26735">0</cx:pt>
          <cx:pt idx="26736">1</cx:pt>
          <cx:pt idx="26737">1</cx:pt>
          <cx:pt idx="26738">0</cx:pt>
          <cx:pt idx="26739">0</cx:pt>
          <cx:pt idx="26740">1</cx:pt>
          <cx:pt idx="26741">1</cx:pt>
          <cx:pt idx="26742">0</cx:pt>
          <cx:pt idx="26743">0</cx:pt>
          <cx:pt idx="26744">0</cx:pt>
          <cx:pt idx="26745">0</cx:pt>
          <cx:pt idx="26746">0</cx:pt>
          <cx:pt idx="26747">1</cx:pt>
          <cx:pt idx="26748">1</cx:pt>
          <cx:pt idx="26749">1</cx:pt>
          <cx:pt idx="26750">1</cx:pt>
          <cx:pt idx="26751">0</cx:pt>
          <cx:pt idx="26752">1</cx:pt>
          <cx:pt idx="26753">1</cx:pt>
          <cx:pt idx="26754">0</cx:pt>
          <cx:pt idx="26755">1</cx:pt>
          <cx:pt idx="26756">1</cx:pt>
          <cx:pt idx="26757">1</cx:pt>
          <cx:pt idx="26758">0</cx:pt>
          <cx:pt idx="26759">0</cx:pt>
          <cx:pt idx="26760">1</cx:pt>
          <cx:pt idx="26761">1</cx:pt>
          <cx:pt idx="26762">0</cx:pt>
          <cx:pt idx="26763">0</cx:pt>
          <cx:pt idx="26764">1</cx:pt>
          <cx:pt idx="26765">1</cx:pt>
          <cx:pt idx="26766">0</cx:pt>
          <cx:pt idx="26767">1</cx:pt>
          <cx:pt idx="26768">0</cx:pt>
          <cx:pt idx="26769">1</cx:pt>
          <cx:pt idx="26770">1</cx:pt>
          <cx:pt idx="26771">0</cx:pt>
          <cx:pt idx="26772">0</cx:pt>
          <cx:pt idx="26773">0</cx:pt>
          <cx:pt idx="26774">0</cx:pt>
          <cx:pt idx="26775">0</cx:pt>
          <cx:pt idx="26776">1</cx:pt>
          <cx:pt idx="26777">0</cx:pt>
          <cx:pt idx="26778">0</cx:pt>
          <cx:pt idx="26779">0</cx:pt>
          <cx:pt idx="26780">1</cx:pt>
          <cx:pt idx="26781">1</cx:pt>
          <cx:pt idx="26782">1</cx:pt>
          <cx:pt idx="26783">1</cx:pt>
          <cx:pt idx="26784">0</cx:pt>
          <cx:pt idx="26785">1</cx:pt>
          <cx:pt idx="26786">0</cx:pt>
          <cx:pt idx="26787">1</cx:pt>
          <cx:pt idx="26788">1</cx:pt>
          <cx:pt idx="26789">1</cx:pt>
          <cx:pt idx="26790">0</cx:pt>
          <cx:pt idx="26791">0</cx:pt>
          <cx:pt idx="26792">0</cx:pt>
          <cx:pt idx="26793">0</cx:pt>
          <cx:pt idx="26794">1</cx:pt>
          <cx:pt idx="26795">0</cx:pt>
          <cx:pt idx="26796">1</cx:pt>
          <cx:pt idx="26797">0</cx:pt>
          <cx:pt idx="26798">0</cx:pt>
          <cx:pt idx="26799">0</cx:pt>
          <cx:pt idx="26800">0</cx:pt>
          <cx:pt idx="26801">1</cx:pt>
          <cx:pt idx="26802">0</cx:pt>
          <cx:pt idx="26803">0</cx:pt>
          <cx:pt idx="26804">0</cx:pt>
          <cx:pt idx="26805">0</cx:pt>
          <cx:pt idx="26806">0</cx:pt>
          <cx:pt idx="26807">0</cx:pt>
          <cx:pt idx="26808">0</cx:pt>
          <cx:pt idx="26809">1</cx:pt>
          <cx:pt idx="26810">0</cx:pt>
          <cx:pt idx="26811">0</cx:pt>
          <cx:pt idx="26812">1</cx:pt>
          <cx:pt idx="26813">1</cx:pt>
          <cx:pt idx="26814">1</cx:pt>
          <cx:pt idx="26815">0</cx:pt>
          <cx:pt idx="26816">0</cx:pt>
          <cx:pt idx="26817">1</cx:pt>
          <cx:pt idx="26818">0</cx:pt>
          <cx:pt idx="26819">1</cx:pt>
          <cx:pt idx="26820">1</cx:pt>
          <cx:pt idx="26821">1</cx:pt>
          <cx:pt idx="26822">1</cx:pt>
          <cx:pt idx="26823">0</cx:pt>
          <cx:pt idx="26824">1</cx:pt>
          <cx:pt idx="26825">1</cx:pt>
          <cx:pt idx="26826">0</cx:pt>
          <cx:pt idx="26827">1</cx:pt>
          <cx:pt idx="26828">1</cx:pt>
          <cx:pt idx="26829">1</cx:pt>
          <cx:pt idx="26830">0</cx:pt>
          <cx:pt idx="26831">0</cx:pt>
          <cx:pt idx="26832">1</cx:pt>
          <cx:pt idx="26833">1</cx:pt>
          <cx:pt idx="26834">1</cx:pt>
          <cx:pt idx="26835">1</cx:pt>
          <cx:pt idx="26836">1</cx:pt>
          <cx:pt idx="26837">0</cx:pt>
          <cx:pt idx="26838">0</cx:pt>
          <cx:pt idx="26839">0</cx:pt>
          <cx:pt idx="26840">1</cx:pt>
          <cx:pt idx="26841">1</cx:pt>
          <cx:pt idx="26842">1</cx:pt>
          <cx:pt idx="26843">0</cx:pt>
          <cx:pt idx="26844">0</cx:pt>
          <cx:pt idx="26845">0</cx:pt>
          <cx:pt idx="26846">0</cx:pt>
          <cx:pt idx="26847">0</cx:pt>
          <cx:pt idx="26848">0</cx:pt>
          <cx:pt idx="26849">1</cx:pt>
          <cx:pt idx="26850">1</cx:pt>
          <cx:pt idx="26851">0</cx:pt>
          <cx:pt idx="26852">1</cx:pt>
          <cx:pt idx="26853">0</cx:pt>
          <cx:pt idx="26854">0</cx:pt>
          <cx:pt idx="26855">0</cx:pt>
          <cx:pt idx="26856">0</cx:pt>
          <cx:pt idx="26857">1</cx:pt>
          <cx:pt idx="26858">1</cx:pt>
          <cx:pt idx="26859">0</cx:pt>
          <cx:pt idx="26860">0</cx:pt>
          <cx:pt idx="26861">1</cx:pt>
          <cx:pt idx="26862">1</cx:pt>
          <cx:pt idx="26863">0</cx:pt>
          <cx:pt idx="26864">0</cx:pt>
          <cx:pt idx="26865">0</cx:pt>
          <cx:pt idx="26866">1</cx:pt>
          <cx:pt idx="26867">0</cx:pt>
          <cx:pt idx="26868">1</cx:pt>
          <cx:pt idx="26869">0</cx:pt>
          <cx:pt idx="26870">0</cx:pt>
          <cx:pt idx="26871">1</cx:pt>
          <cx:pt idx="26872">1</cx:pt>
          <cx:pt idx="26873">1</cx:pt>
          <cx:pt idx="26874">0</cx:pt>
          <cx:pt idx="26875">0</cx:pt>
          <cx:pt idx="26876">0</cx:pt>
          <cx:pt idx="26877">0</cx:pt>
          <cx:pt idx="26878">0</cx:pt>
          <cx:pt idx="26879">0</cx:pt>
          <cx:pt idx="26880">1</cx:pt>
          <cx:pt idx="26881">1</cx:pt>
          <cx:pt idx="26882">0</cx:pt>
          <cx:pt idx="26883">1</cx:pt>
          <cx:pt idx="26884">0</cx:pt>
          <cx:pt idx="26885">0</cx:pt>
          <cx:pt idx="26886">1</cx:pt>
          <cx:pt idx="26887">0</cx:pt>
          <cx:pt idx="26888">1</cx:pt>
          <cx:pt idx="26889">1</cx:pt>
          <cx:pt idx="26890">0</cx:pt>
          <cx:pt idx="26891">0</cx:pt>
          <cx:pt idx="26892">1</cx:pt>
          <cx:pt idx="26893">1</cx:pt>
          <cx:pt idx="26894">1</cx:pt>
          <cx:pt idx="26895">0</cx:pt>
          <cx:pt idx="26896">1</cx:pt>
          <cx:pt idx="26897">1</cx:pt>
          <cx:pt idx="26898">0</cx:pt>
          <cx:pt idx="26899">1</cx:pt>
          <cx:pt idx="26900">0</cx:pt>
          <cx:pt idx="26901">1</cx:pt>
          <cx:pt idx="26902">0</cx:pt>
          <cx:pt idx="26903">0</cx:pt>
          <cx:pt idx="26904">0</cx:pt>
          <cx:pt idx="26905">0</cx:pt>
          <cx:pt idx="26906">0</cx:pt>
          <cx:pt idx="26907">0</cx:pt>
          <cx:pt idx="26908">1</cx:pt>
          <cx:pt idx="26909">0</cx:pt>
          <cx:pt idx="26910">0</cx:pt>
          <cx:pt idx="26911">0</cx:pt>
          <cx:pt idx="26912">0</cx:pt>
          <cx:pt idx="26913">0</cx:pt>
          <cx:pt idx="26914">0</cx:pt>
          <cx:pt idx="26915">0</cx:pt>
          <cx:pt idx="26916">0</cx:pt>
          <cx:pt idx="26917">1</cx:pt>
          <cx:pt idx="26918">0</cx:pt>
          <cx:pt idx="26919">0</cx:pt>
          <cx:pt idx="26920">1</cx:pt>
          <cx:pt idx="26921">0</cx:pt>
          <cx:pt idx="26922">0</cx:pt>
          <cx:pt idx="26923">0</cx:pt>
          <cx:pt idx="26924">1</cx:pt>
          <cx:pt idx="26925">0</cx:pt>
          <cx:pt idx="26926">0</cx:pt>
          <cx:pt idx="26927">1</cx:pt>
          <cx:pt idx="26928">1</cx:pt>
          <cx:pt idx="26929">1</cx:pt>
          <cx:pt idx="26930">0</cx:pt>
          <cx:pt idx="26931">1</cx:pt>
          <cx:pt idx="26932">0</cx:pt>
          <cx:pt idx="26933">0</cx:pt>
          <cx:pt idx="26934">0</cx:pt>
          <cx:pt idx="26935">1</cx:pt>
          <cx:pt idx="26936">0</cx:pt>
          <cx:pt idx="26937">1</cx:pt>
          <cx:pt idx="26938">0</cx:pt>
          <cx:pt idx="26939">1</cx:pt>
          <cx:pt idx="26940">0</cx:pt>
          <cx:pt idx="26941">1</cx:pt>
          <cx:pt idx="26942">1</cx:pt>
          <cx:pt idx="26943">0</cx:pt>
          <cx:pt idx="26944">1</cx:pt>
          <cx:pt idx="26945">1</cx:pt>
          <cx:pt idx="26946">0</cx:pt>
          <cx:pt idx="26947">0</cx:pt>
          <cx:pt idx="26948">0</cx:pt>
          <cx:pt idx="26949">0</cx:pt>
          <cx:pt idx="26950">1</cx:pt>
          <cx:pt idx="26951">1</cx:pt>
          <cx:pt idx="26952">0</cx:pt>
          <cx:pt idx="26953">0</cx:pt>
          <cx:pt idx="26954">0</cx:pt>
          <cx:pt idx="26955">0</cx:pt>
          <cx:pt idx="26956">0</cx:pt>
          <cx:pt idx="26957">0</cx:pt>
          <cx:pt idx="26958">1</cx:pt>
          <cx:pt idx="26959">1</cx:pt>
          <cx:pt idx="26960">1</cx:pt>
          <cx:pt idx="26961">0</cx:pt>
          <cx:pt idx="26962">0</cx:pt>
          <cx:pt idx="26963">1</cx:pt>
          <cx:pt idx="26964">0</cx:pt>
          <cx:pt idx="26965">0</cx:pt>
          <cx:pt idx="26966">0</cx:pt>
          <cx:pt idx="26967">1</cx:pt>
          <cx:pt idx="26968">1</cx:pt>
          <cx:pt idx="26969">0</cx:pt>
          <cx:pt idx="26970">1</cx:pt>
          <cx:pt idx="26971">1</cx:pt>
          <cx:pt idx="26972">0</cx:pt>
          <cx:pt idx="26973">0</cx:pt>
          <cx:pt idx="26974">0</cx:pt>
          <cx:pt idx="26975">0</cx:pt>
          <cx:pt idx="26976">1</cx:pt>
          <cx:pt idx="26977">0</cx:pt>
          <cx:pt idx="26978">0</cx:pt>
          <cx:pt idx="26979">1</cx:pt>
          <cx:pt idx="26980">1</cx:pt>
          <cx:pt idx="26981">0</cx:pt>
          <cx:pt idx="26982">1</cx:pt>
          <cx:pt idx="26983">0</cx:pt>
          <cx:pt idx="26984">1</cx:pt>
          <cx:pt idx="26985">1</cx:pt>
          <cx:pt idx="26986">0</cx:pt>
          <cx:pt idx="26987">1</cx:pt>
          <cx:pt idx="26988">0</cx:pt>
          <cx:pt idx="26989">1</cx:pt>
          <cx:pt idx="26990">1</cx:pt>
          <cx:pt idx="26991">0</cx:pt>
          <cx:pt idx="26992">1</cx:pt>
          <cx:pt idx="26993">0</cx:pt>
          <cx:pt idx="26994">0</cx:pt>
          <cx:pt idx="26995">1</cx:pt>
          <cx:pt idx="26996">0</cx:pt>
          <cx:pt idx="26997">0</cx:pt>
          <cx:pt idx="26998">0</cx:pt>
          <cx:pt idx="26999">0</cx:pt>
          <cx:pt idx="27000">1</cx:pt>
          <cx:pt idx="27001">1</cx:pt>
          <cx:pt idx="27002">0</cx:pt>
          <cx:pt idx="27003">1</cx:pt>
          <cx:pt idx="27004">1</cx:pt>
          <cx:pt idx="27005">0</cx:pt>
          <cx:pt idx="27006">0</cx:pt>
          <cx:pt idx="27007">0</cx:pt>
          <cx:pt idx="27008">0</cx:pt>
          <cx:pt idx="27009">1</cx:pt>
          <cx:pt idx="27010">0</cx:pt>
          <cx:pt idx="27011">1</cx:pt>
          <cx:pt idx="27012">1</cx:pt>
          <cx:pt idx="27013">1</cx:pt>
          <cx:pt idx="27014">1</cx:pt>
          <cx:pt idx="27015">0</cx:pt>
          <cx:pt idx="27016">1</cx:pt>
          <cx:pt idx="27017">0</cx:pt>
          <cx:pt idx="27018">1</cx:pt>
          <cx:pt idx="27019">0</cx:pt>
          <cx:pt idx="27020">0</cx:pt>
          <cx:pt idx="27021">0</cx:pt>
          <cx:pt idx="27022">1</cx:pt>
          <cx:pt idx="27023">0</cx:pt>
          <cx:pt idx="27024">0</cx:pt>
          <cx:pt idx="27025">0</cx:pt>
          <cx:pt idx="27026">0</cx:pt>
          <cx:pt idx="27027">0</cx:pt>
          <cx:pt idx="27028">1</cx:pt>
          <cx:pt idx="27029">0</cx:pt>
          <cx:pt idx="27030">0</cx:pt>
          <cx:pt idx="27031">1</cx:pt>
          <cx:pt idx="27032">1</cx:pt>
          <cx:pt idx="27033">0</cx:pt>
          <cx:pt idx="27034">1</cx:pt>
          <cx:pt idx="27035">1</cx:pt>
          <cx:pt idx="27036">1</cx:pt>
          <cx:pt idx="27037">1</cx:pt>
          <cx:pt idx="27038">1</cx:pt>
          <cx:pt idx="27039">0</cx:pt>
          <cx:pt idx="27040">1</cx:pt>
          <cx:pt idx="27041">1</cx:pt>
          <cx:pt idx="27042">0</cx:pt>
          <cx:pt idx="27043">0</cx:pt>
          <cx:pt idx="27044">1</cx:pt>
          <cx:pt idx="27045">0</cx:pt>
          <cx:pt idx="27046">0</cx:pt>
          <cx:pt idx="27047">0</cx:pt>
          <cx:pt idx="27048">0</cx:pt>
          <cx:pt idx="27049">0</cx:pt>
          <cx:pt idx="27050">1</cx:pt>
          <cx:pt idx="27051">1</cx:pt>
          <cx:pt idx="27052">0</cx:pt>
          <cx:pt idx="27053">0</cx:pt>
          <cx:pt idx="27054">0</cx:pt>
          <cx:pt idx="27055">0</cx:pt>
          <cx:pt idx="27056">0</cx:pt>
          <cx:pt idx="27057">1</cx:pt>
          <cx:pt idx="27058">1</cx:pt>
          <cx:pt idx="27059">1</cx:pt>
          <cx:pt idx="27060">0</cx:pt>
          <cx:pt idx="27061">0</cx:pt>
          <cx:pt idx="27062">1</cx:pt>
          <cx:pt idx="27063">0</cx:pt>
          <cx:pt idx="27064">1</cx:pt>
          <cx:pt idx="27065">1</cx:pt>
          <cx:pt idx="27066">0</cx:pt>
          <cx:pt idx="27067">1</cx:pt>
          <cx:pt idx="27068">0</cx:pt>
          <cx:pt idx="27069">1</cx:pt>
          <cx:pt idx="27070">0</cx:pt>
          <cx:pt idx="27071">1</cx:pt>
          <cx:pt idx="27072">1</cx:pt>
          <cx:pt idx="27073">0</cx:pt>
          <cx:pt idx="27074">0</cx:pt>
          <cx:pt idx="27075">0</cx:pt>
          <cx:pt idx="27076">0</cx:pt>
          <cx:pt idx="27077">1</cx:pt>
          <cx:pt idx="27078">1</cx:pt>
          <cx:pt idx="27079">0</cx:pt>
          <cx:pt idx="27080">1</cx:pt>
          <cx:pt idx="27081">0</cx:pt>
          <cx:pt idx="27082">1</cx:pt>
          <cx:pt idx="27083">1</cx:pt>
          <cx:pt idx="27084">0</cx:pt>
          <cx:pt idx="27085">1</cx:pt>
          <cx:pt idx="27086">0</cx:pt>
          <cx:pt idx="27087">0</cx:pt>
          <cx:pt idx="27088">0</cx:pt>
          <cx:pt idx="27089">0</cx:pt>
          <cx:pt idx="27090">0</cx:pt>
          <cx:pt idx="27091">0</cx:pt>
          <cx:pt idx="27092">1</cx:pt>
          <cx:pt idx="27093">1</cx:pt>
          <cx:pt idx="27094">1</cx:pt>
          <cx:pt idx="27095">1</cx:pt>
          <cx:pt idx="27096">1</cx:pt>
          <cx:pt idx="27097">0</cx:pt>
          <cx:pt idx="27098">1</cx:pt>
          <cx:pt idx="27099">1</cx:pt>
          <cx:pt idx="27100">0</cx:pt>
          <cx:pt idx="27101">1</cx:pt>
          <cx:pt idx="27102">1</cx:pt>
          <cx:pt idx="27103">1</cx:pt>
          <cx:pt idx="27104">1</cx:pt>
          <cx:pt idx="27105">0</cx:pt>
          <cx:pt idx="27106">1</cx:pt>
          <cx:pt idx="27107">0</cx:pt>
          <cx:pt idx="27108">0</cx:pt>
          <cx:pt idx="27109">0</cx:pt>
          <cx:pt idx="27110">0</cx:pt>
          <cx:pt idx="27111">0</cx:pt>
          <cx:pt idx="27112">1</cx:pt>
          <cx:pt idx="27113">0</cx:pt>
          <cx:pt idx="27114">1</cx:pt>
          <cx:pt idx="27115">1</cx:pt>
          <cx:pt idx="27116">0</cx:pt>
          <cx:pt idx="27117">0</cx:pt>
          <cx:pt idx="27118">0</cx:pt>
          <cx:pt idx="27119">0</cx:pt>
          <cx:pt idx="27120">1</cx:pt>
          <cx:pt idx="27121">1</cx:pt>
          <cx:pt idx="27122">0</cx:pt>
          <cx:pt idx="27123">1</cx:pt>
          <cx:pt idx="27124">0</cx:pt>
          <cx:pt idx="27125">0</cx:pt>
          <cx:pt idx="27126">1</cx:pt>
          <cx:pt idx="27127">0</cx:pt>
          <cx:pt idx="27128">1</cx:pt>
          <cx:pt idx="27129">0</cx:pt>
          <cx:pt idx="27130">1</cx:pt>
          <cx:pt idx="27131">1</cx:pt>
          <cx:pt idx="27132">0</cx:pt>
          <cx:pt idx="27133">1</cx:pt>
          <cx:pt idx="27134">1</cx:pt>
          <cx:pt idx="27135">0</cx:pt>
          <cx:pt idx="27136">0</cx:pt>
          <cx:pt idx="27137">1</cx:pt>
          <cx:pt idx="27138">1</cx:pt>
          <cx:pt idx="27139">1</cx:pt>
          <cx:pt idx="27140">1</cx:pt>
          <cx:pt idx="27141">1</cx:pt>
          <cx:pt idx="27142">0</cx:pt>
          <cx:pt idx="27143">0</cx:pt>
          <cx:pt idx="27144">0</cx:pt>
          <cx:pt idx="27145">1</cx:pt>
          <cx:pt idx="27146">0</cx:pt>
          <cx:pt idx="27147">0</cx:pt>
          <cx:pt idx="27148">0</cx:pt>
          <cx:pt idx="27149">0</cx:pt>
          <cx:pt idx="27150">0</cx:pt>
          <cx:pt idx="27151">0</cx:pt>
          <cx:pt idx="27152">0</cx:pt>
          <cx:pt idx="27153">0</cx:pt>
          <cx:pt idx="27154">0</cx:pt>
          <cx:pt idx="27155">1</cx:pt>
          <cx:pt idx="27156">0</cx:pt>
          <cx:pt idx="27157">0</cx:pt>
          <cx:pt idx="27158">1</cx:pt>
          <cx:pt idx="27159">1</cx:pt>
          <cx:pt idx="27160">0</cx:pt>
          <cx:pt idx="27161">0</cx:pt>
          <cx:pt idx="27162">0</cx:pt>
          <cx:pt idx="27163">0</cx:pt>
          <cx:pt idx="27164">0</cx:pt>
          <cx:pt idx="27165">0</cx:pt>
          <cx:pt idx="27166">0</cx:pt>
          <cx:pt idx="27167">0</cx:pt>
          <cx:pt idx="27168">0</cx:pt>
          <cx:pt idx="27169">0</cx:pt>
          <cx:pt idx="27170">1</cx:pt>
          <cx:pt idx="27171">0</cx:pt>
          <cx:pt idx="27172">0</cx:pt>
          <cx:pt idx="27173">1</cx:pt>
          <cx:pt idx="27174">0</cx:pt>
          <cx:pt idx="27175">1</cx:pt>
          <cx:pt idx="27176">1</cx:pt>
          <cx:pt idx="27177">1</cx:pt>
          <cx:pt idx="27178">1</cx:pt>
          <cx:pt idx="27179">0</cx:pt>
          <cx:pt idx="27180">1</cx:pt>
          <cx:pt idx="27181">1</cx:pt>
          <cx:pt idx="27182">0</cx:pt>
          <cx:pt idx="27183">1</cx:pt>
          <cx:pt idx="27184">1</cx:pt>
          <cx:pt idx="27185">1</cx:pt>
          <cx:pt idx="27186">0</cx:pt>
          <cx:pt idx="27187">1</cx:pt>
          <cx:pt idx="27188">0</cx:pt>
          <cx:pt idx="27189">0</cx:pt>
          <cx:pt idx="27190">1</cx:pt>
          <cx:pt idx="27191">1</cx:pt>
          <cx:pt idx="27192">0</cx:pt>
          <cx:pt idx="27193">0</cx:pt>
          <cx:pt idx="27194">1</cx:pt>
          <cx:pt idx="27195">1</cx:pt>
          <cx:pt idx="27196">1</cx:pt>
          <cx:pt idx="27197">1</cx:pt>
          <cx:pt idx="27198">1</cx:pt>
          <cx:pt idx="27199">0</cx:pt>
          <cx:pt idx="27200">1</cx:pt>
          <cx:pt idx="27201">0</cx:pt>
          <cx:pt idx="27202">1</cx:pt>
          <cx:pt idx="27203">0</cx:pt>
          <cx:pt idx="27204">0</cx:pt>
          <cx:pt idx="27205">1</cx:pt>
          <cx:pt idx="27206">0</cx:pt>
          <cx:pt idx="27207">0</cx:pt>
          <cx:pt idx="27208">0</cx:pt>
          <cx:pt idx="27209">0</cx:pt>
          <cx:pt idx="27210">0</cx:pt>
          <cx:pt idx="27211">1</cx:pt>
          <cx:pt idx="27212">0</cx:pt>
          <cx:pt idx="27213">1</cx:pt>
          <cx:pt idx="27214">1</cx:pt>
          <cx:pt idx="27215">1</cx:pt>
          <cx:pt idx="27216">1</cx:pt>
          <cx:pt idx="27217">1</cx:pt>
          <cx:pt idx="27218">0</cx:pt>
          <cx:pt idx="27219">0</cx:pt>
          <cx:pt idx="27220">1</cx:pt>
          <cx:pt idx="27221">0</cx:pt>
          <cx:pt idx="27222">1</cx:pt>
          <cx:pt idx="27223">1</cx:pt>
          <cx:pt idx="27224">0</cx:pt>
          <cx:pt idx="27225">0</cx:pt>
          <cx:pt idx="27226">1</cx:pt>
          <cx:pt idx="27227">0</cx:pt>
          <cx:pt idx="27228">0</cx:pt>
          <cx:pt idx="27229">0</cx:pt>
          <cx:pt idx="27230">0</cx:pt>
          <cx:pt idx="27231">0</cx:pt>
          <cx:pt idx="27232">0</cx:pt>
          <cx:pt idx="27233">0</cx:pt>
          <cx:pt idx="27234">1</cx:pt>
          <cx:pt idx="27235">0</cx:pt>
          <cx:pt idx="27236">0</cx:pt>
          <cx:pt idx="27237">1</cx:pt>
          <cx:pt idx="27238">0</cx:pt>
          <cx:pt idx="27239">1</cx:pt>
          <cx:pt idx="27240">0</cx:pt>
          <cx:pt idx="27241">1</cx:pt>
          <cx:pt idx="27242">0</cx:pt>
          <cx:pt idx="27243">0</cx:pt>
          <cx:pt idx="27244">0</cx:pt>
          <cx:pt idx="27245">0</cx:pt>
          <cx:pt idx="27246">1</cx:pt>
          <cx:pt idx="27247">0</cx:pt>
          <cx:pt idx="27248">0</cx:pt>
          <cx:pt idx="27249">1</cx:pt>
          <cx:pt idx="27250">0</cx:pt>
          <cx:pt idx="27251">1</cx:pt>
          <cx:pt idx="27252">0</cx:pt>
          <cx:pt idx="27253">1</cx:pt>
          <cx:pt idx="27254">0</cx:pt>
          <cx:pt idx="27255">1</cx:pt>
          <cx:pt idx="27256">0</cx:pt>
          <cx:pt idx="27257">1</cx:pt>
          <cx:pt idx="27258">0</cx:pt>
          <cx:pt idx="27259">0</cx:pt>
          <cx:pt idx="27260">1</cx:pt>
          <cx:pt idx="27261">1</cx:pt>
          <cx:pt idx="27262">0</cx:pt>
          <cx:pt idx="27263">0</cx:pt>
          <cx:pt idx="27264">1</cx:pt>
          <cx:pt idx="27265">0</cx:pt>
          <cx:pt idx="27266">1</cx:pt>
          <cx:pt idx="27267">1</cx:pt>
          <cx:pt idx="27268">0</cx:pt>
          <cx:pt idx="27269">0</cx:pt>
          <cx:pt idx="27270">1</cx:pt>
          <cx:pt idx="27271">0</cx:pt>
          <cx:pt idx="27272">0</cx:pt>
          <cx:pt idx="27273">1</cx:pt>
          <cx:pt idx="27274">1</cx:pt>
          <cx:pt idx="27275">1</cx:pt>
          <cx:pt idx="27276">1</cx:pt>
          <cx:pt idx="27277">1</cx:pt>
          <cx:pt idx="27278">0</cx:pt>
          <cx:pt idx="27279">0</cx:pt>
          <cx:pt idx="27280">0</cx:pt>
          <cx:pt idx="27281">1</cx:pt>
          <cx:pt idx="27282">1</cx:pt>
          <cx:pt idx="27283">0</cx:pt>
          <cx:pt idx="27284">0</cx:pt>
          <cx:pt idx="27285">1</cx:pt>
          <cx:pt idx="27286">0</cx:pt>
          <cx:pt idx="27287">1</cx:pt>
          <cx:pt idx="27288">1</cx:pt>
          <cx:pt idx="27289">1</cx:pt>
          <cx:pt idx="27290">0</cx:pt>
          <cx:pt idx="27291">1</cx:pt>
          <cx:pt idx="27292">0</cx:pt>
          <cx:pt idx="27293">0</cx:pt>
          <cx:pt idx="27294">0</cx:pt>
          <cx:pt idx="27295">0</cx:pt>
          <cx:pt idx="27296">0</cx:pt>
          <cx:pt idx="27297">0</cx:pt>
          <cx:pt idx="27298">1</cx:pt>
          <cx:pt idx="27299">1</cx:pt>
          <cx:pt idx="27300">1</cx:pt>
          <cx:pt idx="27301">0</cx:pt>
          <cx:pt idx="27302">1</cx:pt>
          <cx:pt idx="27303">1</cx:pt>
          <cx:pt idx="27304">1</cx:pt>
          <cx:pt idx="27305">1</cx:pt>
          <cx:pt idx="27306">1</cx:pt>
          <cx:pt idx="27307">0</cx:pt>
          <cx:pt idx="27308">1</cx:pt>
          <cx:pt idx="27309">0</cx:pt>
          <cx:pt idx="27310">1</cx:pt>
          <cx:pt idx="27311">0</cx:pt>
          <cx:pt idx="27312">0</cx:pt>
          <cx:pt idx="27313">0</cx:pt>
          <cx:pt idx="27314">0</cx:pt>
          <cx:pt idx="27315">0</cx:pt>
          <cx:pt idx="27316">0</cx:pt>
          <cx:pt idx="27317">0</cx:pt>
          <cx:pt idx="27318">0</cx:pt>
          <cx:pt idx="27319">0</cx:pt>
          <cx:pt idx="27320">1</cx:pt>
          <cx:pt idx="27321">0</cx:pt>
          <cx:pt idx="27322">0</cx:pt>
          <cx:pt idx="27323">0</cx:pt>
          <cx:pt idx="27324">0</cx:pt>
          <cx:pt idx="27325">0</cx:pt>
          <cx:pt idx="27326">0</cx:pt>
          <cx:pt idx="27327">0</cx:pt>
          <cx:pt idx="27328">0</cx:pt>
          <cx:pt idx="27329">0</cx:pt>
          <cx:pt idx="27330">0</cx:pt>
          <cx:pt idx="27331">1</cx:pt>
          <cx:pt idx="27332">1</cx:pt>
          <cx:pt idx="27333">1</cx:pt>
          <cx:pt idx="27334">0</cx:pt>
          <cx:pt idx="27335">0</cx:pt>
          <cx:pt idx="27336">0</cx:pt>
          <cx:pt idx="27337">0</cx:pt>
          <cx:pt idx="27338">1</cx:pt>
          <cx:pt idx="27339">0</cx:pt>
          <cx:pt idx="27340">1</cx:pt>
          <cx:pt idx="27341">0</cx:pt>
          <cx:pt idx="27342">0</cx:pt>
          <cx:pt idx="27343">1</cx:pt>
          <cx:pt idx="27344">1</cx:pt>
          <cx:pt idx="27345">1</cx:pt>
          <cx:pt idx="27346">0</cx:pt>
          <cx:pt idx="27347">1</cx:pt>
          <cx:pt idx="27348">1</cx:pt>
          <cx:pt idx="27349">1</cx:pt>
          <cx:pt idx="27350">1</cx:pt>
          <cx:pt idx="27351">1</cx:pt>
          <cx:pt idx="27352">0</cx:pt>
          <cx:pt idx="27353">0</cx:pt>
          <cx:pt idx="27354">1</cx:pt>
          <cx:pt idx="27355">0</cx:pt>
          <cx:pt idx="27356">0</cx:pt>
          <cx:pt idx="27357">1</cx:pt>
          <cx:pt idx="27358">1</cx:pt>
          <cx:pt idx="27359">0</cx:pt>
          <cx:pt idx="27360">0</cx:pt>
          <cx:pt idx="27361">0</cx:pt>
          <cx:pt idx="27362">1</cx:pt>
          <cx:pt idx="27363">1</cx:pt>
          <cx:pt idx="27364">1</cx:pt>
          <cx:pt idx="27365">1</cx:pt>
          <cx:pt idx="27366">1</cx:pt>
          <cx:pt idx="27367">1</cx:pt>
          <cx:pt idx="27368">1</cx:pt>
          <cx:pt idx="27369">1</cx:pt>
          <cx:pt idx="27370">0</cx:pt>
          <cx:pt idx="27371">1</cx:pt>
          <cx:pt idx="27372">0</cx:pt>
          <cx:pt idx="27373">1</cx:pt>
          <cx:pt idx="27374">0</cx:pt>
          <cx:pt idx="27375">1</cx:pt>
          <cx:pt idx="27376">1</cx:pt>
          <cx:pt idx="27377">1</cx:pt>
          <cx:pt idx="27378">0</cx:pt>
          <cx:pt idx="27379">0</cx:pt>
          <cx:pt idx="27380">1</cx:pt>
          <cx:pt idx="27381">0</cx:pt>
          <cx:pt idx="27382">1</cx:pt>
          <cx:pt idx="27383">0</cx:pt>
          <cx:pt idx="27384">0</cx:pt>
          <cx:pt idx="27385">0</cx:pt>
          <cx:pt idx="27386">0</cx:pt>
          <cx:pt idx="27387">0</cx:pt>
          <cx:pt idx="27388">0</cx:pt>
          <cx:pt idx="27389">1</cx:pt>
          <cx:pt idx="27390">0</cx:pt>
          <cx:pt idx="27391">1</cx:pt>
          <cx:pt idx="27392">0</cx:pt>
          <cx:pt idx="27393">1</cx:pt>
          <cx:pt idx="27394">0</cx:pt>
          <cx:pt idx="27395">0</cx:pt>
          <cx:pt idx="27396">0</cx:pt>
          <cx:pt idx="27397">0</cx:pt>
          <cx:pt idx="27398">1</cx:pt>
          <cx:pt idx="27399">0</cx:pt>
          <cx:pt idx="27400">1</cx:pt>
          <cx:pt idx="27401">1</cx:pt>
          <cx:pt idx="27402">0</cx:pt>
          <cx:pt idx="27403">0</cx:pt>
          <cx:pt idx="27404">1</cx:pt>
          <cx:pt idx="27405">1</cx:pt>
          <cx:pt idx="27406">0</cx:pt>
          <cx:pt idx="27407">0</cx:pt>
          <cx:pt idx="27408">0</cx:pt>
          <cx:pt idx="27409">0</cx:pt>
          <cx:pt idx="27410">0</cx:pt>
          <cx:pt idx="27411">1</cx:pt>
          <cx:pt idx="27412">0</cx:pt>
          <cx:pt idx="27413">1</cx:pt>
          <cx:pt idx="27414">1</cx:pt>
          <cx:pt idx="27415">0</cx:pt>
          <cx:pt idx="27416">1</cx:pt>
          <cx:pt idx="27417">1</cx:pt>
          <cx:pt idx="27418">1</cx:pt>
          <cx:pt idx="27419">0</cx:pt>
          <cx:pt idx="27420">0</cx:pt>
          <cx:pt idx="27421">0</cx:pt>
          <cx:pt idx="27422">1</cx:pt>
          <cx:pt idx="27423">1</cx:pt>
          <cx:pt idx="27424">0</cx:pt>
          <cx:pt idx="27425">1</cx:pt>
          <cx:pt idx="27426">0</cx:pt>
          <cx:pt idx="27427">0</cx:pt>
          <cx:pt idx="27428">0</cx:pt>
          <cx:pt idx="27429">0</cx:pt>
          <cx:pt idx="27430">0</cx:pt>
          <cx:pt idx="27431">0</cx:pt>
          <cx:pt idx="27432">1</cx:pt>
          <cx:pt idx="27433">1</cx:pt>
          <cx:pt idx="27434">1</cx:pt>
          <cx:pt idx="27435">1</cx:pt>
          <cx:pt idx="27436">1</cx:pt>
          <cx:pt idx="27437">1</cx:pt>
          <cx:pt idx="27438">1</cx:pt>
          <cx:pt idx="27439">1</cx:pt>
          <cx:pt idx="27440">1</cx:pt>
          <cx:pt idx="27441">0</cx:pt>
          <cx:pt idx="27442">1</cx:pt>
          <cx:pt idx="27443">1</cx:pt>
          <cx:pt idx="27444">0</cx:pt>
          <cx:pt idx="27445">0</cx:pt>
          <cx:pt idx="27446">1</cx:pt>
          <cx:pt idx="27447">0</cx:pt>
          <cx:pt idx="27448">1</cx:pt>
          <cx:pt idx="27449">1</cx:pt>
          <cx:pt idx="27450">1</cx:pt>
          <cx:pt idx="27451">1</cx:pt>
          <cx:pt idx="27452">1</cx:pt>
          <cx:pt idx="27453">0</cx:pt>
          <cx:pt idx="27454">0</cx:pt>
          <cx:pt idx="27455">0</cx:pt>
          <cx:pt idx="27456">0</cx:pt>
          <cx:pt idx="27457">0</cx:pt>
          <cx:pt idx="27458">1</cx:pt>
          <cx:pt idx="27459">0</cx:pt>
          <cx:pt idx="27460">1</cx:pt>
          <cx:pt idx="27461">1</cx:pt>
          <cx:pt idx="27462">0</cx:pt>
          <cx:pt idx="27463">1</cx:pt>
          <cx:pt idx="27464">1</cx:pt>
          <cx:pt idx="27465">0</cx:pt>
          <cx:pt idx="27466">1</cx:pt>
          <cx:pt idx="27467">1</cx:pt>
          <cx:pt idx="27468">0</cx:pt>
          <cx:pt idx="27469">1</cx:pt>
          <cx:pt idx="27470">0</cx:pt>
          <cx:pt idx="27471">1</cx:pt>
          <cx:pt idx="27472">0</cx:pt>
          <cx:pt idx="27473">0</cx:pt>
          <cx:pt idx="27474">1</cx:pt>
          <cx:pt idx="27475">0</cx:pt>
          <cx:pt idx="27476">0</cx:pt>
          <cx:pt idx="27477">0</cx:pt>
          <cx:pt idx="27478">0</cx:pt>
          <cx:pt idx="27479">0</cx:pt>
          <cx:pt idx="27480">0</cx:pt>
          <cx:pt idx="27481">1</cx:pt>
          <cx:pt idx="27482">1</cx:pt>
          <cx:pt idx="27483">1</cx:pt>
          <cx:pt idx="27484">0</cx:pt>
          <cx:pt idx="27485">0</cx:pt>
          <cx:pt idx="27486">1</cx:pt>
          <cx:pt idx="27487">1</cx:pt>
          <cx:pt idx="27488">0</cx:pt>
          <cx:pt idx="27489">1</cx:pt>
          <cx:pt idx="27490">0</cx:pt>
          <cx:pt idx="27491">1</cx:pt>
          <cx:pt idx="27492">0</cx:pt>
          <cx:pt idx="27493">0</cx:pt>
          <cx:pt idx="27494">0</cx:pt>
          <cx:pt idx="27495">0</cx:pt>
          <cx:pt idx="27496">1</cx:pt>
          <cx:pt idx="27497">0</cx:pt>
          <cx:pt idx="27498">0</cx:pt>
          <cx:pt idx="27499">0</cx:pt>
          <cx:pt idx="27500">0</cx:pt>
          <cx:pt idx="27501">1</cx:pt>
          <cx:pt idx="27502">1</cx:pt>
          <cx:pt idx="27503">0</cx:pt>
          <cx:pt idx="27504">0</cx:pt>
          <cx:pt idx="27505">0</cx:pt>
          <cx:pt idx="27506">0</cx:pt>
          <cx:pt idx="27507">0</cx:pt>
          <cx:pt idx="27508">0</cx:pt>
          <cx:pt idx="27509">1</cx:pt>
          <cx:pt idx="27510">0</cx:pt>
          <cx:pt idx="27511">1</cx:pt>
          <cx:pt idx="27512">0</cx:pt>
          <cx:pt idx="27513">1</cx:pt>
          <cx:pt idx="27514">1</cx:pt>
          <cx:pt idx="27515">1</cx:pt>
          <cx:pt idx="27516">1</cx:pt>
          <cx:pt idx="27517">0</cx:pt>
          <cx:pt idx="27518">1</cx:pt>
          <cx:pt idx="27519">0</cx:pt>
          <cx:pt idx="27520">0</cx:pt>
          <cx:pt idx="27521">0</cx:pt>
          <cx:pt idx="27522">1</cx:pt>
          <cx:pt idx="27523">1</cx:pt>
          <cx:pt idx="27524">0</cx:pt>
          <cx:pt idx="27525">0</cx:pt>
          <cx:pt idx="27526">1</cx:pt>
          <cx:pt idx="27527">1</cx:pt>
          <cx:pt idx="27528">0</cx:pt>
          <cx:pt idx="27529">0</cx:pt>
          <cx:pt idx="27530">0</cx:pt>
          <cx:pt idx="27531">0</cx:pt>
          <cx:pt idx="27532">1</cx:pt>
          <cx:pt idx="27533">1</cx:pt>
          <cx:pt idx="27534">0</cx:pt>
          <cx:pt idx="27535">1</cx:pt>
          <cx:pt idx="27536">0</cx:pt>
          <cx:pt idx="27537">0</cx:pt>
          <cx:pt idx="27538">1</cx:pt>
          <cx:pt idx="27539">1</cx:pt>
          <cx:pt idx="27540">1</cx:pt>
          <cx:pt idx="27541">0</cx:pt>
          <cx:pt idx="27542">0</cx:pt>
          <cx:pt idx="27543">1</cx:pt>
          <cx:pt idx="27544">0</cx:pt>
          <cx:pt idx="27545">0</cx:pt>
          <cx:pt idx="27546">0</cx:pt>
          <cx:pt idx="27547">0</cx:pt>
          <cx:pt idx="27548">0</cx:pt>
          <cx:pt idx="27549">0</cx:pt>
          <cx:pt idx="27550">1</cx:pt>
          <cx:pt idx="27551">1</cx:pt>
          <cx:pt idx="27552">0</cx:pt>
          <cx:pt idx="27553">0</cx:pt>
          <cx:pt idx="27554">0</cx:pt>
          <cx:pt idx="27555">1</cx:pt>
          <cx:pt idx="27556">0</cx:pt>
          <cx:pt idx="27557">0</cx:pt>
          <cx:pt idx="27558">0</cx:pt>
          <cx:pt idx="27559">0</cx:pt>
          <cx:pt idx="27560">0</cx:pt>
          <cx:pt idx="27561">1</cx:pt>
          <cx:pt idx="27562">0</cx:pt>
          <cx:pt idx="27563">1</cx:pt>
          <cx:pt idx="27564">0</cx:pt>
          <cx:pt idx="27565">1</cx:pt>
          <cx:pt idx="27566">0</cx:pt>
          <cx:pt idx="27567">1</cx:pt>
          <cx:pt idx="27568">1</cx:pt>
          <cx:pt idx="27569">0</cx:pt>
          <cx:pt idx="27570">1</cx:pt>
          <cx:pt idx="27571">0</cx:pt>
          <cx:pt idx="27572">1</cx:pt>
          <cx:pt idx="27573">1</cx:pt>
          <cx:pt idx="27574">0</cx:pt>
          <cx:pt idx="27575">0</cx:pt>
          <cx:pt idx="27576">0</cx:pt>
          <cx:pt idx="27577">0</cx:pt>
          <cx:pt idx="27578">0</cx:pt>
          <cx:pt idx="27579">1</cx:pt>
          <cx:pt idx="27580">1</cx:pt>
          <cx:pt idx="27581">1</cx:pt>
          <cx:pt idx="27582">1</cx:pt>
          <cx:pt idx="27583">0</cx:pt>
          <cx:pt idx="27584">0</cx:pt>
          <cx:pt idx="27585">0</cx:pt>
          <cx:pt idx="27586">1</cx:pt>
          <cx:pt idx="27587">0</cx:pt>
          <cx:pt idx="27588">1</cx:pt>
          <cx:pt idx="27589">0</cx:pt>
          <cx:pt idx="27590">1</cx:pt>
          <cx:pt idx="27591">1</cx:pt>
          <cx:pt idx="27592">1</cx:pt>
          <cx:pt idx="27593">1</cx:pt>
          <cx:pt idx="27594">1</cx:pt>
          <cx:pt idx="27595">1</cx:pt>
          <cx:pt idx="27596">0</cx:pt>
          <cx:pt idx="27597">0</cx:pt>
          <cx:pt idx="27598">1</cx:pt>
          <cx:pt idx="27599">1</cx:pt>
          <cx:pt idx="27600">0</cx:pt>
          <cx:pt idx="27601">0</cx:pt>
          <cx:pt idx="27602">0</cx:pt>
          <cx:pt idx="27603">0</cx:pt>
          <cx:pt idx="27604">0</cx:pt>
          <cx:pt idx="27605">0</cx:pt>
          <cx:pt idx="27606">0</cx:pt>
          <cx:pt idx="27607">0</cx:pt>
          <cx:pt idx="27608">0</cx:pt>
          <cx:pt idx="27609">1</cx:pt>
          <cx:pt idx="27610">1</cx:pt>
          <cx:pt idx="27611">1</cx:pt>
          <cx:pt idx="27612">0</cx:pt>
          <cx:pt idx="27613">1</cx:pt>
          <cx:pt idx="27614">0</cx:pt>
          <cx:pt idx="27615">0</cx:pt>
          <cx:pt idx="27616">1</cx:pt>
          <cx:pt idx="27617">1</cx:pt>
          <cx:pt idx="27618">1</cx:pt>
          <cx:pt idx="27619">0</cx:pt>
          <cx:pt idx="27620">0</cx:pt>
          <cx:pt idx="27621">1</cx:pt>
          <cx:pt idx="27622">1</cx:pt>
          <cx:pt idx="27623">0</cx:pt>
          <cx:pt idx="27624">0</cx:pt>
          <cx:pt idx="27625">0</cx:pt>
          <cx:pt idx="27626">0</cx:pt>
          <cx:pt idx="27627">0</cx:pt>
          <cx:pt idx="27628">0</cx:pt>
          <cx:pt idx="27629">1</cx:pt>
          <cx:pt idx="27630">1</cx:pt>
          <cx:pt idx="27631">0</cx:pt>
          <cx:pt idx="27632">0</cx:pt>
          <cx:pt idx="27633">1</cx:pt>
          <cx:pt idx="27634">1</cx:pt>
          <cx:pt idx="27635">0</cx:pt>
          <cx:pt idx="27636">0</cx:pt>
          <cx:pt idx="27637">1</cx:pt>
          <cx:pt idx="27638">0</cx:pt>
          <cx:pt idx="27639">1</cx:pt>
          <cx:pt idx="27640">0</cx:pt>
          <cx:pt idx="27641">0</cx:pt>
          <cx:pt idx="27642">0</cx:pt>
          <cx:pt idx="27643">1</cx:pt>
          <cx:pt idx="27644">1</cx:pt>
          <cx:pt idx="27645">0</cx:pt>
          <cx:pt idx="27646">0</cx:pt>
          <cx:pt idx="27647">0</cx:pt>
          <cx:pt idx="27648">1</cx:pt>
          <cx:pt idx="27649">1</cx:pt>
          <cx:pt idx="27650">0</cx:pt>
          <cx:pt idx="27651">0</cx:pt>
          <cx:pt idx="27652">1</cx:pt>
          <cx:pt idx="27653">1</cx:pt>
          <cx:pt idx="27654">0</cx:pt>
          <cx:pt idx="27655">0</cx:pt>
          <cx:pt idx="27656">1</cx:pt>
          <cx:pt idx="27657">1</cx:pt>
          <cx:pt idx="27658">1</cx:pt>
          <cx:pt idx="27659">1</cx:pt>
          <cx:pt idx="27660">0</cx:pt>
          <cx:pt idx="27661">0</cx:pt>
          <cx:pt idx="27662">0</cx:pt>
          <cx:pt idx="27663">1</cx:pt>
          <cx:pt idx="27664">0</cx:pt>
          <cx:pt idx="27665">1</cx:pt>
          <cx:pt idx="27666">0</cx:pt>
          <cx:pt idx="27667">1</cx:pt>
          <cx:pt idx="27668">0</cx:pt>
          <cx:pt idx="27669">1</cx:pt>
          <cx:pt idx="27670">0</cx:pt>
          <cx:pt idx="27671">0</cx:pt>
          <cx:pt idx="27672">0</cx:pt>
          <cx:pt idx="27673">1</cx:pt>
          <cx:pt idx="27674">0</cx:pt>
          <cx:pt idx="27675">0</cx:pt>
          <cx:pt idx="27676">0</cx:pt>
          <cx:pt idx="27677">1</cx:pt>
          <cx:pt idx="27678">1</cx:pt>
          <cx:pt idx="27679">0</cx:pt>
          <cx:pt idx="27680">1</cx:pt>
          <cx:pt idx="27681">0</cx:pt>
          <cx:pt idx="27682">0</cx:pt>
          <cx:pt idx="27683">1</cx:pt>
          <cx:pt idx="27684">1</cx:pt>
          <cx:pt idx="27685">0</cx:pt>
          <cx:pt idx="27686">0</cx:pt>
          <cx:pt idx="27687">1</cx:pt>
          <cx:pt idx="27688">0</cx:pt>
          <cx:pt idx="27689">0</cx:pt>
          <cx:pt idx="27690">1</cx:pt>
          <cx:pt idx="27691">0</cx:pt>
          <cx:pt idx="27692">1</cx:pt>
          <cx:pt idx="27693">0</cx:pt>
          <cx:pt idx="27694">1</cx:pt>
          <cx:pt idx="27695">0</cx:pt>
          <cx:pt idx="27696">0</cx:pt>
          <cx:pt idx="27697">1</cx:pt>
          <cx:pt idx="27698">1</cx:pt>
          <cx:pt idx="27699">0</cx:pt>
          <cx:pt idx="27700">1</cx:pt>
          <cx:pt idx="27701">0</cx:pt>
          <cx:pt idx="27702">1</cx:pt>
          <cx:pt idx="27703">1</cx:pt>
          <cx:pt idx="27704">0</cx:pt>
          <cx:pt idx="27705">0</cx:pt>
          <cx:pt idx="27706">1</cx:pt>
          <cx:pt idx="27707">1</cx:pt>
          <cx:pt idx="27708">0</cx:pt>
          <cx:pt idx="27709">0</cx:pt>
          <cx:pt idx="27710">1</cx:pt>
          <cx:pt idx="27711">1</cx:pt>
          <cx:pt idx="27712">1</cx:pt>
          <cx:pt idx="27713">0</cx:pt>
          <cx:pt idx="27714">1</cx:pt>
          <cx:pt idx="27715">1</cx:pt>
          <cx:pt idx="27716">0</cx:pt>
          <cx:pt idx="27717">0</cx:pt>
          <cx:pt idx="27718">1</cx:pt>
          <cx:pt idx="27719">0</cx:pt>
          <cx:pt idx="27720">1</cx:pt>
          <cx:pt idx="27721">1</cx:pt>
          <cx:pt idx="27722">1</cx:pt>
          <cx:pt idx="27723">0</cx:pt>
          <cx:pt idx="27724">1</cx:pt>
          <cx:pt idx="27725">0</cx:pt>
          <cx:pt idx="27726">0</cx:pt>
          <cx:pt idx="27727">0</cx:pt>
          <cx:pt idx="27728">1</cx:pt>
          <cx:pt idx="27729">0</cx:pt>
          <cx:pt idx="27730">1</cx:pt>
          <cx:pt idx="27731">0</cx:pt>
          <cx:pt idx="27732">1</cx:pt>
          <cx:pt idx="27733">0</cx:pt>
          <cx:pt idx="27734">0</cx:pt>
          <cx:pt idx="27735">0</cx:pt>
          <cx:pt idx="27736">1</cx:pt>
          <cx:pt idx="27737">0</cx:pt>
          <cx:pt idx="27738">1</cx:pt>
          <cx:pt idx="27739">1</cx:pt>
          <cx:pt idx="27740">0</cx:pt>
          <cx:pt idx="27741">0</cx:pt>
          <cx:pt idx="27742">0</cx:pt>
          <cx:pt idx="27743">0</cx:pt>
          <cx:pt idx="27744">0</cx:pt>
          <cx:pt idx="27745">0</cx:pt>
          <cx:pt idx="27746">0</cx:pt>
          <cx:pt idx="27747">0</cx:pt>
          <cx:pt idx="27748">1</cx:pt>
          <cx:pt idx="27749">1</cx:pt>
          <cx:pt idx="27750">1</cx:pt>
          <cx:pt idx="27751">0</cx:pt>
          <cx:pt idx="27752">0</cx:pt>
          <cx:pt idx="27753">1</cx:pt>
          <cx:pt idx="27754">0</cx:pt>
          <cx:pt idx="27755">0</cx:pt>
          <cx:pt idx="27756">0</cx:pt>
          <cx:pt idx="27757">1</cx:pt>
          <cx:pt idx="27758">1</cx:pt>
          <cx:pt idx="27759">0</cx:pt>
          <cx:pt idx="27760">1</cx:pt>
          <cx:pt idx="27761">0</cx:pt>
          <cx:pt idx="27762">1</cx:pt>
          <cx:pt idx="27763">0</cx:pt>
          <cx:pt idx="27764">0</cx:pt>
          <cx:pt idx="27765">0</cx:pt>
          <cx:pt idx="27766">0</cx:pt>
          <cx:pt idx="27767">1</cx:pt>
          <cx:pt idx="27768">1</cx:pt>
          <cx:pt idx="27769">1</cx:pt>
          <cx:pt idx="27770">0</cx:pt>
          <cx:pt idx="27771">1</cx:pt>
          <cx:pt idx="27772">1</cx:pt>
          <cx:pt idx="27773">1</cx:pt>
          <cx:pt idx="27774">0</cx:pt>
          <cx:pt idx="27775">0</cx:pt>
          <cx:pt idx="27776">0</cx:pt>
          <cx:pt idx="27777">0</cx:pt>
          <cx:pt idx="27778">0</cx:pt>
          <cx:pt idx="27779">1</cx:pt>
          <cx:pt idx="27780">1</cx:pt>
          <cx:pt idx="27781">0</cx:pt>
          <cx:pt idx="27782">0</cx:pt>
          <cx:pt idx="27783">1</cx:pt>
          <cx:pt idx="27784">0</cx:pt>
          <cx:pt idx="27785">1</cx:pt>
          <cx:pt idx="27786">0</cx:pt>
          <cx:pt idx="27787">1</cx:pt>
          <cx:pt idx="27788">1</cx:pt>
          <cx:pt idx="27789">0</cx:pt>
          <cx:pt idx="27790">0</cx:pt>
          <cx:pt idx="27791">1</cx:pt>
          <cx:pt idx="27792">1</cx:pt>
          <cx:pt idx="27793">1</cx:pt>
          <cx:pt idx="27794">0</cx:pt>
          <cx:pt idx="27795">1</cx:pt>
          <cx:pt idx="27796">0</cx:pt>
          <cx:pt idx="27797">1</cx:pt>
          <cx:pt idx="27798">0</cx:pt>
          <cx:pt idx="27799">0</cx:pt>
          <cx:pt idx="27800">0</cx:pt>
          <cx:pt idx="27801">0</cx:pt>
          <cx:pt idx="27802">0</cx:pt>
          <cx:pt idx="27803">0</cx:pt>
          <cx:pt idx="27804">1</cx:pt>
          <cx:pt idx="27805">0</cx:pt>
          <cx:pt idx="27806">0</cx:pt>
          <cx:pt idx="27807">1</cx:pt>
          <cx:pt idx="27808">1</cx:pt>
          <cx:pt idx="27809">0</cx:pt>
          <cx:pt idx="27810">0</cx:pt>
          <cx:pt idx="27811">0</cx:pt>
          <cx:pt idx="27812">1</cx:pt>
          <cx:pt idx="27813">0</cx:pt>
          <cx:pt idx="27814">0</cx:pt>
          <cx:pt idx="27815">0</cx:pt>
          <cx:pt idx="27816">0</cx:pt>
          <cx:pt idx="27817">1</cx:pt>
          <cx:pt idx="27818">0</cx:pt>
          <cx:pt idx="27819">1</cx:pt>
          <cx:pt idx="27820">1</cx:pt>
          <cx:pt idx="27821">1</cx:pt>
          <cx:pt idx="27822">1</cx:pt>
          <cx:pt idx="27823">0</cx:pt>
          <cx:pt idx="27824">0</cx:pt>
          <cx:pt idx="27825">0</cx:pt>
          <cx:pt idx="27826">1</cx:pt>
          <cx:pt idx="27827">1</cx:pt>
          <cx:pt idx="27828">0</cx:pt>
          <cx:pt idx="27829">0</cx:pt>
          <cx:pt idx="27830">0</cx:pt>
          <cx:pt idx="27831">0</cx:pt>
          <cx:pt idx="27832">1</cx:pt>
          <cx:pt idx="27833">0</cx:pt>
          <cx:pt idx="27834">0</cx:pt>
          <cx:pt idx="27835">0</cx:pt>
          <cx:pt idx="27836">0</cx:pt>
          <cx:pt idx="27837">0</cx:pt>
          <cx:pt idx="27838">0</cx:pt>
          <cx:pt idx="27839">1</cx:pt>
          <cx:pt idx="27840">0</cx:pt>
          <cx:pt idx="27841">0</cx:pt>
          <cx:pt idx="27842">0</cx:pt>
          <cx:pt idx="27843">0</cx:pt>
          <cx:pt idx="27844">0</cx:pt>
          <cx:pt idx="27845">1</cx:pt>
          <cx:pt idx="27846">1</cx:pt>
          <cx:pt idx="27847">0</cx:pt>
          <cx:pt idx="27848">0</cx:pt>
          <cx:pt idx="27849">1</cx:pt>
          <cx:pt idx="27850">1</cx:pt>
          <cx:pt idx="27851">0</cx:pt>
          <cx:pt idx="27852">1</cx:pt>
          <cx:pt idx="27853">0</cx:pt>
          <cx:pt idx="27854">0</cx:pt>
          <cx:pt idx="27855">0</cx:pt>
          <cx:pt idx="27856">1</cx:pt>
          <cx:pt idx="27857">1</cx:pt>
          <cx:pt idx="27858">0</cx:pt>
          <cx:pt idx="27859">1</cx:pt>
          <cx:pt idx="27860">0</cx:pt>
          <cx:pt idx="27861">1</cx:pt>
          <cx:pt idx="27862">1</cx:pt>
          <cx:pt idx="27863">0</cx:pt>
          <cx:pt idx="27864">1</cx:pt>
          <cx:pt idx="27865">0</cx:pt>
          <cx:pt idx="27866">0</cx:pt>
          <cx:pt idx="27867">0</cx:pt>
          <cx:pt idx="27868">0</cx:pt>
          <cx:pt idx="27869">0</cx:pt>
          <cx:pt idx="27870">0</cx:pt>
          <cx:pt idx="27871">0</cx:pt>
          <cx:pt idx="27872">0</cx:pt>
          <cx:pt idx="27873">0</cx:pt>
          <cx:pt idx="27874">0</cx:pt>
          <cx:pt idx="27875">1</cx:pt>
          <cx:pt idx="27876">1</cx:pt>
          <cx:pt idx="27877">0</cx:pt>
          <cx:pt idx="27878">0</cx:pt>
          <cx:pt idx="27879">1</cx:pt>
          <cx:pt idx="27880">0</cx:pt>
          <cx:pt idx="27881">0</cx:pt>
          <cx:pt idx="27882">0</cx:pt>
          <cx:pt idx="27883">0</cx:pt>
          <cx:pt idx="27884">1</cx:pt>
          <cx:pt idx="27885">0</cx:pt>
          <cx:pt idx="27886">1</cx:pt>
          <cx:pt idx="27887">0</cx:pt>
          <cx:pt idx="27888">0</cx:pt>
          <cx:pt idx="27889">1</cx:pt>
          <cx:pt idx="27890">0</cx:pt>
          <cx:pt idx="27891">1</cx:pt>
          <cx:pt idx="27892">0</cx:pt>
          <cx:pt idx="27893">1</cx:pt>
          <cx:pt idx="27894">1</cx:pt>
          <cx:pt idx="27895">0</cx:pt>
          <cx:pt idx="27896">0</cx:pt>
          <cx:pt idx="27897">1</cx:pt>
          <cx:pt idx="27898">1</cx:pt>
          <cx:pt idx="27899">1</cx:pt>
          <cx:pt idx="27900">0</cx:pt>
          <cx:pt idx="27901">0</cx:pt>
          <cx:pt idx="27902">1</cx:pt>
          <cx:pt idx="27903">0</cx:pt>
          <cx:pt idx="27904">1</cx:pt>
          <cx:pt idx="27905">0</cx:pt>
          <cx:pt idx="27906">1</cx:pt>
          <cx:pt idx="27907">1</cx:pt>
          <cx:pt idx="27908">1</cx:pt>
          <cx:pt idx="27909">0</cx:pt>
          <cx:pt idx="27910">1</cx:pt>
          <cx:pt idx="27911">1</cx:pt>
          <cx:pt idx="27912">0</cx:pt>
          <cx:pt idx="27913">0</cx:pt>
          <cx:pt idx="27914">1</cx:pt>
          <cx:pt idx="27915">1</cx:pt>
          <cx:pt idx="27916">0</cx:pt>
          <cx:pt idx="27917">0</cx:pt>
          <cx:pt idx="27918">0</cx:pt>
          <cx:pt idx="27919">1</cx:pt>
          <cx:pt idx="27920">0</cx:pt>
          <cx:pt idx="27921">1</cx:pt>
          <cx:pt idx="27922">1</cx:pt>
          <cx:pt idx="27923">1</cx:pt>
          <cx:pt idx="27924">1</cx:pt>
          <cx:pt idx="27925">1</cx:pt>
          <cx:pt idx="27926">0</cx:pt>
          <cx:pt idx="27927">0</cx:pt>
          <cx:pt idx="27928">0</cx:pt>
          <cx:pt idx="27929">1</cx:pt>
          <cx:pt idx="27930">0</cx:pt>
          <cx:pt idx="27931">0</cx:pt>
          <cx:pt idx="27932">0</cx:pt>
          <cx:pt idx="27933">0</cx:pt>
          <cx:pt idx="27934">0</cx:pt>
          <cx:pt idx="27935">1</cx:pt>
          <cx:pt idx="27936">0</cx:pt>
          <cx:pt idx="27937">1</cx:pt>
          <cx:pt idx="27938">0</cx:pt>
          <cx:pt idx="27939">1</cx:pt>
          <cx:pt idx="27940">0</cx:pt>
          <cx:pt idx="27941">0</cx:pt>
          <cx:pt idx="27942">1</cx:pt>
          <cx:pt idx="27943">1</cx:pt>
          <cx:pt idx="27944">0</cx:pt>
          <cx:pt idx="27945">0</cx:pt>
          <cx:pt idx="27946">0</cx:pt>
          <cx:pt idx="27947">1</cx:pt>
          <cx:pt idx="27948">0</cx:pt>
          <cx:pt idx="27949">0</cx:pt>
          <cx:pt idx="27950">0</cx:pt>
          <cx:pt idx="27951">0</cx:pt>
          <cx:pt idx="27952">1</cx:pt>
          <cx:pt idx="27953">0</cx:pt>
          <cx:pt idx="27954">1</cx:pt>
          <cx:pt idx="27955">1</cx:pt>
          <cx:pt idx="27956">0</cx:pt>
          <cx:pt idx="27957">0</cx:pt>
          <cx:pt idx="27958">0</cx:pt>
          <cx:pt idx="27959">0</cx:pt>
          <cx:pt idx="27960">1</cx:pt>
          <cx:pt idx="27961">0</cx:pt>
          <cx:pt idx="27962">0</cx:pt>
          <cx:pt idx="27963">0</cx:pt>
          <cx:pt idx="27964">1</cx:pt>
          <cx:pt idx="27965">1</cx:pt>
          <cx:pt idx="27966">0</cx:pt>
          <cx:pt idx="27967">0</cx:pt>
          <cx:pt idx="27968">1</cx:pt>
          <cx:pt idx="27969">0</cx:pt>
          <cx:pt idx="27970">0</cx:pt>
          <cx:pt idx="27971">0</cx:pt>
          <cx:pt idx="27972">0</cx:pt>
          <cx:pt idx="27973">1</cx:pt>
          <cx:pt idx="27974">0</cx:pt>
          <cx:pt idx="27975">0</cx:pt>
          <cx:pt idx="27976">1</cx:pt>
          <cx:pt idx="27977">0</cx:pt>
          <cx:pt idx="27978">0</cx:pt>
          <cx:pt idx="27979">0</cx:pt>
          <cx:pt idx="27980">1</cx:pt>
          <cx:pt idx="27981">0</cx:pt>
          <cx:pt idx="27982">1</cx:pt>
          <cx:pt idx="27983">1</cx:pt>
          <cx:pt idx="27984">1</cx:pt>
          <cx:pt idx="27985">1</cx:pt>
          <cx:pt idx="27986">1</cx:pt>
          <cx:pt idx="27987">1</cx:pt>
          <cx:pt idx="27988">0</cx:pt>
          <cx:pt idx="27989">0</cx:pt>
          <cx:pt idx="27990">1</cx:pt>
          <cx:pt idx="27991">1</cx:pt>
          <cx:pt idx="27992">1</cx:pt>
          <cx:pt idx="27993">0</cx:pt>
          <cx:pt idx="27994">1</cx:pt>
          <cx:pt idx="27995">0</cx:pt>
          <cx:pt idx="27996">0</cx:pt>
          <cx:pt idx="27997">1</cx:pt>
          <cx:pt idx="27998">0</cx:pt>
          <cx:pt idx="27999">0</cx:pt>
          <cx:pt idx="28000">0</cx:pt>
          <cx:pt idx="28001">0</cx:pt>
          <cx:pt idx="28002">0</cx:pt>
          <cx:pt idx="28003">1</cx:pt>
          <cx:pt idx="28004">0</cx:pt>
          <cx:pt idx="28005">1</cx:pt>
          <cx:pt idx="28006">0</cx:pt>
          <cx:pt idx="28007">0</cx:pt>
          <cx:pt idx="28008">1</cx:pt>
          <cx:pt idx="28009">0</cx:pt>
          <cx:pt idx="28010">1</cx:pt>
          <cx:pt idx="28011">1</cx:pt>
          <cx:pt idx="28012">0</cx:pt>
          <cx:pt idx="28013">1</cx:pt>
          <cx:pt idx="28014">0</cx:pt>
          <cx:pt idx="28015">1</cx:pt>
          <cx:pt idx="28016">1</cx:pt>
          <cx:pt idx="28017">1</cx:pt>
          <cx:pt idx="28018">0</cx:pt>
          <cx:pt idx="28019">1</cx:pt>
          <cx:pt idx="28020">0</cx:pt>
          <cx:pt idx="28021">0</cx:pt>
          <cx:pt idx="28022">1</cx:pt>
          <cx:pt idx="28023">0</cx:pt>
          <cx:pt idx="28024">0</cx:pt>
          <cx:pt idx="28025">0</cx:pt>
          <cx:pt idx="28026">0</cx:pt>
          <cx:pt idx="28027">0</cx:pt>
          <cx:pt idx="28028">0</cx:pt>
          <cx:pt idx="28029">0</cx:pt>
          <cx:pt idx="28030">1</cx:pt>
          <cx:pt idx="28031">1</cx:pt>
          <cx:pt idx="28032">1</cx:pt>
          <cx:pt idx="28033">0</cx:pt>
          <cx:pt idx="28034">0</cx:pt>
          <cx:pt idx="28035">1</cx:pt>
          <cx:pt idx="28036">1</cx:pt>
          <cx:pt idx="28037">1</cx:pt>
          <cx:pt idx="28038">1</cx:pt>
          <cx:pt idx="28039">0</cx:pt>
          <cx:pt idx="28040">0</cx:pt>
          <cx:pt idx="28041">0</cx:pt>
          <cx:pt idx="28042">1</cx:pt>
          <cx:pt idx="28043">0</cx:pt>
          <cx:pt idx="28044">0</cx:pt>
          <cx:pt idx="28045">1</cx:pt>
          <cx:pt idx="28046">0</cx:pt>
          <cx:pt idx="28047">0</cx:pt>
          <cx:pt idx="28048">0</cx:pt>
          <cx:pt idx="28049">1</cx:pt>
          <cx:pt idx="28050">0</cx:pt>
          <cx:pt idx="28051">0</cx:pt>
          <cx:pt idx="28052">1</cx:pt>
          <cx:pt idx="28053">1</cx:pt>
          <cx:pt idx="28054">0</cx:pt>
          <cx:pt idx="28055">0</cx:pt>
          <cx:pt idx="28056">1</cx:pt>
          <cx:pt idx="28057">1</cx:pt>
          <cx:pt idx="28058">0</cx:pt>
          <cx:pt idx="28059">0</cx:pt>
          <cx:pt idx="28060">0</cx:pt>
          <cx:pt idx="28061">0</cx:pt>
          <cx:pt idx="28062">1</cx:pt>
          <cx:pt idx="28063">0</cx:pt>
          <cx:pt idx="28064">0</cx:pt>
          <cx:pt idx="28065">1</cx:pt>
          <cx:pt idx="28066">0</cx:pt>
          <cx:pt idx="28067">0</cx:pt>
          <cx:pt idx="28068">1</cx:pt>
          <cx:pt idx="28069">1</cx:pt>
          <cx:pt idx="28070">1</cx:pt>
          <cx:pt idx="28071">1</cx:pt>
          <cx:pt idx="28072">1</cx:pt>
          <cx:pt idx="28073">1</cx:pt>
          <cx:pt idx="28074">1</cx:pt>
          <cx:pt idx="28075">0</cx:pt>
          <cx:pt idx="28076">1</cx:pt>
          <cx:pt idx="28077">0</cx:pt>
          <cx:pt idx="28078">0</cx:pt>
          <cx:pt idx="28079">0</cx:pt>
          <cx:pt idx="28080">0</cx:pt>
          <cx:pt idx="28081">0</cx:pt>
          <cx:pt idx="28082">1</cx:pt>
          <cx:pt idx="28083">1</cx:pt>
          <cx:pt idx="28084">0</cx:pt>
          <cx:pt idx="28085">1</cx:pt>
          <cx:pt idx="28086">0</cx:pt>
          <cx:pt idx="28087">0</cx:pt>
          <cx:pt idx="28088">0</cx:pt>
          <cx:pt idx="28089">1</cx:pt>
          <cx:pt idx="28090">0</cx:pt>
          <cx:pt idx="28091">1</cx:pt>
          <cx:pt idx="28092">0</cx:pt>
          <cx:pt idx="28093">1</cx:pt>
          <cx:pt idx="28094">0</cx:pt>
          <cx:pt idx="28095">0</cx:pt>
          <cx:pt idx="28096">0</cx:pt>
          <cx:pt idx="28097">0</cx:pt>
          <cx:pt idx="28098">0</cx:pt>
          <cx:pt idx="28099">1</cx:pt>
          <cx:pt idx="28100">1</cx:pt>
          <cx:pt idx="28101">0</cx:pt>
          <cx:pt idx="28102">1</cx:pt>
          <cx:pt idx="28103">1</cx:pt>
          <cx:pt idx="28104">0</cx:pt>
          <cx:pt idx="28105">0</cx:pt>
          <cx:pt idx="28106">1</cx:pt>
          <cx:pt idx="28107">0</cx:pt>
          <cx:pt idx="28108">1</cx:pt>
          <cx:pt idx="28109">1</cx:pt>
          <cx:pt idx="28110">1</cx:pt>
          <cx:pt idx="28111">0</cx:pt>
          <cx:pt idx="28112">0</cx:pt>
          <cx:pt idx="28113">0</cx:pt>
          <cx:pt idx="28114">1</cx:pt>
          <cx:pt idx="28115">0</cx:pt>
          <cx:pt idx="28116">0</cx:pt>
          <cx:pt idx="28117">1</cx:pt>
          <cx:pt idx="28118">0</cx:pt>
          <cx:pt idx="28119">0</cx:pt>
          <cx:pt idx="28120">1</cx:pt>
          <cx:pt idx="28121">1</cx:pt>
          <cx:pt idx="28122">0</cx:pt>
          <cx:pt idx="28123">0</cx:pt>
          <cx:pt idx="28124">1</cx:pt>
          <cx:pt idx="28125">0</cx:pt>
          <cx:pt idx="28126">1</cx:pt>
          <cx:pt idx="28127">0</cx:pt>
          <cx:pt idx="28128">1</cx:pt>
          <cx:pt idx="28129">0</cx:pt>
          <cx:pt idx="28130">0</cx:pt>
          <cx:pt idx="28131">0</cx:pt>
          <cx:pt idx="28132">0</cx:pt>
          <cx:pt idx="28133">1</cx:pt>
          <cx:pt idx="28134">0</cx:pt>
          <cx:pt idx="28135">1</cx:pt>
          <cx:pt idx="28136">0</cx:pt>
          <cx:pt idx="28137">0</cx:pt>
          <cx:pt idx="28138">1</cx:pt>
          <cx:pt idx="28139">0</cx:pt>
          <cx:pt idx="28140">0</cx:pt>
          <cx:pt idx="28141">1</cx:pt>
          <cx:pt idx="28142">0</cx:pt>
          <cx:pt idx="28143">0</cx:pt>
          <cx:pt idx="28144">0</cx:pt>
          <cx:pt idx="28145">0</cx:pt>
          <cx:pt idx="28146">0</cx:pt>
          <cx:pt idx="28147">0</cx:pt>
          <cx:pt idx="28148">1</cx:pt>
          <cx:pt idx="28149">1</cx:pt>
          <cx:pt idx="28150">1</cx:pt>
          <cx:pt idx="28151">0</cx:pt>
          <cx:pt idx="28152">1</cx:pt>
          <cx:pt idx="28153">0</cx:pt>
          <cx:pt idx="28154">1</cx:pt>
          <cx:pt idx="28155">1</cx:pt>
          <cx:pt idx="28156">0</cx:pt>
          <cx:pt idx="28157">1</cx:pt>
          <cx:pt idx="28158">0</cx:pt>
          <cx:pt idx="28159">1</cx:pt>
          <cx:pt idx="28160">1</cx:pt>
          <cx:pt idx="28161">0</cx:pt>
          <cx:pt idx="28162">1</cx:pt>
          <cx:pt idx="28163">1</cx:pt>
          <cx:pt idx="28164">0</cx:pt>
          <cx:pt idx="28165">0</cx:pt>
          <cx:pt idx="28166">1</cx:pt>
          <cx:pt idx="28167">1</cx:pt>
          <cx:pt idx="28168">1</cx:pt>
          <cx:pt idx="28169">0</cx:pt>
          <cx:pt idx="28170">0</cx:pt>
          <cx:pt idx="28171">0</cx:pt>
          <cx:pt idx="28172">0</cx:pt>
          <cx:pt idx="28173">1</cx:pt>
          <cx:pt idx="28174">1</cx:pt>
          <cx:pt idx="28175">1</cx:pt>
          <cx:pt idx="28176">1</cx:pt>
          <cx:pt idx="28177">1</cx:pt>
          <cx:pt idx="28178">1</cx:pt>
          <cx:pt idx="28179">1</cx:pt>
          <cx:pt idx="28180">0</cx:pt>
          <cx:pt idx="28181">1</cx:pt>
          <cx:pt idx="28182">1</cx:pt>
          <cx:pt idx="28183">1</cx:pt>
          <cx:pt idx="28184">0</cx:pt>
          <cx:pt idx="28185">0</cx:pt>
          <cx:pt idx="28186">0</cx:pt>
          <cx:pt idx="28187">0</cx:pt>
          <cx:pt idx="28188">0</cx:pt>
          <cx:pt idx="28189">1</cx:pt>
          <cx:pt idx="28190">1</cx:pt>
          <cx:pt idx="28191">0</cx:pt>
          <cx:pt idx="28192">1</cx:pt>
          <cx:pt idx="28193">1</cx:pt>
          <cx:pt idx="28194">0</cx:pt>
          <cx:pt idx="28195">0</cx:pt>
          <cx:pt idx="28196">0</cx:pt>
          <cx:pt idx="28197">0</cx:pt>
          <cx:pt idx="28198">0</cx:pt>
          <cx:pt idx="28199">0</cx:pt>
          <cx:pt idx="28200">0</cx:pt>
          <cx:pt idx="28201">0</cx:pt>
          <cx:pt idx="28202">1</cx:pt>
          <cx:pt idx="28203">0</cx:pt>
          <cx:pt idx="28204">0</cx:pt>
          <cx:pt idx="28205">0</cx:pt>
          <cx:pt idx="28206">1</cx:pt>
          <cx:pt idx="28207">1</cx:pt>
          <cx:pt idx="28208">1</cx:pt>
          <cx:pt idx="28209">1</cx:pt>
          <cx:pt idx="28210">0</cx:pt>
          <cx:pt idx="28211">0</cx:pt>
          <cx:pt idx="28212">0</cx:pt>
          <cx:pt idx="28213">0</cx:pt>
          <cx:pt idx="28214">1</cx:pt>
          <cx:pt idx="28215">0</cx:pt>
          <cx:pt idx="28216">0</cx:pt>
          <cx:pt idx="28217">0</cx:pt>
          <cx:pt idx="28218">1</cx:pt>
          <cx:pt idx="28219">0</cx:pt>
          <cx:pt idx="28220">1</cx:pt>
          <cx:pt idx="28221">0</cx:pt>
          <cx:pt idx="28222">0</cx:pt>
          <cx:pt idx="28223">1</cx:pt>
          <cx:pt idx="28224">0</cx:pt>
          <cx:pt idx="28225">0</cx:pt>
          <cx:pt idx="28226">1</cx:pt>
          <cx:pt idx="28227">0</cx:pt>
          <cx:pt idx="28228">1</cx:pt>
          <cx:pt idx="28229">0</cx:pt>
          <cx:pt idx="28230">0</cx:pt>
          <cx:pt idx="28231">0</cx:pt>
          <cx:pt idx="28232">1</cx:pt>
          <cx:pt idx="28233">1</cx:pt>
          <cx:pt idx="28234">0</cx:pt>
          <cx:pt idx="28235">0</cx:pt>
          <cx:pt idx="28236">1</cx:pt>
          <cx:pt idx="28237">1</cx:pt>
          <cx:pt idx="28238">1</cx:pt>
          <cx:pt idx="28239">0</cx:pt>
          <cx:pt idx="28240">1</cx:pt>
          <cx:pt idx="28241">1</cx:pt>
          <cx:pt idx="28242">0</cx:pt>
          <cx:pt idx="28243">0</cx:pt>
          <cx:pt idx="28244">0</cx:pt>
          <cx:pt idx="28245">1</cx:pt>
          <cx:pt idx="28246">0</cx:pt>
          <cx:pt idx="28247">1</cx:pt>
          <cx:pt idx="28248">1</cx:pt>
          <cx:pt idx="28249">1</cx:pt>
          <cx:pt idx="28250">0</cx:pt>
          <cx:pt idx="28251">0</cx:pt>
          <cx:pt idx="28252">0</cx:pt>
          <cx:pt idx="28253">0</cx:pt>
          <cx:pt idx="28254">0</cx:pt>
          <cx:pt idx="28255">1</cx:pt>
          <cx:pt idx="28256">1</cx:pt>
          <cx:pt idx="28257">0</cx:pt>
          <cx:pt idx="28258">0</cx:pt>
          <cx:pt idx="28259">1</cx:pt>
          <cx:pt idx="28260">1</cx:pt>
          <cx:pt idx="28261">0</cx:pt>
          <cx:pt idx="28262">0</cx:pt>
          <cx:pt idx="28263">1</cx:pt>
          <cx:pt idx="28264">1</cx:pt>
          <cx:pt idx="28265">0</cx:pt>
          <cx:pt idx="28266">0</cx:pt>
          <cx:pt idx="28267">0</cx:pt>
          <cx:pt idx="28268">0</cx:pt>
          <cx:pt idx="28269">1</cx:pt>
          <cx:pt idx="28270">0</cx:pt>
          <cx:pt idx="28271">0</cx:pt>
          <cx:pt idx="28272">0</cx:pt>
          <cx:pt idx="28273">1</cx:pt>
          <cx:pt idx="28274">0</cx:pt>
          <cx:pt idx="28275">0</cx:pt>
          <cx:pt idx="28276">0</cx:pt>
          <cx:pt idx="28277">0</cx:pt>
          <cx:pt idx="28278">1</cx:pt>
          <cx:pt idx="28279">1</cx:pt>
          <cx:pt idx="28280">0</cx:pt>
          <cx:pt idx="28281">1</cx:pt>
          <cx:pt idx="28282">0</cx:pt>
          <cx:pt idx="28283">0</cx:pt>
          <cx:pt idx="28284">0</cx:pt>
          <cx:pt idx="28285">1</cx:pt>
          <cx:pt idx="28286">0</cx:pt>
          <cx:pt idx="28287">0</cx:pt>
          <cx:pt idx="28288">0</cx:pt>
          <cx:pt idx="28289">0</cx:pt>
          <cx:pt idx="28290">1</cx:pt>
          <cx:pt idx="28291">0</cx:pt>
          <cx:pt idx="28292">1</cx:pt>
          <cx:pt idx="28293">0</cx:pt>
          <cx:pt idx="28294">1</cx:pt>
          <cx:pt idx="28295">0</cx:pt>
          <cx:pt idx="28296">1</cx:pt>
          <cx:pt idx="28297">1</cx:pt>
          <cx:pt idx="28298">1</cx:pt>
          <cx:pt idx="28299">0</cx:pt>
          <cx:pt idx="28300">0</cx:pt>
          <cx:pt idx="28301">0</cx:pt>
          <cx:pt idx="28302">1</cx:pt>
          <cx:pt idx="28303">0</cx:pt>
          <cx:pt idx="28304">1</cx:pt>
          <cx:pt idx="28305">0</cx:pt>
          <cx:pt idx="28306">0</cx:pt>
          <cx:pt idx="28307">0</cx:pt>
          <cx:pt idx="28308">0</cx:pt>
          <cx:pt idx="28309">1</cx:pt>
          <cx:pt idx="28310">1</cx:pt>
          <cx:pt idx="28311">0</cx:pt>
          <cx:pt idx="28312">1</cx:pt>
          <cx:pt idx="28313">0</cx:pt>
          <cx:pt idx="28314">0</cx:pt>
          <cx:pt idx="28315">0</cx:pt>
          <cx:pt idx="28316">0</cx:pt>
          <cx:pt idx="28317">1</cx:pt>
          <cx:pt idx="28318">0</cx:pt>
          <cx:pt idx="28319">1</cx:pt>
          <cx:pt idx="28320">1</cx:pt>
          <cx:pt idx="28321">1</cx:pt>
          <cx:pt idx="28322">1</cx:pt>
          <cx:pt idx="28323">1</cx:pt>
          <cx:pt idx="28324">0</cx:pt>
          <cx:pt idx="28325">1</cx:pt>
          <cx:pt idx="28326">0</cx:pt>
          <cx:pt idx="28327">1</cx:pt>
          <cx:pt idx="28328">1</cx:pt>
          <cx:pt idx="28329">1</cx:pt>
          <cx:pt idx="28330">0</cx:pt>
          <cx:pt idx="28331">0</cx:pt>
          <cx:pt idx="28332">0</cx:pt>
          <cx:pt idx="28333">1</cx:pt>
          <cx:pt idx="28334">1</cx:pt>
          <cx:pt idx="28335">1</cx:pt>
          <cx:pt idx="28336">1</cx:pt>
          <cx:pt idx="28337">0</cx:pt>
          <cx:pt idx="28338">0</cx:pt>
          <cx:pt idx="28339">1</cx:pt>
          <cx:pt idx="28340">1</cx:pt>
          <cx:pt idx="28341">0</cx:pt>
          <cx:pt idx="28342">1</cx:pt>
          <cx:pt idx="28343">1</cx:pt>
          <cx:pt idx="28344">0</cx:pt>
          <cx:pt idx="28345">1</cx:pt>
          <cx:pt idx="28346">1</cx:pt>
          <cx:pt idx="28347">1</cx:pt>
          <cx:pt idx="28348">0</cx:pt>
          <cx:pt idx="28349">0</cx:pt>
          <cx:pt idx="28350">0</cx:pt>
          <cx:pt idx="28351">1</cx:pt>
          <cx:pt idx="28352">0</cx:pt>
          <cx:pt idx="28353">1</cx:pt>
          <cx:pt idx="28354">0</cx:pt>
          <cx:pt idx="28355">0</cx:pt>
          <cx:pt idx="28356">0</cx:pt>
          <cx:pt idx="28357">0</cx:pt>
          <cx:pt idx="28358">1</cx:pt>
          <cx:pt idx="28359">0</cx:pt>
          <cx:pt idx="28360">0</cx:pt>
          <cx:pt idx="28361">1</cx:pt>
          <cx:pt idx="28362">0</cx:pt>
          <cx:pt idx="28363">0</cx:pt>
          <cx:pt idx="28364">0</cx:pt>
          <cx:pt idx="28365">0</cx:pt>
          <cx:pt idx="28366">1</cx:pt>
          <cx:pt idx="28367">0</cx:pt>
          <cx:pt idx="28368">0</cx:pt>
          <cx:pt idx="28369">0</cx:pt>
          <cx:pt idx="28370">0</cx:pt>
          <cx:pt idx="28371">1</cx:pt>
          <cx:pt idx="28372">1</cx:pt>
          <cx:pt idx="28373">0</cx:pt>
          <cx:pt idx="28374">0</cx:pt>
          <cx:pt idx="28375">0</cx:pt>
          <cx:pt idx="28376">1</cx:pt>
          <cx:pt idx="28377">1</cx:pt>
          <cx:pt idx="28378">1</cx:pt>
          <cx:pt idx="28379">0</cx:pt>
          <cx:pt idx="28380">1</cx:pt>
          <cx:pt idx="28381">1</cx:pt>
          <cx:pt idx="28382">1</cx:pt>
          <cx:pt idx="28383">1</cx:pt>
          <cx:pt idx="28384">0</cx:pt>
          <cx:pt idx="28385">1</cx:pt>
          <cx:pt idx="28386">0</cx:pt>
          <cx:pt idx="28387">0</cx:pt>
          <cx:pt idx="28388">1</cx:pt>
          <cx:pt idx="28389">0</cx:pt>
          <cx:pt idx="28390">0</cx:pt>
          <cx:pt idx="28391">0</cx:pt>
          <cx:pt idx="28392">0</cx:pt>
          <cx:pt idx="28393">0</cx:pt>
          <cx:pt idx="28394">0</cx:pt>
          <cx:pt idx="28395">1</cx:pt>
          <cx:pt idx="28396">0</cx:pt>
          <cx:pt idx="28397">0</cx:pt>
          <cx:pt idx="28398">0</cx:pt>
          <cx:pt idx="28399">1</cx:pt>
          <cx:pt idx="28400">1</cx:pt>
          <cx:pt idx="28401">1</cx:pt>
          <cx:pt idx="28402">1</cx:pt>
          <cx:pt idx="28403">1</cx:pt>
          <cx:pt idx="28404">1</cx:pt>
          <cx:pt idx="28405">0</cx:pt>
          <cx:pt idx="28406">0</cx:pt>
          <cx:pt idx="28407">0</cx:pt>
          <cx:pt idx="28408">0</cx:pt>
          <cx:pt idx="28409">1</cx:pt>
          <cx:pt idx="28410">0</cx:pt>
          <cx:pt idx="28411">0</cx:pt>
          <cx:pt idx="28412">1</cx:pt>
          <cx:pt idx="28413">0</cx:pt>
          <cx:pt idx="28414">0</cx:pt>
          <cx:pt idx="28415">0</cx:pt>
          <cx:pt idx="28416">1</cx:pt>
          <cx:pt idx="28417">1</cx:pt>
          <cx:pt idx="28418">0</cx:pt>
          <cx:pt idx="28419">0</cx:pt>
          <cx:pt idx="28420">0</cx:pt>
          <cx:pt idx="28421">1</cx:pt>
          <cx:pt idx="28422">1</cx:pt>
          <cx:pt idx="28423">1</cx:pt>
          <cx:pt idx="28424">0</cx:pt>
          <cx:pt idx="28425">1</cx:pt>
          <cx:pt idx="28426">1</cx:pt>
          <cx:pt idx="28427">0</cx:pt>
          <cx:pt idx="28428">1</cx:pt>
          <cx:pt idx="28429">0</cx:pt>
          <cx:pt idx="28430">0</cx:pt>
          <cx:pt idx="28431">1</cx:pt>
          <cx:pt idx="28432">1</cx:pt>
          <cx:pt idx="28433">1</cx:pt>
          <cx:pt idx="28434">0</cx:pt>
          <cx:pt idx="28435">1</cx:pt>
          <cx:pt idx="28436">0</cx:pt>
          <cx:pt idx="28437">1</cx:pt>
          <cx:pt idx="28438">0</cx:pt>
          <cx:pt idx="28439">1</cx:pt>
          <cx:pt idx="28440">1</cx:pt>
          <cx:pt idx="28441">1</cx:pt>
          <cx:pt idx="28442">1</cx:pt>
          <cx:pt idx="28443">0</cx:pt>
          <cx:pt idx="28444">0</cx:pt>
          <cx:pt idx="28445">1</cx:pt>
          <cx:pt idx="28446">1</cx:pt>
          <cx:pt idx="28447">0</cx:pt>
          <cx:pt idx="28448">1</cx:pt>
          <cx:pt idx="28449">0</cx:pt>
          <cx:pt idx="28450">1</cx:pt>
          <cx:pt idx="28451">1</cx:pt>
          <cx:pt idx="28452">0</cx:pt>
          <cx:pt idx="28453">1</cx:pt>
          <cx:pt idx="28454">0</cx:pt>
          <cx:pt idx="28455">1</cx:pt>
          <cx:pt idx="28456">1</cx:pt>
          <cx:pt idx="28457">1</cx:pt>
          <cx:pt idx="28458">0</cx:pt>
          <cx:pt idx="28459">0</cx:pt>
          <cx:pt idx="28460">0</cx:pt>
          <cx:pt idx="28461">1</cx:pt>
          <cx:pt idx="28462">1</cx:pt>
          <cx:pt idx="28463">1</cx:pt>
          <cx:pt idx="28464">0</cx:pt>
          <cx:pt idx="28465">1</cx:pt>
          <cx:pt idx="28466">0</cx:pt>
          <cx:pt idx="28467">1</cx:pt>
          <cx:pt idx="28468">1</cx:pt>
          <cx:pt idx="28469">0</cx:pt>
          <cx:pt idx="28470">0</cx:pt>
          <cx:pt idx="28471">1</cx:pt>
          <cx:pt idx="28472">0</cx:pt>
          <cx:pt idx="28473">0</cx:pt>
          <cx:pt idx="28474">0</cx:pt>
          <cx:pt idx="28475">1</cx:pt>
          <cx:pt idx="28476">0</cx:pt>
          <cx:pt idx="28477">1</cx:pt>
          <cx:pt idx="28478">0</cx:pt>
          <cx:pt idx="28479">0</cx:pt>
          <cx:pt idx="28480">1</cx:pt>
          <cx:pt idx="28481">1</cx:pt>
          <cx:pt idx="28482">0</cx:pt>
          <cx:pt idx="28483">0</cx:pt>
          <cx:pt idx="28484">0</cx:pt>
          <cx:pt idx="28485">1</cx:pt>
          <cx:pt idx="28486">0</cx:pt>
          <cx:pt idx="28487">0</cx:pt>
          <cx:pt idx="28488">0</cx:pt>
          <cx:pt idx="28489">0</cx:pt>
          <cx:pt idx="28490">1</cx:pt>
          <cx:pt idx="28491">1</cx:pt>
          <cx:pt idx="28492">0</cx:pt>
          <cx:pt idx="28493">0</cx:pt>
          <cx:pt idx="28494">1</cx:pt>
          <cx:pt idx="28495">1</cx:pt>
          <cx:pt idx="28496">0</cx:pt>
          <cx:pt idx="28497">0</cx:pt>
          <cx:pt idx="28498">0</cx:pt>
          <cx:pt idx="28499">1</cx:pt>
          <cx:pt idx="28500">0</cx:pt>
          <cx:pt idx="28501">1</cx:pt>
          <cx:pt idx="28502">0</cx:pt>
          <cx:pt idx="28503">0</cx:pt>
          <cx:pt idx="28504">1</cx:pt>
          <cx:pt idx="28505">0</cx:pt>
          <cx:pt idx="28506">0</cx:pt>
          <cx:pt idx="28507">1</cx:pt>
          <cx:pt idx="28508">0</cx:pt>
          <cx:pt idx="28509">0</cx:pt>
          <cx:pt idx="28510">0</cx:pt>
          <cx:pt idx="28511">0</cx:pt>
          <cx:pt idx="28512">0</cx:pt>
          <cx:pt idx="28513">0</cx:pt>
          <cx:pt idx="28514">0</cx:pt>
          <cx:pt idx="28515">1</cx:pt>
          <cx:pt idx="28516">0</cx:pt>
          <cx:pt idx="28517">1</cx:pt>
          <cx:pt idx="28518">1</cx:pt>
          <cx:pt idx="28519">0</cx:pt>
          <cx:pt idx="28520">0</cx:pt>
          <cx:pt idx="28521">1</cx:pt>
          <cx:pt idx="28522">1</cx:pt>
          <cx:pt idx="28523">0</cx:pt>
          <cx:pt idx="28524">0</cx:pt>
          <cx:pt idx="28525">1</cx:pt>
          <cx:pt idx="28526">0</cx:pt>
          <cx:pt idx="28527">0</cx:pt>
          <cx:pt idx="28528">0</cx:pt>
          <cx:pt idx="28529">0</cx:pt>
          <cx:pt idx="28530">0</cx:pt>
          <cx:pt idx="28531">1</cx:pt>
          <cx:pt idx="28532">1</cx:pt>
          <cx:pt idx="28533">0</cx:pt>
          <cx:pt idx="28534">1</cx:pt>
          <cx:pt idx="28535">1</cx:pt>
          <cx:pt idx="28536">0</cx:pt>
          <cx:pt idx="28537">1</cx:pt>
          <cx:pt idx="28538">1</cx:pt>
          <cx:pt idx="28539">0</cx:pt>
          <cx:pt idx="28540">0</cx:pt>
          <cx:pt idx="28541">1</cx:pt>
          <cx:pt idx="28542">0</cx:pt>
          <cx:pt idx="28543">1</cx:pt>
          <cx:pt idx="28544">0</cx:pt>
          <cx:pt idx="28545">1</cx:pt>
          <cx:pt idx="28546">0</cx:pt>
          <cx:pt idx="28547">0</cx:pt>
          <cx:pt idx="28548">1</cx:pt>
          <cx:pt idx="28549">1</cx:pt>
          <cx:pt idx="28550">0</cx:pt>
          <cx:pt idx="28551">0</cx:pt>
          <cx:pt idx="28552">0</cx:pt>
          <cx:pt idx="28553">1</cx:pt>
          <cx:pt idx="28554">0</cx:pt>
          <cx:pt idx="28555">0</cx:pt>
          <cx:pt idx="28556">0</cx:pt>
          <cx:pt idx="28557">1</cx:pt>
          <cx:pt idx="28558">0</cx:pt>
          <cx:pt idx="28559">1</cx:pt>
          <cx:pt idx="28560">1</cx:pt>
          <cx:pt idx="28561">0</cx:pt>
          <cx:pt idx="28562">0</cx:pt>
          <cx:pt idx="28563">0</cx:pt>
          <cx:pt idx="28564">0</cx:pt>
          <cx:pt idx="28565">0</cx:pt>
          <cx:pt idx="28566">0</cx:pt>
          <cx:pt idx="28567">0</cx:pt>
          <cx:pt idx="28568">0</cx:pt>
          <cx:pt idx="28569">0</cx:pt>
          <cx:pt idx="28570">1</cx:pt>
          <cx:pt idx="28571">0</cx:pt>
          <cx:pt idx="28572">0</cx:pt>
          <cx:pt idx="28573">1</cx:pt>
          <cx:pt idx="28574">1</cx:pt>
          <cx:pt idx="28575">0</cx:pt>
          <cx:pt idx="28576">0</cx:pt>
          <cx:pt idx="28577">0</cx:pt>
          <cx:pt idx="28578">0</cx:pt>
          <cx:pt idx="28579">0</cx:pt>
          <cx:pt idx="28580">1</cx:pt>
          <cx:pt idx="28581">1</cx:pt>
          <cx:pt idx="28582">0</cx:pt>
          <cx:pt idx="28583">1</cx:pt>
          <cx:pt idx="28584">1</cx:pt>
          <cx:pt idx="28585">0</cx:pt>
          <cx:pt idx="28586">0</cx:pt>
          <cx:pt idx="28587">1</cx:pt>
          <cx:pt idx="28588">0</cx:pt>
          <cx:pt idx="28589">0</cx:pt>
          <cx:pt idx="28590">0</cx:pt>
          <cx:pt idx="28591">0</cx:pt>
          <cx:pt idx="28592">0</cx:pt>
          <cx:pt idx="28593">1</cx:pt>
          <cx:pt idx="28594">0</cx:pt>
          <cx:pt idx="28595">1</cx:pt>
          <cx:pt idx="28596">1</cx:pt>
          <cx:pt idx="28597">1</cx:pt>
          <cx:pt idx="28598">0</cx:pt>
          <cx:pt idx="28599">0</cx:pt>
          <cx:pt idx="28600">1</cx:pt>
          <cx:pt idx="28601">1</cx:pt>
          <cx:pt idx="28602">0</cx:pt>
          <cx:pt idx="28603">0</cx:pt>
          <cx:pt idx="28604">1</cx:pt>
          <cx:pt idx="28605">0</cx:pt>
          <cx:pt idx="28606">0</cx:pt>
          <cx:pt idx="28607">1</cx:pt>
          <cx:pt idx="28608">0</cx:pt>
          <cx:pt idx="28609">0</cx:pt>
          <cx:pt idx="28610">0</cx:pt>
          <cx:pt idx="28611">0</cx:pt>
          <cx:pt idx="28612">0</cx:pt>
          <cx:pt idx="28613">0</cx:pt>
          <cx:pt idx="28614">1</cx:pt>
          <cx:pt idx="28615">1</cx:pt>
          <cx:pt idx="28616">1</cx:pt>
          <cx:pt idx="28617">0</cx:pt>
          <cx:pt idx="28618">1</cx:pt>
          <cx:pt idx="28619">1</cx:pt>
          <cx:pt idx="28620">1</cx:pt>
          <cx:pt idx="28621">1</cx:pt>
          <cx:pt idx="28622">1</cx:pt>
          <cx:pt idx="28623">0</cx:pt>
          <cx:pt idx="28624">0</cx:pt>
          <cx:pt idx="28625">0</cx:pt>
          <cx:pt idx="28626">0</cx:pt>
          <cx:pt idx="28627">1</cx:pt>
          <cx:pt idx="28628">0</cx:pt>
          <cx:pt idx="28629">0</cx:pt>
          <cx:pt idx="28630">0</cx:pt>
          <cx:pt idx="28631">1</cx:pt>
          <cx:pt idx="28632">0</cx:pt>
          <cx:pt idx="28633">0</cx:pt>
          <cx:pt idx="28634">1</cx:pt>
          <cx:pt idx="28635">1</cx:pt>
          <cx:pt idx="28636">0</cx:pt>
          <cx:pt idx="28637">1</cx:pt>
          <cx:pt idx="28638">0</cx:pt>
          <cx:pt idx="28639">0</cx:pt>
          <cx:pt idx="28640">0</cx:pt>
          <cx:pt idx="28641">1</cx:pt>
          <cx:pt idx="28642">0</cx:pt>
          <cx:pt idx="28643">0</cx:pt>
          <cx:pt idx="28644">0</cx:pt>
          <cx:pt idx="28645">1</cx:pt>
          <cx:pt idx="28646">1</cx:pt>
          <cx:pt idx="28647">0</cx:pt>
          <cx:pt idx="28648">0</cx:pt>
          <cx:pt idx="28649">0</cx:pt>
          <cx:pt idx="28650">0</cx:pt>
          <cx:pt idx="28651">0</cx:pt>
          <cx:pt idx="28652">0</cx:pt>
          <cx:pt idx="28653">0</cx:pt>
          <cx:pt idx="28654">0</cx:pt>
          <cx:pt idx="28655">0</cx:pt>
          <cx:pt idx="28656">1</cx:pt>
          <cx:pt idx="28657">0</cx:pt>
          <cx:pt idx="28658">1</cx:pt>
          <cx:pt idx="28659">0</cx:pt>
          <cx:pt idx="28660">1</cx:pt>
          <cx:pt idx="28661">0</cx:pt>
          <cx:pt idx="28662">1</cx:pt>
          <cx:pt idx="28663">0</cx:pt>
          <cx:pt idx="28664">0</cx:pt>
          <cx:pt idx="28665">0</cx:pt>
          <cx:pt idx="28666">1</cx:pt>
          <cx:pt idx="28667">0</cx:pt>
          <cx:pt idx="28668">1</cx:pt>
          <cx:pt idx="28669">0</cx:pt>
          <cx:pt idx="28670">1</cx:pt>
          <cx:pt idx="28671">0</cx:pt>
          <cx:pt idx="28672">0</cx:pt>
          <cx:pt idx="28673">1</cx:pt>
          <cx:pt idx="28674">1</cx:pt>
          <cx:pt idx="28675">0</cx:pt>
          <cx:pt idx="28676">0</cx:pt>
          <cx:pt idx="28677">1</cx:pt>
          <cx:pt idx="28678">0</cx:pt>
          <cx:pt idx="28679">1</cx:pt>
          <cx:pt idx="28680">0</cx:pt>
          <cx:pt idx="28681">0</cx:pt>
          <cx:pt idx="28682">1</cx:pt>
          <cx:pt idx="28683">0</cx:pt>
          <cx:pt idx="28684">1</cx:pt>
          <cx:pt idx="28685">1</cx:pt>
          <cx:pt idx="28686">1</cx:pt>
          <cx:pt idx="28687">0</cx:pt>
          <cx:pt idx="28688">1</cx:pt>
          <cx:pt idx="28689">0</cx:pt>
          <cx:pt idx="28690">1</cx:pt>
          <cx:pt idx="28691">0</cx:pt>
          <cx:pt idx="28692">1</cx:pt>
          <cx:pt idx="28693">0</cx:pt>
          <cx:pt idx="28694">0</cx:pt>
          <cx:pt idx="28695">0</cx:pt>
          <cx:pt idx="28696">1</cx:pt>
          <cx:pt idx="28697">1</cx:pt>
          <cx:pt idx="28698">1</cx:pt>
          <cx:pt idx="28699">0</cx:pt>
          <cx:pt idx="28700">1</cx:pt>
          <cx:pt idx="28701">1</cx:pt>
          <cx:pt idx="28702">1</cx:pt>
          <cx:pt idx="28703">1</cx:pt>
          <cx:pt idx="28704">0</cx:pt>
          <cx:pt idx="28705">1</cx:pt>
          <cx:pt idx="28706">1</cx:pt>
          <cx:pt idx="28707">1</cx:pt>
          <cx:pt idx="28708">0</cx:pt>
          <cx:pt idx="28709">1</cx:pt>
          <cx:pt idx="28710">0</cx:pt>
          <cx:pt idx="28711">1</cx:pt>
          <cx:pt idx="28712">1</cx:pt>
          <cx:pt idx="28713">1</cx:pt>
          <cx:pt idx="28714">0</cx:pt>
          <cx:pt idx="28715">1</cx:pt>
          <cx:pt idx="28716">1</cx:pt>
          <cx:pt idx="28717">0</cx:pt>
          <cx:pt idx="28718">1</cx:pt>
          <cx:pt idx="28719">0</cx:pt>
          <cx:pt idx="28720">1</cx:pt>
          <cx:pt idx="28721">1</cx:pt>
          <cx:pt idx="28722">1</cx:pt>
          <cx:pt idx="28723">0</cx:pt>
          <cx:pt idx="28724">0</cx:pt>
          <cx:pt idx="28725">0</cx:pt>
          <cx:pt idx="28726">0</cx:pt>
          <cx:pt idx="28727">1</cx:pt>
          <cx:pt idx="28728">0</cx:pt>
          <cx:pt idx="28729">0</cx:pt>
          <cx:pt idx="28730">1</cx:pt>
          <cx:pt idx="28731">1</cx:pt>
          <cx:pt idx="28732">1</cx:pt>
          <cx:pt idx="28733">1</cx:pt>
          <cx:pt idx="28734">1</cx:pt>
          <cx:pt idx="28735">1</cx:pt>
          <cx:pt idx="28736">1</cx:pt>
          <cx:pt idx="28737">0</cx:pt>
          <cx:pt idx="28738">0</cx:pt>
          <cx:pt idx="28739">0</cx:pt>
          <cx:pt idx="28740">1</cx:pt>
          <cx:pt idx="28741">0</cx:pt>
          <cx:pt idx="28742">0</cx:pt>
          <cx:pt idx="28743">0</cx:pt>
          <cx:pt idx="28744">1</cx:pt>
          <cx:pt idx="28745">0</cx:pt>
          <cx:pt idx="28746">0</cx:pt>
          <cx:pt idx="28747">1</cx:pt>
          <cx:pt idx="28748">1</cx:pt>
          <cx:pt idx="28749">0</cx:pt>
          <cx:pt idx="28750">1</cx:pt>
          <cx:pt idx="28751">1</cx:pt>
          <cx:pt idx="28752">0</cx:pt>
          <cx:pt idx="28753">0</cx:pt>
          <cx:pt idx="28754">0</cx:pt>
          <cx:pt idx="28755">0</cx:pt>
          <cx:pt idx="28756">1</cx:pt>
          <cx:pt idx="28757">0</cx:pt>
          <cx:pt idx="28758">1</cx:pt>
          <cx:pt idx="28759">0</cx:pt>
          <cx:pt idx="28760">0</cx:pt>
          <cx:pt idx="28761">1</cx:pt>
          <cx:pt idx="28762">0</cx:pt>
          <cx:pt idx="28763">1</cx:pt>
          <cx:pt idx="28764">1</cx:pt>
          <cx:pt idx="28765">1</cx:pt>
          <cx:pt idx="28766">1</cx:pt>
          <cx:pt idx="28767">1</cx:pt>
          <cx:pt idx="28768">1</cx:pt>
          <cx:pt idx="28769">0</cx:pt>
          <cx:pt idx="28770">1</cx:pt>
          <cx:pt idx="28771">1</cx:pt>
          <cx:pt idx="28772">0</cx:pt>
          <cx:pt idx="28773">0</cx:pt>
          <cx:pt idx="28774">0</cx:pt>
          <cx:pt idx="28775">0</cx:pt>
          <cx:pt idx="28776">0</cx:pt>
          <cx:pt idx="28777">0</cx:pt>
          <cx:pt idx="28778">0</cx:pt>
          <cx:pt idx="28779">0</cx:pt>
          <cx:pt idx="28780">1</cx:pt>
          <cx:pt idx="28781">0</cx:pt>
          <cx:pt idx="28782">0</cx:pt>
          <cx:pt idx="28783">0</cx:pt>
          <cx:pt idx="28784">0</cx:pt>
          <cx:pt idx="28785">0</cx:pt>
          <cx:pt idx="28786">1</cx:pt>
          <cx:pt idx="28787">1</cx:pt>
          <cx:pt idx="28788">0</cx:pt>
          <cx:pt idx="28789">0</cx:pt>
          <cx:pt idx="28790">0</cx:pt>
          <cx:pt idx="28791">0</cx:pt>
          <cx:pt idx="28792">1</cx:pt>
          <cx:pt idx="28793">0</cx:pt>
          <cx:pt idx="28794">0</cx:pt>
          <cx:pt idx="28795">0</cx:pt>
          <cx:pt idx="28796">0</cx:pt>
          <cx:pt idx="28797">1</cx:pt>
          <cx:pt idx="28798">1</cx:pt>
          <cx:pt idx="28799">0</cx:pt>
          <cx:pt idx="28800">1</cx:pt>
          <cx:pt idx="28801">0</cx:pt>
          <cx:pt idx="28802">1</cx:pt>
          <cx:pt idx="28803">1</cx:pt>
          <cx:pt idx="28804">1</cx:pt>
          <cx:pt idx="28805">1</cx:pt>
          <cx:pt idx="28806">0</cx:pt>
          <cx:pt idx="28807">1</cx:pt>
          <cx:pt idx="28808">0</cx:pt>
          <cx:pt idx="28809">1</cx:pt>
          <cx:pt idx="28810">1</cx:pt>
          <cx:pt idx="28811">1</cx:pt>
          <cx:pt idx="28812">0</cx:pt>
          <cx:pt idx="28813">1</cx:pt>
          <cx:pt idx="28814">1</cx:pt>
          <cx:pt idx="28815">1</cx:pt>
          <cx:pt idx="28816">1</cx:pt>
          <cx:pt idx="28817">0</cx:pt>
          <cx:pt idx="28818">0</cx:pt>
          <cx:pt idx="28819">1</cx:pt>
          <cx:pt idx="28820">1</cx:pt>
          <cx:pt idx="28821">0</cx:pt>
          <cx:pt idx="28822">1</cx:pt>
          <cx:pt idx="28823">1</cx:pt>
          <cx:pt idx="28824">0</cx:pt>
          <cx:pt idx="28825">0</cx:pt>
          <cx:pt idx="28826">0</cx:pt>
          <cx:pt idx="28827">0</cx:pt>
          <cx:pt idx="28828">0</cx:pt>
          <cx:pt idx="28829">1</cx:pt>
          <cx:pt idx="28830">1</cx:pt>
          <cx:pt idx="28831">0</cx:pt>
          <cx:pt idx="28832">0</cx:pt>
          <cx:pt idx="28833">0</cx:pt>
          <cx:pt idx="28834">0</cx:pt>
          <cx:pt idx="28835">0</cx:pt>
          <cx:pt idx="28836">0</cx:pt>
          <cx:pt idx="28837">0</cx:pt>
          <cx:pt idx="28838">0</cx:pt>
          <cx:pt idx="28839">1</cx:pt>
          <cx:pt idx="28840">0</cx:pt>
          <cx:pt idx="28841">1</cx:pt>
          <cx:pt idx="28842">1</cx:pt>
          <cx:pt idx="28843">1</cx:pt>
          <cx:pt idx="28844">0</cx:pt>
          <cx:pt idx="28845">0</cx:pt>
          <cx:pt idx="28846">0</cx:pt>
          <cx:pt idx="28847">1</cx:pt>
          <cx:pt idx="28848">0</cx:pt>
          <cx:pt idx="28849">1</cx:pt>
          <cx:pt idx="28850">0</cx:pt>
          <cx:pt idx="28851">1</cx:pt>
          <cx:pt idx="28852">0</cx:pt>
          <cx:pt idx="28853">0</cx:pt>
          <cx:pt idx="28854">1</cx:pt>
          <cx:pt idx="28855">1</cx:pt>
          <cx:pt idx="28856">1</cx:pt>
          <cx:pt idx="28857">1</cx:pt>
          <cx:pt idx="28858">1</cx:pt>
          <cx:pt idx="28859">1</cx:pt>
          <cx:pt idx="28860">1</cx:pt>
          <cx:pt idx="28861">0</cx:pt>
          <cx:pt idx="28862">0</cx:pt>
          <cx:pt idx="28863">1</cx:pt>
          <cx:pt idx="28864">0</cx:pt>
          <cx:pt idx="28865">0</cx:pt>
          <cx:pt idx="28866">0</cx:pt>
          <cx:pt idx="28867">1</cx:pt>
          <cx:pt idx="28868">0</cx:pt>
          <cx:pt idx="28869">1</cx:pt>
          <cx:pt idx="28870">0</cx:pt>
          <cx:pt idx="28871">0</cx:pt>
          <cx:pt idx="28872">0</cx:pt>
          <cx:pt idx="28873">1</cx:pt>
          <cx:pt idx="28874">0</cx:pt>
          <cx:pt idx="28875">0</cx:pt>
          <cx:pt idx="28876">1</cx:pt>
          <cx:pt idx="28877">1</cx:pt>
          <cx:pt idx="28878">0</cx:pt>
          <cx:pt idx="28879">0</cx:pt>
          <cx:pt idx="28880">1</cx:pt>
          <cx:pt idx="28881">1</cx:pt>
          <cx:pt idx="28882">1</cx:pt>
          <cx:pt idx="28883">0</cx:pt>
          <cx:pt idx="28884">1</cx:pt>
          <cx:pt idx="28885">1</cx:pt>
          <cx:pt idx="28886">0</cx:pt>
          <cx:pt idx="28887">1</cx:pt>
          <cx:pt idx="28888">1</cx:pt>
          <cx:pt idx="28889">0</cx:pt>
          <cx:pt idx="28890">0</cx:pt>
          <cx:pt idx="28891">0</cx:pt>
          <cx:pt idx="28892">1</cx:pt>
          <cx:pt idx="28893">0</cx:pt>
          <cx:pt idx="28894">1</cx:pt>
          <cx:pt idx="28895">1</cx:pt>
          <cx:pt idx="28896">0</cx:pt>
          <cx:pt idx="28897">1</cx:pt>
          <cx:pt idx="28898">1</cx:pt>
          <cx:pt idx="28899">1</cx:pt>
          <cx:pt idx="28900">0</cx:pt>
          <cx:pt idx="28901">0</cx:pt>
          <cx:pt idx="28902">0</cx:pt>
          <cx:pt idx="28903">0</cx:pt>
          <cx:pt idx="28904">0</cx:pt>
          <cx:pt idx="28905">1</cx:pt>
          <cx:pt idx="28906">1</cx:pt>
          <cx:pt idx="28907">0</cx:pt>
          <cx:pt idx="28908">1</cx:pt>
          <cx:pt idx="28909">0</cx:pt>
          <cx:pt idx="28910">0</cx:pt>
          <cx:pt idx="28911">1</cx:pt>
          <cx:pt idx="28912">0</cx:pt>
          <cx:pt idx="28913">0</cx:pt>
          <cx:pt idx="28914">1</cx:pt>
          <cx:pt idx="28915">1</cx:pt>
          <cx:pt idx="28916">1</cx:pt>
          <cx:pt idx="28917">0</cx:pt>
          <cx:pt idx="28918">1</cx:pt>
          <cx:pt idx="28919">0</cx:pt>
          <cx:pt idx="28920">0</cx:pt>
          <cx:pt idx="28921">1</cx:pt>
          <cx:pt idx="28922">1</cx:pt>
          <cx:pt idx="28923">0</cx:pt>
          <cx:pt idx="28924">1</cx:pt>
          <cx:pt idx="28925">1</cx:pt>
          <cx:pt idx="28926">1</cx:pt>
          <cx:pt idx="28927">1</cx:pt>
          <cx:pt idx="28928">1</cx:pt>
          <cx:pt idx="28929">1</cx:pt>
          <cx:pt idx="28930">0</cx:pt>
          <cx:pt idx="28931">0</cx:pt>
          <cx:pt idx="28932">1</cx:pt>
          <cx:pt idx="28933">0</cx:pt>
          <cx:pt idx="28934">1</cx:pt>
          <cx:pt idx="28935">1</cx:pt>
          <cx:pt idx="28936">0</cx:pt>
          <cx:pt idx="28937">0</cx:pt>
          <cx:pt idx="28938">1</cx:pt>
          <cx:pt idx="28939">0</cx:pt>
          <cx:pt idx="28940">0</cx:pt>
          <cx:pt idx="28941">0</cx:pt>
          <cx:pt idx="28942">0</cx:pt>
          <cx:pt idx="28943">0</cx:pt>
          <cx:pt idx="28944">0</cx:pt>
          <cx:pt idx="28945">1</cx:pt>
          <cx:pt idx="28946">0</cx:pt>
          <cx:pt idx="28947">1</cx:pt>
          <cx:pt idx="28948">0</cx:pt>
          <cx:pt idx="28949">0</cx:pt>
          <cx:pt idx="28950">0</cx:pt>
          <cx:pt idx="28951">1</cx:pt>
          <cx:pt idx="28952">0</cx:pt>
          <cx:pt idx="28953">1</cx:pt>
          <cx:pt idx="28954">0</cx:pt>
          <cx:pt idx="28955">0</cx:pt>
          <cx:pt idx="28956">0</cx:pt>
          <cx:pt idx="28957">0</cx:pt>
          <cx:pt idx="28958">1</cx:pt>
          <cx:pt idx="28959">0</cx:pt>
          <cx:pt idx="28960">1</cx:pt>
          <cx:pt idx="28961">0</cx:pt>
          <cx:pt idx="28962">0</cx:pt>
          <cx:pt idx="28963">0</cx:pt>
          <cx:pt idx="28964">1</cx:pt>
          <cx:pt idx="28965">0</cx:pt>
          <cx:pt idx="28966">0</cx:pt>
          <cx:pt idx="28967">1</cx:pt>
          <cx:pt idx="28968">0</cx:pt>
          <cx:pt idx="28969">0</cx:pt>
          <cx:pt idx="28970">1</cx:pt>
          <cx:pt idx="28971">0</cx:pt>
          <cx:pt idx="28972">1</cx:pt>
          <cx:pt idx="28973">0</cx:pt>
          <cx:pt idx="28974">0</cx:pt>
          <cx:pt idx="28975">0</cx:pt>
          <cx:pt idx="28976">1</cx:pt>
          <cx:pt idx="28977">0</cx:pt>
          <cx:pt idx="28978">0</cx:pt>
          <cx:pt idx="28979">1</cx:pt>
          <cx:pt idx="28980">0</cx:pt>
          <cx:pt idx="28981">0</cx:pt>
          <cx:pt idx="28982">0</cx:pt>
          <cx:pt idx="28983">1</cx:pt>
          <cx:pt idx="28984">0</cx:pt>
          <cx:pt idx="28985">0</cx:pt>
          <cx:pt idx="28986">1</cx:pt>
          <cx:pt idx="28987">0</cx:pt>
          <cx:pt idx="28988">1</cx:pt>
          <cx:pt idx="28989">1</cx:pt>
          <cx:pt idx="28990">0</cx:pt>
          <cx:pt idx="28991">1</cx:pt>
          <cx:pt idx="28992">0</cx:pt>
          <cx:pt idx="28993">0</cx:pt>
          <cx:pt idx="28994">1</cx:pt>
          <cx:pt idx="28995">0</cx:pt>
          <cx:pt idx="28996">0</cx:pt>
          <cx:pt idx="28997">1</cx:pt>
          <cx:pt idx="28998">1</cx:pt>
          <cx:pt idx="28999">0</cx:pt>
          <cx:pt idx="29000">1</cx:pt>
          <cx:pt idx="29001">0</cx:pt>
          <cx:pt idx="29002">1</cx:pt>
          <cx:pt idx="29003">0</cx:pt>
          <cx:pt idx="29004">1</cx:pt>
          <cx:pt idx="29005">0</cx:pt>
          <cx:pt idx="29006">0</cx:pt>
          <cx:pt idx="29007">1</cx:pt>
          <cx:pt idx="29008">0</cx:pt>
          <cx:pt idx="29009">1</cx:pt>
          <cx:pt idx="29010">0</cx:pt>
          <cx:pt idx="29011">0</cx:pt>
          <cx:pt idx="29012">0</cx:pt>
          <cx:pt idx="29013">0</cx:pt>
          <cx:pt idx="29014">0</cx:pt>
          <cx:pt idx="29015">1</cx:pt>
          <cx:pt idx="29016">0</cx:pt>
          <cx:pt idx="29017">0</cx:pt>
          <cx:pt idx="29018">1</cx:pt>
          <cx:pt idx="29019">1</cx:pt>
          <cx:pt idx="29020">1</cx:pt>
          <cx:pt idx="29021">0</cx:pt>
          <cx:pt idx="29022">1</cx:pt>
          <cx:pt idx="29023">1</cx:pt>
          <cx:pt idx="29024">1</cx:pt>
          <cx:pt idx="29025">0</cx:pt>
          <cx:pt idx="29026">1</cx:pt>
          <cx:pt idx="29027">1</cx:pt>
          <cx:pt idx="29028">0</cx:pt>
          <cx:pt idx="29029">0</cx:pt>
          <cx:pt idx="29030">0</cx:pt>
          <cx:pt idx="29031">0</cx:pt>
          <cx:pt idx="29032">0</cx:pt>
          <cx:pt idx="29033">0</cx:pt>
          <cx:pt idx="29034">0</cx:pt>
          <cx:pt idx="29035">0</cx:pt>
          <cx:pt idx="29036">0</cx:pt>
          <cx:pt idx="29037">0</cx:pt>
          <cx:pt idx="29038">1</cx:pt>
          <cx:pt idx="29039">1</cx:pt>
          <cx:pt idx="29040">0</cx:pt>
          <cx:pt idx="29041">1</cx:pt>
          <cx:pt idx="29042">0</cx:pt>
          <cx:pt idx="29043">1</cx:pt>
          <cx:pt idx="29044">0</cx:pt>
          <cx:pt idx="29045">1</cx:pt>
          <cx:pt idx="29046">1</cx:pt>
          <cx:pt idx="29047">0</cx:pt>
          <cx:pt idx="29048">0</cx:pt>
          <cx:pt idx="29049">0</cx:pt>
          <cx:pt idx="29050">0</cx:pt>
          <cx:pt idx="29051">0</cx:pt>
          <cx:pt idx="29052">0</cx:pt>
          <cx:pt idx="29053">1</cx:pt>
          <cx:pt idx="29054">1</cx:pt>
          <cx:pt idx="29055">1</cx:pt>
          <cx:pt idx="29056">1</cx:pt>
          <cx:pt idx="29057">0</cx:pt>
          <cx:pt idx="29058">0</cx:pt>
          <cx:pt idx="29059">0</cx:pt>
          <cx:pt idx="29060">0</cx:pt>
          <cx:pt idx="29061">1</cx:pt>
          <cx:pt idx="29062">1</cx:pt>
          <cx:pt idx="29063">1</cx:pt>
          <cx:pt idx="29064">0</cx:pt>
          <cx:pt idx="29065">1</cx:pt>
          <cx:pt idx="29066">1</cx:pt>
          <cx:pt idx="29067">0</cx:pt>
          <cx:pt idx="29068">0</cx:pt>
          <cx:pt idx="29069">1</cx:pt>
          <cx:pt idx="29070">1</cx:pt>
          <cx:pt idx="29071">1</cx:pt>
          <cx:pt idx="29072">1</cx:pt>
          <cx:pt idx="29073">0</cx:pt>
          <cx:pt idx="29074">0</cx:pt>
          <cx:pt idx="29075">1</cx:pt>
          <cx:pt idx="29076">0</cx:pt>
          <cx:pt idx="29077">1</cx:pt>
          <cx:pt idx="29078">0</cx:pt>
          <cx:pt idx="29079">1</cx:pt>
          <cx:pt idx="29080">1</cx:pt>
          <cx:pt idx="29081">0</cx:pt>
          <cx:pt idx="29082">0</cx:pt>
          <cx:pt idx="29083">1</cx:pt>
          <cx:pt idx="29084">0</cx:pt>
          <cx:pt idx="29085">0</cx:pt>
          <cx:pt idx="29086">1</cx:pt>
          <cx:pt idx="29087">1</cx:pt>
          <cx:pt idx="29088">1</cx:pt>
          <cx:pt idx="29089">0</cx:pt>
          <cx:pt idx="29090">0</cx:pt>
          <cx:pt idx="29091">0</cx:pt>
          <cx:pt idx="29092">1</cx:pt>
          <cx:pt idx="29093">0</cx:pt>
          <cx:pt idx="29094">0</cx:pt>
          <cx:pt idx="29095">1</cx:pt>
          <cx:pt idx="29096">0</cx:pt>
          <cx:pt idx="29097">0</cx:pt>
          <cx:pt idx="29098">0</cx:pt>
          <cx:pt idx="29099">1</cx:pt>
          <cx:pt idx="29100">0</cx:pt>
          <cx:pt idx="29101">0</cx:pt>
          <cx:pt idx="29102">0</cx:pt>
          <cx:pt idx="29103">0</cx:pt>
          <cx:pt idx="29104">0</cx:pt>
          <cx:pt idx="29105">1</cx:pt>
          <cx:pt idx="29106">0</cx:pt>
          <cx:pt idx="29107">0</cx:pt>
          <cx:pt idx="29108">0</cx:pt>
          <cx:pt idx="29109">0</cx:pt>
          <cx:pt idx="29110">0</cx:pt>
          <cx:pt idx="29111">1</cx:pt>
          <cx:pt idx="29112">1</cx:pt>
          <cx:pt idx="29113">1</cx:pt>
          <cx:pt idx="29114">0</cx:pt>
          <cx:pt idx="29115">0</cx:pt>
          <cx:pt idx="29116">1</cx:pt>
          <cx:pt idx="29117">0</cx:pt>
          <cx:pt idx="29118">1</cx:pt>
          <cx:pt idx="29119">0</cx:pt>
          <cx:pt idx="29120">1</cx:pt>
          <cx:pt idx="29121">1</cx:pt>
          <cx:pt idx="29122">1</cx:pt>
          <cx:pt idx="29123">1</cx:pt>
          <cx:pt idx="29124">0</cx:pt>
          <cx:pt idx="29125">1</cx:pt>
          <cx:pt idx="29126">0</cx:pt>
          <cx:pt idx="29127">1</cx:pt>
          <cx:pt idx="29128">1</cx:pt>
          <cx:pt idx="29129">0</cx:pt>
          <cx:pt idx="29130">1</cx:pt>
          <cx:pt idx="29131">1</cx:pt>
          <cx:pt idx="29132">0</cx:pt>
          <cx:pt idx="29133">0</cx:pt>
          <cx:pt idx="29134">1</cx:pt>
          <cx:pt idx="29135">0</cx:pt>
          <cx:pt idx="29136">0</cx:pt>
          <cx:pt idx="29137">0</cx:pt>
          <cx:pt idx="29138">0</cx:pt>
          <cx:pt idx="29139">0</cx:pt>
          <cx:pt idx="29140">1</cx:pt>
          <cx:pt idx="29141">0</cx:pt>
          <cx:pt idx="29142">0</cx:pt>
          <cx:pt idx="29143">0</cx:pt>
          <cx:pt idx="29144">0</cx:pt>
          <cx:pt idx="29145">1</cx:pt>
          <cx:pt idx="29146">0</cx:pt>
          <cx:pt idx="29147">1</cx:pt>
          <cx:pt idx="29148">1</cx:pt>
          <cx:pt idx="29149">1</cx:pt>
          <cx:pt idx="29150">0</cx:pt>
          <cx:pt idx="29151">1</cx:pt>
          <cx:pt idx="29152">0</cx:pt>
          <cx:pt idx="29153">1</cx:pt>
          <cx:pt idx="29154">0</cx:pt>
          <cx:pt idx="29155">1</cx:pt>
          <cx:pt idx="29156">0</cx:pt>
          <cx:pt idx="29157">1</cx:pt>
          <cx:pt idx="29158">0</cx:pt>
          <cx:pt idx="29159">0</cx:pt>
          <cx:pt idx="29160">1</cx:pt>
          <cx:pt idx="29161">0</cx:pt>
          <cx:pt idx="29162">0</cx:pt>
          <cx:pt idx="29163">0</cx:pt>
          <cx:pt idx="29164">0</cx:pt>
          <cx:pt idx="29165">0</cx:pt>
          <cx:pt idx="29166">1</cx:pt>
          <cx:pt idx="29167">1</cx:pt>
          <cx:pt idx="29168">0</cx:pt>
          <cx:pt idx="29169">0</cx:pt>
          <cx:pt idx="29170">0</cx:pt>
          <cx:pt idx="29171">1</cx:pt>
          <cx:pt idx="29172">1</cx:pt>
          <cx:pt idx="29173">0</cx:pt>
          <cx:pt idx="29174">1</cx:pt>
          <cx:pt idx="29175">1</cx:pt>
          <cx:pt idx="29176">0</cx:pt>
          <cx:pt idx="29177">0</cx:pt>
          <cx:pt idx="29178">1</cx:pt>
          <cx:pt idx="29179">1</cx:pt>
          <cx:pt idx="29180">1</cx:pt>
          <cx:pt idx="29181">0</cx:pt>
          <cx:pt idx="29182">1</cx:pt>
          <cx:pt idx="29183">0</cx:pt>
          <cx:pt idx="29184">0</cx:pt>
          <cx:pt idx="29185">0</cx:pt>
          <cx:pt idx="29186">1</cx:pt>
          <cx:pt idx="29187">0</cx:pt>
          <cx:pt idx="29188">0</cx:pt>
          <cx:pt idx="29189">0</cx:pt>
          <cx:pt idx="29190">0</cx:pt>
          <cx:pt idx="29191">0</cx:pt>
          <cx:pt idx="29192">0</cx:pt>
          <cx:pt idx="29193">1</cx:pt>
          <cx:pt idx="29194">0</cx:pt>
          <cx:pt idx="29195">1</cx:pt>
          <cx:pt idx="29196">1</cx:pt>
          <cx:pt idx="29197">0</cx:pt>
          <cx:pt idx="29198">0</cx:pt>
          <cx:pt idx="29199">0</cx:pt>
          <cx:pt idx="29200">1</cx:pt>
          <cx:pt idx="29201">0</cx:pt>
          <cx:pt idx="29202">0</cx:pt>
          <cx:pt idx="29203">0</cx:pt>
          <cx:pt idx="29204">1</cx:pt>
          <cx:pt idx="29205">1</cx:pt>
          <cx:pt idx="29206">0</cx:pt>
          <cx:pt idx="29207">1</cx:pt>
          <cx:pt idx="29208">1</cx:pt>
          <cx:pt idx="29209">0</cx:pt>
          <cx:pt idx="29210">0</cx:pt>
          <cx:pt idx="29211">0</cx:pt>
          <cx:pt idx="29212">0</cx:pt>
          <cx:pt idx="29213">1</cx:pt>
          <cx:pt idx="29214">0</cx:pt>
          <cx:pt idx="29215">1</cx:pt>
          <cx:pt idx="29216">0</cx:pt>
          <cx:pt idx="29217">0</cx:pt>
          <cx:pt idx="29218">1</cx:pt>
          <cx:pt idx="29219">0</cx:pt>
          <cx:pt idx="29220">1</cx:pt>
          <cx:pt idx="29221">1</cx:pt>
          <cx:pt idx="29222">1</cx:pt>
          <cx:pt idx="29223">1</cx:pt>
          <cx:pt idx="29224">1</cx:pt>
          <cx:pt idx="29225">0</cx:pt>
          <cx:pt idx="29226">0</cx:pt>
          <cx:pt idx="29227">0</cx:pt>
          <cx:pt idx="29228">0</cx:pt>
          <cx:pt idx="29229">1</cx:pt>
          <cx:pt idx="29230">0</cx:pt>
          <cx:pt idx="29231">0</cx:pt>
          <cx:pt idx="29232">0</cx:pt>
          <cx:pt idx="29233">0</cx:pt>
          <cx:pt idx="29234">0</cx:pt>
          <cx:pt idx="29235">1</cx:pt>
          <cx:pt idx="29236">1</cx:pt>
          <cx:pt idx="29237">1</cx:pt>
          <cx:pt idx="29238">1</cx:pt>
          <cx:pt idx="29239">0</cx:pt>
          <cx:pt idx="29240">0</cx:pt>
          <cx:pt idx="29241">0</cx:pt>
          <cx:pt idx="29242">0</cx:pt>
          <cx:pt idx="29243">1</cx:pt>
          <cx:pt idx="29244">1</cx:pt>
          <cx:pt idx="29245">1</cx:pt>
          <cx:pt idx="29246">1</cx:pt>
          <cx:pt idx="29247">1</cx:pt>
          <cx:pt idx="29248">0</cx:pt>
          <cx:pt idx="29249">1</cx:pt>
          <cx:pt idx="29250">0</cx:pt>
          <cx:pt idx="29251">1</cx:pt>
          <cx:pt idx="29252">0</cx:pt>
          <cx:pt idx="29253">0</cx:pt>
          <cx:pt idx="29254">0</cx:pt>
          <cx:pt idx="29255">0</cx:pt>
          <cx:pt idx="29256">1</cx:pt>
          <cx:pt idx="29257">0</cx:pt>
          <cx:pt idx="29258">0</cx:pt>
          <cx:pt idx="29259">1</cx:pt>
          <cx:pt idx="29260">0</cx:pt>
          <cx:pt idx="29261">1</cx:pt>
          <cx:pt idx="29262">0</cx:pt>
          <cx:pt idx="29263">0</cx:pt>
          <cx:pt idx="29264">1</cx:pt>
          <cx:pt idx="29265">0</cx:pt>
          <cx:pt idx="29266">0</cx:pt>
          <cx:pt idx="29267">1</cx:pt>
          <cx:pt idx="29268">1</cx:pt>
          <cx:pt idx="29269">0</cx:pt>
          <cx:pt idx="29270">1</cx:pt>
          <cx:pt idx="29271">1</cx:pt>
          <cx:pt idx="29272">1</cx:pt>
          <cx:pt idx="29273">1</cx:pt>
          <cx:pt idx="29274">0</cx:pt>
          <cx:pt idx="29275">0</cx:pt>
          <cx:pt idx="29276">1</cx:pt>
          <cx:pt idx="29277">0</cx:pt>
          <cx:pt idx="29278">0</cx:pt>
          <cx:pt idx="29279">1</cx:pt>
          <cx:pt idx="29280">1</cx:pt>
          <cx:pt idx="29281">0</cx:pt>
          <cx:pt idx="29282">0</cx:pt>
          <cx:pt idx="29283">1</cx:pt>
          <cx:pt idx="29284">0</cx:pt>
          <cx:pt idx="29285">0</cx:pt>
          <cx:pt idx="29286">1</cx:pt>
          <cx:pt idx="29287">1</cx:pt>
          <cx:pt idx="29288">1</cx:pt>
          <cx:pt idx="29289">0</cx:pt>
          <cx:pt idx="29290">0</cx:pt>
          <cx:pt idx="29291">0</cx:pt>
          <cx:pt idx="29292">1</cx:pt>
          <cx:pt idx="29293">1</cx:pt>
          <cx:pt idx="29294">0</cx:pt>
          <cx:pt idx="29295">0</cx:pt>
          <cx:pt idx="29296">0</cx:pt>
          <cx:pt idx="29297">1</cx:pt>
          <cx:pt idx="29298">1</cx:pt>
          <cx:pt idx="29299">0</cx:pt>
          <cx:pt idx="29300">0</cx:pt>
          <cx:pt idx="29301">1</cx:pt>
          <cx:pt idx="29302">1</cx:pt>
          <cx:pt idx="29303">0</cx:pt>
          <cx:pt idx="29304">0</cx:pt>
          <cx:pt idx="29305">1</cx:pt>
          <cx:pt idx="29306">1</cx:pt>
          <cx:pt idx="29307">0</cx:pt>
          <cx:pt idx="29308">0</cx:pt>
          <cx:pt idx="29309">0</cx:pt>
          <cx:pt idx="29310">1</cx:pt>
          <cx:pt idx="29311">0</cx:pt>
          <cx:pt idx="29312">0</cx:pt>
          <cx:pt idx="29313">0</cx:pt>
          <cx:pt idx="29314">0</cx:pt>
          <cx:pt idx="29315">0</cx:pt>
          <cx:pt idx="29316">1</cx:pt>
          <cx:pt idx="29317">1</cx:pt>
          <cx:pt idx="29318">1</cx:pt>
          <cx:pt idx="29319">0</cx:pt>
          <cx:pt idx="29320">0</cx:pt>
          <cx:pt idx="29321">0</cx:pt>
          <cx:pt idx="29322">0</cx:pt>
          <cx:pt idx="29323">0</cx:pt>
          <cx:pt idx="29324">0</cx:pt>
          <cx:pt idx="29325">0</cx:pt>
          <cx:pt idx="29326">0</cx:pt>
          <cx:pt idx="29327">0</cx:pt>
          <cx:pt idx="29328">0</cx:pt>
          <cx:pt idx="29329">1</cx:pt>
          <cx:pt idx="29330">0</cx:pt>
          <cx:pt idx="29331">1</cx:pt>
          <cx:pt idx="29332">0</cx:pt>
          <cx:pt idx="29333">0</cx:pt>
          <cx:pt idx="29334">1</cx:pt>
          <cx:pt idx="29335">1</cx:pt>
          <cx:pt idx="29336">0</cx:pt>
          <cx:pt idx="29337">1</cx:pt>
          <cx:pt idx="29338">0</cx:pt>
          <cx:pt idx="29339">0</cx:pt>
          <cx:pt idx="29340">0</cx:pt>
          <cx:pt idx="29341">1</cx:pt>
          <cx:pt idx="29342">0</cx:pt>
          <cx:pt idx="29343">1</cx:pt>
          <cx:pt idx="29344">1</cx:pt>
          <cx:pt idx="29345">0</cx:pt>
          <cx:pt idx="29346">0</cx:pt>
          <cx:pt idx="29347">1</cx:pt>
          <cx:pt idx="29348">0</cx:pt>
          <cx:pt idx="29349">1</cx:pt>
          <cx:pt idx="29350">1</cx:pt>
          <cx:pt idx="29351">0</cx:pt>
          <cx:pt idx="29352">0</cx:pt>
          <cx:pt idx="29353">1</cx:pt>
          <cx:pt idx="29354">0</cx:pt>
          <cx:pt idx="29355">0</cx:pt>
          <cx:pt idx="29356">0</cx:pt>
          <cx:pt idx="29357">1</cx:pt>
          <cx:pt idx="29358">0</cx:pt>
          <cx:pt idx="29359">1</cx:pt>
          <cx:pt idx="29360">1</cx:pt>
          <cx:pt idx="29361">0</cx:pt>
          <cx:pt idx="29362">1</cx:pt>
          <cx:pt idx="29363">0</cx:pt>
          <cx:pt idx="29364">1</cx:pt>
          <cx:pt idx="29365">1</cx:pt>
          <cx:pt idx="29366">0</cx:pt>
          <cx:pt idx="29367">0</cx:pt>
          <cx:pt idx="29368">0</cx:pt>
          <cx:pt idx="29369">0</cx:pt>
          <cx:pt idx="29370">0</cx:pt>
          <cx:pt idx="29371">1</cx:pt>
          <cx:pt idx="29372">0</cx:pt>
          <cx:pt idx="29373">1</cx:pt>
          <cx:pt idx="29374">0</cx:pt>
          <cx:pt idx="29375">0</cx:pt>
          <cx:pt idx="29376">1</cx:pt>
          <cx:pt idx="29377">0</cx:pt>
          <cx:pt idx="29378">0</cx:pt>
          <cx:pt idx="29379">0</cx:pt>
          <cx:pt idx="29380">0</cx:pt>
          <cx:pt idx="29381">1</cx:pt>
          <cx:pt idx="29382">1</cx:pt>
          <cx:pt idx="29383">1</cx:pt>
          <cx:pt idx="29384">1</cx:pt>
          <cx:pt idx="29385">0</cx:pt>
          <cx:pt idx="29386">1</cx:pt>
          <cx:pt idx="29387">0</cx:pt>
          <cx:pt idx="29388">0</cx:pt>
          <cx:pt idx="29389">0</cx:pt>
          <cx:pt idx="29390">1</cx:pt>
          <cx:pt idx="29391">0</cx:pt>
          <cx:pt idx="29392">0</cx:pt>
          <cx:pt idx="29393">1</cx:pt>
          <cx:pt idx="29394">0</cx:pt>
          <cx:pt idx="29395">1</cx:pt>
          <cx:pt idx="29396">0</cx:pt>
          <cx:pt idx="29397">1</cx:pt>
          <cx:pt idx="29398">0</cx:pt>
          <cx:pt idx="29399">0</cx:pt>
          <cx:pt idx="29400">1</cx:pt>
          <cx:pt idx="29401">0</cx:pt>
          <cx:pt idx="29402">0</cx:pt>
          <cx:pt idx="29403">0</cx:pt>
          <cx:pt idx="29404">1</cx:pt>
          <cx:pt idx="29405">1</cx:pt>
          <cx:pt idx="29406">0</cx:pt>
          <cx:pt idx="29407">0</cx:pt>
          <cx:pt idx="29408">0</cx:pt>
          <cx:pt idx="29409">1</cx:pt>
          <cx:pt idx="29410">0</cx:pt>
          <cx:pt idx="29411">0</cx:pt>
          <cx:pt idx="29412">0</cx:pt>
          <cx:pt idx="29413">0</cx:pt>
          <cx:pt idx="29414">0</cx:pt>
          <cx:pt idx="29415">0</cx:pt>
          <cx:pt idx="29416">1</cx:pt>
          <cx:pt idx="29417">0</cx:pt>
          <cx:pt idx="29418">1</cx:pt>
          <cx:pt idx="29419">0</cx:pt>
          <cx:pt idx="29420">0</cx:pt>
          <cx:pt idx="29421">0</cx:pt>
          <cx:pt idx="29422">1</cx:pt>
          <cx:pt idx="29423">1</cx:pt>
          <cx:pt idx="29424">1</cx:pt>
          <cx:pt idx="29425">1</cx:pt>
          <cx:pt idx="29426">1</cx:pt>
          <cx:pt idx="29427">0</cx:pt>
          <cx:pt idx="29428">0</cx:pt>
          <cx:pt idx="29429">1</cx:pt>
          <cx:pt idx="29430">1</cx:pt>
          <cx:pt idx="29431">0</cx:pt>
          <cx:pt idx="29432">0</cx:pt>
          <cx:pt idx="29433">1</cx:pt>
          <cx:pt idx="29434">0</cx:pt>
          <cx:pt idx="29435">1</cx:pt>
          <cx:pt idx="29436">1</cx:pt>
          <cx:pt idx="29437">0</cx:pt>
          <cx:pt idx="29438">0</cx:pt>
          <cx:pt idx="29439">1</cx:pt>
          <cx:pt idx="29440">0</cx:pt>
          <cx:pt idx="29441">0</cx:pt>
          <cx:pt idx="29442">0</cx:pt>
          <cx:pt idx="29443">0</cx:pt>
          <cx:pt idx="29444">0</cx:pt>
          <cx:pt idx="29445">0</cx:pt>
          <cx:pt idx="29446">0</cx:pt>
          <cx:pt idx="29447">0</cx:pt>
          <cx:pt idx="29448">0</cx:pt>
          <cx:pt idx="29449">1</cx:pt>
          <cx:pt idx="29450">1</cx:pt>
          <cx:pt idx="29451">0</cx:pt>
          <cx:pt idx="29452">1</cx:pt>
          <cx:pt idx="29453">0</cx:pt>
          <cx:pt idx="29454">0</cx:pt>
          <cx:pt idx="29455">0</cx:pt>
          <cx:pt idx="29456">0</cx:pt>
          <cx:pt idx="29457">0</cx:pt>
          <cx:pt idx="29458">0</cx:pt>
          <cx:pt idx="29459">1</cx:pt>
          <cx:pt idx="29460">1</cx:pt>
          <cx:pt idx="29461">1</cx:pt>
          <cx:pt idx="29462">0</cx:pt>
          <cx:pt idx="29463">0</cx:pt>
          <cx:pt idx="29464">0</cx:pt>
          <cx:pt idx="29465">0</cx:pt>
          <cx:pt idx="29466">0</cx:pt>
          <cx:pt idx="29467">0</cx:pt>
          <cx:pt idx="29468">0</cx:pt>
          <cx:pt idx="29469">0</cx:pt>
          <cx:pt idx="29470">1</cx:pt>
          <cx:pt idx="29471">0</cx:pt>
          <cx:pt idx="29472">1</cx:pt>
          <cx:pt idx="29473">0</cx:pt>
          <cx:pt idx="29474">1</cx:pt>
          <cx:pt idx="29475">0</cx:pt>
          <cx:pt idx="29476">0</cx:pt>
          <cx:pt idx="29477">0</cx:pt>
          <cx:pt idx="29478">0</cx:pt>
          <cx:pt idx="29479">1</cx:pt>
          <cx:pt idx="29480">0</cx:pt>
          <cx:pt idx="29481">0</cx:pt>
          <cx:pt idx="29482">1</cx:pt>
          <cx:pt idx="29483">0</cx:pt>
          <cx:pt idx="29484">0</cx:pt>
          <cx:pt idx="29485">1</cx:pt>
          <cx:pt idx="29486">0</cx:pt>
          <cx:pt idx="29487">0</cx:pt>
          <cx:pt idx="29488">1</cx:pt>
          <cx:pt idx="29489">0</cx:pt>
          <cx:pt idx="29490">0</cx:pt>
          <cx:pt idx="29491">0</cx:pt>
          <cx:pt idx="29492">1</cx:pt>
          <cx:pt idx="29493">0</cx:pt>
          <cx:pt idx="29494">0</cx:pt>
          <cx:pt idx="29495">1</cx:pt>
          <cx:pt idx="29496">0</cx:pt>
          <cx:pt idx="29497">1</cx:pt>
          <cx:pt idx="29498">0</cx:pt>
          <cx:pt idx="29499">1</cx:pt>
          <cx:pt idx="29500">1</cx:pt>
          <cx:pt idx="29501">0</cx:pt>
          <cx:pt idx="29502">1</cx:pt>
          <cx:pt idx="29503">0</cx:pt>
          <cx:pt idx="29504">0</cx:pt>
          <cx:pt idx="29505">0</cx:pt>
          <cx:pt idx="29506">0</cx:pt>
          <cx:pt idx="29507">0</cx:pt>
          <cx:pt idx="29508">1</cx:pt>
          <cx:pt idx="29509">0</cx:pt>
          <cx:pt idx="29510">1</cx:pt>
          <cx:pt idx="29511">1</cx:pt>
          <cx:pt idx="29512">0</cx:pt>
          <cx:pt idx="29513">1</cx:pt>
          <cx:pt idx="29514">0</cx:pt>
          <cx:pt idx="29515">0</cx:pt>
          <cx:pt idx="29516">1</cx:pt>
          <cx:pt idx="29517">1</cx:pt>
          <cx:pt idx="29518">1</cx:pt>
          <cx:pt idx="29519">1</cx:pt>
          <cx:pt idx="29520">0</cx:pt>
          <cx:pt idx="29521">1</cx:pt>
          <cx:pt idx="29522">1</cx:pt>
          <cx:pt idx="29523">0</cx:pt>
          <cx:pt idx="29524">0</cx:pt>
          <cx:pt idx="29525">0</cx:pt>
          <cx:pt idx="29526">0</cx:pt>
          <cx:pt idx="29527">0</cx:pt>
          <cx:pt idx="29528">1</cx:pt>
          <cx:pt idx="29529">0</cx:pt>
          <cx:pt idx="29530">0</cx:pt>
          <cx:pt idx="29531">1</cx:pt>
          <cx:pt idx="29532">1</cx:pt>
          <cx:pt idx="29533">1</cx:pt>
          <cx:pt idx="29534">0</cx:pt>
          <cx:pt idx="29535">1</cx:pt>
          <cx:pt idx="29536">1</cx:pt>
          <cx:pt idx="29537">1</cx:pt>
          <cx:pt idx="29538">0</cx:pt>
          <cx:pt idx="29539">0</cx:pt>
          <cx:pt idx="29540">0</cx:pt>
          <cx:pt idx="29541">0</cx:pt>
          <cx:pt idx="29542">0</cx:pt>
          <cx:pt idx="29543">0</cx:pt>
          <cx:pt idx="29544">1</cx:pt>
          <cx:pt idx="29545">0</cx:pt>
          <cx:pt idx="29546">1</cx:pt>
          <cx:pt idx="29547">1</cx:pt>
          <cx:pt idx="29548">1</cx:pt>
          <cx:pt idx="29549">0</cx:pt>
          <cx:pt idx="29550">1</cx:pt>
          <cx:pt idx="29551">1</cx:pt>
          <cx:pt idx="29552">0</cx:pt>
          <cx:pt idx="29553">0</cx:pt>
          <cx:pt idx="29554">1</cx:pt>
          <cx:pt idx="29555">1</cx:pt>
          <cx:pt idx="29556">0</cx:pt>
          <cx:pt idx="29557">1</cx:pt>
          <cx:pt idx="29558">1</cx:pt>
          <cx:pt idx="29559">1</cx:pt>
          <cx:pt idx="29560">0</cx:pt>
          <cx:pt idx="29561">0</cx:pt>
          <cx:pt idx="29562">1</cx:pt>
          <cx:pt idx="29563">0</cx:pt>
          <cx:pt idx="29564">1</cx:pt>
          <cx:pt idx="29565">0</cx:pt>
          <cx:pt idx="29566">0</cx:pt>
          <cx:pt idx="29567">0</cx:pt>
          <cx:pt idx="29568">0</cx:pt>
          <cx:pt idx="29569">0</cx:pt>
          <cx:pt idx="29570">0</cx:pt>
          <cx:pt idx="29571">1</cx:pt>
          <cx:pt idx="29572">1</cx:pt>
          <cx:pt idx="29573">1</cx:pt>
          <cx:pt idx="29574">1</cx:pt>
          <cx:pt idx="29575">1</cx:pt>
          <cx:pt idx="29576">1</cx:pt>
          <cx:pt idx="29577">0</cx:pt>
          <cx:pt idx="29578">1</cx:pt>
          <cx:pt idx="29579">0</cx:pt>
          <cx:pt idx="29580">0</cx:pt>
          <cx:pt idx="29581">0</cx:pt>
          <cx:pt idx="29582">0</cx:pt>
          <cx:pt idx="29583">0</cx:pt>
          <cx:pt idx="29584">1</cx:pt>
          <cx:pt idx="29585">0</cx:pt>
          <cx:pt idx="29586">0</cx:pt>
          <cx:pt idx="29587">0</cx:pt>
          <cx:pt idx="29588">0</cx:pt>
          <cx:pt idx="29589">0</cx:pt>
          <cx:pt idx="29590">1</cx:pt>
          <cx:pt idx="29591">0</cx:pt>
          <cx:pt idx="29592">1</cx:pt>
          <cx:pt idx="29593">1</cx:pt>
          <cx:pt idx="29594">0</cx:pt>
          <cx:pt idx="29595">0</cx:pt>
          <cx:pt idx="29596">0</cx:pt>
          <cx:pt idx="29597">1</cx:pt>
          <cx:pt idx="29598">0</cx:pt>
          <cx:pt idx="29599">0</cx:pt>
          <cx:pt idx="29600">1</cx:pt>
          <cx:pt idx="29601">0</cx:pt>
          <cx:pt idx="29602">1</cx:pt>
          <cx:pt idx="29603">1</cx:pt>
          <cx:pt idx="29604">0</cx:pt>
          <cx:pt idx="29605">1</cx:pt>
          <cx:pt idx="29606">0</cx:pt>
          <cx:pt idx="29607">0</cx:pt>
          <cx:pt idx="29608">0</cx:pt>
          <cx:pt idx="29609">0</cx:pt>
          <cx:pt idx="29610">0</cx:pt>
          <cx:pt idx="29611">0</cx:pt>
          <cx:pt idx="29612">0</cx:pt>
          <cx:pt idx="29613">0</cx:pt>
          <cx:pt idx="29614">1</cx:pt>
          <cx:pt idx="29615">1</cx:pt>
          <cx:pt idx="29616">0</cx:pt>
          <cx:pt idx="29617">0</cx:pt>
          <cx:pt idx="29618">0</cx:pt>
          <cx:pt idx="29619">0</cx:pt>
          <cx:pt idx="29620">0</cx:pt>
          <cx:pt idx="29621">0</cx:pt>
          <cx:pt idx="29622">0</cx:pt>
          <cx:pt idx="29623">0</cx:pt>
          <cx:pt idx="29624">1</cx:pt>
          <cx:pt idx="29625">0</cx:pt>
          <cx:pt idx="29626">1</cx:pt>
          <cx:pt idx="29627">1</cx:pt>
          <cx:pt idx="29628">0</cx:pt>
          <cx:pt idx="29629">0</cx:pt>
          <cx:pt idx="29630">1</cx:pt>
          <cx:pt idx="29631">0</cx:pt>
          <cx:pt idx="29632">0</cx:pt>
          <cx:pt idx="29633">1</cx:pt>
          <cx:pt idx="29634">0</cx:pt>
          <cx:pt idx="29635">1</cx:pt>
          <cx:pt idx="29636">1</cx:pt>
          <cx:pt idx="29637">1</cx:pt>
          <cx:pt idx="29638">1</cx:pt>
          <cx:pt idx="29639">0</cx:pt>
          <cx:pt idx="29640">0</cx:pt>
          <cx:pt idx="29641">0</cx:pt>
          <cx:pt idx="29642">0</cx:pt>
          <cx:pt idx="29643">0</cx:pt>
          <cx:pt idx="29644">1</cx:pt>
          <cx:pt idx="29645">1</cx:pt>
          <cx:pt idx="29646">1</cx:pt>
          <cx:pt idx="29647">1</cx:pt>
          <cx:pt idx="29648">0</cx:pt>
          <cx:pt idx="29649">0</cx:pt>
          <cx:pt idx="29650">1</cx:pt>
          <cx:pt idx="29651">1</cx:pt>
          <cx:pt idx="29652">0</cx:pt>
          <cx:pt idx="29653">1</cx:pt>
          <cx:pt idx="29654">0</cx:pt>
          <cx:pt idx="29655">0</cx:pt>
          <cx:pt idx="29656">0</cx:pt>
          <cx:pt idx="29657">1</cx:pt>
          <cx:pt idx="29658">0</cx:pt>
          <cx:pt idx="29659">0</cx:pt>
          <cx:pt idx="29660">1</cx:pt>
          <cx:pt idx="29661">1</cx:pt>
          <cx:pt idx="29662">0</cx:pt>
          <cx:pt idx="29663">0</cx:pt>
          <cx:pt idx="29664">1</cx:pt>
          <cx:pt idx="29665">0</cx:pt>
          <cx:pt idx="29666">0</cx:pt>
          <cx:pt idx="29667">0</cx:pt>
          <cx:pt idx="29668">1</cx:pt>
          <cx:pt idx="29669">0</cx:pt>
          <cx:pt idx="29670">1</cx:pt>
          <cx:pt idx="29671">0</cx:pt>
          <cx:pt idx="29672">1</cx:pt>
          <cx:pt idx="29673">1</cx:pt>
          <cx:pt idx="29674">0</cx:pt>
          <cx:pt idx="29675">1</cx:pt>
          <cx:pt idx="29676">0</cx:pt>
          <cx:pt idx="29677">0</cx:pt>
          <cx:pt idx="29678">0</cx:pt>
          <cx:pt idx="29679">1</cx:pt>
          <cx:pt idx="29680">0</cx:pt>
          <cx:pt idx="29681">0</cx:pt>
          <cx:pt idx="29682">1</cx:pt>
          <cx:pt idx="29683">1</cx:pt>
          <cx:pt idx="29684">0</cx:pt>
          <cx:pt idx="29685">1</cx:pt>
          <cx:pt idx="29686">0</cx:pt>
          <cx:pt idx="29687">0</cx:pt>
          <cx:pt idx="29688">1</cx:pt>
          <cx:pt idx="29689">0</cx:pt>
          <cx:pt idx="29690">1</cx:pt>
          <cx:pt idx="29691">0</cx:pt>
          <cx:pt idx="29692">1</cx:pt>
          <cx:pt idx="29693">0</cx:pt>
          <cx:pt idx="29694">0</cx:pt>
          <cx:pt idx="29695">1</cx:pt>
          <cx:pt idx="29696">1</cx:pt>
          <cx:pt idx="29697">1</cx:pt>
          <cx:pt idx="29698">0</cx:pt>
          <cx:pt idx="29699">0</cx:pt>
          <cx:pt idx="29700">1</cx:pt>
          <cx:pt idx="29701">0</cx:pt>
          <cx:pt idx="29702">1</cx:pt>
          <cx:pt idx="29703">1</cx:pt>
          <cx:pt idx="29704">0</cx:pt>
          <cx:pt idx="29705">0</cx:pt>
          <cx:pt idx="29706">0</cx:pt>
          <cx:pt idx="29707">0</cx:pt>
          <cx:pt idx="29708">1</cx:pt>
          <cx:pt idx="29709">1</cx:pt>
          <cx:pt idx="29710">0</cx:pt>
          <cx:pt idx="29711">1</cx:pt>
          <cx:pt idx="29712">1</cx:pt>
          <cx:pt idx="29713">0</cx:pt>
          <cx:pt idx="29714">0</cx:pt>
          <cx:pt idx="29715">0</cx:pt>
          <cx:pt idx="29716">1</cx:pt>
          <cx:pt idx="29717">1</cx:pt>
          <cx:pt idx="29718">1</cx:pt>
          <cx:pt idx="29719">1</cx:pt>
          <cx:pt idx="29720">1</cx:pt>
          <cx:pt idx="29721">0</cx:pt>
          <cx:pt idx="29722">0</cx:pt>
          <cx:pt idx="29723">0</cx:pt>
          <cx:pt idx="29724">0</cx:pt>
          <cx:pt idx="29725">1</cx:pt>
          <cx:pt idx="29726">0</cx:pt>
          <cx:pt idx="29727">1</cx:pt>
          <cx:pt idx="29728">0</cx:pt>
          <cx:pt idx="29729">0</cx:pt>
          <cx:pt idx="29730">0</cx:pt>
          <cx:pt idx="29731">1</cx:pt>
          <cx:pt idx="29732">0</cx:pt>
          <cx:pt idx="29733">0</cx:pt>
          <cx:pt idx="29734">0</cx:pt>
          <cx:pt idx="29735">0</cx:pt>
          <cx:pt idx="29736">1</cx:pt>
          <cx:pt idx="29737">1</cx:pt>
          <cx:pt idx="29738">1</cx:pt>
          <cx:pt idx="29739">0</cx:pt>
          <cx:pt idx="29740">0</cx:pt>
          <cx:pt idx="29741">0</cx:pt>
          <cx:pt idx="29742">0</cx:pt>
          <cx:pt idx="29743">0</cx:pt>
          <cx:pt idx="29744">1</cx:pt>
          <cx:pt idx="29745">0</cx:pt>
          <cx:pt idx="29746">0</cx:pt>
          <cx:pt idx="29747">1</cx:pt>
          <cx:pt idx="29748">0</cx:pt>
          <cx:pt idx="29749">0</cx:pt>
          <cx:pt idx="29750">0</cx:pt>
          <cx:pt idx="29751">0</cx:pt>
          <cx:pt idx="29752">0</cx:pt>
          <cx:pt idx="29753">1</cx:pt>
          <cx:pt idx="29754">1</cx:pt>
          <cx:pt idx="29755">1</cx:pt>
          <cx:pt idx="29756">1</cx:pt>
          <cx:pt idx="29757">1</cx:pt>
          <cx:pt idx="29758">0</cx:pt>
          <cx:pt idx="29759">1</cx:pt>
          <cx:pt idx="29760">1</cx:pt>
          <cx:pt idx="29761">0</cx:pt>
          <cx:pt idx="29762">0</cx:pt>
          <cx:pt idx="29763">0</cx:pt>
          <cx:pt idx="29764">0</cx:pt>
          <cx:pt idx="29765">1</cx:pt>
          <cx:pt idx="29766">0</cx:pt>
          <cx:pt idx="29767">1</cx:pt>
          <cx:pt idx="29768">1</cx:pt>
          <cx:pt idx="29769">1</cx:pt>
          <cx:pt idx="29770">1</cx:pt>
          <cx:pt idx="29771">0</cx:pt>
          <cx:pt idx="29772">0</cx:pt>
          <cx:pt idx="29773">0</cx:pt>
          <cx:pt idx="29774">0</cx:pt>
          <cx:pt idx="29775">0</cx:pt>
          <cx:pt idx="29776">1</cx:pt>
          <cx:pt idx="29777">1</cx:pt>
          <cx:pt idx="29778">0</cx:pt>
          <cx:pt idx="29779">1</cx:pt>
          <cx:pt idx="29780">0</cx:pt>
          <cx:pt idx="29781">0</cx:pt>
          <cx:pt idx="29782">0</cx:pt>
          <cx:pt idx="29783">1</cx:pt>
          <cx:pt idx="29784">0</cx:pt>
          <cx:pt idx="29785">0</cx:pt>
          <cx:pt idx="29786">1</cx:pt>
          <cx:pt idx="29787">1</cx:pt>
          <cx:pt idx="29788">0</cx:pt>
          <cx:pt idx="29789">0</cx:pt>
          <cx:pt idx="29790">1</cx:pt>
          <cx:pt idx="29791">1</cx:pt>
          <cx:pt idx="29792">0</cx:pt>
          <cx:pt idx="29793">0</cx:pt>
          <cx:pt idx="29794">0</cx:pt>
          <cx:pt idx="29795">0</cx:pt>
          <cx:pt idx="29796">0</cx:pt>
          <cx:pt idx="29797">1</cx:pt>
          <cx:pt idx="29798">1</cx:pt>
          <cx:pt idx="29799">1</cx:pt>
          <cx:pt idx="29800">1</cx:pt>
          <cx:pt idx="29801">0</cx:pt>
          <cx:pt idx="29802">0</cx:pt>
          <cx:pt idx="29803">0</cx:pt>
          <cx:pt idx="29804">1</cx:pt>
          <cx:pt idx="29805">1</cx:pt>
          <cx:pt idx="29806">1</cx:pt>
          <cx:pt idx="29807">0</cx:pt>
          <cx:pt idx="29808">0</cx:pt>
          <cx:pt idx="29809">1</cx:pt>
          <cx:pt idx="29810">0</cx:pt>
          <cx:pt idx="29811">1</cx:pt>
          <cx:pt idx="29812">1</cx:pt>
          <cx:pt idx="29813">1</cx:pt>
          <cx:pt idx="29814">1</cx:pt>
          <cx:pt idx="29815">1</cx:pt>
          <cx:pt idx="29816">0</cx:pt>
          <cx:pt idx="29817">0</cx:pt>
          <cx:pt idx="29818">0</cx:pt>
          <cx:pt idx="29819">0</cx:pt>
          <cx:pt idx="29820">1</cx:pt>
          <cx:pt idx="29821">1</cx:pt>
          <cx:pt idx="29822">0</cx:pt>
          <cx:pt idx="29823">1</cx:pt>
          <cx:pt idx="29824">0</cx:pt>
          <cx:pt idx="29825">0</cx:pt>
          <cx:pt idx="29826">0</cx:pt>
          <cx:pt idx="29827">1</cx:pt>
          <cx:pt idx="29828">0</cx:pt>
          <cx:pt idx="29829">0</cx:pt>
          <cx:pt idx="29830">0</cx:pt>
          <cx:pt idx="29831">1</cx:pt>
          <cx:pt idx="29832">0</cx:pt>
          <cx:pt idx="29833">0</cx:pt>
          <cx:pt idx="29834">0</cx:pt>
          <cx:pt idx="29835">1</cx:pt>
          <cx:pt idx="29836">0</cx:pt>
          <cx:pt idx="29837">0</cx:pt>
          <cx:pt idx="29838">0</cx:pt>
          <cx:pt idx="29839">0</cx:pt>
          <cx:pt idx="29840">0</cx:pt>
          <cx:pt idx="29841">0</cx:pt>
          <cx:pt idx="29842">1</cx:pt>
          <cx:pt idx="29843">0</cx:pt>
          <cx:pt idx="29844">0</cx:pt>
          <cx:pt idx="29845">1</cx:pt>
          <cx:pt idx="29846">0</cx:pt>
          <cx:pt idx="29847">0</cx:pt>
          <cx:pt idx="29848">0</cx:pt>
          <cx:pt idx="29849">0</cx:pt>
          <cx:pt idx="29850">0</cx:pt>
          <cx:pt idx="29851">1</cx:pt>
          <cx:pt idx="29852">1</cx:pt>
          <cx:pt idx="29853">0</cx:pt>
          <cx:pt idx="29854">1</cx:pt>
          <cx:pt idx="29855">0</cx:pt>
          <cx:pt idx="29856">1</cx:pt>
          <cx:pt idx="29857">1</cx:pt>
          <cx:pt idx="29858">1</cx:pt>
          <cx:pt idx="29859">0</cx:pt>
          <cx:pt idx="29860">0</cx:pt>
          <cx:pt idx="29861">1</cx:pt>
          <cx:pt idx="29862">1</cx:pt>
          <cx:pt idx="29863">1</cx:pt>
          <cx:pt idx="29864">1</cx:pt>
          <cx:pt idx="29865">0</cx:pt>
          <cx:pt idx="29866">0</cx:pt>
          <cx:pt idx="29867">1</cx:pt>
          <cx:pt idx="29868">0</cx:pt>
          <cx:pt idx="29869">0</cx:pt>
          <cx:pt idx="29870">0</cx:pt>
          <cx:pt idx="29871">0</cx:pt>
          <cx:pt idx="29872">1</cx:pt>
          <cx:pt idx="29873">0</cx:pt>
          <cx:pt idx="29874">1</cx:pt>
          <cx:pt idx="29875">1</cx:pt>
          <cx:pt idx="29876">0</cx:pt>
          <cx:pt idx="29877">0</cx:pt>
          <cx:pt idx="29878">0</cx:pt>
          <cx:pt idx="29879">0</cx:pt>
          <cx:pt idx="29880">0</cx:pt>
          <cx:pt idx="29881">0</cx:pt>
          <cx:pt idx="29882">1</cx:pt>
          <cx:pt idx="29883">0</cx:pt>
          <cx:pt idx="29884">1</cx:pt>
          <cx:pt idx="29885">0</cx:pt>
          <cx:pt idx="29886">1</cx:pt>
          <cx:pt idx="29887">0</cx:pt>
          <cx:pt idx="29888">0</cx:pt>
          <cx:pt idx="29889">1</cx:pt>
          <cx:pt idx="29890">0</cx:pt>
          <cx:pt idx="29891">0</cx:pt>
          <cx:pt idx="29892">0</cx:pt>
          <cx:pt idx="29893">1</cx:pt>
          <cx:pt idx="29894">1</cx:pt>
          <cx:pt idx="29895">1</cx:pt>
          <cx:pt idx="29896">1</cx:pt>
          <cx:pt idx="29897">1</cx:pt>
          <cx:pt idx="29898">0</cx:pt>
          <cx:pt idx="29899">0</cx:pt>
          <cx:pt idx="29900">0</cx:pt>
          <cx:pt idx="29901">0</cx:pt>
          <cx:pt idx="29902">1</cx:pt>
          <cx:pt idx="29903">0</cx:pt>
          <cx:pt idx="29904">0</cx:pt>
          <cx:pt idx="29905">1</cx:pt>
          <cx:pt idx="29906">0</cx:pt>
          <cx:pt idx="29907">0</cx:pt>
          <cx:pt idx="29908">1</cx:pt>
          <cx:pt idx="29909">0</cx:pt>
          <cx:pt idx="29910">1</cx:pt>
          <cx:pt idx="29911">1</cx:pt>
          <cx:pt idx="29912">0</cx:pt>
          <cx:pt idx="29913">0</cx:pt>
          <cx:pt idx="29914">0</cx:pt>
          <cx:pt idx="29915">1</cx:pt>
          <cx:pt idx="29916">1</cx:pt>
          <cx:pt idx="29917">0</cx:pt>
          <cx:pt idx="29918">0</cx:pt>
          <cx:pt idx="29919">0</cx:pt>
          <cx:pt idx="29920">0</cx:pt>
          <cx:pt idx="29921">0</cx:pt>
          <cx:pt idx="29922">0</cx:pt>
          <cx:pt idx="29923">0</cx:pt>
          <cx:pt idx="29924">0</cx:pt>
          <cx:pt idx="29925">1</cx:pt>
          <cx:pt idx="29926">0</cx:pt>
          <cx:pt idx="29927">0</cx:pt>
          <cx:pt idx="29928">0</cx:pt>
          <cx:pt idx="29929">1</cx:pt>
          <cx:pt idx="29930">1</cx:pt>
          <cx:pt idx="29931">0</cx:pt>
          <cx:pt idx="29932">0</cx:pt>
          <cx:pt idx="29933">1</cx:pt>
          <cx:pt idx="29934">0</cx:pt>
          <cx:pt idx="29935">1</cx:pt>
          <cx:pt idx="29936">1</cx:pt>
          <cx:pt idx="29937">0</cx:pt>
          <cx:pt idx="29938">0</cx:pt>
          <cx:pt idx="29939">0</cx:pt>
          <cx:pt idx="29940">1</cx:pt>
          <cx:pt idx="29941">0</cx:pt>
          <cx:pt idx="29942">0</cx:pt>
          <cx:pt idx="29943">1</cx:pt>
          <cx:pt idx="29944">1</cx:pt>
          <cx:pt idx="29945">1</cx:pt>
          <cx:pt idx="29946">0</cx:pt>
          <cx:pt idx="29947">1</cx:pt>
          <cx:pt idx="29948">1</cx:pt>
          <cx:pt idx="29949">1</cx:pt>
          <cx:pt idx="29950">1</cx:pt>
          <cx:pt idx="29951">0</cx:pt>
          <cx:pt idx="29952">0</cx:pt>
          <cx:pt idx="29953">1</cx:pt>
          <cx:pt idx="29954">1</cx:pt>
          <cx:pt idx="29955">0</cx:pt>
          <cx:pt idx="29956">1</cx:pt>
          <cx:pt idx="29957">0</cx:pt>
          <cx:pt idx="29958">1</cx:pt>
          <cx:pt idx="29959">0</cx:pt>
          <cx:pt idx="29960">0</cx:pt>
          <cx:pt idx="29961">0</cx:pt>
          <cx:pt idx="29962">0</cx:pt>
          <cx:pt idx="29963">1</cx:pt>
          <cx:pt idx="29964">1</cx:pt>
          <cx:pt idx="29965">1</cx:pt>
          <cx:pt idx="29966">0</cx:pt>
          <cx:pt idx="29967">1</cx:pt>
          <cx:pt idx="29968">1</cx:pt>
          <cx:pt idx="29969">0</cx:pt>
          <cx:pt idx="29970">0</cx:pt>
          <cx:pt idx="29971">1</cx:pt>
          <cx:pt idx="29972">0</cx:pt>
          <cx:pt idx="29973">1</cx:pt>
          <cx:pt idx="29974">0</cx:pt>
          <cx:pt idx="29975">0</cx:pt>
          <cx:pt idx="29976">0</cx:pt>
          <cx:pt idx="29977">1</cx:pt>
          <cx:pt idx="29978">0</cx:pt>
          <cx:pt idx="29979">1</cx:pt>
          <cx:pt idx="29980">0</cx:pt>
          <cx:pt idx="29981">0</cx:pt>
          <cx:pt idx="29982">0</cx:pt>
          <cx:pt idx="29983">1</cx:pt>
          <cx:pt idx="29984">0</cx:pt>
          <cx:pt idx="29985">1</cx:pt>
          <cx:pt idx="29986">0</cx:pt>
          <cx:pt idx="29987">0</cx:pt>
          <cx:pt idx="29988">1</cx:pt>
          <cx:pt idx="29989">1</cx:pt>
          <cx:pt idx="29990">0</cx:pt>
          <cx:pt idx="29991">0</cx:pt>
          <cx:pt idx="29992">0</cx:pt>
          <cx:pt idx="29993">1</cx:pt>
          <cx:pt idx="29994">1</cx:pt>
          <cx:pt idx="29995">0</cx:pt>
          <cx:pt idx="29996">0</cx:pt>
          <cx:pt idx="29997">0</cx:pt>
          <cx:pt idx="29998">0</cx:pt>
          <cx:pt idx="29999">1</cx:pt>
          <cx:pt idx="30000">1</cx:pt>
          <cx:pt idx="30001">0</cx:pt>
          <cx:pt idx="30002">1</cx:pt>
          <cx:pt idx="30003">1</cx:pt>
          <cx:pt idx="30004">1</cx:pt>
          <cx:pt idx="30005">1</cx:pt>
          <cx:pt idx="30006">0</cx:pt>
          <cx:pt idx="30007">0</cx:pt>
          <cx:pt idx="30008">0</cx:pt>
          <cx:pt idx="30009">1</cx:pt>
          <cx:pt idx="30010">0</cx:pt>
          <cx:pt idx="30011">0</cx:pt>
          <cx:pt idx="30012">0</cx:pt>
          <cx:pt idx="30013">1</cx:pt>
          <cx:pt idx="30014">0</cx:pt>
          <cx:pt idx="30015">0</cx:pt>
          <cx:pt idx="30016">0</cx:pt>
          <cx:pt idx="30017">1</cx:pt>
          <cx:pt idx="30018">1</cx:pt>
          <cx:pt idx="30019">1</cx:pt>
          <cx:pt idx="30020">0</cx:pt>
          <cx:pt idx="30021">1</cx:pt>
          <cx:pt idx="30022">0</cx:pt>
          <cx:pt idx="30023">0</cx:pt>
          <cx:pt idx="30024">1</cx:pt>
          <cx:pt idx="30025">0</cx:pt>
          <cx:pt idx="30026">0</cx:pt>
          <cx:pt idx="30027">1</cx:pt>
          <cx:pt idx="30028">0</cx:pt>
          <cx:pt idx="30029">1</cx:pt>
          <cx:pt idx="30030">1</cx:pt>
          <cx:pt idx="30031">0</cx:pt>
          <cx:pt idx="30032">0</cx:pt>
          <cx:pt idx="30033">1</cx:pt>
          <cx:pt idx="30034">0</cx:pt>
          <cx:pt idx="30035">1</cx:pt>
          <cx:pt idx="30036">0</cx:pt>
          <cx:pt idx="30037">0</cx:pt>
          <cx:pt idx="30038">0</cx:pt>
          <cx:pt idx="30039">1</cx:pt>
          <cx:pt idx="30040">1</cx:pt>
          <cx:pt idx="30041">1</cx:pt>
          <cx:pt idx="30042">0</cx:pt>
          <cx:pt idx="30043">1</cx:pt>
          <cx:pt idx="30044">0</cx:pt>
          <cx:pt idx="30045">0</cx:pt>
          <cx:pt idx="30046">0</cx:pt>
          <cx:pt idx="30047">1</cx:pt>
          <cx:pt idx="30048">1</cx:pt>
          <cx:pt idx="30049">1</cx:pt>
          <cx:pt idx="30050">0</cx:pt>
          <cx:pt idx="30051">1</cx:pt>
          <cx:pt idx="30052">0</cx:pt>
          <cx:pt idx="30053">1</cx:pt>
          <cx:pt idx="30054">0</cx:pt>
          <cx:pt idx="30055">0</cx:pt>
          <cx:pt idx="30056">1</cx:pt>
          <cx:pt idx="30057">0</cx:pt>
          <cx:pt idx="30058">0</cx:pt>
          <cx:pt idx="30059">1</cx:pt>
          <cx:pt idx="30060">0</cx:pt>
          <cx:pt idx="30061">0</cx:pt>
          <cx:pt idx="30062">0</cx:pt>
          <cx:pt idx="30063">1</cx:pt>
          <cx:pt idx="30064">1</cx:pt>
          <cx:pt idx="30065">1</cx:pt>
          <cx:pt idx="30066">0</cx:pt>
          <cx:pt idx="30067">0</cx:pt>
          <cx:pt idx="30068">0</cx:pt>
          <cx:pt idx="30069">0</cx:pt>
          <cx:pt idx="30070">1</cx:pt>
          <cx:pt idx="30071">0</cx:pt>
          <cx:pt idx="30072">0</cx:pt>
          <cx:pt idx="30073">1</cx:pt>
          <cx:pt idx="30074">1</cx:pt>
          <cx:pt idx="30075">0</cx:pt>
          <cx:pt idx="30076">1</cx:pt>
          <cx:pt idx="30077">1</cx:pt>
          <cx:pt idx="30078">1</cx:pt>
          <cx:pt idx="30079">0</cx:pt>
          <cx:pt idx="30080">0</cx:pt>
          <cx:pt idx="30081">1</cx:pt>
          <cx:pt idx="30082">0</cx:pt>
          <cx:pt idx="30083">0</cx:pt>
          <cx:pt idx="30084">0</cx:pt>
          <cx:pt idx="30085">1</cx:pt>
          <cx:pt idx="30086">0</cx:pt>
          <cx:pt idx="30087">0</cx:pt>
          <cx:pt idx="30088">1</cx:pt>
          <cx:pt idx="30089">0</cx:pt>
          <cx:pt idx="30090">0</cx:pt>
          <cx:pt idx="30091">0</cx:pt>
          <cx:pt idx="30092">1</cx:pt>
          <cx:pt idx="30093">0</cx:pt>
          <cx:pt idx="30094">1</cx:pt>
          <cx:pt idx="30095">1</cx:pt>
          <cx:pt idx="30096">1</cx:pt>
          <cx:pt idx="30097">0</cx:pt>
          <cx:pt idx="30098">1</cx:pt>
          <cx:pt idx="30099">0</cx:pt>
          <cx:pt idx="30100">0</cx:pt>
          <cx:pt idx="30101">1</cx:pt>
          <cx:pt idx="30102">0</cx:pt>
          <cx:pt idx="30103">0</cx:pt>
          <cx:pt idx="30104">1</cx:pt>
          <cx:pt idx="30105">1</cx:pt>
          <cx:pt idx="30106">1</cx:pt>
          <cx:pt idx="30107">0</cx:pt>
          <cx:pt idx="30108">1</cx:pt>
          <cx:pt idx="30109">0</cx:pt>
          <cx:pt idx="30110">0</cx:pt>
          <cx:pt idx="30111">1</cx:pt>
          <cx:pt idx="30112">1</cx:pt>
          <cx:pt idx="30113">1</cx:pt>
          <cx:pt idx="30114">1</cx:pt>
          <cx:pt idx="30115">0</cx:pt>
          <cx:pt idx="30116">1</cx:pt>
          <cx:pt idx="30117">1</cx:pt>
          <cx:pt idx="30118">0</cx:pt>
          <cx:pt idx="30119">0</cx:pt>
          <cx:pt idx="30120">0</cx:pt>
          <cx:pt idx="30121">1</cx:pt>
          <cx:pt idx="30122">0</cx:pt>
          <cx:pt idx="30123">0</cx:pt>
          <cx:pt idx="30124">0</cx:pt>
          <cx:pt idx="30125">0</cx:pt>
          <cx:pt idx="30126">0</cx:pt>
          <cx:pt idx="30127">1</cx:pt>
          <cx:pt idx="30128">0</cx:pt>
          <cx:pt idx="30129">1</cx:pt>
          <cx:pt idx="30130">0</cx:pt>
          <cx:pt idx="30131">0</cx:pt>
          <cx:pt idx="30132">1</cx:pt>
          <cx:pt idx="30133">0</cx:pt>
          <cx:pt idx="30134">0</cx:pt>
          <cx:pt idx="30135">0</cx:pt>
          <cx:pt idx="30136">1</cx:pt>
          <cx:pt idx="30137">0</cx:pt>
          <cx:pt idx="30138">1</cx:pt>
          <cx:pt idx="30139">1</cx:pt>
          <cx:pt idx="30140">1</cx:pt>
          <cx:pt idx="30141">1</cx:pt>
          <cx:pt idx="30142">1</cx:pt>
          <cx:pt idx="30143">0</cx:pt>
          <cx:pt idx="30144">0</cx:pt>
          <cx:pt idx="30145">1</cx:pt>
          <cx:pt idx="30146">0</cx:pt>
          <cx:pt idx="30147">1</cx:pt>
          <cx:pt idx="30148">0</cx:pt>
          <cx:pt idx="30149">0</cx:pt>
          <cx:pt idx="30150">0</cx:pt>
          <cx:pt idx="30151">1</cx:pt>
          <cx:pt idx="30152">0</cx:pt>
          <cx:pt idx="30153">0</cx:pt>
          <cx:pt idx="30154">0</cx:pt>
          <cx:pt idx="30155">0</cx:pt>
          <cx:pt idx="30156">1</cx:pt>
          <cx:pt idx="30157">0</cx:pt>
          <cx:pt idx="30158">0</cx:pt>
          <cx:pt idx="30159">1</cx:pt>
          <cx:pt idx="30160">0</cx:pt>
          <cx:pt idx="30161">0</cx:pt>
          <cx:pt idx="30162">0</cx:pt>
          <cx:pt idx="30163">0</cx:pt>
          <cx:pt idx="30164">1</cx:pt>
          <cx:pt idx="30165">0</cx:pt>
          <cx:pt idx="30166">1</cx:pt>
          <cx:pt idx="30167">0</cx:pt>
          <cx:pt idx="30168">0</cx:pt>
          <cx:pt idx="30169">0</cx:pt>
          <cx:pt idx="30170">1</cx:pt>
          <cx:pt idx="30171">0</cx:pt>
          <cx:pt idx="30172">0</cx:pt>
          <cx:pt idx="30173">0</cx:pt>
          <cx:pt idx="30174">1</cx:pt>
          <cx:pt idx="30175">0</cx:pt>
          <cx:pt idx="30176">1</cx:pt>
          <cx:pt idx="30177">0</cx:pt>
          <cx:pt idx="30178">1</cx:pt>
          <cx:pt idx="30179">0</cx:pt>
          <cx:pt idx="30180">0</cx:pt>
          <cx:pt idx="30181">1</cx:pt>
          <cx:pt idx="30182">0</cx:pt>
          <cx:pt idx="30183">1</cx:pt>
          <cx:pt idx="30184">0</cx:pt>
          <cx:pt idx="30185">0</cx:pt>
          <cx:pt idx="30186">1</cx:pt>
          <cx:pt idx="30187">1</cx:pt>
          <cx:pt idx="30188">0</cx:pt>
          <cx:pt idx="30189">0</cx:pt>
          <cx:pt idx="30190">1</cx:pt>
          <cx:pt idx="30191">0</cx:pt>
          <cx:pt idx="30192">0</cx:pt>
          <cx:pt idx="30193">0</cx:pt>
          <cx:pt idx="30194">1</cx:pt>
          <cx:pt idx="30195">1</cx:pt>
          <cx:pt idx="30196">1</cx:pt>
          <cx:pt idx="30197">1</cx:pt>
          <cx:pt idx="30198">1</cx:pt>
          <cx:pt idx="30199">1</cx:pt>
          <cx:pt idx="30200">1</cx:pt>
          <cx:pt idx="30201">0</cx:pt>
          <cx:pt idx="30202">0</cx:pt>
          <cx:pt idx="30203">0</cx:pt>
          <cx:pt idx="30204">1</cx:pt>
          <cx:pt idx="30205">0</cx:pt>
          <cx:pt idx="30206">0</cx:pt>
          <cx:pt idx="30207">0</cx:pt>
          <cx:pt idx="30208">0</cx:pt>
          <cx:pt idx="30209">0</cx:pt>
          <cx:pt idx="30210">1</cx:pt>
          <cx:pt idx="30211">0</cx:pt>
          <cx:pt idx="30212">0</cx:pt>
          <cx:pt idx="30213">1</cx:pt>
          <cx:pt idx="30214">0</cx:pt>
          <cx:pt idx="30215">1</cx:pt>
          <cx:pt idx="30216">1</cx:pt>
          <cx:pt idx="30217">0</cx:pt>
          <cx:pt idx="30218">0</cx:pt>
          <cx:pt idx="30219">0</cx:pt>
          <cx:pt idx="30220">1</cx:pt>
          <cx:pt idx="30221">1</cx:pt>
          <cx:pt idx="30222">1</cx:pt>
          <cx:pt idx="30223">1</cx:pt>
          <cx:pt idx="30224">1</cx:pt>
          <cx:pt idx="30225">1</cx:pt>
          <cx:pt idx="30226">0</cx:pt>
          <cx:pt idx="30227">0</cx:pt>
          <cx:pt idx="30228">0</cx:pt>
          <cx:pt idx="30229">0</cx:pt>
          <cx:pt idx="30230">1</cx:pt>
          <cx:pt idx="30231">1</cx:pt>
          <cx:pt idx="30232">1</cx:pt>
          <cx:pt idx="30233">0</cx:pt>
          <cx:pt idx="30234">0</cx:pt>
          <cx:pt idx="30235">1</cx:pt>
          <cx:pt idx="30236">0</cx:pt>
          <cx:pt idx="30237">0</cx:pt>
          <cx:pt idx="30238">1</cx:pt>
          <cx:pt idx="30239">1</cx:pt>
          <cx:pt idx="30240">0</cx:pt>
          <cx:pt idx="30241">0</cx:pt>
          <cx:pt idx="30242">0</cx:pt>
          <cx:pt idx="30243">1</cx:pt>
          <cx:pt idx="30244">1</cx:pt>
          <cx:pt idx="30245">0</cx:pt>
          <cx:pt idx="30246">1</cx:pt>
          <cx:pt idx="30247">0</cx:pt>
          <cx:pt idx="30248">1</cx:pt>
          <cx:pt idx="30249">1</cx:pt>
          <cx:pt idx="30250">0</cx:pt>
          <cx:pt idx="30251">0</cx:pt>
          <cx:pt idx="30252">0</cx:pt>
          <cx:pt idx="30253">1</cx:pt>
          <cx:pt idx="30254">0</cx:pt>
          <cx:pt idx="30255">1</cx:pt>
          <cx:pt idx="30256">0</cx:pt>
          <cx:pt idx="30257">0</cx:pt>
          <cx:pt idx="30258">1</cx:pt>
          <cx:pt idx="30259">1</cx:pt>
          <cx:pt idx="30260">1</cx:pt>
          <cx:pt idx="30261">0</cx:pt>
          <cx:pt idx="30262">1</cx:pt>
          <cx:pt idx="30263">1</cx:pt>
          <cx:pt idx="30264">0</cx:pt>
          <cx:pt idx="30265">1</cx:pt>
          <cx:pt idx="30266">0</cx:pt>
          <cx:pt idx="30267">0</cx:pt>
          <cx:pt idx="30268">0</cx:pt>
          <cx:pt idx="30269">1</cx:pt>
          <cx:pt idx="30270">0</cx:pt>
          <cx:pt idx="30271">0</cx:pt>
          <cx:pt idx="30272">1</cx:pt>
          <cx:pt idx="30273">1</cx:pt>
          <cx:pt idx="30274">0</cx:pt>
          <cx:pt idx="30275">0</cx:pt>
          <cx:pt idx="30276">0</cx:pt>
          <cx:pt idx="30277">0</cx:pt>
          <cx:pt idx="30278">0</cx:pt>
          <cx:pt idx="30279">0</cx:pt>
          <cx:pt idx="30280">1</cx:pt>
          <cx:pt idx="30281">0</cx:pt>
          <cx:pt idx="30282">0</cx:pt>
          <cx:pt idx="30283">0</cx:pt>
          <cx:pt idx="30284">1</cx:pt>
          <cx:pt idx="30285">1</cx:pt>
          <cx:pt idx="30286">1</cx:pt>
          <cx:pt idx="30287">1</cx:pt>
          <cx:pt idx="30288">0</cx:pt>
          <cx:pt idx="30289">0</cx:pt>
          <cx:pt idx="30290">0</cx:pt>
          <cx:pt idx="30291">0</cx:pt>
          <cx:pt idx="30292">1</cx:pt>
          <cx:pt idx="30293">1</cx:pt>
          <cx:pt idx="30294">1</cx:pt>
          <cx:pt idx="30295">1</cx:pt>
          <cx:pt idx="30296">0</cx:pt>
          <cx:pt idx="30297">0</cx:pt>
          <cx:pt idx="30298">0</cx:pt>
          <cx:pt idx="30299">1</cx:pt>
          <cx:pt idx="30300">1</cx:pt>
          <cx:pt idx="30301">1</cx:pt>
          <cx:pt idx="30302">0</cx:pt>
          <cx:pt idx="30303">1</cx:pt>
          <cx:pt idx="30304">1</cx:pt>
          <cx:pt idx="30305">0</cx:pt>
          <cx:pt idx="30306">0</cx:pt>
          <cx:pt idx="30307">1</cx:pt>
          <cx:pt idx="30308">0</cx:pt>
          <cx:pt idx="30309">1</cx:pt>
          <cx:pt idx="30310">1</cx:pt>
          <cx:pt idx="30311">1</cx:pt>
          <cx:pt idx="30312">0</cx:pt>
          <cx:pt idx="30313">1</cx:pt>
          <cx:pt idx="30314">0</cx:pt>
          <cx:pt idx="30315">1</cx:pt>
          <cx:pt idx="30316">0</cx:pt>
          <cx:pt idx="30317">0</cx:pt>
          <cx:pt idx="30318">0</cx:pt>
          <cx:pt idx="30319">1</cx:pt>
          <cx:pt idx="30320">1</cx:pt>
          <cx:pt idx="30321">1</cx:pt>
          <cx:pt idx="30322">1</cx:pt>
          <cx:pt idx="30323">0</cx:pt>
          <cx:pt idx="30324">1</cx:pt>
          <cx:pt idx="30325">0</cx:pt>
          <cx:pt idx="30326">0</cx:pt>
          <cx:pt idx="30327">1</cx:pt>
          <cx:pt idx="30328">0</cx:pt>
          <cx:pt idx="30329">1</cx:pt>
          <cx:pt idx="30330">1</cx:pt>
          <cx:pt idx="30331">1</cx:pt>
          <cx:pt idx="30332">1</cx:pt>
          <cx:pt idx="30333">1</cx:pt>
          <cx:pt idx="30334">1</cx:pt>
          <cx:pt idx="30335">1</cx:pt>
          <cx:pt idx="30336">0</cx:pt>
          <cx:pt idx="30337">1</cx:pt>
          <cx:pt idx="30338">1</cx:pt>
          <cx:pt idx="30339">0</cx:pt>
          <cx:pt idx="30340">0</cx:pt>
          <cx:pt idx="30341">0</cx:pt>
          <cx:pt idx="30342">1</cx:pt>
          <cx:pt idx="30343">0</cx:pt>
          <cx:pt idx="30344">1</cx:pt>
          <cx:pt idx="30345">1</cx:pt>
          <cx:pt idx="30346">1</cx:pt>
          <cx:pt idx="30347">0</cx:pt>
          <cx:pt idx="30348">0</cx:pt>
          <cx:pt idx="30349">0</cx:pt>
          <cx:pt idx="30350">0</cx:pt>
          <cx:pt idx="30351">0</cx:pt>
          <cx:pt idx="30352">0</cx:pt>
          <cx:pt idx="30353">0</cx:pt>
          <cx:pt idx="30354">0</cx:pt>
          <cx:pt idx="30355">1</cx:pt>
          <cx:pt idx="30356">1</cx:pt>
          <cx:pt idx="30357">0</cx:pt>
          <cx:pt idx="30358">0</cx:pt>
          <cx:pt idx="30359">0</cx:pt>
          <cx:pt idx="30360">1</cx:pt>
          <cx:pt idx="30361">0</cx:pt>
          <cx:pt idx="30362">0</cx:pt>
          <cx:pt idx="30363">0</cx:pt>
          <cx:pt idx="30364">0</cx:pt>
          <cx:pt idx="30365">1</cx:pt>
          <cx:pt idx="30366">0</cx:pt>
          <cx:pt idx="30367">1</cx:pt>
          <cx:pt idx="30368">0</cx:pt>
          <cx:pt idx="30369">0</cx:pt>
          <cx:pt idx="30370">0</cx:pt>
          <cx:pt idx="30371">1</cx:pt>
          <cx:pt idx="30372">0</cx:pt>
          <cx:pt idx="30373">0</cx:pt>
          <cx:pt idx="30374">0</cx:pt>
          <cx:pt idx="30375">0</cx:pt>
          <cx:pt idx="30376">1</cx:pt>
          <cx:pt idx="30377">0</cx:pt>
          <cx:pt idx="30378">0</cx:pt>
          <cx:pt idx="30379">0</cx:pt>
          <cx:pt idx="30380">0</cx:pt>
          <cx:pt idx="30381">1</cx:pt>
          <cx:pt idx="30382">1</cx:pt>
          <cx:pt idx="30383">1</cx:pt>
          <cx:pt idx="30384">0</cx:pt>
          <cx:pt idx="30385">1</cx:pt>
          <cx:pt idx="30386">0</cx:pt>
          <cx:pt idx="30387">0</cx:pt>
          <cx:pt idx="30388">0</cx:pt>
          <cx:pt idx="30389">1</cx:pt>
          <cx:pt idx="30390">0</cx:pt>
          <cx:pt idx="30391">1</cx:pt>
          <cx:pt idx="30392">0</cx:pt>
          <cx:pt idx="30393">1</cx:pt>
          <cx:pt idx="30394">1</cx:pt>
          <cx:pt idx="30395">0</cx:pt>
          <cx:pt idx="30396">1</cx:pt>
          <cx:pt idx="30397">1</cx:pt>
          <cx:pt idx="30398">1</cx:pt>
          <cx:pt idx="30399">1</cx:pt>
          <cx:pt idx="30400">1</cx:pt>
          <cx:pt idx="30401">0</cx:pt>
          <cx:pt idx="30402">0</cx:pt>
          <cx:pt idx="30403">0</cx:pt>
          <cx:pt idx="30404">1</cx:pt>
          <cx:pt idx="30405">1</cx:pt>
          <cx:pt idx="30406">1</cx:pt>
          <cx:pt idx="30407">0</cx:pt>
          <cx:pt idx="30408">1</cx:pt>
          <cx:pt idx="30409">0</cx:pt>
          <cx:pt idx="30410">0</cx:pt>
          <cx:pt idx="30411">1</cx:pt>
          <cx:pt idx="30412">0</cx:pt>
          <cx:pt idx="30413">1</cx:pt>
          <cx:pt idx="30414">0</cx:pt>
          <cx:pt idx="30415">0</cx:pt>
          <cx:pt idx="30416">0</cx:pt>
          <cx:pt idx="30417">0</cx:pt>
          <cx:pt idx="30418">0</cx:pt>
          <cx:pt idx="30419">0</cx:pt>
          <cx:pt idx="30420">0</cx:pt>
          <cx:pt idx="30421">0</cx:pt>
          <cx:pt idx="30422">0</cx:pt>
          <cx:pt idx="30423">1</cx:pt>
          <cx:pt idx="30424">0</cx:pt>
          <cx:pt idx="30425">0</cx:pt>
          <cx:pt idx="30426">0</cx:pt>
          <cx:pt idx="30427">1</cx:pt>
          <cx:pt idx="30428">1</cx:pt>
          <cx:pt idx="30429">1</cx:pt>
          <cx:pt idx="30430">0</cx:pt>
          <cx:pt idx="30431">0</cx:pt>
          <cx:pt idx="30432">1</cx:pt>
          <cx:pt idx="30433">1</cx:pt>
          <cx:pt idx="30434">0</cx:pt>
          <cx:pt idx="30435">1</cx:pt>
          <cx:pt idx="30436">1</cx:pt>
          <cx:pt idx="30437">1</cx:pt>
          <cx:pt idx="30438">1</cx:pt>
          <cx:pt idx="30439">1</cx:pt>
          <cx:pt idx="30440">1</cx:pt>
          <cx:pt idx="30441">1</cx:pt>
          <cx:pt idx="30442">0</cx:pt>
          <cx:pt idx="30443">0</cx:pt>
          <cx:pt idx="30444">1</cx:pt>
          <cx:pt idx="30445">1</cx:pt>
          <cx:pt idx="30446">1</cx:pt>
          <cx:pt idx="30447">0</cx:pt>
          <cx:pt idx="30448">0</cx:pt>
          <cx:pt idx="30449">1</cx:pt>
          <cx:pt idx="30450">0</cx:pt>
          <cx:pt idx="30451">0</cx:pt>
          <cx:pt idx="30452">1</cx:pt>
          <cx:pt idx="30453">1</cx:pt>
          <cx:pt idx="30454">1</cx:pt>
          <cx:pt idx="30455">1</cx:pt>
          <cx:pt idx="30456">0</cx:pt>
          <cx:pt idx="30457">0</cx:pt>
          <cx:pt idx="30458">1</cx:pt>
          <cx:pt idx="30459">0</cx:pt>
          <cx:pt idx="30460">0</cx:pt>
          <cx:pt idx="30461">1</cx:pt>
          <cx:pt idx="30462">0</cx:pt>
          <cx:pt idx="30463">0</cx:pt>
          <cx:pt idx="30464">0</cx:pt>
          <cx:pt idx="30465">0</cx:pt>
          <cx:pt idx="30466">0</cx:pt>
          <cx:pt idx="30467">1</cx:pt>
          <cx:pt idx="30468">1</cx:pt>
          <cx:pt idx="30469">0</cx:pt>
          <cx:pt idx="30470">0</cx:pt>
          <cx:pt idx="30471">0</cx:pt>
          <cx:pt idx="30472">0</cx:pt>
          <cx:pt idx="30473">0</cx:pt>
          <cx:pt idx="30474">1</cx:pt>
          <cx:pt idx="30475">0</cx:pt>
          <cx:pt idx="30476">1</cx:pt>
          <cx:pt idx="30477">1</cx:pt>
          <cx:pt idx="30478">1</cx:pt>
          <cx:pt idx="30479">1</cx:pt>
          <cx:pt idx="30480">0</cx:pt>
          <cx:pt idx="30481">0</cx:pt>
          <cx:pt idx="30482">0</cx:pt>
          <cx:pt idx="30483">1</cx:pt>
          <cx:pt idx="30484">1</cx:pt>
          <cx:pt idx="30485">0</cx:pt>
          <cx:pt idx="30486">0</cx:pt>
          <cx:pt idx="30487">0</cx:pt>
          <cx:pt idx="30488">0</cx:pt>
          <cx:pt idx="30489">1</cx:pt>
          <cx:pt idx="30490">0</cx:pt>
          <cx:pt idx="30491">1</cx:pt>
          <cx:pt idx="30492">0</cx:pt>
          <cx:pt idx="30493">1</cx:pt>
          <cx:pt idx="30494">0</cx:pt>
          <cx:pt idx="30495">1</cx:pt>
          <cx:pt idx="30496">1</cx:pt>
          <cx:pt idx="30497">1</cx:pt>
          <cx:pt idx="30498">0</cx:pt>
          <cx:pt idx="30499">0</cx:pt>
          <cx:pt idx="30500">0</cx:pt>
          <cx:pt idx="30501">0</cx:pt>
          <cx:pt idx="30502">0</cx:pt>
          <cx:pt idx="30503">0</cx:pt>
          <cx:pt idx="30504">1</cx:pt>
          <cx:pt idx="30505">1</cx:pt>
          <cx:pt idx="30506">1</cx:pt>
          <cx:pt idx="30507">0</cx:pt>
          <cx:pt idx="30508">0</cx:pt>
          <cx:pt idx="30509">0</cx:pt>
          <cx:pt idx="30510">1</cx:pt>
          <cx:pt idx="30511">1</cx:pt>
          <cx:pt idx="30512">1</cx:pt>
          <cx:pt idx="30513">0</cx:pt>
          <cx:pt idx="30514">1</cx:pt>
          <cx:pt idx="30515">1</cx:pt>
          <cx:pt idx="30516">0</cx:pt>
          <cx:pt idx="30517">0</cx:pt>
          <cx:pt idx="30518">0</cx:pt>
          <cx:pt idx="30519">0</cx:pt>
          <cx:pt idx="30520">1</cx:pt>
          <cx:pt idx="30521">1</cx:pt>
          <cx:pt idx="30522">1</cx:pt>
          <cx:pt idx="30523">1</cx:pt>
          <cx:pt idx="30524">1</cx:pt>
          <cx:pt idx="30525">0</cx:pt>
          <cx:pt idx="30526">0</cx:pt>
          <cx:pt idx="30527">1</cx:pt>
          <cx:pt idx="30528">1</cx:pt>
          <cx:pt idx="30529">0</cx:pt>
          <cx:pt idx="30530">0</cx:pt>
          <cx:pt idx="30531">0</cx:pt>
          <cx:pt idx="30532">0</cx:pt>
          <cx:pt idx="30533">0</cx:pt>
          <cx:pt idx="30534">0</cx:pt>
          <cx:pt idx="30535">0</cx:pt>
          <cx:pt idx="30536">1</cx:pt>
          <cx:pt idx="30537">1</cx:pt>
          <cx:pt idx="30538">0</cx:pt>
          <cx:pt idx="30539">0</cx:pt>
          <cx:pt idx="30540">1</cx:pt>
          <cx:pt idx="30541">0</cx:pt>
          <cx:pt idx="30542">0</cx:pt>
          <cx:pt idx="30543">0</cx:pt>
          <cx:pt idx="30544">1</cx:pt>
          <cx:pt idx="30545">1</cx:pt>
          <cx:pt idx="30546">1</cx:pt>
          <cx:pt idx="30547">1</cx:pt>
          <cx:pt idx="30548">1</cx:pt>
          <cx:pt idx="30549">1</cx:pt>
          <cx:pt idx="30550">0</cx:pt>
          <cx:pt idx="30551">1</cx:pt>
          <cx:pt idx="30552">1</cx:pt>
          <cx:pt idx="30553">1</cx:pt>
          <cx:pt idx="30554">0</cx:pt>
          <cx:pt idx="30555">0</cx:pt>
          <cx:pt idx="30556">1</cx:pt>
          <cx:pt idx="30557">0</cx:pt>
          <cx:pt idx="30558">0</cx:pt>
          <cx:pt idx="30559">0</cx:pt>
          <cx:pt idx="30560">0</cx:pt>
          <cx:pt idx="30561">1</cx:pt>
          <cx:pt idx="30562">1</cx:pt>
          <cx:pt idx="30563">0</cx:pt>
          <cx:pt idx="30564">1</cx:pt>
          <cx:pt idx="30565">0</cx:pt>
          <cx:pt idx="30566">0</cx:pt>
          <cx:pt idx="30567">1</cx:pt>
          <cx:pt idx="30568">1</cx:pt>
          <cx:pt idx="30569">0</cx:pt>
          <cx:pt idx="30570">1</cx:pt>
          <cx:pt idx="30571">1</cx:pt>
          <cx:pt idx="30572">0</cx:pt>
          <cx:pt idx="30573">1</cx:pt>
          <cx:pt idx="30574">0</cx:pt>
          <cx:pt idx="30575">1</cx:pt>
          <cx:pt idx="30576">1</cx:pt>
          <cx:pt idx="30577">1</cx:pt>
          <cx:pt idx="30578">0</cx:pt>
          <cx:pt idx="30579">1</cx:pt>
          <cx:pt idx="30580">0</cx:pt>
          <cx:pt idx="30581">0</cx:pt>
          <cx:pt idx="30582">0</cx:pt>
          <cx:pt idx="30583">1</cx:pt>
          <cx:pt idx="30584">0</cx:pt>
          <cx:pt idx="30585">1</cx:pt>
          <cx:pt idx="30586">1</cx:pt>
          <cx:pt idx="30587">1</cx:pt>
          <cx:pt idx="30588">0</cx:pt>
          <cx:pt idx="30589">0</cx:pt>
          <cx:pt idx="30590">0</cx:pt>
          <cx:pt idx="30591">1</cx:pt>
          <cx:pt idx="30592">1</cx:pt>
          <cx:pt idx="30593">0</cx:pt>
          <cx:pt idx="30594">1</cx:pt>
          <cx:pt idx="30595">0</cx:pt>
          <cx:pt idx="30596">0</cx:pt>
          <cx:pt idx="30597">0</cx:pt>
          <cx:pt idx="30598">1</cx:pt>
          <cx:pt idx="30599">0</cx:pt>
          <cx:pt idx="30600">1</cx:pt>
          <cx:pt idx="30601">0</cx:pt>
          <cx:pt idx="30602">0</cx:pt>
          <cx:pt idx="30603">1</cx:pt>
          <cx:pt idx="30604">0</cx:pt>
          <cx:pt idx="30605">0</cx:pt>
          <cx:pt idx="30606">0</cx:pt>
          <cx:pt idx="30607">1</cx:pt>
          <cx:pt idx="30608">1</cx:pt>
          <cx:pt idx="30609">1</cx:pt>
          <cx:pt idx="30610">0</cx:pt>
          <cx:pt idx="30611">0</cx:pt>
          <cx:pt idx="30612">0</cx:pt>
          <cx:pt idx="30613">0</cx:pt>
          <cx:pt idx="30614">0</cx:pt>
          <cx:pt idx="30615">0</cx:pt>
          <cx:pt idx="30616">0</cx:pt>
          <cx:pt idx="30617">0</cx:pt>
          <cx:pt idx="30618">0</cx:pt>
          <cx:pt idx="30619">0</cx:pt>
          <cx:pt idx="30620">0</cx:pt>
          <cx:pt idx="30621">1</cx:pt>
          <cx:pt idx="30622">0</cx:pt>
          <cx:pt idx="30623">0</cx:pt>
          <cx:pt idx="30624">1</cx:pt>
          <cx:pt idx="30625">0</cx:pt>
          <cx:pt idx="30626">0</cx:pt>
          <cx:pt idx="30627">1</cx:pt>
          <cx:pt idx="30628">1</cx:pt>
          <cx:pt idx="30629">0</cx:pt>
          <cx:pt idx="30630">0</cx:pt>
          <cx:pt idx="30631">0</cx:pt>
          <cx:pt idx="30632">0</cx:pt>
          <cx:pt idx="30633">1</cx:pt>
          <cx:pt idx="30634">0</cx:pt>
          <cx:pt idx="30635">1</cx:pt>
          <cx:pt idx="30636">0</cx:pt>
          <cx:pt idx="30637">1</cx:pt>
          <cx:pt idx="30638">0</cx:pt>
          <cx:pt idx="30639">1</cx:pt>
          <cx:pt idx="30640">0</cx:pt>
          <cx:pt idx="30641">0</cx:pt>
          <cx:pt idx="30642">0</cx:pt>
          <cx:pt idx="30643">0</cx:pt>
          <cx:pt idx="30644">0</cx:pt>
          <cx:pt idx="30645">0</cx:pt>
          <cx:pt idx="30646">0</cx:pt>
          <cx:pt idx="30647">1</cx:pt>
          <cx:pt idx="30648">0</cx:pt>
          <cx:pt idx="30649">1</cx:pt>
          <cx:pt idx="30650">1</cx:pt>
          <cx:pt idx="30651">0</cx:pt>
          <cx:pt idx="30652">1</cx:pt>
          <cx:pt idx="30653">1</cx:pt>
          <cx:pt idx="30654">1</cx:pt>
          <cx:pt idx="30655">1</cx:pt>
          <cx:pt idx="30656">1</cx:pt>
          <cx:pt idx="30657">0</cx:pt>
          <cx:pt idx="30658">0</cx:pt>
          <cx:pt idx="30659">0</cx:pt>
          <cx:pt idx="30660">1</cx:pt>
          <cx:pt idx="30661">0</cx:pt>
          <cx:pt idx="30662">0</cx:pt>
          <cx:pt idx="30663">0</cx:pt>
          <cx:pt idx="30664">1</cx:pt>
          <cx:pt idx="30665">1</cx:pt>
          <cx:pt idx="30666">0</cx:pt>
          <cx:pt idx="30667">1</cx:pt>
          <cx:pt idx="30668">0</cx:pt>
          <cx:pt idx="30669">0</cx:pt>
          <cx:pt idx="30670">0</cx:pt>
          <cx:pt idx="30671">1</cx:pt>
          <cx:pt idx="30672">0</cx:pt>
          <cx:pt idx="30673">1</cx:pt>
          <cx:pt idx="30674">0</cx:pt>
          <cx:pt idx="30675">1</cx:pt>
          <cx:pt idx="30676">0</cx:pt>
          <cx:pt idx="30677">0</cx:pt>
          <cx:pt idx="30678">0</cx:pt>
          <cx:pt idx="30679">0</cx:pt>
          <cx:pt idx="30680">0</cx:pt>
          <cx:pt idx="30681">0</cx:pt>
          <cx:pt idx="30682">0</cx:pt>
          <cx:pt idx="30683">1</cx:pt>
          <cx:pt idx="30684">0</cx:pt>
          <cx:pt idx="30685">0</cx:pt>
          <cx:pt idx="30686">1</cx:pt>
          <cx:pt idx="30687">1</cx:pt>
          <cx:pt idx="30688">1</cx:pt>
          <cx:pt idx="30689">1</cx:pt>
          <cx:pt idx="30690">0</cx:pt>
          <cx:pt idx="30691">1</cx:pt>
          <cx:pt idx="30692">0</cx:pt>
          <cx:pt idx="30693">0</cx:pt>
          <cx:pt idx="30694">0</cx:pt>
          <cx:pt idx="30695">1</cx:pt>
          <cx:pt idx="30696">0</cx:pt>
          <cx:pt idx="30697">1</cx:pt>
          <cx:pt idx="30698">0</cx:pt>
          <cx:pt idx="30699">1</cx:pt>
          <cx:pt idx="30700">1</cx:pt>
          <cx:pt idx="30701">1</cx:pt>
          <cx:pt idx="30702">0</cx:pt>
          <cx:pt idx="30703">0</cx:pt>
          <cx:pt idx="30704">0</cx:pt>
          <cx:pt idx="30705">0</cx:pt>
          <cx:pt idx="30706">1</cx:pt>
          <cx:pt idx="30707">1</cx:pt>
          <cx:pt idx="30708">1</cx:pt>
          <cx:pt idx="30709">1</cx:pt>
          <cx:pt idx="30710">0</cx:pt>
          <cx:pt idx="30711">0</cx:pt>
          <cx:pt idx="30712">0</cx:pt>
          <cx:pt idx="30713">0</cx:pt>
          <cx:pt idx="30714">0</cx:pt>
          <cx:pt idx="30715">0</cx:pt>
          <cx:pt idx="30716">0</cx:pt>
          <cx:pt idx="30717">0</cx:pt>
          <cx:pt idx="30718">1</cx:pt>
          <cx:pt idx="30719">1</cx:pt>
          <cx:pt idx="30720">1</cx:pt>
          <cx:pt idx="30721">1</cx:pt>
          <cx:pt idx="30722">0</cx:pt>
          <cx:pt idx="30723">0</cx:pt>
          <cx:pt idx="30724">0</cx:pt>
          <cx:pt idx="30725">0</cx:pt>
          <cx:pt idx="30726">0</cx:pt>
          <cx:pt idx="30727">0</cx:pt>
          <cx:pt idx="30728">0</cx:pt>
          <cx:pt idx="30729">1</cx:pt>
          <cx:pt idx="30730">0</cx:pt>
          <cx:pt idx="30731">0</cx:pt>
          <cx:pt idx="30732">1</cx:pt>
          <cx:pt idx="30733">0</cx:pt>
          <cx:pt idx="30734">0</cx:pt>
          <cx:pt idx="30735">0</cx:pt>
          <cx:pt idx="30736">0</cx:pt>
          <cx:pt idx="30737">1</cx:pt>
          <cx:pt idx="30738">1</cx:pt>
          <cx:pt idx="30739">0</cx:pt>
          <cx:pt idx="30740">1</cx:pt>
          <cx:pt idx="30741">0</cx:pt>
          <cx:pt idx="30742">0</cx:pt>
          <cx:pt idx="30743">1</cx:pt>
          <cx:pt idx="30744">1</cx:pt>
          <cx:pt idx="30745">1</cx:pt>
          <cx:pt idx="30746">1</cx:pt>
          <cx:pt idx="30747">1</cx:pt>
          <cx:pt idx="30748">0</cx:pt>
          <cx:pt idx="30749">0</cx:pt>
          <cx:pt idx="30750">0</cx:pt>
          <cx:pt idx="30751">0</cx:pt>
          <cx:pt idx="30752">1</cx:pt>
          <cx:pt idx="30753">1</cx:pt>
          <cx:pt idx="30754">0</cx:pt>
          <cx:pt idx="30755">1</cx:pt>
          <cx:pt idx="30756">0</cx:pt>
          <cx:pt idx="30757">0</cx:pt>
          <cx:pt idx="30758">0</cx:pt>
          <cx:pt idx="30759">0</cx:pt>
          <cx:pt idx="30760">0</cx:pt>
          <cx:pt idx="30761">0</cx:pt>
          <cx:pt idx="30762">1</cx:pt>
          <cx:pt idx="30763">0</cx:pt>
          <cx:pt idx="30764">1</cx:pt>
          <cx:pt idx="30765">0</cx:pt>
          <cx:pt idx="30766">0</cx:pt>
          <cx:pt idx="30767">0</cx:pt>
          <cx:pt idx="30768">1</cx:pt>
          <cx:pt idx="30769">1</cx:pt>
          <cx:pt idx="30770">0</cx:pt>
          <cx:pt idx="30771">1</cx:pt>
          <cx:pt idx="30772">1</cx:pt>
          <cx:pt idx="30773">0</cx:pt>
          <cx:pt idx="30774">1</cx:pt>
          <cx:pt idx="30775">1</cx:pt>
          <cx:pt idx="30776">1</cx:pt>
          <cx:pt idx="30777">1</cx:pt>
          <cx:pt idx="30778">0</cx:pt>
          <cx:pt idx="30779">1</cx:pt>
          <cx:pt idx="30780">1</cx:pt>
          <cx:pt idx="30781">1</cx:pt>
          <cx:pt idx="30782">0</cx:pt>
          <cx:pt idx="30783">0</cx:pt>
          <cx:pt idx="30784">0</cx:pt>
          <cx:pt idx="30785">1</cx:pt>
          <cx:pt idx="30786">0</cx:pt>
          <cx:pt idx="30787">0</cx:pt>
          <cx:pt idx="30788">1</cx:pt>
          <cx:pt idx="30789">1</cx:pt>
          <cx:pt idx="30790">0</cx:pt>
          <cx:pt idx="30791">0</cx:pt>
          <cx:pt idx="30792">1</cx:pt>
          <cx:pt idx="30793">0</cx:pt>
          <cx:pt idx="30794">1</cx:pt>
          <cx:pt idx="30795">1</cx:pt>
          <cx:pt idx="30796">0</cx:pt>
          <cx:pt idx="30797">0</cx:pt>
          <cx:pt idx="30798">0</cx:pt>
          <cx:pt idx="30799">1</cx:pt>
          <cx:pt idx="30800">1</cx:pt>
          <cx:pt idx="30801">1</cx:pt>
          <cx:pt idx="30802">0</cx:pt>
          <cx:pt idx="30803">0</cx:pt>
          <cx:pt idx="30804">1</cx:pt>
          <cx:pt idx="30805">0</cx:pt>
          <cx:pt idx="30806">0</cx:pt>
          <cx:pt idx="30807">0</cx:pt>
          <cx:pt idx="30808">0</cx:pt>
          <cx:pt idx="30809">0</cx:pt>
          <cx:pt idx="30810">0</cx:pt>
          <cx:pt idx="30811">0</cx:pt>
          <cx:pt idx="30812">0</cx:pt>
          <cx:pt idx="30813">0</cx:pt>
          <cx:pt idx="30814">0</cx:pt>
          <cx:pt idx="30815">1</cx:pt>
          <cx:pt idx="30816">0</cx:pt>
          <cx:pt idx="30817">0</cx:pt>
          <cx:pt idx="30818">1</cx:pt>
          <cx:pt idx="30819">1</cx:pt>
          <cx:pt idx="30820">0</cx:pt>
          <cx:pt idx="30821">1</cx:pt>
          <cx:pt idx="30822">1</cx:pt>
          <cx:pt idx="30823">1</cx:pt>
          <cx:pt idx="30824">0</cx:pt>
          <cx:pt idx="30825">0</cx:pt>
          <cx:pt idx="30826">1</cx:pt>
          <cx:pt idx="30827">0</cx:pt>
          <cx:pt idx="30828">0</cx:pt>
          <cx:pt idx="30829">1</cx:pt>
          <cx:pt idx="30830">1</cx:pt>
          <cx:pt idx="30831">0</cx:pt>
          <cx:pt idx="30832">0</cx:pt>
          <cx:pt idx="30833">0</cx:pt>
          <cx:pt idx="30834">0</cx:pt>
          <cx:pt idx="30835">1</cx:pt>
          <cx:pt idx="30836">1</cx:pt>
          <cx:pt idx="30837">1</cx:pt>
          <cx:pt idx="30838">0</cx:pt>
          <cx:pt idx="30839">0</cx:pt>
          <cx:pt idx="30840">1</cx:pt>
          <cx:pt idx="30841">1</cx:pt>
          <cx:pt idx="30842">1</cx:pt>
          <cx:pt idx="30843">0</cx:pt>
          <cx:pt idx="30844">0</cx:pt>
          <cx:pt idx="30845">1</cx:pt>
          <cx:pt idx="30846">1</cx:pt>
          <cx:pt idx="30847">0</cx:pt>
          <cx:pt idx="30848">1</cx:pt>
          <cx:pt idx="30849">0</cx:pt>
          <cx:pt idx="30850">0</cx:pt>
          <cx:pt idx="30851">1</cx:pt>
          <cx:pt idx="30852">0</cx:pt>
          <cx:pt idx="30853">0</cx:pt>
          <cx:pt idx="30854">1</cx:pt>
          <cx:pt idx="30855">0</cx:pt>
          <cx:pt idx="30856">1</cx:pt>
          <cx:pt idx="30857">0</cx:pt>
          <cx:pt idx="30858">1</cx:pt>
          <cx:pt idx="30859">0</cx:pt>
          <cx:pt idx="30860">0</cx:pt>
          <cx:pt idx="30861">0</cx:pt>
          <cx:pt idx="30862">0</cx:pt>
          <cx:pt idx="30863">0</cx:pt>
          <cx:pt idx="30864">0</cx:pt>
          <cx:pt idx="30865">1</cx:pt>
          <cx:pt idx="30866">0</cx:pt>
          <cx:pt idx="30867">0</cx:pt>
          <cx:pt idx="30868">0</cx:pt>
          <cx:pt idx="30869">0</cx:pt>
          <cx:pt idx="30870">1</cx:pt>
          <cx:pt idx="30871">1</cx:pt>
          <cx:pt idx="30872">0</cx:pt>
          <cx:pt idx="30873">0</cx:pt>
          <cx:pt idx="30874">0</cx:pt>
          <cx:pt idx="30875">0</cx:pt>
          <cx:pt idx="30876">0</cx:pt>
          <cx:pt idx="30877">1</cx:pt>
          <cx:pt idx="30878">1</cx:pt>
          <cx:pt idx="30879">0</cx:pt>
          <cx:pt idx="30880">1</cx:pt>
          <cx:pt idx="30881">1</cx:pt>
          <cx:pt idx="30882">1</cx:pt>
          <cx:pt idx="30883">0</cx:pt>
          <cx:pt idx="30884">0</cx:pt>
          <cx:pt idx="30885">0</cx:pt>
          <cx:pt idx="30886">0</cx:pt>
          <cx:pt idx="30887">1</cx:pt>
          <cx:pt idx="30888">0</cx:pt>
          <cx:pt idx="30889">0</cx:pt>
          <cx:pt idx="30890">1</cx:pt>
          <cx:pt idx="30891">0</cx:pt>
          <cx:pt idx="30892">1</cx:pt>
          <cx:pt idx="30893">0</cx:pt>
          <cx:pt idx="30894">0</cx:pt>
          <cx:pt idx="30895">1</cx:pt>
          <cx:pt idx="30896">1</cx:pt>
          <cx:pt idx="30897">1</cx:pt>
          <cx:pt idx="30898">0</cx:pt>
          <cx:pt idx="30899">1</cx:pt>
          <cx:pt idx="30900">0</cx:pt>
          <cx:pt idx="30901">1</cx:pt>
          <cx:pt idx="30902">0</cx:pt>
          <cx:pt idx="30903">1</cx:pt>
          <cx:pt idx="30904">0</cx:pt>
          <cx:pt idx="30905">1</cx:pt>
          <cx:pt idx="30906">1</cx:pt>
          <cx:pt idx="30907">1</cx:pt>
          <cx:pt idx="30908">1</cx:pt>
          <cx:pt idx="30909">0</cx:pt>
          <cx:pt idx="30910">1</cx:pt>
          <cx:pt idx="30911">0</cx:pt>
          <cx:pt idx="30912">0</cx:pt>
          <cx:pt idx="30913">0</cx:pt>
          <cx:pt idx="30914">1</cx:pt>
          <cx:pt idx="30915">0</cx:pt>
          <cx:pt idx="30916">1</cx:pt>
          <cx:pt idx="30917">1</cx:pt>
          <cx:pt idx="30918">1</cx:pt>
          <cx:pt idx="30919">0</cx:pt>
          <cx:pt idx="30920">0</cx:pt>
          <cx:pt idx="30921">0</cx:pt>
          <cx:pt idx="30922">0</cx:pt>
          <cx:pt idx="30923">0</cx:pt>
          <cx:pt idx="30924">1</cx:pt>
          <cx:pt idx="30925">1</cx:pt>
          <cx:pt idx="30926">1</cx:pt>
          <cx:pt idx="30927">0</cx:pt>
          <cx:pt idx="30928">0</cx:pt>
          <cx:pt idx="30929">0</cx:pt>
          <cx:pt idx="30930">0</cx:pt>
          <cx:pt idx="30931">0</cx:pt>
          <cx:pt idx="30932">1</cx:pt>
          <cx:pt idx="30933">1</cx:pt>
          <cx:pt idx="30934">1</cx:pt>
          <cx:pt idx="30935">0</cx:pt>
          <cx:pt idx="30936">0</cx:pt>
          <cx:pt idx="30937">0</cx:pt>
          <cx:pt idx="30938">1</cx:pt>
          <cx:pt idx="30939">1</cx:pt>
          <cx:pt idx="30940">1</cx:pt>
          <cx:pt idx="30941">0</cx:pt>
          <cx:pt idx="30942">0</cx:pt>
          <cx:pt idx="30943">0</cx:pt>
          <cx:pt idx="30944">0</cx:pt>
          <cx:pt idx="30945">1</cx:pt>
          <cx:pt idx="30946">0</cx:pt>
          <cx:pt idx="30947">0</cx:pt>
          <cx:pt idx="30948">0</cx:pt>
          <cx:pt idx="30949">0</cx:pt>
          <cx:pt idx="30950">1</cx:pt>
          <cx:pt idx="30951">1</cx:pt>
          <cx:pt idx="30952">0</cx:pt>
          <cx:pt idx="30953">0</cx:pt>
          <cx:pt idx="30954">1</cx:pt>
          <cx:pt idx="30955">1</cx:pt>
          <cx:pt idx="30956">0</cx:pt>
          <cx:pt idx="30957">1</cx:pt>
          <cx:pt idx="30958">0</cx:pt>
          <cx:pt idx="30959">0</cx:pt>
          <cx:pt idx="30960">0</cx:pt>
          <cx:pt idx="30961">0</cx:pt>
          <cx:pt idx="30962">0</cx:pt>
          <cx:pt idx="30963">1</cx:pt>
          <cx:pt idx="30964">1</cx:pt>
          <cx:pt idx="30965">0</cx:pt>
          <cx:pt idx="30966">1</cx:pt>
          <cx:pt idx="30967">1</cx:pt>
          <cx:pt idx="30968">0</cx:pt>
          <cx:pt idx="30969">0</cx:pt>
          <cx:pt idx="30970">0</cx:pt>
          <cx:pt idx="30971">0</cx:pt>
          <cx:pt idx="30972">0</cx:pt>
          <cx:pt idx="30973">1</cx:pt>
          <cx:pt idx="30974">1</cx:pt>
          <cx:pt idx="30975">0</cx:pt>
          <cx:pt idx="30976">0</cx:pt>
          <cx:pt idx="30977">0</cx:pt>
          <cx:pt idx="30978">0</cx:pt>
          <cx:pt idx="30979">1</cx:pt>
          <cx:pt idx="30980">1</cx:pt>
          <cx:pt idx="30981">0</cx:pt>
          <cx:pt idx="30982">0</cx:pt>
          <cx:pt idx="30983">0</cx:pt>
          <cx:pt idx="30984">1</cx:pt>
          <cx:pt idx="30985">0</cx:pt>
          <cx:pt idx="30986">0</cx:pt>
          <cx:pt idx="30987">1</cx:pt>
          <cx:pt idx="30988">1</cx:pt>
          <cx:pt idx="30989">0</cx:pt>
          <cx:pt idx="30990">1</cx:pt>
          <cx:pt idx="30991">0</cx:pt>
          <cx:pt idx="30992">0</cx:pt>
          <cx:pt idx="30993">1</cx:pt>
          <cx:pt idx="30994">1</cx:pt>
          <cx:pt idx="30995">0</cx:pt>
          <cx:pt idx="30996">0</cx:pt>
          <cx:pt idx="30997">1</cx:pt>
          <cx:pt idx="30998">0</cx:pt>
          <cx:pt idx="30999">0</cx:pt>
          <cx:pt idx="31000">0</cx:pt>
          <cx:pt idx="31001">0</cx:pt>
          <cx:pt idx="31002">0</cx:pt>
          <cx:pt idx="31003">1</cx:pt>
          <cx:pt idx="31004">0</cx:pt>
          <cx:pt idx="31005">0</cx:pt>
          <cx:pt idx="31006">0</cx:pt>
          <cx:pt idx="31007">0</cx:pt>
          <cx:pt idx="31008">0</cx:pt>
          <cx:pt idx="31009">0</cx:pt>
          <cx:pt idx="31010">0</cx:pt>
          <cx:pt idx="31011">0</cx:pt>
          <cx:pt idx="31012">0</cx:pt>
          <cx:pt idx="31013">0</cx:pt>
          <cx:pt idx="31014">1</cx:pt>
          <cx:pt idx="31015">0</cx:pt>
          <cx:pt idx="31016">0</cx:pt>
          <cx:pt idx="31017">1</cx:pt>
          <cx:pt idx="31018">1</cx:pt>
          <cx:pt idx="31019">0</cx:pt>
          <cx:pt idx="31020">1</cx:pt>
          <cx:pt idx="31021">1</cx:pt>
          <cx:pt idx="31022">1</cx:pt>
          <cx:pt idx="31023">0</cx:pt>
          <cx:pt idx="31024">1</cx:pt>
          <cx:pt idx="31025">1</cx:pt>
          <cx:pt idx="31026">0</cx:pt>
          <cx:pt idx="31027">1</cx:pt>
          <cx:pt idx="31028">0</cx:pt>
          <cx:pt idx="31029">0</cx:pt>
          <cx:pt idx="31030">0</cx:pt>
          <cx:pt idx="31031">1</cx:pt>
          <cx:pt idx="31032">1</cx:pt>
          <cx:pt idx="31033">0</cx:pt>
          <cx:pt idx="31034">1</cx:pt>
          <cx:pt idx="31035">0</cx:pt>
          <cx:pt idx="31036">0</cx:pt>
          <cx:pt idx="31037">0</cx:pt>
          <cx:pt idx="31038">1</cx:pt>
          <cx:pt idx="31039">1</cx:pt>
          <cx:pt idx="31040">0</cx:pt>
          <cx:pt idx="31041">1</cx:pt>
          <cx:pt idx="31042">1</cx:pt>
          <cx:pt idx="31043">1</cx:pt>
          <cx:pt idx="31044">0</cx:pt>
          <cx:pt idx="31045">0</cx:pt>
          <cx:pt idx="31046">0</cx:pt>
          <cx:pt idx="31047">0</cx:pt>
          <cx:pt idx="31048">0</cx:pt>
          <cx:pt idx="31049">1</cx:pt>
          <cx:pt idx="31050">0</cx:pt>
          <cx:pt idx="31051">0</cx:pt>
          <cx:pt idx="31052">0</cx:pt>
          <cx:pt idx="31053">0</cx:pt>
          <cx:pt idx="31054">0</cx:pt>
          <cx:pt idx="31055">0</cx:pt>
          <cx:pt idx="31056">1</cx:pt>
          <cx:pt idx="31057">1</cx:pt>
          <cx:pt idx="31058">1</cx:pt>
          <cx:pt idx="31059">1</cx:pt>
          <cx:pt idx="31060">0</cx:pt>
          <cx:pt idx="31061">0</cx:pt>
          <cx:pt idx="31062">1</cx:pt>
          <cx:pt idx="31063">1</cx:pt>
          <cx:pt idx="31064">0</cx:pt>
          <cx:pt idx="31065">1</cx:pt>
          <cx:pt idx="31066">1</cx:pt>
          <cx:pt idx="31067">1</cx:pt>
          <cx:pt idx="31068">0</cx:pt>
          <cx:pt idx="31069">1</cx:pt>
          <cx:pt idx="31070">0</cx:pt>
          <cx:pt idx="31071">1</cx:pt>
          <cx:pt idx="31072">0</cx:pt>
          <cx:pt idx="31073">0</cx:pt>
          <cx:pt idx="31074">1</cx:pt>
          <cx:pt idx="31075">1</cx:pt>
          <cx:pt idx="31076">0</cx:pt>
          <cx:pt idx="31077">0</cx:pt>
          <cx:pt idx="31078">1</cx:pt>
          <cx:pt idx="31079">0</cx:pt>
          <cx:pt idx="31080">0</cx:pt>
          <cx:pt idx="31081">1</cx:pt>
          <cx:pt idx="31082">0</cx:pt>
          <cx:pt idx="31083">1</cx:pt>
          <cx:pt idx="31084">0</cx:pt>
          <cx:pt idx="31085">1</cx:pt>
          <cx:pt idx="31086">1</cx:pt>
          <cx:pt idx="31087">1</cx:pt>
          <cx:pt idx="31088">0</cx:pt>
          <cx:pt idx="31089">0</cx:pt>
          <cx:pt idx="31090">1</cx:pt>
          <cx:pt idx="31091">0</cx:pt>
          <cx:pt idx="31092">0</cx:pt>
          <cx:pt idx="31093">0</cx:pt>
          <cx:pt idx="31094">1</cx:pt>
          <cx:pt idx="31095">0</cx:pt>
          <cx:pt idx="31096">0</cx:pt>
          <cx:pt idx="31097">0</cx:pt>
          <cx:pt idx="31098">0</cx:pt>
          <cx:pt idx="31099">1</cx:pt>
          <cx:pt idx="31100">0</cx:pt>
          <cx:pt idx="31101">0</cx:pt>
          <cx:pt idx="31102">1</cx:pt>
          <cx:pt idx="31103">1</cx:pt>
          <cx:pt idx="31104">0</cx:pt>
          <cx:pt idx="31105">0</cx:pt>
          <cx:pt idx="31106">1</cx:pt>
          <cx:pt idx="31107">0</cx:pt>
          <cx:pt idx="31108">1</cx:pt>
          <cx:pt idx="31109">1</cx:pt>
          <cx:pt idx="31110">1</cx:pt>
          <cx:pt idx="31111">1</cx:pt>
          <cx:pt idx="31112">0</cx:pt>
          <cx:pt idx="31113">0</cx:pt>
          <cx:pt idx="31114">0</cx:pt>
          <cx:pt idx="31115">0</cx:pt>
          <cx:pt idx="31116">1</cx:pt>
          <cx:pt idx="31117">1</cx:pt>
          <cx:pt idx="31118">1</cx:pt>
          <cx:pt idx="31119">0</cx:pt>
          <cx:pt idx="31120">0</cx:pt>
          <cx:pt idx="31121">1</cx:pt>
          <cx:pt idx="31122">1</cx:pt>
          <cx:pt idx="31123">1</cx:pt>
          <cx:pt idx="31124">1</cx:pt>
          <cx:pt idx="31125">1</cx:pt>
          <cx:pt idx="31126">1</cx:pt>
          <cx:pt idx="31127">1</cx:pt>
          <cx:pt idx="31128">1</cx:pt>
          <cx:pt idx="31129">0</cx:pt>
          <cx:pt idx="31130">1</cx:pt>
          <cx:pt idx="31131">0</cx:pt>
          <cx:pt idx="31132">1</cx:pt>
          <cx:pt idx="31133">0</cx:pt>
          <cx:pt idx="31134">0</cx:pt>
          <cx:pt idx="31135">0</cx:pt>
          <cx:pt idx="31136">1</cx:pt>
          <cx:pt idx="31137">0</cx:pt>
          <cx:pt idx="31138">1</cx:pt>
          <cx:pt idx="31139">1</cx:pt>
          <cx:pt idx="31140">0</cx:pt>
          <cx:pt idx="31141">1</cx:pt>
          <cx:pt idx="31142">0</cx:pt>
          <cx:pt idx="31143">1</cx:pt>
          <cx:pt idx="31144">0</cx:pt>
          <cx:pt idx="31145">0</cx:pt>
          <cx:pt idx="31146">1</cx:pt>
          <cx:pt idx="31147">0</cx:pt>
          <cx:pt idx="31148">0</cx:pt>
          <cx:pt idx="31149">1</cx:pt>
          <cx:pt idx="31150">0</cx:pt>
          <cx:pt idx="31151">0</cx:pt>
          <cx:pt idx="31152">0</cx:pt>
          <cx:pt idx="31153">0</cx:pt>
          <cx:pt idx="31154">0</cx:pt>
          <cx:pt idx="31155">0</cx:pt>
          <cx:pt idx="31156">1</cx:pt>
          <cx:pt idx="31157">0</cx:pt>
          <cx:pt idx="31158">1</cx:pt>
          <cx:pt idx="31159">1</cx:pt>
          <cx:pt idx="31160">1</cx:pt>
          <cx:pt idx="31161">1</cx:pt>
          <cx:pt idx="31162">0</cx:pt>
          <cx:pt idx="31163">1</cx:pt>
          <cx:pt idx="31164">0</cx:pt>
          <cx:pt idx="31165">0</cx:pt>
          <cx:pt idx="31166">1</cx:pt>
          <cx:pt idx="31167">0</cx:pt>
          <cx:pt idx="31168">0</cx:pt>
          <cx:pt idx="31169">1</cx:pt>
          <cx:pt idx="31170">0</cx:pt>
          <cx:pt idx="31171">1</cx:pt>
          <cx:pt idx="31172">0</cx:pt>
          <cx:pt idx="31173">1</cx:pt>
          <cx:pt idx="31174">0</cx:pt>
          <cx:pt idx="31175">0</cx:pt>
          <cx:pt idx="31176">0</cx:pt>
          <cx:pt idx="31177">1</cx:pt>
          <cx:pt idx="31178">1</cx:pt>
          <cx:pt idx="31179">1</cx:pt>
          <cx:pt idx="31180">1</cx:pt>
          <cx:pt idx="31181">1</cx:pt>
          <cx:pt idx="31182">1</cx:pt>
          <cx:pt idx="31183">1</cx:pt>
          <cx:pt idx="31184">0</cx:pt>
          <cx:pt idx="31185">0</cx:pt>
          <cx:pt idx="31186">0</cx:pt>
          <cx:pt idx="31187">0</cx:pt>
          <cx:pt idx="31188">1</cx:pt>
          <cx:pt idx="31189">1</cx:pt>
          <cx:pt idx="31190">1</cx:pt>
          <cx:pt idx="31191">1</cx:pt>
          <cx:pt idx="31192">0</cx:pt>
          <cx:pt idx="31193">1</cx:pt>
          <cx:pt idx="31194">0</cx:pt>
          <cx:pt idx="31195">0</cx:pt>
          <cx:pt idx="31196">0</cx:pt>
          <cx:pt idx="31197">0</cx:pt>
          <cx:pt idx="31198">0</cx:pt>
          <cx:pt idx="31199">0</cx:pt>
          <cx:pt idx="31200">1</cx:pt>
          <cx:pt idx="31201">0</cx:pt>
          <cx:pt idx="31202">1</cx:pt>
          <cx:pt idx="31203">0</cx:pt>
          <cx:pt idx="31204">1</cx:pt>
          <cx:pt idx="31205">0</cx:pt>
          <cx:pt idx="31206">0</cx:pt>
          <cx:pt idx="31207">1</cx:pt>
          <cx:pt idx="31208">0</cx:pt>
          <cx:pt idx="31209">0</cx:pt>
          <cx:pt idx="31210">1</cx:pt>
          <cx:pt idx="31211">0</cx:pt>
          <cx:pt idx="31212">1</cx:pt>
          <cx:pt idx="31213">0</cx:pt>
          <cx:pt idx="31214">0</cx:pt>
          <cx:pt idx="31215">1</cx:pt>
          <cx:pt idx="31216">0</cx:pt>
          <cx:pt idx="31217">1</cx:pt>
          <cx:pt idx="31218">0</cx:pt>
          <cx:pt idx="31219">1</cx:pt>
          <cx:pt idx="31220">0</cx:pt>
          <cx:pt idx="31221">0</cx:pt>
          <cx:pt idx="31222">0</cx:pt>
          <cx:pt idx="31223">0</cx:pt>
          <cx:pt idx="31224">0</cx:pt>
          <cx:pt idx="31225">1</cx:pt>
          <cx:pt idx="31226">0</cx:pt>
          <cx:pt idx="31227">1</cx:pt>
          <cx:pt idx="31228">1</cx:pt>
          <cx:pt idx="31229">1</cx:pt>
          <cx:pt idx="31230">0</cx:pt>
          <cx:pt idx="31231">0</cx:pt>
          <cx:pt idx="31232">0</cx:pt>
          <cx:pt idx="31233">0</cx:pt>
          <cx:pt idx="31234">0</cx:pt>
          <cx:pt idx="31235">1</cx:pt>
          <cx:pt idx="31236">0</cx:pt>
          <cx:pt idx="31237">0</cx:pt>
          <cx:pt idx="31238">0</cx:pt>
          <cx:pt idx="31239">1</cx:pt>
          <cx:pt idx="31240">0</cx:pt>
          <cx:pt idx="31241">1</cx:pt>
          <cx:pt idx="31242">0</cx:pt>
          <cx:pt idx="31243">1</cx:pt>
          <cx:pt idx="31244">0</cx:pt>
          <cx:pt idx="31245">1</cx:pt>
          <cx:pt idx="31246">1</cx:pt>
          <cx:pt idx="31247">1</cx:pt>
          <cx:pt idx="31248">0</cx:pt>
          <cx:pt idx="31249">1</cx:pt>
          <cx:pt idx="31250">1</cx:pt>
          <cx:pt idx="31251">0</cx:pt>
          <cx:pt idx="31252">0</cx:pt>
          <cx:pt idx="31253">1</cx:pt>
          <cx:pt idx="31254">0</cx:pt>
          <cx:pt idx="31255">1</cx:pt>
          <cx:pt idx="31256">1</cx:pt>
          <cx:pt idx="31257">1</cx:pt>
          <cx:pt idx="31258">0</cx:pt>
          <cx:pt idx="31259">0</cx:pt>
          <cx:pt idx="31260">1</cx:pt>
          <cx:pt idx="31261">1</cx:pt>
          <cx:pt idx="31262">0</cx:pt>
          <cx:pt idx="31263">1</cx:pt>
          <cx:pt idx="31264">0</cx:pt>
          <cx:pt idx="31265">1</cx:pt>
          <cx:pt idx="31266">1</cx:pt>
          <cx:pt idx="31267">0</cx:pt>
          <cx:pt idx="31268">0</cx:pt>
          <cx:pt idx="31269">0</cx:pt>
          <cx:pt idx="31270">1</cx:pt>
          <cx:pt idx="31271">1</cx:pt>
          <cx:pt idx="31272">0</cx:pt>
          <cx:pt idx="31273">1</cx:pt>
          <cx:pt idx="31274">0</cx:pt>
          <cx:pt idx="31275">0</cx:pt>
          <cx:pt idx="31276">0</cx:pt>
          <cx:pt idx="31277">1</cx:pt>
          <cx:pt idx="31278">0</cx:pt>
          <cx:pt idx="31279">1</cx:pt>
          <cx:pt idx="31280">0</cx:pt>
          <cx:pt idx="31281">1</cx:pt>
          <cx:pt idx="31282">0</cx:pt>
          <cx:pt idx="31283">1</cx:pt>
          <cx:pt idx="31284">1</cx:pt>
          <cx:pt idx="31285">0</cx:pt>
          <cx:pt idx="31286">0</cx:pt>
          <cx:pt idx="31287">1</cx:pt>
          <cx:pt idx="31288">1</cx:pt>
          <cx:pt idx="31289">0</cx:pt>
          <cx:pt idx="31290">1</cx:pt>
          <cx:pt idx="31291">1</cx:pt>
          <cx:pt idx="31292">1</cx:pt>
          <cx:pt idx="31293">1</cx:pt>
          <cx:pt idx="31294">0</cx:pt>
          <cx:pt idx="31295">0</cx:pt>
          <cx:pt idx="31296">0</cx:pt>
          <cx:pt idx="31297">1</cx:pt>
          <cx:pt idx="31298">0</cx:pt>
          <cx:pt idx="31299">0</cx:pt>
          <cx:pt idx="31300">1</cx:pt>
          <cx:pt idx="31301">0</cx:pt>
          <cx:pt idx="31302">0</cx:pt>
          <cx:pt idx="31303">1</cx:pt>
          <cx:pt idx="31304">0</cx:pt>
          <cx:pt idx="31305">1</cx:pt>
          <cx:pt idx="31306">0</cx:pt>
          <cx:pt idx="31307">1</cx:pt>
          <cx:pt idx="31308">0</cx:pt>
          <cx:pt idx="31309">1</cx:pt>
          <cx:pt idx="31310">1</cx:pt>
          <cx:pt idx="31311">0</cx:pt>
          <cx:pt idx="31312">1</cx:pt>
          <cx:pt idx="31313">1</cx:pt>
          <cx:pt idx="31314">0</cx:pt>
          <cx:pt idx="31315">1</cx:pt>
          <cx:pt idx="31316">1</cx:pt>
          <cx:pt idx="31317">1</cx:pt>
          <cx:pt idx="31318">1</cx:pt>
          <cx:pt idx="31319">1</cx:pt>
          <cx:pt idx="31320">1</cx:pt>
          <cx:pt idx="31321">0</cx:pt>
          <cx:pt idx="31322">0</cx:pt>
          <cx:pt idx="31323">0</cx:pt>
          <cx:pt idx="31324">1</cx:pt>
          <cx:pt idx="31325">1</cx:pt>
          <cx:pt idx="31326">0</cx:pt>
          <cx:pt idx="31327">0</cx:pt>
          <cx:pt idx="31328">1</cx:pt>
          <cx:pt idx="31329">0</cx:pt>
          <cx:pt idx="31330">0</cx:pt>
          <cx:pt idx="31331">1</cx:pt>
          <cx:pt idx="31332">1</cx:pt>
          <cx:pt idx="31333">1</cx:pt>
          <cx:pt idx="31334">0</cx:pt>
          <cx:pt idx="31335">0</cx:pt>
          <cx:pt idx="31336">0</cx:pt>
          <cx:pt idx="31337">0</cx:pt>
          <cx:pt idx="31338">1</cx:pt>
          <cx:pt idx="31339">0</cx:pt>
          <cx:pt idx="31340">0</cx:pt>
          <cx:pt idx="31341">1</cx:pt>
          <cx:pt idx="31342">1</cx:pt>
          <cx:pt idx="31343">0</cx:pt>
          <cx:pt idx="31344">0</cx:pt>
          <cx:pt idx="31345">0</cx:pt>
          <cx:pt idx="31346">0</cx:pt>
          <cx:pt idx="31347">0</cx:pt>
          <cx:pt idx="31348">0</cx:pt>
          <cx:pt idx="31349">1</cx:pt>
          <cx:pt idx="31350">0</cx:pt>
          <cx:pt idx="31351">1</cx:pt>
          <cx:pt idx="31352">0</cx:pt>
          <cx:pt idx="31353">0</cx:pt>
          <cx:pt idx="31354">0</cx:pt>
          <cx:pt idx="31355">1</cx:pt>
          <cx:pt idx="31356">1</cx:pt>
          <cx:pt idx="31357">0</cx:pt>
          <cx:pt idx="31358">0</cx:pt>
          <cx:pt idx="31359">0</cx:pt>
          <cx:pt idx="31360">1</cx:pt>
          <cx:pt idx="31361">0</cx:pt>
          <cx:pt idx="31362">1</cx:pt>
          <cx:pt idx="31363">1</cx:pt>
          <cx:pt idx="31364">0</cx:pt>
          <cx:pt idx="31365">1</cx:pt>
          <cx:pt idx="31366">0</cx:pt>
          <cx:pt idx="31367">0</cx:pt>
          <cx:pt idx="31368">1</cx:pt>
          <cx:pt idx="31369">1</cx:pt>
          <cx:pt idx="31370">0</cx:pt>
          <cx:pt idx="31371">0</cx:pt>
          <cx:pt idx="31372">1</cx:pt>
          <cx:pt idx="31373">0</cx:pt>
          <cx:pt idx="31374">1</cx:pt>
          <cx:pt idx="31375">0</cx:pt>
          <cx:pt idx="31376">0</cx:pt>
          <cx:pt idx="31377">0</cx:pt>
          <cx:pt idx="31378">0</cx:pt>
          <cx:pt idx="31379">0</cx:pt>
          <cx:pt idx="31380">1</cx:pt>
          <cx:pt idx="31381">1</cx:pt>
          <cx:pt idx="31382">0</cx:pt>
          <cx:pt idx="31383">1</cx:pt>
          <cx:pt idx="31384">1</cx:pt>
          <cx:pt idx="31385">0</cx:pt>
          <cx:pt idx="31386">1</cx:pt>
          <cx:pt idx="31387">1</cx:pt>
          <cx:pt idx="31388">1</cx:pt>
          <cx:pt idx="31389">1</cx:pt>
          <cx:pt idx="31390">1</cx:pt>
          <cx:pt idx="31391">0</cx:pt>
          <cx:pt idx="31392">1</cx:pt>
          <cx:pt idx="31393">1</cx:pt>
          <cx:pt idx="31394">1</cx:pt>
          <cx:pt idx="31395">0</cx:pt>
          <cx:pt idx="31396">1</cx:pt>
          <cx:pt idx="31397">0</cx:pt>
          <cx:pt idx="31398">1</cx:pt>
          <cx:pt idx="31399">1</cx:pt>
          <cx:pt idx="31400">0</cx:pt>
          <cx:pt idx="31401">1</cx:pt>
          <cx:pt idx="31402">0</cx:pt>
          <cx:pt idx="31403">1</cx:pt>
          <cx:pt idx="31404">0</cx:pt>
          <cx:pt idx="31405">0</cx:pt>
          <cx:pt idx="31406">0</cx:pt>
          <cx:pt idx="31407">1</cx:pt>
          <cx:pt idx="31408">0</cx:pt>
          <cx:pt idx="31409">1</cx:pt>
          <cx:pt idx="31410">1</cx:pt>
          <cx:pt idx="31411">0</cx:pt>
          <cx:pt idx="31412">0</cx:pt>
          <cx:pt idx="31413">0</cx:pt>
          <cx:pt idx="31414">1</cx:pt>
          <cx:pt idx="31415">1</cx:pt>
          <cx:pt idx="31416">0</cx:pt>
          <cx:pt idx="31417">0</cx:pt>
          <cx:pt idx="31418">0</cx:pt>
          <cx:pt idx="31419">1</cx:pt>
          <cx:pt idx="31420">0</cx:pt>
          <cx:pt idx="31421">0</cx:pt>
          <cx:pt idx="31422">1</cx:pt>
          <cx:pt idx="31423">1</cx:pt>
          <cx:pt idx="31424">0</cx:pt>
          <cx:pt idx="31425">0</cx:pt>
          <cx:pt idx="31426">0</cx:pt>
          <cx:pt idx="31427">1</cx:pt>
          <cx:pt idx="31428">0</cx:pt>
          <cx:pt idx="31429">0</cx:pt>
          <cx:pt idx="31430">1</cx:pt>
          <cx:pt idx="31431">0</cx:pt>
          <cx:pt idx="31432">1</cx:pt>
          <cx:pt idx="31433">0</cx:pt>
          <cx:pt idx="31434">1</cx:pt>
          <cx:pt idx="31435">0</cx:pt>
          <cx:pt idx="31436">0</cx:pt>
          <cx:pt idx="31437">0</cx:pt>
          <cx:pt idx="31438">0</cx:pt>
          <cx:pt idx="31439">1</cx:pt>
          <cx:pt idx="31440">0</cx:pt>
          <cx:pt idx="31441">1</cx:pt>
          <cx:pt idx="31442">1</cx:pt>
          <cx:pt idx="31443">0</cx:pt>
          <cx:pt idx="31444">1</cx:pt>
          <cx:pt idx="31445">1</cx:pt>
          <cx:pt idx="31446">1</cx:pt>
          <cx:pt idx="31447">0</cx:pt>
          <cx:pt idx="31448">0</cx:pt>
          <cx:pt idx="31449">0</cx:pt>
          <cx:pt idx="31450">1</cx:pt>
          <cx:pt idx="31451">1</cx:pt>
          <cx:pt idx="31452">1</cx:pt>
          <cx:pt idx="31453">0</cx:pt>
          <cx:pt idx="31454">0</cx:pt>
          <cx:pt idx="31455">1</cx:pt>
          <cx:pt idx="31456">0</cx:pt>
          <cx:pt idx="31457">1</cx:pt>
          <cx:pt idx="31458">0</cx:pt>
          <cx:pt idx="31459">0</cx:pt>
          <cx:pt idx="31460">0</cx:pt>
          <cx:pt idx="31461">0</cx:pt>
          <cx:pt idx="31462">1</cx:pt>
          <cx:pt idx="31463">1</cx:pt>
          <cx:pt idx="31464">1</cx:pt>
          <cx:pt idx="31465">1</cx:pt>
          <cx:pt idx="31466">1</cx:pt>
          <cx:pt idx="31467">0</cx:pt>
          <cx:pt idx="31468">0</cx:pt>
          <cx:pt idx="31469">1</cx:pt>
          <cx:pt idx="31470">1</cx:pt>
          <cx:pt idx="31471">1</cx:pt>
          <cx:pt idx="31472">0</cx:pt>
          <cx:pt idx="31473">0</cx:pt>
          <cx:pt idx="31474">1</cx:pt>
          <cx:pt idx="31475">1</cx:pt>
          <cx:pt idx="31476">1</cx:pt>
          <cx:pt idx="31477">0</cx:pt>
          <cx:pt idx="31478">0</cx:pt>
          <cx:pt idx="31479">0</cx:pt>
          <cx:pt idx="31480">0</cx:pt>
          <cx:pt idx="31481">1</cx:pt>
          <cx:pt idx="31482">1</cx:pt>
          <cx:pt idx="31483">0</cx:pt>
          <cx:pt idx="31484">1</cx:pt>
          <cx:pt idx="31485">0</cx:pt>
          <cx:pt idx="31486">1</cx:pt>
          <cx:pt idx="31487">0</cx:pt>
          <cx:pt idx="31488">0</cx:pt>
          <cx:pt idx="31489">0</cx:pt>
          <cx:pt idx="31490">0</cx:pt>
          <cx:pt idx="31491">0</cx:pt>
          <cx:pt idx="31492">0</cx:pt>
          <cx:pt idx="31493">1</cx:pt>
          <cx:pt idx="31494">1</cx:pt>
          <cx:pt idx="31495">0</cx:pt>
          <cx:pt idx="31496">0</cx:pt>
          <cx:pt idx="31497">1</cx:pt>
          <cx:pt idx="31498">0</cx:pt>
          <cx:pt idx="31499">0</cx:pt>
          <cx:pt idx="31500">0</cx:pt>
          <cx:pt idx="31501">1</cx:pt>
          <cx:pt idx="31502">1</cx:pt>
          <cx:pt idx="31503">0</cx:pt>
          <cx:pt idx="31504">0</cx:pt>
          <cx:pt idx="31505">0</cx:pt>
          <cx:pt idx="31506">0</cx:pt>
          <cx:pt idx="31507">1</cx:pt>
          <cx:pt idx="31508">1</cx:pt>
          <cx:pt idx="31509">0</cx:pt>
          <cx:pt idx="31510">1</cx:pt>
          <cx:pt idx="31511">0</cx:pt>
          <cx:pt idx="31512">0</cx:pt>
          <cx:pt idx="31513">1</cx:pt>
          <cx:pt idx="31514">0</cx:pt>
          <cx:pt idx="31515">1</cx:pt>
          <cx:pt idx="31516">0</cx:pt>
          <cx:pt idx="31517">0</cx:pt>
          <cx:pt idx="31518">1</cx:pt>
          <cx:pt idx="31519">1</cx:pt>
          <cx:pt idx="31520">0</cx:pt>
          <cx:pt idx="31521">1</cx:pt>
          <cx:pt idx="31522">0</cx:pt>
          <cx:pt idx="31523">1</cx:pt>
          <cx:pt idx="31524">0</cx:pt>
          <cx:pt idx="31525">1</cx:pt>
          <cx:pt idx="31526">0</cx:pt>
          <cx:pt idx="31527">1</cx:pt>
          <cx:pt idx="31528">0</cx:pt>
          <cx:pt idx="31529">1</cx:pt>
          <cx:pt idx="31530">0</cx:pt>
          <cx:pt idx="31531">0</cx:pt>
          <cx:pt idx="31532">0</cx:pt>
          <cx:pt idx="31533">0</cx:pt>
          <cx:pt idx="31534">0</cx:pt>
          <cx:pt idx="31535">0</cx:pt>
          <cx:pt idx="31536">1</cx:pt>
          <cx:pt idx="31537">1</cx:pt>
          <cx:pt idx="31538">0</cx:pt>
          <cx:pt idx="31539">0</cx:pt>
          <cx:pt idx="31540">1</cx:pt>
          <cx:pt idx="31541">1</cx:pt>
          <cx:pt idx="31542">0</cx:pt>
          <cx:pt idx="31543">0</cx:pt>
          <cx:pt idx="31544">0</cx:pt>
          <cx:pt idx="31545">1</cx:pt>
          <cx:pt idx="31546">0</cx:pt>
          <cx:pt idx="31547">0</cx:pt>
          <cx:pt idx="31548">0</cx:pt>
          <cx:pt idx="31549">1</cx:pt>
          <cx:pt idx="31550">1</cx:pt>
          <cx:pt idx="31551">0</cx:pt>
          <cx:pt idx="31552">1</cx:pt>
          <cx:pt idx="31553">0</cx:pt>
          <cx:pt idx="31554">0</cx:pt>
          <cx:pt idx="31555">1</cx:pt>
          <cx:pt idx="31556">0</cx:pt>
          <cx:pt idx="31557">0</cx:pt>
          <cx:pt idx="31558">0</cx:pt>
          <cx:pt idx="31559">0</cx:pt>
          <cx:pt idx="31560">0</cx:pt>
          <cx:pt idx="31561">1</cx:pt>
          <cx:pt idx="31562">1</cx:pt>
          <cx:pt idx="31563">0</cx:pt>
          <cx:pt idx="31564">1</cx:pt>
          <cx:pt idx="31565">0</cx:pt>
          <cx:pt idx="31566">0</cx:pt>
          <cx:pt idx="31567">1</cx:pt>
          <cx:pt idx="31568">0</cx:pt>
          <cx:pt idx="31569">0</cx:pt>
          <cx:pt idx="31570">1</cx:pt>
          <cx:pt idx="31571">0</cx:pt>
          <cx:pt idx="31572">1</cx:pt>
          <cx:pt idx="31573">0</cx:pt>
          <cx:pt idx="31574">0</cx:pt>
          <cx:pt idx="31575">1</cx:pt>
          <cx:pt idx="31576">0</cx:pt>
          <cx:pt idx="31577">1</cx:pt>
          <cx:pt idx="31578">0</cx:pt>
          <cx:pt idx="31579">1</cx:pt>
          <cx:pt idx="31580">0</cx:pt>
          <cx:pt idx="31581">0</cx:pt>
          <cx:pt idx="31582">1</cx:pt>
          <cx:pt idx="31583">1</cx:pt>
          <cx:pt idx="31584">0</cx:pt>
          <cx:pt idx="31585">0</cx:pt>
          <cx:pt idx="31586">0</cx:pt>
          <cx:pt idx="31587">1</cx:pt>
          <cx:pt idx="31588">0</cx:pt>
          <cx:pt idx="31589">1</cx:pt>
          <cx:pt idx="31590">1</cx:pt>
          <cx:pt idx="31591">1</cx:pt>
          <cx:pt idx="31592">0</cx:pt>
          <cx:pt idx="31593">1</cx:pt>
          <cx:pt idx="31594">1</cx:pt>
          <cx:pt idx="31595">1</cx:pt>
          <cx:pt idx="31596">1</cx:pt>
          <cx:pt idx="31597">1</cx:pt>
          <cx:pt idx="31598">1</cx:pt>
          <cx:pt idx="31599">0</cx:pt>
          <cx:pt idx="31600">1</cx:pt>
          <cx:pt idx="31601">1</cx:pt>
          <cx:pt idx="31602">1</cx:pt>
          <cx:pt idx="31603">0</cx:pt>
          <cx:pt idx="31604">0</cx:pt>
          <cx:pt idx="31605">0</cx:pt>
          <cx:pt idx="31606">0</cx:pt>
          <cx:pt idx="31607">0</cx:pt>
          <cx:pt idx="31608">0</cx:pt>
          <cx:pt idx="31609">0</cx:pt>
          <cx:pt idx="31610">0</cx:pt>
          <cx:pt idx="31611">1</cx:pt>
          <cx:pt idx="31612">1</cx:pt>
          <cx:pt idx="31613">0</cx:pt>
          <cx:pt idx="31614">1</cx:pt>
          <cx:pt idx="31615">0</cx:pt>
          <cx:pt idx="31616">0</cx:pt>
          <cx:pt idx="31617">1</cx:pt>
          <cx:pt idx="31618">0</cx:pt>
          <cx:pt idx="31619">0</cx:pt>
          <cx:pt idx="31620">1</cx:pt>
          <cx:pt idx="31621">1</cx:pt>
          <cx:pt idx="31622">1</cx:pt>
          <cx:pt idx="31623">1</cx:pt>
          <cx:pt idx="31624">0</cx:pt>
          <cx:pt idx="31625">1</cx:pt>
          <cx:pt idx="31626">0</cx:pt>
          <cx:pt idx="31627">1</cx:pt>
          <cx:pt idx="31628">0</cx:pt>
          <cx:pt idx="31629">0</cx:pt>
          <cx:pt idx="31630">1</cx:pt>
          <cx:pt idx="31631">1</cx:pt>
          <cx:pt idx="31632">0</cx:pt>
          <cx:pt idx="31633">0</cx:pt>
          <cx:pt idx="31634">0</cx:pt>
          <cx:pt idx="31635">0</cx:pt>
          <cx:pt idx="31636">0</cx:pt>
          <cx:pt idx="31637">1</cx:pt>
          <cx:pt idx="31638">0</cx:pt>
          <cx:pt idx="31639">1</cx:pt>
          <cx:pt idx="31640">0</cx:pt>
          <cx:pt idx="31641">0</cx:pt>
          <cx:pt idx="31642">0</cx:pt>
          <cx:pt idx="31643">0</cx:pt>
          <cx:pt idx="31644">1</cx:pt>
          <cx:pt idx="31645">0</cx:pt>
          <cx:pt idx="31646">0</cx:pt>
          <cx:pt idx="31647">1</cx:pt>
          <cx:pt idx="31648">1</cx:pt>
          <cx:pt idx="31649">0</cx:pt>
          <cx:pt idx="31650">1</cx:pt>
          <cx:pt idx="31651">0</cx:pt>
          <cx:pt idx="31652">0</cx:pt>
          <cx:pt idx="31653">1</cx:pt>
          <cx:pt idx="31654">0</cx:pt>
          <cx:pt idx="31655">1</cx:pt>
          <cx:pt idx="31656">0</cx:pt>
          <cx:pt idx="31657">0</cx:pt>
          <cx:pt idx="31658">0</cx:pt>
          <cx:pt idx="31659">1</cx:pt>
          <cx:pt idx="31660">0</cx:pt>
          <cx:pt idx="31661">1</cx:pt>
          <cx:pt idx="31662">1</cx:pt>
          <cx:pt idx="31663">0</cx:pt>
          <cx:pt idx="31664">0</cx:pt>
          <cx:pt idx="31665">1</cx:pt>
          <cx:pt idx="31666">1</cx:pt>
          <cx:pt idx="31667">1</cx:pt>
          <cx:pt idx="31668">1</cx:pt>
          <cx:pt idx="31669">1</cx:pt>
          <cx:pt idx="31670">0</cx:pt>
          <cx:pt idx="31671">0</cx:pt>
          <cx:pt idx="31672">1</cx:pt>
          <cx:pt idx="31673">0</cx:pt>
          <cx:pt idx="31674">0</cx:pt>
          <cx:pt idx="31675">0</cx:pt>
          <cx:pt idx="31676">0</cx:pt>
          <cx:pt idx="31677">0</cx:pt>
          <cx:pt idx="31678">0</cx:pt>
          <cx:pt idx="31679">1</cx:pt>
          <cx:pt idx="31680">0</cx:pt>
          <cx:pt idx="31681">1</cx:pt>
          <cx:pt idx="31682">0</cx:pt>
          <cx:pt idx="31683">1</cx:pt>
          <cx:pt idx="31684">0</cx:pt>
          <cx:pt idx="31685">0</cx:pt>
          <cx:pt idx="31686">0</cx:pt>
          <cx:pt idx="31687">1</cx:pt>
          <cx:pt idx="31688">1</cx:pt>
          <cx:pt idx="31689">0</cx:pt>
          <cx:pt idx="31690">1</cx:pt>
          <cx:pt idx="31691">0</cx:pt>
          <cx:pt idx="31692">1</cx:pt>
          <cx:pt idx="31693">0</cx:pt>
          <cx:pt idx="31694">0</cx:pt>
          <cx:pt idx="31695">0</cx:pt>
          <cx:pt idx="31696">0</cx:pt>
          <cx:pt idx="31697">1</cx:pt>
          <cx:pt idx="31698">0</cx:pt>
          <cx:pt idx="31699">1</cx:pt>
          <cx:pt idx="31700">1</cx:pt>
          <cx:pt idx="31701">0</cx:pt>
          <cx:pt idx="31702">0</cx:pt>
          <cx:pt idx="31703">0</cx:pt>
          <cx:pt idx="31704">0</cx:pt>
          <cx:pt idx="31705">1</cx:pt>
          <cx:pt idx="31706">0</cx:pt>
          <cx:pt idx="31707">0</cx:pt>
          <cx:pt idx="31708">1</cx:pt>
          <cx:pt idx="31709">0</cx:pt>
          <cx:pt idx="31710">0</cx:pt>
          <cx:pt idx="31711">1</cx:pt>
          <cx:pt idx="31712">0</cx:pt>
          <cx:pt idx="31713">1</cx:pt>
          <cx:pt idx="31714">0</cx:pt>
          <cx:pt idx="31715">0</cx:pt>
          <cx:pt idx="31716">1</cx:pt>
          <cx:pt idx="31717">0</cx:pt>
          <cx:pt idx="31718">1</cx:pt>
          <cx:pt idx="31719">0</cx:pt>
          <cx:pt idx="31720">0</cx:pt>
          <cx:pt idx="31721">0</cx:pt>
          <cx:pt idx="31722">1</cx:pt>
          <cx:pt idx="31723">0</cx:pt>
          <cx:pt idx="31724">0</cx:pt>
          <cx:pt idx="31725">0</cx:pt>
          <cx:pt idx="31726">0</cx:pt>
          <cx:pt idx="31727">0</cx:pt>
          <cx:pt idx="31728">0</cx:pt>
          <cx:pt idx="31729">0</cx:pt>
          <cx:pt idx="31730">0</cx:pt>
          <cx:pt idx="31731">1</cx:pt>
          <cx:pt idx="31732">0</cx:pt>
          <cx:pt idx="31733">0</cx:pt>
          <cx:pt idx="31734">0</cx:pt>
          <cx:pt idx="31735">0</cx:pt>
          <cx:pt idx="31736">1</cx:pt>
          <cx:pt idx="31737">0</cx:pt>
          <cx:pt idx="31738">0</cx:pt>
          <cx:pt idx="31739">1</cx:pt>
          <cx:pt idx="31740">0</cx:pt>
          <cx:pt idx="31741">0</cx:pt>
          <cx:pt idx="31742">1</cx:pt>
          <cx:pt idx="31743">0</cx:pt>
          <cx:pt idx="31744">0</cx:pt>
          <cx:pt idx="31745">1</cx:pt>
          <cx:pt idx="31746">0</cx:pt>
          <cx:pt idx="31747">0</cx:pt>
          <cx:pt idx="31748">0</cx:pt>
          <cx:pt idx="31749">0</cx:pt>
          <cx:pt idx="31750">0</cx:pt>
          <cx:pt idx="31751">1</cx:pt>
          <cx:pt idx="31752">1</cx:pt>
          <cx:pt idx="31753">0</cx:pt>
          <cx:pt idx="31754">0</cx:pt>
          <cx:pt idx="31755">0</cx:pt>
          <cx:pt idx="31756">1</cx:pt>
          <cx:pt idx="31757">1</cx:pt>
          <cx:pt idx="31758">1</cx:pt>
          <cx:pt idx="31759">0</cx:pt>
          <cx:pt idx="31760">0</cx:pt>
          <cx:pt idx="31761">1</cx:pt>
          <cx:pt idx="31762">0</cx:pt>
          <cx:pt idx="31763">1</cx:pt>
          <cx:pt idx="31764">1</cx:pt>
          <cx:pt idx="31765">1</cx:pt>
          <cx:pt idx="31766">0</cx:pt>
          <cx:pt idx="31767">1</cx:pt>
          <cx:pt idx="31768">1</cx:pt>
          <cx:pt idx="31769">0</cx:pt>
          <cx:pt idx="31770">0</cx:pt>
          <cx:pt idx="31771">1</cx:pt>
          <cx:pt idx="31772">1</cx:pt>
          <cx:pt idx="31773">0</cx:pt>
          <cx:pt idx="31774">0</cx:pt>
          <cx:pt idx="31775">1</cx:pt>
          <cx:pt idx="31776">0</cx:pt>
          <cx:pt idx="31777">1</cx:pt>
          <cx:pt idx="31778">0</cx:pt>
          <cx:pt idx="31779">1</cx:pt>
          <cx:pt idx="31780">1</cx:pt>
          <cx:pt idx="31781">1</cx:pt>
          <cx:pt idx="31782">0</cx:pt>
          <cx:pt idx="31783">0</cx:pt>
          <cx:pt idx="31784">1</cx:pt>
          <cx:pt idx="31785">1</cx:pt>
          <cx:pt idx="31786">0</cx:pt>
          <cx:pt idx="31787">0</cx:pt>
          <cx:pt idx="31788">0</cx:pt>
          <cx:pt idx="31789">0</cx:pt>
          <cx:pt idx="31790">0</cx:pt>
          <cx:pt idx="31791">1</cx:pt>
          <cx:pt idx="31792">1</cx:pt>
          <cx:pt idx="31793">1</cx:pt>
          <cx:pt idx="31794">1</cx:pt>
          <cx:pt idx="31795">0</cx:pt>
          <cx:pt idx="31796">0</cx:pt>
          <cx:pt idx="31797">1</cx:pt>
          <cx:pt idx="31798">1</cx:pt>
          <cx:pt idx="31799">0</cx:pt>
          <cx:pt idx="31800">0</cx:pt>
          <cx:pt idx="31801">0</cx:pt>
          <cx:pt idx="31802">0</cx:pt>
          <cx:pt idx="31803">1</cx:pt>
          <cx:pt idx="31804">1</cx:pt>
          <cx:pt idx="31805">1</cx:pt>
          <cx:pt idx="31806">0</cx:pt>
          <cx:pt idx="31807">0</cx:pt>
          <cx:pt idx="31808">1</cx:pt>
          <cx:pt idx="31809">1</cx:pt>
          <cx:pt idx="31810">0</cx:pt>
          <cx:pt idx="31811">1</cx:pt>
          <cx:pt idx="31812">1</cx:pt>
          <cx:pt idx="31813">1</cx:pt>
          <cx:pt idx="31814">0</cx:pt>
          <cx:pt idx="31815">1</cx:pt>
          <cx:pt idx="31816">0</cx:pt>
          <cx:pt idx="31817">0</cx:pt>
          <cx:pt idx="31818">1</cx:pt>
          <cx:pt idx="31819">1</cx:pt>
          <cx:pt idx="31820">0</cx:pt>
          <cx:pt idx="31821">1</cx:pt>
          <cx:pt idx="31822">1</cx:pt>
          <cx:pt idx="31823">1</cx:pt>
          <cx:pt idx="31824">0</cx:pt>
          <cx:pt idx="31825">0</cx:pt>
          <cx:pt idx="31826">0</cx:pt>
          <cx:pt idx="31827">1</cx:pt>
          <cx:pt idx="31828">0</cx:pt>
          <cx:pt idx="31829">1</cx:pt>
          <cx:pt idx="31830">1</cx:pt>
          <cx:pt idx="31831">0</cx:pt>
          <cx:pt idx="31832">0</cx:pt>
          <cx:pt idx="31833">1</cx:pt>
          <cx:pt idx="31834">1</cx:pt>
          <cx:pt idx="31835">0</cx:pt>
          <cx:pt idx="31836">0</cx:pt>
          <cx:pt idx="31837">0</cx:pt>
          <cx:pt idx="31838">0</cx:pt>
          <cx:pt idx="31839">1</cx:pt>
          <cx:pt idx="31840">1</cx:pt>
          <cx:pt idx="31841">0</cx:pt>
          <cx:pt idx="31842">0</cx:pt>
          <cx:pt idx="31843">1</cx:pt>
          <cx:pt idx="31844">0</cx:pt>
          <cx:pt idx="31845">0</cx:pt>
          <cx:pt idx="31846">0</cx:pt>
          <cx:pt idx="31847">1</cx:pt>
          <cx:pt idx="31848">1</cx:pt>
          <cx:pt idx="31849">0</cx:pt>
          <cx:pt idx="31850">0</cx:pt>
          <cx:pt idx="31851">1</cx:pt>
          <cx:pt idx="31852">0</cx:pt>
          <cx:pt idx="31853">1</cx:pt>
          <cx:pt idx="31854">1</cx:pt>
          <cx:pt idx="31855">1</cx:pt>
          <cx:pt idx="31856">1</cx:pt>
          <cx:pt idx="31857">1</cx:pt>
          <cx:pt idx="31858">1</cx:pt>
          <cx:pt idx="31859">0</cx:pt>
          <cx:pt idx="31860">1</cx:pt>
          <cx:pt idx="31861">1</cx:pt>
          <cx:pt idx="31862">1</cx:pt>
          <cx:pt idx="31863">0</cx:pt>
          <cx:pt idx="31864">0</cx:pt>
          <cx:pt idx="31865">0</cx:pt>
          <cx:pt idx="31866">0</cx:pt>
          <cx:pt idx="31867">0</cx:pt>
          <cx:pt idx="31868">0</cx:pt>
          <cx:pt idx="31869">0</cx:pt>
          <cx:pt idx="31870">0</cx:pt>
          <cx:pt idx="31871">0</cx:pt>
          <cx:pt idx="31872">1</cx:pt>
          <cx:pt idx="31873">0</cx:pt>
          <cx:pt idx="31874">1</cx:pt>
          <cx:pt idx="31875">1</cx:pt>
          <cx:pt idx="31876">0</cx:pt>
          <cx:pt idx="31877">0</cx:pt>
          <cx:pt idx="31878">0</cx:pt>
          <cx:pt idx="31879">0</cx:pt>
          <cx:pt idx="31880">0</cx:pt>
          <cx:pt idx="31881">1</cx:pt>
          <cx:pt idx="31882">1</cx:pt>
          <cx:pt idx="31883">1</cx:pt>
          <cx:pt idx="31884">0</cx:pt>
          <cx:pt idx="31885">1</cx:pt>
          <cx:pt idx="31886">0</cx:pt>
          <cx:pt idx="31887">1</cx:pt>
          <cx:pt idx="31888">0</cx:pt>
          <cx:pt idx="31889">1</cx:pt>
          <cx:pt idx="31890">0</cx:pt>
          <cx:pt idx="31891">1</cx:pt>
          <cx:pt idx="31892">0</cx:pt>
          <cx:pt idx="31893">0</cx:pt>
          <cx:pt idx="31894">1</cx:pt>
          <cx:pt idx="31895">0</cx:pt>
          <cx:pt idx="31896">1</cx:pt>
          <cx:pt idx="31897">1</cx:pt>
          <cx:pt idx="31898">1</cx:pt>
          <cx:pt idx="31899">0</cx:pt>
          <cx:pt idx="31900">0</cx:pt>
          <cx:pt idx="31901">0</cx:pt>
          <cx:pt idx="31902">0</cx:pt>
          <cx:pt idx="31903">0</cx:pt>
          <cx:pt idx="31904">1</cx:pt>
          <cx:pt idx="31905">1</cx:pt>
          <cx:pt idx="31906">0</cx:pt>
          <cx:pt idx="31907">1</cx:pt>
          <cx:pt idx="31908">0</cx:pt>
          <cx:pt idx="31909">1</cx:pt>
          <cx:pt idx="31910">1</cx:pt>
          <cx:pt idx="31911">0</cx:pt>
          <cx:pt idx="31912">0</cx:pt>
          <cx:pt idx="31913">0</cx:pt>
          <cx:pt idx="31914">1</cx:pt>
          <cx:pt idx="31915">0</cx:pt>
          <cx:pt idx="31916">0</cx:pt>
          <cx:pt idx="31917">0</cx:pt>
          <cx:pt idx="31918">0</cx:pt>
          <cx:pt idx="31919">0</cx:pt>
          <cx:pt idx="31920">1</cx:pt>
          <cx:pt idx="31921">1</cx:pt>
          <cx:pt idx="31922">1</cx:pt>
          <cx:pt idx="31923">0</cx:pt>
          <cx:pt idx="31924">0</cx:pt>
          <cx:pt idx="31925">0</cx:pt>
          <cx:pt idx="31926">1</cx:pt>
          <cx:pt idx="31927">0</cx:pt>
          <cx:pt idx="31928">0</cx:pt>
          <cx:pt idx="31929">1</cx:pt>
          <cx:pt idx="31930">1</cx:pt>
          <cx:pt idx="31931">0</cx:pt>
          <cx:pt idx="31932">1</cx:pt>
          <cx:pt idx="31933">0</cx:pt>
          <cx:pt idx="31934">0</cx:pt>
          <cx:pt idx="31935">0</cx:pt>
          <cx:pt idx="31936">1</cx:pt>
          <cx:pt idx="31937">1</cx:pt>
          <cx:pt idx="31938">0</cx:pt>
          <cx:pt idx="31939">1</cx:pt>
          <cx:pt idx="31940">1</cx:pt>
          <cx:pt idx="31941">0</cx:pt>
          <cx:pt idx="31942">0</cx:pt>
          <cx:pt idx="31943">1</cx:pt>
          <cx:pt idx="31944">0</cx:pt>
          <cx:pt idx="31945">0</cx:pt>
          <cx:pt idx="31946">1</cx:pt>
          <cx:pt idx="31947">0</cx:pt>
          <cx:pt idx="31948">0</cx:pt>
          <cx:pt idx="31949">0</cx:pt>
          <cx:pt idx="31950">0</cx:pt>
          <cx:pt idx="31951">0</cx:pt>
          <cx:pt idx="31952">0</cx:pt>
          <cx:pt idx="31953">1</cx:pt>
          <cx:pt idx="31954">0</cx:pt>
          <cx:pt idx="31955">1</cx:pt>
          <cx:pt idx="31956">1</cx:pt>
          <cx:pt idx="31957">1</cx:pt>
          <cx:pt idx="31958">0</cx:pt>
          <cx:pt idx="31959">1</cx:pt>
          <cx:pt idx="31960">0</cx:pt>
          <cx:pt idx="31961">1</cx:pt>
          <cx:pt idx="31962">0</cx:pt>
          <cx:pt idx="31963">1</cx:pt>
          <cx:pt idx="31964">1</cx:pt>
          <cx:pt idx="31965">0</cx:pt>
          <cx:pt idx="31966">1</cx:pt>
          <cx:pt idx="31967">0</cx:pt>
          <cx:pt idx="31968">0</cx:pt>
          <cx:pt idx="31969">1</cx:pt>
          <cx:pt idx="31970">0</cx:pt>
          <cx:pt idx="31971">0</cx:pt>
          <cx:pt idx="31972">0</cx:pt>
          <cx:pt idx="31973">0</cx:pt>
          <cx:pt idx="31974">1</cx:pt>
          <cx:pt idx="31975">0</cx:pt>
          <cx:pt idx="31976">1</cx:pt>
          <cx:pt idx="31977">0</cx:pt>
          <cx:pt idx="31978">0</cx:pt>
          <cx:pt idx="31979">0</cx:pt>
          <cx:pt idx="31980">0</cx:pt>
          <cx:pt idx="31981">0</cx:pt>
          <cx:pt idx="31982">0</cx:pt>
          <cx:pt idx="31983">1</cx:pt>
          <cx:pt idx="31984">1</cx:pt>
          <cx:pt idx="31985">0</cx:pt>
          <cx:pt idx="31986">0</cx:pt>
          <cx:pt idx="31987">0</cx:pt>
          <cx:pt idx="31988">1</cx:pt>
          <cx:pt idx="31989">1</cx:pt>
          <cx:pt idx="31990">1</cx:pt>
          <cx:pt idx="31991">1</cx:pt>
          <cx:pt idx="31992">0</cx:pt>
          <cx:pt idx="31993">0</cx:pt>
          <cx:pt idx="31994">0</cx:pt>
          <cx:pt idx="31995">0</cx:pt>
          <cx:pt idx="31996">0</cx:pt>
          <cx:pt idx="31997">0</cx:pt>
          <cx:pt idx="31998">0</cx:pt>
          <cx:pt idx="31999">1</cx:pt>
          <cx:pt idx="32000">1</cx:pt>
          <cx:pt idx="32001">0</cx:pt>
          <cx:pt idx="32002">0</cx:pt>
          <cx:pt idx="32003">0</cx:pt>
          <cx:pt idx="32004">1</cx:pt>
          <cx:pt idx="32005">1</cx:pt>
          <cx:pt idx="32006">0</cx:pt>
          <cx:pt idx="32007">0</cx:pt>
          <cx:pt idx="32008">0</cx:pt>
          <cx:pt idx="32009">1</cx:pt>
          <cx:pt idx="32010">0</cx:pt>
          <cx:pt idx="32011">0</cx:pt>
          <cx:pt idx="32012">0</cx:pt>
          <cx:pt idx="32013">1</cx:pt>
          <cx:pt idx="32014">1</cx:pt>
          <cx:pt idx="32015">1</cx:pt>
          <cx:pt idx="32016">0</cx:pt>
          <cx:pt idx="32017">0</cx:pt>
          <cx:pt idx="32018">1</cx:pt>
          <cx:pt idx="32019">0</cx:pt>
          <cx:pt idx="32020">1</cx:pt>
          <cx:pt idx="32021">1</cx:pt>
          <cx:pt idx="32022">0</cx:pt>
          <cx:pt idx="32023">0</cx:pt>
          <cx:pt idx="32024">1</cx:pt>
          <cx:pt idx="32025">0</cx:pt>
          <cx:pt idx="32026">1</cx:pt>
          <cx:pt idx="32027">1</cx:pt>
          <cx:pt idx="32028">1</cx:pt>
          <cx:pt idx="32029">1</cx:pt>
          <cx:pt idx="32030">0</cx:pt>
          <cx:pt idx="32031">1</cx:pt>
          <cx:pt idx="32032">0</cx:pt>
          <cx:pt idx="32033">0</cx:pt>
          <cx:pt idx="32034">1</cx:pt>
          <cx:pt idx="32035">0</cx:pt>
          <cx:pt idx="32036">0</cx:pt>
          <cx:pt idx="32037">1</cx:pt>
          <cx:pt idx="32038">0</cx:pt>
          <cx:pt idx="32039">1</cx:pt>
          <cx:pt idx="32040">0</cx:pt>
          <cx:pt idx="32041">1</cx:pt>
          <cx:pt idx="32042">1</cx:pt>
          <cx:pt idx="32043">0</cx:pt>
          <cx:pt idx="32044">0</cx:pt>
          <cx:pt idx="32045">1</cx:pt>
          <cx:pt idx="32046">1</cx:pt>
          <cx:pt idx="32047">1</cx:pt>
          <cx:pt idx="32048">1</cx:pt>
          <cx:pt idx="32049">0</cx:pt>
          <cx:pt idx="32050">0</cx:pt>
          <cx:pt idx="32051">0</cx:pt>
          <cx:pt idx="32052">0</cx:pt>
          <cx:pt idx="32053">0</cx:pt>
          <cx:pt idx="32054">1</cx:pt>
          <cx:pt idx="32055">1</cx:pt>
          <cx:pt idx="32056">1</cx:pt>
          <cx:pt idx="32057">0</cx:pt>
          <cx:pt idx="32058">1</cx:pt>
          <cx:pt idx="32059">0</cx:pt>
          <cx:pt idx="32060">0</cx:pt>
          <cx:pt idx="32061">0</cx:pt>
          <cx:pt idx="32062">0</cx:pt>
          <cx:pt idx="32063">0</cx:pt>
          <cx:pt idx="32064">0</cx:pt>
          <cx:pt idx="32065">0</cx:pt>
          <cx:pt idx="32066">0</cx:pt>
          <cx:pt idx="32067">0</cx:pt>
          <cx:pt idx="32068">0</cx:pt>
          <cx:pt idx="32069">1</cx:pt>
          <cx:pt idx="32070">1</cx:pt>
          <cx:pt idx="32071">0</cx:pt>
          <cx:pt idx="32072">1</cx:pt>
          <cx:pt idx="32073">0</cx:pt>
          <cx:pt idx="32074">0</cx:pt>
          <cx:pt idx="32075">0</cx:pt>
          <cx:pt idx="32076">1</cx:pt>
          <cx:pt idx="32077">1</cx:pt>
          <cx:pt idx="32078">1</cx:pt>
          <cx:pt idx="32079">1</cx:pt>
          <cx:pt idx="32080">1</cx:pt>
          <cx:pt idx="32081">1</cx:pt>
          <cx:pt idx="32082">1</cx:pt>
          <cx:pt idx="32083">0</cx:pt>
          <cx:pt idx="32084">0</cx:pt>
          <cx:pt idx="32085">0</cx:pt>
          <cx:pt idx="32086">0</cx:pt>
          <cx:pt idx="32087">0</cx:pt>
          <cx:pt idx="32088">1</cx:pt>
          <cx:pt idx="32089">1</cx:pt>
          <cx:pt idx="32090">0</cx:pt>
          <cx:pt idx="32091">0</cx:pt>
          <cx:pt idx="32092">1</cx:pt>
          <cx:pt idx="32093">1</cx:pt>
          <cx:pt idx="32094">0</cx:pt>
          <cx:pt idx="32095">0</cx:pt>
          <cx:pt idx="32096">0</cx:pt>
          <cx:pt idx="32097">1</cx:pt>
          <cx:pt idx="32098">1</cx:pt>
          <cx:pt idx="32099">0</cx:pt>
          <cx:pt idx="32100">1</cx:pt>
          <cx:pt idx="32101">0</cx:pt>
          <cx:pt idx="32102">0</cx:pt>
          <cx:pt idx="32103">0</cx:pt>
          <cx:pt idx="32104">1</cx:pt>
          <cx:pt idx="32105">1</cx:pt>
          <cx:pt idx="32106">1</cx:pt>
          <cx:pt idx="32107">0</cx:pt>
          <cx:pt idx="32108">0</cx:pt>
          <cx:pt idx="32109">1</cx:pt>
          <cx:pt idx="32110">0</cx:pt>
          <cx:pt idx="32111">0</cx:pt>
          <cx:pt idx="32112">1</cx:pt>
          <cx:pt idx="32113">0</cx:pt>
          <cx:pt idx="32114">1</cx:pt>
          <cx:pt idx="32115">0</cx:pt>
          <cx:pt idx="32116">0</cx:pt>
          <cx:pt idx="32117">0</cx:pt>
          <cx:pt idx="32118">0</cx:pt>
          <cx:pt idx="32119">1</cx:pt>
          <cx:pt idx="32120">1</cx:pt>
          <cx:pt idx="32121">0</cx:pt>
          <cx:pt idx="32122">0</cx:pt>
          <cx:pt idx="32123">1</cx:pt>
          <cx:pt idx="32124">1</cx:pt>
          <cx:pt idx="32125">0</cx:pt>
          <cx:pt idx="32126">1</cx:pt>
          <cx:pt idx="32127">0</cx:pt>
          <cx:pt idx="32128">1</cx:pt>
          <cx:pt idx="32129">1</cx:pt>
          <cx:pt idx="32130">0</cx:pt>
          <cx:pt idx="32131">0</cx:pt>
          <cx:pt idx="32132">0</cx:pt>
          <cx:pt idx="32133">1</cx:pt>
          <cx:pt idx="32134">1</cx:pt>
          <cx:pt idx="32135">0</cx:pt>
          <cx:pt idx="32136">1</cx:pt>
          <cx:pt idx="32137">0</cx:pt>
          <cx:pt idx="32138">1</cx:pt>
          <cx:pt idx="32139">0</cx:pt>
          <cx:pt idx="32140">0</cx:pt>
          <cx:pt idx="32141">0</cx:pt>
          <cx:pt idx="32142">1</cx:pt>
          <cx:pt idx="32143">0</cx:pt>
          <cx:pt idx="32144">1</cx:pt>
          <cx:pt idx="32145">0</cx:pt>
          <cx:pt idx="32146">1</cx:pt>
          <cx:pt idx="32147">1</cx:pt>
          <cx:pt idx="32148">1</cx:pt>
          <cx:pt idx="32149">1</cx:pt>
          <cx:pt idx="32150">0</cx:pt>
          <cx:pt idx="32151">0</cx:pt>
          <cx:pt idx="32152">0</cx:pt>
          <cx:pt idx="32153">0</cx:pt>
          <cx:pt idx="32154">1</cx:pt>
          <cx:pt idx="32155">0</cx:pt>
          <cx:pt idx="32156">0</cx:pt>
          <cx:pt idx="32157">1</cx:pt>
          <cx:pt idx="32158">0</cx:pt>
          <cx:pt idx="32159">0</cx:pt>
          <cx:pt idx="32160">0</cx:pt>
          <cx:pt idx="32161">0</cx:pt>
          <cx:pt idx="32162">0</cx:pt>
          <cx:pt idx="32163">0</cx:pt>
          <cx:pt idx="32164">0</cx:pt>
          <cx:pt idx="32165">0</cx:pt>
          <cx:pt idx="32166">0</cx:pt>
          <cx:pt idx="32167">1</cx:pt>
          <cx:pt idx="32168">1</cx:pt>
          <cx:pt idx="32169">0</cx:pt>
          <cx:pt idx="32170">0</cx:pt>
          <cx:pt idx="32171">1</cx:pt>
          <cx:pt idx="32172">0</cx:pt>
          <cx:pt idx="32173">0</cx:pt>
          <cx:pt idx="32174">0</cx:pt>
          <cx:pt idx="32175">0</cx:pt>
          <cx:pt idx="32176">0</cx:pt>
          <cx:pt idx="32177">0</cx:pt>
          <cx:pt idx="32178">0</cx:pt>
          <cx:pt idx="32179">0</cx:pt>
          <cx:pt idx="32180">1</cx:pt>
          <cx:pt idx="32181">0</cx:pt>
          <cx:pt idx="32182">0</cx:pt>
          <cx:pt idx="32183">0</cx:pt>
          <cx:pt idx="32184">1</cx:pt>
          <cx:pt idx="32185">1</cx:pt>
          <cx:pt idx="32186">1</cx:pt>
          <cx:pt idx="32187">1</cx:pt>
          <cx:pt idx="32188">0</cx:pt>
          <cx:pt idx="32189">0</cx:pt>
          <cx:pt idx="32190">0</cx:pt>
          <cx:pt idx="32191">0</cx:pt>
          <cx:pt idx="32192">0</cx:pt>
          <cx:pt idx="32193">0</cx:pt>
          <cx:pt idx="32194">0</cx:pt>
          <cx:pt idx="32195">0</cx:pt>
          <cx:pt idx="32196">0</cx:pt>
          <cx:pt idx="32197">1</cx:pt>
          <cx:pt idx="32198">0</cx:pt>
          <cx:pt idx="32199">1</cx:pt>
          <cx:pt idx="32200">1</cx:pt>
          <cx:pt idx="32201">0</cx:pt>
          <cx:pt idx="32202">1</cx:pt>
          <cx:pt idx="32203">0</cx:pt>
          <cx:pt idx="32204">1</cx:pt>
          <cx:pt idx="32205">0</cx:pt>
          <cx:pt idx="32206">0</cx:pt>
          <cx:pt idx="32207">0</cx:pt>
          <cx:pt idx="32208">1</cx:pt>
          <cx:pt idx="32209">0</cx:pt>
          <cx:pt idx="32210">1</cx:pt>
          <cx:pt idx="32211">0</cx:pt>
          <cx:pt idx="32212">0</cx:pt>
          <cx:pt idx="32213">1</cx:pt>
          <cx:pt idx="32214">1</cx:pt>
          <cx:pt idx="32215">0</cx:pt>
          <cx:pt idx="32216">0</cx:pt>
          <cx:pt idx="32217">1</cx:pt>
          <cx:pt idx="32218">0</cx:pt>
          <cx:pt idx="32219">1</cx:pt>
          <cx:pt idx="32220">0</cx:pt>
          <cx:pt idx="32221">0</cx:pt>
          <cx:pt idx="32222">0</cx:pt>
          <cx:pt idx="32223">0</cx:pt>
          <cx:pt idx="32224">1</cx:pt>
          <cx:pt idx="32225">1</cx:pt>
          <cx:pt idx="32226">0</cx:pt>
          <cx:pt idx="32227">0</cx:pt>
          <cx:pt idx="32228">0</cx:pt>
          <cx:pt idx="32229">1</cx:pt>
          <cx:pt idx="32230">0</cx:pt>
          <cx:pt idx="32231">1</cx:pt>
          <cx:pt idx="32232">0</cx:pt>
          <cx:pt idx="32233">1</cx:pt>
          <cx:pt idx="32234">0</cx:pt>
          <cx:pt idx="32235">0</cx:pt>
          <cx:pt idx="32236">1</cx:pt>
          <cx:pt idx="32237">0</cx:pt>
          <cx:pt idx="32238">1</cx:pt>
          <cx:pt idx="32239">0</cx:pt>
          <cx:pt idx="32240">1</cx:pt>
          <cx:pt idx="32241">1</cx:pt>
          <cx:pt idx="32242">0</cx:pt>
          <cx:pt idx="32243">0</cx:pt>
          <cx:pt idx="32244">0</cx:pt>
          <cx:pt idx="32245">1</cx:pt>
          <cx:pt idx="32246">0</cx:pt>
          <cx:pt idx="32247">1</cx:pt>
          <cx:pt idx="32248">0</cx:pt>
          <cx:pt idx="32249">1</cx:pt>
          <cx:pt idx="32250">1</cx:pt>
          <cx:pt idx="32251">0</cx:pt>
          <cx:pt idx="32252">1</cx:pt>
          <cx:pt idx="32253">0</cx:pt>
          <cx:pt idx="32254">0</cx:pt>
          <cx:pt idx="32255">0</cx:pt>
          <cx:pt idx="32256">0</cx:pt>
          <cx:pt idx="32257">0</cx:pt>
          <cx:pt idx="32258">1</cx:pt>
          <cx:pt idx="32259">1</cx:pt>
          <cx:pt idx="32260">1</cx:pt>
          <cx:pt idx="32261">0</cx:pt>
          <cx:pt idx="32262">0</cx:pt>
          <cx:pt idx="32263">1</cx:pt>
          <cx:pt idx="32264">0</cx:pt>
          <cx:pt idx="32265">0</cx:pt>
          <cx:pt idx="32266">0</cx:pt>
          <cx:pt idx="32267">0</cx:pt>
          <cx:pt idx="32268">0</cx:pt>
          <cx:pt idx="32269">1</cx:pt>
          <cx:pt idx="32270">1</cx:pt>
          <cx:pt idx="32271">1</cx:pt>
          <cx:pt idx="32272">0</cx:pt>
          <cx:pt idx="32273">0</cx:pt>
          <cx:pt idx="32274">0</cx:pt>
          <cx:pt idx="32275">1</cx:pt>
          <cx:pt idx="32276">1</cx:pt>
          <cx:pt idx="32277">0</cx:pt>
          <cx:pt idx="32278">1</cx:pt>
          <cx:pt idx="32279">0</cx:pt>
          <cx:pt idx="32280">1</cx:pt>
          <cx:pt idx="32281">1</cx:pt>
          <cx:pt idx="32282">0</cx:pt>
          <cx:pt idx="32283">1</cx:pt>
          <cx:pt idx="32284">0</cx:pt>
          <cx:pt idx="32285">0</cx:pt>
          <cx:pt idx="32286">0</cx:pt>
          <cx:pt idx="32287">0</cx:pt>
          <cx:pt idx="32288">0</cx:pt>
          <cx:pt idx="32289">1</cx:pt>
          <cx:pt idx="32290">1</cx:pt>
          <cx:pt idx="32291">1</cx:pt>
          <cx:pt idx="32292">0</cx:pt>
          <cx:pt idx="32293">1</cx:pt>
          <cx:pt idx="32294">0</cx:pt>
          <cx:pt idx="32295">0</cx:pt>
          <cx:pt idx="32296">0</cx:pt>
          <cx:pt idx="32297">0</cx:pt>
          <cx:pt idx="32298">0</cx:pt>
          <cx:pt idx="32299">1</cx:pt>
          <cx:pt idx="32300">0</cx:pt>
          <cx:pt idx="32301">0</cx:pt>
          <cx:pt idx="32302">0</cx:pt>
          <cx:pt idx="32303">0</cx:pt>
          <cx:pt idx="32304">0</cx:pt>
          <cx:pt idx="32305">1</cx:pt>
          <cx:pt idx="32306">0</cx:pt>
          <cx:pt idx="32307">0</cx:pt>
          <cx:pt idx="32308">0</cx:pt>
          <cx:pt idx="32309">1</cx:pt>
          <cx:pt idx="32310">0</cx:pt>
          <cx:pt idx="32311">0</cx:pt>
          <cx:pt idx="32312">1</cx:pt>
          <cx:pt idx="32313">1</cx:pt>
          <cx:pt idx="32314">0</cx:pt>
          <cx:pt idx="32315">1</cx:pt>
          <cx:pt idx="32316">0</cx:pt>
          <cx:pt idx="32317">1</cx:pt>
          <cx:pt idx="32318">1</cx:pt>
          <cx:pt idx="32319">1</cx:pt>
          <cx:pt idx="32320">0</cx:pt>
          <cx:pt idx="32321">1</cx:pt>
          <cx:pt idx="32322">0</cx:pt>
          <cx:pt idx="32323">1</cx:pt>
          <cx:pt idx="32324">1</cx:pt>
          <cx:pt idx="32325">0</cx:pt>
          <cx:pt idx="32326">0</cx:pt>
          <cx:pt idx="32327">1</cx:pt>
          <cx:pt idx="32328">0</cx:pt>
          <cx:pt idx="32329">1</cx:pt>
          <cx:pt idx="32330">1</cx:pt>
          <cx:pt idx="32331">0</cx:pt>
          <cx:pt idx="32332">1</cx:pt>
          <cx:pt idx="32333">1</cx:pt>
          <cx:pt idx="32334">1</cx:pt>
          <cx:pt idx="32335">0</cx:pt>
          <cx:pt idx="32336">1</cx:pt>
          <cx:pt idx="32337">0</cx:pt>
          <cx:pt idx="32338">1</cx:pt>
          <cx:pt idx="32339">1</cx:pt>
          <cx:pt idx="32340">0</cx:pt>
          <cx:pt idx="32341">0</cx:pt>
          <cx:pt idx="32342">0</cx:pt>
          <cx:pt idx="32343">1</cx:pt>
          <cx:pt idx="32344">0</cx:pt>
          <cx:pt idx="32345">0</cx:pt>
          <cx:pt idx="32346">0</cx:pt>
          <cx:pt idx="32347">1</cx:pt>
          <cx:pt idx="32348">0</cx:pt>
          <cx:pt idx="32349">1</cx:pt>
          <cx:pt idx="32350">0</cx:pt>
          <cx:pt idx="32351">1</cx:pt>
          <cx:pt idx="32352">1</cx:pt>
          <cx:pt idx="32353">0</cx:pt>
          <cx:pt idx="32354">0</cx:pt>
          <cx:pt idx="32355">0</cx:pt>
          <cx:pt idx="32356">0</cx:pt>
          <cx:pt idx="32357">1</cx:pt>
          <cx:pt idx="32358">0</cx:pt>
          <cx:pt idx="32359">0</cx:pt>
          <cx:pt idx="32360">0</cx:pt>
          <cx:pt idx="32361">1</cx:pt>
          <cx:pt idx="32362">0</cx:pt>
          <cx:pt idx="32363">1</cx:pt>
          <cx:pt idx="32364">0</cx:pt>
          <cx:pt idx="32365">0</cx:pt>
          <cx:pt idx="32366">0</cx:pt>
          <cx:pt idx="32367">1</cx:pt>
          <cx:pt idx="32368">0</cx:pt>
          <cx:pt idx="32369">0</cx:pt>
          <cx:pt idx="32370">0</cx:pt>
          <cx:pt idx="32371">0</cx:pt>
          <cx:pt idx="32372">0</cx:pt>
          <cx:pt idx="32373">1</cx:pt>
          <cx:pt idx="32374">1</cx:pt>
          <cx:pt idx="32375">0</cx:pt>
          <cx:pt idx="32376">1</cx:pt>
          <cx:pt idx="32377">1</cx:pt>
          <cx:pt idx="32378">1</cx:pt>
          <cx:pt idx="32379">0</cx:pt>
          <cx:pt idx="32380">1</cx:pt>
          <cx:pt idx="32381">0</cx:pt>
          <cx:pt idx="32382">0</cx:pt>
          <cx:pt idx="32383">0</cx:pt>
          <cx:pt idx="32384">0</cx:pt>
          <cx:pt idx="32385">1</cx:pt>
          <cx:pt idx="32386">0</cx:pt>
          <cx:pt idx="32387">0</cx:pt>
          <cx:pt idx="32388">0</cx:pt>
          <cx:pt idx="32389">1</cx:pt>
          <cx:pt idx="32390">1</cx:pt>
          <cx:pt idx="32391">1</cx:pt>
          <cx:pt idx="32392">0</cx:pt>
          <cx:pt idx="32393">1</cx:pt>
          <cx:pt idx="32394">0</cx:pt>
          <cx:pt idx="32395">1</cx:pt>
          <cx:pt idx="32396">0</cx:pt>
          <cx:pt idx="32397">1</cx:pt>
          <cx:pt idx="32398">1</cx:pt>
          <cx:pt idx="32399">1</cx:pt>
          <cx:pt idx="32400">0</cx:pt>
          <cx:pt idx="32401">0</cx:pt>
          <cx:pt idx="32402">1</cx:pt>
          <cx:pt idx="32403">1</cx:pt>
          <cx:pt idx="32404">1</cx:pt>
          <cx:pt idx="32405">0</cx:pt>
          <cx:pt idx="32406">0</cx:pt>
          <cx:pt idx="32407">0</cx:pt>
          <cx:pt idx="32408">0</cx:pt>
          <cx:pt idx="32409">1</cx:pt>
          <cx:pt idx="32410">1</cx:pt>
          <cx:pt idx="32411">0</cx:pt>
          <cx:pt idx="32412">0</cx:pt>
          <cx:pt idx="32413">0</cx:pt>
          <cx:pt idx="32414">0</cx:pt>
          <cx:pt idx="32415">0</cx:pt>
          <cx:pt idx="32416">0</cx:pt>
          <cx:pt idx="32417">0</cx:pt>
          <cx:pt idx="32418">1</cx:pt>
          <cx:pt idx="32419">0</cx:pt>
          <cx:pt idx="32420">1</cx:pt>
          <cx:pt idx="32421">0</cx:pt>
          <cx:pt idx="32422">1</cx:pt>
          <cx:pt idx="32423">1</cx:pt>
          <cx:pt idx="32424">0</cx:pt>
          <cx:pt idx="32425">1</cx:pt>
          <cx:pt idx="32426">0</cx:pt>
          <cx:pt idx="32427">1</cx:pt>
          <cx:pt idx="32428">0</cx:pt>
          <cx:pt idx="32429">0</cx:pt>
          <cx:pt idx="32430">0</cx:pt>
          <cx:pt idx="32431">0</cx:pt>
          <cx:pt idx="32432">1</cx:pt>
          <cx:pt idx="32433">0</cx:pt>
          <cx:pt idx="32434">0</cx:pt>
          <cx:pt idx="32435">1</cx:pt>
          <cx:pt idx="32436">1</cx:pt>
          <cx:pt idx="32437">1</cx:pt>
          <cx:pt idx="32438">1</cx:pt>
          <cx:pt idx="32439">0</cx:pt>
          <cx:pt idx="32440">0</cx:pt>
          <cx:pt idx="32441">1</cx:pt>
          <cx:pt idx="32442">0</cx:pt>
          <cx:pt idx="32443">0</cx:pt>
          <cx:pt idx="32444">0</cx:pt>
          <cx:pt idx="32445">1</cx:pt>
          <cx:pt idx="32446">1</cx:pt>
          <cx:pt idx="32447">0</cx:pt>
          <cx:pt idx="32448">1</cx:pt>
          <cx:pt idx="32449">1</cx:pt>
          <cx:pt idx="32450">1</cx:pt>
          <cx:pt idx="32451">1</cx:pt>
          <cx:pt idx="32452">0</cx:pt>
          <cx:pt idx="32453">1</cx:pt>
          <cx:pt idx="32454">0</cx:pt>
          <cx:pt idx="32455">0</cx:pt>
          <cx:pt idx="32456">1</cx:pt>
          <cx:pt idx="32457">0</cx:pt>
          <cx:pt idx="32458">0</cx:pt>
          <cx:pt idx="32459">0</cx:pt>
          <cx:pt idx="32460">1</cx:pt>
          <cx:pt idx="32461">1</cx:pt>
          <cx:pt idx="32462">1</cx:pt>
          <cx:pt idx="32463">1</cx:pt>
          <cx:pt idx="32464">1</cx:pt>
          <cx:pt idx="32465">1</cx:pt>
          <cx:pt idx="32466">1</cx:pt>
          <cx:pt idx="32467">1</cx:pt>
          <cx:pt idx="32468">0</cx:pt>
          <cx:pt idx="32469">0</cx:pt>
          <cx:pt idx="32470">0</cx:pt>
          <cx:pt idx="32471">1</cx:pt>
          <cx:pt idx="32472">0</cx:pt>
          <cx:pt idx="32473">0</cx:pt>
          <cx:pt idx="32474">0</cx:pt>
          <cx:pt idx="32475">0</cx:pt>
          <cx:pt idx="32476">0</cx:pt>
          <cx:pt idx="32477">0</cx:pt>
          <cx:pt idx="32478">0</cx:pt>
          <cx:pt idx="32479">1</cx:pt>
          <cx:pt idx="32480">0</cx:pt>
          <cx:pt idx="32481">0</cx:pt>
          <cx:pt idx="32482">0</cx:pt>
          <cx:pt idx="32483">0</cx:pt>
          <cx:pt idx="32484">0</cx:pt>
          <cx:pt idx="32485">0</cx:pt>
          <cx:pt idx="32486">0</cx:pt>
          <cx:pt idx="32487">1</cx:pt>
          <cx:pt idx="32488">0</cx:pt>
          <cx:pt idx="32489">0</cx:pt>
          <cx:pt idx="32490">1</cx:pt>
          <cx:pt idx="32491">0</cx:pt>
          <cx:pt idx="32492">0</cx:pt>
          <cx:pt idx="32493">0</cx:pt>
          <cx:pt idx="32494">0</cx:pt>
          <cx:pt idx="32495">1</cx:pt>
          <cx:pt idx="32496">1</cx:pt>
          <cx:pt idx="32497">1</cx:pt>
          <cx:pt idx="32498">1</cx:pt>
          <cx:pt idx="32499">0</cx:pt>
          <cx:pt idx="32500">0</cx:pt>
          <cx:pt idx="32501">0</cx:pt>
          <cx:pt idx="32502">1</cx:pt>
          <cx:pt idx="32503">0</cx:pt>
          <cx:pt idx="32504">0</cx:pt>
          <cx:pt idx="32505">0</cx:pt>
          <cx:pt idx="32506">1</cx:pt>
          <cx:pt idx="32507">0</cx:pt>
          <cx:pt idx="32508">0</cx:pt>
          <cx:pt idx="32509">0</cx:pt>
          <cx:pt idx="32510">0</cx:pt>
          <cx:pt idx="32511">1</cx:pt>
          <cx:pt idx="32512">0</cx:pt>
          <cx:pt idx="32513">1</cx:pt>
          <cx:pt idx="32514">1</cx:pt>
          <cx:pt idx="32515">1</cx:pt>
          <cx:pt idx="32516">0</cx:pt>
          <cx:pt idx="32517">1</cx:pt>
          <cx:pt idx="32518">0</cx:pt>
          <cx:pt idx="32519">1</cx:pt>
          <cx:pt idx="32520">1</cx:pt>
          <cx:pt idx="32521">0</cx:pt>
          <cx:pt idx="32522">0</cx:pt>
          <cx:pt idx="32523">0</cx:pt>
          <cx:pt idx="32524">1</cx:pt>
          <cx:pt idx="32525">0</cx:pt>
          <cx:pt idx="32526">0</cx:pt>
          <cx:pt idx="32527">0</cx:pt>
          <cx:pt idx="32528">1</cx:pt>
          <cx:pt idx="32529">1</cx:pt>
          <cx:pt idx="32530">1</cx:pt>
          <cx:pt idx="32531">0</cx:pt>
          <cx:pt idx="32532">0</cx:pt>
          <cx:pt idx="32533">0</cx:pt>
          <cx:pt idx="32534">0</cx:pt>
          <cx:pt idx="32535">0</cx:pt>
          <cx:pt idx="32536">1</cx:pt>
          <cx:pt idx="32537">1</cx:pt>
          <cx:pt idx="32538">0</cx:pt>
          <cx:pt idx="32539">0</cx:pt>
          <cx:pt idx="32540">0</cx:pt>
          <cx:pt idx="32541">1</cx:pt>
          <cx:pt idx="32542">0</cx:pt>
          <cx:pt idx="32543">1</cx:pt>
          <cx:pt idx="32544">0</cx:pt>
          <cx:pt idx="32545">1</cx:pt>
          <cx:pt idx="32546">1</cx:pt>
          <cx:pt idx="32547">1</cx:pt>
          <cx:pt idx="32548">1</cx:pt>
          <cx:pt idx="32549">0</cx:pt>
          <cx:pt idx="32550">1</cx:pt>
          <cx:pt idx="32551">1</cx:pt>
          <cx:pt idx="32552">1</cx:pt>
          <cx:pt idx="32553">0</cx:pt>
          <cx:pt idx="32554">0</cx:pt>
          <cx:pt idx="32555">1</cx:pt>
          <cx:pt idx="32556">1</cx:pt>
          <cx:pt idx="32557">0</cx:pt>
          <cx:pt idx="32558">1</cx:pt>
          <cx:pt idx="32559">0</cx:pt>
          <cx:pt idx="32560">1</cx:pt>
          <cx:pt idx="32561">0</cx:pt>
          <cx:pt idx="32562">0</cx:pt>
          <cx:pt idx="32563">1</cx:pt>
          <cx:pt idx="32564">0</cx:pt>
          <cx:pt idx="32565">1</cx:pt>
          <cx:pt idx="32566">0</cx:pt>
          <cx:pt idx="32567">0</cx:pt>
          <cx:pt idx="32568">0</cx:pt>
          <cx:pt idx="32569">0</cx:pt>
          <cx:pt idx="32570">0</cx:pt>
          <cx:pt idx="32571">1</cx:pt>
          <cx:pt idx="32572">0</cx:pt>
          <cx:pt idx="32573">1</cx:pt>
          <cx:pt idx="32574">0</cx:pt>
          <cx:pt idx="32575">1</cx:pt>
          <cx:pt idx="32576">0</cx:pt>
          <cx:pt idx="32577">0</cx:pt>
          <cx:pt idx="32578">0</cx:pt>
          <cx:pt idx="32579">0</cx:pt>
          <cx:pt idx="32580">0</cx:pt>
          <cx:pt idx="32581">1</cx:pt>
          <cx:pt idx="32582">0</cx:pt>
          <cx:pt idx="32583">1</cx:pt>
          <cx:pt idx="32584">0</cx:pt>
          <cx:pt idx="32585">0</cx:pt>
          <cx:pt idx="32586">0</cx:pt>
          <cx:pt idx="32587">1</cx:pt>
          <cx:pt idx="32588">0</cx:pt>
          <cx:pt idx="32589">0</cx:pt>
          <cx:pt idx="32590">0</cx:pt>
          <cx:pt idx="32591">1</cx:pt>
          <cx:pt idx="32592">0</cx:pt>
          <cx:pt idx="32593">0</cx:pt>
          <cx:pt idx="32594">0</cx:pt>
          <cx:pt idx="32595">1</cx:pt>
          <cx:pt idx="32596">0</cx:pt>
          <cx:pt idx="32597">0</cx:pt>
          <cx:pt idx="32598">0</cx:pt>
          <cx:pt idx="32599">1</cx:pt>
          <cx:pt idx="32600">1</cx:pt>
          <cx:pt idx="32601">1</cx:pt>
          <cx:pt idx="32602">0</cx:pt>
          <cx:pt idx="32603">0</cx:pt>
          <cx:pt idx="32604">1</cx:pt>
          <cx:pt idx="32605">0</cx:pt>
          <cx:pt idx="32606">0</cx:pt>
          <cx:pt idx="32607">0</cx:pt>
          <cx:pt idx="32608">0</cx:pt>
          <cx:pt idx="32609">1</cx:pt>
          <cx:pt idx="32610">0</cx:pt>
          <cx:pt idx="32611">1</cx:pt>
          <cx:pt idx="32612">1</cx:pt>
          <cx:pt idx="32613">0</cx:pt>
          <cx:pt idx="32614">0</cx:pt>
          <cx:pt idx="32615">1</cx:pt>
          <cx:pt idx="32616">1</cx:pt>
          <cx:pt idx="32617">0</cx:pt>
          <cx:pt idx="32618">0</cx:pt>
          <cx:pt idx="32619">0</cx:pt>
          <cx:pt idx="32620">1</cx:pt>
          <cx:pt idx="32621">0</cx:pt>
          <cx:pt idx="32622">1</cx:pt>
          <cx:pt idx="32623">0</cx:pt>
          <cx:pt idx="32624">0</cx:pt>
          <cx:pt idx="32625">1</cx:pt>
          <cx:pt idx="32626">1</cx:pt>
          <cx:pt idx="32627">0</cx:pt>
          <cx:pt idx="32628">1</cx:pt>
          <cx:pt idx="32629">1</cx:pt>
          <cx:pt idx="32630">0</cx:pt>
          <cx:pt idx="32631">0</cx:pt>
          <cx:pt idx="32632">0</cx:pt>
          <cx:pt idx="32633">0</cx:pt>
          <cx:pt idx="32634">1</cx:pt>
          <cx:pt idx="32635">0</cx:pt>
          <cx:pt idx="32636">0</cx:pt>
          <cx:pt idx="32637">0</cx:pt>
          <cx:pt idx="32638">0</cx:pt>
          <cx:pt idx="32639">0</cx:pt>
          <cx:pt idx="32640">1</cx:pt>
          <cx:pt idx="32641">1</cx:pt>
          <cx:pt idx="32642">0</cx:pt>
          <cx:pt idx="32643">1</cx:pt>
          <cx:pt idx="32644">1</cx:pt>
          <cx:pt idx="32645">1</cx:pt>
          <cx:pt idx="32646">1</cx:pt>
          <cx:pt idx="32647">0</cx:pt>
          <cx:pt idx="32648">1</cx:pt>
          <cx:pt idx="32649">1</cx:pt>
          <cx:pt idx="32650">0</cx:pt>
          <cx:pt idx="32651">1</cx:pt>
          <cx:pt idx="32652">1</cx:pt>
          <cx:pt idx="32653">1</cx:pt>
          <cx:pt idx="32654">0</cx:pt>
          <cx:pt idx="32655">0</cx:pt>
          <cx:pt idx="32656">0</cx:pt>
          <cx:pt idx="32657">0</cx:pt>
          <cx:pt idx="32658">0</cx:pt>
          <cx:pt idx="32659">1</cx:pt>
          <cx:pt idx="32660">1</cx:pt>
          <cx:pt idx="32661">0</cx:pt>
          <cx:pt idx="32662">1</cx:pt>
          <cx:pt idx="32663">1</cx:pt>
          <cx:pt idx="32664">0</cx:pt>
          <cx:pt idx="32665">0</cx:pt>
          <cx:pt idx="32666">0</cx:pt>
          <cx:pt idx="32667">0</cx:pt>
          <cx:pt idx="32668">0</cx:pt>
          <cx:pt idx="32669">1</cx:pt>
          <cx:pt idx="32670">0</cx:pt>
          <cx:pt idx="32671">0</cx:pt>
          <cx:pt idx="32672">1</cx:pt>
          <cx:pt idx="32673">0</cx:pt>
          <cx:pt idx="32674">0</cx:pt>
          <cx:pt idx="32675">0</cx:pt>
          <cx:pt idx="32676">0</cx:pt>
          <cx:pt idx="32677">1</cx:pt>
          <cx:pt idx="32678">0</cx:pt>
          <cx:pt idx="32679">0</cx:pt>
          <cx:pt idx="32680">1</cx:pt>
          <cx:pt idx="32681">1</cx:pt>
          <cx:pt idx="32682">0</cx:pt>
          <cx:pt idx="32683">0</cx:pt>
          <cx:pt idx="32684">1</cx:pt>
          <cx:pt idx="32685">0</cx:pt>
          <cx:pt idx="32686">1</cx:pt>
          <cx:pt idx="32687">1</cx:pt>
          <cx:pt idx="32688">1</cx:pt>
          <cx:pt idx="32689">0</cx:pt>
          <cx:pt idx="32690">0</cx:pt>
          <cx:pt idx="32691">0</cx:pt>
          <cx:pt idx="32692">1</cx:pt>
          <cx:pt idx="32693">0</cx:pt>
          <cx:pt idx="32694">0</cx:pt>
          <cx:pt idx="32695">1</cx:pt>
          <cx:pt idx="32696">1</cx:pt>
          <cx:pt idx="32697">1</cx:pt>
          <cx:pt idx="32698">0</cx:pt>
          <cx:pt idx="32699">0</cx:pt>
          <cx:pt idx="32700">1</cx:pt>
          <cx:pt idx="32701">1</cx:pt>
          <cx:pt idx="32702">1</cx:pt>
          <cx:pt idx="32703">0</cx:pt>
          <cx:pt idx="32704">1</cx:pt>
          <cx:pt idx="32705">1</cx:pt>
          <cx:pt idx="32706">1</cx:pt>
          <cx:pt idx="32707">0</cx:pt>
          <cx:pt idx="32708">0</cx:pt>
          <cx:pt idx="32709">0</cx:pt>
          <cx:pt idx="32710">0</cx:pt>
          <cx:pt idx="32711">0</cx:pt>
          <cx:pt idx="32712">0</cx:pt>
          <cx:pt idx="32713">0</cx:pt>
          <cx:pt idx="32714">0</cx:pt>
          <cx:pt idx="32715">1</cx:pt>
          <cx:pt idx="32716">0</cx:pt>
          <cx:pt idx="32717">1</cx:pt>
          <cx:pt idx="32718">0</cx:pt>
          <cx:pt idx="32719">0</cx:pt>
          <cx:pt idx="32720">0</cx:pt>
          <cx:pt idx="32721">0</cx:pt>
          <cx:pt idx="32722">1</cx:pt>
          <cx:pt idx="32723">1</cx:pt>
          <cx:pt idx="32724">1</cx:pt>
          <cx:pt idx="32725">1</cx:pt>
          <cx:pt idx="32726">0</cx:pt>
          <cx:pt idx="32727">1</cx:pt>
          <cx:pt idx="32728">0</cx:pt>
          <cx:pt idx="32729">1</cx:pt>
          <cx:pt idx="32730">0</cx:pt>
          <cx:pt idx="32731">0</cx:pt>
          <cx:pt idx="32732">0</cx:pt>
          <cx:pt idx="32733">0</cx:pt>
          <cx:pt idx="32734">0</cx:pt>
          <cx:pt idx="32735">0</cx:pt>
          <cx:pt idx="32736">1</cx:pt>
          <cx:pt idx="32737">1</cx:pt>
          <cx:pt idx="32738">1</cx:pt>
          <cx:pt idx="32739">1</cx:pt>
          <cx:pt idx="32740">1</cx:pt>
          <cx:pt idx="32741">0</cx:pt>
          <cx:pt idx="32742">0</cx:pt>
          <cx:pt idx="32743">0</cx:pt>
          <cx:pt idx="32744">0</cx:pt>
          <cx:pt idx="32745">0</cx:pt>
          <cx:pt idx="32746">1</cx:pt>
          <cx:pt idx="32747">0</cx:pt>
          <cx:pt idx="32748">0</cx:pt>
          <cx:pt idx="32749">0</cx:pt>
          <cx:pt idx="32750">0</cx:pt>
          <cx:pt idx="32751">0</cx:pt>
          <cx:pt idx="32752">1</cx:pt>
          <cx:pt idx="32753">0</cx:pt>
          <cx:pt idx="32754">0</cx:pt>
          <cx:pt idx="32755">0</cx:pt>
          <cx:pt idx="32756">1</cx:pt>
          <cx:pt idx="32757">1</cx:pt>
          <cx:pt idx="32758">1</cx:pt>
          <cx:pt idx="32759">0</cx:pt>
          <cx:pt idx="32760">0</cx:pt>
          <cx:pt idx="32761">0</cx:pt>
          <cx:pt idx="32762">0</cx:pt>
          <cx:pt idx="32763">0</cx:pt>
          <cx:pt idx="32764">0</cx:pt>
          <cx:pt idx="32765">1</cx:pt>
          <cx:pt idx="32766">0</cx:pt>
          <cx:pt idx="32767">0</cx:pt>
          <cx:pt idx="32768">1</cx:pt>
          <cx:pt idx="32769">1</cx:pt>
          <cx:pt idx="32770">1</cx:pt>
          <cx:pt idx="32771">0</cx:pt>
          <cx:pt idx="32772">0</cx:pt>
          <cx:pt idx="32773">0</cx:pt>
          <cx:pt idx="32774">1</cx:pt>
          <cx:pt idx="32775">1</cx:pt>
          <cx:pt idx="32776">0</cx:pt>
          <cx:pt idx="32777">0</cx:pt>
          <cx:pt idx="32778">1</cx:pt>
          <cx:pt idx="32779">0</cx:pt>
          <cx:pt idx="32780">1</cx:pt>
          <cx:pt idx="32781">1</cx:pt>
          <cx:pt idx="32782">0</cx:pt>
          <cx:pt idx="32783">0</cx:pt>
          <cx:pt idx="32784">0</cx:pt>
          <cx:pt idx="32785">0</cx:pt>
          <cx:pt idx="32786">0</cx:pt>
          <cx:pt idx="32787">1</cx:pt>
          <cx:pt idx="32788">0</cx:pt>
          <cx:pt idx="32789">0</cx:pt>
          <cx:pt idx="32790">1</cx:pt>
          <cx:pt idx="32791">1</cx:pt>
          <cx:pt idx="32792">0</cx:pt>
          <cx:pt idx="32793">1</cx:pt>
          <cx:pt idx="32794">1</cx:pt>
          <cx:pt idx="32795">0</cx:pt>
          <cx:pt idx="32796">0</cx:pt>
          <cx:pt idx="32797">0</cx:pt>
          <cx:pt idx="32798">1</cx:pt>
          <cx:pt idx="32799">1</cx:pt>
          <cx:pt idx="32800">1</cx:pt>
          <cx:pt idx="32801">0</cx:pt>
          <cx:pt idx="32802">1</cx:pt>
          <cx:pt idx="32803">1</cx:pt>
          <cx:pt idx="32804">1</cx:pt>
          <cx:pt idx="32805">0</cx:pt>
          <cx:pt idx="32806">1</cx:pt>
          <cx:pt idx="32807">1</cx:pt>
          <cx:pt idx="32808">1</cx:pt>
          <cx:pt idx="32809">1</cx:pt>
          <cx:pt idx="32810">1</cx:pt>
          <cx:pt idx="32811">0</cx:pt>
          <cx:pt idx="32812">1</cx:pt>
          <cx:pt idx="32813">0</cx:pt>
          <cx:pt idx="32814">1</cx:pt>
          <cx:pt idx="32815">0</cx:pt>
          <cx:pt idx="32816">0</cx:pt>
          <cx:pt idx="32817">1</cx:pt>
          <cx:pt idx="32818">0</cx:pt>
          <cx:pt idx="32819">0</cx:pt>
          <cx:pt idx="32820">1</cx:pt>
          <cx:pt idx="32821">0</cx:pt>
          <cx:pt idx="32822">0</cx:pt>
          <cx:pt idx="32823">1</cx:pt>
          <cx:pt idx="32824">0</cx:pt>
          <cx:pt idx="32825">1</cx:pt>
          <cx:pt idx="32826">1</cx:pt>
          <cx:pt idx="32827">1</cx:pt>
          <cx:pt idx="32828">1</cx:pt>
          <cx:pt idx="32829">0</cx:pt>
          <cx:pt idx="32830">0</cx:pt>
          <cx:pt idx="32831">1</cx:pt>
          <cx:pt idx="32832">0</cx:pt>
          <cx:pt idx="32833">0</cx:pt>
          <cx:pt idx="32834">0</cx:pt>
          <cx:pt idx="32835">1</cx:pt>
          <cx:pt idx="32836">1</cx:pt>
          <cx:pt idx="32837">0</cx:pt>
          <cx:pt idx="32838">1</cx:pt>
          <cx:pt idx="32839">0</cx:pt>
          <cx:pt idx="32840">0</cx:pt>
          <cx:pt idx="32841">1</cx:pt>
          <cx:pt idx="32842">0</cx:pt>
          <cx:pt idx="32843">1</cx:pt>
          <cx:pt idx="32844">0</cx:pt>
          <cx:pt idx="32845">1</cx:pt>
          <cx:pt idx="32846">0</cx:pt>
          <cx:pt idx="32847">0</cx:pt>
          <cx:pt idx="32848">0</cx:pt>
          <cx:pt idx="32849">0</cx:pt>
          <cx:pt idx="32850">0</cx:pt>
          <cx:pt idx="32851">0</cx:pt>
          <cx:pt idx="32852">0</cx:pt>
          <cx:pt idx="32853">0</cx:pt>
          <cx:pt idx="32854">0</cx:pt>
          <cx:pt idx="32855">0</cx:pt>
          <cx:pt idx="32856">1</cx:pt>
          <cx:pt idx="32857">0</cx:pt>
          <cx:pt idx="32858">0</cx:pt>
          <cx:pt idx="32859">0</cx:pt>
          <cx:pt idx="32860">0</cx:pt>
          <cx:pt idx="32861">1</cx:pt>
          <cx:pt idx="32862">0</cx:pt>
          <cx:pt idx="32863">1</cx:pt>
          <cx:pt idx="32864">0</cx:pt>
          <cx:pt idx="32865">0</cx:pt>
          <cx:pt idx="32866">1</cx:pt>
          <cx:pt idx="32867">1</cx:pt>
          <cx:pt idx="32868">0</cx:pt>
          <cx:pt idx="32869">0</cx:pt>
          <cx:pt idx="32870">1</cx:pt>
          <cx:pt idx="32871">1</cx:pt>
          <cx:pt idx="32872">0</cx:pt>
          <cx:pt idx="32873">0</cx:pt>
          <cx:pt idx="32874">1</cx:pt>
          <cx:pt idx="32875">0</cx:pt>
          <cx:pt idx="32876">1</cx:pt>
          <cx:pt idx="32877">0</cx:pt>
          <cx:pt idx="32878">0</cx:pt>
          <cx:pt idx="32879">1</cx:pt>
          <cx:pt idx="32880">0</cx:pt>
          <cx:pt idx="32881">0</cx:pt>
          <cx:pt idx="32882">0</cx:pt>
          <cx:pt idx="32883">1</cx:pt>
          <cx:pt idx="32884">0</cx:pt>
          <cx:pt idx="32885">1</cx:pt>
          <cx:pt idx="32886">0</cx:pt>
          <cx:pt idx="32887">1</cx:pt>
          <cx:pt idx="32888">0</cx:pt>
          <cx:pt idx="32889">1</cx:pt>
          <cx:pt idx="32890">0</cx:pt>
          <cx:pt idx="32891">1</cx:pt>
          <cx:pt idx="32892">0</cx:pt>
          <cx:pt idx="32893">0</cx:pt>
          <cx:pt idx="32894">1</cx:pt>
          <cx:pt idx="32895">1</cx:pt>
          <cx:pt idx="32896">0</cx:pt>
          <cx:pt idx="32897">1</cx:pt>
          <cx:pt idx="32898">0</cx:pt>
          <cx:pt idx="32899">1</cx:pt>
          <cx:pt idx="32900">1</cx:pt>
          <cx:pt idx="32901">0</cx:pt>
          <cx:pt idx="32902">0</cx:pt>
          <cx:pt idx="32903">0</cx:pt>
          <cx:pt idx="32904">0</cx:pt>
          <cx:pt idx="32905">0</cx:pt>
          <cx:pt idx="32906">1</cx:pt>
          <cx:pt idx="32907">1</cx:pt>
          <cx:pt idx="32908">0</cx:pt>
          <cx:pt idx="32909">0</cx:pt>
          <cx:pt idx="32910">0</cx:pt>
          <cx:pt idx="32911">1</cx:pt>
          <cx:pt idx="32912">0</cx:pt>
          <cx:pt idx="32913">1</cx:pt>
          <cx:pt idx="32914">0</cx:pt>
          <cx:pt idx="32915">0</cx:pt>
          <cx:pt idx="32916">1</cx:pt>
          <cx:pt idx="32917">0</cx:pt>
          <cx:pt idx="32918">1</cx:pt>
          <cx:pt idx="32919">1</cx:pt>
          <cx:pt idx="32920">0</cx:pt>
          <cx:pt idx="32921">1</cx:pt>
          <cx:pt idx="32922">0</cx:pt>
          <cx:pt idx="32923">0</cx:pt>
          <cx:pt idx="32924">0</cx:pt>
          <cx:pt idx="32925">0</cx:pt>
          <cx:pt idx="32926">0</cx:pt>
          <cx:pt idx="32927">1</cx:pt>
          <cx:pt idx="32928">0</cx:pt>
          <cx:pt idx="32929">1</cx:pt>
          <cx:pt idx="32930">1</cx:pt>
          <cx:pt idx="32931">0</cx:pt>
          <cx:pt idx="32932">0</cx:pt>
          <cx:pt idx="32933">0</cx:pt>
          <cx:pt idx="32934">1</cx:pt>
          <cx:pt idx="32935">0</cx:pt>
          <cx:pt idx="32936">1</cx:pt>
          <cx:pt idx="32937">0</cx:pt>
          <cx:pt idx="32938">0</cx:pt>
          <cx:pt idx="32939">1</cx:pt>
          <cx:pt idx="32940">0</cx:pt>
          <cx:pt idx="32941">0</cx:pt>
          <cx:pt idx="32942">0</cx:pt>
          <cx:pt idx="32943">0</cx:pt>
          <cx:pt idx="32944">0</cx:pt>
          <cx:pt idx="32945">1</cx:pt>
          <cx:pt idx="32946">1</cx:pt>
          <cx:pt idx="32947">0</cx:pt>
          <cx:pt idx="32948">1</cx:pt>
          <cx:pt idx="32949">0</cx:pt>
          <cx:pt idx="32950">0</cx:pt>
          <cx:pt idx="32951">1</cx:pt>
          <cx:pt idx="32952">0</cx:pt>
          <cx:pt idx="32953">1</cx:pt>
          <cx:pt idx="32954">0</cx:pt>
          <cx:pt idx="32955">1</cx:pt>
          <cx:pt idx="32956">0</cx:pt>
          <cx:pt idx="32957">0</cx:pt>
          <cx:pt idx="32958">0</cx:pt>
          <cx:pt idx="32959">1</cx:pt>
          <cx:pt idx="32960">0</cx:pt>
          <cx:pt idx="32961">0</cx:pt>
          <cx:pt idx="32962">0</cx:pt>
          <cx:pt idx="32963">0</cx:pt>
          <cx:pt idx="32964">0</cx:pt>
          <cx:pt idx="32965">1</cx:pt>
          <cx:pt idx="32966">0</cx:pt>
          <cx:pt idx="32967">0</cx:pt>
          <cx:pt idx="32968">1</cx:pt>
          <cx:pt idx="32969">0</cx:pt>
          <cx:pt idx="32970">1</cx:pt>
          <cx:pt idx="32971">0</cx:pt>
          <cx:pt idx="32972">0</cx:pt>
          <cx:pt idx="32973">0</cx:pt>
          <cx:pt idx="32974">0</cx:pt>
          <cx:pt idx="32975">1</cx:pt>
          <cx:pt idx="32976">1</cx:pt>
          <cx:pt idx="32977">1</cx:pt>
          <cx:pt idx="32978">1</cx:pt>
          <cx:pt idx="32979">0</cx:pt>
          <cx:pt idx="32980">0</cx:pt>
          <cx:pt idx="32981">0</cx:pt>
          <cx:pt idx="32982">0</cx:pt>
          <cx:pt idx="32983">1</cx:pt>
          <cx:pt idx="32984">0</cx:pt>
          <cx:pt idx="32985">0</cx:pt>
          <cx:pt idx="32986">1</cx:pt>
          <cx:pt idx="32987">0</cx:pt>
          <cx:pt idx="32988">1</cx:pt>
          <cx:pt idx="32989">0</cx:pt>
          <cx:pt idx="32990">0</cx:pt>
          <cx:pt idx="32991">1</cx:pt>
          <cx:pt idx="32992">1</cx:pt>
          <cx:pt idx="32993">1</cx:pt>
          <cx:pt idx="32994">0</cx:pt>
          <cx:pt idx="32995">0</cx:pt>
          <cx:pt idx="32996">1</cx:pt>
          <cx:pt idx="32997">1</cx:pt>
          <cx:pt idx="32998">0</cx:pt>
          <cx:pt idx="32999">1</cx:pt>
          <cx:pt idx="33000">0</cx:pt>
          <cx:pt idx="33001">0</cx:pt>
          <cx:pt idx="33002">1</cx:pt>
          <cx:pt idx="33003">1</cx:pt>
          <cx:pt idx="33004">0</cx:pt>
          <cx:pt idx="33005">0</cx:pt>
          <cx:pt idx="33006">0</cx:pt>
          <cx:pt idx="33007">0</cx:pt>
          <cx:pt idx="33008">1</cx:pt>
          <cx:pt idx="33009">1</cx:pt>
          <cx:pt idx="33010">1</cx:pt>
          <cx:pt idx="33011">1</cx:pt>
          <cx:pt idx="33012">0</cx:pt>
          <cx:pt idx="33013">0</cx:pt>
          <cx:pt idx="33014">1</cx:pt>
          <cx:pt idx="33015">1</cx:pt>
          <cx:pt idx="33016">1</cx:pt>
          <cx:pt idx="33017">1</cx:pt>
          <cx:pt idx="33018">0</cx:pt>
          <cx:pt idx="33019">0</cx:pt>
          <cx:pt idx="33020">1</cx:pt>
          <cx:pt idx="33021">0</cx:pt>
          <cx:pt idx="33022">0</cx:pt>
          <cx:pt idx="33023">0</cx:pt>
          <cx:pt idx="33024">1</cx:pt>
          <cx:pt idx="33025">1</cx:pt>
          <cx:pt idx="33026">1</cx:pt>
          <cx:pt idx="33027">0</cx:pt>
          <cx:pt idx="33028">0</cx:pt>
          <cx:pt idx="33029">1</cx:pt>
          <cx:pt idx="33030">0</cx:pt>
          <cx:pt idx="33031">0</cx:pt>
          <cx:pt idx="33032">0</cx:pt>
          <cx:pt idx="33033">1</cx:pt>
          <cx:pt idx="33034">1</cx:pt>
          <cx:pt idx="33035">1</cx:pt>
          <cx:pt idx="33036">1</cx:pt>
          <cx:pt idx="33037">0</cx:pt>
          <cx:pt idx="33038">0</cx:pt>
          <cx:pt idx="33039">1</cx:pt>
          <cx:pt idx="33040">1</cx:pt>
          <cx:pt idx="33041">1</cx:pt>
          <cx:pt idx="33042">1</cx:pt>
          <cx:pt idx="33043">0</cx:pt>
          <cx:pt idx="33044">0</cx:pt>
          <cx:pt idx="33045">1</cx:pt>
          <cx:pt idx="33046">1</cx:pt>
          <cx:pt idx="33047">1</cx:pt>
          <cx:pt idx="33048">0</cx:pt>
          <cx:pt idx="33049">1</cx:pt>
          <cx:pt idx="33050">0</cx:pt>
          <cx:pt idx="33051">0</cx:pt>
          <cx:pt idx="33052">1</cx:pt>
          <cx:pt idx="33053">1</cx:pt>
          <cx:pt idx="33054">0</cx:pt>
          <cx:pt idx="33055">1</cx:pt>
          <cx:pt idx="33056">0</cx:pt>
          <cx:pt idx="33057">1</cx:pt>
          <cx:pt idx="33058">0</cx:pt>
          <cx:pt idx="33059">0</cx:pt>
          <cx:pt idx="33060">1</cx:pt>
          <cx:pt idx="33061">0</cx:pt>
          <cx:pt idx="33062">1</cx:pt>
          <cx:pt idx="33063">0</cx:pt>
          <cx:pt idx="33064">1</cx:pt>
          <cx:pt idx="33065">0</cx:pt>
          <cx:pt idx="33066">0</cx:pt>
          <cx:pt idx="33067">1</cx:pt>
          <cx:pt idx="33068">1</cx:pt>
          <cx:pt idx="33069">1</cx:pt>
          <cx:pt idx="33070">1</cx:pt>
          <cx:pt idx="33071">1</cx:pt>
          <cx:pt idx="33072">0</cx:pt>
          <cx:pt idx="33073">1</cx:pt>
          <cx:pt idx="33074">0</cx:pt>
          <cx:pt idx="33075">0</cx:pt>
          <cx:pt idx="33076">1</cx:pt>
          <cx:pt idx="33077">1</cx:pt>
          <cx:pt idx="33078">0</cx:pt>
          <cx:pt idx="33079">0</cx:pt>
          <cx:pt idx="33080">1</cx:pt>
          <cx:pt idx="33081">1</cx:pt>
          <cx:pt idx="33082">1</cx:pt>
          <cx:pt idx="33083">0</cx:pt>
          <cx:pt idx="33084">0</cx:pt>
          <cx:pt idx="33085">0</cx:pt>
          <cx:pt idx="33086">1</cx:pt>
          <cx:pt idx="33087">1</cx:pt>
          <cx:pt idx="33088">0</cx:pt>
          <cx:pt idx="33089">0</cx:pt>
          <cx:pt idx="33090">0</cx:pt>
          <cx:pt idx="33091">1</cx:pt>
          <cx:pt idx="33092">0</cx:pt>
          <cx:pt idx="33093">1</cx:pt>
          <cx:pt idx="33094">0</cx:pt>
          <cx:pt idx="33095">1</cx:pt>
          <cx:pt idx="33096">1</cx:pt>
          <cx:pt idx="33097">0</cx:pt>
          <cx:pt idx="33098">1</cx:pt>
          <cx:pt idx="33099">0</cx:pt>
          <cx:pt idx="33100">1</cx:pt>
          <cx:pt idx="33101">0</cx:pt>
          <cx:pt idx="33102">1</cx:pt>
          <cx:pt idx="33103">1</cx:pt>
          <cx:pt idx="33104">0</cx:pt>
          <cx:pt idx="33105">0</cx:pt>
          <cx:pt idx="33106">1</cx:pt>
          <cx:pt idx="33107">1</cx:pt>
          <cx:pt idx="33108">0</cx:pt>
          <cx:pt idx="33109">0</cx:pt>
          <cx:pt idx="33110">0</cx:pt>
          <cx:pt idx="33111">0</cx:pt>
          <cx:pt idx="33112">0</cx:pt>
          <cx:pt idx="33113">1</cx:pt>
          <cx:pt idx="33114">0</cx:pt>
          <cx:pt idx="33115">1</cx:pt>
          <cx:pt idx="33116">0</cx:pt>
          <cx:pt idx="33117">1</cx:pt>
          <cx:pt idx="33118">0</cx:pt>
          <cx:pt idx="33119">0</cx:pt>
          <cx:pt idx="33120">0</cx:pt>
          <cx:pt idx="33121">1</cx:pt>
          <cx:pt idx="33122">1</cx:pt>
          <cx:pt idx="33123">1</cx:pt>
          <cx:pt idx="33124">1</cx:pt>
          <cx:pt idx="33125">1</cx:pt>
          <cx:pt idx="33126">1</cx:pt>
          <cx:pt idx="33127">0</cx:pt>
          <cx:pt idx="33128">0</cx:pt>
          <cx:pt idx="33129">0</cx:pt>
          <cx:pt idx="33130">1</cx:pt>
          <cx:pt idx="33131">1</cx:pt>
          <cx:pt idx="33132">1</cx:pt>
          <cx:pt idx="33133">1</cx:pt>
          <cx:pt idx="33134">1</cx:pt>
          <cx:pt idx="33135">1</cx:pt>
          <cx:pt idx="33136">0</cx:pt>
          <cx:pt idx="33137">1</cx:pt>
          <cx:pt idx="33138">0</cx:pt>
          <cx:pt idx="33139">0</cx:pt>
          <cx:pt idx="33140">0</cx:pt>
          <cx:pt idx="33141">0</cx:pt>
          <cx:pt idx="33142">1</cx:pt>
          <cx:pt idx="33143">1</cx:pt>
          <cx:pt idx="33144">1</cx:pt>
          <cx:pt idx="33145">0</cx:pt>
          <cx:pt idx="33146">1</cx:pt>
          <cx:pt idx="33147">0</cx:pt>
          <cx:pt idx="33148">1</cx:pt>
          <cx:pt idx="33149">0</cx:pt>
          <cx:pt idx="33150">0</cx:pt>
          <cx:pt idx="33151">1</cx:pt>
          <cx:pt idx="33152">0</cx:pt>
          <cx:pt idx="33153">0</cx:pt>
          <cx:pt idx="33154">1</cx:pt>
          <cx:pt idx="33155">1</cx:pt>
          <cx:pt idx="33156">1</cx:pt>
          <cx:pt idx="33157">1</cx:pt>
          <cx:pt idx="33158">0</cx:pt>
          <cx:pt idx="33159">1</cx:pt>
          <cx:pt idx="33160">0</cx:pt>
          <cx:pt idx="33161">1</cx:pt>
          <cx:pt idx="33162">0</cx:pt>
          <cx:pt idx="33163">0</cx:pt>
          <cx:pt idx="33164">1</cx:pt>
          <cx:pt idx="33165">1</cx:pt>
          <cx:pt idx="33166">1</cx:pt>
          <cx:pt idx="33167">0</cx:pt>
          <cx:pt idx="33168">0</cx:pt>
          <cx:pt idx="33169">0</cx:pt>
          <cx:pt idx="33170">1</cx:pt>
          <cx:pt idx="33171">0</cx:pt>
          <cx:pt idx="33172">0</cx:pt>
          <cx:pt idx="33173">0</cx:pt>
          <cx:pt idx="33174">0</cx:pt>
          <cx:pt idx="33175">1</cx:pt>
          <cx:pt idx="33176">1</cx:pt>
          <cx:pt idx="33177">1</cx:pt>
          <cx:pt idx="33178">0</cx:pt>
          <cx:pt idx="33179">1</cx:pt>
          <cx:pt idx="33180">0</cx:pt>
          <cx:pt idx="33181">0</cx:pt>
          <cx:pt idx="33182">1</cx:pt>
          <cx:pt idx="33183">1</cx:pt>
          <cx:pt idx="33184">0</cx:pt>
          <cx:pt idx="33185">1</cx:pt>
          <cx:pt idx="33186">0</cx:pt>
          <cx:pt idx="33187">0</cx:pt>
          <cx:pt idx="33188">1</cx:pt>
          <cx:pt idx="33189">0</cx:pt>
          <cx:pt idx="33190">1</cx:pt>
          <cx:pt idx="33191">0</cx:pt>
          <cx:pt idx="33192">1</cx:pt>
          <cx:pt idx="33193">1</cx:pt>
          <cx:pt idx="33194">1</cx:pt>
          <cx:pt idx="33195">1</cx:pt>
          <cx:pt idx="33196">1</cx:pt>
          <cx:pt idx="33197">1</cx:pt>
          <cx:pt idx="33198">1</cx:pt>
          <cx:pt idx="33199">0</cx:pt>
          <cx:pt idx="33200">0</cx:pt>
          <cx:pt idx="33201">1</cx:pt>
          <cx:pt idx="33202">0</cx:pt>
          <cx:pt idx="33203">0</cx:pt>
          <cx:pt idx="33204">0</cx:pt>
          <cx:pt idx="33205">0</cx:pt>
          <cx:pt idx="33206">0</cx:pt>
          <cx:pt idx="33207">1</cx:pt>
          <cx:pt idx="33208">1</cx:pt>
          <cx:pt idx="33209">0</cx:pt>
          <cx:pt idx="33210">1</cx:pt>
          <cx:pt idx="33211">0</cx:pt>
          <cx:pt idx="33212">0</cx:pt>
          <cx:pt idx="33213">0</cx:pt>
          <cx:pt idx="33214">1</cx:pt>
          <cx:pt idx="33215">0</cx:pt>
          <cx:pt idx="33216">1</cx:pt>
          <cx:pt idx="33217">0</cx:pt>
          <cx:pt idx="33218">0</cx:pt>
          <cx:pt idx="33219">0</cx:pt>
          <cx:pt idx="33220">0</cx:pt>
          <cx:pt idx="33221">0</cx:pt>
          <cx:pt idx="33222">1</cx:pt>
          <cx:pt idx="33223">1</cx:pt>
          <cx:pt idx="33224">0</cx:pt>
          <cx:pt idx="33225">0</cx:pt>
          <cx:pt idx="33226">1</cx:pt>
          <cx:pt idx="33227">0</cx:pt>
          <cx:pt idx="33228">1</cx:pt>
          <cx:pt idx="33229">0</cx:pt>
          <cx:pt idx="33230">1</cx:pt>
          <cx:pt idx="33231">1</cx:pt>
          <cx:pt idx="33232">1</cx:pt>
          <cx:pt idx="33233">0</cx:pt>
          <cx:pt idx="33234">0</cx:pt>
          <cx:pt idx="33235">0</cx:pt>
          <cx:pt idx="33236">0</cx:pt>
          <cx:pt idx="33237">0</cx:pt>
          <cx:pt idx="33238">0</cx:pt>
          <cx:pt idx="33239">0</cx:pt>
          <cx:pt idx="33240">1</cx:pt>
          <cx:pt idx="33241">0</cx:pt>
          <cx:pt idx="33242">1</cx:pt>
          <cx:pt idx="33243">0</cx:pt>
          <cx:pt idx="33244">1</cx:pt>
          <cx:pt idx="33245">0</cx:pt>
          <cx:pt idx="33246">1</cx:pt>
          <cx:pt idx="33247">1</cx:pt>
          <cx:pt idx="33248">1</cx:pt>
          <cx:pt idx="33249">0</cx:pt>
          <cx:pt idx="33250">1</cx:pt>
          <cx:pt idx="33251">1</cx:pt>
          <cx:pt idx="33252">0</cx:pt>
          <cx:pt idx="33253">0</cx:pt>
          <cx:pt idx="33254">0</cx:pt>
          <cx:pt idx="33255">1</cx:pt>
          <cx:pt idx="33256">0</cx:pt>
          <cx:pt idx="33257">1</cx:pt>
          <cx:pt idx="33258">1</cx:pt>
          <cx:pt idx="33259">1</cx:pt>
          <cx:pt idx="33260">1</cx:pt>
          <cx:pt idx="33261">0</cx:pt>
          <cx:pt idx="33262">0</cx:pt>
          <cx:pt idx="33263">1</cx:pt>
          <cx:pt idx="33264">0</cx:pt>
          <cx:pt idx="33265">1</cx:pt>
          <cx:pt idx="33266">1</cx:pt>
          <cx:pt idx="33267">1</cx:pt>
          <cx:pt idx="33268">0</cx:pt>
          <cx:pt idx="33269">0</cx:pt>
          <cx:pt idx="33270">1</cx:pt>
          <cx:pt idx="33271">0</cx:pt>
          <cx:pt idx="33272">1</cx:pt>
          <cx:pt idx="33273">1</cx:pt>
          <cx:pt idx="33274">0</cx:pt>
          <cx:pt idx="33275">1</cx:pt>
          <cx:pt idx="33276">1</cx:pt>
          <cx:pt idx="33277">1</cx:pt>
          <cx:pt idx="33278">0</cx:pt>
          <cx:pt idx="33279">0</cx:pt>
          <cx:pt idx="33280">0</cx:pt>
          <cx:pt idx="33281">0</cx:pt>
          <cx:pt idx="33282">0</cx:pt>
          <cx:pt idx="33283">0</cx:pt>
          <cx:pt idx="33284">0</cx:pt>
          <cx:pt idx="33285">0</cx:pt>
          <cx:pt idx="33286">0</cx:pt>
          <cx:pt idx="33287">0</cx:pt>
          <cx:pt idx="33288">0</cx:pt>
          <cx:pt idx="33289">1</cx:pt>
          <cx:pt idx="33290">0</cx:pt>
          <cx:pt idx="33291">1</cx:pt>
          <cx:pt idx="33292">0</cx:pt>
          <cx:pt idx="33293">0</cx:pt>
          <cx:pt idx="33294">1</cx:pt>
          <cx:pt idx="33295">0</cx:pt>
          <cx:pt idx="33296">1</cx:pt>
          <cx:pt idx="33297">0</cx:pt>
          <cx:pt idx="33298">0</cx:pt>
          <cx:pt idx="33299">0</cx:pt>
          <cx:pt idx="33300">1</cx:pt>
          <cx:pt idx="33301">0</cx:pt>
          <cx:pt idx="33302">0</cx:pt>
          <cx:pt idx="33303">0</cx:pt>
          <cx:pt idx="33304">0</cx:pt>
          <cx:pt idx="33305">1</cx:pt>
          <cx:pt idx="33306">0</cx:pt>
          <cx:pt idx="33307">1</cx:pt>
          <cx:pt idx="33308">0</cx:pt>
          <cx:pt idx="33309">1</cx:pt>
          <cx:pt idx="33310">0</cx:pt>
          <cx:pt idx="33311">1</cx:pt>
          <cx:pt idx="33312">1</cx:pt>
          <cx:pt idx="33313">1</cx:pt>
          <cx:pt idx="33314">0</cx:pt>
          <cx:pt idx="33315">1</cx:pt>
          <cx:pt idx="33316">1</cx:pt>
          <cx:pt idx="33317">1</cx:pt>
          <cx:pt idx="33318">0</cx:pt>
          <cx:pt idx="33319">0</cx:pt>
          <cx:pt idx="33320">1</cx:pt>
          <cx:pt idx="33321">1</cx:pt>
          <cx:pt idx="33322">0</cx:pt>
          <cx:pt idx="33323">0</cx:pt>
          <cx:pt idx="33324">1</cx:pt>
          <cx:pt idx="33325">0</cx:pt>
          <cx:pt idx="33326">1</cx:pt>
          <cx:pt idx="33327">0</cx:pt>
          <cx:pt idx="33328">0</cx:pt>
          <cx:pt idx="33329">0</cx:pt>
          <cx:pt idx="33330">1</cx:pt>
          <cx:pt idx="33331">0</cx:pt>
          <cx:pt idx="33332">0</cx:pt>
          <cx:pt idx="33333">0</cx:pt>
          <cx:pt idx="33334">0</cx:pt>
          <cx:pt idx="33335">1</cx:pt>
          <cx:pt idx="33336">0</cx:pt>
          <cx:pt idx="33337">1</cx:pt>
          <cx:pt idx="33338">1</cx:pt>
          <cx:pt idx="33339">1</cx:pt>
          <cx:pt idx="33340">0</cx:pt>
          <cx:pt idx="33341">1</cx:pt>
          <cx:pt idx="33342">0</cx:pt>
          <cx:pt idx="33343">1</cx:pt>
          <cx:pt idx="33344">1</cx:pt>
          <cx:pt idx="33345">0</cx:pt>
          <cx:pt idx="33346">0</cx:pt>
          <cx:pt idx="33347">0</cx:pt>
          <cx:pt idx="33348">0</cx:pt>
          <cx:pt idx="33349">0</cx:pt>
          <cx:pt idx="33350">1</cx:pt>
          <cx:pt idx="33351">0</cx:pt>
          <cx:pt idx="33352">1</cx:pt>
          <cx:pt idx="33353">0</cx:pt>
          <cx:pt idx="33354">0</cx:pt>
          <cx:pt idx="33355">1</cx:pt>
          <cx:pt idx="33356">0</cx:pt>
          <cx:pt idx="33357">1</cx:pt>
          <cx:pt idx="33358">1</cx:pt>
          <cx:pt idx="33359">1</cx:pt>
          <cx:pt idx="33360">0</cx:pt>
          <cx:pt idx="33361">0</cx:pt>
          <cx:pt idx="33362">0</cx:pt>
          <cx:pt idx="33363">0</cx:pt>
          <cx:pt idx="33364">1</cx:pt>
          <cx:pt idx="33365">0</cx:pt>
          <cx:pt idx="33366">1</cx:pt>
          <cx:pt idx="33367">1</cx:pt>
          <cx:pt idx="33368">1</cx:pt>
          <cx:pt idx="33369">0</cx:pt>
          <cx:pt idx="33370">1</cx:pt>
          <cx:pt idx="33371">0</cx:pt>
          <cx:pt idx="33372">0</cx:pt>
          <cx:pt idx="33373">1</cx:pt>
          <cx:pt idx="33374">0</cx:pt>
          <cx:pt idx="33375">0</cx:pt>
          <cx:pt idx="33376">1</cx:pt>
          <cx:pt idx="33377">0</cx:pt>
          <cx:pt idx="33378">0</cx:pt>
          <cx:pt idx="33379">0</cx:pt>
          <cx:pt idx="33380">1</cx:pt>
          <cx:pt idx="33381">1</cx:pt>
          <cx:pt idx="33382">0</cx:pt>
          <cx:pt idx="33383">1</cx:pt>
          <cx:pt idx="33384">1</cx:pt>
          <cx:pt idx="33385">1</cx:pt>
          <cx:pt idx="33386">1</cx:pt>
          <cx:pt idx="33387">0</cx:pt>
          <cx:pt idx="33388">0</cx:pt>
          <cx:pt idx="33389">0</cx:pt>
          <cx:pt idx="33390">1</cx:pt>
          <cx:pt idx="33391">1</cx:pt>
          <cx:pt idx="33392">1</cx:pt>
          <cx:pt idx="33393">1</cx:pt>
          <cx:pt idx="33394">1</cx:pt>
          <cx:pt idx="33395">1</cx:pt>
          <cx:pt idx="33396">0</cx:pt>
          <cx:pt idx="33397">0</cx:pt>
          <cx:pt idx="33398">1</cx:pt>
          <cx:pt idx="33399">1</cx:pt>
          <cx:pt idx="33400">0</cx:pt>
          <cx:pt idx="33401">1</cx:pt>
          <cx:pt idx="33402">1</cx:pt>
          <cx:pt idx="33403">1</cx:pt>
          <cx:pt idx="33404">1</cx:pt>
          <cx:pt idx="33405">0</cx:pt>
          <cx:pt idx="33406">1</cx:pt>
          <cx:pt idx="33407">0</cx:pt>
          <cx:pt idx="33408">0</cx:pt>
          <cx:pt idx="33409">0</cx:pt>
          <cx:pt idx="33410">0</cx:pt>
          <cx:pt idx="33411">0</cx:pt>
          <cx:pt idx="33412">1</cx:pt>
          <cx:pt idx="33413">1</cx:pt>
          <cx:pt idx="33414">0</cx:pt>
          <cx:pt idx="33415">0</cx:pt>
          <cx:pt idx="33416">0</cx:pt>
          <cx:pt idx="33417">0</cx:pt>
          <cx:pt idx="33418">1</cx:pt>
          <cx:pt idx="33419">1</cx:pt>
          <cx:pt idx="33420">1</cx:pt>
          <cx:pt idx="33421">1</cx:pt>
          <cx:pt idx="33422">1</cx:pt>
          <cx:pt idx="33423">1</cx:pt>
          <cx:pt idx="33424">0</cx:pt>
          <cx:pt idx="33425">1</cx:pt>
          <cx:pt idx="33426">1</cx:pt>
          <cx:pt idx="33427">1</cx:pt>
          <cx:pt idx="33428">0</cx:pt>
          <cx:pt idx="33429">1</cx:pt>
          <cx:pt idx="33430">1</cx:pt>
          <cx:pt idx="33431">0</cx:pt>
          <cx:pt idx="33432">0</cx:pt>
          <cx:pt idx="33433">1</cx:pt>
          <cx:pt idx="33434">0</cx:pt>
          <cx:pt idx="33435">1</cx:pt>
          <cx:pt idx="33436">0</cx:pt>
          <cx:pt idx="33437">0</cx:pt>
          <cx:pt idx="33438">1</cx:pt>
          <cx:pt idx="33439">0</cx:pt>
          <cx:pt idx="33440">1</cx:pt>
          <cx:pt idx="33441">0</cx:pt>
          <cx:pt idx="33442">1</cx:pt>
          <cx:pt idx="33443">1</cx:pt>
          <cx:pt idx="33444">1</cx:pt>
          <cx:pt idx="33445">0</cx:pt>
          <cx:pt idx="33446">1</cx:pt>
          <cx:pt idx="33447">0</cx:pt>
          <cx:pt idx="33448">1</cx:pt>
          <cx:pt idx="33449">0</cx:pt>
          <cx:pt idx="33450">0</cx:pt>
          <cx:pt idx="33451">0</cx:pt>
          <cx:pt idx="33452">0</cx:pt>
          <cx:pt idx="33453">1</cx:pt>
          <cx:pt idx="33454">1</cx:pt>
          <cx:pt idx="33455">0</cx:pt>
          <cx:pt idx="33456">0</cx:pt>
          <cx:pt idx="33457">1</cx:pt>
          <cx:pt idx="33458">0</cx:pt>
          <cx:pt idx="33459">1</cx:pt>
          <cx:pt idx="33460">0</cx:pt>
          <cx:pt idx="33461">0</cx:pt>
          <cx:pt idx="33462">0</cx:pt>
          <cx:pt idx="33463">1</cx:pt>
          <cx:pt idx="33464">1</cx:pt>
          <cx:pt idx="33465">0</cx:pt>
          <cx:pt idx="33466">1</cx:pt>
          <cx:pt idx="33467">0</cx:pt>
          <cx:pt idx="33468">0</cx:pt>
          <cx:pt idx="33469">1</cx:pt>
          <cx:pt idx="33470">0</cx:pt>
          <cx:pt idx="33471">0</cx:pt>
          <cx:pt idx="33472">0</cx:pt>
          <cx:pt idx="33473">0</cx:pt>
          <cx:pt idx="33474">0</cx:pt>
          <cx:pt idx="33475">0</cx:pt>
          <cx:pt idx="33476">0</cx:pt>
          <cx:pt idx="33477">0</cx:pt>
          <cx:pt idx="33478">1</cx:pt>
          <cx:pt idx="33479">0</cx:pt>
          <cx:pt idx="33480">0</cx:pt>
          <cx:pt idx="33481">1</cx:pt>
          <cx:pt idx="33482">0</cx:pt>
          <cx:pt idx="33483">0</cx:pt>
          <cx:pt idx="33484">1</cx:pt>
          <cx:pt idx="33485">1</cx:pt>
          <cx:pt idx="33486">0</cx:pt>
          <cx:pt idx="33487">0</cx:pt>
          <cx:pt idx="33488">1</cx:pt>
          <cx:pt idx="33489">0</cx:pt>
          <cx:pt idx="33490">1</cx:pt>
          <cx:pt idx="33491">0</cx:pt>
          <cx:pt idx="33492">0</cx:pt>
          <cx:pt idx="33493">0</cx:pt>
          <cx:pt idx="33494">0</cx:pt>
          <cx:pt idx="33495">0</cx:pt>
          <cx:pt idx="33496">0</cx:pt>
          <cx:pt idx="33497">0</cx:pt>
          <cx:pt idx="33498">1</cx:pt>
          <cx:pt idx="33499">0</cx:pt>
          <cx:pt idx="33500">0</cx:pt>
          <cx:pt idx="33501">1</cx:pt>
          <cx:pt idx="33502">0</cx:pt>
          <cx:pt idx="33503">0</cx:pt>
          <cx:pt idx="33504">1</cx:pt>
          <cx:pt idx="33505">1</cx:pt>
          <cx:pt idx="33506">0</cx:pt>
          <cx:pt idx="33507">0</cx:pt>
          <cx:pt idx="33508">0</cx:pt>
          <cx:pt idx="33509">1</cx:pt>
          <cx:pt idx="33510">0</cx:pt>
          <cx:pt idx="33511">1</cx:pt>
          <cx:pt idx="33512">0</cx:pt>
          <cx:pt idx="33513">1</cx:pt>
          <cx:pt idx="33514">0</cx:pt>
          <cx:pt idx="33515">1</cx:pt>
          <cx:pt idx="33516">0</cx:pt>
          <cx:pt idx="33517">0</cx:pt>
          <cx:pt idx="33518">0</cx:pt>
          <cx:pt idx="33519">1</cx:pt>
          <cx:pt idx="33520">0</cx:pt>
          <cx:pt idx="33521">0</cx:pt>
          <cx:pt idx="33522">1</cx:pt>
          <cx:pt idx="33523">0</cx:pt>
          <cx:pt idx="33524">1</cx:pt>
          <cx:pt idx="33525">0</cx:pt>
          <cx:pt idx="33526">1</cx:pt>
          <cx:pt idx="33527">1</cx:pt>
          <cx:pt idx="33528">0</cx:pt>
          <cx:pt idx="33529">1</cx:pt>
          <cx:pt idx="33530">1</cx:pt>
          <cx:pt idx="33531">1</cx:pt>
          <cx:pt idx="33532">1</cx:pt>
          <cx:pt idx="33533">0</cx:pt>
          <cx:pt idx="33534">0</cx:pt>
          <cx:pt idx="33535">0</cx:pt>
          <cx:pt idx="33536">1</cx:pt>
          <cx:pt idx="33537">0</cx:pt>
          <cx:pt idx="33538">1</cx:pt>
          <cx:pt idx="33539">1</cx:pt>
          <cx:pt idx="33540">0</cx:pt>
          <cx:pt idx="33541">1</cx:pt>
          <cx:pt idx="33542">1</cx:pt>
          <cx:pt idx="33543">1</cx:pt>
          <cx:pt idx="33544">0</cx:pt>
          <cx:pt idx="33545">1</cx:pt>
          <cx:pt idx="33546">0</cx:pt>
          <cx:pt idx="33547">1</cx:pt>
          <cx:pt idx="33548">0</cx:pt>
          <cx:pt idx="33549">0</cx:pt>
          <cx:pt idx="33550">1</cx:pt>
          <cx:pt idx="33551">0</cx:pt>
          <cx:pt idx="33552">0</cx:pt>
          <cx:pt idx="33553">1</cx:pt>
          <cx:pt idx="33554">1</cx:pt>
          <cx:pt idx="33555">0</cx:pt>
          <cx:pt idx="33556">0</cx:pt>
          <cx:pt idx="33557">0</cx:pt>
          <cx:pt idx="33558">1</cx:pt>
          <cx:pt idx="33559">0</cx:pt>
          <cx:pt idx="33560">0</cx:pt>
          <cx:pt idx="33561">1</cx:pt>
          <cx:pt idx="33562">1</cx:pt>
          <cx:pt idx="33563">1</cx:pt>
          <cx:pt idx="33564">1</cx:pt>
          <cx:pt idx="33565">1</cx:pt>
          <cx:pt idx="33566">0</cx:pt>
          <cx:pt idx="33567">0</cx:pt>
          <cx:pt idx="33568">0</cx:pt>
          <cx:pt idx="33569">0</cx:pt>
          <cx:pt idx="33570">0</cx:pt>
          <cx:pt idx="33571">0</cx:pt>
          <cx:pt idx="33572">0</cx:pt>
          <cx:pt idx="33573">0</cx:pt>
          <cx:pt idx="33574">1</cx:pt>
          <cx:pt idx="33575">0</cx:pt>
          <cx:pt idx="33576">0</cx:pt>
          <cx:pt idx="33577">0</cx:pt>
          <cx:pt idx="33578">0</cx:pt>
          <cx:pt idx="33579">0</cx:pt>
          <cx:pt idx="33580">0</cx:pt>
          <cx:pt idx="33581">0</cx:pt>
          <cx:pt idx="33582">1</cx:pt>
          <cx:pt idx="33583">0</cx:pt>
          <cx:pt idx="33584">0</cx:pt>
          <cx:pt idx="33585">1</cx:pt>
          <cx:pt idx="33586">1</cx:pt>
          <cx:pt idx="33587">0</cx:pt>
          <cx:pt idx="33588">1</cx:pt>
          <cx:pt idx="33589">1</cx:pt>
          <cx:pt idx="33590">0</cx:pt>
          <cx:pt idx="33591">1</cx:pt>
          <cx:pt idx="33592">0</cx:pt>
          <cx:pt idx="33593">1</cx:pt>
          <cx:pt idx="33594">0</cx:pt>
          <cx:pt idx="33595">0</cx:pt>
          <cx:pt idx="33596">0</cx:pt>
          <cx:pt idx="33597">0</cx:pt>
          <cx:pt idx="33598">0</cx:pt>
          <cx:pt idx="33599">1</cx:pt>
          <cx:pt idx="33600">1</cx:pt>
          <cx:pt idx="33601">0</cx:pt>
          <cx:pt idx="33602">1</cx:pt>
          <cx:pt idx="33603">0</cx:pt>
          <cx:pt idx="33604">0</cx:pt>
          <cx:pt idx="33605">0</cx:pt>
          <cx:pt idx="33606">1</cx:pt>
          <cx:pt idx="33607">0</cx:pt>
          <cx:pt idx="33608">0</cx:pt>
          <cx:pt idx="33609">1</cx:pt>
          <cx:pt idx="33610">0</cx:pt>
          <cx:pt idx="33611">0</cx:pt>
          <cx:pt idx="33612">0</cx:pt>
          <cx:pt idx="33613">1</cx:pt>
          <cx:pt idx="33614">1</cx:pt>
          <cx:pt idx="33615">1</cx:pt>
          <cx:pt idx="33616">0</cx:pt>
          <cx:pt idx="33617">0</cx:pt>
          <cx:pt idx="33618">1</cx:pt>
          <cx:pt idx="33619">1</cx:pt>
          <cx:pt idx="33620">1</cx:pt>
          <cx:pt idx="33621">1</cx:pt>
          <cx:pt idx="33622">1</cx:pt>
          <cx:pt idx="33623">1</cx:pt>
          <cx:pt idx="33624">0</cx:pt>
          <cx:pt idx="33625">0</cx:pt>
          <cx:pt idx="33626">0</cx:pt>
          <cx:pt idx="33627">0</cx:pt>
          <cx:pt idx="33628">1</cx:pt>
          <cx:pt idx="33629">1</cx:pt>
          <cx:pt idx="33630">1</cx:pt>
          <cx:pt idx="33631">1</cx:pt>
          <cx:pt idx="33632">1</cx:pt>
          <cx:pt idx="33633">0</cx:pt>
          <cx:pt idx="33634">0</cx:pt>
          <cx:pt idx="33635">1</cx:pt>
          <cx:pt idx="33636">0</cx:pt>
          <cx:pt idx="33637">0</cx:pt>
          <cx:pt idx="33638">1</cx:pt>
          <cx:pt idx="33639">0</cx:pt>
          <cx:pt idx="33640">1</cx:pt>
          <cx:pt idx="33641">0</cx:pt>
          <cx:pt idx="33642">0</cx:pt>
          <cx:pt idx="33643">0</cx:pt>
          <cx:pt idx="33644">1</cx:pt>
          <cx:pt idx="33645">0</cx:pt>
          <cx:pt idx="33646">0</cx:pt>
          <cx:pt idx="33647">0</cx:pt>
          <cx:pt idx="33648">0</cx:pt>
          <cx:pt idx="33649">0</cx:pt>
          <cx:pt idx="33650">1</cx:pt>
          <cx:pt idx="33651">0</cx:pt>
          <cx:pt idx="33652">0</cx:pt>
          <cx:pt idx="33653">1</cx:pt>
          <cx:pt idx="33654">1</cx:pt>
          <cx:pt idx="33655">0</cx:pt>
          <cx:pt idx="33656">1</cx:pt>
          <cx:pt idx="33657">1</cx:pt>
          <cx:pt idx="33658">1</cx:pt>
          <cx:pt idx="33659">0</cx:pt>
          <cx:pt idx="33660">0</cx:pt>
          <cx:pt idx="33661">0</cx:pt>
          <cx:pt idx="33662">1</cx:pt>
          <cx:pt idx="33663">0</cx:pt>
          <cx:pt idx="33664">0</cx:pt>
          <cx:pt idx="33665">0</cx:pt>
          <cx:pt idx="33666">1</cx:pt>
          <cx:pt idx="33667">0</cx:pt>
          <cx:pt idx="33668">1</cx:pt>
          <cx:pt idx="33669">1</cx:pt>
          <cx:pt idx="33670">1</cx:pt>
          <cx:pt idx="33671">0</cx:pt>
          <cx:pt idx="33672">0</cx:pt>
          <cx:pt idx="33673">1</cx:pt>
          <cx:pt idx="33674">0</cx:pt>
          <cx:pt idx="33675">0</cx:pt>
          <cx:pt idx="33676">0</cx:pt>
          <cx:pt idx="33677">1</cx:pt>
          <cx:pt idx="33678">1</cx:pt>
          <cx:pt idx="33679">0</cx:pt>
          <cx:pt idx="33680">1</cx:pt>
          <cx:pt idx="33681">1</cx:pt>
          <cx:pt idx="33682">0</cx:pt>
          <cx:pt idx="33683">1</cx:pt>
          <cx:pt idx="33684">0</cx:pt>
          <cx:pt idx="33685">1</cx:pt>
          <cx:pt idx="33686">1</cx:pt>
          <cx:pt idx="33687">1</cx:pt>
          <cx:pt idx="33688">1</cx:pt>
          <cx:pt idx="33689">0</cx:pt>
          <cx:pt idx="33690">1</cx:pt>
          <cx:pt idx="33691">0</cx:pt>
          <cx:pt idx="33692">0</cx:pt>
          <cx:pt idx="33693">1</cx:pt>
          <cx:pt idx="33694">0</cx:pt>
          <cx:pt idx="33695">1</cx:pt>
          <cx:pt idx="33696">1</cx:pt>
          <cx:pt idx="33697">1</cx:pt>
          <cx:pt idx="33698">1</cx:pt>
          <cx:pt idx="33699">0</cx:pt>
          <cx:pt idx="33700">0</cx:pt>
          <cx:pt idx="33701">0</cx:pt>
          <cx:pt idx="33702">1</cx:pt>
          <cx:pt idx="33703">0</cx:pt>
          <cx:pt idx="33704">1</cx:pt>
          <cx:pt idx="33705">0</cx:pt>
          <cx:pt idx="33706">0</cx:pt>
          <cx:pt idx="33707">0</cx:pt>
          <cx:pt idx="33708">0</cx:pt>
          <cx:pt idx="33709">1</cx:pt>
          <cx:pt idx="33710">1</cx:pt>
          <cx:pt idx="33711">1</cx:pt>
          <cx:pt idx="33712">1</cx:pt>
          <cx:pt idx="33713">0</cx:pt>
          <cx:pt idx="33714">1</cx:pt>
          <cx:pt idx="33715">0</cx:pt>
          <cx:pt idx="33716">0</cx:pt>
          <cx:pt idx="33717">0</cx:pt>
          <cx:pt idx="33718">0</cx:pt>
          <cx:pt idx="33719">1</cx:pt>
          <cx:pt idx="33720">0</cx:pt>
          <cx:pt idx="33721">0</cx:pt>
          <cx:pt idx="33722">0</cx:pt>
          <cx:pt idx="33723">0</cx:pt>
          <cx:pt idx="33724">0</cx:pt>
          <cx:pt idx="33725">0</cx:pt>
          <cx:pt idx="33726">0</cx:pt>
          <cx:pt idx="33727">0</cx:pt>
          <cx:pt idx="33728">0</cx:pt>
          <cx:pt idx="33729">0</cx:pt>
          <cx:pt idx="33730">1</cx:pt>
          <cx:pt idx="33731">0</cx:pt>
          <cx:pt idx="33732">0</cx:pt>
          <cx:pt idx="33733">0</cx:pt>
          <cx:pt idx="33734">1</cx:pt>
          <cx:pt idx="33735">0</cx:pt>
          <cx:pt idx="33736">0</cx:pt>
          <cx:pt idx="33737">0</cx:pt>
          <cx:pt idx="33738">1</cx:pt>
          <cx:pt idx="33739">0</cx:pt>
          <cx:pt idx="33740">0</cx:pt>
          <cx:pt idx="33741">0</cx:pt>
          <cx:pt idx="33742">1</cx:pt>
          <cx:pt idx="33743">1</cx:pt>
          <cx:pt idx="33744">0</cx:pt>
          <cx:pt idx="33745">1</cx:pt>
          <cx:pt idx="33746">0</cx:pt>
          <cx:pt idx="33747">1</cx:pt>
          <cx:pt idx="33748">0</cx:pt>
          <cx:pt idx="33749">0</cx:pt>
          <cx:pt idx="33750">0</cx:pt>
          <cx:pt idx="33751">0</cx:pt>
          <cx:pt idx="33752">0</cx:pt>
          <cx:pt idx="33753">1</cx:pt>
          <cx:pt idx="33754">1</cx:pt>
          <cx:pt idx="33755">1</cx:pt>
          <cx:pt idx="33756">0</cx:pt>
          <cx:pt idx="33757">0</cx:pt>
          <cx:pt idx="33758">0</cx:pt>
          <cx:pt idx="33759">0</cx:pt>
          <cx:pt idx="33760">0</cx:pt>
          <cx:pt idx="33761">1</cx:pt>
          <cx:pt idx="33762">1</cx:pt>
          <cx:pt idx="33763">1</cx:pt>
          <cx:pt idx="33764">1</cx:pt>
          <cx:pt idx="33765">0</cx:pt>
          <cx:pt idx="33766">1</cx:pt>
          <cx:pt idx="33767">0</cx:pt>
          <cx:pt idx="33768">1</cx:pt>
          <cx:pt idx="33769">0</cx:pt>
          <cx:pt idx="33770">1</cx:pt>
          <cx:pt idx="33771">0</cx:pt>
          <cx:pt idx="33772">0</cx:pt>
          <cx:pt idx="33773">1</cx:pt>
          <cx:pt idx="33774">0</cx:pt>
          <cx:pt idx="33775">1</cx:pt>
          <cx:pt idx="33776">0</cx:pt>
          <cx:pt idx="33777">0</cx:pt>
          <cx:pt idx="33778">0</cx:pt>
          <cx:pt idx="33779">0</cx:pt>
          <cx:pt idx="33780">1</cx:pt>
          <cx:pt idx="33781">1</cx:pt>
          <cx:pt idx="33782">1</cx:pt>
          <cx:pt idx="33783">1</cx:pt>
          <cx:pt idx="33784">1</cx:pt>
          <cx:pt idx="33785">1</cx:pt>
          <cx:pt idx="33786">1</cx:pt>
          <cx:pt idx="33787">0</cx:pt>
          <cx:pt idx="33788">1</cx:pt>
          <cx:pt idx="33789">0</cx:pt>
          <cx:pt idx="33790">1</cx:pt>
          <cx:pt idx="33791">0</cx:pt>
          <cx:pt idx="33792">0</cx:pt>
          <cx:pt idx="33793">0</cx:pt>
          <cx:pt idx="33794">1</cx:pt>
          <cx:pt idx="33795">1</cx:pt>
          <cx:pt idx="33796">1</cx:pt>
          <cx:pt idx="33797">0</cx:pt>
          <cx:pt idx="33798">1</cx:pt>
          <cx:pt idx="33799">0</cx:pt>
          <cx:pt idx="33800">1</cx:pt>
          <cx:pt idx="33801">1</cx:pt>
          <cx:pt idx="33802">0</cx:pt>
          <cx:pt idx="33803">1</cx:pt>
          <cx:pt idx="33804">1</cx:pt>
          <cx:pt idx="33805">1</cx:pt>
          <cx:pt idx="33806">0</cx:pt>
          <cx:pt idx="33807">1</cx:pt>
          <cx:pt idx="33808">1</cx:pt>
          <cx:pt idx="33809">1</cx:pt>
          <cx:pt idx="33810">1</cx:pt>
          <cx:pt idx="33811">1</cx:pt>
          <cx:pt idx="33812">0</cx:pt>
          <cx:pt idx="33813">1</cx:pt>
          <cx:pt idx="33814">1</cx:pt>
          <cx:pt idx="33815">0</cx:pt>
          <cx:pt idx="33816">0</cx:pt>
          <cx:pt idx="33817">1</cx:pt>
          <cx:pt idx="33818">1</cx:pt>
          <cx:pt idx="33819">0</cx:pt>
          <cx:pt idx="33820">1</cx:pt>
          <cx:pt idx="33821">1</cx:pt>
          <cx:pt idx="33822">0</cx:pt>
          <cx:pt idx="33823">1</cx:pt>
          <cx:pt idx="33824">0</cx:pt>
          <cx:pt idx="33825">1</cx:pt>
          <cx:pt idx="33826">1</cx:pt>
          <cx:pt idx="33827">1</cx:pt>
          <cx:pt idx="33828">1</cx:pt>
          <cx:pt idx="33829">0</cx:pt>
          <cx:pt idx="33830">1</cx:pt>
          <cx:pt idx="33831">1</cx:pt>
          <cx:pt idx="33832">1</cx:pt>
          <cx:pt idx="33833">1</cx:pt>
          <cx:pt idx="33834">1</cx:pt>
          <cx:pt idx="33835">1</cx:pt>
          <cx:pt idx="33836">0</cx:pt>
          <cx:pt idx="33837">0</cx:pt>
          <cx:pt idx="33838">1</cx:pt>
          <cx:pt idx="33839">0</cx:pt>
          <cx:pt idx="33840">1</cx:pt>
          <cx:pt idx="33841">0</cx:pt>
          <cx:pt idx="33842">1</cx:pt>
          <cx:pt idx="33843">0</cx:pt>
          <cx:pt idx="33844">0</cx:pt>
          <cx:pt idx="33845">1</cx:pt>
          <cx:pt idx="33846">0</cx:pt>
          <cx:pt idx="33847">1</cx:pt>
          <cx:pt idx="33848">0</cx:pt>
          <cx:pt idx="33849">0</cx:pt>
          <cx:pt idx="33850">1</cx:pt>
          <cx:pt idx="33851">1</cx:pt>
          <cx:pt idx="33852">0</cx:pt>
          <cx:pt idx="33853">0</cx:pt>
          <cx:pt idx="33854">1</cx:pt>
          <cx:pt idx="33855">1</cx:pt>
          <cx:pt idx="33856">1</cx:pt>
          <cx:pt idx="33857">0</cx:pt>
          <cx:pt idx="33858">0</cx:pt>
          <cx:pt idx="33859">1</cx:pt>
          <cx:pt idx="33860">1</cx:pt>
          <cx:pt idx="33861">0</cx:pt>
          <cx:pt idx="33862">0</cx:pt>
          <cx:pt idx="33863">0</cx:pt>
          <cx:pt idx="33864">0</cx:pt>
          <cx:pt idx="33865">0</cx:pt>
          <cx:pt idx="33866">1</cx:pt>
          <cx:pt idx="33867">1</cx:pt>
          <cx:pt idx="33868">1</cx:pt>
          <cx:pt idx="33869">1</cx:pt>
          <cx:pt idx="33870">0</cx:pt>
          <cx:pt idx="33871">0</cx:pt>
          <cx:pt idx="33872">1</cx:pt>
          <cx:pt idx="33873">0</cx:pt>
          <cx:pt idx="33874">0</cx:pt>
          <cx:pt idx="33875">0</cx:pt>
          <cx:pt idx="33876">1</cx:pt>
          <cx:pt idx="33877">1</cx:pt>
          <cx:pt idx="33878">0</cx:pt>
          <cx:pt idx="33879">0</cx:pt>
          <cx:pt idx="33880">0</cx:pt>
          <cx:pt idx="33881">1</cx:pt>
          <cx:pt idx="33882">0</cx:pt>
          <cx:pt idx="33883">0</cx:pt>
          <cx:pt idx="33884">0</cx:pt>
          <cx:pt idx="33885">1</cx:pt>
          <cx:pt idx="33886">1</cx:pt>
          <cx:pt idx="33887">0</cx:pt>
          <cx:pt idx="33888">0</cx:pt>
          <cx:pt idx="33889">0</cx:pt>
          <cx:pt idx="33890">0</cx:pt>
          <cx:pt idx="33891">1</cx:pt>
          <cx:pt idx="33892">1</cx:pt>
          <cx:pt idx="33893">0</cx:pt>
          <cx:pt idx="33894">1</cx:pt>
          <cx:pt idx="33895">1</cx:pt>
          <cx:pt idx="33896">1</cx:pt>
          <cx:pt idx="33897">1</cx:pt>
          <cx:pt idx="33898">0</cx:pt>
          <cx:pt idx="33899">1</cx:pt>
          <cx:pt idx="33900">0</cx:pt>
          <cx:pt idx="33901">1</cx:pt>
          <cx:pt idx="33902">0</cx:pt>
          <cx:pt idx="33903">0</cx:pt>
          <cx:pt idx="33904">1</cx:pt>
          <cx:pt idx="33905">1</cx:pt>
          <cx:pt idx="33906">1</cx:pt>
          <cx:pt idx="33907">0</cx:pt>
          <cx:pt idx="33908">1</cx:pt>
          <cx:pt idx="33909">0</cx:pt>
          <cx:pt idx="33910">0</cx:pt>
          <cx:pt idx="33911">0</cx:pt>
          <cx:pt idx="33912">0</cx:pt>
          <cx:pt idx="33913">0</cx:pt>
          <cx:pt idx="33914">1</cx:pt>
          <cx:pt idx="33915">1</cx:pt>
          <cx:pt idx="33916">1</cx:pt>
          <cx:pt idx="33917">0</cx:pt>
          <cx:pt idx="33918">0</cx:pt>
          <cx:pt idx="33919">0</cx:pt>
          <cx:pt idx="33920">1</cx:pt>
          <cx:pt idx="33921">0</cx:pt>
          <cx:pt idx="33922">0</cx:pt>
          <cx:pt idx="33923">0</cx:pt>
          <cx:pt idx="33924">0</cx:pt>
          <cx:pt idx="33925">1</cx:pt>
          <cx:pt idx="33926">0</cx:pt>
          <cx:pt idx="33927">1</cx:pt>
          <cx:pt idx="33928">1</cx:pt>
          <cx:pt idx="33929">0</cx:pt>
          <cx:pt idx="33930">0</cx:pt>
          <cx:pt idx="33931">1</cx:pt>
          <cx:pt idx="33932">0</cx:pt>
          <cx:pt idx="33933">0</cx:pt>
          <cx:pt idx="33934">1</cx:pt>
          <cx:pt idx="33935">0</cx:pt>
          <cx:pt idx="33936">0</cx:pt>
          <cx:pt idx="33937">0</cx:pt>
          <cx:pt idx="33938">0</cx:pt>
          <cx:pt idx="33939">1</cx:pt>
          <cx:pt idx="33940">0</cx:pt>
          <cx:pt idx="33941">1</cx:pt>
          <cx:pt idx="33942">1</cx:pt>
          <cx:pt idx="33943">0</cx:pt>
          <cx:pt idx="33944">1</cx:pt>
          <cx:pt idx="33945">0</cx:pt>
          <cx:pt idx="33946">1</cx:pt>
          <cx:pt idx="33947">0</cx:pt>
          <cx:pt idx="33948">1</cx:pt>
          <cx:pt idx="33949">0</cx:pt>
          <cx:pt idx="33950">1</cx:pt>
          <cx:pt idx="33951">0</cx:pt>
          <cx:pt idx="33952">0</cx:pt>
          <cx:pt idx="33953">0</cx:pt>
          <cx:pt idx="33954">1</cx:pt>
          <cx:pt idx="33955">0</cx:pt>
          <cx:pt idx="33956">0</cx:pt>
          <cx:pt idx="33957">0</cx:pt>
          <cx:pt idx="33958">1</cx:pt>
          <cx:pt idx="33959">0</cx:pt>
          <cx:pt idx="33960">0</cx:pt>
          <cx:pt idx="33961">1</cx:pt>
          <cx:pt idx="33962">0</cx:pt>
          <cx:pt idx="33963">1</cx:pt>
          <cx:pt idx="33964">0</cx:pt>
          <cx:pt idx="33965">1</cx:pt>
          <cx:pt idx="33966">0</cx:pt>
          <cx:pt idx="33967">1</cx:pt>
          <cx:pt idx="33968">0</cx:pt>
          <cx:pt idx="33969">0</cx:pt>
          <cx:pt idx="33970">0</cx:pt>
          <cx:pt idx="33971">0</cx:pt>
          <cx:pt idx="33972">0</cx:pt>
          <cx:pt idx="33973">0</cx:pt>
          <cx:pt idx="33974">0</cx:pt>
          <cx:pt idx="33975">0</cx:pt>
          <cx:pt idx="33976">1</cx:pt>
          <cx:pt idx="33977">0</cx:pt>
          <cx:pt idx="33978">1</cx:pt>
          <cx:pt idx="33979">0</cx:pt>
          <cx:pt idx="33980">1</cx:pt>
          <cx:pt idx="33981">1</cx:pt>
          <cx:pt idx="33982">1</cx:pt>
          <cx:pt idx="33983">0</cx:pt>
          <cx:pt idx="33984">1</cx:pt>
          <cx:pt idx="33985">0</cx:pt>
          <cx:pt idx="33986">0</cx:pt>
          <cx:pt idx="33987">1</cx:pt>
          <cx:pt idx="33988">1</cx:pt>
          <cx:pt idx="33989">0</cx:pt>
          <cx:pt idx="33990">0</cx:pt>
          <cx:pt idx="33991">1</cx:pt>
          <cx:pt idx="33992">0</cx:pt>
          <cx:pt idx="33993">1</cx:pt>
          <cx:pt idx="33994">0</cx:pt>
          <cx:pt idx="33995">0</cx:pt>
          <cx:pt idx="33996">0</cx:pt>
          <cx:pt idx="33997">1</cx:pt>
          <cx:pt idx="33998">1</cx:pt>
          <cx:pt idx="33999">1</cx:pt>
          <cx:pt idx="34000">1</cx:pt>
          <cx:pt idx="34001">0</cx:pt>
          <cx:pt idx="34002">1</cx:pt>
          <cx:pt idx="34003">1</cx:pt>
          <cx:pt idx="34004">1</cx:pt>
          <cx:pt idx="34005">0</cx:pt>
          <cx:pt idx="34006">1</cx:pt>
          <cx:pt idx="34007">0</cx:pt>
          <cx:pt idx="34008">1</cx:pt>
          <cx:pt idx="34009">1</cx:pt>
          <cx:pt idx="34010">0</cx:pt>
          <cx:pt idx="34011">0</cx:pt>
          <cx:pt idx="34012">0</cx:pt>
          <cx:pt idx="34013">1</cx:pt>
          <cx:pt idx="34014">1</cx:pt>
          <cx:pt idx="34015">1</cx:pt>
          <cx:pt idx="34016">1</cx:pt>
          <cx:pt idx="34017">0</cx:pt>
          <cx:pt idx="34018">0</cx:pt>
          <cx:pt idx="34019">0</cx:pt>
          <cx:pt idx="34020">0</cx:pt>
          <cx:pt idx="34021">0</cx:pt>
          <cx:pt idx="34022">1</cx:pt>
          <cx:pt idx="34023">1</cx:pt>
          <cx:pt idx="34024">0</cx:pt>
          <cx:pt idx="34025">0</cx:pt>
          <cx:pt idx="34026">1</cx:pt>
          <cx:pt idx="34027">1</cx:pt>
          <cx:pt idx="34028">1</cx:pt>
          <cx:pt idx="34029">0</cx:pt>
          <cx:pt idx="34030">0</cx:pt>
          <cx:pt idx="34031">0</cx:pt>
          <cx:pt idx="34032">1</cx:pt>
          <cx:pt idx="34033">1</cx:pt>
          <cx:pt idx="34034">0</cx:pt>
          <cx:pt idx="34035">1</cx:pt>
          <cx:pt idx="34036">1</cx:pt>
          <cx:pt idx="34037">1</cx:pt>
          <cx:pt idx="34038">0</cx:pt>
          <cx:pt idx="34039">1</cx:pt>
          <cx:pt idx="34040">0</cx:pt>
          <cx:pt idx="34041">1</cx:pt>
          <cx:pt idx="34042">0</cx:pt>
          <cx:pt idx="34043">0</cx:pt>
          <cx:pt idx="34044">1</cx:pt>
          <cx:pt idx="34045">0</cx:pt>
          <cx:pt idx="34046">0</cx:pt>
          <cx:pt idx="34047">0</cx:pt>
          <cx:pt idx="34048">1</cx:pt>
          <cx:pt idx="34049">1</cx:pt>
          <cx:pt idx="34050">0</cx:pt>
          <cx:pt idx="34051">0</cx:pt>
          <cx:pt idx="34052">0</cx:pt>
          <cx:pt idx="34053">0</cx:pt>
          <cx:pt idx="34054">1</cx:pt>
          <cx:pt idx="34055">0</cx:pt>
          <cx:pt idx="34056">0</cx:pt>
          <cx:pt idx="34057">1</cx:pt>
          <cx:pt idx="34058">1</cx:pt>
          <cx:pt idx="34059">0</cx:pt>
          <cx:pt idx="34060">1</cx:pt>
          <cx:pt idx="34061">0</cx:pt>
          <cx:pt idx="34062">0</cx:pt>
          <cx:pt idx="34063">0</cx:pt>
          <cx:pt idx="34064">0</cx:pt>
          <cx:pt idx="34065">1</cx:pt>
          <cx:pt idx="34066">1</cx:pt>
          <cx:pt idx="34067">0</cx:pt>
          <cx:pt idx="34068">0</cx:pt>
          <cx:pt idx="34069">0</cx:pt>
          <cx:pt idx="34070">0</cx:pt>
          <cx:pt idx="34071">1</cx:pt>
          <cx:pt idx="34072">1</cx:pt>
          <cx:pt idx="34073">0</cx:pt>
          <cx:pt idx="34074">1</cx:pt>
          <cx:pt idx="34075">0</cx:pt>
          <cx:pt idx="34076">1</cx:pt>
          <cx:pt idx="34077">1</cx:pt>
          <cx:pt idx="34078">0</cx:pt>
          <cx:pt idx="34079">0</cx:pt>
          <cx:pt idx="34080">1</cx:pt>
          <cx:pt idx="34081">1</cx:pt>
          <cx:pt idx="34082">0</cx:pt>
          <cx:pt idx="34083">0</cx:pt>
          <cx:pt idx="34084">0</cx:pt>
          <cx:pt idx="34085">0</cx:pt>
          <cx:pt idx="34086">1</cx:pt>
          <cx:pt idx="34087">0</cx:pt>
          <cx:pt idx="34088">0</cx:pt>
          <cx:pt idx="34089">0</cx:pt>
          <cx:pt idx="34090">1</cx:pt>
          <cx:pt idx="34091">0</cx:pt>
          <cx:pt idx="34092">1</cx:pt>
          <cx:pt idx="34093">0</cx:pt>
          <cx:pt idx="34094">0</cx:pt>
          <cx:pt idx="34095">0</cx:pt>
          <cx:pt idx="34096">0</cx:pt>
          <cx:pt idx="34097">0</cx:pt>
          <cx:pt idx="34098">1</cx:pt>
          <cx:pt idx="34099">1</cx:pt>
          <cx:pt idx="34100">1</cx:pt>
          <cx:pt idx="34101">1</cx:pt>
          <cx:pt idx="34102">1</cx:pt>
          <cx:pt idx="34103">1</cx:pt>
          <cx:pt idx="34104">0</cx:pt>
          <cx:pt idx="34105">1</cx:pt>
          <cx:pt idx="34106">1</cx:pt>
          <cx:pt idx="34107">1</cx:pt>
          <cx:pt idx="34108">1</cx:pt>
          <cx:pt idx="34109">0</cx:pt>
          <cx:pt idx="34110">0</cx:pt>
          <cx:pt idx="34111">0</cx:pt>
          <cx:pt idx="34112">0</cx:pt>
          <cx:pt idx="34113">1</cx:pt>
          <cx:pt idx="34114">1</cx:pt>
          <cx:pt idx="34115">0</cx:pt>
          <cx:pt idx="34116">1</cx:pt>
          <cx:pt idx="34117">0</cx:pt>
          <cx:pt idx="34118">0</cx:pt>
          <cx:pt idx="34119">1</cx:pt>
          <cx:pt idx="34120">0</cx:pt>
          <cx:pt idx="34121">1</cx:pt>
          <cx:pt idx="34122">0</cx:pt>
          <cx:pt idx="34123">0</cx:pt>
          <cx:pt idx="34124">0</cx:pt>
          <cx:pt idx="34125">0</cx:pt>
          <cx:pt idx="34126">0</cx:pt>
          <cx:pt idx="34127">0</cx:pt>
          <cx:pt idx="34128">0</cx:pt>
          <cx:pt idx="34129">1</cx:pt>
          <cx:pt idx="34130">1</cx:pt>
          <cx:pt idx="34131">1</cx:pt>
          <cx:pt idx="34132">1</cx:pt>
          <cx:pt idx="34133">0</cx:pt>
          <cx:pt idx="34134">1</cx:pt>
          <cx:pt idx="34135">1</cx:pt>
          <cx:pt idx="34136">0</cx:pt>
          <cx:pt idx="34137">1</cx:pt>
          <cx:pt idx="34138">1</cx:pt>
          <cx:pt idx="34139">0</cx:pt>
          <cx:pt idx="34140">0</cx:pt>
          <cx:pt idx="34141">1</cx:pt>
          <cx:pt idx="34142">0</cx:pt>
          <cx:pt idx="34143">1</cx:pt>
          <cx:pt idx="34144">1</cx:pt>
          <cx:pt idx="34145">1</cx:pt>
          <cx:pt idx="34146">1</cx:pt>
          <cx:pt idx="34147">0</cx:pt>
          <cx:pt idx="34148">0</cx:pt>
          <cx:pt idx="34149">0</cx:pt>
          <cx:pt idx="34150">1</cx:pt>
          <cx:pt idx="34151">1</cx:pt>
          <cx:pt idx="34152">1</cx:pt>
          <cx:pt idx="34153">1</cx:pt>
          <cx:pt idx="34154">0</cx:pt>
          <cx:pt idx="34155">0</cx:pt>
          <cx:pt idx="34156">1</cx:pt>
          <cx:pt idx="34157">1</cx:pt>
          <cx:pt idx="34158">0</cx:pt>
          <cx:pt idx="34159">0</cx:pt>
          <cx:pt idx="34160">1</cx:pt>
          <cx:pt idx="34161">0</cx:pt>
          <cx:pt idx="34162">1</cx:pt>
          <cx:pt idx="34163">0</cx:pt>
          <cx:pt idx="34164">0</cx:pt>
          <cx:pt idx="34165">0</cx:pt>
          <cx:pt idx="34166">1</cx:pt>
          <cx:pt idx="34167">1</cx:pt>
          <cx:pt idx="34168">0</cx:pt>
          <cx:pt idx="34169">1</cx:pt>
          <cx:pt idx="34170">0</cx:pt>
          <cx:pt idx="34171">0</cx:pt>
          <cx:pt idx="34172">1</cx:pt>
          <cx:pt idx="34173">0</cx:pt>
          <cx:pt idx="34174">1</cx:pt>
          <cx:pt idx="34175">0</cx:pt>
          <cx:pt idx="34176">1</cx:pt>
          <cx:pt idx="34177">0</cx:pt>
          <cx:pt idx="34178">1</cx:pt>
          <cx:pt idx="34179">1</cx:pt>
          <cx:pt idx="34180">1</cx:pt>
          <cx:pt idx="34181">1</cx:pt>
          <cx:pt idx="34182">1</cx:pt>
          <cx:pt idx="34183">1</cx:pt>
          <cx:pt idx="34184">0</cx:pt>
          <cx:pt idx="34185">1</cx:pt>
          <cx:pt idx="34186">0</cx:pt>
          <cx:pt idx="34187">1</cx:pt>
          <cx:pt idx="34188">1</cx:pt>
          <cx:pt idx="34189">0</cx:pt>
          <cx:pt idx="34190">1</cx:pt>
          <cx:pt idx="34191">1</cx:pt>
          <cx:pt idx="34192">0</cx:pt>
          <cx:pt idx="34193">1</cx:pt>
          <cx:pt idx="34194">1</cx:pt>
          <cx:pt idx="34195">0</cx:pt>
          <cx:pt idx="34196">0</cx:pt>
          <cx:pt idx="34197">1</cx:pt>
          <cx:pt idx="34198">0</cx:pt>
          <cx:pt idx="34199">1</cx:pt>
          <cx:pt idx="34200">1</cx:pt>
          <cx:pt idx="34201">0</cx:pt>
          <cx:pt idx="34202">1</cx:pt>
          <cx:pt idx="34203">0</cx:pt>
          <cx:pt idx="34204">1</cx:pt>
          <cx:pt idx="34205">1</cx:pt>
          <cx:pt idx="34206">1</cx:pt>
          <cx:pt idx="34207">0</cx:pt>
          <cx:pt idx="34208">0</cx:pt>
          <cx:pt idx="34209">1</cx:pt>
          <cx:pt idx="34210">0</cx:pt>
          <cx:pt idx="34211">1</cx:pt>
          <cx:pt idx="34212">1</cx:pt>
          <cx:pt idx="34213">0</cx:pt>
          <cx:pt idx="34214">1</cx:pt>
          <cx:pt idx="34215">0</cx:pt>
          <cx:pt idx="34216">0</cx:pt>
          <cx:pt idx="34217">0</cx:pt>
          <cx:pt idx="34218">1</cx:pt>
          <cx:pt idx="34219">1</cx:pt>
          <cx:pt idx="34220">0</cx:pt>
          <cx:pt idx="34221">0</cx:pt>
          <cx:pt idx="34222">0</cx:pt>
          <cx:pt idx="34223">1</cx:pt>
          <cx:pt idx="34224">1</cx:pt>
          <cx:pt idx="34225">0</cx:pt>
          <cx:pt idx="34226">1</cx:pt>
          <cx:pt idx="34227">0</cx:pt>
          <cx:pt idx="34228">1</cx:pt>
          <cx:pt idx="34229">0</cx:pt>
          <cx:pt idx="34230">0</cx:pt>
          <cx:pt idx="34231">0</cx:pt>
          <cx:pt idx="34232">1</cx:pt>
          <cx:pt idx="34233">0</cx:pt>
          <cx:pt idx="34234">0</cx:pt>
          <cx:pt idx="34235">0</cx:pt>
          <cx:pt idx="34236">0</cx:pt>
          <cx:pt idx="34237">1</cx:pt>
          <cx:pt idx="34238">0</cx:pt>
          <cx:pt idx="34239">0</cx:pt>
          <cx:pt idx="34240">0</cx:pt>
          <cx:pt idx="34241">1</cx:pt>
          <cx:pt idx="34242">0</cx:pt>
          <cx:pt idx="34243">0</cx:pt>
          <cx:pt idx="34244">0</cx:pt>
          <cx:pt idx="34245">1</cx:pt>
          <cx:pt idx="34246">1</cx:pt>
          <cx:pt idx="34247">0</cx:pt>
          <cx:pt idx="34248">0</cx:pt>
          <cx:pt idx="34249">0</cx:pt>
          <cx:pt idx="34250">0</cx:pt>
          <cx:pt idx="34251">1</cx:pt>
          <cx:pt idx="34252">0</cx:pt>
          <cx:pt idx="34253">0</cx:pt>
          <cx:pt idx="34254">1</cx:pt>
          <cx:pt idx="34255">0</cx:pt>
          <cx:pt idx="34256">0</cx:pt>
          <cx:pt idx="34257">0</cx:pt>
          <cx:pt idx="34258">0</cx:pt>
          <cx:pt idx="34259">0</cx:pt>
          <cx:pt idx="34260">0</cx:pt>
          <cx:pt idx="34261">1</cx:pt>
          <cx:pt idx="34262">0</cx:pt>
          <cx:pt idx="34263">0</cx:pt>
          <cx:pt idx="34264">0</cx:pt>
          <cx:pt idx="34265">1</cx:pt>
          <cx:pt idx="34266">0</cx:pt>
          <cx:pt idx="34267">1</cx:pt>
          <cx:pt idx="34268">1</cx:pt>
          <cx:pt idx="34269">0</cx:pt>
          <cx:pt idx="34270">1</cx:pt>
          <cx:pt idx="34271">1</cx:pt>
          <cx:pt idx="34272">1</cx:pt>
          <cx:pt idx="34273">1</cx:pt>
          <cx:pt idx="34274">0</cx:pt>
          <cx:pt idx="34275">1</cx:pt>
          <cx:pt idx="34276">1</cx:pt>
          <cx:pt idx="34277">1</cx:pt>
          <cx:pt idx="34278">0</cx:pt>
          <cx:pt idx="34279">0</cx:pt>
          <cx:pt idx="34280">1</cx:pt>
          <cx:pt idx="34281">1</cx:pt>
          <cx:pt idx="34282">0</cx:pt>
          <cx:pt idx="34283">0</cx:pt>
          <cx:pt idx="34284">1</cx:pt>
          <cx:pt idx="34285">1</cx:pt>
          <cx:pt idx="34286">0</cx:pt>
          <cx:pt idx="34287">1</cx:pt>
          <cx:pt idx="34288">1</cx:pt>
          <cx:pt idx="34289">0</cx:pt>
          <cx:pt idx="34290">1</cx:pt>
          <cx:pt idx="34291">1</cx:pt>
          <cx:pt idx="34292">0</cx:pt>
          <cx:pt idx="34293">1</cx:pt>
          <cx:pt idx="34294">1</cx:pt>
          <cx:pt idx="34295">0</cx:pt>
          <cx:pt idx="34296">0</cx:pt>
          <cx:pt idx="34297">0</cx:pt>
          <cx:pt idx="34298">0</cx:pt>
          <cx:pt idx="34299">1</cx:pt>
          <cx:pt idx="34300">1</cx:pt>
          <cx:pt idx="34301">0</cx:pt>
          <cx:pt idx="34302">1</cx:pt>
          <cx:pt idx="34303">0</cx:pt>
          <cx:pt idx="34304">0</cx:pt>
          <cx:pt idx="34305">1</cx:pt>
          <cx:pt idx="34306">0</cx:pt>
          <cx:pt idx="34307">1</cx:pt>
          <cx:pt idx="34308">0</cx:pt>
          <cx:pt idx="34309">0</cx:pt>
          <cx:pt idx="34310">0</cx:pt>
          <cx:pt idx="34311">0</cx:pt>
          <cx:pt idx="34312">0</cx:pt>
          <cx:pt idx="34313">0</cx:pt>
          <cx:pt idx="34314">0</cx:pt>
          <cx:pt idx="34315">1</cx:pt>
          <cx:pt idx="34316">0</cx:pt>
          <cx:pt idx="34317">0</cx:pt>
          <cx:pt idx="34318">0</cx:pt>
          <cx:pt idx="34319">0</cx:pt>
          <cx:pt idx="34320">0</cx:pt>
          <cx:pt idx="34321">0</cx:pt>
          <cx:pt idx="34322">0</cx:pt>
          <cx:pt idx="34323">1</cx:pt>
          <cx:pt idx="34324">0</cx:pt>
          <cx:pt idx="34325">1</cx:pt>
          <cx:pt idx="34326">1</cx:pt>
          <cx:pt idx="34327">0</cx:pt>
          <cx:pt idx="34328">0</cx:pt>
          <cx:pt idx="34329">0</cx:pt>
          <cx:pt idx="34330">1</cx:pt>
          <cx:pt idx="34331">0</cx:pt>
          <cx:pt idx="34332">0</cx:pt>
          <cx:pt idx="34333">1</cx:pt>
          <cx:pt idx="34334">0</cx:pt>
          <cx:pt idx="34335">0</cx:pt>
          <cx:pt idx="34336">0</cx:pt>
          <cx:pt idx="34337">1</cx:pt>
          <cx:pt idx="34338">0</cx:pt>
          <cx:pt idx="34339">1</cx:pt>
          <cx:pt idx="34340">1</cx:pt>
          <cx:pt idx="34341">1</cx:pt>
          <cx:pt idx="34342">1</cx:pt>
          <cx:pt idx="34343">0</cx:pt>
          <cx:pt idx="34344">0</cx:pt>
          <cx:pt idx="34345">1</cx:pt>
          <cx:pt idx="34346">0</cx:pt>
          <cx:pt idx="34347">0</cx:pt>
          <cx:pt idx="34348">0</cx:pt>
          <cx:pt idx="34349">0</cx:pt>
          <cx:pt idx="34350">0</cx:pt>
          <cx:pt idx="34351">0</cx:pt>
          <cx:pt idx="34352">1</cx:pt>
          <cx:pt idx="34353">0</cx:pt>
          <cx:pt idx="34354">0</cx:pt>
          <cx:pt idx="34355">0</cx:pt>
          <cx:pt idx="34356">0</cx:pt>
          <cx:pt idx="34357">0</cx:pt>
          <cx:pt idx="34358">0</cx:pt>
          <cx:pt idx="34359">0</cx:pt>
          <cx:pt idx="34360">0</cx:pt>
          <cx:pt idx="34361">0</cx:pt>
          <cx:pt idx="34362">0</cx:pt>
          <cx:pt idx="34363">1</cx:pt>
          <cx:pt idx="34364">1</cx:pt>
          <cx:pt idx="34365">0</cx:pt>
          <cx:pt idx="34366">1</cx:pt>
          <cx:pt idx="34367">0</cx:pt>
          <cx:pt idx="34368">0</cx:pt>
          <cx:pt idx="34369">0</cx:pt>
          <cx:pt idx="34370">0</cx:pt>
          <cx:pt idx="34371">0</cx:pt>
          <cx:pt idx="34372">0</cx:pt>
          <cx:pt idx="34373">1</cx:pt>
          <cx:pt idx="34374">1</cx:pt>
          <cx:pt idx="34375">1</cx:pt>
          <cx:pt idx="34376">0</cx:pt>
          <cx:pt idx="34377">1</cx:pt>
          <cx:pt idx="34378">0</cx:pt>
          <cx:pt idx="34379">1</cx:pt>
          <cx:pt idx="34380">0</cx:pt>
          <cx:pt idx="34381">0</cx:pt>
          <cx:pt idx="34382">1</cx:pt>
          <cx:pt idx="34383">0</cx:pt>
          <cx:pt idx="34384">0</cx:pt>
          <cx:pt idx="34385">0</cx:pt>
          <cx:pt idx="34386">0</cx:pt>
          <cx:pt idx="34387">1</cx:pt>
          <cx:pt idx="34388">1</cx:pt>
          <cx:pt idx="34389">1</cx:pt>
          <cx:pt idx="34390">0</cx:pt>
          <cx:pt idx="34391">1</cx:pt>
          <cx:pt idx="34392">1</cx:pt>
          <cx:pt idx="34393">1</cx:pt>
          <cx:pt idx="34394">0</cx:pt>
          <cx:pt idx="34395">0</cx:pt>
          <cx:pt idx="34396">1</cx:pt>
          <cx:pt idx="34397">1</cx:pt>
          <cx:pt idx="34398">1</cx:pt>
          <cx:pt idx="34399">0</cx:pt>
          <cx:pt idx="34400">0</cx:pt>
          <cx:pt idx="34401">0</cx:pt>
          <cx:pt idx="34402">1</cx:pt>
          <cx:pt idx="34403">1</cx:pt>
          <cx:pt idx="34404">0</cx:pt>
          <cx:pt idx="34405">1</cx:pt>
          <cx:pt idx="34406">1</cx:pt>
          <cx:pt idx="34407">0</cx:pt>
          <cx:pt idx="34408">0</cx:pt>
          <cx:pt idx="34409">1</cx:pt>
          <cx:pt idx="34410">1</cx:pt>
          <cx:pt idx="34411">1</cx:pt>
          <cx:pt idx="34412">0</cx:pt>
          <cx:pt idx="34413">0</cx:pt>
          <cx:pt idx="34414">1</cx:pt>
          <cx:pt idx="34415">0</cx:pt>
          <cx:pt idx="34416">0</cx:pt>
          <cx:pt idx="34417">1</cx:pt>
          <cx:pt idx="34418">0</cx:pt>
          <cx:pt idx="34419">0</cx:pt>
          <cx:pt idx="34420">1</cx:pt>
          <cx:pt idx="34421">1</cx:pt>
          <cx:pt idx="34422">0</cx:pt>
          <cx:pt idx="34423">1</cx:pt>
          <cx:pt idx="34424">1</cx:pt>
          <cx:pt idx="34425">1</cx:pt>
          <cx:pt idx="34426">0</cx:pt>
          <cx:pt idx="34427">1</cx:pt>
          <cx:pt idx="34428">0</cx:pt>
          <cx:pt idx="34429">0</cx:pt>
          <cx:pt idx="34430">1</cx:pt>
          <cx:pt idx="34431">1</cx:pt>
          <cx:pt idx="34432">1</cx:pt>
          <cx:pt idx="34433">0</cx:pt>
          <cx:pt idx="34434">1</cx:pt>
          <cx:pt idx="34435">0</cx:pt>
          <cx:pt idx="34436">0</cx:pt>
          <cx:pt idx="34437">0</cx:pt>
          <cx:pt idx="34438">1</cx:pt>
          <cx:pt idx="34439">0</cx:pt>
          <cx:pt idx="34440">0</cx:pt>
          <cx:pt idx="34441">0</cx:pt>
          <cx:pt idx="34442">0</cx:pt>
          <cx:pt idx="34443">0</cx:pt>
          <cx:pt idx="34444">1</cx:pt>
          <cx:pt idx="34445">1</cx:pt>
          <cx:pt idx="34446">0</cx:pt>
          <cx:pt idx="34447">1</cx:pt>
          <cx:pt idx="34448">1</cx:pt>
          <cx:pt idx="34449">1</cx:pt>
          <cx:pt idx="34450">0</cx:pt>
          <cx:pt idx="34451">1</cx:pt>
          <cx:pt idx="34452">0</cx:pt>
          <cx:pt idx="34453">0</cx:pt>
          <cx:pt idx="34454">1</cx:pt>
          <cx:pt idx="34455">0</cx:pt>
          <cx:pt idx="34456">0</cx:pt>
          <cx:pt idx="34457">0</cx:pt>
          <cx:pt idx="34458">1</cx:pt>
          <cx:pt idx="34459">1</cx:pt>
          <cx:pt idx="34460">0</cx:pt>
          <cx:pt idx="34461">1</cx:pt>
          <cx:pt idx="34462">0</cx:pt>
          <cx:pt idx="34463">1</cx:pt>
          <cx:pt idx="34464">0</cx:pt>
          <cx:pt idx="34465">1</cx:pt>
          <cx:pt idx="34466">0</cx:pt>
          <cx:pt idx="34467">0</cx:pt>
          <cx:pt idx="34468">1</cx:pt>
          <cx:pt idx="34469">0</cx:pt>
          <cx:pt idx="34470">0</cx:pt>
          <cx:pt idx="34471">1</cx:pt>
          <cx:pt idx="34472">0</cx:pt>
          <cx:pt idx="34473">0</cx:pt>
          <cx:pt idx="34474">1</cx:pt>
          <cx:pt idx="34475">1</cx:pt>
          <cx:pt idx="34476">0</cx:pt>
          <cx:pt idx="34477">0</cx:pt>
          <cx:pt idx="34478">1</cx:pt>
          <cx:pt idx="34479">0</cx:pt>
          <cx:pt idx="34480">0</cx:pt>
          <cx:pt idx="34481">1</cx:pt>
          <cx:pt idx="34482">0</cx:pt>
          <cx:pt idx="34483">0</cx:pt>
          <cx:pt idx="34484">0</cx:pt>
          <cx:pt idx="34485">1</cx:pt>
          <cx:pt idx="34486">1</cx:pt>
          <cx:pt idx="34487">0</cx:pt>
          <cx:pt idx="34488">0</cx:pt>
          <cx:pt idx="34489">0</cx:pt>
          <cx:pt idx="34490">0</cx:pt>
          <cx:pt idx="34491">1</cx:pt>
          <cx:pt idx="34492">1</cx:pt>
          <cx:pt idx="34493">1</cx:pt>
          <cx:pt idx="34494">0</cx:pt>
          <cx:pt idx="34495">1</cx:pt>
          <cx:pt idx="34496">1</cx:pt>
          <cx:pt idx="34497">1</cx:pt>
          <cx:pt idx="34498">1</cx:pt>
          <cx:pt idx="34499">1</cx:pt>
          <cx:pt idx="34500">0</cx:pt>
          <cx:pt idx="34501">0</cx:pt>
          <cx:pt idx="34502">0</cx:pt>
          <cx:pt idx="34503">1</cx:pt>
          <cx:pt idx="34504">0</cx:pt>
          <cx:pt idx="34505">0</cx:pt>
          <cx:pt idx="34506">0</cx:pt>
          <cx:pt idx="34507">1</cx:pt>
          <cx:pt idx="34508">0</cx:pt>
          <cx:pt idx="34509">0</cx:pt>
          <cx:pt idx="34510">1</cx:pt>
          <cx:pt idx="34511">0</cx:pt>
          <cx:pt idx="34512">1</cx:pt>
          <cx:pt idx="34513">0</cx:pt>
          <cx:pt idx="34514">0</cx:pt>
          <cx:pt idx="34515">0</cx:pt>
          <cx:pt idx="34516">0</cx:pt>
          <cx:pt idx="34517">0</cx:pt>
          <cx:pt idx="34518">0</cx:pt>
          <cx:pt idx="34519">0</cx:pt>
          <cx:pt idx="34520">1</cx:pt>
          <cx:pt idx="34521">1</cx:pt>
          <cx:pt idx="34522">1</cx:pt>
          <cx:pt idx="34523">0</cx:pt>
          <cx:pt idx="34524">0</cx:pt>
          <cx:pt idx="34525">0</cx:pt>
          <cx:pt idx="34526">1</cx:pt>
          <cx:pt idx="34527">0</cx:pt>
          <cx:pt idx="34528">0</cx:pt>
          <cx:pt idx="34529">1</cx:pt>
          <cx:pt idx="34530">0</cx:pt>
          <cx:pt idx="34531">0</cx:pt>
          <cx:pt idx="34532">0</cx:pt>
          <cx:pt idx="34533">1</cx:pt>
          <cx:pt idx="34534">1</cx:pt>
          <cx:pt idx="34535">1</cx:pt>
          <cx:pt idx="34536">1</cx:pt>
          <cx:pt idx="34537">1</cx:pt>
          <cx:pt idx="34538">0</cx:pt>
          <cx:pt idx="34539">0</cx:pt>
          <cx:pt idx="34540">0</cx:pt>
          <cx:pt idx="34541">1</cx:pt>
          <cx:pt idx="34542">1</cx:pt>
          <cx:pt idx="34543">1</cx:pt>
          <cx:pt idx="34544">0</cx:pt>
          <cx:pt idx="34545">0</cx:pt>
          <cx:pt idx="34546">0</cx:pt>
          <cx:pt idx="34547">0</cx:pt>
          <cx:pt idx="34548">1</cx:pt>
          <cx:pt idx="34549">0</cx:pt>
          <cx:pt idx="34550">0</cx:pt>
          <cx:pt idx="34551">0</cx:pt>
          <cx:pt idx="34552">1</cx:pt>
          <cx:pt idx="34553">0</cx:pt>
          <cx:pt idx="34554">0</cx:pt>
          <cx:pt idx="34555">1</cx:pt>
          <cx:pt idx="34556">0</cx:pt>
          <cx:pt idx="34557">0</cx:pt>
          <cx:pt idx="34558">0</cx:pt>
          <cx:pt idx="34559">1</cx:pt>
          <cx:pt idx="34560">0</cx:pt>
          <cx:pt idx="34561">1</cx:pt>
          <cx:pt idx="34562">0</cx:pt>
          <cx:pt idx="34563">0</cx:pt>
          <cx:pt idx="34564">0</cx:pt>
          <cx:pt idx="34565">0</cx:pt>
          <cx:pt idx="34566">0</cx:pt>
          <cx:pt idx="34567">1</cx:pt>
          <cx:pt idx="34568">0</cx:pt>
          <cx:pt idx="34569">0</cx:pt>
          <cx:pt idx="34570">0</cx:pt>
          <cx:pt idx="34571">0</cx:pt>
          <cx:pt idx="34572">1</cx:pt>
          <cx:pt idx="34573">1</cx:pt>
          <cx:pt idx="34574">0</cx:pt>
          <cx:pt idx="34575">1</cx:pt>
          <cx:pt idx="34576">1</cx:pt>
          <cx:pt idx="34577">0</cx:pt>
          <cx:pt idx="34578">1</cx:pt>
          <cx:pt idx="34579">0</cx:pt>
          <cx:pt idx="34580">1</cx:pt>
          <cx:pt idx="34581">0</cx:pt>
          <cx:pt idx="34582">0</cx:pt>
          <cx:pt idx="34583">1</cx:pt>
          <cx:pt idx="34584">0</cx:pt>
          <cx:pt idx="34585">1</cx:pt>
          <cx:pt idx="34586">1</cx:pt>
          <cx:pt idx="34587">0</cx:pt>
          <cx:pt idx="34588">0</cx:pt>
          <cx:pt idx="34589">0</cx:pt>
          <cx:pt idx="34590">1</cx:pt>
          <cx:pt idx="34591">0</cx:pt>
          <cx:pt idx="34592">0</cx:pt>
          <cx:pt idx="34593">1</cx:pt>
          <cx:pt idx="34594">1</cx:pt>
          <cx:pt idx="34595">0</cx:pt>
          <cx:pt idx="34596">1</cx:pt>
          <cx:pt idx="34597">0</cx:pt>
          <cx:pt idx="34598">1</cx:pt>
          <cx:pt idx="34599">0</cx:pt>
          <cx:pt idx="34600">0</cx:pt>
          <cx:pt idx="34601">1</cx:pt>
          <cx:pt idx="34602">1</cx:pt>
          <cx:pt idx="34603">0</cx:pt>
          <cx:pt idx="34604">1</cx:pt>
          <cx:pt idx="34605">1</cx:pt>
          <cx:pt idx="34606">1</cx:pt>
          <cx:pt idx="34607">0</cx:pt>
          <cx:pt idx="34608">1</cx:pt>
          <cx:pt idx="34609">1</cx:pt>
          <cx:pt idx="34610">0</cx:pt>
          <cx:pt idx="34611">0</cx:pt>
          <cx:pt idx="34612">0</cx:pt>
          <cx:pt idx="34613">0</cx:pt>
          <cx:pt idx="34614">0</cx:pt>
          <cx:pt idx="34615">0</cx:pt>
          <cx:pt idx="34616">1</cx:pt>
          <cx:pt idx="34617">0</cx:pt>
          <cx:pt idx="34618">0</cx:pt>
          <cx:pt idx="34619">1</cx:pt>
          <cx:pt idx="34620">0</cx:pt>
          <cx:pt idx="34621">0</cx:pt>
          <cx:pt idx="34622">1</cx:pt>
          <cx:pt idx="34623">0</cx:pt>
          <cx:pt idx="34624">0</cx:pt>
          <cx:pt idx="34625">0</cx:pt>
          <cx:pt idx="34626">1</cx:pt>
          <cx:pt idx="34627">1</cx:pt>
          <cx:pt idx="34628">0</cx:pt>
          <cx:pt idx="34629">1</cx:pt>
          <cx:pt idx="34630">0</cx:pt>
          <cx:pt idx="34631">1</cx:pt>
          <cx:pt idx="34632">0</cx:pt>
          <cx:pt idx="34633">0</cx:pt>
          <cx:pt idx="34634">0</cx:pt>
          <cx:pt idx="34635">0</cx:pt>
          <cx:pt idx="34636">1</cx:pt>
          <cx:pt idx="34637">1</cx:pt>
          <cx:pt idx="34638">0</cx:pt>
          <cx:pt idx="34639">0</cx:pt>
          <cx:pt idx="34640">1</cx:pt>
          <cx:pt idx="34641">1</cx:pt>
          <cx:pt idx="34642">0</cx:pt>
          <cx:pt idx="34643">1</cx:pt>
          <cx:pt idx="34644">0</cx:pt>
          <cx:pt idx="34645">1</cx:pt>
          <cx:pt idx="34646">1</cx:pt>
          <cx:pt idx="34647">0</cx:pt>
          <cx:pt idx="34648">0</cx:pt>
          <cx:pt idx="34649">1</cx:pt>
          <cx:pt idx="34650">1</cx:pt>
          <cx:pt idx="34651">1</cx:pt>
          <cx:pt idx="34652">0</cx:pt>
          <cx:pt idx="34653">0</cx:pt>
          <cx:pt idx="34654">1</cx:pt>
          <cx:pt idx="34655">1</cx:pt>
          <cx:pt idx="34656">1</cx:pt>
          <cx:pt idx="34657">1</cx:pt>
          <cx:pt idx="34658">1</cx:pt>
          <cx:pt idx="34659">0</cx:pt>
          <cx:pt idx="34660">0</cx:pt>
          <cx:pt idx="34661">1</cx:pt>
          <cx:pt idx="34662">0</cx:pt>
          <cx:pt idx="34663">1</cx:pt>
          <cx:pt idx="34664">0</cx:pt>
          <cx:pt idx="34665">0</cx:pt>
          <cx:pt idx="34666">0</cx:pt>
          <cx:pt idx="34667">1</cx:pt>
          <cx:pt idx="34668">0</cx:pt>
          <cx:pt idx="34669">0</cx:pt>
          <cx:pt idx="34670">0</cx:pt>
          <cx:pt idx="34671">1</cx:pt>
          <cx:pt idx="34672">1</cx:pt>
          <cx:pt idx="34673">0</cx:pt>
          <cx:pt idx="34674">0</cx:pt>
          <cx:pt idx="34675">1</cx:pt>
          <cx:pt idx="34676">0</cx:pt>
          <cx:pt idx="34677">0</cx:pt>
          <cx:pt idx="34678">1</cx:pt>
          <cx:pt idx="34679">0</cx:pt>
          <cx:pt idx="34680">1</cx:pt>
          <cx:pt idx="34681">0</cx:pt>
          <cx:pt idx="34682">0</cx:pt>
          <cx:pt idx="34683">1</cx:pt>
          <cx:pt idx="34684">0</cx:pt>
          <cx:pt idx="34685">1</cx:pt>
          <cx:pt idx="34686">0</cx:pt>
          <cx:pt idx="34687">0</cx:pt>
          <cx:pt idx="34688">1</cx:pt>
          <cx:pt idx="34689">0</cx:pt>
          <cx:pt idx="34690">1</cx:pt>
          <cx:pt idx="34691">1</cx:pt>
          <cx:pt idx="34692">1</cx:pt>
          <cx:pt idx="34693">1</cx:pt>
          <cx:pt idx="34694">0</cx:pt>
          <cx:pt idx="34695">0</cx:pt>
          <cx:pt idx="34696">0</cx:pt>
          <cx:pt idx="34697">1</cx:pt>
          <cx:pt idx="34698">1</cx:pt>
          <cx:pt idx="34699">1</cx:pt>
          <cx:pt idx="34700">0</cx:pt>
          <cx:pt idx="34701">1</cx:pt>
          <cx:pt idx="34702">1</cx:pt>
          <cx:pt idx="34703">0</cx:pt>
          <cx:pt idx="34704">0</cx:pt>
          <cx:pt idx="34705">0</cx:pt>
          <cx:pt idx="34706">1</cx:pt>
          <cx:pt idx="34707">0</cx:pt>
          <cx:pt idx="34708">1</cx:pt>
          <cx:pt idx="34709">0</cx:pt>
          <cx:pt idx="34710">0</cx:pt>
          <cx:pt idx="34711">0</cx:pt>
          <cx:pt idx="34712">0</cx:pt>
          <cx:pt idx="34713">1</cx:pt>
          <cx:pt idx="34714">1</cx:pt>
          <cx:pt idx="34715">0</cx:pt>
          <cx:pt idx="34716">1</cx:pt>
          <cx:pt idx="34717">1</cx:pt>
          <cx:pt idx="34718">0</cx:pt>
          <cx:pt idx="34719">0</cx:pt>
          <cx:pt idx="34720">1</cx:pt>
          <cx:pt idx="34721">0</cx:pt>
          <cx:pt idx="34722">0</cx:pt>
          <cx:pt idx="34723">0</cx:pt>
          <cx:pt idx="34724">1</cx:pt>
          <cx:pt idx="34725">1</cx:pt>
          <cx:pt idx="34726">1</cx:pt>
          <cx:pt idx="34727">1</cx:pt>
          <cx:pt idx="34728">0</cx:pt>
          <cx:pt idx="34729">0</cx:pt>
          <cx:pt idx="34730">1</cx:pt>
          <cx:pt idx="34731">1</cx:pt>
          <cx:pt idx="34732">1</cx:pt>
          <cx:pt idx="34733">1</cx:pt>
          <cx:pt idx="34734">1</cx:pt>
          <cx:pt idx="34735">0</cx:pt>
          <cx:pt idx="34736">1</cx:pt>
          <cx:pt idx="34737">0</cx:pt>
          <cx:pt idx="34738">1</cx:pt>
          <cx:pt idx="34739">0</cx:pt>
          <cx:pt idx="34740">1</cx:pt>
          <cx:pt idx="34741">1</cx:pt>
          <cx:pt idx="34742">0</cx:pt>
          <cx:pt idx="34743">1</cx:pt>
          <cx:pt idx="34744">1</cx:pt>
          <cx:pt idx="34745">1</cx:pt>
          <cx:pt idx="34746">0</cx:pt>
          <cx:pt idx="34747">0</cx:pt>
          <cx:pt idx="34748">0</cx:pt>
          <cx:pt idx="34749">0</cx:pt>
          <cx:pt idx="34750">1</cx:pt>
          <cx:pt idx="34751">0</cx:pt>
          <cx:pt idx="34752">0</cx:pt>
          <cx:pt idx="34753">1</cx:pt>
          <cx:pt idx="34754">1</cx:pt>
          <cx:pt idx="34755">0</cx:pt>
          <cx:pt idx="34756">0</cx:pt>
          <cx:pt idx="34757">0</cx:pt>
          <cx:pt idx="34758">1</cx:pt>
          <cx:pt idx="34759">1</cx:pt>
          <cx:pt idx="34760">1</cx:pt>
          <cx:pt idx="34761">0</cx:pt>
          <cx:pt idx="34762">0</cx:pt>
          <cx:pt idx="34763">1</cx:pt>
          <cx:pt idx="34764">1</cx:pt>
          <cx:pt idx="34765">1</cx:pt>
          <cx:pt idx="34766">1</cx:pt>
          <cx:pt idx="34767">1</cx:pt>
          <cx:pt idx="34768">0</cx:pt>
          <cx:pt idx="34769">0</cx:pt>
          <cx:pt idx="34770">1</cx:pt>
          <cx:pt idx="34771">0</cx:pt>
          <cx:pt idx="34772">0</cx:pt>
          <cx:pt idx="34773">0</cx:pt>
          <cx:pt idx="34774">1</cx:pt>
          <cx:pt idx="34775">1</cx:pt>
          <cx:pt idx="34776">1</cx:pt>
          <cx:pt idx="34777">0</cx:pt>
          <cx:pt idx="34778">1</cx:pt>
          <cx:pt idx="34779">0</cx:pt>
          <cx:pt idx="34780">1</cx:pt>
          <cx:pt idx="34781">0</cx:pt>
          <cx:pt idx="34782">0</cx:pt>
          <cx:pt idx="34783">0</cx:pt>
          <cx:pt idx="34784">1</cx:pt>
          <cx:pt idx="34785">1</cx:pt>
          <cx:pt idx="34786">0</cx:pt>
          <cx:pt idx="34787">1</cx:pt>
          <cx:pt idx="34788">1</cx:pt>
          <cx:pt idx="34789">1</cx:pt>
          <cx:pt idx="34790">1</cx:pt>
          <cx:pt idx="34791">0</cx:pt>
          <cx:pt idx="34792">0</cx:pt>
          <cx:pt idx="34793">0</cx:pt>
          <cx:pt idx="34794">0</cx:pt>
          <cx:pt idx="34795">0</cx:pt>
          <cx:pt idx="34796">0</cx:pt>
          <cx:pt idx="34797">0</cx:pt>
          <cx:pt idx="34798">0</cx:pt>
          <cx:pt idx="34799">1</cx:pt>
          <cx:pt idx="34800">1</cx:pt>
          <cx:pt idx="34801">0</cx:pt>
          <cx:pt idx="34802">0</cx:pt>
          <cx:pt idx="34803">0</cx:pt>
          <cx:pt idx="34804">0</cx:pt>
          <cx:pt idx="34805">1</cx:pt>
          <cx:pt idx="34806">0</cx:pt>
          <cx:pt idx="34807">1</cx:pt>
          <cx:pt idx="34808">0</cx:pt>
          <cx:pt idx="34809">0</cx:pt>
          <cx:pt idx="34810">1</cx:pt>
          <cx:pt idx="34811">1</cx:pt>
          <cx:pt idx="34812">1</cx:pt>
          <cx:pt idx="34813">1</cx:pt>
          <cx:pt idx="34814">1</cx:pt>
          <cx:pt idx="34815">0</cx:pt>
          <cx:pt idx="34816">1</cx:pt>
          <cx:pt idx="34817">1</cx:pt>
          <cx:pt idx="34818">1</cx:pt>
          <cx:pt idx="34819">1</cx:pt>
          <cx:pt idx="34820">1</cx:pt>
          <cx:pt idx="34821">1</cx:pt>
          <cx:pt idx="34822">0</cx:pt>
          <cx:pt idx="34823">0</cx:pt>
          <cx:pt idx="34824">0</cx:pt>
          <cx:pt idx="34825">0</cx:pt>
          <cx:pt idx="34826">1</cx:pt>
          <cx:pt idx="34827">0</cx:pt>
          <cx:pt idx="34828">1</cx:pt>
          <cx:pt idx="34829">1</cx:pt>
          <cx:pt idx="34830">1</cx:pt>
          <cx:pt idx="34831">1</cx:pt>
          <cx:pt idx="34832">0</cx:pt>
          <cx:pt idx="34833">1</cx:pt>
          <cx:pt idx="34834">1</cx:pt>
          <cx:pt idx="34835">0</cx:pt>
          <cx:pt idx="34836">1</cx:pt>
          <cx:pt idx="34837">0</cx:pt>
          <cx:pt idx="34838">1</cx:pt>
          <cx:pt idx="34839">0</cx:pt>
          <cx:pt idx="34840">0</cx:pt>
          <cx:pt idx="34841">1</cx:pt>
          <cx:pt idx="34842">1</cx:pt>
          <cx:pt idx="34843">1</cx:pt>
          <cx:pt idx="34844">0</cx:pt>
          <cx:pt idx="34845">1</cx:pt>
          <cx:pt idx="34846">0</cx:pt>
          <cx:pt idx="34847">0</cx:pt>
          <cx:pt idx="34848">1</cx:pt>
          <cx:pt idx="34849">1</cx:pt>
          <cx:pt idx="34850">1</cx:pt>
          <cx:pt idx="34851">1</cx:pt>
          <cx:pt idx="34852">0</cx:pt>
          <cx:pt idx="34853">0</cx:pt>
          <cx:pt idx="34854">1</cx:pt>
          <cx:pt idx="34855">0</cx:pt>
          <cx:pt idx="34856">1</cx:pt>
          <cx:pt idx="34857">0</cx:pt>
          <cx:pt idx="34858">1</cx:pt>
          <cx:pt idx="34859">0</cx:pt>
          <cx:pt idx="34860">0</cx:pt>
          <cx:pt idx="34861">1</cx:pt>
          <cx:pt idx="34862">1</cx:pt>
          <cx:pt idx="34863">1</cx:pt>
          <cx:pt idx="34864">0</cx:pt>
          <cx:pt idx="34865">0</cx:pt>
          <cx:pt idx="34866">0</cx:pt>
          <cx:pt idx="34867">0</cx:pt>
          <cx:pt idx="34868">0</cx:pt>
          <cx:pt idx="34869">1</cx:pt>
          <cx:pt idx="34870">1</cx:pt>
          <cx:pt idx="34871">0</cx:pt>
          <cx:pt idx="34872">0</cx:pt>
          <cx:pt idx="34873">0</cx:pt>
          <cx:pt idx="34874">1</cx:pt>
          <cx:pt idx="34875">1</cx:pt>
          <cx:pt idx="34876">0</cx:pt>
          <cx:pt idx="34877">0</cx:pt>
          <cx:pt idx="34878">0</cx:pt>
          <cx:pt idx="34879">1</cx:pt>
          <cx:pt idx="34880">0</cx:pt>
          <cx:pt idx="34881">1</cx:pt>
          <cx:pt idx="34882">1</cx:pt>
          <cx:pt idx="34883">0</cx:pt>
          <cx:pt idx="34884">0</cx:pt>
          <cx:pt idx="34885">0</cx:pt>
          <cx:pt idx="34886">1</cx:pt>
          <cx:pt idx="34887">0</cx:pt>
          <cx:pt idx="34888">1</cx:pt>
          <cx:pt idx="34889">1</cx:pt>
          <cx:pt idx="34890">0</cx:pt>
          <cx:pt idx="34891">1</cx:pt>
          <cx:pt idx="34892">0</cx:pt>
          <cx:pt idx="34893">0</cx:pt>
          <cx:pt idx="34894">0</cx:pt>
          <cx:pt idx="34895">0</cx:pt>
          <cx:pt idx="34896">0</cx:pt>
          <cx:pt idx="34897">0</cx:pt>
          <cx:pt idx="34898">1</cx:pt>
          <cx:pt idx="34899">1</cx:pt>
          <cx:pt idx="34900">1</cx:pt>
          <cx:pt idx="34901">1</cx:pt>
          <cx:pt idx="34902">1</cx:pt>
          <cx:pt idx="34903">1</cx:pt>
          <cx:pt idx="34904">0</cx:pt>
          <cx:pt idx="34905">0</cx:pt>
          <cx:pt idx="34906">0</cx:pt>
          <cx:pt idx="34907">1</cx:pt>
          <cx:pt idx="34908">1</cx:pt>
          <cx:pt idx="34909">1</cx:pt>
          <cx:pt idx="34910">0</cx:pt>
          <cx:pt idx="34911">0</cx:pt>
          <cx:pt idx="34912">0</cx:pt>
          <cx:pt idx="34913">1</cx:pt>
          <cx:pt idx="34914">0</cx:pt>
          <cx:pt idx="34915">1</cx:pt>
          <cx:pt idx="34916">1</cx:pt>
          <cx:pt idx="34917">1</cx:pt>
          <cx:pt idx="34918">0</cx:pt>
          <cx:pt idx="34919">0</cx:pt>
          <cx:pt idx="34920">1</cx:pt>
          <cx:pt idx="34921">0</cx:pt>
          <cx:pt idx="34922">0</cx:pt>
          <cx:pt idx="34923">1</cx:pt>
          <cx:pt idx="34924">0</cx:pt>
          <cx:pt idx="34925">0</cx:pt>
          <cx:pt idx="34926">0</cx:pt>
          <cx:pt idx="34927">1</cx:pt>
          <cx:pt idx="34928">1</cx:pt>
          <cx:pt idx="34929">0</cx:pt>
          <cx:pt idx="34930">1</cx:pt>
          <cx:pt idx="34931">0</cx:pt>
          <cx:pt idx="34932">0</cx:pt>
          <cx:pt idx="34933">1</cx:pt>
          <cx:pt idx="34934">0</cx:pt>
          <cx:pt idx="34935">1</cx:pt>
          <cx:pt idx="34936">0</cx:pt>
          <cx:pt idx="34937">1</cx:pt>
          <cx:pt idx="34938">0</cx:pt>
          <cx:pt idx="34939">0</cx:pt>
          <cx:pt idx="34940">0</cx:pt>
          <cx:pt idx="34941">0</cx:pt>
          <cx:pt idx="34942">1</cx:pt>
          <cx:pt idx="34943">0</cx:pt>
          <cx:pt idx="34944">1</cx:pt>
          <cx:pt idx="34945">1</cx:pt>
          <cx:pt idx="34946">0</cx:pt>
          <cx:pt idx="34947">0</cx:pt>
          <cx:pt idx="34948">1</cx:pt>
          <cx:pt idx="34949">1</cx:pt>
          <cx:pt idx="34950">0</cx:pt>
          <cx:pt idx="34951">0</cx:pt>
          <cx:pt idx="34952">0</cx:pt>
          <cx:pt idx="34953">0</cx:pt>
          <cx:pt idx="34954">0</cx:pt>
          <cx:pt idx="34955">0</cx:pt>
          <cx:pt idx="34956">0</cx:pt>
          <cx:pt idx="34957">1</cx:pt>
          <cx:pt idx="34958">1</cx:pt>
          <cx:pt idx="34959">0</cx:pt>
          <cx:pt idx="34960">0</cx:pt>
          <cx:pt idx="34961">0</cx:pt>
          <cx:pt idx="34962">0</cx:pt>
          <cx:pt idx="34963">1</cx:pt>
          <cx:pt idx="34964">1</cx:pt>
          <cx:pt idx="34965">0</cx:pt>
          <cx:pt idx="34966">0</cx:pt>
          <cx:pt idx="34967">0</cx:pt>
          <cx:pt idx="34968">1</cx:pt>
          <cx:pt idx="34969">1</cx:pt>
          <cx:pt idx="34970">0</cx:pt>
          <cx:pt idx="34971">1</cx:pt>
          <cx:pt idx="34972">0</cx:pt>
          <cx:pt idx="34973">0</cx:pt>
          <cx:pt idx="34974">1</cx:pt>
          <cx:pt idx="34975">1</cx:pt>
          <cx:pt idx="34976">0</cx:pt>
          <cx:pt idx="34977">0</cx:pt>
          <cx:pt idx="34978">0</cx:pt>
          <cx:pt idx="34979">1</cx:pt>
          <cx:pt idx="34980">0</cx:pt>
          <cx:pt idx="34981">0</cx:pt>
          <cx:pt idx="34982">0</cx:pt>
          <cx:pt idx="34983">1</cx:pt>
          <cx:pt idx="34984">1</cx:pt>
          <cx:pt idx="34985">1</cx:pt>
          <cx:pt idx="34986">0</cx:pt>
          <cx:pt idx="34987">0</cx:pt>
          <cx:pt idx="34988">0</cx:pt>
          <cx:pt idx="34989">1</cx:pt>
          <cx:pt idx="34990">0</cx:pt>
          <cx:pt idx="34991">0</cx:pt>
          <cx:pt idx="34992">1</cx:pt>
          <cx:pt idx="34993">1</cx:pt>
          <cx:pt idx="34994">0</cx:pt>
          <cx:pt idx="34995">0</cx:pt>
          <cx:pt idx="34996">0</cx:pt>
          <cx:pt idx="34997">0</cx:pt>
          <cx:pt idx="34998">1</cx:pt>
          <cx:pt idx="34999">0</cx:pt>
          <cx:pt idx="35000">1</cx:pt>
          <cx:pt idx="35001">0</cx:pt>
          <cx:pt idx="35002">1</cx:pt>
          <cx:pt idx="35003">1</cx:pt>
          <cx:pt idx="35004">1</cx:pt>
          <cx:pt idx="35005">0</cx:pt>
          <cx:pt idx="35006">1</cx:pt>
          <cx:pt idx="35007">1</cx:pt>
          <cx:pt idx="35008">1</cx:pt>
          <cx:pt idx="35009">0</cx:pt>
          <cx:pt idx="35010">0</cx:pt>
          <cx:pt idx="35011">1</cx:pt>
          <cx:pt idx="35012">0</cx:pt>
          <cx:pt idx="35013">1</cx:pt>
          <cx:pt idx="35014">0</cx:pt>
          <cx:pt idx="35015">1</cx:pt>
          <cx:pt idx="35016">0</cx:pt>
          <cx:pt idx="35017">1</cx:pt>
          <cx:pt idx="35018">0</cx:pt>
          <cx:pt idx="35019">1</cx:pt>
          <cx:pt idx="35020">0</cx:pt>
          <cx:pt idx="35021">0</cx:pt>
          <cx:pt idx="35022">0</cx:pt>
          <cx:pt idx="35023">1</cx:pt>
          <cx:pt idx="35024">1</cx:pt>
          <cx:pt idx="35025">0</cx:pt>
          <cx:pt idx="35026">0</cx:pt>
          <cx:pt idx="35027">1</cx:pt>
          <cx:pt idx="35028">0</cx:pt>
          <cx:pt idx="35029">1</cx:pt>
          <cx:pt idx="35030">0</cx:pt>
          <cx:pt idx="35031">0</cx:pt>
          <cx:pt idx="35032">1</cx:pt>
          <cx:pt idx="35033">1</cx:pt>
          <cx:pt idx="35034">0</cx:pt>
          <cx:pt idx="35035">1</cx:pt>
          <cx:pt idx="35036">0</cx:pt>
          <cx:pt idx="35037">0</cx:pt>
          <cx:pt idx="35038">1</cx:pt>
          <cx:pt idx="35039">1</cx:pt>
          <cx:pt idx="35040">0</cx:pt>
          <cx:pt idx="35041">0</cx:pt>
          <cx:pt idx="35042">0</cx:pt>
          <cx:pt idx="35043">1</cx:pt>
          <cx:pt idx="35044">0</cx:pt>
          <cx:pt idx="35045">1</cx:pt>
          <cx:pt idx="35046">1</cx:pt>
          <cx:pt idx="35047">0</cx:pt>
          <cx:pt idx="35048">1</cx:pt>
          <cx:pt idx="35049">1</cx:pt>
          <cx:pt idx="35050">1</cx:pt>
          <cx:pt idx="35051">0</cx:pt>
          <cx:pt idx="35052">1</cx:pt>
          <cx:pt idx="35053">0</cx:pt>
          <cx:pt idx="35054">0</cx:pt>
          <cx:pt idx="35055">0</cx:pt>
          <cx:pt idx="35056">0</cx:pt>
          <cx:pt idx="35057">0</cx:pt>
          <cx:pt idx="35058">0</cx:pt>
          <cx:pt idx="35059">0</cx:pt>
          <cx:pt idx="35060">1</cx:pt>
          <cx:pt idx="35061">0</cx:pt>
          <cx:pt idx="35062">1</cx:pt>
          <cx:pt idx="35063">0</cx:pt>
          <cx:pt idx="35064">1</cx:pt>
          <cx:pt idx="35065">0</cx:pt>
          <cx:pt idx="35066">0</cx:pt>
          <cx:pt idx="35067">0</cx:pt>
          <cx:pt idx="35068">1</cx:pt>
          <cx:pt idx="35069">1</cx:pt>
          <cx:pt idx="35070">1</cx:pt>
          <cx:pt idx="35071">1</cx:pt>
          <cx:pt idx="35072">0</cx:pt>
          <cx:pt idx="35073">1</cx:pt>
          <cx:pt idx="35074">0</cx:pt>
          <cx:pt idx="35075">0</cx:pt>
          <cx:pt idx="35076">0</cx:pt>
          <cx:pt idx="35077">1</cx:pt>
          <cx:pt idx="35078">0</cx:pt>
          <cx:pt idx="35079">1</cx:pt>
          <cx:pt idx="35080">1</cx:pt>
          <cx:pt idx="35081">0</cx:pt>
          <cx:pt idx="35082">1</cx:pt>
          <cx:pt idx="35083">1</cx:pt>
          <cx:pt idx="35084">0</cx:pt>
          <cx:pt idx="35085">0</cx:pt>
          <cx:pt idx="35086">1</cx:pt>
          <cx:pt idx="35087">0</cx:pt>
          <cx:pt idx="35088">1</cx:pt>
          <cx:pt idx="35089">0</cx:pt>
          <cx:pt idx="35090">1</cx:pt>
          <cx:pt idx="35091">0</cx:pt>
          <cx:pt idx="35092">0</cx:pt>
          <cx:pt idx="35093">1</cx:pt>
          <cx:pt idx="35094">1</cx:pt>
          <cx:pt idx="35095">1</cx:pt>
          <cx:pt idx="35096">0</cx:pt>
          <cx:pt idx="35097">0</cx:pt>
          <cx:pt idx="35098">1</cx:pt>
          <cx:pt idx="35099">0</cx:pt>
          <cx:pt idx="35100">0</cx:pt>
          <cx:pt idx="35101">1</cx:pt>
          <cx:pt idx="35102">0</cx:pt>
          <cx:pt idx="35103">1</cx:pt>
          <cx:pt idx="35104">1</cx:pt>
          <cx:pt idx="35105">1</cx:pt>
          <cx:pt idx="35106">0</cx:pt>
          <cx:pt idx="35107">1</cx:pt>
          <cx:pt idx="35108">1</cx:pt>
          <cx:pt idx="35109">1</cx:pt>
          <cx:pt idx="35110">1</cx:pt>
          <cx:pt idx="35111">1</cx:pt>
          <cx:pt idx="35112">1</cx:pt>
          <cx:pt idx="35113">1</cx:pt>
          <cx:pt idx="35114">1</cx:pt>
          <cx:pt idx="35115">0</cx:pt>
          <cx:pt idx="35116">0</cx:pt>
          <cx:pt idx="35117">0</cx:pt>
          <cx:pt idx="35118">1</cx:pt>
          <cx:pt idx="35119">0</cx:pt>
          <cx:pt idx="35120">1</cx:pt>
          <cx:pt idx="35121">1</cx:pt>
          <cx:pt idx="35122">0</cx:pt>
          <cx:pt idx="35123">0</cx:pt>
          <cx:pt idx="35124">0</cx:pt>
          <cx:pt idx="35125">1</cx:pt>
          <cx:pt idx="35126">0</cx:pt>
          <cx:pt idx="35127">0</cx:pt>
          <cx:pt idx="35128">0</cx:pt>
          <cx:pt idx="35129">0</cx:pt>
          <cx:pt idx="35130">1</cx:pt>
          <cx:pt idx="35131">0</cx:pt>
          <cx:pt idx="35132">0</cx:pt>
          <cx:pt idx="35133">1</cx:pt>
          <cx:pt idx="35134">1</cx:pt>
          <cx:pt idx="35135">0</cx:pt>
          <cx:pt idx="35136">0</cx:pt>
          <cx:pt idx="35137">1</cx:pt>
          <cx:pt idx="35138">0</cx:pt>
          <cx:pt idx="35139">0</cx:pt>
          <cx:pt idx="35140">0</cx:pt>
          <cx:pt idx="35141">1</cx:pt>
          <cx:pt idx="35142">0</cx:pt>
          <cx:pt idx="35143">1</cx:pt>
          <cx:pt idx="35144">1</cx:pt>
          <cx:pt idx="35145">0</cx:pt>
          <cx:pt idx="35146">0</cx:pt>
          <cx:pt idx="35147">0</cx:pt>
          <cx:pt idx="35148">0</cx:pt>
          <cx:pt idx="35149">0</cx:pt>
          <cx:pt idx="35150">1</cx:pt>
          <cx:pt idx="35151">0</cx:pt>
          <cx:pt idx="35152">0</cx:pt>
          <cx:pt idx="35153">1</cx:pt>
          <cx:pt idx="35154">1</cx:pt>
          <cx:pt idx="35155">1</cx:pt>
          <cx:pt idx="35156">0</cx:pt>
          <cx:pt idx="35157">0</cx:pt>
          <cx:pt idx="35158">0</cx:pt>
          <cx:pt idx="35159">0</cx:pt>
          <cx:pt idx="35160">0</cx:pt>
          <cx:pt idx="35161">0</cx:pt>
          <cx:pt idx="35162">1</cx:pt>
          <cx:pt idx="35163">0</cx:pt>
          <cx:pt idx="35164">0</cx:pt>
          <cx:pt idx="35165">0</cx:pt>
          <cx:pt idx="35166">0</cx:pt>
          <cx:pt idx="35167">0</cx:pt>
          <cx:pt idx="35168">0</cx:pt>
          <cx:pt idx="35169">1</cx:pt>
          <cx:pt idx="35170">0</cx:pt>
          <cx:pt idx="35171">1</cx:pt>
          <cx:pt idx="35172">1</cx:pt>
          <cx:pt idx="35173">0</cx:pt>
          <cx:pt idx="35174">1</cx:pt>
          <cx:pt idx="35175">0</cx:pt>
          <cx:pt idx="35176">0</cx:pt>
          <cx:pt idx="35177">0</cx:pt>
          <cx:pt idx="35178">1</cx:pt>
          <cx:pt idx="35179">0</cx:pt>
          <cx:pt idx="35180">0</cx:pt>
          <cx:pt idx="35181">0</cx:pt>
          <cx:pt idx="35182">1</cx:pt>
          <cx:pt idx="35183">1</cx:pt>
          <cx:pt idx="35184">0</cx:pt>
          <cx:pt idx="35185">1</cx:pt>
          <cx:pt idx="35186">1</cx:pt>
          <cx:pt idx="35187">1</cx:pt>
          <cx:pt idx="35188">0</cx:pt>
          <cx:pt idx="35189">0</cx:pt>
          <cx:pt idx="35190">0</cx:pt>
          <cx:pt idx="35191">0</cx:pt>
          <cx:pt idx="35192">0</cx:pt>
          <cx:pt idx="35193">0</cx:pt>
          <cx:pt idx="35194">1</cx:pt>
          <cx:pt idx="35195">0</cx:pt>
          <cx:pt idx="35196">0</cx:pt>
          <cx:pt idx="35197">1</cx:pt>
          <cx:pt idx="35198">0</cx:pt>
          <cx:pt idx="35199">1</cx:pt>
          <cx:pt idx="35200">0</cx:pt>
          <cx:pt idx="35201">0</cx:pt>
          <cx:pt idx="35202">0</cx:pt>
          <cx:pt idx="35203">1</cx:pt>
          <cx:pt idx="35204">0</cx:pt>
          <cx:pt idx="35205">0</cx:pt>
          <cx:pt idx="35206">1</cx:pt>
          <cx:pt idx="35207">0</cx:pt>
          <cx:pt idx="35208">1</cx:pt>
          <cx:pt idx="35209">0</cx:pt>
          <cx:pt idx="35210">1</cx:pt>
          <cx:pt idx="35211">0</cx:pt>
          <cx:pt idx="35212">1</cx:pt>
          <cx:pt idx="35213">1</cx:pt>
          <cx:pt idx="35214">1</cx:pt>
          <cx:pt idx="35215">0</cx:pt>
          <cx:pt idx="35216">0</cx:pt>
          <cx:pt idx="35217">1</cx:pt>
          <cx:pt idx="35218">1</cx:pt>
          <cx:pt idx="35219">0</cx:pt>
          <cx:pt idx="35220">0</cx:pt>
          <cx:pt idx="35221">0</cx:pt>
          <cx:pt idx="35222">1</cx:pt>
          <cx:pt idx="35223">1</cx:pt>
          <cx:pt idx="35224">0</cx:pt>
          <cx:pt idx="35225">1</cx:pt>
          <cx:pt idx="35226">1</cx:pt>
          <cx:pt idx="35227">0</cx:pt>
          <cx:pt idx="35228">0</cx:pt>
          <cx:pt idx="35229">1</cx:pt>
          <cx:pt idx="35230">1</cx:pt>
          <cx:pt idx="35231">0</cx:pt>
          <cx:pt idx="35232">1</cx:pt>
          <cx:pt idx="35233">0</cx:pt>
          <cx:pt idx="35234">1</cx:pt>
          <cx:pt idx="35235">1</cx:pt>
          <cx:pt idx="35236">0</cx:pt>
          <cx:pt idx="35237">1</cx:pt>
          <cx:pt idx="35238">0</cx:pt>
          <cx:pt idx="35239">0</cx:pt>
          <cx:pt idx="35240">0</cx:pt>
          <cx:pt idx="35241">0</cx:pt>
          <cx:pt idx="35242">0</cx:pt>
          <cx:pt idx="35243">1</cx:pt>
          <cx:pt idx="35244">0</cx:pt>
          <cx:pt idx="35245">0</cx:pt>
          <cx:pt idx="35246">1</cx:pt>
          <cx:pt idx="35247">1</cx:pt>
          <cx:pt idx="35248">1</cx:pt>
          <cx:pt idx="35249">1</cx:pt>
          <cx:pt idx="35250">1</cx:pt>
          <cx:pt idx="35251">1</cx:pt>
          <cx:pt idx="35252">0</cx:pt>
          <cx:pt idx="35253">0</cx:pt>
          <cx:pt idx="35254">1</cx:pt>
          <cx:pt idx="35255">0</cx:pt>
          <cx:pt idx="35256">0</cx:pt>
          <cx:pt idx="35257">1</cx:pt>
          <cx:pt idx="35258">1</cx:pt>
          <cx:pt idx="35259">1</cx:pt>
          <cx:pt idx="35260">0</cx:pt>
          <cx:pt idx="35261">0</cx:pt>
          <cx:pt idx="35262">0</cx:pt>
          <cx:pt idx="35263">1</cx:pt>
          <cx:pt idx="35264">1</cx:pt>
          <cx:pt idx="35265">0</cx:pt>
          <cx:pt idx="35266">0</cx:pt>
          <cx:pt idx="35267">1</cx:pt>
          <cx:pt idx="35268">1</cx:pt>
          <cx:pt idx="35269">0</cx:pt>
          <cx:pt idx="35270">0</cx:pt>
          <cx:pt idx="35271">0</cx:pt>
          <cx:pt idx="35272">1</cx:pt>
          <cx:pt idx="35273">1</cx:pt>
          <cx:pt idx="35274">1</cx:pt>
          <cx:pt idx="35275">1</cx:pt>
          <cx:pt idx="35276">0</cx:pt>
          <cx:pt idx="35277">1</cx:pt>
          <cx:pt idx="35278">1</cx:pt>
          <cx:pt idx="35279">0</cx:pt>
          <cx:pt idx="35280">1</cx:pt>
          <cx:pt idx="35281">1</cx:pt>
          <cx:pt idx="35282">1</cx:pt>
          <cx:pt idx="35283">1</cx:pt>
          <cx:pt idx="35284">1</cx:pt>
          <cx:pt idx="35285">0</cx:pt>
          <cx:pt idx="35286">0</cx:pt>
          <cx:pt idx="35287">0</cx:pt>
          <cx:pt idx="35288">0</cx:pt>
          <cx:pt idx="35289">0</cx:pt>
          <cx:pt idx="35290">0</cx:pt>
          <cx:pt idx="35291">0</cx:pt>
          <cx:pt idx="35292">0</cx:pt>
          <cx:pt idx="35293">1</cx:pt>
          <cx:pt idx="35294">0</cx:pt>
          <cx:pt idx="35295">0</cx:pt>
          <cx:pt idx="35296">1</cx:pt>
          <cx:pt idx="35297">0</cx:pt>
          <cx:pt idx="35298">1</cx:pt>
          <cx:pt idx="35299">1</cx:pt>
          <cx:pt idx="35300">1</cx:pt>
          <cx:pt idx="35301">1</cx:pt>
          <cx:pt idx="35302">1</cx:pt>
          <cx:pt idx="35303">0</cx:pt>
          <cx:pt idx="35304">0</cx:pt>
          <cx:pt idx="35305">0</cx:pt>
          <cx:pt idx="35306">0</cx:pt>
          <cx:pt idx="35307">1</cx:pt>
          <cx:pt idx="35308">0</cx:pt>
          <cx:pt idx="35309">0</cx:pt>
          <cx:pt idx="35310">1</cx:pt>
          <cx:pt idx="35311">0</cx:pt>
          <cx:pt idx="35312">1</cx:pt>
          <cx:pt idx="35313">1</cx:pt>
          <cx:pt idx="35314">1</cx:pt>
          <cx:pt idx="35315">0</cx:pt>
          <cx:pt idx="35316">0</cx:pt>
          <cx:pt idx="35317">0</cx:pt>
          <cx:pt idx="35318">1</cx:pt>
          <cx:pt idx="35319">0</cx:pt>
          <cx:pt idx="35320">1</cx:pt>
          <cx:pt idx="35321">0</cx:pt>
          <cx:pt idx="35322">0</cx:pt>
          <cx:pt idx="35323">0</cx:pt>
          <cx:pt idx="35324">0</cx:pt>
          <cx:pt idx="35325">0</cx:pt>
          <cx:pt idx="35326">0</cx:pt>
          <cx:pt idx="35327">0</cx:pt>
          <cx:pt idx="35328">1</cx:pt>
          <cx:pt idx="35329">1</cx:pt>
          <cx:pt idx="35330">0</cx:pt>
          <cx:pt idx="35331">0</cx:pt>
          <cx:pt idx="35332">0</cx:pt>
          <cx:pt idx="35333">1</cx:pt>
          <cx:pt idx="35334">1</cx:pt>
          <cx:pt idx="35335">0</cx:pt>
          <cx:pt idx="35336">0</cx:pt>
          <cx:pt idx="35337">0</cx:pt>
          <cx:pt idx="35338">1</cx:pt>
          <cx:pt idx="35339">0</cx:pt>
          <cx:pt idx="35340">0</cx:pt>
          <cx:pt idx="35341">0</cx:pt>
          <cx:pt idx="35342">0</cx:pt>
          <cx:pt idx="35343">0</cx:pt>
          <cx:pt idx="35344">0</cx:pt>
          <cx:pt idx="35345">1</cx:pt>
          <cx:pt idx="35346">1</cx:pt>
          <cx:pt idx="35347">0</cx:pt>
          <cx:pt idx="35348">0</cx:pt>
          <cx:pt idx="35349">0</cx:pt>
          <cx:pt idx="35350">1</cx:pt>
          <cx:pt idx="35351">0</cx:pt>
          <cx:pt idx="35352">0</cx:pt>
          <cx:pt idx="35353">1</cx:pt>
          <cx:pt idx="35354">0</cx:pt>
          <cx:pt idx="35355">1</cx:pt>
          <cx:pt idx="35356">1</cx:pt>
          <cx:pt idx="35357">0</cx:pt>
          <cx:pt idx="35358">0</cx:pt>
          <cx:pt idx="35359">0</cx:pt>
          <cx:pt idx="35360">1</cx:pt>
          <cx:pt idx="35361">0</cx:pt>
          <cx:pt idx="35362">1</cx:pt>
          <cx:pt idx="35363">0</cx:pt>
          <cx:pt idx="35364">0</cx:pt>
          <cx:pt idx="35365">0</cx:pt>
          <cx:pt idx="35366">0</cx:pt>
          <cx:pt idx="35367">0</cx:pt>
          <cx:pt idx="35368">1</cx:pt>
          <cx:pt idx="35369">1</cx:pt>
          <cx:pt idx="35370">0</cx:pt>
          <cx:pt idx="35371">1</cx:pt>
          <cx:pt idx="35372">1</cx:pt>
          <cx:pt idx="35373">1</cx:pt>
          <cx:pt idx="35374">1</cx:pt>
          <cx:pt idx="35375">1</cx:pt>
          <cx:pt idx="35376">1</cx:pt>
          <cx:pt idx="35377">0</cx:pt>
          <cx:pt idx="35378">0</cx:pt>
          <cx:pt idx="35379">1</cx:pt>
          <cx:pt idx="35380">0</cx:pt>
          <cx:pt idx="35381">0</cx:pt>
          <cx:pt idx="35382">1</cx:pt>
          <cx:pt idx="35383">0</cx:pt>
          <cx:pt idx="35384">0</cx:pt>
          <cx:pt idx="35385">0</cx:pt>
          <cx:pt idx="35386">0</cx:pt>
          <cx:pt idx="35387">0</cx:pt>
          <cx:pt idx="35388">0</cx:pt>
          <cx:pt idx="35389">1</cx:pt>
          <cx:pt idx="35390">1</cx:pt>
          <cx:pt idx="35391">1</cx:pt>
          <cx:pt idx="35392">1</cx:pt>
          <cx:pt idx="35393">1</cx:pt>
          <cx:pt idx="35394">1</cx:pt>
          <cx:pt idx="35395">0</cx:pt>
          <cx:pt idx="35396">0</cx:pt>
          <cx:pt idx="35397">0</cx:pt>
          <cx:pt idx="35398">0</cx:pt>
          <cx:pt idx="35399">1</cx:pt>
          <cx:pt idx="35400">1</cx:pt>
          <cx:pt idx="35401">1</cx:pt>
          <cx:pt idx="35402">1</cx:pt>
          <cx:pt idx="35403">0</cx:pt>
          <cx:pt idx="35404">1</cx:pt>
          <cx:pt idx="35405">0</cx:pt>
          <cx:pt idx="35406">0</cx:pt>
          <cx:pt idx="35407">0</cx:pt>
          <cx:pt idx="35408">0</cx:pt>
          <cx:pt idx="35409">0</cx:pt>
          <cx:pt idx="35410">0</cx:pt>
          <cx:pt idx="35411">1</cx:pt>
          <cx:pt idx="35412">0</cx:pt>
          <cx:pt idx="35413">1</cx:pt>
          <cx:pt idx="35414">1</cx:pt>
          <cx:pt idx="35415">1</cx:pt>
          <cx:pt idx="35416">1</cx:pt>
          <cx:pt idx="35417">0</cx:pt>
          <cx:pt idx="35418">0</cx:pt>
          <cx:pt idx="35419">1</cx:pt>
          <cx:pt idx="35420">0</cx:pt>
          <cx:pt idx="35421">1</cx:pt>
          <cx:pt idx="35422">0</cx:pt>
          <cx:pt idx="35423">1</cx:pt>
          <cx:pt idx="35424">1</cx:pt>
          <cx:pt idx="35425">1</cx:pt>
          <cx:pt idx="35426">0</cx:pt>
          <cx:pt idx="35427">1</cx:pt>
          <cx:pt idx="35428">0</cx:pt>
          <cx:pt idx="35429">0</cx:pt>
          <cx:pt idx="35430">1</cx:pt>
          <cx:pt idx="35431">0</cx:pt>
          <cx:pt idx="35432">0</cx:pt>
          <cx:pt idx="35433">1</cx:pt>
          <cx:pt idx="35434">0</cx:pt>
          <cx:pt idx="35435">0</cx:pt>
          <cx:pt idx="35436">1</cx:pt>
          <cx:pt idx="35437">1</cx:pt>
          <cx:pt idx="35438">0</cx:pt>
          <cx:pt idx="35439">0</cx:pt>
          <cx:pt idx="35440">1</cx:pt>
          <cx:pt idx="35441">0</cx:pt>
          <cx:pt idx="35442">0</cx:pt>
          <cx:pt idx="35443">1</cx:pt>
          <cx:pt idx="35444">0</cx:pt>
          <cx:pt idx="35445">1</cx:pt>
          <cx:pt idx="35446">1</cx:pt>
          <cx:pt idx="35447">0</cx:pt>
          <cx:pt idx="35448">0</cx:pt>
          <cx:pt idx="35449">1</cx:pt>
          <cx:pt idx="35450">1</cx:pt>
          <cx:pt idx="35451">0</cx:pt>
          <cx:pt idx="35452">0</cx:pt>
          <cx:pt idx="35453">0</cx:pt>
          <cx:pt idx="35454">1</cx:pt>
          <cx:pt idx="35455">0</cx:pt>
          <cx:pt idx="35456">1</cx:pt>
          <cx:pt idx="35457">0</cx:pt>
          <cx:pt idx="35458">0</cx:pt>
          <cx:pt idx="35459">0</cx:pt>
          <cx:pt idx="35460">0</cx:pt>
          <cx:pt idx="35461">0</cx:pt>
          <cx:pt idx="35462">0</cx:pt>
          <cx:pt idx="35463">0</cx:pt>
          <cx:pt idx="35464">0</cx:pt>
          <cx:pt idx="35465">0</cx:pt>
          <cx:pt idx="35466">1</cx:pt>
          <cx:pt idx="35467">0</cx:pt>
          <cx:pt idx="35468">0</cx:pt>
          <cx:pt idx="35469">0</cx:pt>
          <cx:pt idx="35470">0</cx:pt>
          <cx:pt idx="35471">0</cx:pt>
          <cx:pt idx="35472">0</cx:pt>
          <cx:pt idx="35473">0</cx:pt>
          <cx:pt idx="35474">0</cx:pt>
          <cx:pt idx="35475">1</cx:pt>
          <cx:pt idx="35476">0</cx:pt>
          <cx:pt idx="35477">0</cx:pt>
          <cx:pt idx="35478">0</cx:pt>
          <cx:pt idx="35479">0</cx:pt>
          <cx:pt idx="35480">0</cx:pt>
          <cx:pt idx="35481">0</cx:pt>
          <cx:pt idx="35482">0</cx:pt>
          <cx:pt idx="35483">1</cx:pt>
          <cx:pt idx="35484">1</cx:pt>
          <cx:pt idx="35485">1</cx:pt>
          <cx:pt idx="35486">1</cx:pt>
          <cx:pt idx="35487">0</cx:pt>
          <cx:pt idx="35488">1</cx:pt>
          <cx:pt idx="35489">0</cx:pt>
          <cx:pt idx="35490">0</cx:pt>
          <cx:pt idx="35491">1</cx:pt>
          <cx:pt idx="35492">0</cx:pt>
          <cx:pt idx="35493">1</cx:pt>
          <cx:pt idx="35494">1</cx:pt>
          <cx:pt idx="35495">1</cx:pt>
          <cx:pt idx="35496">0</cx:pt>
          <cx:pt idx="35497">1</cx:pt>
          <cx:pt idx="35498">1</cx:pt>
          <cx:pt idx="35499">0</cx:pt>
          <cx:pt idx="35500">0</cx:pt>
          <cx:pt idx="35501">1</cx:pt>
          <cx:pt idx="35502">1</cx:pt>
          <cx:pt idx="35503">0</cx:pt>
          <cx:pt idx="35504">0</cx:pt>
          <cx:pt idx="35505">0</cx:pt>
          <cx:pt idx="35506">1</cx:pt>
          <cx:pt idx="35507">1</cx:pt>
          <cx:pt idx="35508">0</cx:pt>
          <cx:pt idx="35509">0</cx:pt>
          <cx:pt idx="35510">0</cx:pt>
          <cx:pt idx="35511">1</cx:pt>
          <cx:pt idx="35512">1</cx:pt>
          <cx:pt idx="35513">0</cx:pt>
          <cx:pt idx="35514">0</cx:pt>
          <cx:pt idx="35515">1</cx:pt>
          <cx:pt idx="35516">0</cx:pt>
          <cx:pt idx="35517">1</cx:pt>
          <cx:pt idx="35518">0</cx:pt>
          <cx:pt idx="35519">0</cx:pt>
          <cx:pt idx="35520">1</cx:pt>
          <cx:pt idx="35521">0</cx:pt>
          <cx:pt idx="35522">0</cx:pt>
          <cx:pt idx="35523">0</cx:pt>
          <cx:pt idx="35524">0</cx:pt>
          <cx:pt idx="35525">0</cx:pt>
          <cx:pt idx="35526">0</cx:pt>
          <cx:pt idx="35527">1</cx:pt>
          <cx:pt idx="35528">1</cx:pt>
          <cx:pt idx="35529">1</cx:pt>
          <cx:pt idx="35530">0</cx:pt>
          <cx:pt idx="35531">0</cx:pt>
          <cx:pt idx="35532">0</cx:pt>
          <cx:pt idx="35533">0</cx:pt>
          <cx:pt idx="35534">0</cx:pt>
          <cx:pt idx="35535">0</cx:pt>
          <cx:pt idx="35536">0</cx:pt>
          <cx:pt idx="35537">0</cx:pt>
          <cx:pt idx="35538">0</cx:pt>
          <cx:pt idx="35539">1</cx:pt>
          <cx:pt idx="35540">0</cx:pt>
          <cx:pt idx="35541">1</cx:pt>
          <cx:pt idx="35542">0</cx:pt>
          <cx:pt idx="35543">0</cx:pt>
          <cx:pt idx="35544">1</cx:pt>
          <cx:pt idx="35545">1</cx:pt>
          <cx:pt idx="35546">0</cx:pt>
          <cx:pt idx="35547">1</cx:pt>
          <cx:pt idx="35548">1</cx:pt>
          <cx:pt idx="35549">1</cx:pt>
          <cx:pt idx="35550">1</cx:pt>
          <cx:pt idx="35551">1</cx:pt>
          <cx:pt idx="35552">1</cx:pt>
          <cx:pt idx="35553">1</cx:pt>
          <cx:pt idx="35554">0</cx:pt>
          <cx:pt idx="35555">0</cx:pt>
          <cx:pt idx="35556">0</cx:pt>
          <cx:pt idx="35557">0</cx:pt>
          <cx:pt idx="35558">1</cx:pt>
          <cx:pt idx="35559">0</cx:pt>
          <cx:pt idx="35560">1</cx:pt>
          <cx:pt idx="35561">1</cx:pt>
          <cx:pt idx="35562">1</cx:pt>
          <cx:pt idx="35563">0</cx:pt>
          <cx:pt idx="35564">1</cx:pt>
          <cx:pt idx="35565">1</cx:pt>
          <cx:pt idx="35566">1</cx:pt>
          <cx:pt idx="35567">1</cx:pt>
          <cx:pt idx="35568">0</cx:pt>
          <cx:pt idx="35569">0</cx:pt>
          <cx:pt idx="35570">0</cx:pt>
          <cx:pt idx="35571">1</cx:pt>
          <cx:pt idx="35572">0</cx:pt>
          <cx:pt idx="35573">0</cx:pt>
          <cx:pt idx="35574">0</cx:pt>
          <cx:pt idx="35575">1</cx:pt>
          <cx:pt idx="35576">0</cx:pt>
          <cx:pt idx="35577">0</cx:pt>
          <cx:pt idx="35578">0</cx:pt>
          <cx:pt idx="35579">1</cx:pt>
          <cx:pt idx="35580">1</cx:pt>
          <cx:pt idx="35581">0</cx:pt>
          <cx:pt idx="35582">0</cx:pt>
          <cx:pt idx="35583">1</cx:pt>
          <cx:pt idx="35584">0</cx:pt>
          <cx:pt idx="35585">0</cx:pt>
          <cx:pt idx="35586">0</cx:pt>
          <cx:pt idx="35587">0</cx:pt>
          <cx:pt idx="35588">0</cx:pt>
          <cx:pt idx="35589">1</cx:pt>
          <cx:pt idx="35590">0</cx:pt>
          <cx:pt idx="35591">0</cx:pt>
          <cx:pt idx="35592">0</cx:pt>
          <cx:pt idx="35593">0</cx:pt>
          <cx:pt idx="35594">1</cx:pt>
          <cx:pt idx="35595">0</cx:pt>
          <cx:pt idx="35596">1</cx:pt>
          <cx:pt idx="35597">0</cx:pt>
          <cx:pt idx="35598">0</cx:pt>
          <cx:pt idx="35599">0</cx:pt>
          <cx:pt idx="35600">1</cx:pt>
          <cx:pt idx="35601">0</cx:pt>
          <cx:pt idx="35602">0</cx:pt>
          <cx:pt idx="35603">1</cx:pt>
          <cx:pt idx="35604">0</cx:pt>
          <cx:pt idx="35605">0</cx:pt>
          <cx:pt idx="35606">1</cx:pt>
          <cx:pt idx="35607">1</cx:pt>
          <cx:pt idx="35608">1</cx:pt>
          <cx:pt idx="35609">1</cx:pt>
          <cx:pt idx="35610">0</cx:pt>
          <cx:pt idx="35611">0</cx:pt>
          <cx:pt idx="35612">0</cx:pt>
          <cx:pt idx="35613">1</cx:pt>
          <cx:pt idx="35614">1</cx:pt>
          <cx:pt idx="35615">0</cx:pt>
          <cx:pt idx="35616">1</cx:pt>
          <cx:pt idx="35617">0</cx:pt>
          <cx:pt idx="35618">1</cx:pt>
          <cx:pt idx="35619">0</cx:pt>
          <cx:pt idx="35620">1</cx:pt>
          <cx:pt idx="35621">1</cx:pt>
          <cx:pt idx="35622">0</cx:pt>
          <cx:pt idx="35623">1</cx:pt>
          <cx:pt idx="35624">1</cx:pt>
          <cx:pt idx="35625">0</cx:pt>
          <cx:pt idx="35626">1</cx:pt>
          <cx:pt idx="35627">0</cx:pt>
          <cx:pt idx="35628">1</cx:pt>
          <cx:pt idx="35629">0</cx:pt>
          <cx:pt idx="35630">0</cx:pt>
          <cx:pt idx="35631">1</cx:pt>
          <cx:pt idx="35632">0</cx:pt>
          <cx:pt idx="35633">1</cx:pt>
          <cx:pt idx="35634">1</cx:pt>
          <cx:pt idx="35635">0</cx:pt>
          <cx:pt idx="35636">0</cx:pt>
          <cx:pt idx="35637">1</cx:pt>
          <cx:pt idx="35638">0</cx:pt>
          <cx:pt idx="35639">1</cx:pt>
          <cx:pt idx="35640">0</cx:pt>
          <cx:pt idx="35641">0</cx:pt>
          <cx:pt idx="35642">0</cx:pt>
          <cx:pt idx="35643">1</cx:pt>
          <cx:pt idx="35644">1</cx:pt>
          <cx:pt idx="35645">0</cx:pt>
          <cx:pt idx="35646">0</cx:pt>
          <cx:pt idx="35647">0</cx:pt>
          <cx:pt idx="35648">0</cx:pt>
          <cx:pt idx="35649">0</cx:pt>
          <cx:pt idx="35650">1</cx:pt>
          <cx:pt idx="35651">1</cx:pt>
          <cx:pt idx="35652">1</cx:pt>
          <cx:pt idx="35653">0</cx:pt>
          <cx:pt idx="35654">1</cx:pt>
          <cx:pt idx="35655">0</cx:pt>
          <cx:pt idx="35656">1</cx:pt>
          <cx:pt idx="35657">0</cx:pt>
          <cx:pt idx="35658">1</cx:pt>
          <cx:pt idx="35659">0</cx:pt>
          <cx:pt idx="35660">0</cx:pt>
          <cx:pt idx="35661">0</cx:pt>
          <cx:pt idx="35662">1</cx:pt>
          <cx:pt idx="35663">0</cx:pt>
          <cx:pt idx="35664">0</cx:pt>
          <cx:pt idx="35665">1</cx:pt>
          <cx:pt idx="35666">1</cx:pt>
          <cx:pt idx="35667">1</cx:pt>
          <cx:pt idx="35668">1</cx:pt>
          <cx:pt idx="35669">0</cx:pt>
          <cx:pt idx="35670">1</cx:pt>
          <cx:pt idx="35671">1</cx:pt>
          <cx:pt idx="35672">1</cx:pt>
          <cx:pt idx="35673">0</cx:pt>
          <cx:pt idx="35674">0</cx:pt>
          <cx:pt idx="35675">1</cx:pt>
          <cx:pt idx="35676">0</cx:pt>
          <cx:pt idx="35677">0</cx:pt>
          <cx:pt idx="35678">0</cx:pt>
          <cx:pt idx="35679">0</cx:pt>
          <cx:pt idx="35680">1</cx:pt>
          <cx:pt idx="35681">1</cx:pt>
          <cx:pt idx="35682">0</cx:pt>
          <cx:pt idx="35683">1</cx:pt>
          <cx:pt idx="35684">0</cx:pt>
          <cx:pt idx="35685">1</cx:pt>
          <cx:pt idx="35686">1</cx:pt>
          <cx:pt idx="35687">0</cx:pt>
          <cx:pt idx="35688">1</cx:pt>
          <cx:pt idx="35689">0</cx:pt>
          <cx:pt idx="35690">0</cx:pt>
          <cx:pt idx="35691">1</cx:pt>
          <cx:pt idx="35692">1</cx:pt>
          <cx:pt idx="35693">0</cx:pt>
          <cx:pt idx="35694">0</cx:pt>
          <cx:pt idx="35695">1</cx:pt>
          <cx:pt idx="35696">0</cx:pt>
          <cx:pt idx="35697">0</cx:pt>
          <cx:pt idx="35698">1</cx:pt>
          <cx:pt idx="35699">1</cx:pt>
          <cx:pt idx="35700">0</cx:pt>
          <cx:pt idx="35701">0</cx:pt>
          <cx:pt idx="35702">1</cx:pt>
          <cx:pt idx="35703">1</cx:pt>
          <cx:pt idx="35704">0</cx:pt>
          <cx:pt idx="35705">0</cx:pt>
          <cx:pt idx="35706">0</cx:pt>
          <cx:pt idx="35707">0</cx:pt>
          <cx:pt idx="35708">0</cx:pt>
          <cx:pt idx="35709">0</cx:pt>
          <cx:pt idx="35710">0</cx:pt>
          <cx:pt idx="35711">1</cx:pt>
          <cx:pt idx="35712">1</cx:pt>
          <cx:pt idx="35713">0</cx:pt>
          <cx:pt idx="35714">1</cx:pt>
          <cx:pt idx="35715">0</cx:pt>
          <cx:pt idx="35716">0</cx:pt>
          <cx:pt idx="35717">1</cx:pt>
          <cx:pt idx="35718">0</cx:pt>
          <cx:pt idx="35719">0</cx:pt>
          <cx:pt idx="35720">1</cx:pt>
          <cx:pt idx="35721">0</cx:pt>
          <cx:pt idx="35722">0</cx:pt>
          <cx:pt idx="35723">1</cx:pt>
          <cx:pt idx="35724">1</cx:pt>
          <cx:pt idx="35725">1</cx:pt>
          <cx:pt idx="35726">0</cx:pt>
          <cx:pt idx="35727">0</cx:pt>
          <cx:pt idx="35728">1</cx:pt>
          <cx:pt idx="35729">1</cx:pt>
          <cx:pt idx="35730">1</cx:pt>
          <cx:pt idx="35731">1</cx:pt>
          <cx:pt idx="35732">0</cx:pt>
          <cx:pt idx="35733">0</cx:pt>
          <cx:pt idx="35734">1</cx:pt>
          <cx:pt idx="35735">1</cx:pt>
          <cx:pt idx="35736">1</cx:pt>
          <cx:pt idx="35737">0</cx:pt>
          <cx:pt idx="35738">0</cx:pt>
          <cx:pt idx="35739">1</cx:pt>
          <cx:pt idx="35740">1</cx:pt>
          <cx:pt idx="35741">0</cx:pt>
          <cx:pt idx="35742">1</cx:pt>
          <cx:pt idx="35743">1</cx:pt>
          <cx:pt idx="35744">0</cx:pt>
          <cx:pt idx="35745">1</cx:pt>
          <cx:pt idx="35746">1</cx:pt>
          <cx:pt idx="35747">0</cx:pt>
          <cx:pt idx="35748">0</cx:pt>
          <cx:pt idx="35749">0</cx:pt>
          <cx:pt idx="35750">1</cx:pt>
          <cx:pt idx="35751">1</cx:pt>
          <cx:pt idx="35752">0</cx:pt>
          <cx:pt idx="35753">0</cx:pt>
          <cx:pt idx="35754">0</cx:pt>
          <cx:pt idx="35755">0</cx:pt>
          <cx:pt idx="35756">0</cx:pt>
          <cx:pt idx="35757">0</cx:pt>
          <cx:pt idx="35758">1</cx:pt>
          <cx:pt idx="35759">0</cx:pt>
          <cx:pt idx="35760">0</cx:pt>
          <cx:pt idx="35761">0</cx:pt>
          <cx:pt idx="35762">0</cx:pt>
          <cx:pt idx="35763">0</cx:pt>
          <cx:pt idx="35764">1</cx:pt>
          <cx:pt idx="35765">0</cx:pt>
          <cx:pt idx="35766">1</cx:pt>
          <cx:pt idx="35767">0</cx:pt>
          <cx:pt idx="35768">1</cx:pt>
          <cx:pt idx="35769">0</cx:pt>
          <cx:pt idx="35770">0</cx:pt>
          <cx:pt idx="35771">1</cx:pt>
          <cx:pt idx="35772">0</cx:pt>
          <cx:pt idx="35773">0</cx:pt>
          <cx:pt idx="35774">0</cx:pt>
          <cx:pt idx="35775">0</cx:pt>
          <cx:pt idx="35776">1</cx:pt>
          <cx:pt idx="35777">1</cx:pt>
          <cx:pt idx="35778">0</cx:pt>
          <cx:pt idx="35779">0</cx:pt>
          <cx:pt idx="35780">1</cx:pt>
          <cx:pt idx="35781">1</cx:pt>
          <cx:pt idx="35782">1</cx:pt>
          <cx:pt idx="35783">1</cx:pt>
          <cx:pt idx="35784">0</cx:pt>
          <cx:pt idx="35785">1</cx:pt>
          <cx:pt idx="35786">1</cx:pt>
          <cx:pt idx="35787">0</cx:pt>
          <cx:pt idx="35788">0</cx:pt>
          <cx:pt idx="35789">0</cx:pt>
          <cx:pt idx="35790">0</cx:pt>
          <cx:pt idx="35791">1</cx:pt>
          <cx:pt idx="35792">1</cx:pt>
          <cx:pt idx="35793">1</cx:pt>
          <cx:pt idx="35794">1</cx:pt>
          <cx:pt idx="35795">0</cx:pt>
          <cx:pt idx="35796">0</cx:pt>
          <cx:pt idx="35797">1</cx:pt>
          <cx:pt idx="35798">0</cx:pt>
          <cx:pt idx="35799">0</cx:pt>
          <cx:pt idx="35800">1</cx:pt>
          <cx:pt idx="35801">0</cx:pt>
          <cx:pt idx="35802">1</cx:pt>
          <cx:pt idx="35803">0</cx:pt>
          <cx:pt idx="35804">0</cx:pt>
          <cx:pt idx="35805">0</cx:pt>
          <cx:pt idx="35806">0</cx:pt>
          <cx:pt idx="35807">0</cx:pt>
          <cx:pt idx="35808">0</cx:pt>
          <cx:pt idx="35809">1</cx:pt>
          <cx:pt idx="35810">1</cx:pt>
          <cx:pt idx="35811">1</cx:pt>
          <cx:pt idx="35812">0</cx:pt>
          <cx:pt idx="35813">0</cx:pt>
          <cx:pt idx="35814">1</cx:pt>
          <cx:pt idx="35815">1</cx:pt>
          <cx:pt idx="35816">0</cx:pt>
          <cx:pt idx="35817">0</cx:pt>
          <cx:pt idx="35818">0</cx:pt>
          <cx:pt idx="35819">0</cx:pt>
          <cx:pt idx="35820">1</cx:pt>
          <cx:pt idx="35821">0</cx:pt>
          <cx:pt idx="35822">1</cx:pt>
          <cx:pt idx="35823">0</cx:pt>
          <cx:pt idx="35824">1</cx:pt>
          <cx:pt idx="35825">0</cx:pt>
          <cx:pt idx="35826">1</cx:pt>
          <cx:pt idx="35827">1</cx:pt>
          <cx:pt idx="35828">0</cx:pt>
          <cx:pt idx="35829">0</cx:pt>
          <cx:pt idx="35830">1</cx:pt>
          <cx:pt idx="35831">1</cx:pt>
          <cx:pt idx="35832">1</cx:pt>
          <cx:pt idx="35833">1</cx:pt>
          <cx:pt idx="35834">1</cx:pt>
          <cx:pt idx="35835">1</cx:pt>
          <cx:pt idx="35836">1</cx:pt>
          <cx:pt idx="35837">0</cx:pt>
          <cx:pt idx="35838">0</cx:pt>
          <cx:pt idx="35839">1</cx:pt>
          <cx:pt idx="35840">1</cx:pt>
          <cx:pt idx="35841">0</cx:pt>
          <cx:pt idx="35842">0</cx:pt>
          <cx:pt idx="35843">1</cx:pt>
          <cx:pt idx="35844">1</cx:pt>
          <cx:pt idx="35845">0</cx:pt>
          <cx:pt idx="35846">0</cx:pt>
          <cx:pt idx="35847">0</cx:pt>
          <cx:pt idx="35848">0</cx:pt>
          <cx:pt idx="35849">0</cx:pt>
          <cx:pt idx="35850">0</cx:pt>
          <cx:pt idx="35851">1</cx:pt>
          <cx:pt idx="35852">0</cx:pt>
          <cx:pt idx="35853">0</cx:pt>
          <cx:pt idx="35854">0</cx:pt>
          <cx:pt idx="35855">0</cx:pt>
          <cx:pt idx="35856">1</cx:pt>
          <cx:pt idx="35857">1</cx:pt>
          <cx:pt idx="35858">0</cx:pt>
          <cx:pt idx="35859">1</cx:pt>
          <cx:pt idx="35860">1</cx:pt>
          <cx:pt idx="35861">1</cx:pt>
          <cx:pt idx="35862">0</cx:pt>
          <cx:pt idx="35863">1</cx:pt>
          <cx:pt idx="35864">0</cx:pt>
          <cx:pt idx="35865">1</cx:pt>
          <cx:pt idx="35866">0</cx:pt>
          <cx:pt idx="35867">1</cx:pt>
          <cx:pt idx="35868">1</cx:pt>
          <cx:pt idx="35869">0</cx:pt>
          <cx:pt idx="35870">1</cx:pt>
          <cx:pt idx="35871">0</cx:pt>
          <cx:pt idx="35872">0</cx:pt>
          <cx:pt idx="35873">1</cx:pt>
          <cx:pt idx="35874">1</cx:pt>
          <cx:pt idx="35875">1</cx:pt>
          <cx:pt idx="35876">0</cx:pt>
          <cx:pt idx="35877">0</cx:pt>
          <cx:pt idx="35878">0</cx:pt>
          <cx:pt idx="35879">1</cx:pt>
          <cx:pt idx="35880">0</cx:pt>
          <cx:pt idx="35881">1</cx:pt>
          <cx:pt idx="35882">1</cx:pt>
          <cx:pt idx="35883">1</cx:pt>
          <cx:pt idx="35884">0</cx:pt>
          <cx:pt idx="35885">1</cx:pt>
          <cx:pt idx="35886">1</cx:pt>
          <cx:pt idx="35887">0</cx:pt>
          <cx:pt idx="35888">0</cx:pt>
          <cx:pt idx="35889">0</cx:pt>
          <cx:pt idx="35890">1</cx:pt>
          <cx:pt idx="35891">1</cx:pt>
          <cx:pt idx="35892">1</cx:pt>
          <cx:pt idx="35893">1</cx:pt>
          <cx:pt idx="35894">0</cx:pt>
          <cx:pt idx="35895">0</cx:pt>
          <cx:pt idx="35896">0</cx:pt>
          <cx:pt idx="35897">0</cx:pt>
          <cx:pt idx="35898">1</cx:pt>
          <cx:pt idx="35899">0</cx:pt>
          <cx:pt idx="35900">0</cx:pt>
          <cx:pt idx="35901">0</cx:pt>
          <cx:pt idx="35902">0</cx:pt>
          <cx:pt idx="35903">0</cx:pt>
          <cx:pt idx="35904">1</cx:pt>
          <cx:pt idx="35905">1</cx:pt>
          <cx:pt idx="35906">0</cx:pt>
          <cx:pt idx="35907">0</cx:pt>
          <cx:pt idx="35908">0</cx:pt>
          <cx:pt idx="35909">1</cx:pt>
          <cx:pt idx="35910">1</cx:pt>
          <cx:pt idx="35911">0</cx:pt>
          <cx:pt idx="35912">0</cx:pt>
          <cx:pt idx="35913">1</cx:pt>
          <cx:pt idx="35914">1</cx:pt>
          <cx:pt idx="35915">1</cx:pt>
          <cx:pt idx="35916">0</cx:pt>
          <cx:pt idx="35917">0</cx:pt>
          <cx:pt idx="35918">0</cx:pt>
          <cx:pt idx="35919">0</cx:pt>
          <cx:pt idx="35920">1</cx:pt>
          <cx:pt idx="35921">0</cx:pt>
          <cx:pt idx="35922">1</cx:pt>
          <cx:pt idx="35923">0</cx:pt>
          <cx:pt idx="35924">1</cx:pt>
          <cx:pt idx="35925">1</cx:pt>
          <cx:pt idx="35926">0</cx:pt>
          <cx:pt idx="35927">0</cx:pt>
          <cx:pt idx="35928">1</cx:pt>
          <cx:pt idx="35929">0</cx:pt>
          <cx:pt idx="35930">1</cx:pt>
          <cx:pt idx="35931">1</cx:pt>
          <cx:pt idx="35932">1</cx:pt>
          <cx:pt idx="35933">0</cx:pt>
          <cx:pt idx="35934">0</cx:pt>
          <cx:pt idx="35935">1</cx:pt>
          <cx:pt idx="35936">1</cx:pt>
          <cx:pt idx="35937">1</cx:pt>
          <cx:pt idx="35938">0</cx:pt>
          <cx:pt idx="35939">0</cx:pt>
          <cx:pt idx="35940">0</cx:pt>
          <cx:pt idx="35941">0</cx:pt>
          <cx:pt idx="35942">0</cx:pt>
          <cx:pt idx="35943">1</cx:pt>
          <cx:pt idx="35944">1</cx:pt>
          <cx:pt idx="35945">1</cx:pt>
          <cx:pt idx="35946">0</cx:pt>
          <cx:pt idx="35947">1</cx:pt>
          <cx:pt idx="35948">1</cx:pt>
          <cx:pt idx="35949">0</cx:pt>
          <cx:pt idx="35950">0</cx:pt>
          <cx:pt idx="35951">1</cx:pt>
          <cx:pt idx="35952">0</cx:pt>
          <cx:pt idx="35953">0</cx:pt>
          <cx:pt idx="35954">0</cx:pt>
          <cx:pt idx="35955">1</cx:pt>
          <cx:pt idx="35956">0</cx:pt>
          <cx:pt idx="35957">0</cx:pt>
          <cx:pt idx="35958">0</cx:pt>
          <cx:pt idx="35959">1</cx:pt>
          <cx:pt idx="35960">0</cx:pt>
          <cx:pt idx="35961">1</cx:pt>
          <cx:pt idx="35962">0</cx:pt>
          <cx:pt idx="35963">0</cx:pt>
          <cx:pt idx="35964">0</cx:pt>
          <cx:pt idx="35965">0</cx:pt>
          <cx:pt idx="35966">1</cx:pt>
          <cx:pt idx="35967">0</cx:pt>
          <cx:pt idx="35968">1</cx:pt>
          <cx:pt idx="35969">1</cx:pt>
          <cx:pt idx="35970">1</cx:pt>
          <cx:pt idx="35971">0</cx:pt>
          <cx:pt idx="35972">1</cx:pt>
          <cx:pt idx="35973">1</cx:pt>
          <cx:pt idx="35974">1</cx:pt>
          <cx:pt idx="35975">0</cx:pt>
          <cx:pt idx="35976">0</cx:pt>
          <cx:pt idx="35977">1</cx:pt>
          <cx:pt idx="35978">1</cx:pt>
          <cx:pt idx="35979">0</cx:pt>
          <cx:pt idx="35980">0</cx:pt>
          <cx:pt idx="35981">0</cx:pt>
          <cx:pt idx="35982">0</cx:pt>
          <cx:pt idx="35983">1</cx:pt>
          <cx:pt idx="35984">1</cx:pt>
          <cx:pt idx="35985">1</cx:pt>
          <cx:pt idx="35986">1</cx:pt>
          <cx:pt idx="35987">0</cx:pt>
          <cx:pt idx="35988">0</cx:pt>
          <cx:pt idx="35989">0</cx:pt>
          <cx:pt idx="35990">0</cx:pt>
          <cx:pt idx="35991">1</cx:pt>
          <cx:pt idx="35992">0</cx:pt>
          <cx:pt idx="35993">1</cx:pt>
          <cx:pt idx="35994">0</cx:pt>
          <cx:pt idx="35995">0</cx:pt>
          <cx:pt idx="35996">1</cx:pt>
          <cx:pt idx="35997">0</cx:pt>
          <cx:pt idx="35998">0</cx:pt>
          <cx:pt idx="35999">0</cx:pt>
          <cx:pt idx="36000">0</cx:pt>
          <cx:pt idx="36001">1</cx:pt>
          <cx:pt idx="36002">1</cx:pt>
          <cx:pt idx="36003">0</cx:pt>
          <cx:pt idx="36004">1</cx:pt>
          <cx:pt idx="36005">0</cx:pt>
          <cx:pt idx="36006">1</cx:pt>
          <cx:pt idx="36007">0</cx:pt>
          <cx:pt idx="36008">1</cx:pt>
          <cx:pt idx="36009">1</cx:pt>
          <cx:pt idx="36010">1</cx:pt>
          <cx:pt idx="36011">1</cx:pt>
          <cx:pt idx="36012">0</cx:pt>
          <cx:pt idx="36013">1</cx:pt>
          <cx:pt idx="36014">0</cx:pt>
          <cx:pt idx="36015">0</cx:pt>
          <cx:pt idx="36016">0</cx:pt>
          <cx:pt idx="36017">1</cx:pt>
          <cx:pt idx="36018">1</cx:pt>
          <cx:pt idx="36019">0</cx:pt>
          <cx:pt idx="36020">1</cx:pt>
          <cx:pt idx="36021">0</cx:pt>
          <cx:pt idx="36022">1</cx:pt>
          <cx:pt idx="36023">0</cx:pt>
          <cx:pt idx="36024">1</cx:pt>
          <cx:pt idx="36025">0</cx:pt>
          <cx:pt idx="36026">1</cx:pt>
          <cx:pt idx="36027">1</cx:pt>
          <cx:pt idx="36028">1</cx:pt>
          <cx:pt idx="36029">1</cx:pt>
          <cx:pt idx="36030">1</cx:pt>
          <cx:pt idx="36031">0</cx:pt>
          <cx:pt idx="36032">0</cx:pt>
          <cx:pt idx="36033">1</cx:pt>
          <cx:pt idx="36034">0</cx:pt>
          <cx:pt idx="36035">0</cx:pt>
          <cx:pt idx="36036">0</cx:pt>
          <cx:pt idx="36037">0</cx:pt>
          <cx:pt idx="36038">0</cx:pt>
          <cx:pt idx="36039">1</cx:pt>
          <cx:pt idx="36040">1</cx:pt>
          <cx:pt idx="36041">0</cx:pt>
          <cx:pt idx="36042">0</cx:pt>
          <cx:pt idx="36043">0</cx:pt>
          <cx:pt idx="36044">1</cx:pt>
          <cx:pt idx="36045">0</cx:pt>
          <cx:pt idx="36046">0</cx:pt>
          <cx:pt idx="36047">1</cx:pt>
          <cx:pt idx="36048">0</cx:pt>
          <cx:pt idx="36049">1</cx:pt>
          <cx:pt idx="36050">1</cx:pt>
          <cx:pt idx="36051">1</cx:pt>
          <cx:pt idx="36052">1</cx:pt>
          <cx:pt idx="36053">0</cx:pt>
          <cx:pt idx="36054">1</cx:pt>
          <cx:pt idx="36055">1</cx:pt>
          <cx:pt idx="36056">0</cx:pt>
          <cx:pt idx="36057">0</cx:pt>
          <cx:pt idx="36058">0</cx:pt>
          <cx:pt idx="36059">1</cx:pt>
          <cx:pt idx="36060">0</cx:pt>
          <cx:pt idx="36061">0</cx:pt>
          <cx:pt idx="36062">0</cx:pt>
          <cx:pt idx="36063">0</cx:pt>
          <cx:pt idx="36064">1</cx:pt>
          <cx:pt idx="36065">1</cx:pt>
          <cx:pt idx="36066">1</cx:pt>
          <cx:pt idx="36067">1</cx:pt>
          <cx:pt idx="36068">1</cx:pt>
          <cx:pt idx="36069">0</cx:pt>
          <cx:pt idx="36070">1</cx:pt>
          <cx:pt idx="36071">0</cx:pt>
          <cx:pt idx="36072">0</cx:pt>
          <cx:pt idx="36073">1</cx:pt>
          <cx:pt idx="36074">1</cx:pt>
          <cx:pt idx="36075">0</cx:pt>
          <cx:pt idx="36076">1</cx:pt>
          <cx:pt idx="36077">0</cx:pt>
          <cx:pt idx="36078">0</cx:pt>
          <cx:pt idx="36079">1</cx:pt>
          <cx:pt idx="36080">0</cx:pt>
          <cx:pt idx="36081">0</cx:pt>
          <cx:pt idx="36082">0</cx:pt>
          <cx:pt idx="36083">1</cx:pt>
          <cx:pt idx="36084">0</cx:pt>
          <cx:pt idx="36085">1</cx:pt>
          <cx:pt idx="36086">0</cx:pt>
          <cx:pt idx="36087">0</cx:pt>
          <cx:pt idx="36088">1</cx:pt>
          <cx:pt idx="36089">0</cx:pt>
          <cx:pt idx="36090">0</cx:pt>
          <cx:pt idx="36091">0</cx:pt>
          <cx:pt idx="36092">0</cx:pt>
          <cx:pt idx="36093">0</cx:pt>
          <cx:pt idx="36094">0</cx:pt>
          <cx:pt idx="36095">0</cx:pt>
          <cx:pt idx="36096">0</cx:pt>
          <cx:pt idx="36097">0</cx:pt>
          <cx:pt idx="36098">0</cx:pt>
          <cx:pt idx="36099">1</cx:pt>
          <cx:pt idx="36100">0</cx:pt>
          <cx:pt idx="36101">1</cx:pt>
          <cx:pt idx="36102">1</cx:pt>
          <cx:pt idx="36103">1</cx:pt>
          <cx:pt idx="36104">0</cx:pt>
          <cx:pt idx="36105">1</cx:pt>
          <cx:pt idx="36106">0</cx:pt>
          <cx:pt idx="36107">0</cx:pt>
          <cx:pt idx="36108">0</cx:pt>
          <cx:pt idx="36109">1</cx:pt>
          <cx:pt idx="36110">0</cx:pt>
          <cx:pt idx="36111">1</cx:pt>
          <cx:pt idx="36112">0</cx:pt>
          <cx:pt idx="36113">1</cx:pt>
          <cx:pt idx="36114">1</cx:pt>
          <cx:pt idx="36115">0</cx:pt>
          <cx:pt idx="36116">1</cx:pt>
          <cx:pt idx="36117">0</cx:pt>
          <cx:pt idx="36118">0</cx:pt>
          <cx:pt idx="36119">0</cx:pt>
          <cx:pt idx="36120">1</cx:pt>
          <cx:pt idx="36121">0</cx:pt>
          <cx:pt idx="36122">0</cx:pt>
          <cx:pt idx="36123">0</cx:pt>
          <cx:pt idx="36124">0</cx:pt>
          <cx:pt idx="36125">0</cx:pt>
          <cx:pt idx="36126">1</cx:pt>
          <cx:pt idx="36127">0</cx:pt>
          <cx:pt idx="36128">0</cx:pt>
          <cx:pt idx="36129">1</cx:pt>
          <cx:pt idx="36130">1</cx:pt>
          <cx:pt idx="36131">0</cx:pt>
          <cx:pt idx="36132">0</cx:pt>
          <cx:pt idx="36133">0</cx:pt>
          <cx:pt idx="36134">0</cx:pt>
          <cx:pt idx="36135">1</cx:pt>
          <cx:pt idx="36136">1</cx:pt>
          <cx:pt idx="36137">0</cx:pt>
          <cx:pt idx="36138">1</cx:pt>
          <cx:pt idx="36139">1</cx:pt>
          <cx:pt idx="36140">0</cx:pt>
          <cx:pt idx="36141">0</cx:pt>
          <cx:pt idx="36142">0</cx:pt>
          <cx:pt idx="36143">1</cx:pt>
          <cx:pt idx="36144">0</cx:pt>
          <cx:pt idx="36145">0</cx:pt>
          <cx:pt idx="36146">0</cx:pt>
          <cx:pt idx="36147">0</cx:pt>
          <cx:pt idx="36148">1</cx:pt>
          <cx:pt idx="36149">0</cx:pt>
          <cx:pt idx="36150">0</cx:pt>
          <cx:pt idx="36151">0</cx:pt>
          <cx:pt idx="36152">1</cx:pt>
          <cx:pt idx="36153">0</cx:pt>
          <cx:pt idx="36154">0</cx:pt>
          <cx:pt idx="36155">1</cx:pt>
          <cx:pt idx="36156">1</cx:pt>
          <cx:pt idx="36157">0</cx:pt>
          <cx:pt idx="36158">1</cx:pt>
          <cx:pt idx="36159">1</cx:pt>
          <cx:pt idx="36160">0</cx:pt>
          <cx:pt idx="36161">0</cx:pt>
          <cx:pt idx="36162">1</cx:pt>
          <cx:pt idx="36163">0</cx:pt>
          <cx:pt idx="36164">0</cx:pt>
          <cx:pt idx="36165">0</cx:pt>
          <cx:pt idx="36166">1</cx:pt>
          <cx:pt idx="36167">0</cx:pt>
          <cx:pt idx="36168">0</cx:pt>
          <cx:pt idx="36169">0</cx:pt>
          <cx:pt idx="36170">0</cx:pt>
          <cx:pt idx="36171">1</cx:pt>
          <cx:pt idx="36172">0</cx:pt>
          <cx:pt idx="36173">0</cx:pt>
          <cx:pt idx="36174">0</cx:pt>
          <cx:pt idx="36175">0</cx:pt>
          <cx:pt idx="36176">0</cx:pt>
          <cx:pt idx="36177">0</cx:pt>
          <cx:pt idx="36178">0</cx:pt>
          <cx:pt idx="36179">0</cx:pt>
          <cx:pt idx="36180">0</cx:pt>
          <cx:pt idx="36181">0</cx:pt>
          <cx:pt idx="36182">0</cx:pt>
          <cx:pt idx="36183">0</cx:pt>
          <cx:pt idx="36184">0</cx:pt>
          <cx:pt idx="36185">1</cx:pt>
          <cx:pt idx="36186">0</cx:pt>
          <cx:pt idx="36187">0</cx:pt>
          <cx:pt idx="36188">0</cx:pt>
          <cx:pt idx="36189">1</cx:pt>
          <cx:pt idx="36190">0</cx:pt>
          <cx:pt idx="36191">0</cx:pt>
          <cx:pt idx="36192">1</cx:pt>
          <cx:pt idx="36193">0</cx:pt>
          <cx:pt idx="36194">0</cx:pt>
          <cx:pt idx="36195">0</cx:pt>
          <cx:pt idx="36196">0</cx:pt>
          <cx:pt idx="36197">0</cx:pt>
          <cx:pt idx="36198">0</cx:pt>
          <cx:pt idx="36199">0</cx:pt>
          <cx:pt idx="36200">1</cx:pt>
          <cx:pt idx="36201">0</cx:pt>
          <cx:pt idx="36202">1</cx:pt>
          <cx:pt idx="36203">1</cx:pt>
          <cx:pt idx="36204">0</cx:pt>
          <cx:pt idx="36205">1</cx:pt>
          <cx:pt idx="36206">0</cx:pt>
          <cx:pt idx="36207">0</cx:pt>
          <cx:pt idx="36208">0</cx:pt>
          <cx:pt idx="36209">0</cx:pt>
          <cx:pt idx="36210">0</cx:pt>
          <cx:pt idx="36211">1</cx:pt>
          <cx:pt idx="36212">0</cx:pt>
          <cx:pt idx="36213">1</cx:pt>
          <cx:pt idx="36214">1</cx:pt>
          <cx:pt idx="36215">0</cx:pt>
          <cx:pt idx="36216">0</cx:pt>
          <cx:pt idx="36217">0</cx:pt>
          <cx:pt idx="36218">1</cx:pt>
          <cx:pt idx="36219">0</cx:pt>
          <cx:pt idx="36220">0</cx:pt>
          <cx:pt idx="36221">0</cx:pt>
          <cx:pt idx="36222">1</cx:pt>
          <cx:pt idx="36223">1</cx:pt>
          <cx:pt idx="36224">0</cx:pt>
          <cx:pt idx="36225">0</cx:pt>
          <cx:pt idx="36226">1</cx:pt>
          <cx:pt idx="36227">0</cx:pt>
          <cx:pt idx="36228">0</cx:pt>
          <cx:pt idx="36229">1</cx:pt>
          <cx:pt idx="36230">0</cx:pt>
          <cx:pt idx="36231">0</cx:pt>
          <cx:pt idx="36232">1</cx:pt>
          <cx:pt idx="36233">0</cx:pt>
          <cx:pt idx="36234">0</cx:pt>
          <cx:pt idx="36235">1</cx:pt>
          <cx:pt idx="36236">1</cx:pt>
          <cx:pt idx="36237">1</cx:pt>
          <cx:pt idx="36238">1</cx:pt>
          <cx:pt idx="36239">1</cx:pt>
          <cx:pt idx="36240">1</cx:pt>
          <cx:pt idx="36241">0</cx:pt>
          <cx:pt idx="36242">1</cx:pt>
          <cx:pt idx="36243">0</cx:pt>
          <cx:pt idx="36244">1</cx:pt>
          <cx:pt idx="36245">1</cx:pt>
          <cx:pt idx="36246">1</cx:pt>
          <cx:pt idx="36247">1</cx:pt>
          <cx:pt idx="36248">1</cx:pt>
          <cx:pt idx="36249">1</cx:pt>
          <cx:pt idx="36250">1</cx:pt>
          <cx:pt idx="36251">0</cx:pt>
          <cx:pt idx="36252">0</cx:pt>
          <cx:pt idx="36253">0</cx:pt>
          <cx:pt idx="36254">0</cx:pt>
          <cx:pt idx="36255">0</cx:pt>
          <cx:pt idx="36256">1</cx:pt>
          <cx:pt idx="36257">1</cx:pt>
          <cx:pt idx="36258">0</cx:pt>
          <cx:pt idx="36259">1</cx:pt>
          <cx:pt idx="36260">0</cx:pt>
          <cx:pt idx="36261">0</cx:pt>
          <cx:pt idx="36262">0</cx:pt>
          <cx:pt idx="36263">0</cx:pt>
          <cx:pt idx="36264">1</cx:pt>
          <cx:pt idx="36265">1</cx:pt>
          <cx:pt idx="36266">1</cx:pt>
          <cx:pt idx="36267">1</cx:pt>
          <cx:pt idx="36268">0</cx:pt>
          <cx:pt idx="36269">0</cx:pt>
          <cx:pt idx="36270">1</cx:pt>
          <cx:pt idx="36271">0</cx:pt>
          <cx:pt idx="36272">0</cx:pt>
          <cx:pt idx="36273">0</cx:pt>
          <cx:pt idx="36274">1</cx:pt>
          <cx:pt idx="36275">0</cx:pt>
          <cx:pt idx="36276">1</cx:pt>
          <cx:pt idx="36277">1</cx:pt>
          <cx:pt idx="36278">0</cx:pt>
          <cx:pt idx="36279">1</cx:pt>
          <cx:pt idx="36280">0</cx:pt>
          <cx:pt idx="36281">0</cx:pt>
          <cx:pt idx="36282">0</cx:pt>
          <cx:pt idx="36283">1</cx:pt>
          <cx:pt idx="36284">0</cx:pt>
          <cx:pt idx="36285">1</cx:pt>
          <cx:pt idx="36286">0</cx:pt>
          <cx:pt idx="36287">0</cx:pt>
          <cx:pt idx="36288">0</cx:pt>
          <cx:pt idx="36289">1</cx:pt>
          <cx:pt idx="36290">0</cx:pt>
          <cx:pt idx="36291">1</cx:pt>
          <cx:pt idx="36292">0</cx:pt>
          <cx:pt idx="36293">1</cx:pt>
          <cx:pt idx="36294">0</cx:pt>
          <cx:pt idx="36295">1</cx:pt>
          <cx:pt idx="36296">0</cx:pt>
          <cx:pt idx="36297">1</cx:pt>
          <cx:pt idx="36298">0</cx:pt>
          <cx:pt idx="36299">1</cx:pt>
          <cx:pt idx="36300">1</cx:pt>
          <cx:pt idx="36301">0</cx:pt>
          <cx:pt idx="36302">1</cx:pt>
          <cx:pt idx="36303">0</cx:pt>
          <cx:pt idx="36304">1</cx:pt>
          <cx:pt idx="36305">1</cx:pt>
          <cx:pt idx="36306">0</cx:pt>
          <cx:pt idx="36307">0</cx:pt>
          <cx:pt idx="36308">1</cx:pt>
          <cx:pt idx="36309">1</cx:pt>
          <cx:pt idx="36310">0</cx:pt>
          <cx:pt idx="36311">0</cx:pt>
          <cx:pt idx="36312">0</cx:pt>
          <cx:pt idx="36313">0</cx:pt>
          <cx:pt idx="36314">1</cx:pt>
          <cx:pt idx="36315">0</cx:pt>
          <cx:pt idx="36316">1</cx:pt>
          <cx:pt idx="36317">0</cx:pt>
          <cx:pt idx="36318">1</cx:pt>
          <cx:pt idx="36319">0</cx:pt>
          <cx:pt idx="36320">0</cx:pt>
          <cx:pt idx="36321">0</cx:pt>
          <cx:pt idx="36322">0</cx:pt>
          <cx:pt idx="36323">0</cx:pt>
          <cx:pt idx="36324">0</cx:pt>
          <cx:pt idx="36325">1</cx:pt>
          <cx:pt idx="36326">1</cx:pt>
          <cx:pt idx="36327">1</cx:pt>
          <cx:pt idx="36328">1</cx:pt>
          <cx:pt idx="36329">1</cx:pt>
          <cx:pt idx="36330">1</cx:pt>
          <cx:pt idx="36331">0</cx:pt>
          <cx:pt idx="36332">0</cx:pt>
          <cx:pt idx="36333">1</cx:pt>
          <cx:pt idx="36334">0</cx:pt>
          <cx:pt idx="36335">0</cx:pt>
          <cx:pt idx="36336">1</cx:pt>
          <cx:pt idx="36337">0</cx:pt>
          <cx:pt idx="36338">0</cx:pt>
          <cx:pt idx="36339">0</cx:pt>
          <cx:pt idx="36340">1</cx:pt>
          <cx:pt idx="36341">0</cx:pt>
          <cx:pt idx="36342">0</cx:pt>
          <cx:pt idx="36343">1</cx:pt>
          <cx:pt idx="36344">0</cx:pt>
          <cx:pt idx="36345">0</cx:pt>
          <cx:pt idx="36346">1</cx:pt>
          <cx:pt idx="36347">0</cx:pt>
          <cx:pt idx="36348">0</cx:pt>
          <cx:pt idx="36349">0</cx:pt>
          <cx:pt idx="36350">0</cx:pt>
          <cx:pt idx="36351">0</cx:pt>
          <cx:pt idx="36352">0</cx:pt>
          <cx:pt idx="36353">0</cx:pt>
          <cx:pt idx="36354">1</cx:pt>
          <cx:pt idx="36355">1</cx:pt>
          <cx:pt idx="36356">1</cx:pt>
          <cx:pt idx="36357">0</cx:pt>
          <cx:pt idx="36358">0</cx:pt>
          <cx:pt idx="36359">0</cx:pt>
          <cx:pt idx="36360">1</cx:pt>
          <cx:pt idx="36361">0</cx:pt>
          <cx:pt idx="36362">1</cx:pt>
          <cx:pt idx="36363">1</cx:pt>
          <cx:pt idx="36364">1</cx:pt>
          <cx:pt idx="36365">1</cx:pt>
          <cx:pt idx="36366">0</cx:pt>
          <cx:pt idx="36367">1</cx:pt>
          <cx:pt idx="36368">1</cx:pt>
          <cx:pt idx="36369">0</cx:pt>
          <cx:pt idx="36370">0</cx:pt>
          <cx:pt idx="36371">0</cx:pt>
          <cx:pt idx="36372">1</cx:pt>
          <cx:pt idx="36373">0</cx:pt>
          <cx:pt idx="36374">0</cx:pt>
          <cx:pt idx="36375">0</cx:pt>
          <cx:pt idx="36376">0</cx:pt>
          <cx:pt idx="36377">0</cx:pt>
          <cx:pt idx="36378">0</cx:pt>
          <cx:pt idx="36379">0</cx:pt>
          <cx:pt idx="36380">0</cx:pt>
          <cx:pt idx="36381">0</cx:pt>
          <cx:pt idx="36382">1</cx:pt>
          <cx:pt idx="36383">0</cx:pt>
          <cx:pt idx="36384">1</cx:pt>
          <cx:pt idx="36385">0</cx:pt>
          <cx:pt idx="36386">1</cx:pt>
          <cx:pt idx="36387">0</cx:pt>
          <cx:pt idx="36388">1</cx:pt>
          <cx:pt idx="36389">0</cx:pt>
          <cx:pt idx="36390">0</cx:pt>
          <cx:pt idx="36391">0</cx:pt>
          <cx:pt idx="36392">1</cx:pt>
          <cx:pt idx="36393">0</cx:pt>
          <cx:pt idx="36394">0</cx:pt>
          <cx:pt idx="36395">0</cx:pt>
          <cx:pt idx="36396">0</cx:pt>
          <cx:pt idx="36397">1</cx:pt>
          <cx:pt idx="36398">0</cx:pt>
          <cx:pt idx="36399">1</cx:pt>
          <cx:pt idx="36400">0</cx:pt>
          <cx:pt idx="36401">1</cx:pt>
          <cx:pt idx="36402">0</cx:pt>
          <cx:pt idx="36403">0</cx:pt>
          <cx:pt idx="36404">1</cx:pt>
          <cx:pt idx="36405">1</cx:pt>
          <cx:pt idx="36406">1</cx:pt>
          <cx:pt idx="36407">0</cx:pt>
          <cx:pt idx="36408">1</cx:pt>
          <cx:pt idx="36409">1</cx:pt>
          <cx:pt idx="36410">1</cx:pt>
          <cx:pt idx="36411">1</cx:pt>
          <cx:pt idx="36412">0</cx:pt>
          <cx:pt idx="36413">0</cx:pt>
          <cx:pt idx="36414">0</cx:pt>
          <cx:pt idx="36415">0</cx:pt>
          <cx:pt idx="36416">0</cx:pt>
          <cx:pt idx="36417">0</cx:pt>
          <cx:pt idx="36418">1</cx:pt>
          <cx:pt idx="36419">1</cx:pt>
          <cx:pt idx="36420">0</cx:pt>
          <cx:pt idx="36421">0</cx:pt>
          <cx:pt idx="36422">0</cx:pt>
          <cx:pt idx="36423">0</cx:pt>
          <cx:pt idx="36424">1</cx:pt>
          <cx:pt idx="36425">1</cx:pt>
          <cx:pt idx="36426">0</cx:pt>
          <cx:pt idx="36427">1</cx:pt>
          <cx:pt idx="36428">0</cx:pt>
          <cx:pt idx="36429">1</cx:pt>
          <cx:pt idx="36430">0</cx:pt>
          <cx:pt idx="36431">0</cx:pt>
          <cx:pt idx="36432">0</cx:pt>
          <cx:pt idx="36433">0</cx:pt>
          <cx:pt idx="36434">1</cx:pt>
          <cx:pt idx="36435">0</cx:pt>
          <cx:pt idx="36436">0</cx:pt>
          <cx:pt idx="36437">0</cx:pt>
          <cx:pt idx="36438">0</cx:pt>
          <cx:pt idx="36439">0</cx:pt>
          <cx:pt idx="36440">0</cx:pt>
          <cx:pt idx="36441">0</cx:pt>
          <cx:pt idx="36442">0</cx:pt>
          <cx:pt idx="36443">1</cx:pt>
          <cx:pt idx="36444">0</cx:pt>
          <cx:pt idx="36445">0</cx:pt>
          <cx:pt idx="36446">1</cx:pt>
          <cx:pt idx="36447">0</cx:pt>
          <cx:pt idx="36448">0</cx:pt>
          <cx:pt idx="36449">0</cx:pt>
          <cx:pt idx="36450">0</cx:pt>
          <cx:pt idx="36451">1</cx:pt>
          <cx:pt idx="36452">0</cx:pt>
          <cx:pt idx="36453">1</cx:pt>
          <cx:pt idx="36454">1</cx:pt>
          <cx:pt idx="36455">0</cx:pt>
          <cx:pt idx="36456">0</cx:pt>
          <cx:pt idx="36457">1</cx:pt>
          <cx:pt idx="36458">0</cx:pt>
          <cx:pt idx="36459">1</cx:pt>
          <cx:pt idx="36460">1</cx:pt>
          <cx:pt idx="36461">1</cx:pt>
          <cx:pt idx="36462">1</cx:pt>
          <cx:pt idx="36463">1</cx:pt>
          <cx:pt idx="36464">1</cx:pt>
          <cx:pt idx="36465">0</cx:pt>
          <cx:pt idx="36466">0</cx:pt>
          <cx:pt idx="36467">1</cx:pt>
          <cx:pt idx="36468">0</cx:pt>
          <cx:pt idx="36469">0</cx:pt>
          <cx:pt idx="36470">0</cx:pt>
          <cx:pt idx="36471">1</cx:pt>
          <cx:pt idx="36472">0</cx:pt>
          <cx:pt idx="36473">0</cx:pt>
          <cx:pt idx="36474">1</cx:pt>
          <cx:pt idx="36475">1</cx:pt>
          <cx:pt idx="36476">1</cx:pt>
          <cx:pt idx="36477">0</cx:pt>
          <cx:pt idx="36478">0</cx:pt>
          <cx:pt idx="36479">0</cx:pt>
          <cx:pt idx="36480">0</cx:pt>
          <cx:pt idx="36481">0</cx:pt>
          <cx:pt idx="36482">0</cx:pt>
          <cx:pt idx="36483">0</cx:pt>
          <cx:pt idx="36484">0</cx:pt>
          <cx:pt idx="36485">0</cx:pt>
          <cx:pt idx="36486">0</cx:pt>
          <cx:pt idx="36487">0</cx:pt>
          <cx:pt idx="36488">0</cx:pt>
          <cx:pt idx="36489">0</cx:pt>
          <cx:pt idx="36490">1</cx:pt>
          <cx:pt idx="36491">1</cx:pt>
          <cx:pt idx="36492">1</cx:pt>
          <cx:pt idx="36493">1</cx:pt>
          <cx:pt idx="36494">0</cx:pt>
          <cx:pt idx="36495">1</cx:pt>
          <cx:pt idx="36496">0</cx:pt>
          <cx:pt idx="36497">0</cx:pt>
          <cx:pt idx="36498">0</cx:pt>
          <cx:pt idx="36499">1</cx:pt>
          <cx:pt idx="36500">0</cx:pt>
          <cx:pt idx="36501">1</cx:pt>
          <cx:pt idx="36502">1</cx:pt>
          <cx:pt idx="36503">0</cx:pt>
          <cx:pt idx="36504">0</cx:pt>
          <cx:pt idx="36505">0</cx:pt>
          <cx:pt idx="36506">1</cx:pt>
          <cx:pt idx="36507">0</cx:pt>
          <cx:pt idx="36508">0</cx:pt>
          <cx:pt idx="36509">1</cx:pt>
          <cx:pt idx="36510">0</cx:pt>
          <cx:pt idx="36511">0</cx:pt>
          <cx:pt idx="36512">1</cx:pt>
          <cx:pt idx="36513">1</cx:pt>
          <cx:pt idx="36514">1</cx:pt>
          <cx:pt idx="36515">1</cx:pt>
          <cx:pt idx="36516">1</cx:pt>
          <cx:pt idx="36517">1</cx:pt>
          <cx:pt idx="36518">0</cx:pt>
          <cx:pt idx="36519">1</cx:pt>
          <cx:pt idx="36520">1</cx:pt>
          <cx:pt idx="36521">0</cx:pt>
          <cx:pt idx="36522">0</cx:pt>
          <cx:pt idx="36523">1</cx:pt>
          <cx:pt idx="36524">0</cx:pt>
          <cx:pt idx="36525">0</cx:pt>
          <cx:pt idx="36526">0</cx:pt>
          <cx:pt idx="36527">1</cx:pt>
          <cx:pt idx="36528">0</cx:pt>
          <cx:pt idx="36529">1</cx:pt>
          <cx:pt idx="36530">0</cx:pt>
          <cx:pt idx="36531">0</cx:pt>
          <cx:pt idx="36532">0</cx:pt>
          <cx:pt idx="36533">0</cx:pt>
          <cx:pt idx="36534">1</cx:pt>
          <cx:pt idx="36535">0</cx:pt>
          <cx:pt idx="36536">1</cx:pt>
          <cx:pt idx="36537">0</cx:pt>
          <cx:pt idx="36538">0</cx:pt>
          <cx:pt idx="36539">0</cx:pt>
          <cx:pt idx="36540">0</cx:pt>
          <cx:pt idx="36541">0</cx:pt>
          <cx:pt idx="36542">0</cx:pt>
          <cx:pt idx="36543">0</cx:pt>
          <cx:pt idx="36544">0</cx:pt>
          <cx:pt idx="36545">0</cx:pt>
          <cx:pt idx="36546">0</cx:pt>
          <cx:pt idx="36547">1</cx:pt>
          <cx:pt idx="36548">0</cx:pt>
          <cx:pt idx="36549">1</cx:pt>
          <cx:pt idx="36550">0</cx:pt>
          <cx:pt idx="36551">1</cx:pt>
          <cx:pt idx="36552">1</cx:pt>
          <cx:pt idx="36553">1</cx:pt>
          <cx:pt idx="36554">1</cx:pt>
          <cx:pt idx="36555">0</cx:pt>
          <cx:pt idx="36556">0</cx:pt>
          <cx:pt idx="36557">1</cx:pt>
          <cx:pt idx="36558">0</cx:pt>
          <cx:pt idx="36559">1</cx:pt>
          <cx:pt idx="36560">1</cx:pt>
          <cx:pt idx="36561">0</cx:pt>
          <cx:pt idx="36562">0</cx:pt>
          <cx:pt idx="36563">1</cx:pt>
          <cx:pt idx="36564">0</cx:pt>
          <cx:pt idx="36565">1</cx:pt>
          <cx:pt idx="36566">0</cx:pt>
          <cx:pt idx="36567">1</cx:pt>
          <cx:pt idx="36568">0</cx:pt>
          <cx:pt idx="36569">1</cx:pt>
          <cx:pt idx="36570">0</cx:pt>
          <cx:pt idx="36571">1</cx:pt>
          <cx:pt idx="36572">1</cx:pt>
          <cx:pt idx="36573">0</cx:pt>
          <cx:pt idx="36574">1</cx:pt>
          <cx:pt idx="36575">1</cx:pt>
          <cx:pt idx="36576">1</cx:pt>
          <cx:pt idx="36577">0</cx:pt>
          <cx:pt idx="36578">1</cx:pt>
          <cx:pt idx="36579">1</cx:pt>
          <cx:pt idx="36580">0</cx:pt>
          <cx:pt idx="36581">0</cx:pt>
          <cx:pt idx="36582">1</cx:pt>
          <cx:pt idx="36583">1</cx:pt>
          <cx:pt idx="36584">1</cx:pt>
          <cx:pt idx="36585">0</cx:pt>
          <cx:pt idx="36586">1</cx:pt>
          <cx:pt idx="36587">0</cx:pt>
          <cx:pt idx="36588">0</cx:pt>
          <cx:pt idx="36589">1</cx:pt>
          <cx:pt idx="36590">1</cx:pt>
          <cx:pt idx="36591">0</cx:pt>
          <cx:pt idx="36592">0</cx:pt>
          <cx:pt idx="36593">0</cx:pt>
          <cx:pt idx="36594">0</cx:pt>
          <cx:pt idx="36595">1</cx:pt>
          <cx:pt idx="36596">1</cx:pt>
          <cx:pt idx="36597">0</cx:pt>
          <cx:pt idx="36598">0</cx:pt>
          <cx:pt idx="36599">0</cx:pt>
          <cx:pt idx="36600">0</cx:pt>
          <cx:pt idx="36601">0</cx:pt>
          <cx:pt idx="36602">0</cx:pt>
          <cx:pt idx="36603">0</cx:pt>
          <cx:pt idx="36604">0</cx:pt>
          <cx:pt idx="36605">1</cx:pt>
          <cx:pt idx="36606">1</cx:pt>
          <cx:pt idx="36607">1</cx:pt>
          <cx:pt idx="36608">0</cx:pt>
          <cx:pt idx="36609">0</cx:pt>
          <cx:pt idx="36610">1</cx:pt>
          <cx:pt idx="36611">0</cx:pt>
          <cx:pt idx="36612">0</cx:pt>
          <cx:pt idx="36613">0</cx:pt>
          <cx:pt idx="36614">1</cx:pt>
          <cx:pt idx="36615">0</cx:pt>
          <cx:pt idx="36616">0</cx:pt>
          <cx:pt idx="36617">0</cx:pt>
          <cx:pt idx="36618">1</cx:pt>
          <cx:pt idx="36619">0</cx:pt>
          <cx:pt idx="36620">1</cx:pt>
          <cx:pt idx="36621">1</cx:pt>
          <cx:pt idx="36622">0</cx:pt>
          <cx:pt idx="36623">0</cx:pt>
          <cx:pt idx="36624">0</cx:pt>
          <cx:pt idx="36625">1</cx:pt>
          <cx:pt idx="36626">0</cx:pt>
          <cx:pt idx="36627">0</cx:pt>
          <cx:pt idx="36628">0</cx:pt>
          <cx:pt idx="36629">1</cx:pt>
          <cx:pt idx="36630">0</cx:pt>
          <cx:pt idx="36631">1</cx:pt>
          <cx:pt idx="36632">1</cx:pt>
          <cx:pt idx="36633">1</cx:pt>
          <cx:pt idx="36634">1</cx:pt>
          <cx:pt idx="36635">1</cx:pt>
          <cx:pt idx="36636">0</cx:pt>
          <cx:pt idx="36637">1</cx:pt>
          <cx:pt idx="36638">0</cx:pt>
          <cx:pt idx="36639">0</cx:pt>
          <cx:pt idx="36640">0</cx:pt>
          <cx:pt idx="36641">1</cx:pt>
          <cx:pt idx="36642">1</cx:pt>
          <cx:pt idx="36643">0</cx:pt>
          <cx:pt idx="36644">0</cx:pt>
          <cx:pt idx="36645">1</cx:pt>
          <cx:pt idx="36646">0</cx:pt>
          <cx:pt idx="36647">0</cx:pt>
          <cx:pt idx="36648">1</cx:pt>
          <cx:pt idx="36649">1</cx:pt>
          <cx:pt idx="36650">0</cx:pt>
          <cx:pt idx="36651">0</cx:pt>
          <cx:pt idx="36652">1</cx:pt>
          <cx:pt idx="36653">1</cx:pt>
          <cx:pt idx="36654">0</cx:pt>
          <cx:pt idx="36655">0</cx:pt>
          <cx:pt idx="36656">0</cx:pt>
          <cx:pt idx="36657">0</cx:pt>
          <cx:pt idx="36658">0</cx:pt>
          <cx:pt idx="36659">0</cx:pt>
          <cx:pt idx="36660">0</cx:pt>
          <cx:pt idx="36661">1</cx:pt>
          <cx:pt idx="36662">0</cx:pt>
          <cx:pt idx="36663">0</cx:pt>
          <cx:pt idx="36664">1</cx:pt>
          <cx:pt idx="36665">0</cx:pt>
          <cx:pt idx="36666">1</cx:pt>
          <cx:pt idx="36667">0</cx:pt>
          <cx:pt idx="36668">0</cx:pt>
          <cx:pt idx="36669">1</cx:pt>
          <cx:pt idx="36670">1</cx:pt>
          <cx:pt idx="36671">0</cx:pt>
          <cx:pt idx="36672">0</cx:pt>
          <cx:pt idx="36673">0</cx:pt>
          <cx:pt idx="36674">1</cx:pt>
          <cx:pt idx="36675">1</cx:pt>
          <cx:pt idx="36676">0</cx:pt>
          <cx:pt idx="36677">0</cx:pt>
          <cx:pt idx="36678">1</cx:pt>
          <cx:pt idx="36679">1</cx:pt>
          <cx:pt idx="36680">1</cx:pt>
          <cx:pt idx="36681">1</cx:pt>
          <cx:pt idx="36682">0</cx:pt>
          <cx:pt idx="36683">1</cx:pt>
          <cx:pt idx="36684">1</cx:pt>
          <cx:pt idx="36685">0</cx:pt>
          <cx:pt idx="36686">1</cx:pt>
          <cx:pt idx="36687">0</cx:pt>
          <cx:pt idx="36688">0</cx:pt>
          <cx:pt idx="36689">0</cx:pt>
          <cx:pt idx="36690">0</cx:pt>
          <cx:pt idx="36691">1</cx:pt>
          <cx:pt idx="36692">1</cx:pt>
          <cx:pt idx="36693">1</cx:pt>
          <cx:pt idx="36694">0</cx:pt>
          <cx:pt idx="36695">1</cx:pt>
          <cx:pt idx="36696">1</cx:pt>
          <cx:pt idx="36697">0</cx:pt>
          <cx:pt idx="36698">1</cx:pt>
          <cx:pt idx="36699">0</cx:pt>
          <cx:pt idx="36700">0</cx:pt>
          <cx:pt idx="36701">0</cx:pt>
          <cx:pt idx="36702">0</cx:pt>
          <cx:pt idx="36703">0</cx:pt>
          <cx:pt idx="36704">1</cx:pt>
          <cx:pt idx="36705">1</cx:pt>
          <cx:pt idx="36706">0</cx:pt>
          <cx:pt idx="36707">1</cx:pt>
          <cx:pt idx="36708">0</cx:pt>
          <cx:pt idx="36709">1</cx:pt>
          <cx:pt idx="36710">0</cx:pt>
          <cx:pt idx="36711">0</cx:pt>
          <cx:pt idx="36712">0</cx:pt>
          <cx:pt idx="36713">0</cx:pt>
          <cx:pt idx="36714">1</cx:pt>
          <cx:pt idx="36715">1</cx:pt>
          <cx:pt idx="36716">0</cx:pt>
          <cx:pt idx="36717">1</cx:pt>
          <cx:pt idx="36718">0</cx:pt>
          <cx:pt idx="36719">0</cx:pt>
          <cx:pt idx="36720">1</cx:pt>
          <cx:pt idx="36721">0</cx:pt>
          <cx:pt idx="36722">1</cx:pt>
          <cx:pt idx="36723">1</cx:pt>
          <cx:pt idx="36724">0</cx:pt>
          <cx:pt idx="36725">0</cx:pt>
          <cx:pt idx="36726">1</cx:pt>
          <cx:pt idx="36727">1</cx:pt>
          <cx:pt idx="36728">1</cx:pt>
          <cx:pt idx="36729">1</cx:pt>
          <cx:pt idx="36730">0</cx:pt>
          <cx:pt idx="36731">1</cx:pt>
          <cx:pt idx="36732">0</cx:pt>
          <cx:pt idx="36733">0</cx:pt>
          <cx:pt idx="36734">0</cx:pt>
          <cx:pt idx="36735">1</cx:pt>
          <cx:pt idx="36736">1</cx:pt>
          <cx:pt idx="36737">0</cx:pt>
          <cx:pt idx="36738">1</cx:pt>
          <cx:pt idx="36739">0</cx:pt>
          <cx:pt idx="36740">1</cx:pt>
          <cx:pt idx="36741">0</cx:pt>
          <cx:pt idx="36742">0</cx:pt>
          <cx:pt idx="36743">1</cx:pt>
          <cx:pt idx="36744">1</cx:pt>
          <cx:pt idx="36745">1</cx:pt>
          <cx:pt idx="36746">0</cx:pt>
          <cx:pt idx="36747">1</cx:pt>
          <cx:pt idx="36748">1</cx:pt>
          <cx:pt idx="36749">0</cx:pt>
          <cx:pt idx="36750">1</cx:pt>
          <cx:pt idx="36751">1</cx:pt>
          <cx:pt idx="36752">1</cx:pt>
          <cx:pt idx="36753">1</cx:pt>
          <cx:pt idx="36754">1</cx:pt>
          <cx:pt idx="36755">1</cx:pt>
          <cx:pt idx="36756">0</cx:pt>
          <cx:pt idx="36757">0</cx:pt>
          <cx:pt idx="36758">0</cx:pt>
          <cx:pt idx="36759">1</cx:pt>
          <cx:pt idx="36760">0</cx:pt>
          <cx:pt idx="36761">1</cx:pt>
          <cx:pt idx="36762">0</cx:pt>
          <cx:pt idx="36763">1</cx:pt>
          <cx:pt idx="36764">0</cx:pt>
          <cx:pt idx="36765">1</cx:pt>
          <cx:pt idx="36766">0</cx:pt>
          <cx:pt idx="36767">0</cx:pt>
          <cx:pt idx="36768">1</cx:pt>
          <cx:pt idx="36769">0</cx:pt>
          <cx:pt idx="36770">1</cx:pt>
          <cx:pt idx="36771">1</cx:pt>
          <cx:pt idx="36772">0</cx:pt>
          <cx:pt idx="36773">0</cx:pt>
          <cx:pt idx="36774">1</cx:pt>
          <cx:pt idx="36775">1</cx:pt>
          <cx:pt idx="36776">1</cx:pt>
          <cx:pt idx="36777">0</cx:pt>
          <cx:pt idx="36778">0</cx:pt>
          <cx:pt idx="36779">1</cx:pt>
          <cx:pt idx="36780">1</cx:pt>
          <cx:pt idx="36781">0</cx:pt>
          <cx:pt idx="36782">1</cx:pt>
          <cx:pt idx="36783">0</cx:pt>
          <cx:pt idx="36784">1</cx:pt>
          <cx:pt idx="36785">0</cx:pt>
          <cx:pt idx="36786">0</cx:pt>
          <cx:pt idx="36787">0</cx:pt>
          <cx:pt idx="36788">0</cx:pt>
          <cx:pt idx="36789">0</cx:pt>
          <cx:pt idx="36790">1</cx:pt>
          <cx:pt idx="36791">1</cx:pt>
          <cx:pt idx="36792">1</cx:pt>
          <cx:pt idx="36793">1</cx:pt>
          <cx:pt idx="36794">0</cx:pt>
          <cx:pt idx="36795">1</cx:pt>
          <cx:pt idx="36796">0</cx:pt>
          <cx:pt idx="36797">1</cx:pt>
          <cx:pt idx="36798">0</cx:pt>
          <cx:pt idx="36799">0</cx:pt>
          <cx:pt idx="36800">0</cx:pt>
          <cx:pt idx="36801">1</cx:pt>
          <cx:pt idx="36802">1</cx:pt>
          <cx:pt idx="36803">0</cx:pt>
          <cx:pt idx="36804">1</cx:pt>
          <cx:pt idx="36805">0</cx:pt>
          <cx:pt idx="36806">1</cx:pt>
          <cx:pt idx="36807">0</cx:pt>
          <cx:pt idx="36808">0</cx:pt>
          <cx:pt idx="36809">1</cx:pt>
          <cx:pt idx="36810">0</cx:pt>
          <cx:pt idx="36811">0</cx:pt>
          <cx:pt idx="36812">0</cx:pt>
          <cx:pt idx="36813">1</cx:pt>
          <cx:pt idx="36814">0</cx:pt>
          <cx:pt idx="36815">1</cx:pt>
          <cx:pt idx="36816">0</cx:pt>
          <cx:pt idx="36817">1</cx:pt>
          <cx:pt idx="36818">1</cx:pt>
          <cx:pt idx="36819">1</cx:pt>
          <cx:pt idx="36820">1</cx:pt>
          <cx:pt idx="36821">0</cx:pt>
          <cx:pt idx="36822">1</cx:pt>
          <cx:pt idx="36823">1</cx:pt>
          <cx:pt idx="36824">0</cx:pt>
          <cx:pt idx="36825">0</cx:pt>
          <cx:pt idx="36826">1</cx:pt>
          <cx:pt idx="36827">0</cx:pt>
          <cx:pt idx="36828">0</cx:pt>
          <cx:pt idx="36829">0</cx:pt>
          <cx:pt idx="36830">1</cx:pt>
          <cx:pt idx="36831">1</cx:pt>
          <cx:pt idx="36832">0</cx:pt>
          <cx:pt idx="36833">0</cx:pt>
          <cx:pt idx="36834">1</cx:pt>
          <cx:pt idx="36835">0</cx:pt>
          <cx:pt idx="36836">0</cx:pt>
          <cx:pt idx="36837">0</cx:pt>
          <cx:pt idx="36838">0</cx:pt>
          <cx:pt idx="36839">1</cx:pt>
          <cx:pt idx="36840">0</cx:pt>
          <cx:pt idx="36841">0</cx:pt>
          <cx:pt idx="36842">1</cx:pt>
          <cx:pt idx="36843">1</cx:pt>
          <cx:pt idx="36844">1</cx:pt>
          <cx:pt idx="36845">0</cx:pt>
          <cx:pt idx="36846">0</cx:pt>
          <cx:pt idx="36847">1</cx:pt>
          <cx:pt idx="36848">0</cx:pt>
          <cx:pt idx="36849">1</cx:pt>
          <cx:pt idx="36850">0</cx:pt>
          <cx:pt idx="36851">0</cx:pt>
          <cx:pt idx="36852">0</cx:pt>
          <cx:pt idx="36853">0</cx:pt>
          <cx:pt idx="36854">0</cx:pt>
          <cx:pt idx="36855">0</cx:pt>
          <cx:pt idx="36856">0</cx:pt>
          <cx:pt idx="36857">1</cx:pt>
          <cx:pt idx="36858">0</cx:pt>
          <cx:pt idx="36859">0</cx:pt>
          <cx:pt idx="36860">1</cx:pt>
          <cx:pt idx="36861">0</cx:pt>
          <cx:pt idx="36862">0</cx:pt>
          <cx:pt idx="36863">0</cx:pt>
          <cx:pt idx="36864">1</cx:pt>
          <cx:pt idx="36865">0</cx:pt>
          <cx:pt idx="36866">1</cx:pt>
          <cx:pt idx="36867">0</cx:pt>
          <cx:pt idx="36868">0</cx:pt>
          <cx:pt idx="36869">1</cx:pt>
          <cx:pt idx="36870">0</cx:pt>
          <cx:pt idx="36871">0</cx:pt>
          <cx:pt idx="36872">0</cx:pt>
          <cx:pt idx="36873">0</cx:pt>
          <cx:pt idx="36874">0</cx:pt>
          <cx:pt idx="36875">0</cx:pt>
          <cx:pt idx="36876">1</cx:pt>
          <cx:pt idx="36877">1</cx:pt>
          <cx:pt idx="36878">0</cx:pt>
          <cx:pt idx="36879">0</cx:pt>
          <cx:pt idx="36880">0</cx:pt>
          <cx:pt idx="36881">0</cx:pt>
          <cx:pt idx="36882">0</cx:pt>
          <cx:pt idx="36883">0</cx:pt>
          <cx:pt idx="36884">1</cx:pt>
          <cx:pt idx="36885">0</cx:pt>
          <cx:pt idx="36886">1</cx:pt>
          <cx:pt idx="36887">1</cx:pt>
          <cx:pt idx="36888">0</cx:pt>
          <cx:pt idx="36889">1</cx:pt>
          <cx:pt idx="36890">1</cx:pt>
          <cx:pt idx="36891">1</cx:pt>
          <cx:pt idx="36892">1</cx:pt>
          <cx:pt idx="36893">1</cx:pt>
          <cx:pt idx="36894">1</cx:pt>
          <cx:pt idx="36895">1</cx:pt>
          <cx:pt idx="36896">1</cx:pt>
          <cx:pt idx="36897">0</cx:pt>
          <cx:pt idx="36898">1</cx:pt>
          <cx:pt idx="36899">0</cx:pt>
          <cx:pt idx="36900">0</cx:pt>
          <cx:pt idx="36901">0</cx:pt>
          <cx:pt idx="36902">0</cx:pt>
          <cx:pt idx="36903">1</cx:pt>
          <cx:pt idx="36904">1</cx:pt>
          <cx:pt idx="36905">0</cx:pt>
          <cx:pt idx="36906">0</cx:pt>
          <cx:pt idx="36907">0</cx:pt>
          <cx:pt idx="36908">0</cx:pt>
          <cx:pt idx="36909">0</cx:pt>
          <cx:pt idx="36910">0</cx:pt>
          <cx:pt idx="36911">1</cx:pt>
          <cx:pt idx="36912">1</cx:pt>
          <cx:pt idx="36913">0</cx:pt>
          <cx:pt idx="36914">0</cx:pt>
          <cx:pt idx="36915">1</cx:pt>
          <cx:pt idx="36916">1</cx:pt>
          <cx:pt idx="36917">1</cx:pt>
          <cx:pt idx="36918">1</cx:pt>
          <cx:pt idx="36919">1</cx:pt>
          <cx:pt idx="36920">1</cx:pt>
          <cx:pt idx="36921">0</cx:pt>
          <cx:pt idx="36922">1</cx:pt>
          <cx:pt idx="36923">0</cx:pt>
          <cx:pt idx="36924">0</cx:pt>
          <cx:pt idx="36925">1</cx:pt>
          <cx:pt idx="36926">1</cx:pt>
          <cx:pt idx="36927">1</cx:pt>
          <cx:pt idx="36928">0</cx:pt>
          <cx:pt idx="36929">1</cx:pt>
          <cx:pt idx="36930">1</cx:pt>
          <cx:pt idx="36931">0</cx:pt>
          <cx:pt idx="36932">0</cx:pt>
          <cx:pt idx="36933">0</cx:pt>
          <cx:pt idx="36934">0</cx:pt>
          <cx:pt idx="36935">1</cx:pt>
          <cx:pt idx="36936">0</cx:pt>
          <cx:pt idx="36937">0</cx:pt>
          <cx:pt idx="36938">0</cx:pt>
          <cx:pt idx="36939">1</cx:pt>
          <cx:pt idx="36940">1</cx:pt>
          <cx:pt idx="36941">1</cx:pt>
          <cx:pt idx="36942">1</cx:pt>
          <cx:pt idx="36943">1</cx:pt>
          <cx:pt idx="36944">1</cx:pt>
          <cx:pt idx="36945">0</cx:pt>
          <cx:pt idx="36946">1</cx:pt>
          <cx:pt idx="36947">0</cx:pt>
          <cx:pt idx="36948">1</cx:pt>
          <cx:pt idx="36949">1</cx:pt>
          <cx:pt idx="36950">0</cx:pt>
          <cx:pt idx="36951">0</cx:pt>
          <cx:pt idx="36952">0</cx:pt>
          <cx:pt idx="36953">0</cx:pt>
          <cx:pt idx="36954">0</cx:pt>
          <cx:pt idx="36955">1</cx:pt>
          <cx:pt idx="36956">0</cx:pt>
          <cx:pt idx="36957">0</cx:pt>
          <cx:pt idx="36958">1</cx:pt>
          <cx:pt idx="36959">0</cx:pt>
          <cx:pt idx="36960">1</cx:pt>
          <cx:pt idx="36961">1</cx:pt>
          <cx:pt idx="36962">0</cx:pt>
          <cx:pt idx="36963">0</cx:pt>
          <cx:pt idx="36964">1</cx:pt>
          <cx:pt idx="36965">1</cx:pt>
          <cx:pt idx="36966">0</cx:pt>
          <cx:pt idx="36967">1</cx:pt>
          <cx:pt idx="36968">0</cx:pt>
          <cx:pt idx="36969">0</cx:pt>
          <cx:pt idx="36970">0</cx:pt>
          <cx:pt idx="36971">1</cx:pt>
          <cx:pt idx="36972">0</cx:pt>
          <cx:pt idx="36973">0</cx:pt>
          <cx:pt idx="36974">0</cx:pt>
          <cx:pt idx="36975">1</cx:pt>
          <cx:pt idx="36976">1</cx:pt>
          <cx:pt idx="36977">1</cx:pt>
          <cx:pt idx="36978">0</cx:pt>
          <cx:pt idx="36979">0</cx:pt>
          <cx:pt idx="36980">1</cx:pt>
          <cx:pt idx="36981">1</cx:pt>
          <cx:pt idx="36982">0</cx:pt>
          <cx:pt idx="36983">1</cx:pt>
          <cx:pt idx="36984">0</cx:pt>
          <cx:pt idx="36985">0</cx:pt>
          <cx:pt idx="36986">0</cx:pt>
          <cx:pt idx="36987">1</cx:pt>
          <cx:pt idx="36988">0</cx:pt>
          <cx:pt idx="36989">0</cx:pt>
          <cx:pt idx="36990">0</cx:pt>
          <cx:pt idx="36991">0</cx:pt>
          <cx:pt idx="36992">0</cx:pt>
          <cx:pt idx="36993">1</cx:pt>
          <cx:pt idx="36994">1</cx:pt>
          <cx:pt idx="36995">0</cx:pt>
          <cx:pt idx="36996">0</cx:pt>
          <cx:pt idx="36997">0</cx:pt>
          <cx:pt idx="36998">0</cx:pt>
          <cx:pt idx="36999">1</cx:pt>
          <cx:pt idx="37000">0</cx:pt>
          <cx:pt idx="37001">0</cx:pt>
          <cx:pt idx="37002">0</cx:pt>
          <cx:pt idx="37003">0</cx:pt>
          <cx:pt idx="37004">0</cx:pt>
          <cx:pt idx="37005">0</cx:pt>
          <cx:pt idx="37006">0</cx:pt>
          <cx:pt idx="37007">1</cx:pt>
          <cx:pt idx="37008">0</cx:pt>
          <cx:pt idx="37009">1</cx:pt>
          <cx:pt idx="37010">1</cx:pt>
          <cx:pt idx="37011">0</cx:pt>
          <cx:pt idx="37012">0</cx:pt>
          <cx:pt idx="37013">0</cx:pt>
          <cx:pt idx="37014">0</cx:pt>
          <cx:pt idx="37015">0</cx:pt>
          <cx:pt idx="37016">0</cx:pt>
          <cx:pt idx="37017">0</cx:pt>
          <cx:pt idx="37018">1</cx:pt>
          <cx:pt idx="37019">0</cx:pt>
          <cx:pt idx="37020">1</cx:pt>
          <cx:pt idx="37021">1</cx:pt>
          <cx:pt idx="37022">1</cx:pt>
          <cx:pt idx="37023">1</cx:pt>
          <cx:pt idx="37024">0</cx:pt>
          <cx:pt idx="37025">1</cx:pt>
          <cx:pt idx="37026">0</cx:pt>
          <cx:pt idx="37027">0</cx:pt>
          <cx:pt idx="37028">1</cx:pt>
          <cx:pt idx="37029">0</cx:pt>
          <cx:pt idx="37030">1</cx:pt>
          <cx:pt idx="37031">1</cx:pt>
          <cx:pt idx="37032">0</cx:pt>
          <cx:pt idx="37033">0</cx:pt>
          <cx:pt idx="37034">0</cx:pt>
          <cx:pt idx="37035">1</cx:pt>
          <cx:pt idx="37036">0</cx:pt>
          <cx:pt idx="37037">0</cx:pt>
          <cx:pt idx="37038">0</cx:pt>
          <cx:pt idx="37039">1</cx:pt>
          <cx:pt idx="37040">0</cx:pt>
          <cx:pt idx="37041">1</cx:pt>
          <cx:pt idx="37042">0</cx:pt>
          <cx:pt idx="37043">0</cx:pt>
          <cx:pt idx="37044">0</cx:pt>
          <cx:pt idx="37045">0</cx:pt>
          <cx:pt idx="37046">1</cx:pt>
          <cx:pt idx="37047">0</cx:pt>
          <cx:pt idx="37048">0</cx:pt>
          <cx:pt idx="37049">1</cx:pt>
          <cx:pt idx="37050">0</cx:pt>
          <cx:pt idx="37051">1</cx:pt>
          <cx:pt idx="37052">0</cx:pt>
          <cx:pt idx="37053">0</cx:pt>
          <cx:pt idx="37054">1</cx:pt>
          <cx:pt idx="37055">1</cx:pt>
          <cx:pt idx="37056">0</cx:pt>
          <cx:pt idx="37057">0</cx:pt>
          <cx:pt idx="37058">1</cx:pt>
          <cx:pt idx="37059">1</cx:pt>
          <cx:pt idx="37060">1</cx:pt>
          <cx:pt idx="37061">0</cx:pt>
          <cx:pt idx="37062">0</cx:pt>
          <cx:pt idx="37063">1</cx:pt>
          <cx:pt idx="37064">1</cx:pt>
          <cx:pt idx="37065">0</cx:pt>
          <cx:pt idx="37066">0</cx:pt>
          <cx:pt idx="37067">1</cx:pt>
          <cx:pt idx="37068">0</cx:pt>
          <cx:pt idx="37069">0</cx:pt>
          <cx:pt idx="37070">1</cx:pt>
          <cx:pt idx="37071">1</cx:pt>
          <cx:pt idx="37072">0</cx:pt>
          <cx:pt idx="37073">0</cx:pt>
          <cx:pt idx="37074">1</cx:pt>
          <cx:pt idx="37075">1</cx:pt>
          <cx:pt idx="37076">1</cx:pt>
          <cx:pt idx="37077">0</cx:pt>
          <cx:pt idx="37078">0</cx:pt>
          <cx:pt idx="37079">1</cx:pt>
          <cx:pt idx="37080">0</cx:pt>
          <cx:pt idx="37081">1</cx:pt>
          <cx:pt idx="37082">0</cx:pt>
          <cx:pt idx="37083">0</cx:pt>
          <cx:pt idx="37084">0</cx:pt>
          <cx:pt idx="37085">0</cx:pt>
          <cx:pt idx="37086">1</cx:pt>
          <cx:pt idx="37087">1</cx:pt>
          <cx:pt idx="37088">1</cx:pt>
          <cx:pt idx="37089">1</cx:pt>
          <cx:pt idx="37090">0</cx:pt>
          <cx:pt idx="37091">1</cx:pt>
          <cx:pt idx="37092">0</cx:pt>
          <cx:pt idx="37093">1</cx:pt>
          <cx:pt idx="37094">1</cx:pt>
          <cx:pt idx="37095">0</cx:pt>
          <cx:pt idx="37096">1</cx:pt>
          <cx:pt idx="37097">1</cx:pt>
          <cx:pt idx="37098">0</cx:pt>
          <cx:pt idx="37099">1</cx:pt>
          <cx:pt idx="37100">1</cx:pt>
          <cx:pt idx="37101">1</cx:pt>
          <cx:pt idx="37102">0</cx:pt>
          <cx:pt idx="37103">0</cx:pt>
          <cx:pt idx="37104">0</cx:pt>
          <cx:pt idx="37105">0</cx:pt>
          <cx:pt idx="37106">0</cx:pt>
          <cx:pt idx="37107">0</cx:pt>
          <cx:pt idx="37108">0</cx:pt>
          <cx:pt idx="37109">1</cx:pt>
          <cx:pt idx="37110">0</cx:pt>
          <cx:pt idx="37111">0</cx:pt>
          <cx:pt idx="37112">1</cx:pt>
          <cx:pt idx="37113">1</cx:pt>
          <cx:pt idx="37114">1</cx:pt>
          <cx:pt idx="37115">0</cx:pt>
          <cx:pt idx="37116">0</cx:pt>
          <cx:pt idx="37117">1</cx:pt>
          <cx:pt idx="37118">0</cx:pt>
          <cx:pt idx="37119">0</cx:pt>
          <cx:pt idx="37120">0</cx:pt>
          <cx:pt idx="37121">0</cx:pt>
          <cx:pt idx="37122">0</cx:pt>
          <cx:pt idx="37123">0</cx:pt>
          <cx:pt idx="37124">0</cx:pt>
          <cx:pt idx="37125">0</cx:pt>
          <cx:pt idx="37126">0</cx:pt>
          <cx:pt idx="37127">0</cx:pt>
          <cx:pt idx="37128">0</cx:pt>
          <cx:pt idx="37129">1</cx:pt>
          <cx:pt idx="37130">0</cx:pt>
          <cx:pt idx="37131">1</cx:pt>
          <cx:pt idx="37132">1</cx:pt>
          <cx:pt idx="37133">0</cx:pt>
          <cx:pt idx="37134">0</cx:pt>
          <cx:pt idx="37135">0</cx:pt>
          <cx:pt idx="37136">0</cx:pt>
          <cx:pt idx="37137">0</cx:pt>
          <cx:pt idx="37138">0</cx:pt>
          <cx:pt idx="37139">0</cx:pt>
          <cx:pt idx="37140">0</cx:pt>
          <cx:pt idx="37141">1</cx:pt>
          <cx:pt idx="37142">0</cx:pt>
          <cx:pt idx="37143">1</cx:pt>
          <cx:pt idx="37144">1</cx:pt>
          <cx:pt idx="37145">0</cx:pt>
          <cx:pt idx="37146">0</cx:pt>
          <cx:pt idx="37147">1</cx:pt>
          <cx:pt idx="37148">1</cx:pt>
          <cx:pt idx="37149">0</cx:pt>
          <cx:pt idx="37150">1</cx:pt>
          <cx:pt idx="37151">0</cx:pt>
          <cx:pt idx="37152">0</cx:pt>
          <cx:pt idx="37153">1</cx:pt>
          <cx:pt idx="37154">1</cx:pt>
          <cx:pt idx="37155">0</cx:pt>
          <cx:pt idx="37156">1</cx:pt>
          <cx:pt idx="37157">1</cx:pt>
          <cx:pt idx="37158">0</cx:pt>
          <cx:pt idx="37159">0</cx:pt>
          <cx:pt idx="37160">1</cx:pt>
          <cx:pt idx="37161">0</cx:pt>
          <cx:pt idx="37162">0</cx:pt>
          <cx:pt idx="37163">0</cx:pt>
          <cx:pt idx="37164">1</cx:pt>
          <cx:pt idx="37165">0</cx:pt>
          <cx:pt idx="37166">1</cx:pt>
          <cx:pt idx="37167">1</cx:pt>
          <cx:pt idx="37168">1</cx:pt>
          <cx:pt idx="37169">1</cx:pt>
          <cx:pt idx="37170">0</cx:pt>
          <cx:pt idx="37171">0</cx:pt>
          <cx:pt idx="37172">1</cx:pt>
          <cx:pt idx="37173">0</cx:pt>
          <cx:pt idx="37174">0</cx:pt>
          <cx:pt idx="37175">1</cx:pt>
          <cx:pt idx="37176">0</cx:pt>
          <cx:pt idx="37177">0</cx:pt>
          <cx:pt idx="37178">0</cx:pt>
          <cx:pt idx="37179">1</cx:pt>
          <cx:pt idx="37180">0</cx:pt>
          <cx:pt idx="37181">1</cx:pt>
          <cx:pt idx="37182">1</cx:pt>
          <cx:pt idx="37183">0</cx:pt>
          <cx:pt idx="37184">0</cx:pt>
          <cx:pt idx="37185">0</cx:pt>
          <cx:pt idx="37186">1</cx:pt>
          <cx:pt idx="37187">0</cx:pt>
          <cx:pt idx="37188">0</cx:pt>
          <cx:pt idx="37189">1</cx:pt>
          <cx:pt idx="37190">0</cx:pt>
          <cx:pt idx="37191">0</cx:pt>
          <cx:pt idx="37192">1</cx:pt>
          <cx:pt idx="37193">0</cx:pt>
          <cx:pt idx="37194">1</cx:pt>
          <cx:pt idx="37195">1</cx:pt>
          <cx:pt idx="37196">0</cx:pt>
          <cx:pt idx="37197">1</cx:pt>
          <cx:pt idx="37198">1</cx:pt>
          <cx:pt idx="37199">0</cx:pt>
          <cx:pt idx="37200">1</cx:pt>
          <cx:pt idx="37201">0</cx:pt>
          <cx:pt idx="37202">0</cx:pt>
          <cx:pt idx="37203">0</cx:pt>
          <cx:pt idx="37204">1</cx:pt>
          <cx:pt idx="37205">1</cx:pt>
          <cx:pt idx="37206">1</cx:pt>
          <cx:pt idx="37207">1</cx:pt>
          <cx:pt idx="37208">0</cx:pt>
          <cx:pt idx="37209">0</cx:pt>
          <cx:pt idx="37210">1</cx:pt>
          <cx:pt idx="37211">0</cx:pt>
          <cx:pt idx="37212">1</cx:pt>
          <cx:pt idx="37213">1</cx:pt>
          <cx:pt idx="37214">0</cx:pt>
          <cx:pt idx="37215">1</cx:pt>
          <cx:pt idx="37216">0</cx:pt>
          <cx:pt idx="37217">0</cx:pt>
          <cx:pt idx="37218">1</cx:pt>
          <cx:pt idx="37219">1</cx:pt>
          <cx:pt idx="37220">1</cx:pt>
          <cx:pt idx="37221">1</cx:pt>
          <cx:pt idx="37222">0</cx:pt>
          <cx:pt idx="37223">0</cx:pt>
          <cx:pt idx="37224">1</cx:pt>
          <cx:pt idx="37225">1</cx:pt>
          <cx:pt idx="37226">1</cx:pt>
          <cx:pt idx="37227">0</cx:pt>
          <cx:pt idx="37228">1</cx:pt>
          <cx:pt idx="37229">0</cx:pt>
          <cx:pt idx="37230">1</cx:pt>
          <cx:pt idx="37231">0</cx:pt>
          <cx:pt idx="37232">0</cx:pt>
          <cx:pt idx="37233">0</cx:pt>
          <cx:pt idx="37234">0</cx:pt>
          <cx:pt idx="37235">1</cx:pt>
          <cx:pt idx="37236">1</cx:pt>
          <cx:pt idx="37237">1</cx:pt>
          <cx:pt idx="37238">0</cx:pt>
          <cx:pt idx="37239">0</cx:pt>
          <cx:pt idx="37240">1</cx:pt>
          <cx:pt idx="37241">1</cx:pt>
          <cx:pt idx="37242">0</cx:pt>
          <cx:pt idx="37243">0</cx:pt>
          <cx:pt idx="37244">1</cx:pt>
          <cx:pt idx="37245">1</cx:pt>
          <cx:pt idx="37246">0</cx:pt>
          <cx:pt idx="37247">0</cx:pt>
          <cx:pt idx="37248">1</cx:pt>
          <cx:pt idx="37249">1</cx:pt>
          <cx:pt idx="37250">0</cx:pt>
          <cx:pt idx="37251">1</cx:pt>
          <cx:pt idx="37252">0</cx:pt>
          <cx:pt idx="37253">0</cx:pt>
          <cx:pt idx="37254">1</cx:pt>
          <cx:pt idx="37255">1</cx:pt>
          <cx:pt idx="37256">1</cx:pt>
          <cx:pt idx="37257">1</cx:pt>
          <cx:pt idx="37258">0</cx:pt>
          <cx:pt idx="37259">0</cx:pt>
          <cx:pt idx="37260">0</cx:pt>
          <cx:pt idx="37261">1</cx:pt>
          <cx:pt idx="37262">0</cx:pt>
          <cx:pt idx="37263">1</cx:pt>
          <cx:pt idx="37264">1</cx:pt>
          <cx:pt idx="37265">1</cx:pt>
          <cx:pt idx="37266">1</cx:pt>
          <cx:pt idx="37267">0</cx:pt>
          <cx:pt idx="37268">1</cx:pt>
          <cx:pt idx="37269">0</cx:pt>
          <cx:pt idx="37270">1</cx:pt>
          <cx:pt idx="37271">1</cx:pt>
          <cx:pt idx="37272">1</cx:pt>
          <cx:pt idx="37273">1</cx:pt>
          <cx:pt idx="37274">1</cx:pt>
          <cx:pt idx="37275">0</cx:pt>
          <cx:pt idx="37276">1</cx:pt>
          <cx:pt idx="37277">1</cx:pt>
          <cx:pt idx="37278">1</cx:pt>
          <cx:pt idx="37279">1</cx:pt>
          <cx:pt idx="37280">1</cx:pt>
          <cx:pt idx="37281">1</cx:pt>
          <cx:pt idx="37282">0</cx:pt>
          <cx:pt idx="37283">0</cx:pt>
          <cx:pt idx="37284">0</cx:pt>
          <cx:pt idx="37285">0</cx:pt>
          <cx:pt idx="37286">0</cx:pt>
          <cx:pt idx="37287">0</cx:pt>
          <cx:pt idx="37288">1</cx:pt>
          <cx:pt idx="37289">0</cx:pt>
          <cx:pt idx="37290">0</cx:pt>
          <cx:pt idx="37291">0</cx:pt>
          <cx:pt idx="37292">0</cx:pt>
          <cx:pt idx="37293">0</cx:pt>
          <cx:pt idx="37294">0</cx:pt>
          <cx:pt idx="37295">0</cx:pt>
          <cx:pt idx="37296">0</cx:pt>
          <cx:pt idx="37297">0</cx:pt>
          <cx:pt idx="37298">1</cx:pt>
          <cx:pt idx="37299">1</cx:pt>
          <cx:pt idx="37300">0</cx:pt>
          <cx:pt idx="37301">1</cx:pt>
          <cx:pt idx="37302">0</cx:pt>
          <cx:pt idx="37303">0</cx:pt>
          <cx:pt idx="37304">1</cx:pt>
          <cx:pt idx="37305">0</cx:pt>
          <cx:pt idx="37306">0</cx:pt>
          <cx:pt idx="37307">0</cx:pt>
          <cx:pt idx="37308">1</cx:pt>
          <cx:pt idx="37309">0</cx:pt>
          <cx:pt idx="37310">0</cx:pt>
          <cx:pt idx="37311">0</cx:pt>
          <cx:pt idx="37312">1</cx:pt>
          <cx:pt idx="37313">1</cx:pt>
          <cx:pt idx="37314">1</cx:pt>
          <cx:pt idx="37315">1</cx:pt>
          <cx:pt idx="37316">0</cx:pt>
          <cx:pt idx="37317">0</cx:pt>
          <cx:pt idx="37318">1</cx:pt>
          <cx:pt idx="37319">0</cx:pt>
          <cx:pt idx="37320">1</cx:pt>
          <cx:pt idx="37321">0</cx:pt>
          <cx:pt idx="37322">0</cx:pt>
          <cx:pt idx="37323">1</cx:pt>
          <cx:pt idx="37324">1</cx:pt>
          <cx:pt idx="37325">0</cx:pt>
          <cx:pt idx="37326">1</cx:pt>
          <cx:pt idx="37327">0</cx:pt>
          <cx:pt idx="37328">1</cx:pt>
          <cx:pt idx="37329">0</cx:pt>
          <cx:pt idx="37330">0</cx:pt>
          <cx:pt idx="37331">1</cx:pt>
          <cx:pt idx="37332">0</cx:pt>
          <cx:pt idx="37333">0</cx:pt>
          <cx:pt idx="37334">1</cx:pt>
          <cx:pt idx="37335">1</cx:pt>
          <cx:pt idx="37336">1</cx:pt>
          <cx:pt idx="37337">1</cx:pt>
          <cx:pt idx="37338">1</cx:pt>
          <cx:pt idx="37339">1</cx:pt>
          <cx:pt idx="37340">1</cx:pt>
          <cx:pt idx="37341">0</cx:pt>
          <cx:pt idx="37342">1</cx:pt>
          <cx:pt idx="37343">0</cx:pt>
          <cx:pt idx="37344">1</cx:pt>
          <cx:pt idx="37345">1</cx:pt>
          <cx:pt idx="37346">1</cx:pt>
          <cx:pt idx="37347">0</cx:pt>
          <cx:pt idx="37348">1</cx:pt>
          <cx:pt idx="37349">0</cx:pt>
          <cx:pt idx="37350">1</cx:pt>
          <cx:pt idx="37351">1</cx:pt>
          <cx:pt idx="37352">0</cx:pt>
          <cx:pt idx="37353">1</cx:pt>
          <cx:pt idx="37354">0</cx:pt>
          <cx:pt idx="37355">0</cx:pt>
          <cx:pt idx="37356">0</cx:pt>
          <cx:pt idx="37357">1</cx:pt>
          <cx:pt idx="37358">1</cx:pt>
          <cx:pt idx="37359">1</cx:pt>
          <cx:pt idx="37360">1</cx:pt>
          <cx:pt idx="37361">0</cx:pt>
          <cx:pt idx="37362">0</cx:pt>
          <cx:pt idx="37363">1</cx:pt>
          <cx:pt idx="37364">0</cx:pt>
          <cx:pt idx="37365">1</cx:pt>
          <cx:pt idx="37366">0</cx:pt>
          <cx:pt idx="37367">1</cx:pt>
          <cx:pt idx="37368">0</cx:pt>
          <cx:pt idx="37369">0</cx:pt>
          <cx:pt idx="37370">0</cx:pt>
          <cx:pt idx="37371">1</cx:pt>
          <cx:pt idx="37372">1</cx:pt>
          <cx:pt idx="37373">1</cx:pt>
          <cx:pt idx="37374">0</cx:pt>
          <cx:pt idx="37375">1</cx:pt>
          <cx:pt idx="37376">1</cx:pt>
          <cx:pt idx="37377">0</cx:pt>
          <cx:pt idx="37378">1</cx:pt>
          <cx:pt idx="37379">1</cx:pt>
          <cx:pt idx="37380">1</cx:pt>
          <cx:pt idx="37381">0</cx:pt>
          <cx:pt idx="37382">0</cx:pt>
          <cx:pt idx="37383">0</cx:pt>
          <cx:pt idx="37384">0</cx:pt>
          <cx:pt idx="37385">0</cx:pt>
          <cx:pt idx="37386">0</cx:pt>
          <cx:pt idx="37387">0</cx:pt>
          <cx:pt idx="37388">1</cx:pt>
          <cx:pt idx="37389">0</cx:pt>
          <cx:pt idx="37390">1</cx:pt>
          <cx:pt idx="37391">1</cx:pt>
          <cx:pt idx="37392">0</cx:pt>
          <cx:pt idx="37393">0</cx:pt>
          <cx:pt idx="37394">0</cx:pt>
          <cx:pt idx="37395">0</cx:pt>
          <cx:pt idx="37396">1</cx:pt>
          <cx:pt idx="37397">1</cx:pt>
          <cx:pt idx="37398">1</cx:pt>
          <cx:pt idx="37399">0</cx:pt>
          <cx:pt idx="37400">1</cx:pt>
          <cx:pt idx="37401">0</cx:pt>
          <cx:pt idx="37402">0</cx:pt>
          <cx:pt idx="37403">0</cx:pt>
          <cx:pt idx="37404">1</cx:pt>
          <cx:pt idx="37405">0</cx:pt>
          <cx:pt idx="37406">0</cx:pt>
          <cx:pt idx="37407">1</cx:pt>
          <cx:pt idx="37408">0</cx:pt>
          <cx:pt idx="37409">1</cx:pt>
          <cx:pt idx="37410">0</cx:pt>
          <cx:pt idx="37411">1</cx:pt>
          <cx:pt idx="37412">0</cx:pt>
          <cx:pt idx="37413">0</cx:pt>
          <cx:pt idx="37414">0</cx:pt>
          <cx:pt idx="37415">0</cx:pt>
          <cx:pt idx="37416">0</cx:pt>
          <cx:pt idx="37417">0</cx:pt>
          <cx:pt idx="37418">0</cx:pt>
          <cx:pt idx="37419">0</cx:pt>
          <cx:pt idx="37420">0</cx:pt>
          <cx:pt idx="37421">1</cx:pt>
          <cx:pt idx="37422">1</cx:pt>
          <cx:pt idx="37423">0</cx:pt>
          <cx:pt idx="37424">0</cx:pt>
          <cx:pt idx="37425">1</cx:pt>
          <cx:pt idx="37426">0</cx:pt>
          <cx:pt idx="37427">0</cx:pt>
          <cx:pt idx="37428">1</cx:pt>
          <cx:pt idx="37429">0</cx:pt>
          <cx:pt idx="37430">1</cx:pt>
          <cx:pt idx="37431">1</cx:pt>
          <cx:pt idx="37432">1</cx:pt>
          <cx:pt idx="37433">1</cx:pt>
          <cx:pt idx="37434">1</cx:pt>
          <cx:pt idx="37435">1</cx:pt>
          <cx:pt idx="37436">0</cx:pt>
          <cx:pt idx="37437">0</cx:pt>
          <cx:pt idx="37438">1</cx:pt>
          <cx:pt idx="37439">1</cx:pt>
          <cx:pt idx="37440">1</cx:pt>
          <cx:pt idx="37441">1</cx:pt>
          <cx:pt idx="37442">1</cx:pt>
          <cx:pt idx="37443">1</cx:pt>
          <cx:pt idx="37444">1</cx:pt>
          <cx:pt idx="37445">0</cx:pt>
          <cx:pt idx="37446">0</cx:pt>
          <cx:pt idx="37447">1</cx:pt>
          <cx:pt idx="37448">1</cx:pt>
          <cx:pt idx="37449">0</cx:pt>
          <cx:pt idx="37450">0</cx:pt>
          <cx:pt idx="37451">1</cx:pt>
          <cx:pt idx="37452">1</cx:pt>
          <cx:pt idx="37453">0</cx:pt>
          <cx:pt idx="37454">1</cx:pt>
          <cx:pt idx="37455">1</cx:pt>
          <cx:pt idx="37456">1</cx:pt>
          <cx:pt idx="37457">0</cx:pt>
          <cx:pt idx="37458">0</cx:pt>
          <cx:pt idx="37459">1</cx:pt>
          <cx:pt idx="37460">1</cx:pt>
          <cx:pt idx="37461">1</cx:pt>
          <cx:pt idx="37462">1</cx:pt>
          <cx:pt idx="37463">1</cx:pt>
          <cx:pt idx="37464">1</cx:pt>
          <cx:pt idx="37465">0</cx:pt>
          <cx:pt idx="37466">0</cx:pt>
          <cx:pt idx="37467">1</cx:pt>
          <cx:pt idx="37468">1</cx:pt>
          <cx:pt idx="37469">1</cx:pt>
          <cx:pt idx="37470">1</cx:pt>
          <cx:pt idx="37471">0</cx:pt>
          <cx:pt idx="37472">0</cx:pt>
          <cx:pt idx="37473">0</cx:pt>
          <cx:pt idx="37474">1</cx:pt>
          <cx:pt idx="37475">0</cx:pt>
          <cx:pt idx="37476">0</cx:pt>
          <cx:pt idx="37477">1</cx:pt>
          <cx:pt idx="37478">1</cx:pt>
          <cx:pt idx="37479">0</cx:pt>
          <cx:pt idx="37480">0</cx:pt>
          <cx:pt idx="37481">0</cx:pt>
          <cx:pt idx="37482">1</cx:pt>
          <cx:pt idx="37483">0</cx:pt>
          <cx:pt idx="37484">0</cx:pt>
          <cx:pt idx="37485">0</cx:pt>
          <cx:pt idx="37486">1</cx:pt>
          <cx:pt idx="37487">0</cx:pt>
          <cx:pt idx="37488">1</cx:pt>
          <cx:pt idx="37489">0</cx:pt>
          <cx:pt idx="37490">1</cx:pt>
          <cx:pt idx="37491">0</cx:pt>
          <cx:pt idx="37492">1</cx:pt>
          <cx:pt idx="37493">0</cx:pt>
          <cx:pt idx="37494">1</cx:pt>
          <cx:pt idx="37495">1</cx:pt>
          <cx:pt idx="37496">1</cx:pt>
          <cx:pt idx="37497">1</cx:pt>
          <cx:pt idx="37498">0</cx:pt>
          <cx:pt idx="37499">0</cx:pt>
          <cx:pt idx="37500">0</cx:pt>
          <cx:pt idx="37501">1</cx:pt>
          <cx:pt idx="37502">1</cx:pt>
          <cx:pt idx="37503">1</cx:pt>
          <cx:pt idx="37504">1</cx:pt>
          <cx:pt idx="37505">0</cx:pt>
          <cx:pt idx="37506">1</cx:pt>
          <cx:pt idx="37507">0</cx:pt>
          <cx:pt idx="37508">1</cx:pt>
          <cx:pt idx="37509">0</cx:pt>
          <cx:pt idx="37510">0</cx:pt>
          <cx:pt idx="37511">1</cx:pt>
          <cx:pt idx="37512">1</cx:pt>
          <cx:pt idx="37513">1</cx:pt>
          <cx:pt idx="37514">1</cx:pt>
          <cx:pt idx="37515">1</cx:pt>
          <cx:pt idx="37516">1</cx:pt>
          <cx:pt idx="37517">1</cx:pt>
          <cx:pt idx="37518">1</cx:pt>
          <cx:pt idx="37519">0</cx:pt>
          <cx:pt idx="37520">0</cx:pt>
          <cx:pt idx="37521">0</cx:pt>
          <cx:pt idx="37522">1</cx:pt>
          <cx:pt idx="37523">0</cx:pt>
          <cx:pt idx="37524">0</cx:pt>
          <cx:pt idx="37525">0</cx:pt>
          <cx:pt idx="37526">1</cx:pt>
          <cx:pt idx="37527">0</cx:pt>
          <cx:pt idx="37528">0</cx:pt>
          <cx:pt idx="37529">0</cx:pt>
          <cx:pt idx="37530">0</cx:pt>
          <cx:pt idx="37531">1</cx:pt>
          <cx:pt idx="37532">1</cx:pt>
          <cx:pt idx="37533">1</cx:pt>
          <cx:pt idx="37534">0</cx:pt>
          <cx:pt idx="37535">1</cx:pt>
          <cx:pt idx="37536">0</cx:pt>
          <cx:pt idx="37537">0</cx:pt>
          <cx:pt idx="37538">1</cx:pt>
          <cx:pt idx="37539">0</cx:pt>
          <cx:pt idx="37540">0</cx:pt>
          <cx:pt idx="37541">1</cx:pt>
          <cx:pt idx="37542">1</cx:pt>
          <cx:pt idx="37543">0</cx:pt>
          <cx:pt idx="37544">0</cx:pt>
          <cx:pt idx="37545">1</cx:pt>
          <cx:pt idx="37546">0</cx:pt>
          <cx:pt idx="37547">0</cx:pt>
          <cx:pt idx="37548">0</cx:pt>
          <cx:pt idx="37549">0</cx:pt>
          <cx:pt idx="37550">1</cx:pt>
          <cx:pt idx="37551">0</cx:pt>
          <cx:pt idx="37552">0</cx:pt>
          <cx:pt idx="37553">0</cx:pt>
          <cx:pt idx="37554">0</cx:pt>
          <cx:pt idx="37555">0</cx:pt>
          <cx:pt idx="37556">1</cx:pt>
          <cx:pt idx="37557">0</cx:pt>
          <cx:pt idx="37558">0</cx:pt>
          <cx:pt idx="37559">0</cx:pt>
          <cx:pt idx="37560">1</cx:pt>
          <cx:pt idx="37561">0</cx:pt>
          <cx:pt idx="37562">1</cx:pt>
          <cx:pt idx="37563">0</cx:pt>
          <cx:pt idx="37564">0</cx:pt>
          <cx:pt idx="37565">0</cx:pt>
          <cx:pt idx="37566">0</cx:pt>
          <cx:pt idx="37567">0</cx:pt>
          <cx:pt idx="37568">0</cx:pt>
          <cx:pt idx="37569">0</cx:pt>
          <cx:pt idx="37570">1</cx:pt>
          <cx:pt idx="37571">0</cx:pt>
          <cx:pt idx="37572">1</cx:pt>
          <cx:pt idx="37573">0</cx:pt>
          <cx:pt idx="37574">1</cx:pt>
          <cx:pt idx="37575">1</cx:pt>
          <cx:pt idx="37576">0</cx:pt>
          <cx:pt idx="37577">0</cx:pt>
          <cx:pt idx="37578">0</cx:pt>
          <cx:pt idx="37579">0</cx:pt>
          <cx:pt idx="37580">0</cx:pt>
          <cx:pt idx="37581">0</cx:pt>
          <cx:pt idx="37582">0</cx:pt>
          <cx:pt idx="37583">1</cx:pt>
          <cx:pt idx="37584">0</cx:pt>
          <cx:pt idx="37585">0</cx:pt>
          <cx:pt idx="37586">1</cx:pt>
          <cx:pt idx="37587">0</cx:pt>
          <cx:pt idx="37588">0</cx:pt>
          <cx:pt idx="37589">0</cx:pt>
          <cx:pt idx="37590">1</cx:pt>
          <cx:pt idx="37591">0</cx:pt>
          <cx:pt idx="37592">1</cx:pt>
          <cx:pt idx="37593">0</cx:pt>
          <cx:pt idx="37594">0</cx:pt>
          <cx:pt idx="37595">0</cx:pt>
          <cx:pt idx="37596">0</cx:pt>
          <cx:pt idx="37597">0</cx:pt>
          <cx:pt idx="37598">0</cx:pt>
          <cx:pt idx="37599">0</cx:pt>
          <cx:pt idx="37600">0</cx:pt>
          <cx:pt idx="37601">0</cx:pt>
          <cx:pt idx="37602">1</cx:pt>
          <cx:pt idx="37603">0</cx:pt>
          <cx:pt idx="37604">0</cx:pt>
          <cx:pt idx="37605">1</cx:pt>
          <cx:pt idx="37606">1</cx:pt>
          <cx:pt idx="37607">0</cx:pt>
          <cx:pt idx="37608">0</cx:pt>
          <cx:pt idx="37609">1</cx:pt>
          <cx:pt idx="37610">1</cx:pt>
          <cx:pt idx="37611">0</cx:pt>
          <cx:pt idx="37612">1</cx:pt>
          <cx:pt idx="37613">0</cx:pt>
          <cx:pt idx="37614">0</cx:pt>
          <cx:pt idx="37615">0</cx:pt>
          <cx:pt idx="37616">1</cx:pt>
          <cx:pt idx="37617">0</cx:pt>
          <cx:pt idx="37618">0</cx:pt>
          <cx:pt idx="37619">1</cx:pt>
          <cx:pt idx="37620">0</cx:pt>
          <cx:pt idx="37621">1</cx:pt>
          <cx:pt idx="37622">0</cx:pt>
          <cx:pt idx="37623">0</cx:pt>
          <cx:pt idx="37624">0</cx:pt>
          <cx:pt idx="37625">0</cx:pt>
          <cx:pt idx="37626">1</cx:pt>
          <cx:pt idx="37627">1</cx:pt>
          <cx:pt idx="37628">0</cx:pt>
          <cx:pt idx="37629">0</cx:pt>
          <cx:pt idx="37630">1</cx:pt>
          <cx:pt idx="37631">1</cx:pt>
          <cx:pt idx="37632">0</cx:pt>
          <cx:pt idx="37633">0</cx:pt>
          <cx:pt idx="37634">0</cx:pt>
          <cx:pt idx="37635">1</cx:pt>
          <cx:pt idx="37636">0</cx:pt>
          <cx:pt idx="37637">1</cx:pt>
          <cx:pt idx="37638">0</cx:pt>
          <cx:pt idx="37639">0</cx:pt>
          <cx:pt idx="37640">1</cx:pt>
          <cx:pt idx="37641">1</cx:pt>
          <cx:pt idx="37642">1</cx:pt>
          <cx:pt idx="37643">0</cx:pt>
          <cx:pt idx="37644">1</cx:pt>
          <cx:pt idx="37645">1</cx:pt>
          <cx:pt idx="37646">1</cx:pt>
          <cx:pt idx="37647">1</cx:pt>
          <cx:pt idx="37648">0</cx:pt>
          <cx:pt idx="37649">0</cx:pt>
          <cx:pt idx="37650">0</cx:pt>
          <cx:pt idx="37651">0</cx:pt>
          <cx:pt idx="37652">1</cx:pt>
          <cx:pt idx="37653">1</cx:pt>
          <cx:pt idx="37654">1</cx:pt>
          <cx:pt idx="37655">1</cx:pt>
          <cx:pt idx="37656">1</cx:pt>
          <cx:pt idx="37657">0</cx:pt>
          <cx:pt idx="37658">0</cx:pt>
          <cx:pt idx="37659">1</cx:pt>
          <cx:pt idx="37660">1</cx:pt>
          <cx:pt idx="37661">1</cx:pt>
          <cx:pt idx="37662">0</cx:pt>
          <cx:pt idx="37663">0</cx:pt>
          <cx:pt idx="37664">0</cx:pt>
          <cx:pt idx="37665">1</cx:pt>
          <cx:pt idx="37666">0</cx:pt>
          <cx:pt idx="37667">0</cx:pt>
          <cx:pt idx="37668">0</cx:pt>
          <cx:pt idx="37669">1</cx:pt>
          <cx:pt idx="37670">1</cx:pt>
          <cx:pt idx="37671">1</cx:pt>
          <cx:pt idx="37672">0</cx:pt>
          <cx:pt idx="37673">1</cx:pt>
          <cx:pt idx="37674">1</cx:pt>
          <cx:pt idx="37675">0</cx:pt>
          <cx:pt idx="37676">1</cx:pt>
          <cx:pt idx="37677">0</cx:pt>
          <cx:pt idx="37678">0</cx:pt>
          <cx:pt idx="37679">1</cx:pt>
          <cx:pt idx="37680">0</cx:pt>
          <cx:pt idx="37681">0</cx:pt>
          <cx:pt idx="37682">0</cx:pt>
          <cx:pt idx="37683">1</cx:pt>
          <cx:pt idx="37684">0</cx:pt>
          <cx:pt idx="37685">0</cx:pt>
          <cx:pt idx="37686">0</cx:pt>
          <cx:pt idx="37687">0</cx:pt>
          <cx:pt idx="37688">0</cx:pt>
          <cx:pt idx="37689">1</cx:pt>
          <cx:pt idx="37690">0</cx:pt>
          <cx:pt idx="37691">1</cx:pt>
          <cx:pt idx="37692">1</cx:pt>
          <cx:pt idx="37693">0</cx:pt>
          <cx:pt idx="37694">0</cx:pt>
          <cx:pt idx="37695">1</cx:pt>
          <cx:pt idx="37696">1</cx:pt>
          <cx:pt idx="37697">0</cx:pt>
          <cx:pt idx="37698">1</cx:pt>
          <cx:pt idx="37699">1</cx:pt>
          <cx:pt idx="37700">0</cx:pt>
          <cx:pt idx="37701">1</cx:pt>
          <cx:pt idx="37702">0</cx:pt>
          <cx:pt idx="37703">0</cx:pt>
          <cx:pt idx="37704">0</cx:pt>
          <cx:pt idx="37705">0</cx:pt>
          <cx:pt idx="37706">0</cx:pt>
          <cx:pt idx="37707">1</cx:pt>
          <cx:pt idx="37708">0</cx:pt>
          <cx:pt idx="37709">0</cx:pt>
          <cx:pt idx="37710">1</cx:pt>
          <cx:pt idx="37711">1</cx:pt>
          <cx:pt idx="37712">0</cx:pt>
          <cx:pt idx="37713">0</cx:pt>
          <cx:pt idx="37714">0</cx:pt>
          <cx:pt idx="37715">1</cx:pt>
          <cx:pt idx="37716">1</cx:pt>
          <cx:pt idx="37717">1</cx:pt>
          <cx:pt idx="37718">0</cx:pt>
          <cx:pt idx="37719">0</cx:pt>
          <cx:pt idx="37720">1</cx:pt>
          <cx:pt idx="37721">1</cx:pt>
          <cx:pt idx="37722">1</cx:pt>
          <cx:pt idx="37723">1</cx:pt>
          <cx:pt idx="37724">0</cx:pt>
          <cx:pt idx="37725">0</cx:pt>
          <cx:pt idx="37726">1</cx:pt>
          <cx:pt idx="37727">0</cx:pt>
          <cx:pt idx="37728">1</cx:pt>
          <cx:pt idx="37729">0</cx:pt>
          <cx:pt idx="37730">0</cx:pt>
          <cx:pt idx="37731">0</cx:pt>
          <cx:pt idx="37732">1</cx:pt>
          <cx:pt idx="37733">0</cx:pt>
          <cx:pt idx="37734">0</cx:pt>
          <cx:pt idx="37735">1</cx:pt>
          <cx:pt idx="37736">0</cx:pt>
          <cx:pt idx="37737">1</cx:pt>
          <cx:pt idx="37738">0</cx:pt>
          <cx:pt idx="37739">1</cx:pt>
          <cx:pt idx="37740">1</cx:pt>
          <cx:pt idx="37741">1</cx:pt>
          <cx:pt idx="37742">0</cx:pt>
          <cx:pt idx="37743">0</cx:pt>
          <cx:pt idx="37744">1</cx:pt>
          <cx:pt idx="37745">1</cx:pt>
          <cx:pt idx="37746">0</cx:pt>
          <cx:pt idx="37747">0</cx:pt>
          <cx:pt idx="37748">0</cx:pt>
          <cx:pt idx="37749">1</cx:pt>
          <cx:pt idx="37750">1</cx:pt>
          <cx:pt idx="37751">1</cx:pt>
          <cx:pt idx="37752">1</cx:pt>
          <cx:pt idx="37753">0</cx:pt>
          <cx:pt idx="37754">0</cx:pt>
          <cx:pt idx="37755">0</cx:pt>
          <cx:pt idx="37756">0</cx:pt>
          <cx:pt idx="37757">0</cx:pt>
          <cx:pt idx="37758">1</cx:pt>
          <cx:pt idx="37759">0</cx:pt>
          <cx:pt idx="37760">0</cx:pt>
          <cx:pt idx="37761">1</cx:pt>
          <cx:pt idx="37762">1</cx:pt>
          <cx:pt idx="37763">0</cx:pt>
          <cx:pt idx="37764">0</cx:pt>
          <cx:pt idx="37765">1</cx:pt>
          <cx:pt idx="37766">1</cx:pt>
          <cx:pt idx="37767">0</cx:pt>
          <cx:pt idx="37768">1</cx:pt>
          <cx:pt idx="37769">0</cx:pt>
          <cx:pt idx="37770">0</cx:pt>
          <cx:pt idx="37771">0</cx:pt>
          <cx:pt idx="37772">0</cx:pt>
          <cx:pt idx="37773">0</cx:pt>
          <cx:pt idx="37774">1</cx:pt>
          <cx:pt idx="37775">1</cx:pt>
          <cx:pt idx="37776">0</cx:pt>
          <cx:pt idx="37777">0</cx:pt>
          <cx:pt idx="37778">1</cx:pt>
          <cx:pt idx="37779">0</cx:pt>
          <cx:pt idx="37780">1</cx:pt>
          <cx:pt idx="37781">1</cx:pt>
          <cx:pt idx="37782">0</cx:pt>
          <cx:pt idx="37783">1</cx:pt>
          <cx:pt idx="37784">0</cx:pt>
          <cx:pt idx="37785">1</cx:pt>
          <cx:pt idx="37786">1</cx:pt>
          <cx:pt idx="37787">1</cx:pt>
          <cx:pt idx="37788">0</cx:pt>
          <cx:pt idx="37789">0</cx:pt>
          <cx:pt idx="37790">0</cx:pt>
          <cx:pt idx="37791">1</cx:pt>
          <cx:pt idx="37792">0</cx:pt>
          <cx:pt idx="37793">1</cx:pt>
          <cx:pt idx="37794">1</cx:pt>
          <cx:pt idx="37795">0</cx:pt>
          <cx:pt idx="37796">1</cx:pt>
          <cx:pt idx="37797">0</cx:pt>
          <cx:pt idx="37798">0</cx:pt>
          <cx:pt idx="37799">1</cx:pt>
          <cx:pt idx="37800">0</cx:pt>
          <cx:pt idx="37801">1</cx:pt>
          <cx:pt idx="37802">1</cx:pt>
          <cx:pt idx="37803">0</cx:pt>
          <cx:pt idx="37804">0</cx:pt>
          <cx:pt idx="37805">1</cx:pt>
          <cx:pt idx="37806">0</cx:pt>
          <cx:pt idx="37807">1</cx:pt>
          <cx:pt idx="37808">1</cx:pt>
          <cx:pt idx="37809">1</cx:pt>
          <cx:pt idx="37810">1</cx:pt>
          <cx:pt idx="37811">1</cx:pt>
          <cx:pt idx="37812">0</cx:pt>
          <cx:pt idx="37813">0</cx:pt>
          <cx:pt idx="37814">0</cx:pt>
          <cx:pt idx="37815">0</cx:pt>
          <cx:pt idx="37816">0</cx:pt>
          <cx:pt idx="37817">0</cx:pt>
          <cx:pt idx="37818">1</cx:pt>
          <cx:pt idx="37819">1</cx:pt>
          <cx:pt idx="37820">1</cx:pt>
          <cx:pt idx="37821">0</cx:pt>
          <cx:pt idx="37822">0</cx:pt>
          <cx:pt idx="37823">1</cx:pt>
          <cx:pt idx="37824">1</cx:pt>
          <cx:pt idx="37825">0</cx:pt>
          <cx:pt idx="37826">0</cx:pt>
          <cx:pt idx="37827">0</cx:pt>
          <cx:pt idx="37828">1</cx:pt>
          <cx:pt idx="37829">0</cx:pt>
          <cx:pt idx="37830">0</cx:pt>
          <cx:pt idx="37831">0</cx:pt>
          <cx:pt idx="37832">0</cx:pt>
          <cx:pt idx="37833">0</cx:pt>
          <cx:pt idx="37834">1</cx:pt>
          <cx:pt idx="37835">0</cx:pt>
          <cx:pt idx="37836">1</cx:pt>
          <cx:pt idx="37837">0</cx:pt>
          <cx:pt idx="37838">0</cx:pt>
          <cx:pt idx="37839">1</cx:pt>
          <cx:pt idx="37840">0</cx:pt>
          <cx:pt idx="37841">0</cx:pt>
          <cx:pt idx="37842">1</cx:pt>
          <cx:pt idx="37843">0</cx:pt>
          <cx:pt idx="37844">0</cx:pt>
          <cx:pt idx="37845">0</cx:pt>
          <cx:pt idx="37846">0</cx:pt>
          <cx:pt idx="37847">0</cx:pt>
          <cx:pt idx="37848">0</cx:pt>
          <cx:pt idx="37849">1</cx:pt>
          <cx:pt idx="37850">1</cx:pt>
          <cx:pt idx="37851">1</cx:pt>
          <cx:pt idx="37852">0</cx:pt>
          <cx:pt idx="37853">1</cx:pt>
          <cx:pt idx="37854">0</cx:pt>
          <cx:pt idx="37855">0</cx:pt>
          <cx:pt idx="37856">0</cx:pt>
          <cx:pt idx="37857">0</cx:pt>
          <cx:pt idx="37858">1</cx:pt>
          <cx:pt idx="37859">0</cx:pt>
          <cx:pt idx="37860">0</cx:pt>
          <cx:pt idx="37861">1</cx:pt>
          <cx:pt idx="37862">1</cx:pt>
          <cx:pt idx="37863">1</cx:pt>
          <cx:pt idx="37864">0</cx:pt>
          <cx:pt idx="37865">0</cx:pt>
          <cx:pt idx="37866">0</cx:pt>
          <cx:pt idx="37867">0</cx:pt>
          <cx:pt idx="37868">0</cx:pt>
          <cx:pt idx="37869">0</cx:pt>
          <cx:pt idx="37870">1</cx:pt>
          <cx:pt idx="37871">0</cx:pt>
          <cx:pt idx="37872">0</cx:pt>
          <cx:pt idx="37873">0</cx:pt>
          <cx:pt idx="37874">0</cx:pt>
          <cx:pt idx="37875">1</cx:pt>
          <cx:pt idx="37876">1</cx:pt>
          <cx:pt idx="37877">0</cx:pt>
          <cx:pt idx="37878">0</cx:pt>
          <cx:pt idx="37879">1</cx:pt>
          <cx:pt idx="37880">1</cx:pt>
          <cx:pt idx="37881">1</cx:pt>
          <cx:pt idx="37882">0</cx:pt>
          <cx:pt idx="37883">1</cx:pt>
          <cx:pt idx="37884">0</cx:pt>
          <cx:pt idx="37885">0</cx:pt>
          <cx:pt idx="37886">1</cx:pt>
          <cx:pt idx="37887">0</cx:pt>
          <cx:pt idx="37888">0</cx:pt>
          <cx:pt idx="37889">0</cx:pt>
          <cx:pt idx="37890">0</cx:pt>
          <cx:pt idx="37891">0</cx:pt>
          <cx:pt idx="37892">1</cx:pt>
          <cx:pt idx="37893">0</cx:pt>
          <cx:pt idx="37894">0</cx:pt>
          <cx:pt idx="37895">0</cx:pt>
          <cx:pt idx="37896">0</cx:pt>
          <cx:pt idx="37897">1</cx:pt>
          <cx:pt idx="37898">0</cx:pt>
          <cx:pt idx="37899">1</cx:pt>
          <cx:pt idx="37900">0</cx:pt>
          <cx:pt idx="37901">1</cx:pt>
          <cx:pt idx="37902">1</cx:pt>
          <cx:pt idx="37903">0</cx:pt>
          <cx:pt idx="37904">0</cx:pt>
          <cx:pt idx="37905">1</cx:pt>
          <cx:pt idx="37906">1</cx:pt>
          <cx:pt idx="37907">0</cx:pt>
          <cx:pt idx="37908">0</cx:pt>
          <cx:pt idx="37909">0</cx:pt>
          <cx:pt idx="37910">0</cx:pt>
          <cx:pt idx="37911">0</cx:pt>
          <cx:pt idx="37912">1</cx:pt>
          <cx:pt idx="37913">0</cx:pt>
          <cx:pt idx="37914">1</cx:pt>
          <cx:pt idx="37915">1</cx:pt>
          <cx:pt idx="37916">1</cx:pt>
          <cx:pt idx="37917">1</cx:pt>
          <cx:pt idx="37918">0</cx:pt>
          <cx:pt idx="37919">0</cx:pt>
          <cx:pt idx="37920">1</cx:pt>
          <cx:pt idx="37921">1</cx:pt>
          <cx:pt idx="37922">0</cx:pt>
          <cx:pt idx="37923">1</cx:pt>
          <cx:pt idx="37924">1</cx:pt>
          <cx:pt idx="37925">0</cx:pt>
          <cx:pt idx="37926">1</cx:pt>
          <cx:pt idx="37927">0</cx:pt>
          <cx:pt idx="37928">0</cx:pt>
          <cx:pt idx="37929">0</cx:pt>
          <cx:pt idx="37930">1</cx:pt>
          <cx:pt idx="37931">0</cx:pt>
          <cx:pt idx="37932">1</cx:pt>
          <cx:pt idx="37933">0</cx:pt>
          <cx:pt idx="37934">0</cx:pt>
          <cx:pt idx="37935">0</cx:pt>
          <cx:pt idx="37936">1</cx:pt>
          <cx:pt idx="37937">0</cx:pt>
          <cx:pt idx="37938">0</cx:pt>
          <cx:pt idx="37939">0</cx:pt>
          <cx:pt idx="37940">1</cx:pt>
          <cx:pt idx="37941">0</cx:pt>
          <cx:pt idx="37942">1</cx:pt>
          <cx:pt idx="37943">1</cx:pt>
          <cx:pt idx="37944">0</cx:pt>
          <cx:pt idx="37945">1</cx:pt>
          <cx:pt idx="37946">0</cx:pt>
          <cx:pt idx="37947">1</cx:pt>
          <cx:pt idx="37948">0</cx:pt>
          <cx:pt idx="37949">0</cx:pt>
          <cx:pt idx="37950">0</cx:pt>
          <cx:pt idx="37951">0</cx:pt>
          <cx:pt idx="37952">1</cx:pt>
          <cx:pt idx="37953">0</cx:pt>
          <cx:pt idx="37954">0</cx:pt>
          <cx:pt idx="37955">1</cx:pt>
          <cx:pt idx="37956">0</cx:pt>
          <cx:pt idx="37957">0</cx:pt>
          <cx:pt idx="37958">0</cx:pt>
          <cx:pt idx="37959">1</cx:pt>
          <cx:pt idx="37960">1</cx:pt>
          <cx:pt idx="37961">1</cx:pt>
          <cx:pt idx="37962">1</cx:pt>
          <cx:pt idx="37963">0</cx:pt>
          <cx:pt idx="37964">0</cx:pt>
          <cx:pt idx="37965">1</cx:pt>
          <cx:pt idx="37966">1</cx:pt>
          <cx:pt idx="37967">1</cx:pt>
          <cx:pt idx="37968">0</cx:pt>
          <cx:pt idx="37969">0</cx:pt>
          <cx:pt idx="37970">0</cx:pt>
          <cx:pt idx="37971">1</cx:pt>
          <cx:pt idx="37972">0</cx:pt>
          <cx:pt idx="37973">0</cx:pt>
          <cx:pt idx="37974">0</cx:pt>
          <cx:pt idx="37975">0</cx:pt>
          <cx:pt idx="37976">1</cx:pt>
          <cx:pt idx="37977">0</cx:pt>
          <cx:pt idx="37978">0</cx:pt>
          <cx:pt idx="37979">0</cx:pt>
          <cx:pt idx="37980">1</cx:pt>
          <cx:pt idx="37981">1</cx:pt>
          <cx:pt idx="37982">1</cx:pt>
          <cx:pt idx="37983">0</cx:pt>
          <cx:pt idx="37984">1</cx:pt>
          <cx:pt idx="37985">1</cx:pt>
          <cx:pt idx="37986">1</cx:pt>
          <cx:pt idx="37987">0</cx:pt>
          <cx:pt idx="37988">0</cx:pt>
          <cx:pt idx="37989">0</cx:pt>
          <cx:pt idx="37990">0</cx:pt>
          <cx:pt idx="37991">0</cx:pt>
          <cx:pt idx="37992">1</cx:pt>
          <cx:pt idx="37993">0</cx:pt>
          <cx:pt idx="37994">0</cx:pt>
          <cx:pt idx="37995">0</cx:pt>
          <cx:pt idx="37996">0</cx:pt>
          <cx:pt idx="37997">0</cx:pt>
          <cx:pt idx="37998">0</cx:pt>
          <cx:pt idx="37999">0</cx:pt>
          <cx:pt idx="38000">1</cx:pt>
          <cx:pt idx="38001">0</cx:pt>
          <cx:pt idx="38002">1</cx:pt>
          <cx:pt idx="38003">1</cx:pt>
          <cx:pt idx="38004">1</cx:pt>
          <cx:pt idx="38005">1</cx:pt>
          <cx:pt idx="38006">1</cx:pt>
          <cx:pt idx="38007">0</cx:pt>
          <cx:pt idx="38008">0</cx:pt>
          <cx:pt idx="38009">1</cx:pt>
          <cx:pt idx="38010">1</cx:pt>
          <cx:pt idx="38011">0</cx:pt>
          <cx:pt idx="38012">1</cx:pt>
          <cx:pt idx="38013">1</cx:pt>
          <cx:pt idx="38014">1</cx:pt>
          <cx:pt idx="38015">1</cx:pt>
          <cx:pt idx="38016">1</cx:pt>
          <cx:pt idx="38017">0</cx:pt>
          <cx:pt idx="38018">1</cx:pt>
          <cx:pt idx="38019">0</cx:pt>
          <cx:pt idx="38020">0</cx:pt>
          <cx:pt idx="38021">1</cx:pt>
          <cx:pt idx="38022">0</cx:pt>
          <cx:pt idx="38023">1</cx:pt>
          <cx:pt idx="38024">0</cx:pt>
          <cx:pt idx="38025">1</cx:pt>
          <cx:pt idx="38026">1</cx:pt>
          <cx:pt idx="38027">0</cx:pt>
          <cx:pt idx="38028">1</cx:pt>
          <cx:pt idx="38029">0</cx:pt>
          <cx:pt idx="38030">0</cx:pt>
          <cx:pt idx="38031">1</cx:pt>
          <cx:pt idx="38032">1</cx:pt>
          <cx:pt idx="38033">0</cx:pt>
          <cx:pt idx="38034">0</cx:pt>
          <cx:pt idx="38035">0</cx:pt>
          <cx:pt idx="38036">0</cx:pt>
          <cx:pt idx="38037">1</cx:pt>
          <cx:pt idx="38038">0</cx:pt>
          <cx:pt idx="38039">0</cx:pt>
          <cx:pt idx="38040">0</cx:pt>
          <cx:pt idx="38041">0</cx:pt>
          <cx:pt idx="38042">0</cx:pt>
          <cx:pt idx="38043">1</cx:pt>
          <cx:pt idx="38044">1</cx:pt>
          <cx:pt idx="38045">0</cx:pt>
          <cx:pt idx="38046">1</cx:pt>
          <cx:pt idx="38047">0</cx:pt>
          <cx:pt idx="38048">0</cx:pt>
          <cx:pt idx="38049">0</cx:pt>
          <cx:pt idx="38050">0</cx:pt>
          <cx:pt idx="38051">1</cx:pt>
          <cx:pt idx="38052">1</cx:pt>
          <cx:pt idx="38053">0</cx:pt>
          <cx:pt idx="38054">1</cx:pt>
          <cx:pt idx="38055">1</cx:pt>
          <cx:pt idx="38056">0</cx:pt>
          <cx:pt idx="38057">0</cx:pt>
          <cx:pt idx="38058">0</cx:pt>
          <cx:pt idx="38059">0</cx:pt>
          <cx:pt idx="38060">1</cx:pt>
          <cx:pt idx="38061">1</cx:pt>
          <cx:pt idx="38062">0</cx:pt>
          <cx:pt idx="38063">0</cx:pt>
          <cx:pt idx="38064">0</cx:pt>
          <cx:pt idx="38065">0</cx:pt>
          <cx:pt idx="38066">1</cx:pt>
          <cx:pt idx="38067">0</cx:pt>
          <cx:pt idx="38068">1</cx:pt>
          <cx:pt idx="38069">0</cx:pt>
          <cx:pt idx="38070">0</cx:pt>
          <cx:pt idx="38071">0</cx:pt>
          <cx:pt idx="38072">1</cx:pt>
          <cx:pt idx="38073">0</cx:pt>
          <cx:pt idx="38074">0</cx:pt>
          <cx:pt idx="38075">0</cx:pt>
          <cx:pt idx="38076">0</cx:pt>
          <cx:pt idx="38077">0</cx:pt>
          <cx:pt idx="38078">0</cx:pt>
          <cx:pt idx="38079">0</cx:pt>
          <cx:pt idx="38080">0</cx:pt>
          <cx:pt idx="38081">1</cx:pt>
          <cx:pt idx="38082">1</cx:pt>
          <cx:pt idx="38083">1</cx:pt>
          <cx:pt idx="38084">0</cx:pt>
          <cx:pt idx="38085">0</cx:pt>
          <cx:pt idx="38086">1</cx:pt>
          <cx:pt idx="38087">1</cx:pt>
          <cx:pt idx="38088">0</cx:pt>
          <cx:pt idx="38089">0</cx:pt>
          <cx:pt idx="38090">0</cx:pt>
          <cx:pt idx="38091">1</cx:pt>
          <cx:pt idx="38092">0</cx:pt>
          <cx:pt idx="38093">0</cx:pt>
          <cx:pt idx="38094">1</cx:pt>
          <cx:pt idx="38095">0</cx:pt>
          <cx:pt idx="38096">0</cx:pt>
          <cx:pt idx="38097">1</cx:pt>
          <cx:pt idx="38098">1</cx:pt>
          <cx:pt idx="38099">0</cx:pt>
          <cx:pt idx="38100">0</cx:pt>
          <cx:pt idx="38101">0</cx:pt>
          <cx:pt idx="38102">1</cx:pt>
          <cx:pt idx="38103">0</cx:pt>
          <cx:pt idx="38104">1</cx:pt>
          <cx:pt idx="38105">0</cx:pt>
          <cx:pt idx="38106">1</cx:pt>
          <cx:pt idx="38107">1</cx:pt>
          <cx:pt idx="38108">0</cx:pt>
          <cx:pt idx="38109">0</cx:pt>
          <cx:pt idx="38110">0</cx:pt>
          <cx:pt idx="38111">0</cx:pt>
          <cx:pt idx="38112">1</cx:pt>
          <cx:pt idx="38113">0</cx:pt>
          <cx:pt idx="38114">1</cx:pt>
          <cx:pt idx="38115">1</cx:pt>
          <cx:pt idx="38116">0</cx:pt>
          <cx:pt idx="38117">1</cx:pt>
          <cx:pt idx="38118">1</cx:pt>
          <cx:pt idx="38119">1</cx:pt>
          <cx:pt idx="38120">1</cx:pt>
          <cx:pt idx="38121">0</cx:pt>
          <cx:pt idx="38122">1</cx:pt>
          <cx:pt idx="38123">0</cx:pt>
          <cx:pt idx="38124">1</cx:pt>
          <cx:pt idx="38125">0</cx:pt>
          <cx:pt idx="38126">0</cx:pt>
          <cx:pt idx="38127">1</cx:pt>
          <cx:pt idx="38128">1</cx:pt>
          <cx:pt idx="38129">0</cx:pt>
          <cx:pt idx="38130">0</cx:pt>
          <cx:pt idx="38131">0</cx:pt>
          <cx:pt idx="38132">0</cx:pt>
          <cx:pt idx="38133">1</cx:pt>
          <cx:pt idx="38134">0</cx:pt>
          <cx:pt idx="38135">1</cx:pt>
          <cx:pt idx="38136">0</cx:pt>
          <cx:pt idx="38137">1</cx:pt>
          <cx:pt idx="38138">1</cx:pt>
          <cx:pt idx="38139">1</cx:pt>
          <cx:pt idx="38140">0</cx:pt>
          <cx:pt idx="38141">1</cx:pt>
          <cx:pt idx="38142">1</cx:pt>
          <cx:pt idx="38143">0</cx:pt>
          <cx:pt idx="38144">1</cx:pt>
          <cx:pt idx="38145">1</cx:pt>
          <cx:pt idx="38146">1</cx:pt>
          <cx:pt idx="38147">0</cx:pt>
          <cx:pt idx="38148">0</cx:pt>
          <cx:pt idx="38149">1</cx:pt>
          <cx:pt idx="38150">1</cx:pt>
          <cx:pt idx="38151">0</cx:pt>
          <cx:pt idx="38152">1</cx:pt>
          <cx:pt idx="38153">0</cx:pt>
          <cx:pt idx="38154">1</cx:pt>
          <cx:pt idx="38155">1</cx:pt>
          <cx:pt idx="38156">0</cx:pt>
          <cx:pt idx="38157">0</cx:pt>
          <cx:pt idx="38158">0</cx:pt>
          <cx:pt idx="38159">1</cx:pt>
          <cx:pt idx="38160">0</cx:pt>
          <cx:pt idx="38161">1</cx:pt>
          <cx:pt idx="38162">1</cx:pt>
          <cx:pt idx="38163">0</cx:pt>
          <cx:pt idx="38164">1</cx:pt>
          <cx:pt idx="38165">0</cx:pt>
          <cx:pt idx="38166">1</cx:pt>
          <cx:pt idx="38167">0</cx:pt>
          <cx:pt idx="38168">1</cx:pt>
          <cx:pt idx="38169">1</cx:pt>
          <cx:pt idx="38170">0</cx:pt>
          <cx:pt idx="38171">1</cx:pt>
          <cx:pt idx="38172">0</cx:pt>
          <cx:pt idx="38173">0</cx:pt>
          <cx:pt idx="38174">0</cx:pt>
          <cx:pt idx="38175">0</cx:pt>
          <cx:pt idx="38176">0</cx:pt>
          <cx:pt idx="38177">1</cx:pt>
          <cx:pt idx="38178">0</cx:pt>
          <cx:pt idx="38179">0</cx:pt>
          <cx:pt idx="38180">0</cx:pt>
          <cx:pt idx="38181">1</cx:pt>
          <cx:pt idx="38182">0</cx:pt>
          <cx:pt idx="38183">1</cx:pt>
          <cx:pt idx="38184">0</cx:pt>
          <cx:pt idx="38185">1</cx:pt>
          <cx:pt idx="38186">0</cx:pt>
          <cx:pt idx="38187">0</cx:pt>
          <cx:pt idx="38188">0</cx:pt>
          <cx:pt idx="38189">0</cx:pt>
          <cx:pt idx="38190">0</cx:pt>
          <cx:pt idx="38191">0</cx:pt>
          <cx:pt idx="38192">0</cx:pt>
          <cx:pt idx="38193">1</cx:pt>
          <cx:pt idx="38194">1</cx:pt>
          <cx:pt idx="38195">0</cx:pt>
          <cx:pt idx="38196">1</cx:pt>
          <cx:pt idx="38197">1</cx:pt>
          <cx:pt idx="38198">0</cx:pt>
          <cx:pt idx="38199">0</cx:pt>
          <cx:pt idx="38200">1</cx:pt>
          <cx:pt idx="38201">0</cx:pt>
          <cx:pt idx="38202">1</cx:pt>
          <cx:pt idx="38203">1</cx:pt>
          <cx:pt idx="38204">0</cx:pt>
          <cx:pt idx="38205">0</cx:pt>
          <cx:pt idx="38206">0</cx:pt>
          <cx:pt idx="38207">0</cx:pt>
          <cx:pt idx="38208">0</cx:pt>
          <cx:pt idx="38209">1</cx:pt>
          <cx:pt idx="38210">1</cx:pt>
          <cx:pt idx="38211">0</cx:pt>
          <cx:pt idx="38212">0</cx:pt>
          <cx:pt idx="38213">1</cx:pt>
          <cx:pt idx="38214">1</cx:pt>
          <cx:pt idx="38215">1</cx:pt>
          <cx:pt idx="38216">0</cx:pt>
          <cx:pt idx="38217">1</cx:pt>
          <cx:pt idx="38218">1</cx:pt>
          <cx:pt idx="38219">0</cx:pt>
          <cx:pt idx="38220">1</cx:pt>
          <cx:pt idx="38221">1</cx:pt>
          <cx:pt idx="38222">0</cx:pt>
          <cx:pt idx="38223">0</cx:pt>
          <cx:pt idx="38224">0</cx:pt>
          <cx:pt idx="38225">0</cx:pt>
          <cx:pt idx="38226">0</cx:pt>
          <cx:pt idx="38227">0</cx:pt>
          <cx:pt idx="38228">0</cx:pt>
          <cx:pt idx="38229">0</cx:pt>
          <cx:pt idx="38230">0</cx:pt>
          <cx:pt idx="38231">0</cx:pt>
          <cx:pt idx="38232">1</cx:pt>
          <cx:pt idx="38233">0</cx:pt>
          <cx:pt idx="38234">0</cx:pt>
          <cx:pt idx="38235">1</cx:pt>
          <cx:pt idx="38236">1</cx:pt>
          <cx:pt idx="38237">0</cx:pt>
          <cx:pt idx="38238">0</cx:pt>
          <cx:pt idx="38239">0</cx:pt>
          <cx:pt idx="38240">0</cx:pt>
          <cx:pt idx="38241">1</cx:pt>
          <cx:pt idx="38242">1</cx:pt>
          <cx:pt idx="38243">0</cx:pt>
          <cx:pt idx="38244">0</cx:pt>
          <cx:pt idx="38245">0</cx:pt>
          <cx:pt idx="38246">0</cx:pt>
          <cx:pt idx="38247">0</cx:pt>
          <cx:pt idx="38248">0</cx:pt>
          <cx:pt idx="38249">0</cx:pt>
          <cx:pt idx="38250">0</cx:pt>
          <cx:pt idx="38251">1</cx:pt>
          <cx:pt idx="38252">0</cx:pt>
          <cx:pt idx="38253">0</cx:pt>
          <cx:pt idx="38254">0</cx:pt>
          <cx:pt idx="38255">1</cx:pt>
          <cx:pt idx="38256">1</cx:pt>
          <cx:pt idx="38257">1</cx:pt>
          <cx:pt idx="38258">0</cx:pt>
          <cx:pt idx="38259">0</cx:pt>
          <cx:pt idx="38260">1</cx:pt>
          <cx:pt idx="38261">1</cx:pt>
          <cx:pt idx="38262">0</cx:pt>
          <cx:pt idx="38263">1</cx:pt>
          <cx:pt idx="38264">1</cx:pt>
          <cx:pt idx="38265">1</cx:pt>
          <cx:pt idx="38266">1</cx:pt>
          <cx:pt idx="38267">0</cx:pt>
          <cx:pt idx="38268">1</cx:pt>
          <cx:pt idx="38269">1</cx:pt>
          <cx:pt idx="38270">1</cx:pt>
          <cx:pt idx="38271">0</cx:pt>
          <cx:pt idx="38272">0</cx:pt>
          <cx:pt idx="38273">0</cx:pt>
          <cx:pt idx="38274">1</cx:pt>
          <cx:pt idx="38275">1</cx:pt>
          <cx:pt idx="38276">0</cx:pt>
          <cx:pt idx="38277">1</cx:pt>
          <cx:pt idx="38278">0</cx:pt>
          <cx:pt idx="38279">0</cx:pt>
          <cx:pt idx="38280">1</cx:pt>
          <cx:pt idx="38281">1</cx:pt>
          <cx:pt idx="38282">0</cx:pt>
          <cx:pt idx="38283">1</cx:pt>
          <cx:pt idx="38284">1</cx:pt>
          <cx:pt idx="38285">1</cx:pt>
          <cx:pt idx="38286">0</cx:pt>
          <cx:pt idx="38287">0</cx:pt>
          <cx:pt idx="38288">0</cx:pt>
          <cx:pt idx="38289">0</cx:pt>
          <cx:pt idx="38290">1</cx:pt>
          <cx:pt idx="38291">0</cx:pt>
          <cx:pt idx="38292">0</cx:pt>
          <cx:pt idx="38293">1</cx:pt>
          <cx:pt idx="38294">1</cx:pt>
          <cx:pt idx="38295">1</cx:pt>
          <cx:pt idx="38296">1</cx:pt>
          <cx:pt idx="38297">0</cx:pt>
          <cx:pt idx="38298">0</cx:pt>
          <cx:pt idx="38299">0</cx:pt>
          <cx:pt idx="38300">0</cx:pt>
          <cx:pt idx="38301">0</cx:pt>
          <cx:pt idx="38302">0</cx:pt>
          <cx:pt idx="38303">1</cx:pt>
          <cx:pt idx="38304">0</cx:pt>
          <cx:pt idx="38305">0</cx:pt>
          <cx:pt idx="38306">0</cx:pt>
          <cx:pt idx="38307">1</cx:pt>
          <cx:pt idx="38308">0</cx:pt>
          <cx:pt idx="38309">0</cx:pt>
          <cx:pt idx="38310">0</cx:pt>
          <cx:pt idx="38311">0</cx:pt>
          <cx:pt idx="38312">1</cx:pt>
          <cx:pt idx="38313">0</cx:pt>
          <cx:pt idx="38314">0</cx:pt>
          <cx:pt idx="38315">1</cx:pt>
          <cx:pt idx="38316">1</cx:pt>
          <cx:pt idx="38317">0</cx:pt>
          <cx:pt idx="38318">0</cx:pt>
          <cx:pt idx="38319">0</cx:pt>
          <cx:pt idx="38320">0</cx:pt>
          <cx:pt idx="38321">0</cx:pt>
          <cx:pt idx="38322">0</cx:pt>
          <cx:pt idx="38323">0</cx:pt>
          <cx:pt idx="38324">0</cx:pt>
          <cx:pt idx="38325">0</cx:pt>
          <cx:pt idx="38326">0</cx:pt>
          <cx:pt idx="38327">0</cx:pt>
          <cx:pt idx="38328">1</cx:pt>
          <cx:pt idx="38329">1</cx:pt>
          <cx:pt idx="38330">0</cx:pt>
          <cx:pt idx="38331">0</cx:pt>
          <cx:pt idx="38332">1</cx:pt>
          <cx:pt idx="38333">1</cx:pt>
          <cx:pt idx="38334">0</cx:pt>
          <cx:pt idx="38335">0</cx:pt>
          <cx:pt idx="38336">0</cx:pt>
          <cx:pt idx="38337">1</cx:pt>
          <cx:pt idx="38338">1</cx:pt>
          <cx:pt idx="38339">0</cx:pt>
          <cx:pt idx="38340">1</cx:pt>
          <cx:pt idx="38341">1</cx:pt>
          <cx:pt idx="38342">0</cx:pt>
          <cx:pt idx="38343">0</cx:pt>
          <cx:pt idx="38344">0</cx:pt>
          <cx:pt idx="38345">0</cx:pt>
          <cx:pt idx="38346">1</cx:pt>
          <cx:pt idx="38347">0</cx:pt>
          <cx:pt idx="38348">1</cx:pt>
          <cx:pt idx="38349">1</cx:pt>
          <cx:pt idx="38350">0</cx:pt>
          <cx:pt idx="38351">0</cx:pt>
          <cx:pt idx="38352">1</cx:pt>
          <cx:pt idx="38353">0</cx:pt>
          <cx:pt idx="38354">1</cx:pt>
          <cx:pt idx="38355">1</cx:pt>
          <cx:pt idx="38356">0</cx:pt>
          <cx:pt idx="38357">0</cx:pt>
          <cx:pt idx="38358">0</cx:pt>
          <cx:pt idx="38359">0</cx:pt>
          <cx:pt idx="38360">0</cx:pt>
          <cx:pt idx="38361">0</cx:pt>
          <cx:pt idx="38362">1</cx:pt>
          <cx:pt idx="38363">1</cx:pt>
          <cx:pt idx="38364">1</cx:pt>
          <cx:pt idx="38365">0</cx:pt>
          <cx:pt idx="38366">1</cx:pt>
          <cx:pt idx="38367">1</cx:pt>
          <cx:pt idx="38368">0</cx:pt>
          <cx:pt idx="38369">1</cx:pt>
          <cx:pt idx="38370">0</cx:pt>
          <cx:pt idx="38371">0</cx:pt>
          <cx:pt idx="38372">1</cx:pt>
          <cx:pt idx="38373">0</cx:pt>
          <cx:pt idx="38374">1</cx:pt>
          <cx:pt idx="38375">0</cx:pt>
          <cx:pt idx="38376">1</cx:pt>
          <cx:pt idx="38377">0</cx:pt>
          <cx:pt idx="38378">0</cx:pt>
          <cx:pt idx="38379">1</cx:pt>
          <cx:pt idx="38380">1</cx:pt>
          <cx:pt idx="38381">0</cx:pt>
          <cx:pt idx="38382">1</cx:pt>
          <cx:pt idx="38383">1</cx:pt>
          <cx:pt idx="38384">1</cx:pt>
          <cx:pt idx="38385">1</cx:pt>
          <cx:pt idx="38386">0</cx:pt>
          <cx:pt idx="38387">1</cx:pt>
          <cx:pt idx="38388">1</cx:pt>
          <cx:pt idx="38389">1</cx:pt>
          <cx:pt idx="38390">0</cx:pt>
          <cx:pt idx="38391">0</cx:pt>
          <cx:pt idx="38392">0</cx:pt>
          <cx:pt idx="38393">1</cx:pt>
          <cx:pt idx="38394">0</cx:pt>
          <cx:pt idx="38395">0</cx:pt>
          <cx:pt idx="38396">1</cx:pt>
          <cx:pt idx="38397">1</cx:pt>
          <cx:pt idx="38398">1</cx:pt>
          <cx:pt idx="38399">0</cx:pt>
          <cx:pt idx="38400">0</cx:pt>
          <cx:pt idx="38401">0</cx:pt>
          <cx:pt idx="38402">0</cx:pt>
          <cx:pt idx="38403">0</cx:pt>
          <cx:pt idx="38404">0</cx:pt>
          <cx:pt idx="38405">0</cx:pt>
          <cx:pt idx="38406">1</cx:pt>
          <cx:pt idx="38407">1</cx:pt>
          <cx:pt idx="38408">1</cx:pt>
          <cx:pt idx="38409">1</cx:pt>
          <cx:pt idx="38410">0</cx:pt>
          <cx:pt idx="38411">0</cx:pt>
          <cx:pt idx="38412">0</cx:pt>
          <cx:pt idx="38413">0</cx:pt>
          <cx:pt idx="38414">0</cx:pt>
          <cx:pt idx="38415">1</cx:pt>
          <cx:pt idx="38416">0</cx:pt>
          <cx:pt idx="38417">1</cx:pt>
          <cx:pt idx="38418">0</cx:pt>
          <cx:pt idx="38419">1</cx:pt>
          <cx:pt idx="38420">1</cx:pt>
          <cx:pt idx="38421">0</cx:pt>
          <cx:pt idx="38422">1</cx:pt>
          <cx:pt idx="38423">0</cx:pt>
          <cx:pt idx="38424">1</cx:pt>
          <cx:pt idx="38425">0</cx:pt>
          <cx:pt idx="38426">0</cx:pt>
          <cx:pt idx="38427">1</cx:pt>
          <cx:pt idx="38428">0</cx:pt>
          <cx:pt idx="38429">1</cx:pt>
          <cx:pt idx="38430">0</cx:pt>
          <cx:pt idx="38431">1</cx:pt>
          <cx:pt idx="38432">1</cx:pt>
          <cx:pt idx="38433">0</cx:pt>
          <cx:pt idx="38434">1</cx:pt>
          <cx:pt idx="38435">0</cx:pt>
          <cx:pt idx="38436">0</cx:pt>
          <cx:pt idx="38437">1</cx:pt>
          <cx:pt idx="38438">1</cx:pt>
          <cx:pt idx="38439">0</cx:pt>
          <cx:pt idx="38440">0</cx:pt>
          <cx:pt idx="38441">1</cx:pt>
          <cx:pt idx="38442">1</cx:pt>
          <cx:pt idx="38443">0</cx:pt>
          <cx:pt idx="38444">0</cx:pt>
          <cx:pt idx="38445">0</cx:pt>
          <cx:pt idx="38446">0</cx:pt>
          <cx:pt idx="38447">1</cx:pt>
          <cx:pt idx="38448">0</cx:pt>
          <cx:pt idx="38449">0</cx:pt>
          <cx:pt idx="38450">0</cx:pt>
          <cx:pt idx="38451">0</cx:pt>
          <cx:pt idx="38452">1</cx:pt>
          <cx:pt idx="38453">0</cx:pt>
          <cx:pt idx="38454">1</cx:pt>
          <cx:pt idx="38455">0</cx:pt>
          <cx:pt idx="38456">1</cx:pt>
          <cx:pt idx="38457">0</cx:pt>
          <cx:pt idx="38458">0</cx:pt>
          <cx:pt idx="38459">0</cx:pt>
          <cx:pt idx="38460">0</cx:pt>
          <cx:pt idx="38461">1</cx:pt>
          <cx:pt idx="38462">0</cx:pt>
          <cx:pt idx="38463">1</cx:pt>
          <cx:pt idx="38464">0</cx:pt>
          <cx:pt idx="38465">0</cx:pt>
          <cx:pt idx="38466">1</cx:pt>
          <cx:pt idx="38467">0</cx:pt>
          <cx:pt idx="38468">1</cx:pt>
          <cx:pt idx="38469">1</cx:pt>
          <cx:pt idx="38470">1</cx:pt>
          <cx:pt idx="38471">0</cx:pt>
          <cx:pt idx="38472">0</cx:pt>
          <cx:pt idx="38473">1</cx:pt>
          <cx:pt idx="38474">1</cx:pt>
          <cx:pt idx="38475">0</cx:pt>
          <cx:pt idx="38476">1</cx:pt>
          <cx:pt idx="38477">1</cx:pt>
          <cx:pt idx="38478">1</cx:pt>
          <cx:pt idx="38479">0</cx:pt>
          <cx:pt idx="38480">1</cx:pt>
          <cx:pt idx="38481">0</cx:pt>
          <cx:pt idx="38482">1</cx:pt>
          <cx:pt idx="38483">1</cx:pt>
          <cx:pt idx="38484">1</cx:pt>
          <cx:pt idx="38485">1</cx:pt>
          <cx:pt idx="38486">0</cx:pt>
          <cx:pt idx="38487">0</cx:pt>
          <cx:pt idx="38488">0</cx:pt>
          <cx:pt idx="38489">0</cx:pt>
          <cx:pt idx="38490">1</cx:pt>
          <cx:pt idx="38491">1</cx:pt>
          <cx:pt idx="38492">0</cx:pt>
          <cx:pt idx="38493">0</cx:pt>
          <cx:pt idx="38494">0</cx:pt>
          <cx:pt idx="38495">0</cx:pt>
          <cx:pt idx="38496">0</cx:pt>
          <cx:pt idx="38497">1</cx:pt>
          <cx:pt idx="38498">0</cx:pt>
          <cx:pt idx="38499">1</cx:pt>
          <cx:pt idx="38500">0</cx:pt>
          <cx:pt idx="38501">0</cx:pt>
          <cx:pt idx="38502">0</cx:pt>
          <cx:pt idx="38503">0</cx:pt>
          <cx:pt idx="38504">0</cx:pt>
          <cx:pt idx="38505">1</cx:pt>
          <cx:pt idx="38506">1</cx:pt>
          <cx:pt idx="38507">0</cx:pt>
          <cx:pt idx="38508">1</cx:pt>
          <cx:pt idx="38509">1</cx:pt>
          <cx:pt idx="38510">1</cx:pt>
          <cx:pt idx="38511">1</cx:pt>
          <cx:pt idx="38512">0</cx:pt>
          <cx:pt idx="38513">1</cx:pt>
          <cx:pt idx="38514">0</cx:pt>
          <cx:pt idx="38515">0</cx:pt>
          <cx:pt idx="38516">0</cx:pt>
          <cx:pt idx="38517">0</cx:pt>
          <cx:pt idx="38518">0</cx:pt>
          <cx:pt idx="38519">0</cx:pt>
          <cx:pt idx="38520">0</cx:pt>
          <cx:pt idx="38521">0</cx:pt>
          <cx:pt idx="38522">0</cx:pt>
          <cx:pt idx="38523">0</cx:pt>
          <cx:pt idx="38524">1</cx:pt>
          <cx:pt idx="38525">1</cx:pt>
          <cx:pt idx="38526">1</cx:pt>
          <cx:pt idx="38527">0</cx:pt>
          <cx:pt idx="38528">1</cx:pt>
          <cx:pt idx="38529">0</cx:pt>
          <cx:pt idx="38530">0</cx:pt>
          <cx:pt idx="38531">1</cx:pt>
          <cx:pt idx="38532">0</cx:pt>
          <cx:pt idx="38533">0</cx:pt>
          <cx:pt idx="38534">0</cx:pt>
          <cx:pt idx="38535">1</cx:pt>
          <cx:pt idx="38536">1</cx:pt>
          <cx:pt idx="38537">1</cx:pt>
          <cx:pt idx="38538">0</cx:pt>
          <cx:pt idx="38539">0</cx:pt>
          <cx:pt idx="38540">0</cx:pt>
          <cx:pt idx="38541">0</cx:pt>
          <cx:pt idx="38542">1</cx:pt>
          <cx:pt idx="38543">0</cx:pt>
          <cx:pt idx="38544">0</cx:pt>
          <cx:pt idx="38545">0</cx:pt>
          <cx:pt idx="38546">1</cx:pt>
          <cx:pt idx="38547">0</cx:pt>
          <cx:pt idx="38548">0</cx:pt>
          <cx:pt idx="38549">0</cx:pt>
          <cx:pt idx="38550">0</cx:pt>
          <cx:pt idx="38551">0</cx:pt>
          <cx:pt idx="38552">0</cx:pt>
          <cx:pt idx="38553">0</cx:pt>
          <cx:pt idx="38554">0</cx:pt>
          <cx:pt idx="38555">1</cx:pt>
          <cx:pt idx="38556">1</cx:pt>
          <cx:pt idx="38557">0</cx:pt>
          <cx:pt idx="38558">1</cx:pt>
          <cx:pt idx="38559">0</cx:pt>
          <cx:pt idx="38560">0</cx:pt>
          <cx:pt idx="38561">0</cx:pt>
          <cx:pt idx="38562">1</cx:pt>
          <cx:pt idx="38563">0</cx:pt>
          <cx:pt idx="38564">0</cx:pt>
          <cx:pt idx="38565">1</cx:pt>
          <cx:pt idx="38566">1</cx:pt>
          <cx:pt idx="38567">0</cx:pt>
          <cx:pt idx="38568">1</cx:pt>
          <cx:pt idx="38569">0</cx:pt>
          <cx:pt idx="38570">1</cx:pt>
          <cx:pt idx="38571">1</cx:pt>
          <cx:pt idx="38572">1</cx:pt>
          <cx:pt idx="38573">1</cx:pt>
          <cx:pt idx="38574">0</cx:pt>
          <cx:pt idx="38575">0</cx:pt>
          <cx:pt idx="38576">1</cx:pt>
          <cx:pt idx="38577">1</cx:pt>
          <cx:pt idx="38578">0</cx:pt>
          <cx:pt idx="38579">1</cx:pt>
          <cx:pt idx="38580">0</cx:pt>
          <cx:pt idx="38581">0</cx:pt>
          <cx:pt idx="38582">1</cx:pt>
          <cx:pt idx="38583">0</cx:pt>
          <cx:pt idx="38584">1</cx:pt>
          <cx:pt idx="38585">1</cx:pt>
          <cx:pt idx="38586">1</cx:pt>
          <cx:pt idx="38587">1</cx:pt>
          <cx:pt idx="38588">0</cx:pt>
          <cx:pt idx="38589">0</cx:pt>
          <cx:pt idx="38590">1</cx:pt>
          <cx:pt idx="38591">1</cx:pt>
          <cx:pt idx="38592">1</cx:pt>
          <cx:pt idx="38593">0</cx:pt>
          <cx:pt idx="38594">0</cx:pt>
          <cx:pt idx="38595">0</cx:pt>
          <cx:pt idx="38596">0</cx:pt>
          <cx:pt idx="38597">1</cx:pt>
          <cx:pt idx="38598">0</cx:pt>
          <cx:pt idx="38599">0</cx:pt>
          <cx:pt idx="38600">0</cx:pt>
          <cx:pt idx="38601">1</cx:pt>
          <cx:pt idx="38602">1</cx:pt>
          <cx:pt idx="38603">1</cx:pt>
          <cx:pt idx="38604">0</cx:pt>
          <cx:pt idx="38605">1</cx:pt>
          <cx:pt idx="38606">0</cx:pt>
          <cx:pt idx="38607">1</cx:pt>
          <cx:pt idx="38608">0</cx:pt>
          <cx:pt idx="38609">1</cx:pt>
          <cx:pt idx="38610">1</cx:pt>
          <cx:pt idx="38611">1</cx:pt>
          <cx:pt idx="38612">1</cx:pt>
          <cx:pt idx="38613">1</cx:pt>
          <cx:pt idx="38614">0</cx:pt>
          <cx:pt idx="38615">0</cx:pt>
          <cx:pt idx="38616">1</cx:pt>
          <cx:pt idx="38617">0</cx:pt>
          <cx:pt idx="38618">0</cx:pt>
          <cx:pt idx="38619">0</cx:pt>
          <cx:pt idx="38620">0</cx:pt>
          <cx:pt idx="38621">0</cx:pt>
          <cx:pt idx="38622">0</cx:pt>
          <cx:pt idx="38623">1</cx:pt>
          <cx:pt idx="38624">1</cx:pt>
          <cx:pt idx="38625">0</cx:pt>
          <cx:pt idx="38626">1</cx:pt>
          <cx:pt idx="38627">0</cx:pt>
          <cx:pt idx="38628">0</cx:pt>
          <cx:pt idx="38629">0</cx:pt>
          <cx:pt idx="38630">1</cx:pt>
          <cx:pt idx="38631">0</cx:pt>
          <cx:pt idx="38632">0</cx:pt>
          <cx:pt idx="38633">1</cx:pt>
          <cx:pt idx="38634">0</cx:pt>
          <cx:pt idx="38635">0</cx:pt>
          <cx:pt idx="38636">0</cx:pt>
          <cx:pt idx="38637">1</cx:pt>
          <cx:pt idx="38638">0</cx:pt>
          <cx:pt idx="38639">0</cx:pt>
          <cx:pt idx="38640">1</cx:pt>
          <cx:pt idx="38641">0</cx:pt>
          <cx:pt idx="38642">1</cx:pt>
          <cx:pt idx="38643">1</cx:pt>
          <cx:pt idx="38644">1</cx:pt>
          <cx:pt idx="38645">0</cx:pt>
          <cx:pt idx="38646">0</cx:pt>
          <cx:pt idx="38647">0</cx:pt>
          <cx:pt idx="38648">0</cx:pt>
          <cx:pt idx="38649">0</cx:pt>
          <cx:pt idx="38650">0</cx:pt>
          <cx:pt idx="38651">0</cx:pt>
          <cx:pt idx="38652">0</cx:pt>
          <cx:pt idx="38653">0</cx:pt>
          <cx:pt idx="38654">1</cx:pt>
          <cx:pt idx="38655">1</cx:pt>
          <cx:pt idx="38656">0</cx:pt>
          <cx:pt idx="38657">0</cx:pt>
          <cx:pt idx="38658">0</cx:pt>
          <cx:pt idx="38659">0</cx:pt>
          <cx:pt idx="38660">1</cx:pt>
          <cx:pt idx="38661">0</cx:pt>
          <cx:pt idx="38662">0</cx:pt>
          <cx:pt idx="38663">0</cx:pt>
          <cx:pt idx="38664">0</cx:pt>
          <cx:pt idx="38665">0</cx:pt>
          <cx:pt idx="38666">0</cx:pt>
          <cx:pt idx="38667">1</cx:pt>
          <cx:pt idx="38668">0</cx:pt>
          <cx:pt idx="38669">1</cx:pt>
          <cx:pt idx="38670">1</cx:pt>
          <cx:pt idx="38671">0</cx:pt>
          <cx:pt idx="38672">1</cx:pt>
          <cx:pt idx="38673">1</cx:pt>
          <cx:pt idx="38674">1</cx:pt>
          <cx:pt idx="38675">1</cx:pt>
          <cx:pt idx="38676">0</cx:pt>
          <cx:pt idx="38677">1</cx:pt>
          <cx:pt idx="38678">0</cx:pt>
          <cx:pt idx="38679">0</cx:pt>
          <cx:pt idx="38680">0</cx:pt>
          <cx:pt idx="38681">1</cx:pt>
          <cx:pt idx="38682">0</cx:pt>
          <cx:pt idx="38683">1</cx:pt>
          <cx:pt idx="38684">0</cx:pt>
          <cx:pt idx="38685">0</cx:pt>
          <cx:pt idx="38686">0</cx:pt>
          <cx:pt idx="38687">1</cx:pt>
          <cx:pt idx="38688">0</cx:pt>
          <cx:pt idx="38689">1</cx:pt>
          <cx:pt idx="38690">0</cx:pt>
          <cx:pt idx="38691">0</cx:pt>
          <cx:pt idx="38692">1</cx:pt>
          <cx:pt idx="38693">1</cx:pt>
          <cx:pt idx="38694">0</cx:pt>
          <cx:pt idx="38695">0</cx:pt>
          <cx:pt idx="38696">1</cx:pt>
          <cx:pt idx="38697">1</cx:pt>
          <cx:pt idx="38698">1</cx:pt>
          <cx:pt idx="38699">0</cx:pt>
          <cx:pt idx="38700">0</cx:pt>
          <cx:pt idx="38701">1</cx:pt>
          <cx:pt idx="38702">1</cx:pt>
          <cx:pt idx="38703">0</cx:pt>
          <cx:pt idx="38704">0</cx:pt>
          <cx:pt idx="38705">1</cx:pt>
          <cx:pt idx="38706">1</cx:pt>
          <cx:pt idx="38707">1</cx:pt>
          <cx:pt idx="38708">0</cx:pt>
          <cx:pt idx="38709">1</cx:pt>
          <cx:pt idx="38710">1</cx:pt>
          <cx:pt idx="38711">0</cx:pt>
          <cx:pt idx="38712">0</cx:pt>
          <cx:pt idx="38713">1</cx:pt>
          <cx:pt idx="38714">0</cx:pt>
          <cx:pt idx="38715">1</cx:pt>
          <cx:pt idx="38716">0</cx:pt>
          <cx:pt idx="38717">0</cx:pt>
          <cx:pt idx="38718">0</cx:pt>
          <cx:pt idx="38719">0</cx:pt>
          <cx:pt idx="38720">0</cx:pt>
          <cx:pt idx="38721">0</cx:pt>
          <cx:pt idx="38722">0</cx:pt>
          <cx:pt idx="38723">1</cx:pt>
          <cx:pt idx="38724">1</cx:pt>
          <cx:pt idx="38725">0</cx:pt>
          <cx:pt idx="38726">1</cx:pt>
          <cx:pt idx="38727">1</cx:pt>
          <cx:pt idx="38728">1</cx:pt>
          <cx:pt idx="38729">0</cx:pt>
          <cx:pt idx="38730">0</cx:pt>
          <cx:pt idx="38731">0</cx:pt>
          <cx:pt idx="38732">1</cx:pt>
          <cx:pt idx="38733">1</cx:pt>
          <cx:pt idx="38734">0</cx:pt>
          <cx:pt idx="38735">0</cx:pt>
          <cx:pt idx="38736">0</cx:pt>
          <cx:pt idx="38737">0</cx:pt>
          <cx:pt idx="38738">0</cx:pt>
          <cx:pt idx="38739">0</cx:pt>
          <cx:pt idx="38740">1</cx:pt>
          <cx:pt idx="38741">1</cx:pt>
          <cx:pt idx="38742">0</cx:pt>
          <cx:pt idx="38743">0</cx:pt>
          <cx:pt idx="38744">0</cx:pt>
          <cx:pt idx="38745">1</cx:pt>
          <cx:pt idx="38746">1</cx:pt>
          <cx:pt idx="38747">0</cx:pt>
          <cx:pt idx="38748">0</cx:pt>
          <cx:pt idx="38749">1</cx:pt>
          <cx:pt idx="38750">1</cx:pt>
          <cx:pt idx="38751">1</cx:pt>
          <cx:pt idx="38752">0</cx:pt>
          <cx:pt idx="38753">0</cx:pt>
          <cx:pt idx="38754">0</cx:pt>
          <cx:pt idx="38755">0</cx:pt>
          <cx:pt idx="38756">0</cx:pt>
          <cx:pt idx="38757">1</cx:pt>
          <cx:pt idx="38758">0</cx:pt>
          <cx:pt idx="38759">1</cx:pt>
          <cx:pt idx="38760">0</cx:pt>
          <cx:pt idx="38761">0</cx:pt>
          <cx:pt idx="38762">1</cx:pt>
          <cx:pt idx="38763">1</cx:pt>
          <cx:pt idx="38764">1</cx:pt>
          <cx:pt idx="38765">1</cx:pt>
          <cx:pt idx="38766">0</cx:pt>
          <cx:pt idx="38767">0</cx:pt>
          <cx:pt idx="38768">0</cx:pt>
          <cx:pt idx="38769">1</cx:pt>
          <cx:pt idx="38770">0</cx:pt>
          <cx:pt idx="38771">0</cx:pt>
          <cx:pt idx="38772">0</cx:pt>
          <cx:pt idx="38773">0</cx:pt>
          <cx:pt idx="38774">1</cx:pt>
          <cx:pt idx="38775">0</cx:pt>
          <cx:pt idx="38776">0</cx:pt>
          <cx:pt idx="38777">0</cx:pt>
          <cx:pt idx="38778">1</cx:pt>
          <cx:pt idx="38779">1</cx:pt>
          <cx:pt idx="38780">0</cx:pt>
          <cx:pt idx="38781">0</cx:pt>
          <cx:pt idx="38782">1</cx:pt>
          <cx:pt idx="38783">1</cx:pt>
          <cx:pt idx="38784">1</cx:pt>
          <cx:pt idx="38785">0</cx:pt>
          <cx:pt idx="38786">1</cx:pt>
          <cx:pt idx="38787">1</cx:pt>
          <cx:pt idx="38788">1</cx:pt>
          <cx:pt idx="38789">1</cx:pt>
          <cx:pt idx="38790">1</cx:pt>
          <cx:pt idx="38791">0</cx:pt>
          <cx:pt idx="38792">1</cx:pt>
          <cx:pt idx="38793">0</cx:pt>
          <cx:pt idx="38794">0</cx:pt>
          <cx:pt idx="38795">0</cx:pt>
          <cx:pt idx="38796">0</cx:pt>
          <cx:pt idx="38797">0</cx:pt>
          <cx:pt idx="38798">0</cx:pt>
          <cx:pt idx="38799">1</cx:pt>
          <cx:pt idx="38800">0</cx:pt>
          <cx:pt idx="38801">0</cx:pt>
          <cx:pt idx="38802">0</cx:pt>
          <cx:pt idx="38803">0</cx:pt>
          <cx:pt idx="38804">1</cx:pt>
          <cx:pt idx="38805">0</cx:pt>
          <cx:pt idx="38806">0</cx:pt>
          <cx:pt idx="38807">1</cx:pt>
          <cx:pt idx="38808">0</cx:pt>
          <cx:pt idx="38809">1</cx:pt>
          <cx:pt idx="38810">1</cx:pt>
          <cx:pt idx="38811">0</cx:pt>
          <cx:pt idx="38812">0</cx:pt>
          <cx:pt idx="38813">1</cx:pt>
          <cx:pt idx="38814">0</cx:pt>
          <cx:pt idx="38815">0</cx:pt>
          <cx:pt idx="38816">0</cx:pt>
          <cx:pt idx="38817">0</cx:pt>
          <cx:pt idx="38818">0</cx:pt>
          <cx:pt idx="38819">0</cx:pt>
          <cx:pt idx="38820">1</cx:pt>
          <cx:pt idx="38821">1</cx:pt>
          <cx:pt idx="38822">1</cx:pt>
          <cx:pt idx="38823">0</cx:pt>
          <cx:pt idx="38824">1</cx:pt>
          <cx:pt idx="38825">1</cx:pt>
          <cx:pt idx="38826">0</cx:pt>
          <cx:pt idx="38827">0</cx:pt>
          <cx:pt idx="38828">1</cx:pt>
          <cx:pt idx="38829">0</cx:pt>
          <cx:pt idx="38830">0</cx:pt>
          <cx:pt idx="38831">1</cx:pt>
          <cx:pt idx="38832">0</cx:pt>
          <cx:pt idx="38833">1</cx:pt>
          <cx:pt idx="38834">0</cx:pt>
          <cx:pt idx="38835">1</cx:pt>
          <cx:pt idx="38836">0</cx:pt>
          <cx:pt idx="38837">0</cx:pt>
          <cx:pt idx="38838">1</cx:pt>
          <cx:pt idx="38839">1</cx:pt>
          <cx:pt idx="38840">0</cx:pt>
          <cx:pt idx="38841">0</cx:pt>
          <cx:pt idx="38842">1</cx:pt>
          <cx:pt idx="38843">1</cx:pt>
          <cx:pt idx="38844">0</cx:pt>
          <cx:pt idx="38845">1</cx:pt>
          <cx:pt idx="38846">1</cx:pt>
          <cx:pt idx="38847">1</cx:pt>
          <cx:pt idx="38848">0</cx:pt>
          <cx:pt idx="38849">0</cx:pt>
          <cx:pt idx="38850">0</cx:pt>
          <cx:pt idx="38851">1</cx:pt>
          <cx:pt idx="38852">0</cx:pt>
          <cx:pt idx="38853">0</cx:pt>
          <cx:pt idx="38854">0</cx:pt>
          <cx:pt idx="38855">0</cx:pt>
          <cx:pt idx="38856">0</cx:pt>
          <cx:pt idx="38857">1</cx:pt>
          <cx:pt idx="38858">0</cx:pt>
          <cx:pt idx="38859">0</cx:pt>
          <cx:pt idx="38860">0</cx:pt>
          <cx:pt idx="38861">0</cx:pt>
          <cx:pt idx="38862">0</cx:pt>
          <cx:pt idx="38863">1</cx:pt>
          <cx:pt idx="38864">0</cx:pt>
          <cx:pt idx="38865">0</cx:pt>
          <cx:pt idx="38866">0</cx:pt>
          <cx:pt idx="38867">1</cx:pt>
          <cx:pt idx="38868">0</cx:pt>
          <cx:pt idx="38869">1</cx:pt>
          <cx:pt idx="38870">0</cx:pt>
          <cx:pt idx="38871">0</cx:pt>
          <cx:pt idx="38872">0</cx:pt>
          <cx:pt idx="38873">0</cx:pt>
          <cx:pt idx="38874">1</cx:pt>
          <cx:pt idx="38875">1</cx:pt>
          <cx:pt idx="38876">1</cx:pt>
          <cx:pt idx="38877">1</cx:pt>
          <cx:pt idx="38878">1</cx:pt>
          <cx:pt idx="38879">1</cx:pt>
          <cx:pt idx="38880">0</cx:pt>
          <cx:pt idx="38881">1</cx:pt>
          <cx:pt idx="38882">0</cx:pt>
          <cx:pt idx="38883">0</cx:pt>
          <cx:pt idx="38884">1</cx:pt>
          <cx:pt idx="38885">0</cx:pt>
          <cx:pt idx="38886">0</cx:pt>
          <cx:pt idx="38887">1</cx:pt>
          <cx:pt idx="38888">0</cx:pt>
          <cx:pt idx="38889">0</cx:pt>
          <cx:pt idx="38890">1</cx:pt>
          <cx:pt idx="38891">0</cx:pt>
          <cx:pt idx="38892">0</cx:pt>
          <cx:pt idx="38893">1</cx:pt>
          <cx:pt idx="38894">1</cx:pt>
          <cx:pt idx="38895">0</cx:pt>
          <cx:pt idx="38896">0</cx:pt>
          <cx:pt idx="38897">1</cx:pt>
          <cx:pt idx="38898">1</cx:pt>
          <cx:pt idx="38899">1</cx:pt>
          <cx:pt idx="38900">0</cx:pt>
          <cx:pt idx="38901">1</cx:pt>
          <cx:pt idx="38902">0</cx:pt>
          <cx:pt idx="38903">1</cx:pt>
          <cx:pt idx="38904">0</cx:pt>
          <cx:pt idx="38905">1</cx:pt>
          <cx:pt idx="38906">1</cx:pt>
          <cx:pt idx="38907">0</cx:pt>
          <cx:pt idx="38908">1</cx:pt>
          <cx:pt idx="38909">0</cx:pt>
          <cx:pt idx="38910">1</cx:pt>
          <cx:pt idx="38911">1</cx:pt>
          <cx:pt idx="38912">1</cx:pt>
          <cx:pt idx="38913">0</cx:pt>
          <cx:pt idx="38914">0</cx:pt>
          <cx:pt idx="38915">0</cx:pt>
          <cx:pt idx="38916">0</cx:pt>
          <cx:pt idx="38917">0</cx:pt>
          <cx:pt idx="38918">0</cx:pt>
          <cx:pt idx="38919">0</cx:pt>
          <cx:pt idx="38920">1</cx:pt>
          <cx:pt idx="38921">0</cx:pt>
          <cx:pt idx="38922">1</cx:pt>
          <cx:pt idx="38923">0</cx:pt>
          <cx:pt idx="38924">1</cx:pt>
          <cx:pt idx="38925">0</cx:pt>
          <cx:pt idx="38926">0</cx:pt>
          <cx:pt idx="38927">1</cx:pt>
          <cx:pt idx="38928">0</cx:pt>
          <cx:pt idx="38929">0</cx:pt>
          <cx:pt idx="38930">0</cx:pt>
          <cx:pt idx="38931">0</cx:pt>
          <cx:pt idx="38932">0</cx:pt>
          <cx:pt idx="38933">0</cx:pt>
          <cx:pt idx="38934">1</cx:pt>
          <cx:pt idx="38935">1</cx:pt>
          <cx:pt idx="38936">0</cx:pt>
          <cx:pt idx="38937">1</cx:pt>
          <cx:pt idx="38938">0</cx:pt>
          <cx:pt idx="38939">0</cx:pt>
          <cx:pt idx="38940">1</cx:pt>
          <cx:pt idx="38941">0</cx:pt>
          <cx:pt idx="38942">1</cx:pt>
          <cx:pt idx="38943">0</cx:pt>
          <cx:pt idx="38944">0</cx:pt>
          <cx:pt idx="38945">1</cx:pt>
          <cx:pt idx="38946">0</cx:pt>
          <cx:pt idx="38947">0</cx:pt>
          <cx:pt idx="38948">1</cx:pt>
          <cx:pt idx="38949">1</cx:pt>
          <cx:pt idx="38950">0</cx:pt>
          <cx:pt idx="38951">0</cx:pt>
          <cx:pt idx="38952">0</cx:pt>
          <cx:pt idx="38953">0</cx:pt>
          <cx:pt idx="38954">1</cx:pt>
          <cx:pt idx="38955">0</cx:pt>
          <cx:pt idx="38956">0</cx:pt>
          <cx:pt idx="38957">0</cx:pt>
          <cx:pt idx="38958">0</cx:pt>
          <cx:pt idx="38959">0</cx:pt>
          <cx:pt idx="38960">0</cx:pt>
          <cx:pt idx="38961">0</cx:pt>
          <cx:pt idx="38962">0</cx:pt>
          <cx:pt idx="38963">1</cx:pt>
          <cx:pt idx="38964">0</cx:pt>
          <cx:pt idx="38965">0</cx:pt>
          <cx:pt idx="38966">1</cx:pt>
          <cx:pt idx="38967">0</cx:pt>
          <cx:pt idx="38968">0</cx:pt>
          <cx:pt idx="38969">0</cx:pt>
          <cx:pt idx="38970">0</cx:pt>
          <cx:pt idx="38971">0</cx:pt>
          <cx:pt idx="38972">1</cx:pt>
          <cx:pt idx="38973">0</cx:pt>
          <cx:pt idx="38974">0</cx:pt>
          <cx:pt idx="38975">0</cx:pt>
          <cx:pt idx="38976">1</cx:pt>
          <cx:pt idx="38977">0</cx:pt>
          <cx:pt idx="38978">1</cx:pt>
          <cx:pt idx="38979">1</cx:pt>
          <cx:pt idx="38980">0</cx:pt>
          <cx:pt idx="38981">0</cx:pt>
          <cx:pt idx="38982">0</cx:pt>
          <cx:pt idx="38983">0</cx:pt>
          <cx:pt idx="38984">0</cx:pt>
          <cx:pt idx="38985">1</cx:pt>
          <cx:pt idx="38986">1</cx:pt>
          <cx:pt idx="38987">0</cx:pt>
          <cx:pt idx="38988">1</cx:pt>
          <cx:pt idx="38989">1</cx:pt>
          <cx:pt idx="38990">0</cx:pt>
          <cx:pt idx="38991">0</cx:pt>
          <cx:pt idx="38992">0</cx:pt>
          <cx:pt idx="38993">1</cx:pt>
          <cx:pt idx="38994">0</cx:pt>
          <cx:pt idx="38995">0</cx:pt>
          <cx:pt idx="38996">1</cx:pt>
          <cx:pt idx="38997">1</cx:pt>
          <cx:pt idx="38998">0</cx:pt>
          <cx:pt idx="38999">0</cx:pt>
          <cx:pt idx="39000">0</cx:pt>
          <cx:pt idx="39001">0</cx:pt>
          <cx:pt idx="39002">0</cx:pt>
          <cx:pt idx="39003">0</cx:pt>
          <cx:pt idx="39004">0</cx:pt>
          <cx:pt idx="39005">1</cx:pt>
          <cx:pt idx="39006">1</cx:pt>
          <cx:pt idx="39007">1</cx:pt>
          <cx:pt idx="39008">0</cx:pt>
          <cx:pt idx="39009">0</cx:pt>
          <cx:pt idx="39010">1</cx:pt>
          <cx:pt idx="39011">0</cx:pt>
          <cx:pt idx="39012">0</cx:pt>
          <cx:pt idx="39013">0</cx:pt>
          <cx:pt idx="39014">0</cx:pt>
          <cx:pt idx="39015">0</cx:pt>
          <cx:pt idx="39016">0</cx:pt>
          <cx:pt idx="39017">1</cx:pt>
          <cx:pt idx="39018">0</cx:pt>
          <cx:pt idx="39019">1</cx:pt>
          <cx:pt idx="39020">1</cx:pt>
          <cx:pt idx="39021">0</cx:pt>
          <cx:pt idx="39022">0</cx:pt>
          <cx:pt idx="39023">1</cx:pt>
          <cx:pt idx="39024">0</cx:pt>
          <cx:pt idx="39025">1</cx:pt>
          <cx:pt idx="39026">1</cx:pt>
          <cx:pt idx="39027">1</cx:pt>
          <cx:pt idx="39028">0</cx:pt>
          <cx:pt idx="39029">1</cx:pt>
          <cx:pt idx="39030">0</cx:pt>
          <cx:pt idx="39031">1</cx:pt>
          <cx:pt idx="39032">0</cx:pt>
          <cx:pt idx="39033">1</cx:pt>
          <cx:pt idx="39034">0</cx:pt>
          <cx:pt idx="39035">1</cx:pt>
          <cx:pt idx="39036">1</cx:pt>
          <cx:pt idx="39037">0</cx:pt>
          <cx:pt idx="39038">0</cx:pt>
          <cx:pt idx="39039">0</cx:pt>
          <cx:pt idx="39040">0</cx:pt>
          <cx:pt idx="39041">0</cx:pt>
          <cx:pt idx="39042">0</cx:pt>
          <cx:pt idx="39043">1</cx:pt>
          <cx:pt idx="39044">0</cx:pt>
          <cx:pt idx="39045">1</cx:pt>
          <cx:pt idx="39046">0</cx:pt>
          <cx:pt idx="39047">1</cx:pt>
          <cx:pt idx="39048">1</cx:pt>
          <cx:pt idx="39049">0</cx:pt>
          <cx:pt idx="39050">1</cx:pt>
          <cx:pt idx="39051">1</cx:pt>
          <cx:pt idx="39052">1</cx:pt>
          <cx:pt idx="39053">1</cx:pt>
          <cx:pt idx="39054">0</cx:pt>
          <cx:pt idx="39055">0</cx:pt>
          <cx:pt idx="39056">1</cx:pt>
          <cx:pt idx="39057">0</cx:pt>
          <cx:pt idx="39058">0</cx:pt>
          <cx:pt idx="39059">0</cx:pt>
          <cx:pt idx="39060">1</cx:pt>
          <cx:pt idx="39061">0</cx:pt>
          <cx:pt idx="39062">0</cx:pt>
          <cx:pt idx="39063">1</cx:pt>
          <cx:pt idx="39064">0</cx:pt>
          <cx:pt idx="39065">0</cx:pt>
          <cx:pt idx="39066">1</cx:pt>
          <cx:pt idx="39067">1</cx:pt>
          <cx:pt idx="39068">0</cx:pt>
          <cx:pt idx="39069">1</cx:pt>
          <cx:pt idx="39070">0</cx:pt>
          <cx:pt idx="39071">1</cx:pt>
          <cx:pt idx="39072">0</cx:pt>
          <cx:pt idx="39073">1</cx:pt>
          <cx:pt idx="39074">0</cx:pt>
          <cx:pt idx="39075">0</cx:pt>
          <cx:pt idx="39076">0</cx:pt>
          <cx:pt idx="39077">0</cx:pt>
          <cx:pt idx="39078">1</cx:pt>
          <cx:pt idx="39079">0</cx:pt>
          <cx:pt idx="39080">0</cx:pt>
          <cx:pt idx="39081">1</cx:pt>
          <cx:pt idx="39082">0</cx:pt>
          <cx:pt idx="39083">0</cx:pt>
          <cx:pt idx="39084">1</cx:pt>
          <cx:pt idx="39085">1</cx:pt>
          <cx:pt idx="39086">1</cx:pt>
          <cx:pt idx="39087">1</cx:pt>
          <cx:pt idx="39088">0</cx:pt>
          <cx:pt idx="39089">0</cx:pt>
          <cx:pt idx="39090">0</cx:pt>
          <cx:pt idx="39091">0</cx:pt>
          <cx:pt idx="39092">0</cx:pt>
          <cx:pt idx="39093">1</cx:pt>
          <cx:pt idx="39094">1</cx:pt>
          <cx:pt idx="39095">0</cx:pt>
          <cx:pt idx="39096">0</cx:pt>
          <cx:pt idx="39097">0</cx:pt>
          <cx:pt idx="39098">0</cx:pt>
          <cx:pt idx="39099">0</cx:pt>
          <cx:pt idx="39100">1</cx:pt>
          <cx:pt idx="39101">1</cx:pt>
          <cx:pt idx="39102">1</cx:pt>
          <cx:pt idx="39103">1</cx:pt>
          <cx:pt idx="39104">0</cx:pt>
          <cx:pt idx="39105">0</cx:pt>
          <cx:pt idx="39106">1</cx:pt>
          <cx:pt idx="39107">1</cx:pt>
          <cx:pt idx="39108">0</cx:pt>
          <cx:pt idx="39109">1</cx:pt>
          <cx:pt idx="39110">0</cx:pt>
          <cx:pt idx="39111">0</cx:pt>
          <cx:pt idx="39112">1</cx:pt>
          <cx:pt idx="39113">0</cx:pt>
          <cx:pt idx="39114">1</cx:pt>
          <cx:pt idx="39115">0</cx:pt>
          <cx:pt idx="39116">1</cx:pt>
          <cx:pt idx="39117">1</cx:pt>
          <cx:pt idx="39118">1</cx:pt>
          <cx:pt idx="39119">0</cx:pt>
          <cx:pt idx="39120">1</cx:pt>
          <cx:pt idx="39121">0</cx:pt>
          <cx:pt idx="39122">1</cx:pt>
          <cx:pt idx="39123">0</cx:pt>
          <cx:pt idx="39124">0</cx:pt>
          <cx:pt idx="39125">1</cx:pt>
          <cx:pt idx="39126">0</cx:pt>
          <cx:pt idx="39127">1</cx:pt>
          <cx:pt idx="39128">0</cx:pt>
          <cx:pt idx="39129">0</cx:pt>
          <cx:pt idx="39130">1</cx:pt>
          <cx:pt idx="39131">0</cx:pt>
          <cx:pt idx="39132">0</cx:pt>
          <cx:pt idx="39133">0</cx:pt>
          <cx:pt idx="39134">1</cx:pt>
          <cx:pt idx="39135">0</cx:pt>
          <cx:pt idx="39136">0</cx:pt>
          <cx:pt idx="39137">0</cx:pt>
          <cx:pt idx="39138">0</cx:pt>
          <cx:pt idx="39139">1</cx:pt>
          <cx:pt idx="39140">1</cx:pt>
          <cx:pt idx="39141">0</cx:pt>
          <cx:pt idx="39142">0</cx:pt>
          <cx:pt idx="39143">1</cx:pt>
          <cx:pt idx="39144">0</cx:pt>
          <cx:pt idx="39145">1</cx:pt>
          <cx:pt idx="39146">1</cx:pt>
          <cx:pt idx="39147">1</cx:pt>
          <cx:pt idx="39148">1</cx:pt>
          <cx:pt idx="39149">1</cx:pt>
          <cx:pt idx="39150">1</cx:pt>
          <cx:pt idx="39151">1</cx:pt>
          <cx:pt idx="39152">0</cx:pt>
          <cx:pt idx="39153">1</cx:pt>
          <cx:pt idx="39154">1</cx:pt>
          <cx:pt idx="39155">1</cx:pt>
          <cx:pt idx="39156">0</cx:pt>
          <cx:pt idx="39157">1</cx:pt>
          <cx:pt idx="39158">0</cx:pt>
          <cx:pt idx="39159">0</cx:pt>
          <cx:pt idx="39160">0</cx:pt>
          <cx:pt idx="39161">0</cx:pt>
          <cx:pt idx="39162">1</cx:pt>
          <cx:pt idx="39163">0</cx:pt>
          <cx:pt idx="39164">0</cx:pt>
          <cx:pt idx="39165">1</cx:pt>
          <cx:pt idx="39166">0</cx:pt>
          <cx:pt idx="39167">1</cx:pt>
          <cx:pt idx="39168">1</cx:pt>
          <cx:pt idx="39169">0</cx:pt>
          <cx:pt idx="39170">1</cx:pt>
          <cx:pt idx="39171">0</cx:pt>
          <cx:pt idx="39172">0</cx:pt>
          <cx:pt idx="39173">1</cx:pt>
          <cx:pt idx="39174">1</cx:pt>
          <cx:pt idx="39175">0</cx:pt>
          <cx:pt idx="39176">0</cx:pt>
          <cx:pt idx="39177">1</cx:pt>
          <cx:pt idx="39178">0</cx:pt>
          <cx:pt idx="39179">1</cx:pt>
          <cx:pt idx="39180">1</cx:pt>
          <cx:pt idx="39181">1</cx:pt>
          <cx:pt idx="39182">1</cx:pt>
          <cx:pt idx="39183">0</cx:pt>
          <cx:pt idx="39184">0</cx:pt>
          <cx:pt idx="39185">0</cx:pt>
          <cx:pt idx="39186">1</cx:pt>
          <cx:pt idx="39187">1</cx:pt>
          <cx:pt idx="39188">1</cx:pt>
          <cx:pt idx="39189">0</cx:pt>
          <cx:pt idx="39190">0</cx:pt>
          <cx:pt idx="39191">0</cx:pt>
          <cx:pt idx="39192">1</cx:pt>
          <cx:pt idx="39193">1</cx:pt>
          <cx:pt idx="39194">0</cx:pt>
          <cx:pt idx="39195">0</cx:pt>
          <cx:pt idx="39196">0</cx:pt>
          <cx:pt idx="39197">1</cx:pt>
          <cx:pt idx="39198">0</cx:pt>
          <cx:pt idx="39199">0</cx:pt>
          <cx:pt idx="39200">0</cx:pt>
          <cx:pt idx="39201">0</cx:pt>
          <cx:pt idx="39202">0</cx:pt>
          <cx:pt idx="39203">1</cx:pt>
          <cx:pt idx="39204">1</cx:pt>
          <cx:pt idx="39205">1</cx:pt>
          <cx:pt idx="39206">1</cx:pt>
          <cx:pt idx="39207">1</cx:pt>
          <cx:pt idx="39208">0</cx:pt>
          <cx:pt idx="39209">0</cx:pt>
          <cx:pt idx="39210">0</cx:pt>
          <cx:pt idx="39211">0</cx:pt>
          <cx:pt idx="39212">0</cx:pt>
          <cx:pt idx="39213">1</cx:pt>
          <cx:pt idx="39214">1</cx:pt>
          <cx:pt idx="39215">0</cx:pt>
          <cx:pt idx="39216">1</cx:pt>
          <cx:pt idx="39217">1</cx:pt>
          <cx:pt idx="39218">1</cx:pt>
          <cx:pt idx="39219">1</cx:pt>
          <cx:pt idx="39220">0</cx:pt>
          <cx:pt idx="39221">1</cx:pt>
          <cx:pt idx="39222">1</cx:pt>
          <cx:pt idx="39223">0</cx:pt>
          <cx:pt idx="39224">1</cx:pt>
          <cx:pt idx="39225">1</cx:pt>
          <cx:pt idx="39226">0</cx:pt>
          <cx:pt idx="39227">1</cx:pt>
          <cx:pt idx="39228">1</cx:pt>
          <cx:pt idx="39229">0</cx:pt>
          <cx:pt idx="39230">0</cx:pt>
          <cx:pt idx="39231">0</cx:pt>
          <cx:pt idx="39232">1</cx:pt>
          <cx:pt idx="39233">1</cx:pt>
          <cx:pt idx="39234">0</cx:pt>
          <cx:pt idx="39235">1</cx:pt>
          <cx:pt idx="39236">1</cx:pt>
          <cx:pt idx="39237">0</cx:pt>
          <cx:pt idx="39238">0</cx:pt>
          <cx:pt idx="39239">0</cx:pt>
          <cx:pt idx="39240">1</cx:pt>
          <cx:pt idx="39241">1</cx:pt>
          <cx:pt idx="39242">0</cx:pt>
          <cx:pt idx="39243">1</cx:pt>
          <cx:pt idx="39244">1</cx:pt>
          <cx:pt idx="39245">0</cx:pt>
          <cx:pt idx="39246">0</cx:pt>
          <cx:pt idx="39247">1</cx:pt>
          <cx:pt idx="39248">0</cx:pt>
          <cx:pt idx="39249">1</cx:pt>
          <cx:pt idx="39250">0</cx:pt>
          <cx:pt idx="39251">0</cx:pt>
          <cx:pt idx="39252">1</cx:pt>
          <cx:pt idx="39253">0</cx:pt>
          <cx:pt idx="39254">0</cx:pt>
          <cx:pt idx="39255">0</cx:pt>
          <cx:pt idx="39256">0</cx:pt>
          <cx:pt idx="39257">0</cx:pt>
          <cx:pt idx="39258">0</cx:pt>
          <cx:pt idx="39259">1</cx:pt>
          <cx:pt idx="39260">0</cx:pt>
          <cx:pt idx="39261">1</cx:pt>
          <cx:pt idx="39262">1</cx:pt>
          <cx:pt idx="39263">0</cx:pt>
          <cx:pt idx="39264">1</cx:pt>
          <cx:pt idx="39265">0</cx:pt>
          <cx:pt idx="39266">0</cx:pt>
          <cx:pt idx="39267">0</cx:pt>
          <cx:pt idx="39268">1</cx:pt>
          <cx:pt idx="39269">1</cx:pt>
          <cx:pt idx="39270">1</cx:pt>
          <cx:pt idx="39271">0</cx:pt>
          <cx:pt idx="39272">0</cx:pt>
          <cx:pt idx="39273">0</cx:pt>
          <cx:pt idx="39274">0</cx:pt>
          <cx:pt idx="39275">1</cx:pt>
          <cx:pt idx="39276">0</cx:pt>
          <cx:pt idx="39277">1</cx:pt>
          <cx:pt idx="39278">0</cx:pt>
          <cx:pt idx="39279">1</cx:pt>
          <cx:pt idx="39280">1</cx:pt>
          <cx:pt idx="39281">1</cx:pt>
          <cx:pt idx="39282">1</cx:pt>
          <cx:pt idx="39283">0</cx:pt>
          <cx:pt idx="39284">0</cx:pt>
          <cx:pt idx="39285">1</cx:pt>
          <cx:pt idx="39286">1</cx:pt>
          <cx:pt idx="39287">0</cx:pt>
          <cx:pt idx="39288">0</cx:pt>
          <cx:pt idx="39289">1</cx:pt>
          <cx:pt idx="39290">0</cx:pt>
          <cx:pt idx="39291">0</cx:pt>
          <cx:pt idx="39292">1</cx:pt>
          <cx:pt idx="39293">1</cx:pt>
          <cx:pt idx="39294">1</cx:pt>
          <cx:pt idx="39295">1</cx:pt>
          <cx:pt idx="39296">1</cx:pt>
          <cx:pt idx="39297">1</cx:pt>
          <cx:pt idx="39298">1</cx:pt>
          <cx:pt idx="39299">0</cx:pt>
          <cx:pt idx="39300">0</cx:pt>
          <cx:pt idx="39301">1</cx:pt>
          <cx:pt idx="39302">1</cx:pt>
          <cx:pt idx="39303">1</cx:pt>
          <cx:pt idx="39304">0</cx:pt>
          <cx:pt idx="39305">0</cx:pt>
          <cx:pt idx="39306">0</cx:pt>
          <cx:pt idx="39307">0</cx:pt>
          <cx:pt idx="39308">0</cx:pt>
          <cx:pt idx="39309">0</cx:pt>
          <cx:pt idx="39310">0</cx:pt>
          <cx:pt idx="39311">1</cx:pt>
          <cx:pt idx="39312">1</cx:pt>
          <cx:pt idx="39313">0</cx:pt>
          <cx:pt idx="39314">0</cx:pt>
          <cx:pt idx="39315">1</cx:pt>
          <cx:pt idx="39316">1</cx:pt>
          <cx:pt idx="39317">1</cx:pt>
          <cx:pt idx="39318">0</cx:pt>
          <cx:pt idx="39319">0</cx:pt>
          <cx:pt idx="39320">0</cx:pt>
          <cx:pt idx="39321">1</cx:pt>
          <cx:pt idx="39322">0</cx:pt>
          <cx:pt idx="39323">1</cx:pt>
          <cx:pt idx="39324">1</cx:pt>
          <cx:pt idx="39325">1</cx:pt>
          <cx:pt idx="39326">0</cx:pt>
          <cx:pt idx="39327">1</cx:pt>
          <cx:pt idx="39328">0</cx:pt>
          <cx:pt idx="39329">0</cx:pt>
          <cx:pt idx="39330">0</cx:pt>
          <cx:pt idx="39331">0</cx:pt>
          <cx:pt idx="39332">1</cx:pt>
          <cx:pt idx="39333">1</cx:pt>
          <cx:pt idx="39334">1</cx:pt>
          <cx:pt idx="39335">0</cx:pt>
          <cx:pt idx="39336">0</cx:pt>
          <cx:pt idx="39337">1</cx:pt>
          <cx:pt idx="39338">0</cx:pt>
          <cx:pt idx="39339">1</cx:pt>
          <cx:pt idx="39340">0</cx:pt>
          <cx:pt idx="39341">0</cx:pt>
          <cx:pt idx="39342">1</cx:pt>
          <cx:pt idx="39343">1</cx:pt>
          <cx:pt idx="39344">1</cx:pt>
          <cx:pt idx="39345">1</cx:pt>
          <cx:pt idx="39346">1</cx:pt>
          <cx:pt idx="39347">0</cx:pt>
          <cx:pt idx="39348">0</cx:pt>
          <cx:pt idx="39349">1</cx:pt>
          <cx:pt idx="39350">1</cx:pt>
          <cx:pt idx="39351">1</cx:pt>
          <cx:pt idx="39352">1</cx:pt>
          <cx:pt idx="39353">0</cx:pt>
          <cx:pt idx="39354">1</cx:pt>
          <cx:pt idx="39355">0</cx:pt>
          <cx:pt idx="39356">0</cx:pt>
          <cx:pt idx="39357">0</cx:pt>
          <cx:pt idx="39358">0</cx:pt>
          <cx:pt idx="39359">1</cx:pt>
          <cx:pt idx="39360">0</cx:pt>
          <cx:pt idx="39361">1</cx:pt>
          <cx:pt idx="39362">0</cx:pt>
          <cx:pt idx="39363">1</cx:pt>
          <cx:pt idx="39364">1</cx:pt>
          <cx:pt idx="39365">1</cx:pt>
          <cx:pt idx="39366">0</cx:pt>
          <cx:pt idx="39367">0</cx:pt>
          <cx:pt idx="39368">1</cx:pt>
          <cx:pt idx="39369">0</cx:pt>
          <cx:pt idx="39370">0</cx:pt>
          <cx:pt idx="39371">0</cx:pt>
          <cx:pt idx="39372">0</cx:pt>
          <cx:pt idx="39373">1</cx:pt>
          <cx:pt idx="39374">0</cx:pt>
          <cx:pt idx="39375">1</cx:pt>
          <cx:pt idx="39376">0</cx:pt>
          <cx:pt idx="39377">0</cx:pt>
          <cx:pt idx="39378">0</cx:pt>
          <cx:pt idx="39379">0</cx:pt>
          <cx:pt idx="39380">0</cx:pt>
          <cx:pt idx="39381">1</cx:pt>
          <cx:pt idx="39382">0</cx:pt>
          <cx:pt idx="39383">1</cx:pt>
          <cx:pt idx="39384">0</cx:pt>
          <cx:pt idx="39385">1</cx:pt>
          <cx:pt idx="39386">1</cx:pt>
          <cx:pt idx="39387">1</cx:pt>
          <cx:pt idx="39388">1</cx:pt>
          <cx:pt idx="39389">0</cx:pt>
          <cx:pt idx="39390">0</cx:pt>
          <cx:pt idx="39391">1</cx:pt>
          <cx:pt idx="39392">1</cx:pt>
          <cx:pt idx="39393">1</cx:pt>
          <cx:pt idx="39394">1</cx:pt>
          <cx:pt idx="39395">1</cx:pt>
          <cx:pt idx="39396">1</cx:pt>
          <cx:pt idx="39397">1</cx:pt>
          <cx:pt idx="39398">0</cx:pt>
          <cx:pt idx="39399">0</cx:pt>
          <cx:pt idx="39400">0</cx:pt>
          <cx:pt idx="39401">0</cx:pt>
          <cx:pt idx="39402">0</cx:pt>
          <cx:pt idx="39403">0</cx:pt>
          <cx:pt idx="39404">1</cx:pt>
          <cx:pt idx="39405">1</cx:pt>
          <cx:pt idx="39406">0</cx:pt>
          <cx:pt idx="39407">0</cx:pt>
          <cx:pt idx="39408">0</cx:pt>
          <cx:pt idx="39409">0</cx:pt>
          <cx:pt idx="39410">1</cx:pt>
          <cx:pt idx="39411">1</cx:pt>
          <cx:pt idx="39412">1</cx:pt>
          <cx:pt idx="39413">0</cx:pt>
          <cx:pt idx="39414">0</cx:pt>
          <cx:pt idx="39415">0</cx:pt>
          <cx:pt idx="39416">0</cx:pt>
          <cx:pt idx="39417">1</cx:pt>
          <cx:pt idx="39418">1</cx:pt>
          <cx:pt idx="39419">0</cx:pt>
          <cx:pt idx="39420">1</cx:pt>
          <cx:pt idx="39421">1</cx:pt>
          <cx:pt idx="39422">1</cx:pt>
          <cx:pt idx="39423">1</cx:pt>
          <cx:pt idx="39424">0</cx:pt>
          <cx:pt idx="39425">1</cx:pt>
          <cx:pt idx="39426">1</cx:pt>
          <cx:pt idx="39427">1</cx:pt>
          <cx:pt idx="39428">0</cx:pt>
          <cx:pt idx="39429">1</cx:pt>
          <cx:pt idx="39430">1</cx:pt>
          <cx:pt idx="39431">0</cx:pt>
          <cx:pt idx="39432">0</cx:pt>
          <cx:pt idx="39433">0</cx:pt>
          <cx:pt idx="39434">0</cx:pt>
          <cx:pt idx="39435">0</cx:pt>
          <cx:pt idx="39436">1</cx:pt>
          <cx:pt idx="39437">1</cx:pt>
          <cx:pt idx="39438">1</cx:pt>
          <cx:pt idx="39439">0</cx:pt>
          <cx:pt idx="39440">0</cx:pt>
          <cx:pt idx="39441">1</cx:pt>
          <cx:pt idx="39442">1</cx:pt>
          <cx:pt idx="39443">0</cx:pt>
          <cx:pt idx="39444">1</cx:pt>
          <cx:pt idx="39445">1</cx:pt>
          <cx:pt idx="39446">0</cx:pt>
          <cx:pt idx="39447">0</cx:pt>
          <cx:pt idx="39448">0</cx:pt>
          <cx:pt idx="39449">1</cx:pt>
          <cx:pt idx="39450">0</cx:pt>
          <cx:pt idx="39451">1</cx:pt>
          <cx:pt idx="39452">0</cx:pt>
          <cx:pt idx="39453">1</cx:pt>
          <cx:pt idx="39454">0</cx:pt>
          <cx:pt idx="39455">0</cx:pt>
          <cx:pt idx="39456">0</cx:pt>
          <cx:pt idx="39457">0</cx:pt>
          <cx:pt idx="39458">1</cx:pt>
          <cx:pt idx="39459">0</cx:pt>
          <cx:pt idx="39460">0</cx:pt>
          <cx:pt idx="39461">0</cx:pt>
          <cx:pt idx="39462">1</cx:pt>
          <cx:pt idx="39463">0</cx:pt>
          <cx:pt idx="39464">0</cx:pt>
          <cx:pt idx="39465">1</cx:pt>
          <cx:pt idx="39466">1</cx:pt>
          <cx:pt idx="39467">0</cx:pt>
          <cx:pt idx="39468">1</cx:pt>
          <cx:pt idx="39469">1</cx:pt>
          <cx:pt idx="39470">0</cx:pt>
          <cx:pt idx="39471">0</cx:pt>
          <cx:pt idx="39472">0</cx:pt>
          <cx:pt idx="39473">0</cx:pt>
          <cx:pt idx="39474">0</cx:pt>
          <cx:pt idx="39475">0</cx:pt>
          <cx:pt idx="39476">0</cx:pt>
          <cx:pt idx="39477">0</cx:pt>
          <cx:pt idx="39478">0</cx:pt>
          <cx:pt idx="39479">1</cx:pt>
          <cx:pt idx="39480">1</cx:pt>
          <cx:pt idx="39481">1</cx:pt>
          <cx:pt idx="39482">1</cx:pt>
          <cx:pt idx="39483">1</cx:pt>
          <cx:pt idx="39484">0</cx:pt>
          <cx:pt idx="39485">0</cx:pt>
          <cx:pt idx="39486">0</cx:pt>
          <cx:pt idx="39487">1</cx:pt>
          <cx:pt idx="39488">0</cx:pt>
          <cx:pt idx="39489">1</cx:pt>
          <cx:pt idx="39490">1</cx:pt>
          <cx:pt idx="39491">1</cx:pt>
          <cx:pt idx="39492">1</cx:pt>
          <cx:pt idx="39493">0</cx:pt>
          <cx:pt idx="39494">0</cx:pt>
          <cx:pt idx="39495">1</cx:pt>
          <cx:pt idx="39496">1</cx:pt>
          <cx:pt idx="39497">1</cx:pt>
          <cx:pt idx="39498">1</cx:pt>
          <cx:pt idx="39499">0</cx:pt>
          <cx:pt idx="39500">1</cx:pt>
          <cx:pt idx="39501">1</cx:pt>
          <cx:pt idx="39502">0</cx:pt>
          <cx:pt idx="39503">0</cx:pt>
          <cx:pt idx="39504">1</cx:pt>
          <cx:pt idx="39505">0</cx:pt>
          <cx:pt idx="39506">0</cx:pt>
          <cx:pt idx="39507">0</cx:pt>
          <cx:pt idx="39508">1</cx:pt>
          <cx:pt idx="39509">0</cx:pt>
          <cx:pt idx="39510">0</cx:pt>
          <cx:pt idx="39511">1</cx:pt>
          <cx:pt idx="39512">0</cx:pt>
          <cx:pt idx="39513">1</cx:pt>
          <cx:pt idx="39514">1</cx:pt>
          <cx:pt idx="39515">1</cx:pt>
          <cx:pt idx="39516">0</cx:pt>
          <cx:pt idx="39517">0</cx:pt>
          <cx:pt idx="39518">1</cx:pt>
          <cx:pt idx="39519">1</cx:pt>
          <cx:pt idx="39520">0</cx:pt>
          <cx:pt idx="39521">0</cx:pt>
          <cx:pt idx="39522">1</cx:pt>
          <cx:pt idx="39523">1</cx:pt>
          <cx:pt idx="39524">1</cx:pt>
          <cx:pt idx="39525">1</cx:pt>
          <cx:pt idx="39526">1</cx:pt>
          <cx:pt idx="39527">0</cx:pt>
          <cx:pt idx="39528">1</cx:pt>
          <cx:pt idx="39529">1</cx:pt>
          <cx:pt idx="39530">0</cx:pt>
          <cx:pt idx="39531">1</cx:pt>
          <cx:pt idx="39532">0</cx:pt>
          <cx:pt idx="39533">0</cx:pt>
          <cx:pt idx="39534">1</cx:pt>
          <cx:pt idx="39535">1</cx:pt>
          <cx:pt idx="39536">0</cx:pt>
          <cx:pt idx="39537">0</cx:pt>
          <cx:pt idx="39538">1</cx:pt>
          <cx:pt idx="39539">0</cx:pt>
          <cx:pt idx="39540">0</cx:pt>
          <cx:pt idx="39541">0</cx:pt>
          <cx:pt idx="39542">1</cx:pt>
          <cx:pt idx="39543">1</cx:pt>
          <cx:pt idx="39544">0</cx:pt>
          <cx:pt idx="39545">1</cx:pt>
          <cx:pt idx="39546">1</cx:pt>
          <cx:pt idx="39547">1</cx:pt>
          <cx:pt idx="39548">0</cx:pt>
          <cx:pt idx="39549">0</cx:pt>
          <cx:pt idx="39550">0</cx:pt>
          <cx:pt idx="39551">1</cx:pt>
          <cx:pt idx="39552">0</cx:pt>
          <cx:pt idx="39553">0</cx:pt>
          <cx:pt idx="39554">0</cx:pt>
          <cx:pt idx="39555">0</cx:pt>
          <cx:pt idx="39556">0</cx:pt>
          <cx:pt idx="39557">0</cx:pt>
          <cx:pt idx="39558">0</cx:pt>
          <cx:pt idx="39559">0</cx:pt>
          <cx:pt idx="39560">0</cx:pt>
          <cx:pt idx="39561">1</cx:pt>
          <cx:pt idx="39562">0</cx:pt>
          <cx:pt idx="39563">1</cx:pt>
          <cx:pt idx="39564">0</cx:pt>
          <cx:pt idx="39565">0</cx:pt>
          <cx:pt idx="39566">0</cx:pt>
          <cx:pt idx="39567">0</cx:pt>
          <cx:pt idx="39568">0</cx:pt>
          <cx:pt idx="39569">0</cx:pt>
          <cx:pt idx="39570">0</cx:pt>
          <cx:pt idx="39571">1</cx:pt>
          <cx:pt idx="39572">1</cx:pt>
          <cx:pt idx="39573">1</cx:pt>
          <cx:pt idx="39574">1</cx:pt>
          <cx:pt idx="39575">0</cx:pt>
          <cx:pt idx="39576">0</cx:pt>
          <cx:pt idx="39577">0</cx:pt>
          <cx:pt idx="39578">1</cx:pt>
          <cx:pt idx="39579">1</cx:pt>
          <cx:pt idx="39580">1</cx:pt>
          <cx:pt idx="39581">1</cx:pt>
          <cx:pt idx="39582">0</cx:pt>
          <cx:pt idx="39583">0</cx:pt>
          <cx:pt idx="39584">0</cx:pt>
          <cx:pt idx="39585">0</cx:pt>
          <cx:pt idx="39586">1</cx:pt>
          <cx:pt idx="39587">1</cx:pt>
          <cx:pt idx="39588">1</cx:pt>
          <cx:pt idx="39589">0</cx:pt>
          <cx:pt idx="39590">1</cx:pt>
          <cx:pt idx="39591">1</cx:pt>
          <cx:pt idx="39592">0</cx:pt>
          <cx:pt idx="39593">1</cx:pt>
          <cx:pt idx="39594">1</cx:pt>
          <cx:pt idx="39595">0</cx:pt>
          <cx:pt idx="39596">0</cx:pt>
          <cx:pt idx="39597">1</cx:pt>
          <cx:pt idx="39598">1</cx:pt>
          <cx:pt idx="39599">1</cx:pt>
          <cx:pt idx="39600">0</cx:pt>
          <cx:pt idx="39601">1</cx:pt>
          <cx:pt idx="39602">0</cx:pt>
          <cx:pt idx="39603">0</cx:pt>
          <cx:pt idx="39604">0</cx:pt>
          <cx:pt idx="39605">1</cx:pt>
          <cx:pt idx="39606">0</cx:pt>
          <cx:pt idx="39607">1</cx:pt>
          <cx:pt idx="39608">1</cx:pt>
          <cx:pt idx="39609">0</cx:pt>
          <cx:pt idx="39610">1</cx:pt>
          <cx:pt idx="39611">1</cx:pt>
          <cx:pt idx="39612">1</cx:pt>
          <cx:pt idx="39613">0</cx:pt>
          <cx:pt idx="39614">0</cx:pt>
          <cx:pt idx="39615">0</cx:pt>
          <cx:pt idx="39616">0</cx:pt>
          <cx:pt idx="39617">0</cx:pt>
          <cx:pt idx="39618">1</cx:pt>
          <cx:pt idx="39619">1</cx:pt>
          <cx:pt idx="39620">0</cx:pt>
          <cx:pt idx="39621">1</cx:pt>
          <cx:pt idx="39622">1</cx:pt>
          <cx:pt idx="39623">1</cx:pt>
          <cx:pt idx="39624">1</cx:pt>
          <cx:pt idx="39625">0</cx:pt>
          <cx:pt idx="39626">0</cx:pt>
          <cx:pt idx="39627">0</cx:pt>
          <cx:pt idx="39628">1</cx:pt>
          <cx:pt idx="39629">1</cx:pt>
          <cx:pt idx="39630">0</cx:pt>
          <cx:pt idx="39631">1</cx:pt>
          <cx:pt idx="39632">1</cx:pt>
          <cx:pt idx="39633">0</cx:pt>
          <cx:pt idx="39634">0</cx:pt>
          <cx:pt idx="39635">0</cx:pt>
          <cx:pt idx="39636">0</cx:pt>
          <cx:pt idx="39637">1</cx:pt>
          <cx:pt idx="39638">0</cx:pt>
          <cx:pt idx="39639">0</cx:pt>
          <cx:pt idx="39640">1</cx:pt>
          <cx:pt idx="39641">1</cx:pt>
          <cx:pt idx="39642">1</cx:pt>
          <cx:pt idx="39643">0</cx:pt>
          <cx:pt idx="39644">0</cx:pt>
          <cx:pt idx="39645">1</cx:pt>
          <cx:pt idx="39646">0</cx:pt>
          <cx:pt idx="39647">0</cx:pt>
          <cx:pt idx="39648">1</cx:pt>
          <cx:pt idx="39649">0</cx:pt>
          <cx:pt idx="39650">1</cx:pt>
          <cx:pt idx="39651">0</cx:pt>
          <cx:pt idx="39652">0</cx:pt>
          <cx:pt idx="39653">0</cx:pt>
          <cx:pt idx="39654">1</cx:pt>
          <cx:pt idx="39655">1</cx:pt>
          <cx:pt idx="39656">0</cx:pt>
          <cx:pt idx="39657">1</cx:pt>
          <cx:pt idx="39658">0</cx:pt>
          <cx:pt idx="39659">0</cx:pt>
          <cx:pt idx="39660">0</cx:pt>
          <cx:pt idx="39661">0</cx:pt>
          <cx:pt idx="39662">0</cx:pt>
          <cx:pt idx="39663">1</cx:pt>
          <cx:pt idx="39664">0</cx:pt>
          <cx:pt idx="39665">0</cx:pt>
          <cx:pt idx="39666">0</cx:pt>
          <cx:pt idx="39667">0</cx:pt>
          <cx:pt idx="39668">0</cx:pt>
          <cx:pt idx="39669">0</cx:pt>
          <cx:pt idx="39670">0</cx:pt>
          <cx:pt idx="39671">1</cx:pt>
          <cx:pt idx="39672">1</cx:pt>
          <cx:pt idx="39673">0</cx:pt>
          <cx:pt idx="39674">0</cx:pt>
          <cx:pt idx="39675">0</cx:pt>
          <cx:pt idx="39676">0</cx:pt>
          <cx:pt idx="39677">0</cx:pt>
          <cx:pt idx="39678">0</cx:pt>
          <cx:pt idx="39679">0</cx:pt>
          <cx:pt idx="39680">1</cx:pt>
          <cx:pt idx="39681">1</cx:pt>
          <cx:pt idx="39682">1</cx:pt>
          <cx:pt idx="39683">0</cx:pt>
          <cx:pt idx="39684">1</cx:pt>
          <cx:pt idx="39685">0</cx:pt>
          <cx:pt idx="39686">0</cx:pt>
          <cx:pt idx="39687">0</cx:pt>
          <cx:pt idx="39688">0</cx:pt>
          <cx:pt idx="39689">1</cx:pt>
          <cx:pt idx="39690">1</cx:pt>
          <cx:pt idx="39691">0</cx:pt>
          <cx:pt idx="39692">1</cx:pt>
          <cx:pt idx="39693">0</cx:pt>
          <cx:pt idx="39694">1</cx:pt>
          <cx:pt idx="39695">0</cx:pt>
          <cx:pt idx="39696">1</cx:pt>
          <cx:pt idx="39697">1</cx:pt>
          <cx:pt idx="39698">0</cx:pt>
          <cx:pt idx="39699">1</cx:pt>
          <cx:pt idx="39700">0</cx:pt>
          <cx:pt idx="39701">0</cx:pt>
          <cx:pt idx="39702">1</cx:pt>
          <cx:pt idx="39703">1</cx:pt>
          <cx:pt idx="39704">0</cx:pt>
          <cx:pt idx="39705">0</cx:pt>
          <cx:pt idx="39706">1</cx:pt>
          <cx:pt idx="39707">0</cx:pt>
          <cx:pt idx="39708">0</cx:pt>
          <cx:pt idx="39709">0</cx:pt>
          <cx:pt idx="39710">0</cx:pt>
          <cx:pt idx="39711">0</cx:pt>
          <cx:pt idx="39712">0</cx:pt>
          <cx:pt idx="39713">0</cx:pt>
          <cx:pt idx="39714">0</cx:pt>
          <cx:pt idx="39715">1</cx:pt>
          <cx:pt idx="39716">0</cx:pt>
          <cx:pt idx="39717">0</cx:pt>
          <cx:pt idx="39718">1</cx:pt>
          <cx:pt idx="39719">0</cx:pt>
          <cx:pt idx="39720">1</cx:pt>
          <cx:pt idx="39721">1</cx:pt>
          <cx:pt idx="39722">0</cx:pt>
          <cx:pt idx="39723">1</cx:pt>
          <cx:pt idx="39724">0</cx:pt>
          <cx:pt idx="39725">0</cx:pt>
          <cx:pt idx="39726">0</cx:pt>
          <cx:pt idx="39727">0</cx:pt>
          <cx:pt idx="39728">1</cx:pt>
          <cx:pt idx="39729">0</cx:pt>
          <cx:pt idx="39730">1</cx:pt>
          <cx:pt idx="39731">0</cx:pt>
          <cx:pt idx="39732">0</cx:pt>
          <cx:pt idx="39733">0</cx:pt>
          <cx:pt idx="39734">0</cx:pt>
          <cx:pt idx="39735">0</cx:pt>
          <cx:pt idx="39736">1</cx:pt>
          <cx:pt idx="39737">0</cx:pt>
          <cx:pt idx="39738">1</cx:pt>
          <cx:pt idx="39739">1</cx:pt>
          <cx:pt idx="39740">0</cx:pt>
          <cx:pt idx="39741">0</cx:pt>
          <cx:pt idx="39742">0</cx:pt>
          <cx:pt idx="39743">0</cx:pt>
          <cx:pt idx="39744">1</cx:pt>
          <cx:pt idx="39745">1</cx:pt>
          <cx:pt idx="39746">0</cx:pt>
          <cx:pt idx="39747">0</cx:pt>
          <cx:pt idx="39748">0</cx:pt>
          <cx:pt idx="39749">1</cx:pt>
          <cx:pt idx="39750">1</cx:pt>
          <cx:pt idx="39751">0</cx:pt>
          <cx:pt idx="39752">0</cx:pt>
          <cx:pt idx="39753">0</cx:pt>
          <cx:pt idx="39754">1</cx:pt>
          <cx:pt idx="39755">1</cx:pt>
          <cx:pt idx="39756">1</cx:pt>
          <cx:pt idx="39757">0</cx:pt>
          <cx:pt idx="39758">0</cx:pt>
          <cx:pt idx="39759">0</cx:pt>
          <cx:pt idx="39760">0</cx:pt>
          <cx:pt idx="39761">0</cx:pt>
          <cx:pt idx="39762">0</cx:pt>
          <cx:pt idx="39763">1</cx:pt>
          <cx:pt idx="39764">1</cx:pt>
          <cx:pt idx="39765">0</cx:pt>
          <cx:pt idx="39766">1</cx:pt>
          <cx:pt idx="39767">0</cx:pt>
          <cx:pt idx="39768">0</cx:pt>
          <cx:pt idx="39769">1</cx:pt>
          <cx:pt idx="39770">0</cx:pt>
          <cx:pt idx="39771">0</cx:pt>
          <cx:pt idx="39772">1</cx:pt>
          <cx:pt idx="39773">0</cx:pt>
          <cx:pt idx="39774">1</cx:pt>
          <cx:pt idx="39775">1</cx:pt>
          <cx:pt idx="39776">0</cx:pt>
          <cx:pt idx="39777">0</cx:pt>
          <cx:pt idx="39778">1</cx:pt>
          <cx:pt idx="39779">0</cx:pt>
          <cx:pt idx="39780">0</cx:pt>
          <cx:pt idx="39781">1</cx:pt>
          <cx:pt idx="39782">0</cx:pt>
          <cx:pt idx="39783">1</cx:pt>
          <cx:pt idx="39784">1</cx:pt>
          <cx:pt idx="39785">0</cx:pt>
          <cx:pt idx="39786">1</cx:pt>
          <cx:pt idx="39787">0</cx:pt>
          <cx:pt idx="39788">1</cx:pt>
          <cx:pt idx="39789">0</cx:pt>
          <cx:pt idx="39790">0</cx:pt>
          <cx:pt idx="39791">0</cx:pt>
          <cx:pt idx="39792">0</cx:pt>
          <cx:pt idx="39793">0</cx:pt>
          <cx:pt idx="39794">0</cx:pt>
          <cx:pt idx="39795">0</cx:pt>
          <cx:pt idx="39796">0</cx:pt>
          <cx:pt idx="39797">1</cx:pt>
          <cx:pt idx="39798">0</cx:pt>
          <cx:pt idx="39799">1</cx:pt>
          <cx:pt idx="39800">1</cx:pt>
          <cx:pt idx="39801">0</cx:pt>
          <cx:pt idx="39802">1</cx:pt>
          <cx:pt idx="39803">1</cx:pt>
          <cx:pt idx="39804">0</cx:pt>
          <cx:pt idx="39805">0</cx:pt>
          <cx:pt idx="39806">0</cx:pt>
          <cx:pt idx="39807">0</cx:pt>
          <cx:pt idx="39808">0</cx:pt>
          <cx:pt idx="39809">1</cx:pt>
          <cx:pt idx="39810">0</cx:pt>
          <cx:pt idx="39811">1</cx:pt>
          <cx:pt idx="39812">0</cx:pt>
          <cx:pt idx="39813">1</cx:pt>
          <cx:pt idx="39814">1</cx:pt>
          <cx:pt idx="39815">0</cx:pt>
          <cx:pt idx="39816">0</cx:pt>
          <cx:pt idx="39817">0</cx:pt>
          <cx:pt idx="39818">0</cx:pt>
          <cx:pt idx="39819">0</cx:pt>
          <cx:pt idx="39820">1</cx:pt>
          <cx:pt idx="39821">1</cx:pt>
          <cx:pt idx="39822">0</cx:pt>
          <cx:pt idx="39823">1</cx:pt>
          <cx:pt idx="39824">0</cx:pt>
          <cx:pt idx="39825">1</cx:pt>
          <cx:pt idx="39826">0</cx:pt>
          <cx:pt idx="39827">0</cx:pt>
          <cx:pt idx="39828">1</cx:pt>
          <cx:pt idx="39829">1</cx:pt>
          <cx:pt idx="39830">0</cx:pt>
          <cx:pt idx="39831">1</cx:pt>
          <cx:pt idx="39832">1</cx:pt>
          <cx:pt idx="39833">0</cx:pt>
          <cx:pt idx="39834">0</cx:pt>
          <cx:pt idx="39835">0</cx:pt>
          <cx:pt idx="39836">0</cx:pt>
          <cx:pt idx="39837">0</cx:pt>
          <cx:pt idx="39838">1</cx:pt>
          <cx:pt idx="39839">1</cx:pt>
          <cx:pt idx="39840">0</cx:pt>
          <cx:pt idx="39841">0</cx:pt>
          <cx:pt idx="39842">0</cx:pt>
          <cx:pt idx="39843">1</cx:pt>
          <cx:pt idx="39844">1</cx:pt>
          <cx:pt idx="39845">1</cx:pt>
          <cx:pt idx="39846">0</cx:pt>
          <cx:pt idx="39847">1</cx:pt>
          <cx:pt idx="39848">0</cx:pt>
          <cx:pt idx="39849">0</cx:pt>
          <cx:pt idx="39850">0</cx:pt>
          <cx:pt idx="39851">0</cx:pt>
          <cx:pt idx="39852">0</cx:pt>
          <cx:pt idx="39853">0</cx:pt>
          <cx:pt idx="39854">1</cx:pt>
          <cx:pt idx="39855">0</cx:pt>
          <cx:pt idx="39856">1</cx:pt>
          <cx:pt idx="39857">0</cx:pt>
          <cx:pt idx="39858">0</cx:pt>
          <cx:pt idx="39859">1</cx:pt>
          <cx:pt idx="39860">0</cx:pt>
          <cx:pt idx="39861">1</cx:pt>
          <cx:pt idx="39862">0</cx:pt>
          <cx:pt idx="39863">1</cx:pt>
          <cx:pt idx="39864">1</cx:pt>
          <cx:pt idx="39865">1</cx:pt>
          <cx:pt idx="39866">1</cx:pt>
          <cx:pt idx="39867">1</cx:pt>
          <cx:pt idx="39868">1</cx:pt>
          <cx:pt idx="39869">1</cx:pt>
          <cx:pt idx="39870">0</cx:pt>
          <cx:pt idx="39871">0</cx:pt>
          <cx:pt idx="39872">1</cx:pt>
          <cx:pt idx="39873">0</cx:pt>
          <cx:pt idx="39874">1</cx:pt>
          <cx:pt idx="39875">0</cx:pt>
          <cx:pt idx="39876">0</cx:pt>
          <cx:pt idx="39877">0</cx:pt>
          <cx:pt idx="39878">1</cx:pt>
          <cx:pt idx="39879">0</cx:pt>
          <cx:pt idx="39880">0</cx:pt>
          <cx:pt idx="39881">1</cx:pt>
          <cx:pt idx="39882">1</cx:pt>
          <cx:pt idx="39883">0</cx:pt>
          <cx:pt idx="39884">0</cx:pt>
          <cx:pt idx="39885">1</cx:pt>
          <cx:pt idx="39886">0</cx:pt>
          <cx:pt idx="39887">1</cx:pt>
          <cx:pt idx="39888">1</cx:pt>
          <cx:pt idx="39889">0</cx:pt>
          <cx:pt idx="39890">0</cx:pt>
          <cx:pt idx="39891">0</cx:pt>
          <cx:pt idx="39892">0</cx:pt>
          <cx:pt idx="39893">1</cx:pt>
          <cx:pt idx="39894">0</cx:pt>
          <cx:pt idx="39895">0</cx:pt>
          <cx:pt idx="39896">0</cx:pt>
          <cx:pt idx="39897">1</cx:pt>
          <cx:pt idx="39898">0</cx:pt>
          <cx:pt idx="39899">1</cx:pt>
          <cx:pt idx="39900">1</cx:pt>
          <cx:pt idx="39901">0</cx:pt>
          <cx:pt idx="39902">1</cx:pt>
          <cx:pt idx="39903">0</cx:pt>
          <cx:pt idx="39904">1</cx:pt>
          <cx:pt idx="39905">0</cx:pt>
          <cx:pt idx="39906">0</cx:pt>
          <cx:pt idx="39907">0</cx:pt>
          <cx:pt idx="39908">0</cx:pt>
          <cx:pt idx="39909">1</cx:pt>
          <cx:pt idx="39910">0</cx:pt>
          <cx:pt idx="39911">1</cx:pt>
          <cx:pt idx="39912">1</cx:pt>
          <cx:pt idx="39913">0</cx:pt>
          <cx:pt idx="39914">0</cx:pt>
          <cx:pt idx="39915">0</cx:pt>
          <cx:pt idx="39916">0</cx:pt>
          <cx:pt idx="39917">1</cx:pt>
          <cx:pt idx="39918">1</cx:pt>
          <cx:pt idx="39919">1</cx:pt>
          <cx:pt idx="39920">1</cx:pt>
          <cx:pt idx="39921">0</cx:pt>
          <cx:pt idx="39922">1</cx:pt>
          <cx:pt idx="39923">0</cx:pt>
          <cx:pt idx="39924">0</cx:pt>
          <cx:pt idx="39925">0</cx:pt>
          <cx:pt idx="39926">1</cx:pt>
          <cx:pt idx="39927">1</cx:pt>
          <cx:pt idx="39928">0</cx:pt>
          <cx:pt idx="39929">0</cx:pt>
          <cx:pt idx="39930">0</cx:pt>
          <cx:pt idx="39931">1</cx:pt>
          <cx:pt idx="39932">0</cx:pt>
          <cx:pt idx="39933">0</cx:pt>
          <cx:pt idx="39934">0</cx:pt>
          <cx:pt idx="39935">1</cx:pt>
          <cx:pt idx="39936">1</cx:pt>
          <cx:pt idx="39937">1</cx:pt>
          <cx:pt idx="39938">0</cx:pt>
          <cx:pt idx="39939">1</cx:pt>
          <cx:pt idx="39940">0</cx:pt>
          <cx:pt idx="39941">0</cx:pt>
          <cx:pt idx="39942">0</cx:pt>
          <cx:pt idx="39943">1</cx:pt>
          <cx:pt idx="39944">0</cx:pt>
          <cx:pt idx="39945">0</cx:pt>
          <cx:pt idx="39946">0</cx:pt>
          <cx:pt idx="39947">1</cx:pt>
          <cx:pt idx="39948">0</cx:pt>
          <cx:pt idx="39949">0</cx:pt>
          <cx:pt idx="39950">1</cx:pt>
          <cx:pt idx="39951">0</cx:pt>
          <cx:pt idx="39952">1</cx:pt>
          <cx:pt idx="39953">1</cx:pt>
          <cx:pt idx="39954">0</cx:pt>
          <cx:pt idx="39955">0</cx:pt>
          <cx:pt idx="39956">0</cx:pt>
          <cx:pt idx="39957">0</cx:pt>
          <cx:pt idx="39958">1</cx:pt>
          <cx:pt idx="39959">0</cx:pt>
          <cx:pt idx="39960">0</cx:pt>
          <cx:pt idx="39961">0</cx:pt>
          <cx:pt idx="39962">0</cx:pt>
          <cx:pt idx="39963">1</cx:pt>
          <cx:pt idx="39964">0</cx:pt>
          <cx:pt idx="39965">0</cx:pt>
          <cx:pt idx="39966">1</cx:pt>
          <cx:pt idx="39967">1</cx:pt>
          <cx:pt idx="39968">0</cx:pt>
          <cx:pt idx="39969">0</cx:pt>
          <cx:pt idx="39970">1</cx:pt>
          <cx:pt idx="39971">1</cx:pt>
          <cx:pt idx="39972">0</cx:pt>
          <cx:pt idx="39973">0</cx:pt>
          <cx:pt idx="39974">0</cx:pt>
          <cx:pt idx="39975">0</cx:pt>
          <cx:pt idx="39976">1</cx:pt>
          <cx:pt idx="39977">0</cx:pt>
          <cx:pt idx="39978">0</cx:pt>
          <cx:pt idx="39979">0</cx:pt>
          <cx:pt idx="39980">0</cx:pt>
          <cx:pt idx="39981">1</cx:pt>
          <cx:pt idx="39982">1</cx:pt>
          <cx:pt idx="39983">1</cx:pt>
          <cx:pt idx="39984">0</cx:pt>
          <cx:pt idx="39985">0</cx:pt>
          <cx:pt idx="39986">1</cx:pt>
          <cx:pt idx="39987">0</cx:pt>
          <cx:pt idx="39988">1</cx:pt>
          <cx:pt idx="39989">0</cx:pt>
          <cx:pt idx="39990">0</cx:pt>
          <cx:pt idx="39991">0</cx:pt>
          <cx:pt idx="39992">1</cx:pt>
          <cx:pt idx="39993">1</cx:pt>
          <cx:pt idx="39994">1</cx:pt>
          <cx:pt idx="39995">1</cx:pt>
          <cx:pt idx="39996">0</cx:pt>
          <cx:pt idx="39997">0</cx:pt>
          <cx:pt idx="39998">1</cx:pt>
          <cx:pt idx="39999">0</cx:pt>
          <cx:pt idx="40000">1</cx:pt>
          <cx:pt idx="40001">0</cx:pt>
          <cx:pt idx="40002">0</cx:pt>
          <cx:pt idx="40003">1</cx:pt>
          <cx:pt idx="40004">1</cx:pt>
          <cx:pt idx="40005">0</cx:pt>
          <cx:pt idx="40006">1</cx:pt>
          <cx:pt idx="40007">0</cx:pt>
          <cx:pt idx="40008">0</cx:pt>
          <cx:pt idx="40009">0</cx:pt>
          <cx:pt idx="40010">0</cx:pt>
          <cx:pt idx="40011">1</cx:pt>
          <cx:pt idx="40012">0</cx:pt>
          <cx:pt idx="40013">1</cx:pt>
          <cx:pt idx="40014">1</cx:pt>
          <cx:pt idx="40015">0</cx:pt>
          <cx:pt idx="40016">0</cx:pt>
          <cx:pt idx="40017">0</cx:pt>
          <cx:pt idx="40018">0</cx:pt>
          <cx:pt idx="40019">1</cx:pt>
          <cx:pt idx="40020">1</cx:pt>
          <cx:pt idx="40021">1</cx:pt>
          <cx:pt idx="40022">0</cx:pt>
          <cx:pt idx="40023">1</cx:pt>
          <cx:pt idx="40024">0</cx:pt>
          <cx:pt idx="40025">0</cx:pt>
          <cx:pt idx="40026">0</cx:pt>
          <cx:pt idx="40027">0</cx:pt>
          <cx:pt idx="40028">0</cx:pt>
          <cx:pt idx="40029">0</cx:pt>
          <cx:pt idx="40030">1</cx:pt>
          <cx:pt idx="40031">1</cx:pt>
          <cx:pt idx="40032">1</cx:pt>
          <cx:pt idx="40033">1</cx:pt>
          <cx:pt idx="40034">1</cx:pt>
          <cx:pt idx="40035">0</cx:pt>
          <cx:pt idx="40036">1</cx:pt>
          <cx:pt idx="40037">1</cx:pt>
          <cx:pt idx="40038">0</cx:pt>
          <cx:pt idx="40039">0</cx:pt>
          <cx:pt idx="40040">0</cx:pt>
          <cx:pt idx="40041">1</cx:pt>
          <cx:pt idx="40042">1</cx:pt>
          <cx:pt idx="40043">0</cx:pt>
          <cx:pt idx="40044">1</cx:pt>
          <cx:pt idx="40045">1</cx:pt>
          <cx:pt idx="40046">0</cx:pt>
          <cx:pt idx="40047">0</cx:pt>
          <cx:pt idx="40048">0</cx:pt>
          <cx:pt idx="40049">0</cx:pt>
          <cx:pt idx="40050">1</cx:pt>
          <cx:pt idx="40051">1</cx:pt>
          <cx:pt idx="40052">0</cx:pt>
          <cx:pt idx="40053">1</cx:pt>
          <cx:pt idx="40054">1</cx:pt>
          <cx:pt idx="40055">0</cx:pt>
          <cx:pt idx="40056">0</cx:pt>
          <cx:pt idx="40057">1</cx:pt>
          <cx:pt idx="40058">0</cx:pt>
          <cx:pt idx="40059">0</cx:pt>
          <cx:pt idx="40060">0</cx:pt>
          <cx:pt idx="40061">0</cx:pt>
          <cx:pt idx="40062">1</cx:pt>
          <cx:pt idx="40063">0</cx:pt>
          <cx:pt idx="40064">0</cx:pt>
          <cx:pt idx="40065">0</cx:pt>
          <cx:pt idx="40066">1</cx:pt>
          <cx:pt idx="40067">1</cx:pt>
          <cx:pt idx="40068">1</cx:pt>
          <cx:pt idx="40069">1</cx:pt>
          <cx:pt idx="40070">1</cx:pt>
          <cx:pt idx="40071">1</cx:pt>
          <cx:pt idx="40072">0</cx:pt>
          <cx:pt idx="40073">1</cx:pt>
          <cx:pt idx="40074">1</cx:pt>
          <cx:pt idx="40075">0</cx:pt>
          <cx:pt idx="40076">1</cx:pt>
          <cx:pt idx="40077">1</cx:pt>
          <cx:pt idx="40078">0</cx:pt>
          <cx:pt idx="40079">0</cx:pt>
          <cx:pt idx="40080">0</cx:pt>
          <cx:pt idx="40081">0</cx:pt>
          <cx:pt idx="40082">0</cx:pt>
          <cx:pt idx="40083">0</cx:pt>
          <cx:pt idx="40084">1</cx:pt>
          <cx:pt idx="40085">0</cx:pt>
          <cx:pt idx="40086">1</cx:pt>
          <cx:pt idx="40087">0</cx:pt>
          <cx:pt idx="40088">0</cx:pt>
          <cx:pt idx="40089">0</cx:pt>
          <cx:pt idx="40090">0</cx:pt>
          <cx:pt idx="40091">0</cx:pt>
          <cx:pt idx="40092">0</cx:pt>
          <cx:pt idx="40093">1</cx:pt>
          <cx:pt idx="40094">0</cx:pt>
          <cx:pt idx="40095">1</cx:pt>
          <cx:pt idx="40096">0</cx:pt>
          <cx:pt idx="40097">0</cx:pt>
          <cx:pt idx="40098">0</cx:pt>
          <cx:pt idx="40099">0</cx:pt>
          <cx:pt idx="40100">0</cx:pt>
          <cx:pt idx="40101">1</cx:pt>
          <cx:pt idx="40102">0</cx:pt>
          <cx:pt idx="40103">0</cx:pt>
          <cx:pt idx="40104">0</cx:pt>
          <cx:pt idx="40105">0</cx:pt>
          <cx:pt idx="40106">0</cx:pt>
          <cx:pt idx="40107">1</cx:pt>
          <cx:pt idx="40108">0</cx:pt>
          <cx:pt idx="40109">0</cx:pt>
          <cx:pt idx="40110">1</cx:pt>
          <cx:pt idx="40111">0</cx:pt>
          <cx:pt idx="40112">0</cx:pt>
          <cx:pt idx="40113">1</cx:pt>
          <cx:pt idx="40114">0</cx:pt>
          <cx:pt idx="40115">1</cx:pt>
          <cx:pt idx="40116">0</cx:pt>
          <cx:pt idx="40117">0</cx:pt>
          <cx:pt idx="40118">1</cx:pt>
          <cx:pt idx="40119">0</cx:pt>
          <cx:pt idx="40120">0</cx:pt>
          <cx:pt idx="40121">1</cx:pt>
          <cx:pt idx="40122">0</cx:pt>
          <cx:pt idx="40123">1</cx:pt>
          <cx:pt idx="40124">0</cx:pt>
          <cx:pt idx="40125">0</cx:pt>
          <cx:pt idx="40126">0</cx:pt>
          <cx:pt idx="40127">1</cx:pt>
          <cx:pt idx="40128">0</cx:pt>
          <cx:pt idx="40129">0</cx:pt>
          <cx:pt idx="40130">0</cx:pt>
          <cx:pt idx="40131">0</cx:pt>
          <cx:pt idx="40132">0</cx:pt>
          <cx:pt idx="40133">0</cx:pt>
          <cx:pt idx="40134">0</cx:pt>
          <cx:pt idx="40135">0</cx:pt>
          <cx:pt idx="40136">0</cx:pt>
          <cx:pt idx="40137">0</cx:pt>
          <cx:pt idx="40138">1</cx:pt>
          <cx:pt idx="40139">0</cx:pt>
          <cx:pt idx="40140">1</cx:pt>
          <cx:pt idx="40141">1</cx:pt>
          <cx:pt idx="40142">1</cx:pt>
          <cx:pt idx="40143">0</cx:pt>
          <cx:pt idx="40144">1</cx:pt>
          <cx:pt idx="40145">1</cx:pt>
          <cx:pt idx="40146">0</cx:pt>
          <cx:pt idx="40147">1</cx:pt>
          <cx:pt idx="40148">0</cx:pt>
          <cx:pt idx="40149">1</cx:pt>
          <cx:pt idx="40150">1</cx:pt>
          <cx:pt idx="40151">1</cx:pt>
          <cx:pt idx="40152">1</cx:pt>
          <cx:pt idx="40153">0</cx:pt>
          <cx:pt idx="40154">1</cx:pt>
          <cx:pt idx="40155">0</cx:pt>
          <cx:pt idx="40156">1</cx:pt>
          <cx:pt idx="40157">1</cx:pt>
          <cx:pt idx="40158">1</cx:pt>
          <cx:pt idx="40159">0</cx:pt>
          <cx:pt idx="40160">1</cx:pt>
          <cx:pt idx="40161">1</cx:pt>
          <cx:pt idx="40162">1</cx:pt>
          <cx:pt idx="40163">0</cx:pt>
          <cx:pt idx="40164">0</cx:pt>
          <cx:pt idx="40165">0</cx:pt>
          <cx:pt idx="40166">1</cx:pt>
          <cx:pt idx="40167">0</cx:pt>
          <cx:pt idx="40168">0</cx:pt>
          <cx:pt idx="40169">0</cx:pt>
          <cx:pt idx="40170">0</cx:pt>
          <cx:pt idx="40171">0</cx:pt>
          <cx:pt idx="40172">1</cx:pt>
          <cx:pt idx="40173">0</cx:pt>
          <cx:pt idx="40174">1</cx:pt>
          <cx:pt idx="40175">0</cx:pt>
          <cx:pt idx="40176">0</cx:pt>
          <cx:pt idx="40177">0</cx:pt>
          <cx:pt idx="40178">0</cx:pt>
          <cx:pt idx="40179">0</cx:pt>
          <cx:pt idx="40180">0</cx:pt>
          <cx:pt idx="40181">1</cx:pt>
          <cx:pt idx="40182">0</cx:pt>
          <cx:pt idx="40183">0</cx:pt>
          <cx:pt idx="40184">1</cx:pt>
          <cx:pt idx="40185">0</cx:pt>
          <cx:pt idx="40186">0</cx:pt>
          <cx:pt idx="40187">1</cx:pt>
          <cx:pt idx="40188">0</cx:pt>
          <cx:pt idx="40189">0</cx:pt>
          <cx:pt idx="40190">0</cx:pt>
          <cx:pt idx="40191">0</cx:pt>
          <cx:pt idx="40192">0</cx:pt>
          <cx:pt idx="40193">0</cx:pt>
          <cx:pt idx="40194">1</cx:pt>
          <cx:pt idx="40195">0</cx:pt>
          <cx:pt idx="40196">1</cx:pt>
          <cx:pt idx="40197">0</cx:pt>
          <cx:pt idx="40198">1</cx:pt>
          <cx:pt idx="40199">0</cx:pt>
          <cx:pt idx="40200">1</cx:pt>
          <cx:pt idx="40201">1</cx:pt>
          <cx:pt idx="40202">1</cx:pt>
          <cx:pt idx="40203">0</cx:pt>
          <cx:pt idx="40204">1</cx:pt>
          <cx:pt idx="40205">0</cx:pt>
          <cx:pt idx="40206">0</cx:pt>
          <cx:pt idx="40207">1</cx:pt>
          <cx:pt idx="40208">1</cx:pt>
          <cx:pt idx="40209">0</cx:pt>
          <cx:pt idx="40210">1</cx:pt>
          <cx:pt idx="40211">1</cx:pt>
          <cx:pt idx="40212">0</cx:pt>
          <cx:pt idx="40213">0</cx:pt>
          <cx:pt idx="40214">1</cx:pt>
          <cx:pt idx="40215">1</cx:pt>
          <cx:pt idx="40216">1</cx:pt>
          <cx:pt idx="40217">0</cx:pt>
          <cx:pt idx="40218">0</cx:pt>
          <cx:pt idx="40219">0</cx:pt>
          <cx:pt idx="40220">1</cx:pt>
          <cx:pt idx="40221">1</cx:pt>
          <cx:pt idx="40222">0</cx:pt>
          <cx:pt idx="40223">1</cx:pt>
          <cx:pt idx="40224">0</cx:pt>
          <cx:pt idx="40225">0</cx:pt>
          <cx:pt idx="40226">1</cx:pt>
          <cx:pt idx="40227">1</cx:pt>
          <cx:pt idx="40228">1</cx:pt>
          <cx:pt idx="40229">0</cx:pt>
          <cx:pt idx="40230">1</cx:pt>
          <cx:pt idx="40231">1</cx:pt>
          <cx:pt idx="40232">0</cx:pt>
          <cx:pt idx="40233">1</cx:pt>
          <cx:pt idx="40234">0</cx:pt>
          <cx:pt idx="40235">0</cx:pt>
          <cx:pt idx="40236">0</cx:pt>
          <cx:pt idx="40237">0</cx:pt>
          <cx:pt idx="40238">1</cx:pt>
          <cx:pt idx="40239">1</cx:pt>
          <cx:pt idx="40240">0</cx:pt>
          <cx:pt idx="40241">0</cx:pt>
          <cx:pt idx="40242">0</cx:pt>
          <cx:pt idx="40243">1</cx:pt>
          <cx:pt idx="40244">0</cx:pt>
          <cx:pt idx="40245">0</cx:pt>
          <cx:pt idx="40246">1</cx:pt>
          <cx:pt idx="40247">1</cx:pt>
          <cx:pt idx="40248">1</cx:pt>
          <cx:pt idx="40249">0</cx:pt>
          <cx:pt idx="40250">1</cx:pt>
          <cx:pt idx="40251">1</cx:pt>
          <cx:pt idx="40252">1</cx:pt>
          <cx:pt idx="40253">1</cx:pt>
          <cx:pt idx="40254">1</cx:pt>
          <cx:pt idx="40255">0</cx:pt>
          <cx:pt idx="40256">0</cx:pt>
          <cx:pt idx="40257">1</cx:pt>
          <cx:pt idx="40258">0</cx:pt>
          <cx:pt idx="40259">1</cx:pt>
          <cx:pt idx="40260">1</cx:pt>
          <cx:pt idx="40261">0</cx:pt>
          <cx:pt idx="40262">0</cx:pt>
          <cx:pt idx="40263">0</cx:pt>
          <cx:pt idx="40264">1</cx:pt>
          <cx:pt idx="40265">1</cx:pt>
          <cx:pt idx="40266">1</cx:pt>
          <cx:pt idx="40267">1</cx:pt>
          <cx:pt idx="40268">1</cx:pt>
          <cx:pt idx="40269">0</cx:pt>
          <cx:pt idx="40270">1</cx:pt>
          <cx:pt idx="40271">1</cx:pt>
          <cx:pt idx="40272">1</cx:pt>
          <cx:pt idx="40273">1</cx:pt>
          <cx:pt idx="40274">0</cx:pt>
          <cx:pt idx="40275">1</cx:pt>
          <cx:pt idx="40276">1</cx:pt>
          <cx:pt idx="40277">1</cx:pt>
          <cx:pt idx="40278">0</cx:pt>
          <cx:pt idx="40279">0</cx:pt>
          <cx:pt idx="40280">0</cx:pt>
          <cx:pt idx="40281">0</cx:pt>
          <cx:pt idx="40282">0</cx:pt>
          <cx:pt idx="40283">1</cx:pt>
          <cx:pt idx="40284">1</cx:pt>
          <cx:pt idx="40285">1</cx:pt>
          <cx:pt idx="40286">1</cx:pt>
          <cx:pt idx="40287">1</cx:pt>
          <cx:pt idx="40288">0</cx:pt>
          <cx:pt idx="40289">0</cx:pt>
          <cx:pt idx="40290">1</cx:pt>
          <cx:pt idx="40291">1</cx:pt>
          <cx:pt idx="40292">0</cx:pt>
          <cx:pt idx="40293">0</cx:pt>
          <cx:pt idx="40294">1</cx:pt>
          <cx:pt idx="40295">0</cx:pt>
          <cx:pt idx="40296">0</cx:pt>
          <cx:pt idx="40297">0</cx:pt>
          <cx:pt idx="40298">1</cx:pt>
          <cx:pt idx="40299">1</cx:pt>
          <cx:pt idx="40300">0</cx:pt>
          <cx:pt idx="40301">1</cx:pt>
          <cx:pt idx="40302">1</cx:pt>
          <cx:pt idx="40303">0</cx:pt>
          <cx:pt idx="40304">0</cx:pt>
          <cx:pt idx="40305">1</cx:pt>
          <cx:pt idx="40306">1</cx:pt>
          <cx:pt idx="40307">0</cx:pt>
          <cx:pt idx="40308">0</cx:pt>
          <cx:pt idx="40309">0</cx:pt>
          <cx:pt idx="40310">0</cx:pt>
          <cx:pt idx="40311">1</cx:pt>
          <cx:pt idx="40312">0</cx:pt>
          <cx:pt idx="40313">0</cx:pt>
          <cx:pt idx="40314">1</cx:pt>
          <cx:pt idx="40315">0</cx:pt>
          <cx:pt idx="40316">1</cx:pt>
          <cx:pt idx="40317">0</cx:pt>
          <cx:pt idx="40318">0</cx:pt>
          <cx:pt idx="40319">1</cx:pt>
          <cx:pt idx="40320">1</cx:pt>
          <cx:pt idx="40321">0</cx:pt>
          <cx:pt idx="40322">1</cx:pt>
          <cx:pt idx="40323">0</cx:pt>
          <cx:pt idx="40324">0</cx:pt>
          <cx:pt idx="40325">0</cx:pt>
          <cx:pt idx="40326">0</cx:pt>
          <cx:pt idx="40327">1</cx:pt>
          <cx:pt idx="40328">1</cx:pt>
          <cx:pt idx="40329">0</cx:pt>
          <cx:pt idx="40330">1</cx:pt>
          <cx:pt idx="40331">0</cx:pt>
          <cx:pt idx="40332">1</cx:pt>
          <cx:pt idx="40333">0</cx:pt>
          <cx:pt idx="40334">0</cx:pt>
          <cx:pt idx="40335">0</cx:pt>
          <cx:pt idx="40336">0</cx:pt>
          <cx:pt idx="40337">1</cx:pt>
          <cx:pt idx="40338">1</cx:pt>
          <cx:pt idx="40339">1</cx:pt>
          <cx:pt idx="40340">1</cx:pt>
          <cx:pt idx="40341">1</cx:pt>
          <cx:pt idx="40342">1</cx:pt>
          <cx:pt idx="40343">1</cx:pt>
          <cx:pt idx="40344">1</cx:pt>
          <cx:pt idx="40345">0</cx:pt>
          <cx:pt idx="40346">0</cx:pt>
          <cx:pt idx="40347">0</cx:pt>
          <cx:pt idx="40348">0</cx:pt>
          <cx:pt idx="40349">0</cx:pt>
          <cx:pt idx="40350">1</cx:pt>
          <cx:pt idx="40351">0</cx:pt>
          <cx:pt idx="40352">0</cx:pt>
          <cx:pt idx="40353">1</cx:pt>
          <cx:pt idx="40354">0</cx:pt>
          <cx:pt idx="40355">0</cx:pt>
          <cx:pt idx="40356">1</cx:pt>
          <cx:pt idx="40357">0</cx:pt>
          <cx:pt idx="40358">1</cx:pt>
          <cx:pt idx="40359">1</cx:pt>
          <cx:pt idx="40360">0</cx:pt>
          <cx:pt idx="40361">0</cx:pt>
          <cx:pt idx="40362">1</cx:pt>
          <cx:pt idx="40363">1</cx:pt>
          <cx:pt idx="40364">0</cx:pt>
          <cx:pt idx="40365">1</cx:pt>
          <cx:pt idx="40366">1</cx:pt>
          <cx:pt idx="40367">1</cx:pt>
          <cx:pt idx="40368">1</cx:pt>
          <cx:pt idx="40369">0</cx:pt>
          <cx:pt idx="40370">1</cx:pt>
          <cx:pt idx="40371">0</cx:pt>
          <cx:pt idx="40372">1</cx:pt>
          <cx:pt idx="40373">1</cx:pt>
          <cx:pt idx="40374">0</cx:pt>
          <cx:pt idx="40375">0</cx:pt>
          <cx:pt idx="40376">1</cx:pt>
          <cx:pt idx="40377">0</cx:pt>
          <cx:pt idx="40378">1</cx:pt>
          <cx:pt idx="40379">0</cx:pt>
          <cx:pt idx="40380">0</cx:pt>
          <cx:pt idx="40381">0</cx:pt>
          <cx:pt idx="40382">1</cx:pt>
          <cx:pt idx="40383">0</cx:pt>
          <cx:pt idx="40384">1</cx:pt>
          <cx:pt idx="40385">0</cx:pt>
          <cx:pt idx="40386">0</cx:pt>
          <cx:pt idx="40387">0</cx:pt>
          <cx:pt idx="40388">1</cx:pt>
          <cx:pt idx="40389">0</cx:pt>
          <cx:pt idx="40390">1</cx:pt>
          <cx:pt idx="40391">1</cx:pt>
          <cx:pt idx="40392">0</cx:pt>
          <cx:pt idx="40393">1</cx:pt>
          <cx:pt idx="40394">0</cx:pt>
          <cx:pt idx="40395">1</cx:pt>
          <cx:pt idx="40396">1</cx:pt>
          <cx:pt idx="40397">1</cx:pt>
          <cx:pt idx="40398">0</cx:pt>
          <cx:pt idx="40399">1</cx:pt>
          <cx:pt idx="40400">0</cx:pt>
          <cx:pt idx="40401">1</cx:pt>
          <cx:pt idx="40402">0</cx:pt>
          <cx:pt idx="40403">1</cx:pt>
          <cx:pt idx="40404">1</cx:pt>
          <cx:pt idx="40405">0</cx:pt>
          <cx:pt idx="40406">0</cx:pt>
          <cx:pt idx="40407">0</cx:pt>
          <cx:pt idx="40408">0</cx:pt>
          <cx:pt idx="40409">0</cx:pt>
          <cx:pt idx="40410">1</cx:pt>
          <cx:pt idx="40411">1</cx:pt>
          <cx:pt idx="40412">0</cx:pt>
          <cx:pt idx="40413">1</cx:pt>
          <cx:pt idx="40414">0</cx:pt>
          <cx:pt idx="40415">1</cx:pt>
          <cx:pt idx="40416">0</cx:pt>
          <cx:pt idx="40417">0</cx:pt>
          <cx:pt idx="40418">1</cx:pt>
          <cx:pt idx="40419">0</cx:pt>
          <cx:pt idx="40420">0</cx:pt>
          <cx:pt idx="40421">0</cx:pt>
          <cx:pt idx="40422">0</cx:pt>
          <cx:pt idx="40423">0</cx:pt>
          <cx:pt idx="40424">0</cx:pt>
          <cx:pt idx="40425">1</cx:pt>
          <cx:pt idx="40426">0</cx:pt>
          <cx:pt idx="40427">1</cx:pt>
          <cx:pt idx="40428">1</cx:pt>
          <cx:pt idx="40429">0</cx:pt>
          <cx:pt idx="40430">0</cx:pt>
          <cx:pt idx="40431">1</cx:pt>
          <cx:pt idx="40432">0</cx:pt>
          <cx:pt idx="40433">0</cx:pt>
          <cx:pt idx="40434">0</cx:pt>
          <cx:pt idx="40435">1</cx:pt>
          <cx:pt idx="40436">1</cx:pt>
          <cx:pt idx="40437">1</cx:pt>
          <cx:pt idx="40438">0</cx:pt>
          <cx:pt idx="40439">0</cx:pt>
          <cx:pt idx="40440">1</cx:pt>
          <cx:pt idx="40441">0</cx:pt>
          <cx:pt idx="40442">0</cx:pt>
          <cx:pt idx="40443">0</cx:pt>
          <cx:pt idx="40444">0</cx:pt>
          <cx:pt idx="40445">0</cx:pt>
          <cx:pt idx="40446">1</cx:pt>
          <cx:pt idx="40447">0</cx:pt>
          <cx:pt idx="40448">0</cx:pt>
          <cx:pt idx="40449">1</cx:pt>
          <cx:pt idx="40450">0</cx:pt>
          <cx:pt idx="40451">0</cx:pt>
          <cx:pt idx="40452">1</cx:pt>
          <cx:pt idx="40453">1</cx:pt>
          <cx:pt idx="40454">1</cx:pt>
          <cx:pt idx="40455">0</cx:pt>
          <cx:pt idx="40456">0</cx:pt>
          <cx:pt idx="40457">0</cx:pt>
          <cx:pt idx="40458">1</cx:pt>
          <cx:pt idx="40459">0</cx:pt>
          <cx:pt idx="40460">0</cx:pt>
          <cx:pt idx="40461">0</cx:pt>
          <cx:pt idx="40462">0</cx:pt>
          <cx:pt idx="40463">1</cx:pt>
          <cx:pt idx="40464">0</cx:pt>
          <cx:pt idx="40465">0</cx:pt>
          <cx:pt idx="40466">0</cx:pt>
          <cx:pt idx="40467">0</cx:pt>
          <cx:pt idx="40468">0</cx:pt>
          <cx:pt idx="40469">0</cx:pt>
          <cx:pt idx="40470">0</cx:pt>
          <cx:pt idx="40471">0</cx:pt>
          <cx:pt idx="40472">1</cx:pt>
          <cx:pt idx="40473">0</cx:pt>
          <cx:pt idx="40474">0</cx:pt>
          <cx:pt idx="40475">1</cx:pt>
          <cx:pt idx="40476">0</cx:pt>
          <cx:pt idx="40477">1</cx:pt>
          <cx:pt idx="40478">0</cx:pt>
          <cx:pt idx="40479">1</cx:pt>
          <cx:pt idx="40480">1</cx:pt>
          <cx:pt idx="40481">1</cx:pt>
          <cx:pt idx="40482">0</cx:pt>
          <cx:pt idx="40483">1</cx:pt>
          <cx:pt idx="40484">1</cx:pt>
          <cx:pt idx="40485">0</cx:pt>
          <cx:pt idx="40486">0</cx:pt>
          <cx:pt idx="40487">1</cx:pt>
          <cx:pt idx="40488">0</cx:pt>
          <cx:pt idx="40489">1</cx:pt>
          <cx:pt idx="40490">1</cx:pt>
          <cx:pt idx="40491">1</cx:pt>
          <cx:pt idx="40492">0</cx:pt>
          <cx:pt idx="40493">0</cx:pt>
          <cx:pt idx="40494">0</cx:pt>
          <cx:pt idx="40495">1</cx:pt>
          <cx:pt idx="40496">1</cx:pt>
          <cx:pt idx="40497">1</cx:pt>
          <cx:pt idx="40498">1</cx:pt>
          <cx:pt idx="40499">0</cx:pt>
          <cx:pt idx="40500">0</cx:pt>
          <cx:pt idx="40501">0</cx:pt>
          <cx:pt idx="40502">0</cx:pt>
          <cx:pt idx="40503">0</cx:pt>
          <cx:pt idx="40504">0</cx:pt>
          <cx:pt idx="40505">0</cx:pt>
          <cx:pt idx="40506">0</cx:pt>
          <cx:pt idx="40507">1</cx:pt>
          <cx:pt idx="40508">0</cx:pt>
          <cx:pt idx="40509">0</cx:pt>
          <cx:pt idx="40510">0</cx:pt>
          <cx:pt idx="40511">0</cx:pt>
          <cx:pt idx="40512">0</cx:pt>
          <cx:pt idx="40513">0</cx:pt>
          <cx:pt idx="40514">1</cx:pt>
          <cx:pt idx="40515">0</cx:pt>
          <cx:pt idx="40516">0</cx:pt>
          <cx:pt idx="40517">0</cx:pt>
          <cx:pt idx="40518">1</cx:pt>
          <cx:pt idx="40519">1</cx:pt>
          <cx:pt idx="40520">1</cx:pt>
          <cx:pt idx="40521">1</cx:pt>
          <cx:pt idx="40522">0</cx:pt>
          <cx:pt idx="40523">1</cx:pt>
          <cx:pt idx="40524">1</cx:pt>
          <cx:pt idx="40525">0</cx:pt>
          <cx:pt idx="40526">0</cx:pt>
          <cx:pt idx="40527">0</cx:pt>
          <cx:pt idx="40528">1</cx:pt>
          <cx:pt idx="40529">0</cx:pt>
          <cx:pt idx="40530">0</cx:pt>
          <cx:pt idx="40531">1</cx:pt>
          <cx:pt idx="40532">0</cx:pt>
          <cx:pt idx="40533">0</cx:pt>
          <cx:pt idx="40534">0</cx:pt>
          <cx:pt idx="40535">0</cx:pt>
          <cx:pt idx="40536">1</cx:pt>
          <cx:pt idx="40537">1</cx:pt>
          <cx:pt idx="40538">0</cx:pt>
          <cx:pt idx="40539">0</cx:pt>
          <cx:pt idx="40540">0</cx:pt>
          <cx:pt idx="40541">0</cx:pt>
          <cx:pt idx="40542">0</cx:pt>
          <cx:pt idx="40543">0</cx:pt>
          <cx:pt idx="40544">0</cx:pt>
          <cx:pt idx="40545">1</cx:pt>
          <cx:pt idx="40546">0</cx:pt>
          <cx:pt idx="40547">1</cx:pt>
          <cx:pt idx="40548">0</cx:pt>
          <cx:pt idx="40549">0</cx:pt>
          <cx:pt idx="40550">0</cx:pt>
          <cx:pt idx="40551">1</cx:pt>
          <cx:pt idx="40552">1</cx:pt>
          <cx:pt idx="40553">0</cx:pt>
          <cx:pt idx="40554">1</cx:pt>
          <cx:pt idx="40555">0</cx:pt>
          <cx:pt idx="40556">0</cx:pt>
          <cx:pt idx="40557">0</cx:pt>
          <cx:pt idx="40558">0</cx:pt>
          <cx:pt idx="40559">1</cx:pt>
          <cx:pt idx="40560">0</cx:pt>
          <cx:pt idx="40561">0</cx:pt>
          <cx:pt idx="40562">1</cx:pt>
          <cx:pt idx="40563">1</cx:pt>
          <cx:pt idx="40564">0</cx:pt>
          <cx:pt idx="40565">0</cx:pt>
          <cx:pt idx="40566">1</cx:pt>
          <cx:pt idx="40567">0</cx:pt>
          <cx:pt idx="40568">1</cx:pt>
          <cx:pt idx="40569">0</cx:pt>
          <cx:pt idx="40570">0</cx:pt>
          <cx:pt idx="40571">0</cx:pt>
          <cx:pt idx="40572">0</cx:pt>
          <cx:pt idx="40573">1</cx:pt>
          <cx:pt idx="40574">1</cx:pt>
          <cx:pt idx="40575">0</cx:pt>
          <cx:pt idx="40576">1</cx:pt>
          <cx:pt idx="40577">1</cx:pt>
          <cx:pt idx="40578">0</cx:pt>
          <cx:pt idx="40579">1</cx:pt>
          <cx:pt idx="40580">0</cx:pt>
          <cx:pt idx="40581">0</cx:pt>
          <cx:pt idx="40582">0</cx:pt>
          <cx:pt idx="40583">1</cx:pt>
          <cx:pt idx="40584">1</cx:pt>
          <cx:pt idx="40585">0</cx:pt>
          <cx:pt idx="40586">1</cx:pt>
          <cx:pt idx="40587">0</cx:pt>
          <cx:pt idx="40588">0</cx:pt>
          <cx:pt idx="40589">1</cx:pt>
          <cx:pt idx="40590">1</cx:pt>
          <cx:pt idx="40591">0</cx:pt>
          <cx:pt idx="40592">0</cx:pt>
          <cx:pt idx="40593">1</cx:pt>
          <cx:pt idx="40594">1</cx:pt>
          <cx:pt idx="40595">0</cx:pt>
          <cx:pt idx="40596">0</cx:pt>
          <cx:pt idx="40597">1</cx:pt>
          <cx:pt idx="40598">1</cx:pt>
          <cx:pt idx="40599">0</cx:pt>
          <cx:pt idx="40600">1</cx:pt>
          <cx:pt idx="40601">0</cx:pt>
          <cx:pt idx="40602">1</cx:pt>
          <cx:pt idx="40603">1</cx:pt>
          <cx:pt idx="40604">1</cx:pt>
          <cx:pt idx="40605">1</cx:pt>
          <cx:pt idx="40606">1</cx:pt>
          <cx:pt idx="40607">0</cx:pt>
          <cx:pt idx="40608">1</cx:pt>
          <cx:pt idx="40609">0</cx:pt>
          <cx:pt idx="40610">0</cx:pt>
          <cx:pt idx="40611">1</cx:pt>
          <cx:pt idx="40612">0</cx:pt>
          <cx:pt idx="40613">1</cx:pt>
          <cx:pt idx="40614">0</cx:pt>
          <cx:pt idx="40615">1</cx:pt>
          <cx:pt idx="40616">0</cx:pt>
          <cx:pt idx="40617">0</cx:pt>
          <cx:pt idx="40618">1</cx:pt>
          <cx:pt idx="40619">0</cx:pt>
          <cx:pt idx="40620">0</cx:pt>
          <cx:pt idx="40621">1</cx:pt>
          <cx:pt idx="40622">0</cx:pt>
          <cx:pt idx="40623">0</cx:pt>
          <cx:pt idx="40624">1</cx:pt>
          <cx:pt idx="40625">1</cx:pt>
          <cx:pt idx="40626">1</cx:pt>
          <cx:pt idx="40627">0</cx:pt>
          <cx:pt idx="40628">1</cx:pt>
          <cx:pt idx="40629">1</cx:pt>
          <cx:pt idx="40630">1</cx:pt>
          <cx:pt idx="40631">0</cx:pt>
          <cx:pt idx="40632">1</cx:pt>
          <cx:pt idx="40633">0</cx:pt>
          <cx:pt idx="40634">1</cx:pt>
          <cx:pt idx="40635">0</cx:pt>
          <cx:pt idx="40636">1</cx:pt>
          <cx:pt idx="40637">1</cx:pt>
          <cx:pt idx="40638">0</cx:pt>
          <cx:pt idx="40639">0</cx:pt>
          <cx:pt idx="40640">0</cx:pt>
          <cx:pt idx="40641">0</cx:pt>
          <cx:pt idx="40642">0</cx:pt>
          <cx:pt idx="40643">1</cx:pt>
          <cx:pt idx="40644">1</cx:pt>
          <cx:pt idx="40645">0</cx:pt>
          <cx:pt idx="40646">0</cx:pt>
          <cx:pt idx="40647">0</cx:pt>
          <cx:pt idx="40648">0</cx:pt>
          <cx:pt idx="40649">0</cx:pt>
          <cx:pt idx="40650">1</cx:pt>
          <cx:pt idx="40651">0</cx:pt>
          <cx:pt idx="40652">1</cx:pt>
          <cx:pt idx="40653">1</cx:pt>
          <cx:pt idx="40654">1</cx:pt>
          <cx:pt idx="40655">0</cx:pt>
          <cx:pt idx="40656">1</cx:pt>
          <cx:pt idx="40657">0</cx:pt>
          <cx:pt idx="40658">1</cx:pt>
          <cx:pt idx="40659">1</cx:pt>
          <cx:pt idx="40660">0</cx:pt>
          <cx:pt idx="40661">0</cx:pt>
          <cx:pt idx="40662">0</cx:pt>
          <cx:pt idx="40663">1</cx:pt>
          <cx:pt idx="40664">1</cx:pt>
          <cx:pt idx="40665">0</cx:pt>
          <cx:pt idx="40666">1</cx:pt>
          <cx:pt idx="40667">1</cx:pt>
          <cx:pt idx="40668">1</cx:pt>
          <cx:pt idx="40669">1</cx:pt>
          <cx:pt idx="40670">0</cx:pt>
          <cx:pt idx="40671">0</cx:pt>
          <cx:pt idx="40672">1</cx:pt>
          <cx:pt idx="40673">1</cx:pt>
          <cx:pt idx="40674">1</cx:pt>
          <cx:pt idx="40675">0</cx:pt>
          <cx:pt idx="40676">0</cx:pt>
          <cx:pt idx="40677">0</cx:pt>
          <cx:pt idx="40678">1</cx:pt>
          <cx:pt idx="40679">1</cx:pt>
          <cx:pt idx="40680">0</cx:pt>
          <cx:pt idx="40681">1</cx:pt>
          <cx:pt idx="40682">0</cx:pt>
          <cx:pt idx="40683">1</cx:pt>
          <cx:pt idx="40684">1</cx:pt>
          <cx:pt idx="40685">0</cx:pt>
          <cx:pt idx="40686">0</cx:pt>
          <cx:pt idx="40687">0</cx:pt>
          <cx:pt idx="40688">0</cx:pt>
          <cx:pt idx="40689">0</cx:pt>
          <cx:pt idx="40690">0</cx:pt>
          <cx:pt idx="40691">1</cx:pt>
          <cx:pt idx="40692">0</cx:pt>
          <cx:pt idx="40693">1</cx:pt>
          <cx:pt idx="40694">1</cx:pt>
          <cx:pt idx="40695">0</cx:pt>
          <cx:pt idx="40696">1</cx:pt>
          <cx:pt idx="40697">1</cx:pt>
          <cx:pt idx="40698">0</cx:pt>
          <cx:pt idx="40699">1</cx:pt>
          <cx:pt idx="40700">0</cx:pt>
          <cx:pt idx="40701">1</cx:pt>
          <cx:pt idx="40702">0</cx:pt>
          <cx:pt idx="40703">0</cx:pt>
          <cx:pt idx="40704">0</cx:pt>
          <cx:pt idx="40705">0</cx:pt>
          <cx:pt idx="40706">1</cx:pt>
          <cx:pt idx="40707">0</cx:pt>
          <cx:pt idx="40708">1</cx:pt>
          <cx:pt idx="40709">1</cx:pt>
          <cx:pt idx="40710">1</cx:pt>
          <cx:pt idx="40711">0</cx:pt>
          <cx:pt idx="40712">0</cx:pt>
          <cx:pt idx="40713">0</cx:pt>
          <cx:pt idx="40714">1</cx:pt>
          <cx:pt idx="40715">0</cx:pt>
          <cx:pt idx="40716">0</cx:pt>
          <cx:pt idx="40717">1</cx:pt>
          <cx:pt idx="40718">0</cx:pt>
          <cx:pt idx="40719">1</cx:pt>
          <cx:pt idx="40720">0</cx:pt>
          <cx:pt idx="40721">1</cx:pt>
          <cx:pt idx="40722">1</cx:pt>
          <cx:pt idx="40723">1</cx:pt>
          <cx:pt idx="40724">0</cx:pt>
          <cx:pt idx="40725">0</cx:pt>
          <cx:pt idx="40726">0</cx:pt>
          <cx:pt idx="40727">1</cx:pt>
          <cx:pt idx="40728">1</cx:pt>
          <cx:pt idx="40729">0</cx:pt>
          <cx:pt idx="40730">1</cx:pt>
          <cx:pt idx="40731">0</cx:pt>
          <cx:pt idx="40732">0</cx:pt>
          <cx:pt idx="40733">0</cx:pt>
          <cx:pt idx="40734">1</cx:pt>
          <cx:pt idx="40735">1</cx:pt>
          <cx:pt idx="40736">1</cx:pt>
          <cx:pt idx="40737">0</cx:pt>
          <cx:pt idx="40738">0</cx:pt>
          <cx:pt idx="40739">1</cx:pt>
          <cx:pt idx="40740">0</cx:pt>
          <cx:pt idx="40741">1</cx:pt>
          <cx:pt idx="40742">0</cx:pt>
          <cx:pt idx="40743">1</cx:pt>
          <cx:pt idx="40744">1</cx:pt>
          <cx:pt idx="40745">1</cx:pt>
          <cx:pt idx="40746">0</cx:pt>
          <cx:pt idx="40747">1</cx:pt>
          <cx:pt idx="40748">1</cx:pt>
          <cx:pt idx="40749">1</cx:pt>
          <cx:pt idx="40750">0</cx:pt>
          <cx:pt idx="40751">1</cx:pt>
          <cx:pt idx="40752">0</cx:pt>
          <cx:pt idx="40753">0</cx:pt>
          <cx:pt idx="40754">0</cx:pt>
          <cx:pt idx="40755">1</cx:pt>
          <cx:pt idx="40756">1</cx:pt>
          <cx:pt idx="40757">1</cx:pt>
          <cx:pt idx="40758">0</cx:pt>
          <cx:pt idx="40759">0</cx:pt>
          <cx:pt idx="40760">0</cx:pt>
          <cx:pt idx="40761">1</cx:pt>
          <cx:pt idx="40762">1</cx:pt>
          <cx:pt idx="40763">0</cx:pt>
          <cx:pt idx="40764">0</cx:pt>
          <cx:pt idx="40765">0</cx:pt>
          <cx:pt idx="40766">1</cx:pt>
          <cx:pt idx="40767">0</cx:pt>
          <cx:pt idx="40768">1</cx:pt>
          <cx:pt idx="40769">0</cx:pt>
          <cx:pt idx="40770">0</cx:pt>
          <cx:pt idx="40771">1</cx:pt>
          <cx:pt idx="40772">1</cx:pt>
          <cx:pt idx="40773">0</cx:pt>
          <cx:pt idx="40774">0</cx:pt>
          <cx:pt idx="40775">1</cx:pt>
          <cx:pt idx="40776">1</cx:pt>
          <cx:pt idx="40777">1</cx:pt>
          <cx:pt idx="40778">1</cx:pt>
          <cx:pt idx="40779">0</cx:pt>
          <cx:pt idx="40780">0</cx:pt>
          <cx:pt idx="40781">0</cx:pt>
          <cx:pt idx="40782">1</cx:pt>
          <cx:pt idx="40783">1</cx:pt>
          <cx:pt idx="40784">1</cx:pt>
          <cx:pt idx="40785">1</cx:pt>
          <cx:pt idx="40786">0</cx:pt>
          <cx:pt idx="40787">0</cx:pt>
          <cx:pt idx="40788">0</cx:pt>
          <cx:pt idx="40789">0</cx:pt>
          <cx:pt idx="40790">1</cx:pt>
          <cx:pt idx="40791">1</cx:pt>
          <cx:pt idx="40792">1</cx:pt>
          <cx:pt idx="40793">0</cx:pt>
          <cx:pt idx="40794">1</cx:pt>
          <cx:pt idx="40795">1</cx:pt>
          <cx:pt idx="40796">1</cx:pt>
          <cx:pt idx="40797">1</cx:pt>
          <cx:pt idx="40798">0</cx:pt>
          <cx:pt idx="40799">1</cx:pt>
          <cx:pt idx="40800">0</cx:pt>
          <cx:pt idx="40801">1</cx:pt>
          <cx:pt idx="40802">0</cx:pt>
          <cx:pt idx="40803">1</cx:pt>
          <cx:pt idx="40804">1</cx:pt>
          <cx:pt idx="40805">0</cx:pt>
          <cx:pt idx="40806">1</cx:pt>
          <cx:pt idx="40807">0</cx:pt>
          <cx:pt idx="40808">1</cx:pt>
          <cx:pt idx="40809">1</cx:pt>
          <cx:pt idx="40810">1</cx:pt>
          <cx:pt idx="40811">0</cx:pt>
          <cx:pt idx="40812">0</cx:pt>
          <cx:pt idx="40813">0</cx:pt>
          <cx:pt idx="40814">0</cx:pt>
          <cx:pt idx="40815">0</cx:pt>
          <cx:pt idx="40816">1</cx:pt>
          <cx:pt idx="40817">1</cx:pt>
          <cx:pt idx="40818">0</cx:pt>
          <cx:pt idx="40819">1</cx:pt>
          <cx:pt idx="40820">0</cx:pt>
          <cx:pt idx="40821">0</cx:pt>
          <cx:pt idx="40822">1</cx:pt>
          <cx:pt idx="40823">0</cx:pt>
          <cx:pt idx="40824">1</cx:pt>
          <cx:pt idx="40825">0</cx:pt>
          <cx:pt idx="40826">0</cx:pt>
          <cx:pt idx="40827">1</cx:pt>
          <cx:pt idx="40828">0</cx:pt>
          <cx:pt idx="40829">1</cx:pt>
          <cx:pt idx="40830">0</cx:pt>
          <cx:pt idx="40831">1</cx:pt>
          <cx:pt idx="40832">1</cx:pt>
          <cx:pt idx="40833">1</cx:pt>
          <cx:pt idx="40834">0</cx:pt>
          <cx:pt idx="40835">0</cx:pt>
          <cx:pt idx="40836">0</cx:pt>
          <cx:pt idx="40837">0</cx:pt>
          <cx:pt idx="40838">1</cx:pt>
          <cx:pt idx="40839">0</cx:pt>
          <cx:pt idx="40840">0</cx:pt>
          <cx:pt idx="40841">0</cx:pt>
          <cx:pt idx="40842">0</cx:pt>
          <cx:pt idx="40843">0</cx:pt>
          <cx:pt idx="40844">1</cx:pt>
          <cx:pt idx="40845">0</cx:pt>
          <cx:pt idx="40846">1</cx:pt>
          <cx:pt idx="40847">1</cx:pt>
          <cx:pt idx="40848">1</cx:pt>
          <cx:pt idx="40849">1</cx:pt>
          <cx:pt idx="40850">0</cx:pt>
          <cx:pt idx="40851">1</cx:pt>
          <cx:pt idx="40852">1</cx:pt>
          <cx:pt idx="40853">1</cx:pt>
          <cx:pt idx="40854">1</cx:pt>
          <cx:pt idx="40855">1</cx:pt>
          <cx:pt idx="40856">0</cx:pt>
          <cx:pt idx="40857">0</cx:pt>
          <cx:pt idx="40858">1</cx:pt>
          <cx:pt idx="40859">0</cx:pt>
          <cx:pt idx="40860">1</cx:pt>
          <cx:pt idx="40861">1</cx:pt>
          <cx:pt idx="40862">0</cx:pt>
          <cx:pt idx="40863">0</cx:pt>
          <cx:pt idx="40864">1</cx:pt>
          <cx:pt idx="40865">0</cx:pt>
          <cx:pt idx="40866">0</cx:pt>
          <cx:pt idx="40867">1</cx:pt>
          <cx:pt idx="40868">1</cx:pt>
          <cx:pt idx="40869">0</cx:pt>
          <cx:pt idx="40870">1</cx:pt>
          <cx:pt idx="40871">0</cx:pt>
          <cx:pt idx="40872">0</cx:pt>
          <cx:pt idx="40873">0</cx:pt>
          <cx:pt idx="40874">1</cx:pt>
          <cx:pt idx="40875">0</cx:pt>
          <cx:pt idx="40876">0</cx:pt>
          <cx:pt idx="40877">1</cx:pt>
          <cx:pt idx="40878">0</cx:pt>
          <cx:pt idx="40879">1</cx:pt>
          <cx:pt idx="40880">1</cx:pt>
          <cx:pt idx="40881">0</cx:pt>
          <cx:pt idx="40882">1</cx:pt>
          <cx:pt idx="40883">0</cx:pt>
          <cx:pt idx="40884">1</cx:pt>
          <cx:pt idx="40885">0</cx:pt>
          <cx:pt idx="40886">1</cx:pt>
          <cx:pt idx="40887">1</cx:pt>
          <cx:pt idx="40888">1</cx:pt>
          <cx:pt idx="40889">0</cx:pt>
          <cx:pt idx="40890">0</cx:pt>
          <cx:pt idx="40891">1</cx:pt>
          <cx:pt idx="40892">1</cx:pt>
          <cx:pt idx="40893">0</cx:pt>
          <cx:pt idx="40894">0</cx:pt>
          <cx:pt idx="40895">1</cx:pt>
          <cx:pt idx="40896">0</cx:pt>
          <cx:pt idx="40897">1</cx:pt>
          <cx:pt idx="40898">0</cx:pt>
          <cx:pt idx="40899">0</cx:pt>
          <cx:pt idx="40900">0</cx:pt>
          <cx:pt idx="40901">0</cx:pt>
          <cx:pt idx="40902">1</cx:pt>
          <cx:pt idx="40903">0</cx:pt>
          <cx:pt idx="40904">1</cx:pt>
          <cx:pt idx="40905">1</cx:pt>
          <cx:pt idx="40906">1</cx:pt>
          <cx:pt idx="40907">0</cx:pt>
          <cx:pt idx="40908">0</cx:pt>
          <cx:pt idx="40909">0</cx:pt>
          <cx:pt idx="40910">0</cx:pt>
          <cx:pt idx="40911">0</cx:pt>
          <cx:pt idx="40912">0</cx:pt>
          <cx:pt idx="40913">1</cx:pt>
          <cx:pt idx="40914">0</cx:pt>
          <cx:pt idx="40915">1</cx:pt>
          <cx:pt idx="40916">0</cx:pt>
          <cx:pt idx="40917">0</cx:pt>
          <cx:pt idx="40918">1</cx:pt>
          <cx:pt idx="40919">1</cx:pt>
          <cx:pt idx="40920">1</cx:pt>
          <cx:pt idx="40921">0</cx:pt>
          <cx:pt idx="40922">0</cx:pt>
          <cx:pt idx="40923">0</cx:pt>
          <cx:pt idx="40924">1</cx:pt>
          <cx:pt idx="40925">0</cx:pt>
          <cx:pt idx="40926">0</cx:pt>
          <cx:pt idx="40927">0</cx:pt>
          <cx:pt idx="40928">0</cx:pt>
          <cx:pt idx="40929">1</cx:pt>
          <cx:pt idx="40930">0</cx:pt>
          <cx:pt idx="40931">1</cx:pt>
          <cx:pt idx="40932">1</cx:pt>
          <cx:pt idx="40933">1</cx:pt>
          <cx:pt idx="40934">0</cx:pt>
          <cx:pt idx="40935">1</cx:pt>
          <cx:pt idx="40936">0</cx:pt>
          <cx:pt idx="40937">1</cx:pt>
          <cx:pt idx="40938">0</cx:pt>
          <cx:pt idx="40939">0</cx:pt>
          <cx:pt idx="40940">0</cx:pt>
          <cx:pt idx="40941">0</cx:pt>
          <cx:pt idx="40942">0</cx:pt>
          <cx:pt idx="40943">1</cx:pt>
          <cx:pt idx="40944">0</cx:pt>
          <cx:pt idx="40945">1</cx:pt>
          <cx:pt idx="40946">1</cx:pt>
          <cx:pt idx="40947">0</cx:pt>
          <cx:pt idx="40948">0</cx:pt>
          <cx:pt idx="40949">0</cx:pt>
          <cx:pt idx="40950">0</cx:pt>
          <cx:pt idx="40951">1</cx:pt>
          <cx:pt idx="40952">0</cx:pt>
          <cx:pt idx="40953">0</cx:pt>
          <cx:pt idx="40954">0</cx:pt>
          <cx:pt idx="40955">0</cx:pt>
          <cx:pt idx="40956">1</cx:pt>
          <cx:pt idx="40957">0</cx:pt>
          <cx:pt idx="40958">0</cx:pt>
          <cx:pt idx="40959">1</cx:pt>
          <cx:pt idx="40960">0</cx:pt>
          <cx:pt idx="40961">0</cx:pt>
          <cx:pt idx="40962">1</cx:pt>
          <cx:pt idx="40963">0</cx:pt>
          <cx:pt idx="40964">1</cx:pt>
          <cx:pt idx="40965">0</cx:pt>
          <cx:pt idx="40966">0</cx:pt>
          <cx:pt idx="40967">0</cx:pt>
          <cx:pt idx="40968">1</cx:pt>
          <cx:pt idx="40969">0</cx:pt>
          <cx:pt idx="40970">0</cx:pt>
          <cx:pt idx="40971">0</cx:pt>
          <cx:pt idx="40972">0</cx:pt>
          <cx:pt idx="40973">0</cx:pt>
          <cx:pt idx="40974">1</cx:pt>
          <cx:pt idx="40975">0</cx:pt>
          <cx:pt idx="40976">0</cx:pt>
          <cx:pt idx="40977">0</cx:pt>
          <cx:pt idx="40978">0</cx:pt>
          <cx:pt idx="40979">0</cx:pt>
          <cx:pt idx="40980">1</cx:pt>
          <cx:pt idx="40981">1</cx:pt>
          <cx:pt idx="40982">0</cx:pt>
          <cx:pt idx="40983">0</cx:pt>
          <cx:pt idx="40984">0</cx:pt>
          <cx:pt idx="40985">1</cx:pt>
          <cx:pt idx="40986">0</cx:pt>
          <cx:pt idx="40987">1</cx:pt>
          <cx:pt idx="40988">0</cx:pt>
          <cx:pt idx="40989">1</cx:pt>
          <cx:pt idx="40990">1</cx:pt>
          <cx:pt idx="40991">0</cx:pt>
          <cx:pt idx="40992">0</cx:pt>
          <cx:pt idx="40993">1</cx:pt>
          <cx:pt idx="40994">0</cx:pt>
          <cx:pt idx="40995">0</cx:pt>
          <cx:pt idx="40996">0</cx:pt>
          <cx:pt idx="40997">1</cx:pt>
          <cx:pt idx="40998">0</cx:pt>
          <cx:pt idx="40999">0</cx:pt>
          <cx:pt idx="41000">0</cx:pt>
          <cx:pt idx="41001">0</cx:pt>
          <cx:pt idx="41002">0</cx:pt>
          <cx:pt idx="41003">0</cx:pt>
          <cx:pt idx="41004">0</cx:pt>
          <cx:pt idx="41005">0</cx:pt>
          <cx:pt idx="41006">1</cx:pt>
          <cx:pt idx="41007">1</cx:pt>
          <cx:pt idx="41008">0</cx:pt>
          <cx:pt idx="41009">1</cx:pt>
          <cx:pt idx="41010">1</cx:pt>
          <cx:pt idx="41011">0</cx:pt>
          <cx:pt idx="41012">1</cx:pt>
          <cx:pt idx="41013">0</cx:pt>
          <cx:pt idx="41014">1</cx:pt>
          <cx:pt idx="41015">0</cx:pt>
          <cx:pt idx="41016">0</cx:pt>
          <cx:pt idx="41017">1</cx:pt>
          <cx:pt idx="41018">1</cx:pt>
          <cx:pt idx="41019">0</cx:pt>
          <cx:pt idx="41020">0</cx:pt>
          <cx:pt idx="41021">1</cx:pt>
          <cx:pt idx="41022">1</cx:pt>
          <cx:pt idx="41023">1</cx:pt>
          <cx:pt idx="41024">1</cx:pt>
          <cx:pt idx="41025">1</cx:pt>
          <cx:pt idx="41026">0</cx:pt>
          <cx:pt idx="41027">0</cx:pt>
          <cx:pt idx="41028">1</cx:pt>
          <cx:pt idx="41029">0</cx:pt>
          <cx:pt idx="41030">0</cx:pt>
          <cx:pt idx="41031">0</cx:pt>
          <cx:pt idx="41032">0</cx:pt>
          <cx:pt idx="41033">1</cx:pt>
          <cx:pt idx="41034">1</cx:pt>
          <cx:pt idx="41035">0</cx:pt>
          <cx:pt idx="41036">0</cx:pt>
          <cx:pt idx="41037">1</cx:pt>
          <cx:pt idx="41038">1</cx:pt>
          <cx:pt idx="41039">0</cx:pt>
          <cx:pt idx="41040">0</cx:pt>
          <cx:pt idx="41041">1</cx:pt>
          <cx:pt idx="41042">1</cx:pt>
          <cx:pt idx="41043">1</cx:pt>
          <cx:pt idx="41044">0</cx:pt>
          <cx:pt idx="41045">0</cx:pt>
          <cx:pt idx="41046">1</cx:pt>
          <cx:pt idx="41047">1</cx:pt>
          <cx:pt idx="41048">1</cx:pt>
          <cx:pt idx="41049">1</cx:pt>
          <cx:pt idx="41050">1</cx:pt>
          <cx:pt idx="41051">0</cx:pt>
          <cx:pt idx="41052">1</cx:pt>
          <cx:pt idx="41053">0</cx:pt>
          <cx:pt idx="41054">1</cx:pt>
          <cx:pt idx="41055">0</cx:pt>
          <cx:pt idx="41056">1</cx:pt>
          <cx:pt idx="41057">1</cx:pt>
          <cx:pt idx="41058">0</cx:pt>
          <cx:pt idx="41059">0</cx:pt>
          <cx:pt idx="41060">1</cx:pt>
          <cx:pt idx="41061">0</cx:pt>
          <cx:pt idx="41062">0</cx:pt>
          <cx:pt idx="41063">0</cx:pt>
          <cx:pt idx="41064">0</cx:pt>
          <cx:pt idx="41065">1</cx:pt>
          <cx:pt idx="41066">0</cx:pt>
          <cx:pt idx="41067">0</cx:pt>
          <cx:pt idx="41068">0</cx:pt>
          <cx:pt idx="41069">0</cx:pt>
          <cx:pt idx="41070">0</cx:pt>
          <cx:pt idx="41071">0</cx:pt>
          <cx:pt idx="41072">0</cx:pt>
          <cx:pt idx="41073">1</cx:pt>
          <cx:pt idx="41074">0</cx:pt>
          <cx:pt idx="41075">0</cx:pt>
          <cx:pt idx="41076">0</cx:pt>
          <cx:pt idx="41077">1</cx:pt>
          <cx:pt idx="41078">0</cx:pt>
          <cx:pt idx="41079">0</cx:pt>
          <cx:pt idx="41080">1</cx:pt>
          <cx:pt idx="41081">0</cx:pt>
          <cx:pt idx="41082">1</cx:pt>
          <cx:pt idx="41083">1</cx:pt>
          <cx:pt idx="41084">0</cx:pt>
          <cx:pt idx="41085">1</cx:pt>
          <cx:pt idx="41086">1</cx:pt>
          <cx:pt idx="41087">1</cx:pt>
          <cx:pt idx="41088">1</cx:pt>
          <cx:pt idx="41089">0</cx:pt>
          <cx:pt idx="41090">0</cx:pt>
          <cx:pt idx="41091">0</cx:pt>
          <cx:pt idx="41092">0</cx:pt>
          <cx:pt idx="41093">1</cx:pt>
          <cx:pt idx="41094">1</cx:pt>
          <cx:pt idx="41095">0</cx:pt>
          <cx:pt idx="41096">1</cx:pt>
          <cx:pt idx="41097">0</cx:pt>
          <cx:pt idx="41098">0</cx:pt>
          <cx:pt idx="41099">0</cx:pt>
          <cx:pt idx="41100">0</cx:pt>
          <cx:pt idx="41101">1</cx:pt>
          <cx:pt idx="41102">1</cx:pt>
          <cx:pt idx="41103">0</cx:pt>
          <cx:pt idx="41104">0</cx:pt>
          <cx:pt idx="41105">0</cx:pt>
          <cx:pt idx="41106">0</cx:pt>
          <cx:pt idx="41107">0</cx:pt>
          <cx:pt idx="41108">1</cx:pt>
          <cx:pt idx="41109">1</cx:pt>
          <cx:pt idx="41110">0</cx:pt>
          <cx:pt idx="41111">0</cx:pt>
          <cx:pt idx="41112">0</cx:pt>
          <cx:pt idx="41113">0</cx:pt>
          <cx:pt idx="41114">0</cx:pt>
          <cx:pt idx="41115">1</cx:pt>
          <cx:pt idx="41116">1</cx:pt>
          <cx:pt idx="41117">1</cx:pt>
          <cx:pt idx="41118">0</cx:pt>
          <cx:pt idx="41119">0</cx:pt>
          <cx:pt idx="41120">1</cx:pt>
          <cx:pt idx="41121">0</cx:pt>
          <cx:pt idx="41122">0</cx:pt>
          <cx:pt idx="41123">0</cx:pt>
          <cx:pt idx="41124">1</cx:pt>
          <cx:pt idx="41125">0</cx:pt>
          <cx:pt idx="41126">1</cx:pt>
          <cx:pt idx="41127">1</cx:pt>
          <cx:pt idx="41128">1</cx:pt>
          <cx:pt idx="41129">1</cx:pt>
          <cx:pt idx="41130">1</cx:pt>
          <cx:pt idx="41131">0</cx:pt>
          <cx:pt idx="41132">0</cx:pt>
          <cx:pt idx="41133">0</cx:pt>
          <cx:pt idx="41134">0</cx:pt>
          <cx:pt idx="41135">0</cx:pt>
          <cx:pt idx="41136">0</cx:pt>
          <cx:pt idx="41137">1</cx:pt>
          <cx:pt idx="41138">0</cx:pt>
          <cx:pt idx="41139">1</cx:pt>
          <cx:pt idx="41140">1</cx:pt>
          <cx:pt idx="41141">1</cx:pt>
          <cx:pt idx="41142">1</cx:pt>
          <cx:pt idx="41143">1</cx:pt>
          <cx:pt idx="41144">0</cx:pt>
          <cx:pt idx="41145">0</cx:pt>
          <cx:pt idx="41146">1</cx:pt>
          <cx:pt idx="41147">0</cx:pt>
          <cx:pt idx="41148">0</cx:pt>
          <cx:pt idx="41149">1</cx:pt>
          <cx:pt idx="41150">0</cx:pt>
          <cx:pt idx="41151">0</cx:pt>
          <cx:pt idx="41152">0</cx:pt>
          <cx:pt idx="41153">0</cx:pt>
          <cx:pt idx="41154">1</cx:pt>
          <cx:pt idx="41155">1</cx:pt>
          <cx:pt idx="41156">0</cx:pt>
          <cx:pt idx="41157">0</cx:pt>
          <cx:pt idx="41158">1</cx:pt>
          <cx:pt idx="41159">1</cx:pt>
          <cx:pt idx="41160">1</cx:pt>
          <cx:pt idx="41161">0</cx:pt>
          <cx:pt idx="41162">0</cx:pt>
          <cx:pt idx="41163">0</cx:pt>
          <cx:pt idx="41164">0</cx:pt>
          <cx:pt idx="41165">1</cx:pt>
          <cx:pt idx="41166">1</cx:pt>
          <cx:pt idx="41167">1</cx:pt>
          <cx:pt idx="41168">0</cx:pt>
          <cx:pt idx="41169">1</cx:pt>
          <cx:pt idx="41170">1</cx:pt>
          <cx:pt idx="41171">1</cx:pt>
          <cx:pt idx="41172">1</cx:pt>
          <cx:pt idx="41173">1</cx:pt>
          <cx:pt idx="41174">1</cx:pt>
          <cx:pt idx="41175">1</cx:pt>
          <cx:pt idx="41176">1</cx:pt>
          <cx:pt idx="41177">0</cx:pt>
          <cx:pt idx="41178">1</cx:pt>
          <cx:pt idx="41179">0</cx:pt>
          <cx:pt idx="41180">1</cx:pt>
          <cx:pt idx="41181">1</cx:pt>
          <cx:pt idx="41182">1</cx:pt>
          <cx:pt idx="41183">0</cx:pt>
          <cx:pt idx="41184">0</cx:pt>
          <cx:pt idx="41185">1</cx:pt>
          <cx:pt idx="41186">1</cx:pt>
          <cx:pt idx="41187">0</cx:pt>
          <cx:pt idx="41188">0</cx:pt>
          <cx:pt idx="41189">0</cx:pt>
          <cx:pt idx="41190">1</cx:pt>
          <cx:pt idx="41191">1</cx:pt>
          <cx:pt idx="41192">1</cx:pt>
          <cx:pt idx="41193">1</cx:pt>
          <cx:pt idx="41194">1</cx:pt>
          <cx:pt idx="41195">0</cx:pt>
          <cx:pt idx="41196">0</cx:pt>
          <cx:pt idx="41197">0</cx:pt>
          <cx:pt idx="41198">1</cx:pt>
          <cx:pt idx="41199">1</cx:pt>
          <cx:pt idx="41200">0</cx:pt>
          <cx:pt idx="41201">0</cx:pt>
          <cx:pt idx="41202">0</cx:pt>
          <cx:pt idx="41203">0</cx:pt>
          <cx:pt idx="41204">1</cx:pt>
          <cx:pt idx="41205">1</cx:pt>
          <cx:pt idx="41206">0</cx:pt>
          <cx:pt idx="41207">0</cx:pt>
          <cx:pt idx="41208">0</cx:pt>
          <cx:pt idx="41209">0</cx:pt>
          <cx:pt idx="41210">1</cx:pt>
          <cx:pt idx="41211">0</cx:pt>
          <cx:pt idx="41212">1</cx:pt>
          <cx:pt idx="41213">0</cx:pt>
          <cx:pt idx="41214">0</cx:pt>
          <cx:pt idx="41215">1</cx:pt>
          <cx:pt idx="41216">0</cx:pt>
          <cx:pt idx="41217">0</cx:pt>
          <cx:pt idx="41218">1</cx:pt>
          <cx:pt idx="41219">0</cx:pt>
          <cx:pt idx="41220">1</cx:pt>
          <cx:pt idx="41221">0</cx:pt>
          <cx:pt idx="41222">0</cx:pt>
          <cx:pt idx="41223">0</cx:pt>
          <cx:pt idx="41224">0</cx:pt>
          <cx:pt idx="41225">0</cx:pt>
          <cx:pt idx="41226">0</cx:pt>
          <cx:pt idx="41227">1</cx:pt>
          <cx:pt idx="41228">1</cx:pt>
          <cx:pt idx="41229">1</cx:pt>
          <cx:pt idx="41230">1</cx:pt>
          <cx:pt idx="41231">1</cx:pt>
          <cx:pt idx="41232">0</cx:pt>
          <cx:pt idx="41233">0</cx:pt>
          <cx:pt idx="41234">0</cx:pt>
          <cx:pt idx="41235">0</cx:pt>
          <cx:pt idx="41236">1</cx:pt>
          <cx:pt idx="41237">1</cx:pt>
          <cx:pt idx="41238">1</cx:pt>
          <cx:pt idx="41239">1</cx:pt>
          <cx:pt idx="41240">0</cx:pt>
          <cx:pt idx="41241">0</cx:pt>
          <cx:pt idx="41242">1</cx:pt>
          <cx:pt idx="41243">0</cx:pt>
          <cx:pt idx="41244">1</cx:pt>
          <cx:pt idx="41245">1</cx:pt>
          <cx:pt idx="41246">0</cx:pt>
          <cx:pt idx="41247">1</cx:pt>
          <cx:pt idx="41248">0</cx:pt>
          <cx:pt idx="41249">1</cx:pt>
          <cx:pt idx="41250">1</cx:pt>
          <cx:pt idx="41251">0</cx:pt>
          <cx:pt idx="41252">1</cx:pt>
          <cx:pt idx="41253">0</cx:pt>
          <cx:pt idx="41254">0</cx:pt>
          <cx:pt idx="41255">1</cx:pt>
          <cx:pt idx="41256">0</cx:pt>
          <cx:pt idx="41257">0</cx:pt>
          <cx:pt idx="41258">1</cx:pt>
          <cx:pt idx="41259">0</cx:pt>
          <cx:pt idx="41260">0</cx:pt>
          <cx:pt idx="41261">0</cx:pt>
          <cx:pt idx="41262">1</cx:pt>
          <cx:pt idx="41263">1</cx:pt>
          <cx:pt idx="41264">0</cx:pt>
          <cx:pt idx="41265">1</cx:pt>
          <cx:pt idx="41266">0</cx:pt>
          <cx:pt idx="41267">1</cx:pt>
          <cx:pt idx="41268">0</cx:pt>
          <cx:pt idx="41269">0</cx:pt>
          <cx:pt idx="41270">0</cx:pt>
          <cx:pt idx="41271">1</cx:pt>
          <cx:pt idx="41272">0</cx:pt>
          <cx:pt idx="41273">0</cx:pt>
          <cx:pt idx="41274">0</cx:pt>
          <cx:pt idx="41275">1</cx:pt>
          <cx:pt idx="41276">0</cx:pt>
          <cx:pt idx="41277">1</cx:pt>
          <cx:pt idx="41278">1</cx:pt>
          <cx:pt idx="41279">1</cx:pt>
          <cx:pt idx="41280">1</cx:pt>
          <cx:pt idx="41281">1</cx:pt>
          <cx:pt idx="41282">0</cx:pt>
          <cx:pt idx="41283">0</cx:pt>
          <cx:pt idx="41284">0</cx:pt>
          <cx:pt idx="41285">1</cx:pt>
          <cx:pt idx="41286">0</cx:pt>
          <cx:pt idx="41287">0</cx:pt>
          <cx:pt idx="41288">1</cx:pt>
          <cx:pt idx="41289">0</cx:pt>
          <cx:pt idx="41290">0</cx:pt>
          <cx:pt idx="41291">1</cx:pt>
          <cx:pt idx="41292">1</cx:pt>
          <cx:pt idx="41293">1</cx:pt>
          <cx:pt idx="41294">0</cx:pt>
          <cx:pt idx="41295">0</cx:pt>
          <cx:pt idx="41296">0</cx:pt>
          <cx:pt idx="41297">0</cx:pt>
          <cx:pt idx="41298">1</cx:pt>
          <cx:pt idx="41299">0</cx:pt>
          <cx:pt idx="41300">1</cx:pt>
          <cx:pt idx="41301">0</cx:pt>
          <cx:pt idx="41302">0</cx:pt>
          <cx:pt idx="41303">0</cx:pt>
          <cx:pt idx="41304">0</cx:pt>
          <cx:pt idx="41305">1</cx:pt>
          <cx:pt idx="41306">0</cx:pt>
          <cx:pt idx="41307">0</cx:pt>
          <cx:pt idx="41308">1</cx:pt>
          <cx:pt idx="41309">1</cx:pt>
          <cx:pt idx="41310">1</cx:pt>
          <cx:pt idx="41311">1</cx:pt>
          <cx:pt idx="41312">0</cx:pt>
          <cx:pt idx="41313">1</cx:pt>
          <cx:pt idx="41314">1</cx:pt>
          <cx:pt idx="41315">0</cx:pt>
          <cx:pt idx="41316">0</cx:pt>
          <cx:pt idx="41317">0</cx:pt>
          <cx:pt idx="41318">0</cx:pt>
          <cx:pt idx="41319">1</cx:pt>
          <cx:pt idx="41320">0</cx:pt>
          <cx:pt idx="41321">1</cx:pt>
          <cx:pt idx="41322">1</cx:pt>
          <cx:pt idx="41323">0</cx:pt>
          <cx:pt idx="41324">1</cx:pt>
          <cx:pt idx="41325">0</cx:pt>
          <cx:pt idx="41326">0</cx:pt>
          <cx:pt idx="41327">1</cx:pt>
          <cx:pt idx="41328">0</cx:pt>
          <cx:pt idx="41329">1</cx:pt>
          <cx:pt idx="41330">0</cx:pt>
          <cx:pt idx="41331">0</cx:pt>
          <cx:pt idx="41332">0</cx:pt>
          <cx:pt idx="41333">1</cx:pt>
          <cx:pt idx="41334">1</cx:pt>
          <cx:pt idx="41335">0</cx:pt>
          <cx:pt idx="41336">0</cx:pt>
          <cx:pt idx="41337">1</cx:pt>
          <cx:pt idx="41338">1</cx:pt>
          <cx:pt idx="41339">1</cx:pt>
          <cx:pt idx="41340">0</cx:pt>
          <cx:pt idx="41341">0</cx:pt>
          <cx:pt idx="41342">0</cx:pt>
          <cx:pt idx="41343">1</cx:pt>
          <cx:pt idx="41344">1</cx:pt>
          <cx:pt idx="41345">0</cx:pt>
          <cx:pt idx="41346">1</cx:pt>
          <cx:pt idx="41347">1</cx:pt>
          <cx:pt idx="41348">1</cx:pt>
          <cx:pt idx="41349">1</cx:pt>
          <cx:pt idx="41350">1</cx:pt>
          <cx:pt idx="41351">1</cx:pt>
          <cx:pt idx="41352">1</cx:pt>
          <cx:pt idx="41353">1</cx:pt>
          <cx:pt idx="41354">0</cx:pt>
          <cx:pt idx="41355">0</cx:pt>
          <cx:pt idx="41356">0</cx:pt>
          <cx:pt idx="41357">0</cx:pt>
          <cx:pt idx="41358">0</cx:pt>
          <cx:pt idx="41359">0</cx:pt>
          <cx:pt idx="41360">1</cx:pt>
          <cx:pt idx="41361">0</cx:pt>
          <cx:pt idx="41362">0</cx:pt>
          <cx:pt idx="41363">0</cx:pt>
          <cx:pt idx="41364">0</cx:pt>
          <cx:pt idx="41365">1</cx:pt>
          <cx:pt idx="41366">0</cx:pt>
          <cx:pt idx="41367">0</cx:pt>
          <cx:pt idx="41368">1</cx:pt>
          <cx:pt idx="41369">1</cx:pt>
          <cx:pt idx="41370">0</cx:pt>
          <cx:pt idx="41371">0</cx:pt>
          <cx:pt idx="41372">1</cx:pt>
          <cx:pt idx="41373">0</cx:pt>
          <cx:pt idx="41374">1</cx:pt>
          <cx:pt idx="41375">0</cx:pt>
          <cx:pt idx="41376">1</cx:pt>
          <cx:pt idx="41377">0</cx:pt>
          <cx:pt idx="41378">0</cx:pt>
          <cx:pt idx="41379">1</cx:pt>
          <cx:pt idx="41380">1</cx:pt>
          <cx:pt idx="41381">1</cx:pt>
          <cx:pt idx="41382">0</cx:pt>
          <cx:pt idx="41383">1</cx:pt>
          <cx:pt idx="41384">0</cx:pt>
          <cx:pt idx="41385">0</cx:pt>
          <cx:pt idx="41386">0</cx:pt>
          <cx:pt idx="41387">0</cx:pt>
          <cx:pt idx="41388">1</cx:pt>
          <cx:pt idx="41389">0</cx:pt>
          <cx:pt idx="41390">0</cx:pt>
          <cx:pt idx="41391">1</cx:pt>
          <cx:pt idx="41392">1</cx:pt>
          <cx:pt idx="41393">0</cx:pt>
          <cx:pt idx="41394">0</cx:pt>
          <cx:pt idx="41395">1</cx:pt>
          <cx:pt idx="41396">0</cx:pt>
          <cx:pt idx="41397">0</cx:pt>
          <cx:pt idx="41398">1</cx:pt>
          <cx:pt idx="41399">0</cx:pt>
          <cx:pt idx="41400">0</cx:pt>
          <cx:pt idx="41401">1</cx:pt>
          <cx:pt idx="41402">1</cx:pt>
          <cx:pt idx="41403">0</cx:pt>
          <cx:pt idx="41404">1</cx:pt>
          <cx:pt idx="41405">1</cx:pt>
          <cx:pt idx="41406">0</cx:pt>
          <cx:pt idx="41407">0</cx:pt>
          <cx:pt idx="41408">1</cx:pt>
          <cx:pt idx="41409">1</cx:pt>
          <cx:pt idx="41410">0</cx:pt>
          <cx:pt idx="41411">1</cx:pt>
          <cx:pt idx="41412">0</cx:pt>
          <cx:pt idx="41413">0</cx:pt>
          <cx:pt idx="41414">0</cx:pt>
          <cx:pt idx="41415">0</cx:pt>
          <cx:pt idx="41416">0</cx:pt>
          <cx:pt idx="41417">0</cx:pt>
          <cx:pt idx="41418">0</cx:pt>
          <cx:pt idx="41419">1</cx:pt>
          <cx:pt idx="41420">0</cx:pt>
          <cx:pt idx="41421">0</cx:pt>
          <cx:pt idx="41422">0</cx:pt>
          <cx:pt idx="41423">0</cx:pt>
          <cx:pt idx="41424">0</cx:pt>
          <cx:pt idx="41425">0</cx:pt>
          <cx:pt idx="41426">0</cx:pt>
          <cx:pt idx="41427">1</cx:pt>
          <cx:pt idx="41428">0</cx:pt>
          <cx:pt idx="41429">0</cx:pt>
          <cx:pt idx="41430">1</cx:pt>
          <cx:pt idx="41431">0</cx:pt>
          <cx:pt idx="41432">1</cx:pt>
          <cx:pt idx="41433">1</cx:pt>
          <cx:pt idx="41434">1</cx:pt>
          <cx:pt idx="41435">0</cx:pt>
          <cx:pt idx="41436">1</cx:pt>
          <cx:pt idx="41437">1</cx:pt>
          <cx:pt idx="41438">0</cx:pt>
          <cx:pt idx="41439">1</cx:pt>
          <cx:pt idx="41440">1</cx:pt>
          <cx:pt idx="41441">0</cx:pt>
          <cx:pt idx="41442">0</cx:pt>
          <cx:pt idx="41443">0</cx:pt>
          <cx:pt idx="41444">1</cx:pt>
          <cx:pt idx="41445">0</cx:pt>
          <cx:pt idx="41446">1</cx:pt>
          <cx:pt idx="41447">0</cx:pt>
          <cx:pt idx="41448">0</cx:pt>
          <cx:pt idx="41449">0</cx:pt>
          <cx:pt idx="41450">0</cx:pt>
          <cx:pt idx="41451">1</cx:pt>
          <cx:pt idx="41452">0</cx:pt>
          <cx:pt idx="41453">0</cx:pt>
          <cx:pt idx="41454">1</cx:pt>
          <cx:pt idx="41455">1</cx:pt>
          <cx:pt idx="41456">0</cx:pt>
          <cx:pt idx="41457">0</cx:pt>
          <cx:pt idx="41458">0</cx:pt>
          <cx:pt idx="41459">1</cx:pt>
          <cx:pt idx="41460">0</cx:pt>
          <cx:pt idx="41461">1</cx:pt>
          <cx:pt idx="41462">0</cx:pt>
          <cx:pt idx="41463">0</cx:pt>
          <cx:pt idx="41464">1</cx:pt>
          <cx:pt idx="41465">1</cx:pt>
          <cx:pt idx="41466">1</cx:pt>
          <cx:pt idx="41467">1</cx:pt>
          <cx:pt idx="41468">1</cx:pt>
          <cx:pt idx="41469">0</cx:pt>
          <cx:pt idx="41470">1</cx:pt>
          <cx:pt idx="41471">1</cx:pt>
          <cx:pt idx="41472">0</cx:pt>
          <cx:pt idx="41473">1</cx:pt>
          <cx:pt idx="41474">0</cx:pt>
          <cx:pt idx="41475">0</cx:pt>
          <cx:pt idx="41476">1</cx:pt>
          <cx:pt idx="41477">1</cx:pt>
          <cx:pt idx="41478">0</cx:pt>
          <cx:pt idx="41479">1</cx:pt>
          <cx:pt idx="41480">1</cx:pt>
          <cx:pt idx="41481">1</cx:pt>
          <cx:pt idx="41482">1</cx:pt>
          <cx:pt idx="41483">0</cx:pt>
          <cx:pt idx="41484">0</cx:pt>
          <cx:pt idx="41485">0</cx:pt>
          <cx:pt idx="41486">1</cx:pt>
          <cx:pt idx="41487">0</cx:pt>
          <cx:pt idx="41488">0</cx:pt>
          <cx:pt idx="41489">0</cx:pt>
          <cx:pt idx="41490">0</cx:pt>
          <cx:pt idx="41491">1</cx:pt>
          <cx:pt idx="41492">0</cx:pt>
          <cx:pt idx="41493">1</cx:pt>
          <cx:pt idx="41494">0</cx:pt>
          <cx:pt idx="41495">1</cx:pt>
          <cx:pt idx="41496">1</cx:pt>
          <cx:pt idx="41497">1</cx:pt>
          <cx:pt idx="41498">1</cx:pt>
          <cx:pt idx="41499">1</cx:pt>
          <cx:pt idx="41500">0</cx:pt>
          <cx:pt idx="41501">0</cx:pt>
          <cx:pt idx="41502">0</cx:pt>
          <cx:pt idx="41503">0</cx:pt>
          <cx:pt idx="41504">1</cx:pt>
          <cx:pt idx="41505">1</cx:pt>
          <cx:pt idx="41506">1</cx:pt>
          <cx:pt idx="41507">0</cx:pt>
          <cx:pt idx="41508">0</cx:pt>
          <cx:pt idx="41509">1</cx:pt>
          <cx:pt idx="41510">1</cx:pt>
          <cx:pt idx="41511">0</cx:pt>
          <cx:pt idx="41512">0</cx:pt>
          <cx:pt idx="41513">1</cx:pt>
          <cx:pt idx="41514">0</cx:pt>
          <cx:pt idx="41515">1</cx:pt>
          <cx:pt idx="41516">0</cx:pt>
          <cx:pt idx="41517">1</cx:pt>
          <cx:pt idx="41518">1</cx:pt>
          <cx:pt idx="41519">0</cx:pt>
          <cx:pt idx="41520">0</cx:pt>
          <cx:pt idx="41521">0</cx:pt>
          <cx:pt idx="41522">0</cx:pt>
          <cx:pt idx="41523">0</cx:pt>
          <cx:pt idx="41524">0</cx:pt>
          <cx:pt idx="41525">0</cx:pt>
          <cx:pt idx="41526">0</cx:pt>
          <cx:pt idx="41527">0</cx:pt>
          <cx:pt idx="41528">0</cx:pt>
          <cx:pt idx="41529">1</cx:pt>
          <cx:pt idx="41530">0</cx:pt>
          <cx:pt idx="41531">0</cx:pt>
          <cx:pt idx="41532">1</cx:pt>
          <cx:pt idx="41533">1</cx:pt>
          <cx:pt idx="41534">1</cx:pt>
          <cx:pt idx="41535">0</cx:pt>
          <cx:pt idx="41536">0</cx:pt>
          <cx:pt idx="41537">1</cx:pt>
          <cx:pt idx="41538">0</cx:pt>
          <cx:pt idx="41539">1</cx:pt>
          <cx:pt idx="41540">0</cx:pt>
          <cx:pt idx="41541">0</cx:pt>
          <cx:pt idx="41542">1</cx:pt>
          <cx:pt idx="41543">0</cx:pt>
          <cx:pt idx="41544">0</cx:pt>
          <cx:pt idx="41545">0</cx:pt>
          <cx:pt idx="41546">1</cx:pt>
          <cx:pt idx="41547">0</cx:pt>
          <cx:pt idx="41548">0</cx:pt>
          <cx:pt idx="41549">1</cx:pt>
          <cx:pt idx="41550">1</cx:pt>
          <cx:pt idx="41551">1</cx:pt>
          <cx:pt idx="41552">0</cx:pt>
          <cx:pt idx="41553">0</cx:pt>
          <cx:pt idx="41554">0</cx:pt>
          <cx:pt idx="41555">0</cx:pt>
          <cx:pt idx="41556">1</cx:pt>
          <cx:pt idx="41557">1</cx:pt>
          <cx:pt idx="41558">0</cx:pt>
          <cx:pt idx="41559">1</cx:pt>
          <cx:pt idx="41560">0</cx:pt>
          <cx:pt idx="41561">0</cx:pt>
          <cx:pt idx="41562">0</cx:pt>
          <cx:pt idx="41563">1</cx:pt>
          <cx:pt idx="41564">0</cx:pt>
          <cx:pt idx="41565">1</cx:pt>
          <cx:pt idx="41566">0</cx:pt>
          <cx:pt idx="41567">0</cx:pt>
          <cx:pt idx="41568">0</cx:pt>
          <cx:pt idx="41569">0</cx:pt>
          <cx:pt idx="41570">1</cx:pt>
          <cx:pt idx="41571">0</cx:pt>
          <cx:pt idx="41572">1</cx:pt>
          <cx:pt idx="41573">1</cx:pt>
          <cx:pt idx="41574">0</cx:pt>
          <cx:pt idx="41575">0</cx:pt>
          <cx:pt idx="41576">1</cx:pt>
          <cx:pt idx="41577">1</cx:pt>
          <cx:pt idx="41578">0</cx:pt>
          <cx:pt idx="41579">0</cx:pt>
          <cx:pt idx="41580">1</cx:pt>
          <cx:pt idx="41581">0</cx:pt>
          <cx:pt idx="41582">1</cx:pt>
          <cx:pt idx="41583">1</cx:pt>
          <cx:pt idx="41584">0</cx:pt>
          <cx:pt idx="41585">1</cx:pt>
          <cx:pt idx="41586">1</cx:pt>
          <cx:pt idx="41587">1</cx:pt>
          <cx:pt idx="41588">1</cx:pt>
          <cx:pt idx="41589">0</cx:pt>
          <cx:pt idx="41590">0</cx:pt>
          <cx:pt idx="41591">0</cx:pt>
          <cx:pt idx="41592">1</cx:pt>
          <cx:pt idx="41593">0</cx:pt>
          <cx:pt idx="41594">0</cx:pt>
          <cx:pt idx="41595">1</cx:pt>
          <cx:pt idx="41596">1</cx:pt>
          <cx:pt idx="41597">1</cx:pt>
          <cx:pt idx="41598">1</cx:pt>
          <cx:pt idx="41599">1</cx:pt>
          <cx:pt idx="41600">0</cx:pt>
          <cx:pt idx="41601">0</cx:pt>
          <cx:pt idx="41602">0</cx:pt>
          <cx:pt idx="41603">1</cx:pt>
          <cx:pt idx="41604">1</cx:pt>
          <cx:pt idx="41605">0</cx:pt>
          <cx:pt idx="41606">1</cx:pt>
          <cx:pt idx="41607">1</cx:pt>
          <cx:pt idx="41608">1</cx:pt>
          <cx:pt idx="41609">0</cx:pt>
          <cx:pt idx="41610">1</cx:pt>
          <cx:pt idx="41611">0</cx:pt>
          <cx:pt idx="41612">0</cx:pt>
          <cx:pt idx="41613">0</cx:pt>
          <cx:pt idx="41614">0</cx:pt>
          <cx:pt idx="41615">0</cx:pt>
          <cx:pt idx="41616">1</cx:pt>
          <cx:pt idx="41617">0</cx:pt>
          <cx:pt idx="41618">1</cx:pt>
          <cx:pt idx="41619">0</cx:pt>
          <cx:pt idx="41620">1</cx:pt>
          <cx:pt idx="41621">1</cx:pt>
          <cx:pt idx="41622">1</cx:pt>
          <cx:pt idx="41623">0</cx:pt>
          <cx:pt idx="41624">1</cx:pt>
          <cx:pt idx="41625">0</cx:pt>
          <cx:pt idx="41626">1</cx:pt>
          <cx:pt idx="41627">0</cx:pt>
          <cx:pt idx="41628">0</cx:pt>
          <cx:pt idx="41629">1</cx:pt>
          <cx:pt idx="41630">1</cx:pt>
          <cx:pt idx="41631">0</cx:pt>
          <cx:pt idx="41632">1</cx:pt>
          <cx:pt idx="41633">0</cx:pt>
          <cx:pt idx="41634">0</cx:pt>
          <cx:pt idx="41635">1</cx:pt>
          <cx:pt idx="41636">1</cx:pt>
          <cx:pt idx="41637">1</cx:pt>
          <cx:pt idx="41638">1</cx:pt>
          <cx:pt idx="41639">1</cx:pt>
          <cx:pt idx="41640">1</cx:pt>
          <cx:pt idx="41641">0</cx:pt>
          <cx:pt idx="41642">1</cx:pt>
          <cx:pt idx="41643">0</cx:pt>
          <cx:pt idx="41644">0</cx:pt>
          <cx:pt idx="41645">0</cx:pt>
          <cx:pt idx="41646">0</cx:pt>
          <cx:pt idx="41647">1</cx:pt>
          <cx:pt idx="41648">1</cx:pt>
          <cx:pt idx="41649">1</cx:pt>
          <cx:pt idx="41650">1</cx:pt>
          <cx:pt idx="41651">0</cx:pt>
          <cx:pt idx="41652">1</cx:pt>
          <cx:pt idx="41653">0</cx:pt>
          <cx:pt idx="41654">1</cx:pt>
          <cx:pt idx="41655">0</cx:pt>
          <cx:pt idx="41656">1</cx:pt>
          <cx:pt idx="41657">0</cx:pt>
          <cx:pt idx="41658">1</cx:pt>
          <cx:pt idx="41659">0</cx:pt>
          <cx:pt idx="41660">0</cx:pt>
          <cx:pt idx="41661">1</cx:pt>
          <cx:pt idx="41662">1</cx:pt>
          <cx:pt idx="41663">0</cx:pt>
          <cx:pt idx="41664">1</cx:pt>
          <cx:pt idx="41665">1</cx:pt>
          <cx:pt idx="41666">0</cx:pt>
          <cx:pt idx="41667">0</cx:pt>
          <cx:pt idx="41668">0</cx:pt>
          <cx:pt idx="41669">1</cx:pt>
          <cx:pt idx="41670">1</cx:pt>
          <cx:pt idx="41671">0</cx:pt>
          <cx:pt idx="41672">1</cx:pt>
          <cx:pt idx="41673">1</cx:pt>
          <cx:pt idx="41674">1</cx:pt>
          <cx:pt idx="41675">1</cx:pt>
          <cx:pt idx="41676">0</cx:pt>
          <cx:pt idx="41677">0</cx:pt>
          <cx:pt idx="41678">0</cx:pt>
          <cx:pt idx="41679">0</cx:pt>
          <cx:pt idx="41680">0</cx:pt>
          <cx:pt idx="41681">0</cx:pt>
          <cx:pt idx="41682">0</cx:pt>
          <cx:pt idx="41683">0</cx:pt>
          <cx:pt idx="41684">0</cx:pt>
          <cx:pt idx="41685">0</cx:pt>
          <cx:pt idx="41686">0</cx:pt>
          <cx:pt idx="41687">1</cx:pt>
          <cx:pt idx="41688">0</cx:pt>
          <cx:pt idx="41689">1</cx:pt>
          <cx:pt idx="41690">1</cx:pt>
          <cx:pt idx="41691">1</cx:pt>
          <cx:pt idx="41692">0</cx:pt>
          <cx:pt idx="41693">0</cx:pt>
          <cx:pt idx="41694">0</cx:pt>
          <cx:pt idx="41695">1</cx:pt>
          <cx:pt idx="41696">1</cx:pt>
          <cx:pt idx="41697">0</cx:pt>
          <cx:pt idx="41698">0</cx:pt>
          <cx:pt idx="41699">0</cx:pt>
          <cx:pt idx="41700">0</cx:pt>
          <cx:pt idx="41701">0</cx:pt>
          <cx:pt idx="41702">1</cx:pt>
          <cx:pt idx="41703">1</cx:pt>
          <cx:pt idx="41704">1</cx:pt>
          <cx:pt idx="41705">0</cx:pt>
          <cx:pt idx="41706">0</cx:pt>
          <cx:pt idx="41707">1</cx:pt>
          <cx:pt idx="41708">0</cx:pt>
          <cx:pt idx="41709">1</cx:pt>
          <cx:pt idx="41710">0</cx:pt>
          <cx:pt idx="41711">1</cx:pt>
          <cx:pt idx="41712">0</cx:pt>
          <cx:pt idx="41713">0</cx:pt>
          <cx:pt idx="41714">0</cx:pt>
          <cx:pt idx="41715">1</cx:pt>
          <cx:pt idx="41716">0</cx:pt>
          <cx:pt idx="41717">1</cx:pt>
          <cx:pt idx="41718">0</cx:pt>
          <cx:pt idx="41719">0</cx:pt>
          <cx:pt idx="41720">0</cx:pt>
          <cx:pt idx="41721">0</cx:pt>
          <cx:pt idx="41722">1</cx:pt>
          <cx:pt idx="41723">0</cx:pt>
          <cx:pt idx="41724">1</cx:pt>
          <cx:pt idx="41725">1</cx:pt>
          <cx:pt idx="41726">0</cx:pt>
          <cx:pt idx="41727">0</cx:pt>
          <cx:pt idx="41728">1</cx:pt>
          <cx:pt idx="41729">1</cx:pt>
          <cx:pt idx="41730">1</cx:pt>
          <cx:pt idx="41731">0</cx:pt>
          <cx:pt idx="41732">0</cx:pt>
          <cx:pt idx="41733">1</cx:pt>
          <cx:pt idx="41734">0</cx:pt>
          <cx:pt idx="41735">0</cx:pt>
          <cx:pt idx="41736">0</cx:pt>
          <cx:pt idx="41737">1</cx:pt>
          <cx:pt idx="41738">1</cx:pt>
          <cx:pt idx="41739">1</cx:pt>
          <cx:pt idx="41740">1</cx:pt>
          <cx:pt idx="41741">1</cx:pt>
          <cx:pt idx="41742">1</cx:pt>
          <cx:pt idx="41743">0</cx:pt>
          <cx:pt idx="41744">0</cx:pt>
          <cx:pt idx="41745">1</cx:pt>
          <cx:pt idx="41746">0</cx:pt>
          <cx:pt idx="41747">0</cx:pt>
          <cx:pt idx="41748">1</cx:pt>
          <cx:pt idx="41749">0</cx:pt>
          <cx:pt idx="41750">0</cx:pt>
          <cx:pt idx="41751">1</cx:pt>
          <cx:pt idx="41752">1</cx:pt>
          <cx:pt idx="41753">1</cx:pt>
          <cx:pt idx="41754">1</cx:pt>
          <cx:pt idx="41755">0</cx:pt>
          <cx:pt idx="41756">0</cx:pt>
          <cx:pt idx="41757">0</cx:pt>
          <cx:pt idx="41758">0</cx:pt>
          <cx:pt idx="41759">0</cx:pt>
          <cx:pt idx="41760">0</cx:pt>
          <cx:pt idx="41761">1</cx:pt>
          <cx:pt idx="41762">0</cx:pt>
          <cx:pt idx="41763">1</cx:pt>
          <cx:pt idx="41764">1</cx:pt>
          <cx:pt idx="41765">1</cx:pt>
          <cx:pt idx="41766">0</cx:pt>
          <cx:pt idx="41767">1</cx:pt>
          <cx:pt idx="41768">0</cx:pt>
          <cx:pt idx="41769">0</cx:pt>
          <cx:pt idx="41770">1</cx:pt>
          <cx:pt idx="41771">1</cx:pt>
          <cx:pt idx="41772">1</cx:pt>
          <cx:pt idx="41773">0</cx:pt>
          <cx:pt idx="41774">1</cx:pt>
          <cx:pt idx="41775">1</cx:pt>
          <cx:pt idx="41776">0</cx:pt>
          <cx:pt idx="41777">1</cx:pt>
          <cx:pt idx="41778">0</cx:pt>
          <cx:pt idx="41779">0</cx:pt>
          <cx:pt idx="41780">1</cx:pt>
          <cx:pt idx="41781">0</cx:pt>
          <cx:pt idx="41782">0</cx:pt>
          <cx:pt idx="41783">0</cx:pt>
          <cx:pt idx="41784">0</cx:pt>
          <cx:pt idx="41785">0</cx:pt>
          <cx:pt idx="41786">1</cx:pt>
          <cx:pt idx="41787">1</cx:pt>
          <cx:pt idx="41788">1</cx:pt>
          <cx:pt idx="41789">0</cx:pt>
          <cx:pt idx="41790">1</cx:pt>
          <cx:pt idx="41791">1</cx:pt>
          <cx:pt idx="41792">1</cx:pt>
          <cx:pt idx="41793">1</cx:pt>
          <cx:pt idx="41794">1</cx:pt>
          <cx:pt idx="41795">0</cx:pt>
          <cx:pt idx="41796">0</cx:pt>
          <cx:pt idx="41797">1</cx:pt>
          <cx:pt idx="41798">1</cx:pt>
          <cx:pt idx="41799">1</cx:pt>
          <cx:pt idx="41800">1</cx:pt>
          <cx:pt idx="41801">0</cx:pt>
          <cx:pt idx="41802">1</cx:pt>
          <cx:pt idx="41803">0</cx:pt>
          <cx:pt idx="41804">0</cx:pt>
          <cx:pt idx="41805">1</cx:pt>
          <cx:pt idx="41806">1</cx:pt>
          <cx:pt idx="41807">1</cx:pt>
          <cx:pt idx="41808">0</cx:pt>
          <cx:pt idx="41809">1</cx:pt>
          <cx:pt idx="41810">1</cx:pt>
          <cx:pt idx="41811">1</cx:pt>
          <cx:pt idx="41812">1</cx:pt>
          <cx:pt idx="41813">0</cx:pt>
          <cx:pt idx="41814">1</cx:pt>
          <cx:pt idx="41815">0</cx:pt>
          <cx:pt idx="41816">0</cx:pt>
          <cx:pt idx="41817">0</cx:pt>
          <cx:pt idx="41818">0</cx:pt>
          <cx:pt idx="41819">0</cx:pt>
          <cx:pt idx="41820">0</cx:pt>
          <cx:pt idx="41821">0</cx:pt>
          <cx:pt idx="41822">1</cx:pt>
          <cx:pt idx="41823">0</cx:pt>
          <cx:pt idx="41824">1</cx:pt>
          <cx:pt idx="41825">0</cx:pt>
          <cx:pt idx="41826">1</cx:pt>
          <cx:pt idx="41827">0</cx:pt>
          <cx:pt idx="41828">1</cx:pt>
          <cx:pt idx="41829">0</cx:pt>
          <cx:pt idx="41830">1</cx:pt>
          <cx:pt idx="41831">0</cx:pt>
          <cx:pt idx="41832">1</cx:pt>
          <cx:pt idx="41833">0</cx:pt>
          <cx:pt idx="41834">1</cx:pt>
          <cx:pt idx="41835">1</cx:pt>
          <cx:pt idx="41836">1</cx:pt>
          <cx:pt idx="41837">0</cx:pt>
          <cx:pt idx="41838">1</cx:pt>
          <cx:pt idx="41839">0</cx:pt>
          <cx:pt idx="41840">1</cx:pt>
          <cx:pt idx="41841">0</cx:pt>
          <cx:pt idx="41842">0</cx:pt>
          <cx:pt idx="41843">0</cx:pt>
          <cx:pt idx="41844">0</cx:pt>
          <cx:pt idx="41845">1</cx:pt>
          <cx:pt idx="41846">1</cx:pt>
          <cx:pt idx="41847">0</cx:pt>
          <cx:pt idx="41848">0</cx:pt>
          <cx:pt idx="41849">0</cx:pt>
          <cx:pt idx="41850">1</cx:pt>
          <cx:pt idx="41851">0</cx:pt>
          <cx:pt idx="41852">1</cx:pt>
          <cx:pt idx="41853">0</cx:pt>
          <cx:pt idx="41854">0</cx:pt>
          <cx:pt idx="41855">0</cx:pt>
          <cx:pt idx="41856">1</cx:pt>
          <cx:pt idx="41857">0</cx:pt>
          <cx:pt idx="41858">0</cx:pt>
          <cx:pt idx="41859">0</cx:pt>
          <cx:pt idx="41860">1</cx:pt>
          <cx:pt idx="41861">1</cx:pt>
          <cx:pt idx="41862">0</cx:pt>
          <cx:pt idx="41863">1</cx:pt>
          <cx:pt idx="41864">0</cx:pt>
          <cx:pt idx="41865">1</cx:pt>
          <cx:pt idx="41866">0</cx:pt>
          <cx:pt idx="41867">1</cx:pt>
          <cx:pt idx="41868">0</cx:pt>
          <cx:pt idx="41869">0</cx:pt>
          <cx:pt idx="41870">0</cx:pt>
          <cx:pt idx="41871">0</cx:pt>
          <cx:pt idx="41872">1</cx:pt>
          <cx:pt idx="41873">1</cx:pt>
          <cx:pt idx="41874">0</cx:pt>
          <cx:pt idx="41875">1</cx:pt>
          <cx:pt idx="41876">1</cx:pt>
          <cx:pt idx="41877">1</cx:pt>
          <cx:pt idx="41878">0</cx:pt>
          <cx:pt idx="41879">0</cx:pt>
          <cx:pt idx="41880">0</cx:pt>
          <cx:pt idx="41881">0</cx:pt>
          <cx:pt idx="41882">0</cx:pt>
          <cx:pt idx="41883">0</cx:pt>
          <cx:pt idx="41884">1</cx:pt>
          <cx:pt idx="41885">0</cx:pt>
          <cx:pt idx="41886">0</cx:pt>
          <cx:pt idx="41887">1</cx:pt>
          <cx:pt idx="41888">0</cx:pt>
          <cx:pt idx="41889">0</cx:pt>
          <cx:pt idx="41890">0</cx:pt>
          <cx:pt idx="41891">0</cx:pt>
          <cx:pt idx="41892">0</cx:pt>
          <cx:pt idx="41893">0</cx:pt>
          <cx:pt idx="41894">1</cx:pt>
          <cx:pt idx="41895">0</cx:pt>
          <cx:pt idx="41896">0</cx:pt>
          <cx:pt idx="41897">1</cx:pt>
          <cx:pt idx="41898">1</cx:pt>
          <cx:pt idx="41899">0</cx:pt>
          <cx:pt idx="41900">1</cx:pt>
          <cx:pt idx="41901">1</cx:pt>
          <cx:pt idx="41902">0</cx:pt>
          <cx:pt idx="41903">0</cx:pt>
          <cx:pt idx="41904">0</cx:pt>
          <cx:pt idx="41905">0</cx:pt>
          <cx:pt idx="41906">1</cx:pt>
          <cx:pt idx="41907">0</cx:pt>
          <cx:pt idx="41908">0</cx:pt>
          <cx:pt idx="41909">0</cx:pt>
          <cx:pt idx="41910">0</cx:pt>
          <cx:pt idx="41911">0</cx:pt>
          <cx:pt idx="41912">1</cx:pt>
          <cx:pt idx="41913">0</cx:pt>
          <cx:pt idx="41914">0</cx:pt>
          <cx:pt idx="41915">0</cx:pt>
          <cx:pt idx="41916">1</cx:pt>
          <cx:pt idx="41917">1</cx:pt>
          <cx:pt idx="41918">0</cx:pt>
          <cx:pt idx="41919">0</cx:pt>
          <cx:pt idx="41920">0</cx:pt>
          <cx:pt idx="41921">1</cx:pt>
          <cx:pt idx="41922">0</cx:pt>
          <cx:pt idx="41923">1</cx:pt>
          <cx:pt idx="41924">0</cx:pt>
          <cx:pt idx="41925">1</cx:pt>
          <cx:pt idx="41926">1</cx:pt>
          <cx:pt idx="41927">0</cx:pt>
          <cx:pt idx="41928">0</cx:pt>
          <cx:pt idx="41929">1</cx:pt>
          <cx:pt idx="41930">1</cx:pt>
          <cx:pt idx="41931">0</cx:pt>
          <cx:pt idx="41932">0</cx:pt>
          <cx:pt idx="41933">1</cx:pt>
          <cx:pt idx="41934">0</cx:pt>
          <cx:pt idx="41935">0</cx:pt>
          <cx:pt idx="41936">1</cx:pt>
          <cx:pt idx="41937">1</cx:pt>
          <cx:pt idx="41938">0</cx:pt>
          <cx:pt idx="41939">0</cx:pt>
          <cx:pt idx="41940">0</cx:pt>
          <cx:pt idx="41941">0</cx:pt>
          <cx:pt idx="41942">0</cx:pt>
          <cx:pt idx="41943">1</cx:pt>
          <cx:pt idx="41944">0</cx:pt>
          <cx:pt idx="41945">1</cx:pt>
          <cx:pt idx="41946">0</cx:pt>
          <cx:pt idx="41947">0</cx:pt>
          <cx:pt idx="41948">0</cx:pt>
          <cx:pt idx="41949">1</cx:pt>
          <cx:pt idx="41950">1</cx:pt>
          <cx:pt idx="41951">1</cx:pt>
          <cx:pt idx="41952">1</cx:pt>
          <cx:pt idx="41953">0</cx:pt>
          <cx:pt idx="41954">0</cx:pt>
          <cx:pt idx="41955">1</cx:pt>
          <cx:pt idx="41956">0</cx:pt>
          <cx:pt idx="41957">1</cx:pt>
          <cx:pt idx="41958">1</cx:pt>
          <cx:pt idx="41959">1</cx:pt>
          <cx:pt idx="41960">0</cx:pt>
          <cx:pt idx="41961">1</cx:pt>
          <cx:pt idx="41962">0</cx:pt>
          <cx:pt idx="41963">0</cx:pt>
          <cx:pt idx="41964">0</cx:pt>
          <cx:pt idx="41965">1</cx:pt>
          <cx:pt idx="41966">0</cx:pt>
          <cx:pt idx="41967">0</cx:pt>
          <cx:pt idx="41968">1</cx:pt>
          <cx:pt idx="41969">0</cx:pt>
          <cx:pt idx="41970">0</cx:pt>
          <cx:pt idx="41971">0</cx:pt>
          <cx:pt idx="41972">0</cx:pt>
          <cx:pt idx="41973">1</cx:pt>
          <cx:pt idx="41974">1</cx:pt>
          <cx:pt idx="41975">1</cx:pt>
          <cx:pt idx="41976">1</cx:pt>
          <cx:pt idx="41977">0</cx:pt>
          <cx:pt idx="41978">0</cx:pt>
          <cx:pt idx="41979">1</cx:pt>
          <cx:pt idx="41980">1</cx:pt>
          <cx:pt idx="41981">1</cx:pt>
          <cx:pt idx="41982">0</cx:pt>
          <cx:pt idx="41983">1</cx:pt>
          <cx:pt idx="41984">1</cx:pt>
          <cx:pt idx="41985">0</cx:pt>
          <cx:pt idx="41986">0</cx:pt>
          <cx:pt idx="41987">1</cx:pt>
          <cx:pt idx="41988">0</cx:pt>
          <cx:pt idx="41989">1</cx:pt>
          <cx:pt idx="41990">0</cx:pt>
          <cx:pt idx="41991">0</cx:pt>
          <cx:pt idx="41992">1</cx:pt>
          <cx:pt idx="41993">0</cx:pt>
          <cx:pt idx="41994">0</cx:pt>
          <cx:pt idx="41995">1</cx:pt>
          <cx:pt idx="41996">0</cx:pt>
          <cx:pt idx="41997">0</cx:pt>
          <cx:pt idx="41998">0</cx:pt>
          <cx:pt idx="41999">1</cx:pt>
          <cx:pt idx="42000">0</cx:pt>
          <cx:pt idx="42001">0</cx:pt>
          <cx:pt idx="42002">0</cx:pt>
          <cx:pt idx="42003">0</cx:pt>
          <cx:pt idx="42004">0</cx:pt>
          <cx:pt idx="42005">1</cx:pt>
          <cx:pt idx="42006">1</cx:pt>
          <cx:pt idx="42007">1</cx:pt>
          <cx:pt idx="42008">1</cx:pt>
          <cx:pt idx="42009">0</cx:pt>
          <cx:pt idx="42010">1</cx:pt>
          <cx:pt idx="42011">0</cx:pt>
          <cx:pt idx="42012">0</cx:pt>
          <cx:pt idx="42013">1</cx:pt>
          <cx:pt idx="42014">0</cx:pt>
          <cx:pt idx="42015">0</cx:pt>
          <cx:pt idx="42016">0</cx:pt>
          <cx:pt idx="42017">0</cx:pt>
          <cx:pt idx="42018">1</cx:pt>
          <cx:pt idx="42019">0</cx:pt>
          <cx:pt idx="42020">0</cx:pt>
          <cx:pt idx="42021">1</cx:pt>
          <cx:pt idx="42022">0</cx:pt>
          <cx:pt idx="42023">0</cx:pt>
          <cx:pt idx="42024">0</cx:pt>
          <cx:pt idx="42025">1</cx:pt>
          <cx:pt idx="42026">1</cx:pt>
          <cx:pt idx="42027">1</cx:pt>
          <cx:pt idx="42028">0</cx:pt>
          <cx:pt idx="42029">1</cx:pt>
          <cx:pt idx="42030">0</cx:pt>
          <cx:pt idx="42031">1</cx:pt>
          <cx:pt idx="42032">1</cx:pt>
          <cx:pt idx="42033">0</cx:pt>
          <cx:pt idx="42034">0</cx:pt>
          <cx:pt idx="42035">0</cx:pt>
          <cx:pt idx="42036">0</cx:pt>
          <cx:pt idx="42037">1</cx:pt>
          <cx:pt idx="42038">1</cx:pt>
          <cx:pt idx="42039">1</cx:pt>
          <cx:pt idx="42040">0</cx:pt>
          <cx:pt idx="42041">1</cx:pt>
          <cx:pt idx="42042">0</cx:pt>
          <cx:pt idx="42043">1</cx:pt>
          <cx:pt idx="42044">0</cx:pt>
          <cx:pt idx="42045">0</cx:pt>
          <cx:pt idx="42046">1</cx:pt>
          <cx:pt idx="42047">0</cx:pt>
          <cx:pt idx="42048">1</cx:pt>
          <cx:pt idx="42049">1</cx:pt>
          <cx:pt idx="42050">1</cx:pt>
          <cx:pt idx="42051">1</cx:pt>
          <cx:pt idx="42052">0</cx:pt>
          <cx:pt idx="42053">1</cx:pt>
          <cx:pt idx="42054">0</cx:pt>
          <cx:pt idx="42055">1</cx:pt>
          <cx:pt idx="42056">0</cx:pt>
          <cx:pt idx="42057">1</cx:pt>
          <cx:pt idx="42058">1</cx:pt>
          <cx:pt idx="42059">0</cx:pt>
          <cx:pt idx="42060">0</cx:pt>
          <cx:pt idx="42061">0</cx:pt>
          <cx:pt idx="42062">0</cx:pt>
          <cx:pt idx="42063">0</cx:pt>
          <cx:pt idx="42064">1</cx:pt>
          <cx:pt idx="42065">0</cx:pt>
          <cx:pt idx="42066">1</cx:pt>
          <cx:pt idx="42067">0</cx:pt>
          <cx:pt idx="42068">0</cx:pt>
          <cx:pt idx="42069">0</cx:pt>
          <cx:pt idx="42070">1</cx:pt>
          <cx:pt idx="42071">0</cx:pt>
          <cx:pt idx="42072">1</cx:pt>
          <cx:pt idx="42073">1</cx:pt>
          <cx:pt idx="42074">1</cx:pt>
          <cx:pt idx="42075">0</cx:pt>
          <cx:pt idx="42076">0</cx:pt>
          <cx:pt idx="42077">0</cx:pt>
          <cx:pt idx="42078">0</cx:pt>
          <cx:pt idx="42079">0</cx:pt>
          <cx:pt idx="42080">1</cx:pt>
          <cx:pt idx="42081">0</cx:pt>
          <cx:pt idx="42082">0</cx:pt>
          <cx:pt idx="42083">0</cx:pt>
          <cx:pt idx="42084">0</cx:pt>
          <cx:pt idx="42085">0</cx:pt>
          <cx:pt idx="42086">1</cx:pt>
          <cx:pt idx="42087">0</cx:pt>
          <cx:pt idx="42088">0</cx:pt>
          <cx:pt idx="42089">1</cx:pt>
          <cx:pt idx="42090">0</cx:pt>
          <cx:pt idx="42091">0</cx:pt>
          <cx:pt idx="42092">0</cx:pt>
          <cx:pt idx="42093">0</cx:pt>
          <cx:pt idx="42094">0</cx:pt>
          <cx:pt idx="42095">1</cx:pt>
          <cx:pt idx="42096">1</cx:pt>
          <cx:pt idx="42097">1</cx:pt>
          <cx:pt idx="42098">0</cx:pt>
          <cx:pt idx="42099">1</cx:pt>
          <cx:pt idx="42100">1</cx:pt>
          <cx:pt idx="42101">1</cx:pt>
          <cx:pt idx="42102">1</cx:pt>
          <cx:pt idx="42103">0</cx:pt>
          <cx:pt idx="42104">0</cx:pt>
          <cx:pt idx="42105">0</cx:pt>
          <cx:pt idx="42106">1</cx:pt>
          <cx:pt idx="42107">1</cx:pt>
          <cx:pt idx="42108">1</cx:pt>
          <cx:pt idx="42109">1</cx:pt>
          <cx:pt idx="42110">1</cx:pt>
          <cx:pt idx="42111">1</cx:pt>
          <cx:pt idx="42112">0</cx:pt>
          <cx:pt idx="42113">1</cx:pt>
          <cx:pt idx="42114">1</cx:pt>
          <cx:pt idx="42115">0</cx:pt>
          <cx:pt idx="42116">0</cx:pt>
          <cx:pt idx="42117">1</cx:pt>
          <cx:pt idx="42118">1</cx:pt>
          <cx:pt idx="42119">0</cx:pt>
          <cx:pt idx="42120">1</cx:pt>
          <cx:pt idx="42121">0</cx:pt>
          <cx:pt idx="42122">0</cx:pt>
          <cx:pt idx="42123">0</cx:pt>
          <cx:pt idx="42124">0</cx:pt>
          <cx:pt idx="42125">0</cx:pt>
          <cx:pt idx="42126">0</cx:pt>
          <cx:pt idx="42127">0</cx:pt>
          <cx:pt idx="42128">0</cx:pt>
          <cx:pt idx="42129">1</cx:pt>
          <cx:pt idx="42130">0</cx:pt>
          <cx:pt idx="42131">0</cx:pt>
          <cx:pt idx="42132">1</cx:pt>
          <cx:pt idx="42133">0</cx:pt>
          <cx:pt idx="42134">1</cx:pt>
          <cx:pt idx="42135">0</cx:pt>
          <cx:pt idx="42136">0</cx:pt>
          <cx:pt idx="42137">1</cx:pt>
          <cx:pt idx="42138">0</cx:pt>
          <cx:pt idx="42139">1</cx:pt>
          <cx:pt idx="42140">1</cx:pt>
          <cx:pt idx="42141">1</cx:pt>
          <cx:pt idx="42142">0</cx:pt>
          <cx:pt idx="42143">0</cx:pt>
          <cx:pt idx="42144">0</cx:pt>
          <cx:pt idx="42145">0</cx:pt>
          <cx:pt idx="42146">0</cx:pt>
          <cx:pt idx="42147">1</cx:pt>
          <cx:pt idx="42148">1</cx:pt>
          <cx:pt idx="42149">1</cx:pt>
          <cx:pt idx="42150">1</cx:pt>
          <cx:pt idx="42151">1</cx:pt>
          <cx:pt idx="42152">0</cx:pt>
          <cx:pt idx="42153">0</cx:pt>
          <cx:pt idx="42154">1</cx:pt>
          <cx:pt idx="42155">1</cx:pt>
          <cx:pt idx="42156">0</cx:pt>
          <cx:pt idx="42157">1</cx:pt>
          <cx:pt idx="42158">0</cx:pt>
          <cx:pt idx="42159">1</cx:pt>
          <cx:pt idx="42160">1</cx:pt>
          <cx:pt idx="42161">1</cx:pt>
          <cx:pt idx="42162">1</cx:pt>
          <cx:pt idx="42163">1</cx:pt>
          <cx:pt idx="42164">0</cx:pt>
          <cx:pt idx="42165">1</cx:pt>
          <cx:pt idx="42166">0</cx:pt>
          <cx:pt idx="42167">0</cx:pt>
          <cx:pt idx="42168">0</cx:pt>
          <cx:pt idx="42169">0</cx:pt>
          <cx:pt idx="42170">0</cx:pt>
          <cx:pt idx="42171">0</cx:pt>
          <cx:pt idx="42172">0</cx:pt>
          <cx:pt idx="42173">1</cx:pt>
          <cx:pt idx="42174">0</cx:pt>
          <cx:pt idx="42175">1</cx:pt>
          <cx:pt idx="42176">1</cx:pt>
          <cx:pt idx="42177">0</cx:pt>
          <cx:pt idx="42178">0</cx:pt>
          <cx:pt idx="42179">1</cx:pt>
          <cx:pt idx="42180">0</cx:pt>
          <cx:pt idx="42181">0</cx:pt>
          <cx:pt idx="42182">0</cx:pt>
          <cx:pt idx="42183">1</cx:pt>
          <cx:pt idx="42184">0</cx:pt>
          <cx:pt idx="42185">0</cx:pt>
          <cx:pt idx="42186">0</cx:pt>
          <cx:pt idx="42187">0</cx:pt>
          <cx:pt idx="42188">1</cx:pt>
          <cx:pt idx="42189">0</cx:pt>
          <cx:pt idx="42190">0</cx:pt>
          <cx:pt idx="42191">0</cx:pt>
          <cx:pt idx="42192">1</cx:pt>
          <cx:pt idx="42193">1</cx:pt>
          <cx:pt idx="42194">1</cx:pt>
          <cx:pt idx="42195">0</cx:pt>
          <cx:pt idx="42196">1</cx:pt>
          <cx:pt idx="42197">0</cx:pt>
          <cx:pt idx="42198">0</cx:pt>
          <cx:pt idx="42199">1</cx:pt>
          <cx:pt idx="42200">0</cx:pt>
          <cx:pt idx="42201">0</cx:pt>
          <cx:pt idx="42202">1</cx:pt>
          <cx:pt idx="42203">1</cx:pt>
          <cx:pt idx="42204">0</cx:pt>
          <cx:pt idx="42205">1</cx:pt>
          <cx:pt idx="42206">0</cx:pt>
          <cx:pt idx="42207">0</cx:pt>
          <cx:pt idx="42208">0</cx:pt>
          <cx:pt idx="42209">0</cx:pt>
          <cx:pt idx="42210">0</cx:pt>
          <cx:pt idx="42211">1</cx:pt>
          <cx:pt idx="42212">1</cx:pt>
          <cx:pt idx="42213">0</cx:pt>
          <cx:pt idx="42214">0</cx:pt>
          <cx:pt idx="42215">0</cx:pt>
          <cx:pt idx="42216">1</cx:pt>
          <cx:pt idx="42217">0</cx:pt>
          <cx:pt idx="42218">1</cx:pt>
          <cx:pt idx="42219">0</cx:pt>
          <cx:pt idx="42220">0</cx:pt>
          <cx:pt idx="42221">1</cx:pt>
          <cx:pt idx="42222">1</cx:pt>
          <cx:pt idx="42223">1</cx:pt>
          <cx:pt idx="42224">0</cx:pt>
          <cx:pt idx="42225">1</cx:pt>
          <cx:pt idx="42226">0</cx:pt>
          <cx:pt idx="42227">0</cx:pt>
          <cx:pt idx="42228">1</cx:pt>
          <cx:pt idx="42229">0</cx:pt>
          <cx:pt idx="42230">0</cx:pt>
          <cx:pt idx="42231">0</cx:pt>
          <cx:pt idx="42232">0</cx:pt>
          <cx:pt idx="42233">0</cx:pt>
          <cx:pt idx="42234">1</cx:pt>
          <cx:pt idx="42235">0</cx:pt>
          <cx:pt idx="42236">1</cx:pt>
          <cx:pt idx="42237">1</cx:pt>
          <cx:pt idx="42238">0</cx:pt>
          <cx:pt idx="42239">0</cx:pt>
          <cx:pt idx="42240">1</cx:pt>
          <cx:pt idx="42241">0</cx:pt>
          <cx:pt idx="42242">1</cx:pt>
          <cx:pt idx="42243">0</cx:pt>
          <cx:pt idx="42244">1</cx:pt>
          <cx:pt idx="42245">1</cx:pt>
          <cx:pt idx="42246">1</cx:pt>
          <cx:pt idx="42247">1</cx:pt>
          <cx:pt idx="42248">0</cx:pt>
          <cx:pt idx="42249">1</cx:pt>
          <cx:pt idx="42250">0</cx:pt>
          <cx:pt idx="42251">1</cx:pt>
          <cx:pt idx="42252">0</cx:pt>
          <cx:pt idx="42253">0</cx:pt>
          <cx:pt idx="42254">1</cx:pt>
          <cx:pt idx="42255">0</cx:pt>
          <cx:pt idx="42256">1</cx:pt>
          <cx:pt idx="42257">0</cx:pt>
          <cx:pt idx="42258">1</cx:pt>
          <cx:pt idx="42259">1</cx:pt>
          <cx:pt idx="42260">0</cx:pt>
          <cx:pt idx="42261">1</cx:pt>
          <cx:pt idx="42262">0</cx:pt>
          <cx:pt idx="42263">0</cx:pt>
          <cx:pt idx="42264">0</cx:pt>
          <cx:pt idx="42265">1</cx:pt>
          <cx:pt idx="42266">0</cx:pt>
          <cx:pt idx="42267">0</cx:pt>
          <cx:pt idx="42268">1</cx:pt>
          <cx:pt idx="42269">1</cx:pt>
          <cx:pt idx="42270">0</cx:pt>
          <cx:pt idx="42271">0</cx:pt>
          <cx:pt idx="42272">1</cx:pt>
          <cx:pt idx="42273">1</cx:pt>
          <cx:pt idx="42274">0</cx:pt>
          <cx:pt idx="42275">1</cx:pt>
          <cx:pt idx="42276">1</cx:pt>
          <cx:pt idx="42277">0</cx:pt>
          <cx:pt idx="42278">0</cx:pt>
          <cx:pt idx="42279">0</cx:pt>
          <cx:pt idx="42280">1</cx:pt>
          <cx:pt idx="42281">0</cx:pt>
          <cx:pt idx="42282">1</cx:pt>
          <cx:pt idx="42283">1</cx:pt>
          <cx:pt idx="42284">1</cx:pt>
          <cx:pt idx="42285">0</cx:pt>
          <cx:pt idx="42286">1</cx:pt>
          <cx:pt idx="42287">1</cx:pt>
          <cx:pt idx="42288">1</cx:pt>
          <cx:pt idx="42289">1</cx:pt>
          <cx:pt idx="42290">0</cx:pt>
          <cx:pt idx="42291">0</cx:pt>
          <cx:pt idx="42292">0</cx:pt>
          <cx:pt idx="42293">0</cx:pt>
          <cx:pt idx="42294">0</cx:pt>
          <cx:pt idx="42295">0</cx:pt>
          <cx:pt idx="42296">1</cx:pt>
          <cx:pt idx="42297">0</cx:pt>
          <cx:pt idx="42298">0</cx:pt>
          <cx:pt idx="42299">1</cx:pt>
          <cx:pt idx="42300">0</cx:pt>
          <cx:pt idx="42301">0</cx:pt>
          <cx:pt idx="42302">0</cx:pt>
          <cx:pt idx="42303">0</cx:pt>
          <cx:pt idx="42304">0</cx:pt>
          <cx:pt idx="42305">0</cx:pt>
          <cx:pt idx="42306">1</cx:pt>
          <cx:pt idx="42307">0</cx:pt>
          <cx:pt idx="42308">0</cx:pt>
          <cx:pt idx="42309">1</cx:pt>
          <cx:pt idx="42310">0</cx:pt>
          <cx:pt idx="42311">0</cx:pt>
          <cx:pt idx="42312">0</cx:pt>
          <cx:pt idx="42313">1</cx:pt>
          <cx:pt idx="42314">0</cx:pt>
          <cx:pt idx="42315">1</cx:pt>
          <cx:pt idx="42316">1</cx:pt>
          <cx:pt idx="42317">0</cx:pt>
          <cx:pt idx="42318">1</cx:pt>
          <cx:pt idx="42319">1</cx:pt>
          <cx:pt idx="42320">1</cx:pt>
          <cx:pt idx="42321">0</cx:pt>
          <cx:pt idx="42322">1</cx:pt>
          <cx:pt idx="42323">1</cx:pt>
          <cx:pt idx="42324">0</cx:pt>
          <cx:pt idx="42325">1</cx:pt>
          <cx:pt idx="42326">1</cx:pt>
          <cx:pt idx="42327">0</cx:pt>
          <cx:pt idx="42328">0</cx:pt>
          <cx:pt idx="42329">1</cx:pt>
          <cx:pt idx="42330">0</cx:pt>
          <cx:pt idx="42331">1</cx:pt>
          <cx:pt idx="42332">1</cx:pt>
          <cx:pt idx="42333">1</cx:pt>
          <cx:pt idx="42334">1</cx:pt>
          <cx:pt idx="42335">1</cx:pt>
          <cx:pt idx="42336">1</cx:pt>
          <cx:pt idx="42337">1</cx:pt>
          <cx:pt idx="42338">1</cx:pt>
          <cx:pt idx="42339">0</cx:pt>
          <cx:pt idx="42340">1</cx:pt>
          <cx:pt idx="42341">0</cx:pt>
          <cx:pt idx="42342">1</cx:pt>
          <cx:pt idx="42343">0</cx:pt>
          <cx:pt idx="42344">1</cx:pt>
          <cx:pt idx="42345">1</cx:pt>
          <cx:pt idx="42346">1</cx:pt>
          <cx:pt idx="42347">1</cx:pt>
          <cx:pt idx="42348">0</cx:pt>
          <cx:pt idx="42349">0</cx:pt>
          <cx:pt idx="42350">0</cx:pt>
          <cx:pt idx="42351">0</cx:pt>
          <cx:pt idx="42352">1</cx:pt>
          <cx:pt idx="42353">0</cx:pt>
          <cx:pt idx="42354">0</cx:pt>
          <cx:pt idx="42355">1</cx:pt>
          <cx:pt idx="42356">0</cx:pt>
          <cx:pt idx="42357">1</cx:pt>
          <cx:pt idx="42358">1</cx:pt>
          <cx:pt idx="42359">1</cx:pt>
          <cx:pt idx="42360">0</cx:pt>
          <cx:pt idx="42361">1</cx:pt>
          <cx:pt idx="42362">1</cx:pt>
          <cx:pt idx="42363">1</cx:pt>
          <cx:pt idx="42364">1</cx:pt>
          <cx:pt idx="42365">0</cx:pt>
          <cx:pt idx="42366">0</cx:pt>
          <cx:pt idx="42367">0</cx:pt>
          <cx:pt idx="42368">1</cx:pt>
          <cx:pt idx="42369">0</cx:pt>
          <cx:pt idx="42370">0</cx:pt>
          <cx:pt idx="42371">0</cx:pt>
          <cx:pt idx="42372">1</cx:pt>
          <cx:pt idx="42373">0</cx:pt>
          <cx:pt idx="42374">0</cx:pt>
          <cx:pt idx="42375">0</cx:pt>
          <cx:pt idx="42376">1</cx:pt>
          <cx:pt idx="42377">0</cx:pt>
          <cx:pt idx="42378">1</cx:pt>
          <cx:pt idx="42379">1</cx:pt>
          <cx:pt idx="42380">1</cx:pt>
          <cx:pt idx="42381">0</cx:pt>
          <cx:pt idx="42382">0</cx:pt>
          <cx:pt idx="42383">0</cx:pt>
          <cx:pt idx="42384">0</cx:pt>
          <cx:pt idx="42385">1</cx:pt>
          <cx:pt idx="42386">1</cx:pt>
          <cx:pt idx="42387">1</cx:pt>
          <cx:pt idx="42388">0</cx:pt>
          <cx:pt idx="42389">0</cx:pt>
          <cx:pt idx="42390">0</cx:pt>
          <cx:pt idx="42391">1</cx:pt>
          <cx:pt idx="42392">0</cx:pt>
          <cx:pt idx="42393">0</cx:pt>
          <cx:pt idx="42394">1</cx:pt>
          <cx:pt idx="42395">1</cx:pt>
          <cx:pt idx="42396">0</cx:pt>
          <cx:pt idx="42397">0</cx:pt>
          <cx:pt idx="42398">0</cx:pt>
          <cx:pt idx="42399">0</cx:pt>
          <cx:pt idx="42400">1</cx:pt>
          <cx:pt idx="42401">0</cx:pt>
          <cx:pt idx="42402">1</cx:pt>
          <cx:pt idx="42403">0</cx:pt>
          <cx:pt idx="42404">1</cx:pt>
          <cx:pt idx="42405">0</cx:pt>
          <cx:pt idx="42406">0</cx:pt>
          <cx:pt idx="42407">1</cx:pt>
          <cx:pt idx="42408">0</cx:pt>
          <cx:pt idx="42409">0</cx:pt>
          <cx:pt idx="42410">0</cx:pt>
          <cx:pt idx="42411">1</cx:pt>
          <cx:pt idx="42412">1</cx:pt>
          <cx:pt idx="42413">0</cx:pt>
          <cx:pt idx="42414">0</cx:pt>
          <cx:pt idx="42415">1</cx:pt>
          <cx:pt idx="42416">1</cx:pt>
          <cx:pt idx="42417">0</cx:pt>
          <cx:pt idx="42418">0</cx:pt>
          <cx:pt idx="42419">0</cx:pt>
          <cx:pt idx="42420">1</cx:pt>
          <cx:pt idx="42421">1</cx:pt>
          <cx:pt idx="42422">0</cx:pt>
          <cx:pt idx="42423">1</cx:pt>
          <cx:pt idx="42424">0</cx:pt>
          <cx:pt idx="42425">0</cx:pt>
          <cx:pt idx="42426">0</cx:pt>
          <cx:pt idx="42427">1</cx:pt>
          <cx:pt idx="42428">0</cx:pt>
          <cx:pt idx="42429">0</cx:pt>
          <cx:pt idx="42430">1</cx:pt>
          <cx:pt idx="42431">1</cx:pt>
          <cx:pt idx="42432">1</cx:pt>
          <cx:pt idx="42433">1</cx:pt>
          <cx:pt idx="42434">0</cx:pt>
          <cx:pt idx="42435">0</cx:pt>
          <cx:pt idx="42436">0</cx:pt>
          <cx:pt idx="42437">1</cx:pt>
          <cx:pt idx="42438">1</cx:pt>
          <cx:pt idx="42439">0</cx:pt>
          <cx:pt idx="42440">0</cx:pt>
          <cx:pt idx="42441">0</cx:pt>
          <cx:pt idx="42442">0</cx:pt>
          <cx:pt idx="42443">1</cx:pt>
          <cx:pt idx="42444">1</cx:pt>
          <cx:pt idx="42445">0</cx:pt>
          <cx:pt idx="42446">1</cx:pt>
          <cx:pt idx="42447">0</cx:pt>
          <cx:pt idx="42448">1</cx:pt>
          <cx:pt idx="42449">1</cx:pt>
          <cx:pt idx="42450">1</cx:pt>
          <cx:pt idx="42451">1</cx:pt>
          <cx:pt idx="42452">1</cx:pt>
          <cx:pt idx="42453">0</cx:pt>
          <cx:pt idx="42454">0</cx:pt>
          <cx:pt idx="42455">0</cx:pt>
          <cx:pt idx="42456">0</cx:pt>
          <cx:pt idx="42457">0</cx:pt>
          <cx:pt idx="42458">0</cx:pt>
          <cx:pt idx="42459">0</cx:pt>
          <cx:pt idx="42460">0</cx:pt>
          <cx:pt idx="42461">1</cx:pt>
          <cx:pt idx="42462">0</cx:pt>
          <cx:pt idx="42463">1</cx:pt>
          <cx:pt idx="42464">1</cx:pt>
          <cx:pt idx="42465">0</cx:pt>
          <cx:pt idx="42466">0</cx:pt>
          <cx:pt idx="42467">0</cx:pt>
          <cx:pt idx="42468">0</cx:pt>
          <cx:pt idx="42469">1</cx:pt>
          <cx:pt idx="42470">0</cx:pt>
          <cx:pt idx="42471">0</cx:pt>
          <cx:pt idx="42472">1</cx:pt>
          <cx:pt idx="42473">0</cx:pt>
          <cx:pt idx="42474">1</cx:pt>
          <cx:pt idx="42475">0</cx:pt>
          <cx:pt idx="42476">1</cx:pt>
          <cx:pt idx="42477">0</cx:pt>
          <cx:pt idx="42478">0</cx:pt>
          <cx:pt idx="42479">0</cx:pt>
          <cx:pt idx="42480">0</cx:pt>
          <cx:pt idx="42481">1</cx:pt>
          <cx:pt idx="42482">0</cx:pt>
          <cx:pt idx="42483">1</cx:pt>
          <cx:pt idx="42484">1</cx:pt>
          <cx:pt idx="42485">1</cx:pt>
          <cx:pt idx="42486">0</cx:pt>
          <cx:pt idx="42487">0</cx:pt>
          <cx:pt idx="42488">0</cx:pt>
          <cx:pt idx="42489">0</cx:pt>
          <cx:pt idx="42490">0</cx:pt>
          <cx:pt idx="42491">0</cx:pt>
          <cx:pt idx="42492">0</cx:pt>
          <cx:pt idx="42493">1</cx:pt>
          <cx:pt idx="42494">0</cx:pt>
          <cx:pt idx="42495">1</cx:pt>
          <cx:pt idx="42496">1</cx:pt>
          <cx:pt idx="42497">0</cx:pt>
          <cx:pt idx="42498">0</cx:pt>
          <cx:pt idx="42499">1</cx:pt>
          <cx:pt idx="42500">0</cx:pt>
          <cx:pt idx="42501">0</cx:pt>
          <cx:pt idx="42502">1</cx:pt>
          <cx:pt idx="42503">1</cx:pt>
          <cx:pt idx="42504">0</cx:pt>
          <cx:pt idx="42505">1</cx:pt>
          <cx:pt idx="42506">0</cx:pt>
          <cx:pt idx="42507">0</cx:pt>
          <cx:pt idx="42508">1</cx:pt>
          <cx:pt idx="42509">1</cx:pt>
          <cx:pt idx="42510">1</cx:pt>
          <cx:pt idx="42511">0</cx:pt>
          <cx:pt idx="42512">0</cx:pt>
          <cx:pt idx="42513">1</cx:pt>
          <cx:pt idx="42514">0</cx:pt>
          <cx:pt idx="42515">1</cx:pt>
          <cx:pt idx="42516">0</cx:pt>
          <cx:pt idx="42517">1</cx:pt>
          <cx:pt idx="42518">0</cx:pt>
          <cx:pt idx="42519">0</cx:pt>
          <cx:pt idx="42520">0</cx:pt>
          <cx:pt idx="42521">0</cx:pt>
          <cx:pt idx="42522">1</cx:pt>
          <cx:pt idx="42523">0</cx:pt>
          <cx:pt idx="42524">1</cx:pt>
          <cx:pt idx="42525">0</cx:pt>
          <cx:pt idx="42526">0</cx:pt>
          <cx:pt idx="42527">0</cx:pt>
          <cx:pt idx="42528">0</cx:pt>
          <cx:pt idx="42529">1</cx:pt>
          <cx:pt idx="42530">1</cx:pt>
          <cx:pt idx="42531">0</cx:pt>
          <cx:pt idx="42532">1</cx:pt>
          <cx:pt idx="42533">1</cx:pt>
          <cx:pt idx="42534">1</cx:pt>
          <cx:pt idx="42535">0</cx:pt>
          <cx:pt idx="42536">1</cx:pt>
          <cx:pt idx="42537">0</cx:pt>
          <cx:pt idx="42538">1</cx:pt>
          <cx:pt idx="42539">1</cx:pt>
          <cx:pt idx="42540">1</cx:pt>
          <cx:pt idx="42541">1</cx:pt>
          <cx:pt idx="42542">0</cx:pt>
          <cx:pt idx="42543">1</cx:pt>
          <cx:pt idx="42544">1</cx:pt>
          <cx:pt idx="42545">1</cx:pt>
          <cx:pt idx="42546">0</cx:pt>
          <cx:pt idx="42547">1</cx:pt>
          <cx:pt idx="42548">0</cx:pt>
          <cx:pt idx="42549">0</cx:pt>
          <cx:pt idx="42550">0</cx:pt>
          <cx:pt idx="42551">1</cx:pt>
          <cx:pt idx="42552">0</cx:pt>
          <cx:pt idx="42553">1</cx:pt>
          <cx:pt idx="42554">0</cx:pt>
          <cx:pt idx="42555">1</cx:pt>
          <cx:pt idx="42556">0</cx:pt>
          <cx:pt idx="42557">1</cx:pt>
          <cx:pt idx="42558">0</cx:pt>
          <cx:pt idx="42559">0</cx:pt>
          <cx:pt idx="42560">1</cx:pt>
          <cx:pt idx="42561">1</cx:pt>
          <cx:pt idx="42562">1</cx:pt>
          <cx:pt idx="42563">0</cx:pt>
          <cx:pt idx="42564">1</cx:pt>
          <cx:pt idx="42565">1</cx:pt>
          <cx:pt idx="42566">0</cx:pt>
          <cx:pt idx="42567">0</cx:pt>
          <cx:pt idx="42568">0</cx:pt>
          <cx:pt idx="42569">0</cx:pt>
          <cx:pt idx="42570">0</cx:pt>
          <cx:pt idx="42571">0</cx:pt>
          <cx:pt idx="42572">0</cx:pt>
          <cx:pt idx="42573">0</cx:pt>
          <cx:pt idx="42574">0</cx:pt>
          <cx:pt idx="42575">0</cx:pt>
          <cx:pt idx="42576">0</cx:pt>
          <cx:pt idx="42577">1</cx:pt>
          <cx:pt idx="42578">0</cx:pt>
          <cx:pt idx="42579">0</cx:pt>
          <cx:pt idx="42580">0</cx:pt>
          <cx:pt idx="42581">1</cx:pt>
          <cx:pt idx="42582">1</cx:pt>
          <cx:pt idx="42583">0</cx:pt>
          <cx:pt idx="42584">1</cx:pt>
          <cx:pt idx="42585">0</cx:pt>
          <cx:pt idx="42586">0</cx:pt>
          <cx:pt idx="42587">1</cx:pt>
          <cx:pt idx="42588">0</cx:pt>
          <cx:pt idx="42589">0</cx:pt>
          <cx:pt idx="42590">0</cx:pt>
          <cx:pt idx="42591">0</cx:pt>
          <cx:pt idx="42592">0</cx:pt>
          <cx:pt idx="42593">0</cx:pt>
          <cx:pt idx="42594">0</cx:pt>
          <cx:pt idx="42595">0</cx:pt>
          <cx:pt idx="42596">0</cx:pt>
          <cx:pt idx="42597">0</cx:pt>
          <cx:pt idx="42598">0</cx:pt>
          <cx:pt idx="42599">0</cx:pt>
          <cx:pt idx="42600">1</cx:pt>
          <cx:pt idx="42601">1</cx:pt>
          <cx:pt idx="42602">0</cx:pt>
          <cx:pt idx="42603">0</cx:pt>
          <cx:pt idx="42604">0</cx:pt>
          <cx:pt idx="42605">1</cx:pt>
          <cx:pt idx="42606">1</cx:pt>
          <cx:pt idx="42607">1</cx:pt>
          <cx:pt idx="42608">1</cx:pt>
          <cx:pt idx="42609">0</cx:pt>
          <cx:pt idx="42610">1</cx:pt>
          <cx:pt idx="42611">1</cx:pt>
          <cx:pt idx="42612">0</cx:pt>
          <cx:pt idx="42613">1</cx:pt>
          <cx:pt idx="42614">0</cx:pt>
          <cx:pt idx="42615">1</cx:pt>
          <cx:pt idx="42616">0</cx:pt>
          <cx:pt idx="42617">0</cx:pt>
          <cx:pt idx="42618">1</cx:pt>
          <cx:pt idx="42619">0</cx:pt>
          <cx:pt idx="42620">0</cx:pt>
          <cx:pt idx="42621">1</cx:pt>
          <cx:pt idx="42622">0</cx:pt>
          <cx:pt idx="42623">0</cx:pt>
          <cx:pt idx="42624">0</cx:pt>
          <cx:pt idx="42625">1</cx:pt>
          <cx:pt idx="42626">0</cx:pt>
          <cx:pt idx="42627">0</cx:pt>
          <cx:pt idx="42628">0</cx:pt>
          <cx:pt idx="42629">1</cx:pt>
          <cx:pt idx="42630">1</cx:pt>
          <cx:pt idx="42631">0</cx:pt>
          <cx:pt idx="42632">0</cx:pt>
          <cx:pt idx="42633">0</cx:pt>
          <cx:pt idx="42634">0</cx:pt>
          <cx:pt idx="42635">0</cx:pt>
          <cx:pt idx="42636">0</cx:pt>
          <cx:pt idx="42637">0</cx:pt>
          <cx:pt idx="42638">1</cx:pt>
          <cx:pt idx="42639">1</cx:pt>
          <cx:pt idx="42640">1</cx:pt>
          <cx:pt idx="42641">0</cx:pt>
          <cx:pt idx="42642">1</cx:pt>
          <cx:pt idx="42643">0</cx:pt>
          <cx:pt idx="42644">0</cx:pt>
          <cx:pt idx="42645">1</cx:pt>
          <cx:pt idx="42646">0</cx:pt>
          <cx:pt idx="42647">0</cx:pt>
          <cx:pt idx="42648">0</cx:pt>
          <cx:pt idx="42649">0</cx:pt>
          <cx:pt idx="42650">0</cx:pt>
          <cx:pt idx="42651">0</cx:pt>
          <cx:pt idx="42652">0</cx:pt>
          <cx:pt idx="42653">1</cx:pt>
          <cx:pt idx="42654">1</cx:pt>
          <cx:pt idx="42655">0</cx:pt>
          <cx:pt idx="42656">0</cx:pt>
          <cx:pt idx="42657">1</cx:pt>
          <cx:pt idx="42658">0</cx:pt>
          <cx:pt idx="42659">0</cx:pt>
          <cx:pt idx="42660">0</cx:pt>
          <cx:pt idx="42661">0</cx:pt>
          <cx:pt idx="42662">0</cx:pt>
          <cx:pt idx="42663">0</cx:pt>
          <cx:pt idx="42664">1</cx:pt>
          <cx:pt idx="42665">1</cx:pt>
          <cx:pt idx="42666">0</cx:pt>
          <cx:pt idx="42667">1</cx:pt>
          <cx:pt idx="42668">1</cx:pt>
          <cx:pt idx="42669">0</cx:pt>
          <cx:pt idx="42670">1</cx:pt>
          <cx:pt idx="42671">0</cx:pt>
          <cx:pt idx="42672">1</cx:pt>
          <cx:pt idx="42673">0</cx:pt>
          <cx:pt idx="42674">0</cx:pt>
          <cx:pt idx="42675">1</cx:pt>
          <cx:pt idx="42676">0</cx:pt>
          <cx:pt idx="42677">1</cx:pt>
          <cx:pt idx="42678">1</cx:pt>
          <cx:pt idx="42679">0</cx:pt>
          <cx:pt idx="42680">1</cx:pt>
          <cx:pt idx="42681">1</cx:pt>
          <cx:pt idx="42682">1</cx:pt>
          <cx:pt idx="42683">1</cx:pt>
          <cx:pt idx="42684">1</cx:pt>
          <cx:pt idx="42685">1</cx:pt>
          <cx:pt idx="42686">1</cx:pt>
          <cx:pt idx="42687">0</cx:pt>
          <cx:pt idx="42688">1</cx:pt>
          <cx:pt idx="42689">0</cx:pt>
          <cx:pt idx="42690">1</cx:pt>
          <cx:pt idx="42691">1</cx:pt>
          <cx:pt idx="42692">1</cx:pt>
          <cx:pt idx="42693">1</cx:pt>
          <cx:pt idx="42694">0</cx:pt>
          <cx:pt idx="42695">0</cx:pt>
          <cx:pt idx="42696">0</cx:pt>
          <cx:pt idx="42697">0</cx:pt>
          <cx:pt idx="42698">1</cx:pt>
          <cx:pt idx="42699">0</cx:pt>
          <cx:pt idx="42700">1</cx:pt>
          <cx:pt idx="42701">0</cx:pt>
          <cx:pt idx="42702">0</cx:pt>
          <cx:pt idx="42703">1</cx:pt>
          <cx:pt idx="42704">0</cx:pt>
          <cx:pt idx="42705">1</cx:pt>
          <cx:pt idx="42706">1</cx:pt>
          <cx:pt idx="42707">1</cx:pt>
          <cx:pt idx="42708">0</cx:pt>
          <cx:pt idx="42709">0</cx:pt>
          <cx:pt idx="42710">0</cx:pt>
          <cx:pt idx="42711">1</cx:pt>
          <cx:pt idx="42712">0</cx:pt>
          <cx:pt idx="42713">0</cx:pt>
          <cx:pt idx="42714">1</cx:pt>
          <cx:pt idx="42715">0</cx:pt>
          <cx:pt idx="42716">0</cx:pt>
          <cx:pt idx="42717">0</cx:pt>
          <cx:pt idx="42718">1</cx:pt>
          <cx:pt idx="42719">0</cx:pt>
          <cx:pt idx="42720">1</cx:pt>
          <cx:pt idx="42721">0</cx:pt>
          <cx:pt idx="42722">0</cx:pt>
          <cx:pt idx="42723">1</cx:pt>
          <cx:pt idx="42724">1</cx:pt>
          <cx:pt idx="42725">0</cx:pt>
          <cx:pt idx="42726">1</cx:pt>
          <cx:pt idx="42727">0</cx:pt>
          <cx:pt idx="42728">0</cx:pt>
          <cx:pt idx="42729">1</cx:pt>
          <cx:pt idx="42730">0</cx:pt>
          <cx:pt idx="42731">0</cx:pt>
          <cx:pt idx="42732">0</cx:pt>
          <cx:pt idx="42733">0</cx:pt>
          <cx:pt idx="42734">0</cx:pt>
          <cx:pt idx="42735">0</cx:pt>
          <cx:pt idx="42736">1</cx:pt>
          <cx:pt idx="42737">1</cx:pt>
          <cx:pt idx="42738">0</cx:pt>
          <cx:pt idx="42739">1</cx:pt>
          <cx:pt idx="42740">1</cx:pt>
          <cx:pt idx="42741">1</cx:pt>
          <cx:pt idx="42742">0</cx:pt>
          <cx:pt idx="42743">0</cx:pt>
          <cx:pt idx="42744">0</cx:pt>
          <cx:pt idx="42745">0</cx:pt>
          <cx:pt idx="42746">1</cx:pt>
          <cx:pt idx="42747">0</cx:pt>
          <cx:pt idx="42748">1</cx:pt>
          <cx:pt idx="42749">0</cx:pt>
          <cx:pt idx="42750">0</cx:pt>
          <cx:pt idx="42751">0</cx:pt>
          <cx:pt idx="42752">0</cx:pt>
          <cx:pt idx="42753">0</cx:pt>
          <cx:pt idx="42754">1</cx:pt>
          <cx:pt idx="42755">1</cx:pt>
          <cx:pt idx="42756">0</cx:pt>
          <cx:pt idx="42757">0</cx:pt>
          <cx:pt idx="42758">1</cx:pt>
          <cx:pt idx="42759">1</cx:pt>
          <cx:pt idx="42760">1</cx:pt>
          <cx:pt idx="42761">1</cx:pt>
          <cx:pt idx="42762">1</cx:pt>
          <cx:pt idx="42763">0</cx:pt>
          <cx:pt idx="42764">0</cx:pt>
          <cx:pt idx="42765">1</cx:pt>
          <cx:pt idx="42766">1</cx:pt>
          <cx:pt idx="42767">0</cx:pt>
          <cx:pt idx="42768">0</cx:pt>
          <cx:pt idx="42769">1</cx:pt>
          <cx:pt idx="42770">0</cx:pt>
          <cx:pt idx="42771">0</cx:pt>
          <cx:pt idx="42772">0</cx:pt>
          <cx:pt idx="42773">0</cx:pt>
          <cx:pt idx="42774">0</cx:pt>
          <cx:pt idx="42775">1</cx:pt>
          <cx:pt idx="42776">0</cx:pt>
          <cx:pt idx="42777">1</cx:pt>
          <cx:pt idx="42778">1</cx:pt>
          <cx:pt idx="42779">0</cx:pt>
          <cx:pt idx="42780">0</cx:pt>
          <cx:pt idx="42781">0</cx:pt>
          <cx:pt idx="42782">0</cx:pt>
          <cx:pt idx="42783">0</cx:pt>
          <cx:pt idx="42784">0</cx:pt>
          <cx:pt idx="42785">0</cx:pt>
          <cx:pt idx="42786">1</cx:pt>
          <cx:pt idx="42787">1</cx:pt>
          <cx:pt idx="42788">1</cx:pt>
          <cx:pt idx="42789">1</cx:pt>
          <cx:pt idx="42790">1</cx:pt>
          <cx:pt idx="42791">1</cx:pt>
          <cx:pt idx="42792">0</cx:pt>
          <cx:pt idx="42793">0</cx:pt>
          <cx:pt idx="42794">1</cx:pt>
          <cx:pt idx="42795">0</cx:pt>
          <cx:pt idx="42796">0</cx:pt>
          <cx:pt idx="42797">0</cx:pt>
          <cx:pt idx="42798">0</cx:pt>
          <cx:pt idx="42799">0</cx:pt>
          <cx:pt idx="42800">0</cx:pt>
          <cx:pt idx="42801">1</cx:pt>
          <cx:pt idx="42802">0</cx:pt>
          <cx:pt idx="42803">0</cx:pt>
          <cx:pt idx="42804">0</cx:pt>
          <cx:pt idx="42805">1</cx:pt>
          <cx:pt idx="42806">1</cx:pt>
          <cx:pt idx="42807">1</cx:pt>
          <cx:pt idx="42808">1</cx:pt>
          <cx:pt idx="42809">0</cx:pt>
          <cx:pt idx="42810">1</cx:pt>
          <cx:pt idx="42811">1</cx:pt>
          <cx:pt idx="42812">0</cx:pt>
          <cx:pt idx="42813">1</cx:pt>
          <cx:pt idx="42814">1</cx:pt>
          <cx:pt idx="42815">1</cx:pt>
          <cx:pt idx="42816">0</cx:pt>
          <cx:pt idx="42817">0</cx:pt>
          <cx:pt idx="42818">0</cx:pt>
          <cx:pt idx="42819">1</cx:pt>
          <cx:pt idx="42820">0</cx:pt>
          <cx:pt idx="42821">1</cx:pt>
          <cx:pt idx="42822">1</cx:pt>
          <cx:pt idx="42823">0</cx:pt>
          <cx:pt idx="42824">1</cx:pt>
          <cx:pt idx="42825">1</cx:pt>
          <cx:pt idx="42826">0</cx:pt>
          <cx:pt idx="42827">1</cx:pt>
          <cx:pt idx="42828">1</cx:pt>
          <cx:pt idx="42829">1</cx:pt>
          <cx:pt idx="42830">0</cx:pt>
          <cx:pt idx="42831">0</cx:pt>
          <cx:pt idx="42832">0</cx:pt>
          <cx:pt idx="42833">0</cx:pt>
          <cx:pt idx="42834">0</cx:pt>
          <cx:pt idx="42835">0</cx:pt>
          <cx:pt idx="42836">0</cx:pt>
          <cx:pt idx="42837">1</cx:pt>
          <cx:pt idx="42838">1</cx:pt>
          <cx:pt idx="42839">0</cx:pt>
          <cx:pt idx="42840">1</cx:pt>
          <cx:pt idx="42841">0</cx:pt>
          <cx:pt idx="42842">1</cx:pt>
          <cx:pt idx="42843">0</cx:pt>
          <cx:pt idx="42844">0</cx:pt>
          <cx:pt idx="42845">0</cx:pt>
          <cx:pt idx="42846">0</cx:pt>
          <cx:pt idx="42847">1</cx:pt>
          <cx:pt idx="42848">1</cx:pt>
          <cx:pt idx="42849">1</cx:pt>
          <cx:pt idx="42850">0</cx:pt>
          <cx:pt idx="42851">1</cx:pt>
          <cx:pt idx="42852">1</cx:pt>
          <cx:pt idx="42853">1</cx:pt>
          <cx:pt idx="42854">1</cx:pt>
          <cx:pt idx="42855">1</cx:pt>
          <cx:pt idx="42856">1</cx:pt>
          <cx:pt idx="42857">0</cx:pt>
          <cx:pt idx="42858">0</cx:pt>
          <cx:pt idx="42859">1</cx:pt>
          <cx:pt idx="42860">1</cx:pt>
          <cx:pt idx="42861">0</cx:pt>
          <cx:pt idx="42862">1</cx:pt>
          <cx:pt idx="42863">0</cx:pt>
          <cx:pt idx="42864">1</cx:pt>
          <cx:pt idx="42865">0</cx:pt>
          <cx:pt idx="42866">1</cx:pt>
          <cx:pt idx="42867">1</cx:pt>
          <cx:pt idx="42868">0</cx:pt>
          <cx:pt idx="42869">0</cx:pt>
          <cx:pt idx="42870">0</cx:pt>
          <cx:pt idx="42871">1</cx:pt>
          <cx:pt idx="42872">1</cx:pt>
          <cx:pt idx="42873">1</cx:pt>
          <cx:pt idx="42874">1</cx:pt>
          <cx:pt idx="42875">1</cx:pt>
          <cx:pt idx="42876">1</cx:pt>
          <cx:pt idx="42877">0</cx:pt>
          <cx:pt idx="42878">0</cx:pt>
          <cx:pt idx="42879">0</cx:pt>
          <cx:pt idx="42880">0</cx:pt>
          <cx:pt idx="42881">0</cx:pt>
          <cx:pt idx="42882">1</cx:pt>
          <cx:pt idx="42883">0</cx:pt>
          <cx:pt idx="42884">0</cx:pt>
          <cx:pt idx="42885">0</cx:pt>
          <cx:pt idx="42886">0</cx:pt>
          <cx:pt idx="42887">0</cx:pt>
          <cx:pt idx="42888">0</cx:pt>
          <cx:pt idx="42889">1</cx:pt>
          <cx:pt idx="42890">0</cx:pt>
          <cx:pt idx="42891">1</cx:pt>
          <cx:pt idx="42892">1</cx:pt>
          <cx:pt idx="42893">0</cx:pt>
          <cx:pt idx="42894">0</cx:pt>
          <cx:pt idx="42895">1</cx:pt>
          <cx:pt idx="42896">0</cx:pt>
          <cx:pt idx="42897">0</cx:pt>
          <cx:pt idx="42898">1</cx:pt>
          <cx:pt idx="42899">0</cx:pt>
          <cx:pt idx="42900">1</cx:pt>
          <cx:pt idx="42901">1</cx:pt>
          <cx:pt idx="42902">0</cx:pt>
          <cx:pt idx="42903">0</cx:pt>
          <cx:pt idx="42904">0</cx:pt>
          <cx:pt idx="42905">0</cx:pt>
          <cx:pt idx="42906">0</cx:pt>
          <cx:pt idx="42907">0</cx:pt>
          <cx:pt idx="42908">0</cx:pt>
          <cx:pt idx="42909">0</cx:pt>
          <cx:pt idx="42910">1</cx:pt>
          <cx:pt idx="42911">0</cx:pt>
          <cx:pt idx="42912">0</cx:pt>
          <cx:pt idx="42913">1</cx:pt>
          <cx:pt idx="42914">1</cx:pt>
          <cx:pt idx="42915">0</cx:pt>
          <cx:pt idx="42916">1</cx:pt>
          <cx:pt idx="42917">1</cx:pt>
          <cx:pt idx="42918">0</cx:pt>
          <cx:pt idx="42919">0</cx:pt>
          <cx:pt idx="42920">0</cx:pt>
          <cx:pt idx="42921">0</cx:pt>
          <cx:pt idx="42922">1</cx:pt>
          <cx:pt idx="42923">1</cx:pt>
          <cx:pt idx="42924">1</cx:pt>
          <cx:pt idx="42925">0</cx:pt>
          <cx:pt idx="42926">0</cx:pt>
          <cx:pt idx="42927">0</cx:pt>
          <cx:pt idx="42928">0</cx:pt>
          <cx:pt idx="42929">0</cx:pt>
          <cx:pt idx="42930">0</cx:pt>
          <cx:pt idx="42931">0</cx:pt>
          <cx:pt idx="42932">1</cx:pt>
          <cx:pt idx="42933">1</cx:pt>
          <cx:pt idx="42934">0</cx:pt>
          <cx:pt idx="42935">0</cx:pt>
          <cx:pt idx="42936">0</cx:pt>
          <cx:pt idx="42937">0</cx:pt>
          <cx:pt idx="42938">0</cx:pt>
          <cx:pt idx="42939">1</cx:pt>
          <cx:pt idx="42940">1</cx:pt>
          <cx:pt idx="42941">0</cx:pt>
          <cx:pt idx="42942">1</cx:pt>
          <cx:pt idx="42943">0</cx:pt>
          <cx:pt idx="42944">0</cx:pt>
          <cx:pt idx="42945">0</cx:pt>
          <cx:pt idx="42946">0</cx:pt>
          <cx:pt idx="42947">0</cx:pt>
          <cx:pt idx="42948">0</cx:pt>
          <cx:pt idx="42949">0</cx:pt>
          <cx:pt idx="42950">1</cx:pt>
          <cx:pt idx="42951">1</cx:pt>
          <cx:pt idx="42952">1</cx:pt>
          <cx:pt idx="42953">0</cx:pt>
          <cx:pt idx="42954">1</cx:pt>
          <cx:pt idx="42955">1</cx:pt>
          <cx:pt idx="42956">0</cx:pt>
          <cx:pt idx="42957">0</cx:pt>
          <cx:pt idx="42958">0</cx:pt>
          <cx:pt idx="42959">1</cx:pt>
          <cx:pt idx="42960">0</cx:pt>
          <cx:pt idx="42961">0</cx:pt>
          <cx:pt idx="42962">1</cx:pt>
          <cx:pt idx="42963">0</cx:pt>
          <cx:pt idx="42964">0</cx:pt>
          <cx:pt idx="42965">0</cx:pt>
          <cx:pt idx="42966">1</cx:pt>
          <cx:pt idx="42967">0</cx:pt>
          <cx:pt idx="42968">0</cx:pt>
          <cx:pt idx="42969">1</cx:pt>
          <cx:pt idx="42970">1</cx:pt>
          <cx:pt idx="42971">1</cx:pt>
          <cx:pt idx="42972">1</cx:pt>
          <cx:pt idx="42973">0</cx:pt>
          <cx:pt idx="42974">0</cx:pt>
          <cx:pt idx="42975">1</cx:pt>
          <cx:pt idx="42976">0</cx:pt>
          <cx:pt idx="42977">1</cx:pt>
          <cx:pt idx="42978">0</cx:pt>
          <cx:pt idx="42979">0</cx:pt>
          <cx:pt idx="42980">1</cx:pt>
          <cx:pt idx="42981">1</cx:pt>
          <cx:pt idx="42982">0</cx:pt>
          <cx:pt idx="42983">0</cx:pt>
          <cx:pt idx="42984">0</cx:pt>
          <cx:pt idx="42985">0</cx:pt>
          <cx:pt idx="42986">0</cx:pt>
          <cx:pt idx="42987">0</cx:pt>
          <cx:pt idx="42988">1</cx:pt>
          <cx:pt idx="42989">1</cx:pt>
          <cx:pt idx="42990">0</cx:pt>
          <cx:pt idx="42991">0</cx:pt>
          <cx:pt idx="42992">0</cx:pt>
          <cx:pt idx="42993">1</cx:pt>
          <cx:pt idx="42994">0</cx:pt>
          <cx:pt idx="42995">1</cx:pt>
          <cx:pt idx="42996">1</cx:pt>
          <cx:pt idx="42997">1</cx:pt>
          <cx:pt idx="42998">1</cx:pt>
          <cx:pt idx="42999">1</cx:pt>
          <cx:pt idx="43000">1</cx:pt>
          <cx:pt idx="43001">1</cx:pt>
          <cx:pt idx="43002">0</cx:pt>
          <cx:pt idx="43003">0</cx:pt>
          <cx:pt idx="43004">1</cx:pt>
          <cx:pt idx="43005">1</cx:pt>
          <cx:pt idx="43006">0</cx:pt>
          <cx:pt idx="43007">1</cx:pt>
          <cx:pt idx="43008">1</cx:pt>
          <cx:pt idx="43009">1</cx:pt>
          <cx:pt idx="43010">0</cx:pt>
          <cx:pt idx="43011">0</cx:pt>
          <cx:pt idx="43012">0</cx:pt>
          <cx:pt idx="43013">0</cx:pt>
          <cx:pt idx="43014">0</cx:pt>
          <cx:pt idx="43015">1</cx:pt>
          <cx:pt idx="43016">0</cx:pt>
          <cx:pt idx="43017">0</cx:pt>
          <cx:pt idx="43018">0</cx:pt>
          <cx:pt idx="43019">1</cx:pt>
          <cx:pt idx="43020">0</cx:pt>
          <cx:pt idx="43021">1</cx:pt>
          <cx:pt idx="43022">0</cx:pt>
          <cx:pt idx="43023">1</cx:pt>
          <cx:pt idx="43024">1</cx:pt>
          <cx:pt idx="43025">0</cx:pt>
          <cx:pt idx="43026">0</cx:pt>
          <cx:pt idx="43027">0</cx:pt>
          <cx:pt idx="43028">1</cx:pt>
          <cx:pt idx="43029">1</cx:pt>
          <cx:pt idx="43030">1</cx:pt>
          <cx:pt idx="43031">0</cx:pt>
          <cx:pt idx="43032">0</cx:pt>
          <cx:pt idx="43033">0</cx:pt>
          <cx:pt idx="43034">0</cx:pt>
          <cx:pt idx="43035">0</cx:pt>
          <cx:pt idx="43036">0</cx:pt>
          <cx:pt idx="43037">0</cx:pt>
          <cx:pt idx="43038">1</cx:pt>
          <cx:pt idx="43039">0</cx:pt>
          <cx:pt idx="43040">0</cx:pt>
          <cx:pt idx="43041">0</cx:pt>
          <cx:pt idx="43042">0</cx:pt>
          <cx:pt idx="43043">1</cx:pt>
          <cx:pt idx="43044">1</cx:pt>
          <cx:pt idx="43045">0</cx:pt>
          <cx:pt idx="43046">1</cx:pt>
          <cx:pt idx="43047">0</cx:pt>
          <cx:pt idx="43048">0</cx:pt>
          <cx:pt idx="43049">0</cx:pt>
          <cx:pt idx="43050">0</cx:pt>
          <cx:pt idx="43051">1</cx:pt>
          <cx:pt idx="43052">1</cx:pt>
          <cx:pt idx="43053">0</cx:pt>
          <cx:pt idx="43054">0</cx:pt>
          <cx:pt idx="43055">0</cx:pt>
          <cx:pt idx="43056">0</cx:pt>
          <cx:pt idx="43057">1</cx:pt>
          <cx:pt idx="43058">0</cx:pt>
          <cx:pt idx="43059">0</cx:pt>
          <cx:pt idx="43060">0</cx:pt>
          <cx:pt idx="43061">1</cx:pt>
          <cx:pt idx="43062">0</cx:pt>
          <cx:pt idx="43063">0</cx:pt>
          <cx:pt idx="43064">1</cx:pt>
          <cx:pt idx="43065">1</cx:pt>
          <cx:pt idx="43066">0</cx:pt>
          <cx:pt idx="43067">0</cx:pt>
          <cx:pt idx="43068">0</cx:pt>
          <cx:pt idx="43069">0</cx:pt>
          <cx:pt idx="43070">0</cx:pt>
          <cx:pt idx="43071">0</cx:pt>
          <cx:pt idx="43072">1</cx:pt>
          <cx:pt idx="43073">1</cx:pt>
          <cx:pt idx="43074">1</cx:pt>
          <cx:pt idx="43075">0</cx:pt>
          <cx:pt idx="43076">0</cx:pt>
          <cx:pt idx="43077">1</cx:pt>
          <cx:pt idx="43078">0</cx:pt>
          <cx:pt idx="43079">1</cx:pt>
          <cx:pt idx="43080">0</cx:pt>
          <cx:pt idx="43081">1</cx:pt>
          <cx:pt idx="43082">0</cx:pt>
          <cx:pt idx="43083">0</cx:pt>
          <cx:pt idx="43084">1</cx:pt>
          <cx:pt idx="43085">0</cx:pt>
          <cx:pt idx="43086">1</cx:pt>
          <cx:pt idx="43087">1</cx:pt>
          <cx:pt idx="43088">1</cx:pt>
          <cx:pt idx="43089">1</cx:pt>
          <cx:pt idx="43090">1</cx:pt>
          <cx:pt idx="43091">1</cx:pt>
          <cx:pt idx="43092">1</cx:pt>
          <cx:pt idx="43093">1</cx:pt>
          <cx:pt idx="43094">0</cx:pt>
          <cx:pt idx="43095">1</cx:pt>
          <cx:pt idx="43096">1</cx:pt>
          <cx:pt idx="43097">0</cx:pt>
          <cx:pt idx="43098">0</cx:pt>
          <cx:pt idx="43099">0</cx:pt>
          <cx:pt idx="43100">0</cx:pt>
          <cx:pt idx="43101">0</cx:pt>
          <cx:pt idx="43102">0</cx:pt>
          <cx:pt idx="43103">0</cx:pt>
          <cx:pt idx="43104">1</cx:pt>
          <cx:pt idx="43105">1</cx:pt>
          <cx:pt idx="43106">0</cx:pt>
          <cx:pt idx="43107">1</cx:pt>
          <cx:pt idx="43108">1</cx:pt>
          <cx:pt idx="43109">0</cx:pt>
          <cx:pt idx="43110">0</cx:pt>
          <cx:pt idx="43111">0</cx:pt>
          <cx:pt idx="43112">1</cx:pt>
          <cx:pt idx="43113">0</cx:pt>
          <cx:pt idx="43114">0</cx:pt>
          <cx:pt idx="43115">1</cx:pt>
          <cx:pt idx="43116">1</cx:pt>
          <cx:pt idx="43117">0</cx:pt>
          <cx:pt idx="43118">1</cx:pt>
          <cx:pt idx="43119">1</cx:pt>
          <cx:pt idx="43120">1</cx:pt>
          <cx:pt idx="43121">0</cx:pt>
          <cx:pt idx="43122">0</cx:pt>
          <cx:pt idx="43123">0</cx:pt>
          <cx:pt idx="43124">1</cx:pt>
          <cx:pt idx="43125">0</cx:pt>
          <cx:pt idx="43126">0</cx:pt>
          <cx:pt idx="43127">1</cx:pt>
          <cx:pt idx="43128">1</cx:pt>
          <cx:pt idx="43129">0</cx:pt>
          <cx:pt idx="43130">0</cx:pt>
          <cx:pt idx="43131">0</cx:pt>
          <cx:pt idx="43132">0</cx:pt>
          <cx:pt idx="43133">1</cx:pt>
          <cx:pt idx="43134">1</cx:pt>
          <cx:pt idx="43135">0</cx:pt>
          <cx:pt idx="43136">0</cx:pt>
          <cx:pt idx="43137">0</cx:pt>
          <cx:pt idx="43138">0</cx:pt>
          <cx:pt idx="43139">1</cx:pt>
          <cx:pt idx="43140">1</cx:pt>
          <cx:pt idx="43141">0</cx:pt>
          <cx:pt idx="43142">0</cx:pt>
          <cx:pt idx="43143">1</cx:pt>
          <cx:pt idx="43144">1</cx:pt>
          <cx:pt idx="43145">1</cx:pt>
          <cx:pt idx="43146">1</cx:pt>
          <cx:pt idx="43147">1</cx:pt>
          <cx:pt idx="43148">1</cx:pt>
          <cx:pt idx="43149">1</cx:pt>
          <cx:pt idx="43150">0</cx:pt>
          <cx:pt idx="43151">1</cx:pt>
          <cx:pt idx="43152">0</cx:pt>
          <cx:pt idx="43153">0</cx:pt>
          <cx:pt idx="43154">1</cx:pt>
          <cx:pt idx="43155">1</cx:pt>
          <cx:pt idx="43156">1</cx:pt>
          <cx:pt idx="43157">0</cx:pt>
          <cx:pt idx="43158">1</cx:pt>
          <cx:pt idx="43159">1</cx:pt>
          <cx:pt idx="43160">1</cx:pt>
          <cx:pt idx="43161">0</cx:pt>
          <cx:pt idx="43162">1</cx:pt>
          <cx:pt idx="43163">0</cx:pt>
          <cx:pt idx="43164">0</cx:pt>
          <cx:pt idx="43165">1</cx:pt>
          <cx:pt idx="43166">0</cx:pt>
          <cx:pt idx="43167">0</cx:pt>
          <cx:pt idx="43168">0</cx:pt>
          <cx:pt idx="43169">0</cx:pt>
          <cx:pt idx="43170">1</cx:pt>
          <cx:pt idx="43171">0</cx:pt>
          <cx:pt idx="43172">1</cx:pt>
          <cx:pt idx="43173">1</cx:pt>
          <cx:pt idx="43174">0</cx:pt>
          <cx:pt idx="43175">0</cx:pt>
          <cx:pt idx="43176">1</cx:pt>
          <cx:pt idx="43177">0</cx:pt>
          <cx:pt idx="43178">1</cx:pt>
          <cx:pt idx="43179">0</cx:pt>
          <cx:pt idx="43180">1</cx:pt>
          <cx:pt idx="43181">0</cx:pt>
          <cx:pt idx="43182">1</cx:pt>
          <cx:pt idx="43183">1</cx:pt>
          <cx:pt idx="43184">0</cx:pt>
          <cx:pt idx="43185">1</cx:pt>
          <cx:pt idx="43186">1</cx:pt>
          <cx:pt idx="43187">0</cx:pt>
          <cx:pt idx="43188">0</cx:pt>
          <cx:pt idx="43189">1</cx:pt>
          <cx:pt idx="43190">1</cx:pt>
          <cx:pt idx="43191">0</cx:pt>
          <cx:pt idx="43192">1</cx:pt>
          <cx:pt idx="43193">0</cx:pt>
          <cx:pt idx="43194">1</cx:pt>
          <cx:pt idx="43195">0</cx:pt>
          <cx:pt idx="43196">1</cx:pt>
          <cx:pt idx="43197">0</cx:pt>
          <cx:pt idx="43198">0</cx:pt>
          <cx:pt idx="43199">1</cx:pt>
          <cx:pt idx="43200">0</cx:pt>
          <cx:pt idx="43201">1</cx:pt>
          <cx:pt idx="43202">0</cx:pt>
          <cx:pt idx="43203">0</cx:pt>
          <cx:pt idx="43204">0</cx:pt>
          <cx:pt idx="43205">1</cx:pt>
          <cx:pt idx="43206">1</cx:pt>
          <cx:pt idx="43207">1</cx:pt>
          <cx:pt idx="43208">0</cx:pt>
          <cx:pt idx="43209">0</cx:pt>
          <cx:pt idx="43210">1</cx:pt>
          <cx:pt idx="43211">1</cx:pt>
          <cx:pt idx="43212">0</cx:pt>
          <cx:pt idx="43213">1</cx:pt>
          <cx:pt idx="43214">0</cx:pt>
          <cx:pt idx="43215">1</cx:pt>
          <cx:pt idx="43216">1</cx:pt>
          <cx:pt idx="43217">0</cx:pt>
          <cx:pt idx="43218">0</cx:pt>
          <cx:pt idx="43219">1</cx:pt>
          <cx:pt idx="43220">0</cx:pt>
          <cx:pt idx="43221">1</cx:pt>
          <cx:pt idx="43222">0</cx:pt>
          <cx:pt idx="43223">1</cx:pt>
          <cx:pt idx="43224">1</cx:pt>
          <cx:pt idx="43225">0</cx:pt>
          <cx:pt idx="43226">1</cx:pt>
          <cx:pt idx="43227">0</cx:pt>
          <cx:pt idx="43228">0</cx:pt>
          <cx:pt idx="43229">1</cx:pt>
          <cx:pt idx="43230">0</cx:pt>
          <cx:pt idx="43231">0</cx:pt>
          <cx:pt idx="43232">0</cx:pt>
          <cx:pt idx="43233">1</cx:pt>
          <cx:pt idx="43234">0</cx:pt>
          <cx:pt idx="43235">1</cx:pt>
          <cx:pt idx="43236">1</cx:pt>
          <cx:pt idx="43237">0</cx:pt>
          <cx:pt idx="43238">0</cx:pt>
          <cx:pt idx="43239">1</cx:pt>
          <cx:pt idx="43240">0</cx:pt>
          <cx:pt idx="43241">1</cx:pt>
          <cx:pt idx="43242">0</cx:pt>
          <cx:pt idx="43243">0</cx:pt>
          <cx:pt idx="43244">1</cx:pt>
          <cx:pt idx="43245">1</cx:pt>
          <cx:pt idx="43246">0</cx:pt>
          <cx:pt idx="43247">0</cx:pt>
          <cx:pt idx="43248">1</cx:pt>
          <cx:pt idx="43249">0</cx:pt>
          <cx:pt idx="43250">0</cx:pt>
          <cx:pt idx="43251">0</cx:pt>
          <cx:pt idx="43252">1</cx:pt>
          <cx:pt idx="43253">0</cx:pt>
          <cx:pt idx="43254">0</cx:pt>
          <cx:pt idx="43255">0</cx:pt>
          <cx:pt idx="43256">1</cx:pt>
          <cx:pt idx="43257">0</cx:pt>
          <cx:pt idx="43258">0</cx:pt>
          <cx:pt idx="43259">1</cx:pt>
          <cx:pt idx="43260">0</cx:pt>
          <cx:pt idx="43261">1</cx:pt>
          <cx:pt idx="43262">1</cx:pt>
          <cx:pt idx="43263">1</cx:pt>
          <cx:pt idx="43264">1</cx:pt>
          <cx:pt idx="43265">1</cx:pt>
          <cx:pt idx="43266">1</cx:pt>
          <cx:pt idx="43267">1</cx:pt>
          <cx:pt idx="43268">1</cx:pt>
          <cx:pt idx="43269">0</cx:pt>
          <cx:pt idx="43270">0</cx:pt>
          <cx:pt idx="43271">1</cx:pt>
          <cx:pt idx="43272">1</cx:pt>
          <cx:pt idx="43273">1</cx:pt>
          <cx:pt idx="43274">1</cx:pt>
          <cx:pt idx="43275">0</cx:pt>
          <cx:pt idx="43276">1</cx:pt>
          <cx:pt idx="43277">0</cx:pt>
          <cx:pt idx="43278">1</cx:pt>
          <cx:pt idx="43279">0</cx:pt>
          <cx:pt idx="43280">0</cx:pt>
          <cx:pt idx="43281">1</cx:pt>
          <cx:pt idx="43282">1</cx:pt>
          <cx:pt idx="43283">1</cx:pt>
          <cx:pt idx="43284">1</cx:pt>
          <cx:pt idx="43285">0</cx:pt>
          <cx:pt idx="43286">1</cx:pt>
          <cx:pt idx="43287">0</cx:pt>
          <cx:pt idx="43288">1</cx:pt>
          <cx:pt idx="43289">0</cx:pt>
          <cx:pt idx="43290">1</cx:pt>
          <cx:pt idx="43291">0</cx:pt>
          <cx:pt idx="43292">0</cx:pt>
          <cx:pt idx="43293">0</cx:pt>
          <cx:pt idx="43294">1</cx:pt>
          <cx:pt idx="43295">0</cx:pt>
          <cx:pt idx="43296">0</cx:pt>
          <cx:pt idx="43297">0</cx:pt>
          <cx:pt idx="43298">1</cx:pt>
          <cx:pt idx="43299">0</cx:pt>
          <cx:pt idx="43300">0</cx:pt>
          <cx:pt idx="43301">1</cx:pt>
          <cx:pt idx="43302">1</cx:pt>
          <cx:pt idx="43303">1</cx:pt>
          <cx:pt idx="43304">0</cx:pt>
          <cx:pt idx="43305">0</cx:pt>
          <cx:pt idx="43306">0</cx:pt>
          <cx:pt idx="43307">1</cx:pt>
          <cx:pt idx="43308">0</cx:pt>
          <cx:pt idx="43309">1</cx:pt>
          <cx:pt idx="43310">0</cx:pt>
          <cx:pt idx="43311">1</cx:pt>
          <cx:pt idx="43312">1</cx:pt>
          <cx:pt idx="43313">1</cx:pt>
          <cx:pt idx="43314">1</cx:pt>
          <cx:pt idx="43315">0</cx:pt>
          <cx:pt idx="43316">0</cx:pt>
          <cx:pt idx="43317">1</cx:pt>
          <cx:pt idx="43318">1</cx:pt>
          <cx:pt idx="43319">1</cx:pt>
          <cx:pt idx="43320">0</cx:pt>
          <cx:pt idx="43321">1</cx:pt>
          <cx:pt idx="43322">0</cx:pt>
          <cx:pt idx="43323">0</cx:pt>
          <cx:pt idx="43324">0</cx:pt>
          <cx:pt idx="43325">1</cx:pt>
          <cx:pt idx="43326">1</cx:pt>
          <cx:pt idx="43327">1</cx:pt>
          <cx:pt idx="43328">0</cx:pt>
          <cx:pt idx="43329">0</cx:pt>
          <cx:pt idx="43330">0</cx:pt>
          <cx:pt idx="43331">1</cx:pt>
          <cx:pt idx="43332">1</cx:pt>
          <cx:pt idx="43333">0</cx:pt>
          <cx:pt idx="43334">1</cx:pt>
          <cx:pt idx="43335">0</cx:pt>
          <cx:pt idx="43336">0</cx:pt>
          <cx:pt idx="43337">1</cx:pt>
          <cx:pt idx="43338">1</cx:pt>
          <cx:pt idx="43339">1</cx:pt>
          <cx:pt idx="43340">0</cx:pt>
          <cx:pt idx="43341">0</cx:pt>
          <cx:pt idx="43342">0</cx:pt>
          <cx:pt idx="43343">1</cx:pt>
          <cx:pt idx="43344">0</cx:pt>
          <cx:pt idx="43345">1</cx:pt>
          <cx:pt idx="43346">0</cx:pt>
          <cx:pt idx="43347">0</cx:pt>
          <cx:pt idx="43348">1</cx:pt>
          <cx:pt idx="43349">0</cx:pt>
          <cx:pt idx="43350">1</cx:pt>
          <cx:pt idx="43351">0</cx:pt>
          <cx:pt idx="43352">1</cx:pt>
          <cx:pt idx="43353">1</cx:pt>
          <cx:pt idx="43354">1</cx:pt>
          <cx:pt idx="43355">1</cx:pt>
          <cx:pt idx="43356">1</cx:pt>
          <cx:pt idx="43357">1</cx:pt>
          <cx:pt idx="43358">1</cx:pt>
          <cx:pt idx="43359">0</cx:pt>
          <cx:pt idx="43360">1</cx:pt>
          <cx:pt idx="43361">0</cx:pt>
          <cx:pt idx="43362">0</cx:pt>
          <cx:pt idx="43363">0</cx:pt>
          <cx:pt idx="43364">0</cx:pt>
          <cx:pt idx="43365">0</cx:pt>
          <cx:pt idx="43366">0</cx:pt>
          <cx:pt idx="43367">1</cx:pt>
          <cx:pt idx="43368">1</cx:pt>
          <cx:pt idx="43369">1</cx:pt>
          <cx:pt idx="43370">1</cx:pt>
          <cx:pt idx="43371">0</cx:pt>
          <cx:pt idx="43372">0</cx:pt>
          <cx:pt idx="43373">0</cx:pt>
          <cx:pt idx="43374">1</cx:pt>
          <cx:pt idx="43375">1</cx:pt>
          <cx:pt idx="43376">1</cx:pt>
          <cx:pt idx="43377">0</cx:pt>
          <cx:pt idx="43378">1</cx:pt>
          <cx:pt idx="43379">1</cx:pt>
          <cx:pt idx="43380">1</cx:pt>
          <cx:pt idx="43381">0</cx:pt>
          <cx:pt idx="43382">0</cx:pt>
          <cx:pt idx="43383">0</cx:pt>
          <cx:pt idx="43384">1</cx:pt>
          <cx:pt idx="43385">0</cx:pt>
          <cx:pt idx="43386">1</cx:pt>
          <cx:pt idx="43387">0</cx:pt>
          <cx:pt idx="43388">0</cx:pt>
          <cx:pt idx="43389">1</cx:pt>
          <cx:pt idx="43390">0</cx:pt>
          <cx:pt idx="43391">1</cx:pt>
          <cx:pt idx="43392">0</cx:pt>
          <cx:pt idx="43393">0</cx:pt>
          <cx:pt idx="43394">0</cx:pt>
          <cx:pt idx="43395">0</cx:pt>
          <cx:pt idx="43396">1</cx:pt>
          <cx:pt idx="43397">1</cx:pt>
          <cx:pt idx="43398">0</cx:pt>
          <cx:pt idx="43399">1</cx:pt>
          <cx:pt idx="43400">0</cx:pt>
          <cx:pt idx="43401">1</cx:pt>
          <cx:pt idx="43402">1</cx:pt>
          <cx:pt idx="43403">0</cx:pt>
          <cx:pt idx="43404">0</cx:pt>
          <cx:pt idx="43405">0</cx:pt>
          <cx:pt idx="43406">0</cx:pt>
          <cx:pt idx="43407">1</cx:pt>
          <cx:pt idx="43408">0</cx:pt>
          <cx:pt idx="43409">0</cx:pt>
          <cx:pt idx="43410">0</cx:pt>
          <cx:pt idx="43411">1</cx:pt>
          <cx:pt idx="43412">1</cx:pt>
          <cx:pt idx="43413">0</cx:pt>
          <cx:pt idx="43414">0</cx:pt>
          <cx:pt idx="43415">0</cx:pt>
          <cx:pt idx="43416">1</cx:pt>
          <cx:pt idx="43417">1</cx:pt>
          <cx:pt idx="43418">0</cx:pt>
          <cx:pt idx="43419">1</cx:pt>
          <cx:pt idx="43420">0</cx:pt>
          <cx:pt idx="43421">0</cx:pt>
          <cx:pt idx="43422">1</cx:pt>
          <cx:pt idx="43423">1</cx:pt>
          <cx:pt idx="43424">1</cx:pt>
          <cx:pt idx="43425">1</cx:pt>
          <cx:pt idx="43426">1</cx:pt>
          <cx:pt idx="43427">0</cx:pt>
          <cx:pt idx="43428">1</cx:pt>
          <cx:pt idx="43429">1</cx:pt>
          <cx:pt idx="43430">0</cx:pt>
          <cx:pt idx="43431">0</cx:pt>
          <cx:pt idx="43432">1</cx:pt>
          <cx:pt idx="43433">0</cx:pt>
          <cx:pt idx="43434">0</cx:pt>
          <cx:pt idx="43435">1</cx:pt>
          <cx:pt idx="43436">1</cx:pt>
          <cx:pt idx="43437">0</cx:pt>
          <cx:pt idx="43438">0</cx:pt>
          <cx:pt idx="43439">0</cx:pt>
          <cx:pt idx="43440">0</cx:pt>
          <cx:pt idx="43441">1</cx:pt>
          <cx:pt idx="43442">1</cx:pt>
          <cx:pt idx="43443">1</cx:pt>
          <cx:pt idx="43444">1</cx:pt>
          <cx:pt idx="43445">1</cx:pt>
          <cx:pt idx="43446">1</cx:pt>
          <cx:pt idx="43447">1</cx:pt>
          <cx:pt idx="43448">1</cx:pt>
          <cx:pt idx="43449">1</cx:pt>
          <cx:pt idx="43450">0</cx:pt>
          <cx:pt idx="43451">0</cx:pt>
          <cx:pt idx="43452">1</cx:pt>
          <cx:pt idx="43453">1</cx:pt>
          <cx:pt idx="43454">1</cx:pt>
          <cx:pt idx="43455">1</cx:pt>
          <cx:pt idx="43456">1</cx:pt>
          <cx:pt idx="43457">0</cx:pt>
          <cx:pt idx="43458">1</cx:pt>
          <cx:pt idx="43459">0</cx:pt>
          <cx:pt idx="43460">1</cx:pt>
          <cx:pt idx="43461">0</cx:pt>
          <cx:pt idx="43462">1</cx:pt>
          <cx:pt idx="43463">1</cx:pt>
          <cx:pt idx="43464">0</cx:pt>
          <cx:pt idx="43465">1</cx:pt>
          <cx:pt idx="43466">1</cx:pt>
          <cx:pt idx="43467">0</cx:pt>
          <cx:pt idx="43468">1</cx:pt>
          <cx:pt idx="43469">0</cx:pt>
          <cx:pt idx="43470">0</cx:pt>
          <cx:pt idx="43471">1</cx:pt>
          <cx:pt idx="43472">1</cx:pt>
          <cx:pt idx="43473">0</cx:pt>
          <cx:pt idx="43474">1</cx:pt>
          <cx:pt idx="43475">1</cx:pt>
          <cx:pt idx="43476">0</cx:pt>
          <cx:pt idx="43477">0</cx:pt>
          <cx:pt idx="43478">1</cx:pt>
          <cx:pt idx="43479">1</cx:pt>
          <cx:pt idx="43480">1</cx:pt>
          <cx:pt idx="43481">0</cx:pt>
          <cx:pt idx="43482">0</cx:pt>
          <cx:pt idx="43483">0</cx:pt>
          <cx:pt idx="43484">0</cx:pt>
          <cx:pt idx="43485">1</cx:pt>
          <cx:pt idx="43486">1</cx:pt>
          <cx:pt idx="43487">1</cx:pt>
          <cx:pt idx="43488">0</cx:pt>
          <cx:pt idx="43489">0</cx:pt>
          <cx:pt idx="43490">1</cx:pt>
          <cx:pt idx="43491">1</cx:pt>
          <cx:pt idx="43492">1</cx:pt>
          <cx:pt idx="43493">0</cx:pt>
          <cx:pt idx="43494">1</cx:pt>
          <cx:pt idx="43495">1</cx:pt>
          <cx:pt idx="43496">0</cx:pt>
          <cx:pt idx="43497">0</cx:pt>
          <cx:pt idx="43498">0</cx:pt>
          <cx:pt idx="43499">0</cx:pt>
          <cx:pt idx="43500">1</cx:pt>
          <cx:pt idx="43501">0</cx:pt>
          <cx:pt idx="43502">1</cx:pt>
          <cx:pt idx="43503">0</cx:pt>
          <cx:pt idx="43504">0</cx:pt>
          <cx:pt idx="43505">1</cx:pt>
          <cx:pt idx="43506">1</cx:pt>
          <cx:pt idx="43507">1</cx:pt>
          <cx:pt idx="43508">1</cx:pt>
          <cx:pt idx="43509">1</cx:pt>
          <cx:pt idx="43510">0</cx:pt>
          <cx:pt idx="43511">0</cx:pt>
          <cx:pt idx="43512">1</cx:pt>
          <cx:pt idx="43513">0</cx:pt>
          <cx:pt idx="43514">0</cx:pt>
          <cx:pt idx="43515">1</cx:pt>
          <cx:pt idx="43516">1</cx:pt>
          <cx:pt idx="43517">1</cx:pt>
          <cx:pt idx="43518">1</cx:pt>
          <cx:pt idx="43519">0</cx:pt>
          <cx:pt idx="43520">1</cx:pt>
          <cx:pt idx="43521">1</cx:pt>
          <cx:pt idx="43522">0</cx:pt>
          <cx:pt idx="43523">1</cx:pt>
          <cx:pt idx="43524">0</cx:pt>
          <cx:pt idx="43525">1</cx:pt>
          <cx:pt idx="43526">0</cx:pt>
          <cx:pt idx="43527">0</cx:pt>
          <cx:pt idx="43528">0</cx:pt>
          <cx:pt idx="43529">0</cx:pt>
          <cx:pt idx="43530">0</cx:pt>
          <cx:pt idx="43531">1</cx:pt>
          <cx:pt idx="43532">1</cx:pt>
          <cx:pt idx="43533">1</cx:pt>
          <cx:pt idx="43534">0</cx:pt>
          <cx:pt idx="43535">0</cx:pt>
          <cx:pt idx="43536">0</cx:pt>
          <cx:pt idx="43537">0</cx:pt>
          <cx:pt idx="43538">1</cx:pt>
          <cx:pt idx="43539">1</cx:pt>
          <cx:pt idx="43540">0</cx:pt>
          <cx:pt idx="43541">0</cx:pt>
          <cx:pt idx="43542">1</cx:pt>
          <cx:pt idx="43543">1</cx:pt>
          <cx:pt idx="43544">0</cx:pt>
          <cx:pt idx="43545">1</cx:pt>
          <cx:pt idx="43546">1</cx:pt>
          <cx:pt idx="43547">1</cx:pt>
          <cx:pt idx="43548">1</cx:pt>
          <cx:pt idx="43549">1</cx:pt>
          <cx:pt idx="43550">0</cx:pt>
          <cx:pt idx="43551">1</cx:pt>
          <cx:pt idx="43552">1</cx:pt>
          <cx:pt idx="43553">1</cx:pt>
          <cx:pt idx="43554">0</cx:pt>
          <cx:pt idx="43555">1</cx:pt>
          <cx:pt idx="43556">0</cx:pt>
          <cx:pt idx="43557">1</cx:pt>
          <cx:pt idx="43558">0</cx:pt>
          <cx:pt idx="43559">0</cx:pt>
          <cx:pt idx="43560">1</cx:pt>
          <cx:pt idx="43561">1</cx:pt>
          <cx:pt idx="43562">1</cx:pt>
          <cx:pt idx="43563">1</cx:pt>
          <cx:pt idx="43564">0</cx:pt>
          <cx:pt idx="43565">0</cx:pt>
          <cx:pt idx="43566">0</cx:pt>
          <cx:pt idx="43567">0</cx:pt>
          <cx:pt idx="43568">0</cx:pt>
          <cx:pt idx="43569">1</cx:pt>
          <cx:pt idx="43570">0</cx:pt>
          <cx:pt idx="43571">1</cx:pt>
          <cx:pt idx="43572">1</cx:pt>
          <cx:pt idx="43573">1</cx:pt>
          <cx:pt idx="43574">0</cx:pt>
          <cx:pt idx="43575">0</cx:pt>
          <cx:pt idx="43576">1</cx:pt>
          <cx:pt idx="43577">1</cx:pt>
          <cx:pt idx="43578">1</cx:pt>
          <cx:pt idx="43579">1</cx:pt>
          <cx:pt idx="43580">0</cx:pt>
          <cx:pt idx="43581">1</cx:pt>
          <cx:pt idx="43582">1</cx:pt>
          <cx:pt idx="43583">0</cx:pt>
          <cx:pt idx="43584">0</cx:pt>
          <cx:pt idx="43585">0</cx:pt>
          <cx:pt idx="43586">0</cx:pt>
          <cx:pt idx="43587">0</cx:pt>
          <cx:pt idx="43588">0</cx:pt>
          <cx:pt idx="43589">1</cx:pt>
          <cx:pt idx="43590">0</cx:pt>
          <cx:pt idx="43591">1</cx:pt>
          <cx:pt idx="43592">1</cx:pt>
          <cx:pt idx="43593">1</cx:pt>
          <cx:pt idx="43594">1</cx:pt>
          <cx:pt idx="43595">0</cx:pt>
          <cx:pt idx="43596">1</cx:pt>
          <cx:pt idx="43597">1</cx:pt>
          <cx:pt idx="43598">1</cx:pt>
          <cx:pt idx="43599">0</cx:pt>
          <cx:pt idx="43600">1</cx:pt>
          <cx:pt idx="43601">1</cx:pt>
          <cx:pt idx="43602">0</cx:pt>
          <cx:pt idx="43603">1</cx:pt>
          <cx:pt idx="43604">0</cx:pt>
          <cx:pt idx="43605">0</cx:pt>
          <cx:pt idx="43606">0</cx:pt>
          <cx:pt idx="43607">1</cx:pt>
          <cx:pt idx="43608">1</cx:pt>
          <cx:pt idx="43609">1</cx:pt>
          <cx:pt idx="43610">0</cx:pt>
          <cx:pt idx="43611">1</cx:pt>
          <cx:pt idx="43612">1</cx:pt>
          <cx:pt idx="43613">1</cx:pt>
          <cx:pt idx="43614">1</cx:pt>
          <cx:pt idx="43615">1</cx:pt>
          <cx:pt idx="43616">0</cx:pt>
          <cx:pt idx="43617">1</cx:pt>
          <cx:pt idx="43618">0</cx:pt>
          <cx:pt idx="43619">0</cx:pt>
          <cx:pt idx="43620">1</cx:pt>
          <cx:pt idx="43621">0</cx:pt>
          <cx:pt idx="43622">1</cx:pt>
          <cx:pt idx="43623">1</cx:pt>
          <cx:pt idx="43624">1</cx:pt>
          <cx:pt idx="43625">1</cx:pt>
          <cx:pt idx="43626">1</cx:pt>
          <cx:pt idx="43627">0</cx:pt>
          <cx:pt idx="43628">1</cx:pt>
          <cx:pt idx="43629">1</cx:pt>
          <cx:pt idx="43630">0</cx:pt>
          <cx:pt idx="43631">1</cx:pt>
          <cx:pt idx="43632">0</cx:pt>
          <cx:pt idx="43633">1</cx:pt>
          <cx:pt idx="43634">0</cx:pt>
          <cx:pt idx="43635">1</cx:pt>
          <cx:pt idx="43636">1</cx:pt>
          <cx:pt idx="43637">0</cx:pt>
          <cx:pt idx="43638">0</cx:pt>
          <cx:pt idx="43639">0</cx:pt>
          <cx:pt idx="43640">0</cx:pt>
          <cx:pt idx="43641">1</cx:pt>
          <cx:pt idx="43642">0</cx:pt>
          <cx:pt idx="43643">1</cx:pt>
          <cx:pt idx="43644">0</cx:pt>
          <cx:pt idx="43645">1</cx:pt>
          <cx:pt idx="43646">0</cx:pt>
          <cx:pt idx="43647">1</cx:pt>
          <cx:pt idx="43648">0</cx:pt>
          <cx:pt idx="43649">1</cx:pt>
          <cx:pt idx="43650">0</cx:pt>
          <cx:pt idx="43651">1</cx:pt>
          <cx:pt idx="43652">0</cx:pt>
          <cx:pt idx="43653">0</cx:pt>
          <cx:pt idx="43654">0</cx:pt>
          <cx:pt idx="43655">0</cx:pt>
          <cx:pt idx="43656">1</cx:pt>
          <cx:pt idx="43657">0</cx:pt>
          <cx:pt idx="43658">1</cx:pt>
          <cx:pt idx="43659">1</cx:pt>
          <cx:pt idx="43660">1</cx:pt>
          <cx:pt idx="43661">1</cx:pt>
          <cx:pt idx="43662">0</cx:pt>
          <cx:pt idx="43663">1</cx:pt>
          <cx:pt idx="43664">1</cx:pt>
          <cx:pt idx="43665">0</cx:pt>
          <cx:pt idx="43666">0</cx:pt>
          <cx:pt idx="43667">0</cx:pt>
          <cx:pt idx="43668">1</cx:pt>
          <cx:pt idx="43669">0</cx:pt>
          <cx:pt idx="43670">0</cx:pt>
          <cx:pt idx="43671">1</cx:pt>
          <cx:pt idx="43672">0</cx:pt>
          <cx:pt idx="43673">1</cx:pt>
          <cx:pt idx="43674">1</cx:pt>
          <cx:pt idx="43675">0</cx:pt>
          <cx:pt idx="43676">1</cx:pt>
          <cx:pt idx="43677">1</cx:pt>
          <cx:pt idx="43678">0</cx:pt>
          <cx:pt idx="43679">1</cx:pt>
          <cx:pt idx="43680">1</cx:pt>
          <cx:pt idx="43681">1</cx:pt>
          <cx:pt idx="43682">0</cx:pt>
          <cx:pt idx="43683">0</cx:pt>
          <cx:pt idx="43684">1</cx:pt>
          <cx:pt idx="43685">1</cx:pt>
          <cx:pt idx="43686">1</cx:pt>
          <cx:pt idx="43687">1</cx:pt>
          <cx:pt idx="43688">0</cx:pt>
          <cx:pt idx="43689">1</cx:pt>
          <cx:pt idx="43690">1</cx:pt>
          <cx:pt idx="43691">0</cx:pt>
          <cx:pt idx="43692">0</cx:pt>
          <cx:pt idx="43693">0</cx:pt>
          <cx:pt idx="43694">1</cx:pt>
          <cx:pt idx="43695">0</cx:pt>
          <cx:pt idx="43696">0</cx:pt>
          <cx:pt idx="43697">1</cx:pt>
          <cx:pt idx="43698">0</cx:pt>
          <cx:pt idx="43699">1</cx:pt>
          <cx:pt idx="43700">0</cx:pt>
          <cx:pt idx="43701">0</cx:pt>
          <cx:pt idx="43702">1</cx:pt>
          <cx:pt idx="43703">1</cx:pt>
          <cx:pt idx="43704">0</cx:pt>
          <cx:pt idx="43705">1</cx:pt>
          <cx:pt idx="43706">1</cx:pt>
          <cx:pt idx="43707">1</cx:pt>
          <cx:pt idx="43708">0</cx:pt>
          <cx:pt idx="43709">0</cx:pt>
          <cx:pt idx="43710">1</cx:pt>
          <cx:pt idx="43711">1</cx:pt>
          <cx:pt idx="43712">0</cx:pt>
          <cx:pt idx="43713">1</cx:pt>
          <cx:pt idx="43714">0</cx:pt>
          <cx:pt idx="43715">0</cx:pt>
          <cx:pt idx="43716">0</cx:pt>
          <cx:pt idx="43717">1</cx:pt>
          <cx:pt idx="43718">1</cx:pt>
          <cx:pt idx="43719">1</cx:pt>
          <cx:pt idx="43720">0</cx:pt>
          <cx:pt idx="43721">0</cx:pt>
          <cx:pt idx="43722">1</cx:pt>
          <cx:pt idx="43723">0</cx:pt>
          <cx:pt idx="43724">0</cx:pt>
          <cx:pt idx="43725">0</cx:pt>
          <cx:pt idx="43726">0</cx:pt>
          <cx:pt idx="43727">0</cx:pt>
          <cx:pt idx="43728">0</cx:pt>
          <cx:pt idx="43729">0</cx:pt>
          <cx:pt idx="43730">1</cx:pt>
          <cx:pt idx="43731">0</cx:pt>
          <cx:pt idx="43732">1</cx:pt>
          <cx:pt idx="43733">1</cx:pt>
          <cx:pt idx="43734">1</cx:pt>
          <cx:pt idx="43735">1</cx:pt>
          <cx:pt idx="43736">1</cx:pt>
          <cx:pt idx="43737">0</cx:pt>
          <cx:pt idx="43738">1</cx:pt>
          <cx:pt idx="43739">0</cx:pt>
          <cx:pt idx="43740">0</cx:pt>
          <cx:pt idx="43741">0</cx:pt>
          <cx:pt idx="43742">1</cx:pt>
          <cx:pt idx="43743">0</cx:pt>
          <cx:pt idx="43744">0</cx:pt>
          <cx:pt idx="43745">0</cx:pt>
          <cx:pt idx="43746">0</cx:pt>
          <cx:pt idx="43747">1</cx:pt>
          <cx:pt idx="43748">0</cx:pt>
          <cx:pt idx="43749">0</cx:pt>
          <cx:pt idx="43750">1</cx:pt>
          <cx:pt idx="43751">1</cx:pt>
          <cx:pt idx="43752">0</cx:pt>
          <cx:pt idx="43753">0</cx:pt>
          <cx:pt idx="43754">0</cx:pt>
          <cx:pt idx="43755">1</cx:pt>
          <cx:pt idx="43756">1</cx:pt>
          <cx:pt idx="43757">0</cx:pt>
          <cx:pt idx="43758">0</cx:pt>
          <cx:pt idx="43759">1</cx:pt>
          <cx:pt idx="43760">1</cx:pt>
          <cx:pt idx="43761">0</cx:pt>
          <cx:pt idx="43762">0</cx:pt>
          <cx:pt idx="43763">0</cx:pt>
          <cx:pt idx="43764">0</cx:pt>
          <cx:pt idx="43765">1</cx:pt>
          <cx:pt idx="43766">1</cx:pt>
          <cx:pt idx="43767">0</cx:pt>
          <cx:pt idx="43768">0</cx:pt>
          <cx:pt idx="43769">0</cx:pt>
          <cx:pt idx="43770">0</cx:pt>
          <cx:pt idx="43771">0</cx:pt>
          <cx:pt idx="43772">1</cx:pt>
          <cx:pt idx="43773">1</cx:pt>
          <cx:pt idx="43774">1</cx:pt>
          <cx:pt idx="43775">0</cx:pt>
          <cx:pt idx="43776">0</cx:pt>
          <cx:pt idx="43777">0</cx:pt>
          <cx:pt idx="43778">0</cx:pt>
          <cx:pt idx="43779">1</cx:pt>
          <cx:pt idx="43780">0</cx:pt>
          <cx:pt idx="43781">1</cx:pt>
          <cx:pt idx="43782">1</cx:pt>
          <cx:pt idx="43783">1</cx:pt>
          <cx:pt idx="43784">0</cx:pt>
          <cx:pt idx="43785">1</cx:pt>
          <cx:pt idx="43786">1</cx:pt>
          <cx:pt idx="43787">0</cx:pt>
          <cx:pt idx="43788">0</cx:pt>
          <cx:pt idx="43789">0</cx:pt>
          <cx:pt idx="43790">1</cx:pt>
          <cx:pt idx="43791">0</cx:pt>
          <cx:pt idx="43792">0</cx:pt>
          <cx:pt idx="43793">1</cx:pt>
          <cx:pt idx="43794">0</cx:pt>
          <cx:pt idx="43795">1</cx:pt>
          <cx:pt idx="43796">1</cx:pt>
          <cx:pt idx="43797">0</cx:pt>
          <cx:pt idx="43798">1</cx:pt>
          <cx:pt idx="43799">1</cx:pt>
          <cx:pt idx="43800">1</cx:pt>
          <cx:pt idx="43801">1</cx:pt>
          <cx:pt idx="43802">1</cx:pt>
          <cx:pt idx="43803">0</cx:pt>
          <cx:pt idx="43804">1</cx:pt>
          <cx:pt idx="43805">0</cx:pt>
          <cx:pt idx="43806">1</cx:pt>
          <cx:pt idx="43807">0</cx:pt>
          <cx:pt idx="43808">1</cx:pt>
          <cx:pt idx="43809">0</cx:pt>
          <cx:pt idx="43810">1</cx:pt>
          <cx:pt idx="43811">1</cx:pt>
          <cx:pt idx="43812">1</cx:pt>
          <cx:pt idx="43813">1</cx:pt>
          <cx:pt idx="43814">1</cx:pt>
          <cx:pt idx="43815">1</cx:pt>
          <cx:pt idx="43816">0</cx:pt>
          <cx:pt idx="43817">1</cx:pt>
          <cx:pt idx="43818">0</cx:pt>
          <cx:pt idx="43819">0</cx:pt>
          <cx:pt idx="43820">0</cx:pt>
          <cx:pt idx="43821">0</cx:pt>
          <cx:pt idx="43822">0</cx:pt>
          <cx:pt idx="43823">0</cx:pt>
          <cx:pt idx="43824">1</cx:pt>
          <cx:pt idx="43825">0</cx:pt>
          <cx:pt idx="43826">0</cx:pt>
          <cx:pt idx="43827">0</cx:pt>
          <cx:pt idx="43828">1</cx:pt>
          <cx:pt idx="43829">0</cx:pt>
          <cx:pt idx="43830">0</cx:pt>
          <cx:pt idx="43831">0</cx:pt>
          <cx:pt idx="43832">1</cx:pt>
          <cx:pt idx="43833">1</cx:pt>
          <cx:pt idx="43834">1</cx:pt>
          <cx:pt idx="43835">0</cx:pt>
          <cx:pt idx="43836">0</cx:pt>
          <cx:pt idx="43837">0</cx:pt>
          <cx:pt idx="43838">0</cx:pt>
          <cx:pt idx="43839">0</cx:pt>
          <cx:pt idx="43840">1</cx:pt>
          <cx:pt idx="43841">0</cx:pt>
          <cx:pt idx="43842">0</cx:pt>
          <cx:pt idx="43843">1</cx:pt>
          <cx:pt idx="43844">1</cx:pt>
          <cx:pt idx="43845">0</cx:pt>
          <cx:pt idx="43846">1</cx:pt>
          <cx:pt idx="43847">0</cx:pt>
          <cx:pt idx="43848">0</cx:pt>
          <cx:pt idx="43849">0</cx:pt>
          <cx:pt idx="43850">0</cx:pt>
          <cx:pt idx="43851">1</cx:pt>
          <cx:pt idx="43852">1</cx:pt>
          <cx:pt idx="43853">1</cx:pt>
          <cx:pt idx="43854">0</cx:pt>
          <cx:pt idx="43855">1</cx:pt>
          <cx:pt idx="43856">1</cx:pt>
          <cx:pt idx="43857">0</cx:pt>
          <cx:pt idx="43858">0</cx:pt>
          <cx:pt idx="43859">0</cx:pt>
          <cx:pt idx="43860">0</cx:pt>
          <cx:pt idx="43861">1</cx:pt>
          <cx:pt idx="43862">1</cx:pt>
          <cx:pt idx="43863">1</cx:pt>
          <cx:pt idx="43864">0</cx:pt>
          <cx:pt idx="43865">0</cx:pt>
          <cx:pt idx="43866">0</cx:pt>
          <cx:pt idx="43867">0</cx:pt>
          <cx:pt idx="43868">0</cx:pt>
          <cx:pt idx="43869">1</cx:pt>
          <cx:pt idx="43870">1</cx:pt>
          <cx:pt idx="43871">1</cx:pt>
          <cx:pt idx="43872">1</cx:pt>
          <cx:pt idx="43873">1</cx:pt>
          <cx:pt idx="43874">1</cx:pt>
          <cx:pt idx="43875">0</cx:pt>
          <cx:pt idx="43876">0</cx:pt>
          <cx:pt idx="43877">1</cx:pt>
          <cx:pt idx="43878">0</cx:pt>
          <cx:pt idx="43879">1</cx:pt>
          <cx:pt idx="43880">1</cx:pt>
          <cx:pt idx="43881">1</cx:pt>
          <cx:pt idx="43882">1</cx:pt>
          <cx:pt idx="43883">1</cx:pt>
          <cx:pt idx="43884">0</cx:pt>
          <cx:pt idx="43885">0</cx:pt>
          <cx:pt idx="43886">0</cx:pt>
          <cx:pt idx="43887">1</cx:pt>
          <cx:pt idx="43888">0</cx:pt>
          <cx:pt idx="43889">0</cx:pt>
          <cx:pt idx="43890">0</cx:pt>
          <cx:pt idx="43891">0</cx:pt>
          <cx:pt idx="43892">1</cx:pt>
          <cx:pt idx="43893">0</cx:pt>
          <cx:pt idx="43894">0</cx:pt>
          <cx:pt idx="43895">0</cx:pt>
          <cx:pt idx="43896">1</cx:pt>
          <cx:pt idx="43897">1</cx:pt>
          <cx:pt idx="43898">0</cx:pt>
          <cx:pt idx="43899">1</cx:pt>
          <cx:pt idx="43900">0</cx:pt>
          <cx:pt idx="43901">1</cx:pt>
          <cx:pt idx="43902">1</cx:pt>
          <cx:pt idx="43903">1</cx:pt>
          <cx:pt idx="43904">1</cx:pt>
          <cx:pt idx="43905">0</cx:pt>
          <cx:pt idx="43906">1</cx:pt>
          <cx:pt idx="43907">1</cx:pt>
          <cx:pt idx="43908">1</cx:pt>
          <cx:pt idx="43909">1</cx:pt>
          <cx:pt idx="43910">0</cx:pt>
          <cx:pt idx="43911">0</cx:pt>
          <cx:pt idx="43912">0</cx:pt>
          <cx:pt idx="43913">0</cx:pt>
          <cx:pt idx="43914">1</cx:pt>
          <cx:pt idx="43915">1</cx:pt>
          <cx:pt idx="43916">0</cx:pt>
          <cx:pt idx="43917">0</cx:pt>
          <cx:pt idx="43918">1</cx:pt>
          <cx:pt idx="43919">0</cx:pt>
          <cx:pt idx="43920">0</cx:pt>
          <cx:pt idx="43921">1</cx:pt>
          <cx:pt idx="43922">0</cx:pt>
          <cx:pt idx="43923">0</cx:pt>
          <cx:pt idx="43924">0</cx:pt>
          <cx:pt idx="43925">0</cx:pt>
          <cx:pt idx="43926">1</cx:pt>
          <cx:pt idx="43927">0</cx:pt>
          <cx:pt idx="43928">0</cx:pt>
          <cx:pt idx="43929">1</cx:pt>
          <cx:pt idx="43930">0</cx:pt>
          <cx:pt idx="43931">0</cx:pt>
          <cx:pt idx="43932">0</cx:pt>
          <cx:pt idx="43933">1</cx:pt>
          <cx:pt idx="43934">1</cx:pt>
          <cx:pt idx="43935">0</cx:pt>
          <cx:pt idx="43936">1</cx:pt>
          <cx:pt idx="43937">1</cx:pt>
          <cx:pt idx="43938">0</cx:pt>
          <cx:pt idx="43939">0</cx:pt>
          <cx:pt idx="43940">1</cx:pt>
          <cx:pt idx="43941">1</cx:pt>
          <cx:pt idx="43942">1</cx:pt>
          <cx:pt idx="43943">1</cx:pt>
          <cx:pt idx="43944">1</cx:pt>
          <cx:pt idx="43945">0</cx:pt>
          <cx:pt idx="43946">0</cx:pt>
          <cx:pt idx="43947">0</cx:pt>
          <cx:pt idx="43948">0</cx:pt>
          <cx:pt idx="43949">0</cx:pt>
          <cx:pt idx="43950">0</cx:pt>
          <cx:pt idx="43951">1</cx:pt>
          <cx:pt idx="43952">0</cx:pt>
          <cx:pt idx="43953">0</cx:pt>
          <cx:pt idx="43954">0</cx:pt>
          <cx:pt idx="43955">0</cx:pt>
          <cx:pt idx="43956">1</cx:pt>
          <cx:pt idx="43957">1</cx:pt>
          <cx:pt idx="43958">1</cx:pt>
          <cx:pt idx="43959">0</cx:pt>
          <cx:pt idx="43960">0</cx:pt>
          <cx:pt idx="43961">1</cx:pt>
          <cx:pt idx="43962">1</cx:pt>
          <cx:pt idx="43963">1</cx:pt>
          <cx:pt idx="43964">1</cx:pt>
          <cx:pt idx="43965">0</cx:pt>
          <cx:pt idx="43966">1</cx:pt>
          <cx:pt idx="43967">0</cx:pt>
          <cx:pt idx="43968">1</cx:pt>
          <cx:pt idx="43969">0</cx:pt>
          <cx:pt idx="43970">0</cx:pt>
          <cx:pt idx="43971">1</cx:pt>
          <cx:pt idx="43972">1</cx:pt>
          <cx:pt idx="43973">1</cx:pt>
          <cx:pt idx="43974">1</cx:pt>
          <cx:pt idx="43975">0</cx:pt>
          <cx:pt idx="43976">0</cx:pt>
          <cx:pt idx="43977">0</cx:pt>
          <cx:pt idx="43978">1</cx:pt>
          <cx:pt idx="43979">0</cx:pt>
          <cx:pt idx="43980">0</cx:pt>
          <cx:pt idx="43981">1</cx:pt>
          <cx:pt idx="43982">0</cx:pt>
          <cx:pt idx="43983">1</cx:pt>
          <cx:pt idx="43984">1</cx:pt>
          <cx:pt idx="43985">0</cx:pt>
          <cx:pt idx="43986">1</cx:pt>
          <cx:pt idx="43987">1</cx:pt>
          <cx:pt idx="43988">0</cx:pt>
          <cx:pt idx="43989">0</cx:pt>
          <cx:pt idx="43990">0</cx:pt>
          <cx:pt idx="43991">1</cx:pt>
          <cx:pt idx="43992">1</cx:pt>
          <cx:pt idx="43993">0</cx:pt>
          <cx:pt idx="43994">0</cx:pt>
          <cx:pt idx="43995">1</cx:pt>
          <cx:pt idx="43996">0</cx:pt>
          <cx:pt idx="43997">0</cx:pt>
          <cx:pt idx="43998">0</cx:pt>
          <cx:pt idx="43999">1</cx:pt>
          <cx:pt idx="44000">0</cx:pt>
          <cx:pt idx="44001">0</cx:pt>
          <cx:pt idx="44002">0</cx:pt>
          <cx:pt idx="44003">0</cx:pt>
          <cx:pt idx="44004">1</cx:pt>
          <cx:pt idx="44005">1</cx:pt>
          <cx:pt idx="44006">1</cx:pt>
          <cx:pt idx="44007">0</cx:pt>
          <cx:pt idx="44008">0</cx:pt>
          <cx:pt idx="44009">0</cx:pt>
          <cx:pt idx="44010">0</cx:pt>
          <cx:pt idx="44011">1</cx:pt>
          <cx:pt idx="44012">0</cx:pt>
          <cx:pt idx="44013">1</cx:pt>
          <cx:pt idx="44014">1</cx:pt>
          <cx:pt idx="44015">0</cx:pt>
          <cx:pt idx="44016">0</cx:pt>
          <cx:pt idx="44017">0</cx:pt>
          <cx:pt idx="44018">0</cx:pt>
          <cx:pt idx="44019">1</cx:pt>
          <cx:pt idx="44020">1</cx:pt>
          <cx:pt idx="44021">0</cx:pt>
          <cx:pt idx="44022">0</cx:pt>
          <cx:pt idx="44023">1</cx:pt>
          <cx:pt idx="44024">1</cx:pt>
          <cx:pt idx="44025">1</cx:pt>
          <cx:pt idx="44026">0</cx:pt>
          <cx:pt idx="44027">0</cx:pt>
          <cx:pt idx="44028">1</cx:pt>
          <cx:pt idx="44029">0</cx:pt>
          <cx:pt idx="44030">1</cx:pt>
          <cx:pt idx="44031">0</cx:pt>
          <cx:pt idx="44032">0</cx:pt>
          <cx:pt idx="44033">0</cx:pt>
          <cx:pt idx="44034">0</cx:pt>
          <cx:pt idx="44035">0</cx:pt>
          <cx:pt idx="44036">0</cx:pt>
          <cx:pt idx="44037">1</cx:pt>
          <cx:pt idx="44038">0</cx:pt>
          <cx:pt idx="44039">0</cx:pt>
          <cx:pt idx="44040">0</cx:pt>
          <cx:pt idx="44041">0</cx:pt>
          <cx:pt idx="44042">1</cx:pt>
          <cx:pt idx="44043">0</cx:pt>
          <cx:pt idx="44044">0</cx:pt>
          <cx:pt idx="44045">1</cx:pt>
          <cx:pt idx="44046">0</cx:pt>
          <cx:pt idx="44047">0</cx:pt>
          <cx:pt idx="44048">0</cx:pt>
          <cx:pt idx="44049">0</cx:pt>
          <cx:pt idx="44050">0</cx:pt>
          <cx:pt idx="44051">0</cx:pt>
          <cx:pt idx="44052">0</cx:pt>
          <cx:pt idx="44053">1</cx:pt>
          <cx:pt idx="44054">0</cx:pt>
          <cx:pt idx="44055">0</cx:pt>
          <cx:pt idx="44056">1</cx:pt>
          <cx:pt idx="44057">1</cx:pt>
          <cx:pt idx="44058">0</cx:pt>
          <cx:pt idx="44059">0</cx:pt>
          <cx:pt idx="44060">0</cx:pt>
          <cx:pt idx="44061">0</cx:pt>
          <cx:pt idx="44062">0</cx:pt>
          <cx:pt idx="44063">1</cx:pt>
          <cx:pt idx="44064">0</cx:pt>
          <cx:pt idx="44065">0</cx:pt>
          <cx:pt idx="44066">1</cx:pt>
          <cx:pt idx="44067">0</cx:pt>
          <cx:pt idx="44068">0</cx:pt>
          <cx:pt idx="44069">1</cx:pt>
          <cx:pt idx="44070">0</cx:pt>
          <cx:pt idx="44071">0</cx:pt>
          <cx:pt idx="44072">1</cx:pt>
          <cx:pt idx="44073">0</cx:pt>
          <cx:pt idx="44074">0</cx:pt>
          <cx:pt idx="44075">0</cx:pt>
          <cx:pt idx="44076">0</cx:pt>
          <cx:pt idx="44077">0</cx:pt>
          <cx:pt idx="44078">0</cx:pt>
          <cx:pt idx="44079">1</cx:pt>
          <cx:pt idx="44080">0</cx:pt>
          <cx:pt idx="44081">1</cx:pt>
          <cx:pt idx="44082">0</cx:pt>
          <cx:pt idx="44083">1</cx:pt>
          <cx:pt idx="44084">0</cx:pt>
          <cx:pt idx="44085">0</cx:pt>
          <cx:pt idx="44086">0</cx:pt>
          <cx:pt idx="44087">1</cx:pt>
          <cx:pt idx="44088">0</cx:pt>
          <cx:pt idx="44089">0</cx:pt>
          <cx:pt idx="44090">0</cx:pt>
          <cx:pt idx="44091">1</cx:pt>
          <cx:pt idx="44092">0</cx:pt>
          <cx:pt idx="44093">0</cx:pt>
          <cx:pt idx="44094">1</cx:pt>
          <cx:pt idx="44095">0</cx:pt>
          <cx:pt idx="44096">0</cx:pt>
          <cx:pt idx="44097">0</cx:pt>
          <cx:pt idx="44098">0</cx:pt>
          <cx:pt idx="44099">0</cx:pt>
          <cx:pt idx="44100">1</cx:pt>
          <cx:pt idx="44101">0</cx:pt>
          <cx:pt idx="44102">1</cx:pt>
          <cx:pt idx="44103">0</cx:pt>
          <cx:pt idx="44104">0</cx:pt>
          <cx:pt idx="44105">0</cx:pt>
          <cx:pt idx="44106">0</cx:pt>
          <cx:pt idx="44107">1</cx:pt>
          <cx:pt idx="44108">1</cx:pt>
          <cx:pt idx="44109">0</cx:pt>
          <cx:pt idx="44110">1</cx:pt>
          <cx:pt idx="44111">1</cx:pt>
          <cx:pt idx="44112">0</cx:pt>
          <cx:pt idx="44113">0</cx:pt>
          <cx:pt idx="44114">1</cx:pt>
          <cx:pt idx="44115">0</cx:pt>
          <cx:pt idx="44116">0</cx:pt>
          <cx:pt idx="44117">1</cx:pt>
          <cx:pt idx="44118">0</cx:pt>
          <cx:pt idx="44119">0</cx:pt>
          <cx:pt idx="44120">0</cx:pt>
          <cx:pt idx="44121">0</cx:pt>
          <cx:pt idx="44122">0</cx:pt>
          <cx:pt idx="44123">0</cx:pt>
          <cx:pt idx="44124">1</cx:pt>
          <cx:pt idx="44125">0</cx:pt>
          <cx:pt idx="44126">1</cx:pt>
          <cx:pt idx="44127">1</cx:pt>
          <cx:pt idx="44128">0</cx:pt>
          <cx:pt idx="44129">0</cx:pt>
          <cx:pt idx="44130">1</cx:pt>
          <cx:pt idx="44131">0</cx:pt>
          <cx:pt idx="44132">0</cx:pt>
          <cx:pt idx="44133">0</cx:pt>
          <cx:pt idx="44134">0</cx:pt>
          <cx:pt idx="44135">1</cx:pt>
          <cx:pt idx="44136">1</cx:pt>
          <cx:pt idx="44137">0</cx:pt>
          <cx:pt idx="44138">0</cx:pt>
          <cx:pt idx="44139">0</cx:pt>
          <cx:pt idx="44140">1</cx:pt>
          <cx:pt idx="44141">1</cx:pt>
          <cx:pt idx="44142">0</cx:pt>
          <cx:pt idx="44143">0</cx:pt>
          <cx:pt idx="44144">0</cx:pt>
          <cx:pt idx="44145">1</cx:pt>
          <cx:pt idx="44146">0</cx:pt>
          <cx:pt idx="44147">0</cx:pt>
          <cx:pt idx="44148">0</cx:pt>
          <cx:pt idx="44149">0</cx:pt>
          <cx:pt idx="44150">0</cx:pt>
          <cx:pt idx="44151">0</cx:pt>
          <cx:pt idx="44152">1</cx:pt>
          <cx:pt idx="44153">0</cx:pt>
          <cx:pt idx="44154">1</cx:pt>
          <cx:pt idx="44155">0</cx:pt>
          <cx:pt idx="44156">1</cx:pt>
          <cx:pt idx="44157">1</cx:pt>
          <cx:pt idx="44158">1</cx:pt>
          <cx:pt idx="44159">1</cx:pt>
          <cx:pt idx="44160">0</cx:pt>
          <cx:pt idx="44161">0</cx:pt>
          <cx:pt idx="44162">1</cx:pt>
          <cx:pt idx="44163">1</cx:pt>
          <cx:pt idx="44164">1</cx:pt>
          <cx:pt idx="44165">1</cx:pt>
          <cx:pt idx="44166">0</cx:pt>
          <cx:pt idx="44167">0</cx:pt>
          <cx:pt idx="44168">0</cx:pt>
          <cx:pt idx="44169">1</cx:pt>
          <cx:pt idx="44170">1</cx:pt>
          <cx:pt idx="44171">1</cx:pt>
          <cx:pt idx="44172">0</cx:pt>
          <cx:pt idx="44173">0</cx:pt>
          <cx:pt idx="44174">0</cx:pt>
          <cx:pt idx="44175">0</cx:pt>
          <cx:pt idx="44176">0</cx:pt>
          <cx:pt idx="44177">1</cx:pt>
          <cx:pt idx="44178">0</cx:pt>
          <cx:pt idx="44179">0</cx:pt>
          <cx:pt idx="44180">1</cx:pt>
          <cx:pt idx="44181">1</cx:pt>
          <cx:pt idx="44182">1</cx:pt>
          <cx:pt idx="44183">0</cx:pt>
          <cx:pt idx="44184">0</cx:pt>
          <cx:pt idx="44185">0</cx:pt>
          <cx:pt idx="44186">0</cx:pt>
          <cx:pt idx="44187">1</cx:pt>
          <cx:pt idx="44188">0</cx:pt>
          <cx:pt idx="44189">1</cx:pt>
          <cx:pt idx="44190">0</cx:pt>
          <cx:pt idx="44191">1</cx:pt>
          <cx:pt idx="44192">0</cx:pt>
          <cx:pt idx="44193">0</cx:pt>
          <cx:pt idx="44194">0</cx:pt>
          <cx:pt idx="44195">1</cx:pt>
          <cx:pt idx="44196">0</cx:pt>
          <cx:pt idx="44197">1</cx:pt>
          <cx:pt idx="44198">1</cx:pt>
          <cx:pt idx="44199">0</cx:pt>
          <cx:pt idx="44200">1</cx:pt>
          <cx:pt idx="44201">0</cx:pt>
          <cx:pt idx="44202">1</cx:pt>
          <cx:pt idx="44203">0</cx:pt>
          <cx:pt idx="44204">0</cx:pt>
          <cx:pt idx="44205">0</cx:pt>
          <cx:pt idx="44206">0</cx:pt>
          <cx:pt idx="44207">0</cx:pt>
          <cx:pt idx="44208">1</cx:pt>
          <cx:pt idx="44209">1</cx:pt>
          <cx:pt idx="44210">0</cx:pt>
          <cx:pt idx="44211">1</cx:pt>
          <cx:pt idx="44212">1</cx:pt>
          <cx:pt idx="44213">1</cx:pt>
          <cx:pt idx="44214">0</cx:pt>
          <cx:pt idx="44215">0</cx:pt>
          <cx:pt idx="44216">0</cx:pt>
          <cx:pt idx="44217">0</cx:pt>
          <cx:pt idx="44218">1</cx:pt>
          <cx:pt idx="44219">0</cx:pt>
          <cx:pt idx="44220">0</cx:pt>
          <cx:pt idx="44221">1</cx:pt>
          <cx:pt idx="44222">0</cx:pt>
          <cx:pt idx="44223">0</cx:pt>
          <cx:pt idx="44224">0</cx:pt>
          <cx:pt idx="44225">0</cx:pt>
          <cx:pt idx="44226">1</cx:pt>
          <cx:pt idx="44227">0</cx:pt>
          <cx:pt idx="44228">1</cx:pt>
          <cx:pt idx="44229">0</cx:pt>
          <cx:pt idx="44230">1</cx:pt>
          <cx:pt idx="44231">1</cx:pt>
          <cx:pt idx="44232">1</cx:pt>
          <cx:pt idx="44233">0</cx:pt>
          <cx:pt idx="44234">0</cx:pt>
          <cx:pt idx="44235">0</cx:pt>
          <cx:pt idx="44236">1</cx:pt>
          <cx:pt idx="44237">1</cx:pt>
          <cx:pt idx="44238">0</cx:pt>
          <cx:pt idx="44239">0</cx:pt>
          <cx:pt idx="44240">1</cx:pt>
          <cx:pt idx="44241">0</cx:pt>
          <cx:pt idx="44242">0</cx:pt>
          <cx:pt idx="44243">0</cx:pt>
          <cx:pt idx="44244">1</cx:pt>
          <cx:pt idx="44245">0</cx:pt>
          <cx:pt idx="44246">1</cx:pt>
          <cx:pt idx="44247">1</cx:pt>
          <cx:pt idx="44248">0</cx:pt>
          <cx:pt idx="44249">1</cx:pt>
          <cx:pt idx="44250">1</cx:pt>
          <cx:pt idx="44251">1</cx:pt>
          <cx:pt idx="44252">1</cx:pt>
          <cx:pt idx="44253">0</cx:pt>
          <cx:pt idx="44254">0</cx:pt>
          <cx:pt idx="44255">1</cx:pt>
          <cx:pt idx="44256">1</cx:pt>
          <cx:pt idx="44257">1</cx:pt>
          <cx:pt idx="44258">0</cx:pt>
          <cx:pt idx="44259">1</cx:pt>
          <cx:pt idx="44260">0</cx:pt>
          <cx:pt idx="44261">1</cx:pt>
          <cx:pt idx="44262">1</cx:pt>
          <cx:pt idx="44263">1</cx:pt>
          <cx:pt idx="44264">0</cx:pt>
          <cx:pt idx="44265">1</cx:pt>
          <cx:pt idx="44266">1</cx:pt>
          <cx:pt idx="44267">1</cx:pt>
          <cx:pt idx="44268">0</cx:pt>
          <cx:pt idx="44269">0</cx:pt>
          <cx:pt idx="44270">1</cx:pt>
          <cx:pt idx="44271">0</cx:pt>
          <cx:pt idx="44272">1</cx:pt>
          <cx:pt idx="44273">0</cx:pt>
          <cx:pt idx="44274">0</cx:pt>
          <cx:pt idx="44275">0</cx:pt>
          <cx:pt idx="44276">0</cx:pt>
          <cx:pt idx="44277">0</cx:pt>
          <cx:pt idx="44278">0</cx:pt>
          <cx:pt idx="44279">1</cx:pt>
          <cx:pt idx="44280">1</cx:pt>
          <cx:pt idx="44281">0</cx:pt>
          <cx:pt idx="44282">0</cx:pt>
          <cx:pt idx="44283">1</cx:pt>
          <cx:pt idx="44284">0</cx:pt>
          <cx:pt idx="44285">0</cx:pt>
          <cx:pt idx="44286">1</cx:pt>
          <cx:pt idx="44287">1</cx:pt>
          <cx:pt idx="44288">0</cx:pt>
          <cx:pt idx="44289">0</cx:pt>
          <cx:pt idx="44290">1</cx:pt>
          <cx:pt idx="44291">0</cx:pt>
          <cx:pt idx="44292">1</cx:pt>
          <cx:pt idx="44293">0</cx:pt>
          <cx:pt idx="44294">0</cx:pt>
          <cx:pt idx="44295">0</cx:pt>
          <cx:pt idx="44296">0</cx:pt>
          <cx:pt idx="44297">1</cx:pt>
          <cx:pt idx="44298">0</cx:pt>
          <cx:pt idx="44299">1</cx:pt>
          <cx:pt idx="44300">1</cx:pt>
          <cx:pt idx="44301">0</cx:pt>
          <cx:pt idx="44302">0</cx:pt>
          <cx:pt idx="44303">0</cx:pt>
          <cx:pt idx="44304">0</cx:pt>
          <cx:pt idx="44305">0</cx:pt>
          <cx:pt idx="44306">0</cx:pt>
          <cx:pt idx="44307">1</cx:pt>
          <cx:pt idx="44308">1</cx:pt>
          <cx:pt idx="44309">0</cx:pt>
          <cx:pt idx="44310">0</cx:pt>
          <cx:pt idx="44311">0</cx:pt>
          <cx:pt idx="44312">1</cx:pt>
          <cx:pt idx="44313">0</cx:pt>
          <cx:pt idx="44314">0</cx:pt>
          <cx:pt idx="44315">1</cx:pt>
          <cx:pt idx="44316">1</cx:pt>
          <cx:pt idx="44317">0</cx:pt>
          <cx:pt idx="44318">0</cx:pt>
          <cx:pt idx="44319">0</cx:pt>
          <cx:pt idx="44320">1</cx:pt>
          <cx:pt idx="44321">0</cx:pt>
          <cx:pt idx="44322">0</cx:pt>
          <cx:pt idx="44323">1</cx:pt>
          <cx:pt idx="44324">1</cx:pt>
          <cx:pt idx="44325">0</cx:pt>
          <cx:pt idx="44326">0</cx:pt>
          <cx:pt idx="44327">1</cx:pt>
          <cx:pt idx="44328">0</cx:pt>
          <cx:pt idx="44329">1</cx:pt>
          <cx:pt idx="44330">0</cx:pt>
          <cx:pt idx="44331">0</cx:pt>
          <cx:pt idx="44332">1</cx:pt>
          <cx:pt idx="44333">1</cx:pt>
          <cx:pt idx="44334">1</cx:pt>
          <cx:pt idx="44335">1</cx:pt>
          <cx:pt idx="44336">1</cx:pt>
          <cx:pt idx="44337">0</cx:pt>
          <cx:pt idx="44338">0</cx:pt>
          <cx:pt idx="44339">1</cx:pt>
          <cx:pt idx="44340">0</cx:pt>
          <cx:pt idx="44341">1</cx:pt>
          <cx:pt idx="44342">1</cx:pt>
          <cx:pt idx="44343">0</cx:pt>
          <cx:pt idx="44344">1</cx:pt>
          <cx:pt idx="44345">1</cx:pt>
          <cx:pt idx="44346">1</cx:pt>
          <cx:pt idx="44347">0</cx:pt>
          <cx:pt idx="44348">1</cx:pt>
          <cx:pt idx="44349">1</cx:pt>
          <cx:pt idx="44350">0</cx:pt>
          <cx:pt idx="44351">1</cx:pt>
          <cx:pt idx="44352">1</cx:pt>
          <cx:pt idx="44353">1</cx:pt>
          <cx:pt idx="44354">0</cx:pt>
          <cx:pt idx="44355">1</cx:pt>
          <cx:pt idx="44356">1</cx:pt>
          <cx:pt idx="44357">1</cx:pt>
          <cx:pt idx="44358">0</cx:pt>
          <cx:pt idx="44359">1</cx:pt>
          <cx:pt idx="44360">0</cx:pt>
          <cx:pt idx="44361">0</cx:pt>
          <cx:pt idx="44362">0</cx:pt>
          <cx:pt idx="44363">1</cx:pt>
          <cx:pt idx="44364">0</cx:pt>
          <cx:pt idx="44365">0</cx:pt>
          <cx:pt idx="44366">1</cx:pt>
          <cx:pt idx="44367">0</cx:pt>
          <cx:pt idx="44368">0</cx:pt>
          <cx:pt idx="44369">0</cx:pt>
          <cx:pt idx="44370">0</cx:pt>
          <cx:pt idx="44371">0</cx:pt>
          <cx:pt idx="44372">0</cx:pt>
          <cx:pt idx="44373">0</cx:pt>
          <cx:pt idx="44374">0</cx:pt>
          <cx:pt idx="44375">1</cx:pt>
          <cx:pt idx="44376">0</cx:pt>
          <cx:pt idx="44377">1</cx:pt>
          <cx:pt idx="44378">1</cx:pt>
          <cx:pt idx="44379">1</cx:pt>
          <cx:pt idx="44380">0</cx:pt>
          <cx:pt idx="44381">1</cx:pt>
          <cx:pt idx="44382">0</cx:pt>
          <cx:pt idx="44383">1</cx:pt>
          <cx:pt idx="44384">1</cx:pt>
          <cx:pt idx="44385">1</cx:pt>
          <cx:pt idx="44386">0</cx:pt>
          <cx:pt idx="44387">0</cx:pt>
          <cx:pt idx="44388">1</cx:pt>
          <cx:pt idx="44389">0</cx:pt>
          <cx:pt idx="44390">0</cx:pt>
          <cx:pt idx="44391">1</cx:pt>
          <cx:pt idx="44392">1</cx:pt>
          <cx:pt idx="44393">1</cx:pt>
          <cx:pt idx="44394">0</cx:pt>
          <cx:pt idx="44395">0</cx:pt>
          <cx:pt idx="44396">1</cx:pt>
          <cx:pt idx="44397">0</cx:pt>
          <cx:pt idx="44398">1</cx:pt>
          <cx:pt idx="44399">0</cx:pt>
          <cx:pt idx="44400">0</cx:pt>
          <cx:pt idx="44401">0</cx:pt>
          <cx:pt idx="44402">0</cx:pt>
          <cx:pt idx="44403">0</cx:pt>
          <cx:pt idx="44404">1</cx:pt>
          <cx:pt idx="44405">0</cx:pt>
          <cx:pt idx="44406">0</cx:pt>
          <cx:pt idx="44407">0</cx:pt>
          <cx:pt idx="44408">1</cx:pt>
          <cx:pt idx="44409">1</cx:pt>
          <cx:pt idx="44410">1</cx:pt>
          <cx:pt idx="44411">1</cx:pt>
          <cx:pt idx="44412">1</cx:pt>
          <cx:pt idx="44413">1</cx:pt>
          <cx:pt idx="44414">0</cx:pt>
          <cx:pt idx="44415">1</cx:pt>
          <cx:pt idx="44416">0</cx:pt>
          <cx:pt idx="44417">0</cx:pt>
          <cx:pt idx="44418">0</cx:pt>
          <cx:pt idx="44419">1</cx:pt>
          <cx:pt idx="44420">1</cx:pt>
          <cx:pt idx="44421">1</cx:pt>
          <cx:pt idx="44422">0</cx:pt>
          <cx:pt idx="44423">1</cx:pt>
          <cx:pt idx="44424">0</cx:pt>
          <cx:pt idx="44425">1</cx:pt>
          <cx:pt idx="44426">0</cx:pt>
          <cx:pt idx="44427">1</cx:pt>
          <cx:pt idx="44428">0</cx:pt>
          <cx:pt idx="44429">1</cx:pt>
          <cx:pt idx="44430">0</cx:pt>
          <cx:pt idx="44431">1</cx:pt>
          <cx:pt idx="44432">0</cx:pt>
          <cx:pt idx="44433">1</cx:pt>
          <cx:pt idx="44434">1</cx:pt>
          <cx:pt idx="44435">0</cx:pt>
          <cx:pt idx="44436">0</cx:pt>
          <cx:pt idx="44437">1</cx:pt>
          <cx:pt idx="44438">1</cx:pt>
          <cx:pt idx="44439">0</cx:pt>
          <cx:pt idx="44440">1</cx:pt>
          <cx:pt idx="44441">1</cx:pt>
          <cx:pt idx="44442">1</cx:pt>
          <cx:pt idx="44443">0</cx:pt>
          <cx:pt idx="44444">1</cx:pt>
          <cx:pt idx="44445">0</cx:pt>
          <cx:pt idx="44446">1</cx:pt>
          <cx:pt idx="44447">1</cx:pt>
          <cx:pt idx="44448">0</cx:pt>
          <cx:pt idx="44449">0</cx:pt>
          <cx:pt idx="44450">0</cx:pt>
          <cx:pt idx="44451">0</cx:pt>
          <cx:pt idx="44452">0</cx:pt>
          <cx:pt idx="44453">0</cx:pt>
          <cx:pt idx="44454">1</cx:pt>
          <cx:pt idx="44455">0</cx:pt>
          <cx:pt idx="44456">0</cx:pt>
          <cx:pt idx="44457">1</cx:pt>
          <cx:pt idx="44458">1</cx:pt>
          <cx:pt idx="44459">0</cx:pt>
          <cx:pt idx="44460">1</cx:pt>
          <cx:pt idx="44461">1</cx:pt>
          <cx:pt idx="44462">0</cx:pt>
          <cx:pt idx="44463">1</cx:pt>
          <cx:pt idx="44464">1</cx:pt>
          <cx:pt idx="44465">0</cx:pt>
          <cx:pt idx="44466">0</cx:pt>
          <cx:pt idx="44467">0</cx:pt>
          <cx:pt idx="44468">1</cx:pt>
          <cx:pt idx="44469">1</cx:pt>
          <cx:pt idx="44470">0</cx:pt>
          <cx:pt idx="44471">0</cx:pt>
          <cx:pt idx="44472">1</cx:pt>
          <cx:pt idx="44473">1</cx:pt>
          <cx:pt idx="44474">1</cx:pt>
          <cx:pt idx="44475">0</cx:pt>
          <cx:pt idx="44476">1</cx:pt>
          <cx:pt idx="44477">0</cx:pt>
          <cx:pt idx="44478">0</cx:pt>
          <cx:pt idx="44479">0</cx:pt>
          <cx:pt idx="44480">1</cx:pt>
          <cx:pt idx="44481">0</cx:pt>
          <cx:pt idx="44482">1</cx:pt>
          <cx:pt idx="44483">0</cx:pt>
          <cx:pt idx="44484">1</cx:pt>
          <cx:pt idx="44485">0</cx:pt>
          <cx:pt idx="44486">1</cx:pt>
          <cx:pt idx="44487">0</cx:pt>
          <cx:pt idx="44488">1</cx:pt>
          <cx:pt idx="44489">0</cx:pt>
          <cx:pt idx="44490">0</cx:pt>
          <cx:pt idx="44491">0</cx:pt>
          <cx:pt idx="44492">0</cx:pt>
          <cx:pt idx="44493">1</cx:pt>
          <cx:pt idx="44494">1</cx:pt>
          <cx:pt idx="44495">1</cx:pt>
          <cx:pt idx="44496">0</cx:pt>
          <cx:pt idx="44497">0</cx:pt>
          <cx:pt idx="44498">0</cx:pt>
          <cx:pt idx="44499">0</cx:pt>
          <cx:pt idx="44500">0</cx:pt>
          <cx:pt idx="44501">1</cx:pt>
          <cx:pt idx="44502">0</cx:pt>
          <cx:pt idx="44503">0</cx:pt>
          <cx:pt idx="44504">0</cx:pt>
          <cx:pt idx="44505">0</cx:pt>
          <cx:pt idx="44506">0</cx:pt>
          <cx:pt idx="44507">0</cx:pt>
          <cx:pt idx="44508">0</cx:pt>
          <cx:pt idx="44509">0</cx:pt>
          <cx:pt idx="44510">0</cx:pt>
          <cx:pt idx="44511">1</cx:pt>
          <cx:pt idx="44512">1</cx:pt>
          <cx:pt idx="44513">0</cx:pt>
          <cx:pt idx="44514">0</cx:pt>
          <cx:pt idx="44515">1</cx:pt>
          <cx:pt idx="44516">0</cx:pt>
          <cx:pt idx="44517">0</cx:pt>
          <cx:pt idx="44518">0</cx:pt>
          <cx:pt idx="44519">0</cx:pt>
          <cx:pt idx="44520">1</cx:pt>
          <cx:pt idx="44521">0</cx:pt>
          <cx:pt idx="44522">1</cx:pt>
          <cx:pt idx="44523">1</cx:pt>
          <cx:pt idx="44524">0</cx:pt>
          <cx:pt idx="44525">0</cx:pt>
          <cx:pt idx="44526">0</cx:pt>
          <cx:pt idx="44527">0</cx:pt>
          <cx:pt idx="44528">1</cx:pt>
          <cx:pt idx="44529">0</cx:pt>
          <cx:pt idx="44530">1</cx:pt>
          <cx:pt idx="44531">0</cx:pt>
          <cx:pt idx="44532">1</cx:pt>
          <cx:pt idx="44533">1</cx:pt>
          <cx:pt idx="44534">0</cx:pt>
          <cx:pt idx="44535">0</cx:pt>
          <cx:pt idx="44536">1</cx:pt>
          <cx:pt idx="44537">0</cx:pt>
          <cx:pt idx="44538">0</cx:pt>
          <cx:pt idx="44539">0</cx:pt>
          <cx:pt idx="44540">1</cx:pt>
          <cx:pt idx="44541">1</cx:pt>
          <cx:pt idx="44542">0</cx:pt>
          <cx:pt idx="44543">0</cx:pt>
          <cx:pt idx="44544">1</cx:pt>
          <cx:pt idx="44545">1</cx:pt>
          <cx:pt idx="44546">0</cx:pt>
          <cx:pt idx="44547">0</cx:pt>
          <cx:pt idx="44548">1</cx:pt>
          <cx:pt idx="44549">0</cx:pt>
          <cx:pt idx="44550">1</cx:pt>
          <cx:pt idx="44551">0</cx:pt>
          <cx:pt idx="44552">1</cx:pt>
          <cx:pt idx="44553">0</cx:pt>
          <cx:pt idx="44554">0</cx:pt>
          <cx:pt idx="44555">0</cx:pt>
          <cx:pt idx="44556">0</cx:pt>
          <cx:pt idx="44557">1</cx:pt>
          <cx:pt idx="44558">1</cx:pt>
          <cx:pt idx="44559">0</cx:pt>
          <cx:pt idx="44560">0</cx:pt>
          <cx:pt idx="44561">1</cx:pt>
          <cx:pt idx="44562">1</cx:pt>
          <cx:pt idx="44563">1</cx:pt>
          <cx:pt idx="44564">1</cx:pt>
          <cx:pt idx="44565">1</cx:pt>
          <cx:pt idx="44566">0</cx:pt>
          <cx:pt idx="44567">0</cx:pt>
          <cx:pt idx="44568">1</cx:pt>
          <cx:pt idx="44569">1</cx:pt>
          <cx:pt idx="44570">0</cx:pt>
          <cx:pt idx="44571">0</cx:pt>
          <cx:pt idx="44572">0</cx:pt>
          <cx:pt idx="44573">1</cx:pt>
          <cx:pt idx="44574">0</cx:pt>
          <cx:pt idx="44575">1</cx:pt>
          <cx:pt idx="44576">0</cx:pt>
          <cx:pt idx="44577">0</cx:pt>
          <cx:pt idx="44578">1</cx:pt>
          <cx:pt idx="44579">1</cx:pt>
          <cx:pt idx="44580">1</cx:pt>
          <cx:pt idx="44581">0</cx:pt>
          <cx:pt idx="44582">1</cx:pt>
          <cx:pt idx="44583">0</cx:pt>
          <cx:pt idx="44584">0</cx:pt>
          <cx:pt idx="44585">1</cx:pt>
          <cx:pt idx="44586">1</cx:pt>
          <cx:pt idx="44587">0</cx:pt>
          <cx:pt idx="44588">0</cx:pt>
          <cx:pt idx="44589">0</cx:pt>
          <cx:pt idx="44590">0</cx:pt>
          <cx:pt idx="44591">0</cx:pt>
          <cx:pt idx="44592">1</cx:pt>
          <cx:pt idx="44593">0</cx:pt>
          <cx:pt idx="44594">0</cx:pt>
          <cx:pt idx="44595">0</cx:pt>
          <cx:pt idx="44596">1</cx:pt>
          <cx:pt idx="44597">1</cx:pt>
          <cx:pt idx="44598">1</cx:pt>
          <cx:pt idx="44599">0</cx:pt>
          <cx:pt idx="44600">1</cx:pt>
          <cx:pt idx="44601">0</cx:pt>
          <cx:pt idx="44602">0</cx:pt>
          <cx:pt idx="44603">1</cx:pt>
          <cx:pt idx="44604">0</cx:pt>
          <cx:pt idx="44605">0</cx:pt>
          <cx:pt idx="44606">1</cx:pt>
          <cx:pt idx="44607">0</cx:pt>
          <cx:pt idx="44608">1</cx:pt>
          <cx:pt idx="44609">1</cx:pt>
          <cx:pt idx="44610">1</cx:pt>
          <cx:pt idx="44611">0</cx:pt>
          <cx:pt idx="44612">0</cx:pt>
          <cx:pt idx="44613">0</cx:pt>
          <cx:pt idx="44614">0</cx:pt>
          <cx:pt idx="44615">0</cx:pt>
          <cx:pt idx="44616">1</cx:pt>
          <cx:pt idx="44617">0</cx:pt>
          <cx:pt idx="44618">0</cx:pt>
          <cx:pt idx="44619">1</cx:pt>
          <cx:pt idx="44620">0</cx:pt>
          <cx:pt idx="44621">1</cx:pt>
          <cx:pt idx="44622">1</cx:pt>
          <cx:pt idx="44623">1</cx:pt>
          <cx:pt idx="44624">0</cx:pt>
          <cx:pt idx="44625">1</cx:pt>
          <cx:pt idx="44626">0</cx:pt>
          <cx:pt idx="44627">1</cx:pt>
          <cx:pt idx="44628">1</cx:pt>
          <cx:pt idx="44629">0</cx:pt>
          <cx:pt idx="44630">0</cx:pt>
          <cx:pt idx="44631">0</cx:pt>
          <cx:pt idx="44632">0</cx:pt>
          <cx:pt idx="44633">0</cx:pt>
          <cx:pt idx="44634">0</cx:pt>
          <cx:pt idx="44635">1</cx:pt>
          <cx:pt idx="44636">0</cx:pt>
          <cx:pt idx="44637">1</cx:pt>
          <cx:pt idx="44638">1</cx:pt>
          <cx:pt idx="44639">0</cx:pt>
          <cx:pt idx="44640">1</cx:pt>
          <cx:pt idx="44641">1</cx:pt>
          <cx:pt idx="44642">1</cx:pt>
          <cx:pt idx="44643">0</cx:pt>
          <cx:pt idx="44644">1</cx:pt>
          <cx:pt idx="44645">1</cx:pt>
          <cx:pt idx="44646">1</cx:pt>
          <cx:pt idx="44647">0</cx:pt>
          <cx:pt idx="44648">0</cx:pt>
          <cx:pt idx="44649">1</cx:pt>
          <cx:pt idx="44650">1</cx:pt>
          <cx:pt idx="44651">1</cx:pt>
          <cx:pt idx="44652">0</cx:pt>
          <cx:pt idx="44653">0</cx:pt>
          <cx:pt idx="44654">1</cx:pt>
          <cx:pt idx="44655">0</cx:pt>
          <cx:pt idx="44656">0</cx:pt>
          <cx:pt idx="44657">1</cx:pt>
          <cx:pt idx="44658">1</cx:pt>
          <cx:pt idx="44659">1</cx:pt>
          <cx:pt idx="44660">1</cx:pt>
          <cx:pt idx="44661">0</cx:pt>
          <cx:pt idx="44662">0</cx:pt>
          <cx:pt idx="44663">1</cx:pt>
          <cx:pt idx="44664">0</cx:pt>
          <cx:pt idx="44665">0</cx:pt>
          <cx:pt idx="44666">1</cx:pt>
          <cx:pt idx="44667">0</cx:pt>
          <cx:pt idx="44668">0</cx:pt>
          <cx:pt idx="44669">1</cx:pt>
          <cx:pt idx="44670">0</cx:pt>
          <cx:pt idx="44671">0</cx:pt>
          <cx:pt idx="44672">1</cx:pt>
          <cx:pt idx="44673">1</cx:pt>
          <cx:pt idx="44674">0</cx:pt>
          <cx:pt idx="44675">1</cx:pt>
          <cx:pt idx="44676">0</cx:pt>
          <cx:pt idx="44677">1</cx:pt>
          <cx:pt idx="44678">0</cx:pt>
          <cx:pt idx="44679">0</cx:pt>
          <cx:pt idx="44680">1</cx:pt>
          <cx:pt idx="44681">0</cx:pt>
          <cx:pt idx="44682">1</cx:pt>
          <cx:pt idx="44683">1</cx:pt>
          <cx:pt idx="44684">1</cx:pt>
          <cx:pt idx="44685">1</cx:pt>
          <cx:pt idx="44686">0</cx:pt>
          <cx:pt idx="44687">0</cx:pt>
          <cx:pt idx="44688">0</cx:pt>
          <cx:pt idx="44689">0</cx:pt>
          <cx:pt idx="44690">0</cx:pt>
          <cx:pt idx="44691">0</cx:pt>
          <cx:pt idx="44692">0</cx:pt>
          <cx:pt idx="44693">0</cx:pt>
          <cx:pt idx="44694">0</cx:pt>
          <cx:pt idx="44695">1</cx:pt>
          <cx:pt idx="44696">0</cx:pt>
          <cx:pt idx="44697">1</cx:pt>
          <cx:pt idx="44698">1</cx:pt>
          <cx:pt idx="44699">0</cx:pt>
          <cx:pt idx="44700">0</cx:pt>
          <cx:pt idx="44701">0</cx:pt>
          <cx:pt idx="44702">0</cx:pt>
          <cx:pt idx="44703">0</cx:pt>
          <cx:pt idx="44704">0</cx:pt>
          <cx:pt idx="44705">0</cx:pt>
          <cx:pt idx="44706">1</cx:pt>
          <cx:pt idx="44707">0</cx:pt>
          <cx:pt idx="44708">0</cx:pt>
          <cx:pt idx="44709">0</cx:pt>
          <cx:pt idx="44710">0</cx:pt>
          <cx:pt idx="44711">0</cx:pt>
          <cx:pt idx="44712">0</cx:pt>
          <cx:pt idx="44713">1</cx:pt>
          <cx:pt idx="44714">1</cx:pt>
          <cx:pt idx="44715">1</cx:pt>
          <cx:pt idx="44716">0</cx:pt>
          <cx:pt idx="44717">0</cx:pt>
          <cx:pt idx="44718">1</cx:pt>
          <cx:pt idx="44719">1</cx:pt>
          <cx:pt idx="44720">0</cx:pt>
          <cx:pt idx="44721">0</cx:pt>
          <cx:pt idx="44722">0</cx:pt>
          <cx:pt idx="44723">0</cx:pt>
          <cx:pt idx="44724">0</cx:pt>
          <cx:pt idx="44725">0</cx:pt>
          <cx:pt idx="44726">0</cx:pt>
          <cx:pt idx="44727">1</cx:pt>
          <cx:pt idx="44728">0</cx:pt>
          <cx:pt idx="44729">1</cx:pt>
          <cx:pt idx="44730">1</cx:pt>
          <cx:pt idx="44731">0</cx:pt>
          <cx:pt idx="44732">0</cx:pt>
          <cx:pt idx="44733">1</cx:pt>
          <cx:pt idx="44734">1</cx:pt>
          <cx:pt idx="44735">1</cx:pt>
          <cx:pt idx="44736">0</cx:pt>
          <cx:pt idx="44737">1</cx:pt>
          <cx:pt idx="44738">0</cx:pt>
          <cx:pt idx="44739">0</cx:pt>
          <cx:pt idx="44740">0</cx:pt>
          <cx:pt idx="44741">0</cx:pt>
          <cx:pt idx="44742">1</cx:pt>
          <cx:pt idx="44743">0</cx:pt>
          <cx:pt idx="44744">0</cx:pt>
          <cx:pt idx="44745">1</cx:pt>
          <cx:pt idx="44746">0</cx:pt>
          <cx:pt idx="44747">0</cx:pt>
          <cx:pt idx="44748">0</cx:pt>
          <cx:pt idx="44749">1</cx:pt>
          <cx:pt idx="44750">1</cx:pt>
          <cx:pt idx="44751">0</cx:pt>
          <cx:pt idx="44752">1</cx:pt>
          <cx:pt idx="44753">1</cx:pt>
          <cx:pt idx="44754">0</cx:pt>
          <cx:pt idx="44755">1</cx:pt>
          <cx:pt idx="44756">1</cx:pt>
          <cx:pt idx="44757">0</cx:pt>
          <cx:pt idx="44758">0</cx:pt>
          <cx:pt idx="44759">0</cx:pt>
          <cx:pt idx="44760">0</cx:pt>
          <cx:pt idx="44761">0</cx:pt>
          <cx:pt idx="44762">1</cx:pt>
          <cx:pt idx="44763">1</cx:pt>
          <cx:pt idx="44764">0</cx:pt>
          <cx:pt idx="44765">0</cx:pt>
          <cx:pt idx="44766">1</cx:pt>
          <cx:pt idx="44767">1</cx:pt>
          <cx:pt idx="44768">0</cx:pt>
          <cx:pt idx="44769">0</cx:pt>
          <cx:pt idx="44770">0</cx:pt>
          <cx:pt idx="44771">0</cx:pt>
          <cx:pt idx="44772">1</cx:pt>
          <cx:pt idx="44773">1</cx:pt>
          <cx:pt idx="44774">0</cx:pt>
          <cx:pt idx="44775">0</cx:pt>
          <cx:pt idx="44776">0</cx:pt>
          <cx:pt idx="44777">0</cx:pt>
          <cx:pt idx="44778">1</cx:pt>
          <cx:pt idx="44779">0</cx:pt>
          <cx:pt idx="44780">0</cx:pt>
          <cx:pt idx="44781">1</cx:pt>
          <cx:pt idx="44782">0</cx:pt>
          <cx:pt idx="44783">1</cx:pt>
          <cx:pt idx="44784">0</cx:pt>
          <cx:pt idx="44785">1</cx:pt>
          <cx:pt idx="44786">0</cx:pt>
          <cx:pt idx="44787">1</cx:pt>
          <cx:pt idx="44788">0</cx:pt>
          <cx:pt idx="44789">1</cx:pt>
          <cx:pt idx="44790">1</cx:pt>
          <cx:pt idx="44791">0</cx:pt>
          <cx:pt idx="44792">0</cx:pt>
          <cx:pt idx="44793">1</cx:pt>
          <cx:pt idx="44794">1</cx:pt>
          <cx:pt idx="44795">1</cx:pt>
          <cx:pt idx="44796">1</cx:pt>
          <cx:pt idx="44797">0</cx:pt>
          <cx:pt idx="44798">1</cx:pt>
          <cx:pt idx="44799">0</cx:pt>
          <cx:pt idx="44800">0</cx:pt>
          <cx:pt idx="44801">0</cx:pt>
          <cx:pt idx="44802">0</cx:pt>
          <cx:pt idx="44803">0</cx:pt>
          <cx:pt idx="44804">1</cx:pt>
          <cx:pt idx="44805">0</cx:pt>
          <cx:pt idx="44806">0</cx:pt>
          <cx:pt idx="44807">0</cx:pt>
          <cx:pt idx="44808">1</cx:pt>
          <cx:pt idx="44809">1</cx:pt>
          <cx:pt idx="44810">0</cx:pt>
          <cx:pt idx="44811">0</cx:pt>
          <cx:pt idx="44812">1</cx:pt>
          <cx:pt idx="44813">1</cx:pt>
          <cx:pt idx="44814">0</cx:pt>
          <cx:pt idx="44815">1</cx:pt>
          <cx:pt idx="44816">1</cx:pt>
          <cx:pt idx="44817">0</cx:pt>
          <cx:pt idx="44818">1</cx:pt>
          <cx:pt idx="44819">1</cx:pt>
          <cx:pt idx="44820">1</cx:pt>
          <cx:pt idx="44821">0</cx:pt>
          <cx:pt idx="44822">1</cx:pt>
          <cx:pt idx="44823">0</cx:pt>
          <cx:pt idx="44824">0</cx:pt>
          <cx:pt idx="44825">0</cx:pt>
          <cx:pt idx="44826">0</cx:pt>
          <cx:pt idx="44827">0</cx:pt>
          <cx:pt idx="44828">1</cx:pt>
          <cx:pt idx="44829">0</cx:pt>
          <cx:pt idx="44830">1</cx:pt>
          <cx:pt idx="44831">0</cx:pt>
          <cx:pt idx="44832">1</cx:pt>
          <cx:pt idx="44833">1</cx:pt>
          <cx:pt idx="44834">0</cx:pt>
          <cx:pt idx="44835">0</cx:pt>
          <cx:pt idx="44836">1</cx:pt>
          <cx:pt idx="44837">0</cx:pt>
          <cx:pt idx="44838">1</cx:pt>
          <cx:pt idx="44839">0</cx:pt>
          <cx:pt idx="44840">0</cx:pt>
          <cx:pt idx="44841">0</cx:pt>
          <cx:pt idx="44842">1</cx:pt>
          <cx:pt idx="44843">0</cx:pt>
          <cx:pt idx="44844">0</cx:pt>
          <cx:pt idx="44845">0</cx:pt>
          <cx:pt idx="44846">0</cx:pt>
          <cx:pt idx="44847">0</cx:pt>
          <cx:pt idx="44848">0</cx:pt>
          <cx:pt idx="44849">1</cx:pt>
          <cx:pt idx="44850">0</cx:pt>
          <cx:pt idx="44851">1</cx:pt>
          <cx:pt idx="44852">0</cx:pt>
          <cx:pt idx="44853">0</cx:pt>
          <cx:pt idx="44854">0</cx:pt>
          <cx:pt idx="44855">1</cx:pt>
          <cx:pt idx="44856">1</cx:pt>
          <cx:pt idx="44857">1</cx:pt>
          <cx:pt idx="44858">1</cx:pt>
          <cx:pt idx="44859">1</cx:pt>
          <cx:pt idx="44860">0</cx:pt>
          <cx:pt idx="44861">0</cx:pt>
          <cx:pt idx="44862">0</cx:pt>
          <cx:pt idx="44863">0</cx:pt>
          <cx:pt idx="44864">0</cx:pt>
          <cx:pt idx="44865">0</cx:pt>
          <cx:pt idx="44866">0</cx:pt>
          <cx:pt idx="44867">1</cx:pt>
          <cx:pt idx="44868">1</cx:pt>
          <cx:pt idx="44869">0</cx:pt>
          <cx:pt idx="44870">1</cx:pt>
          <cx:pt idx="44871">1</cx:pt>
          <cx:pt idx="44872">1</cx:pt>
          <cx:pt idx="44873">0</cx:pt>
          <cx:pt idx="44874">0</cx:pt>
          <cx:pt idx="44875">0</cx:pt>
          <cx:pt idx="44876">1</cx:pt>
          <cx:pt idx="44877">0</cx:pt>
          <cx:pt idx="44878">0</cx:pt>
          <cx:pt idx="44879">0</cx:pt>
          <cx:pt idx="44880">1</cx:pt>
          <cx:pt idx="44881">0</cx:pt>
          <cx:pt idx="44882">1</cx:pt>
          <cx:pt idx="44883">0</cx:pt>
          <cx:pt idx="44884">0</cx:pt>
          <cx:pt idx="44885">0</cx:pt>
          <cx:pt idx="44886">0</cx:pt>
          <cx:pt idx="44887">0</cx:pt>
          <cx:pt idx="44888">0</cx:pt>
          <cx:pt idx="44889">0</cx:pt>
          <cx:pt idx="44890">0</cx:pt>
          <cx:pt idx="44891">0</cx:pt>
          <cx:pt idx="44892">0</cx:pt>
          <cx:pt idx="44893">1</cx:pt>
          <cx:pt idx="44894">0</cx:pt>
          <cx:pt idx="44895">1</cx:pt>
          <cx:pt idx="44896">0</cx:pt>
          <cx:pt idx="44897">1</cx:pt>
          <cx:pt idx="44898">1</cx:pt>
          <cx:pt idx="44899">0</cx:pt>
          <cx:pt idx="44900">0</cx:pt>
          <cx:pt idx="44901">0</cx:pt>
          <cx:pt idx="44902">0</cx:pt>
          <cx:pt idx="44903">1</cx:pt>
          <cx:pt idx="44904">0</cx:pt>
          <cx:pt idx="44905">1</cx:pt>
          <cx:pt idx="44906">1</cx:pt>
          <cx:pt idx="44907">0</cx:pt>
          <cx:pt idx="44908">0</cx:pt>
          <cx:pt idx="44909">1</cx:pt>
          <cx:pt idx="44910">0</cx:pt>
          <cx:pt idx="44911">0</cx:pt>
          <cx:pt idx="44912">0</cx:pt>
          <cx:pt idx="44913">0</cx:pt>
          <cx:pt idx="44914">0</cx:pt>
          <cx:pt idx="44915">1</cx:pt>
          <cx:pt idx="44916">0</cx:pt>
          <cx:pt idx="44917">0</cx:pt>
          <cx:pt idx="44918">1</cx:pt>
          <cx:pt idx="44919">1</cx:pt>
          <cx:pt idx="44920">0</cx:pt>
          <cx:pt idx="44921">0</cx:pt>
          <cx:pt idx="44922">1</cx:pt>
          <cx:pt idx="44923">0</cx:pt>
          <cx:pt idx="44924">0</cx:pt>
          <cx:pt idx="44925">1</cx:pt>
          <cx:pt idx="44926">0</cx:pt>
          <cx:pt idx="44927">0</cx:pt>
          <cx:pt idx="44928">1</cx:pt>
          <cx:pt idx="44929">0</cx:pt>
          <cx:pt idx="44930">0</cx:pt>
          <cx:pt idx="44931">0</cx:pt>
          <cx:pt idx="44932">0</cx:pt>
          <cx:pt idx="44933">1</cx:pt>
          <cx:pt idx="44934">0</cx:pt>
          <cx:pt idx="44935">1</cx:pt>
          <cx:pt idx="44936">0</cx:pt>
          <cx:pt idx="44937">1</cx:pt>
          <cx:pt idx="44938">0</cx:pt>
          <cx:pt idx="44939">1</cx:pt>
          <cx:pt idx="44940">0</cx:pt>
          <cx:pt idx="44941">0</cx:pt>
          <cx:pt idx="44942">1</cx:pt>
          <cx:pt idx="44943">1</cx:pt>
          <cx:pt idx="44944">1</cx:pt>
          <cx:pt idx="44945">0</cx:pt>
          <cx:pt idx="44946">1</cx:pt>
          <cx:pt idx="44947">0</cx:pt>
          <cx:pt idx="44948">0</cx:pt>
          <cx:pt idx="44949">1</cx:pt>
          <cx:pt idx="44950">0</cx:pt>
          <cx:pt idx="44951">0</cx:pt>
          <cx:pt idx="44952">1</cx:pt>
          <cx:pt idx="44953">0</cx:pt>
          <cx:pt idx="44954">0</cx:pt>
          <cx:pt idx="44955">1</cx:pt>
          <cx:pt idx="44956">0</cx:pt>
          <cx:pt idx="44957">0</cx:pt>
          <cx:pt idx="44958">0</cx:pt>
          <cx:pt idx="44959">1</cx:pt>
          <cx:pt idx="44960">0</cx:pt>
          <cx:pt idx="44961">1</cx:pt>
          <cx:pt idx="44962">1</cx:pt>
          <cx:pt idx="44963">1</cx:pt>
          <cx:pt idx="44964">1</cx:pt>
          <cx:pt idx="44965">0</cx:pt>
          <cx:pt idx="44966">0</cx:pt>
          <cx:pt idx="44967">0</cx:pt>
          <cx:pt idx="44968">0</cx:pt>
          <cx:pt idx="44969">0</cx:pt>
          <cx:pt idx="44970">0</cx:pt>
          <cx:pt idx="44971">0</cx:pt>
          <cx:pt idx="44972">0</cx:pt>
          <cx:pt idx="44973">0</cx:pt>
          <cx:pt idx="44974">1</cx:pt>
          <cx:pt idx="44975">0</cx:pt>
          <cx:pt idx="44976">0</cx:pt>
          <cx:pt idx="44977">0</cx:pt>
          <cx:pt idx="44978">1</cx:pt>
          <cx:pt idx="44979">0</cx:pt>
          <cx:pt idx="44980">1</cx:pt>
          <cx:pt idx="44981">1</cx:pt>
          <cx:pt idx="44982">0</cx:pt>
          <cx:pt idx="44983">0</cx:pt>
          <cx:pt idx="44984">0</cx:pt>
          <cx:pt idx="44985">0</cx:pt>
          <cx:pt idx="44986">1</cx:pt>
          <cx:pt idx="44987">1</cx:pt>
          <cx:pt idx="44988">1</cx:pt>
          <cx:pt idx="44989">1</cx:pt>
          <cx:pt idx="44990">0</cx:pt>
          <cx:pt idx="44991">1</cx:pt>
          <cx:pt idx="44992">0</cx:pt>
          <cx:pt idx="44993">1</cx:pt>
          <cx:pt idx="44994">0</cx:pt>
          <cx:pt idx="44995">0</cx:pt>
          <cx:pt idx="44996">0</cx:pt>
          <cx:pt idx="44997">1</cx:pt>
          <cx:pt idx="44998">1</cx:pt>
          <cx:pt idx="44999">0</cx:pt>
          <cx:pt idx="45000">0</cx:pt>
          <cx:pt idx="45001">1</cx:pt>
          <cx:pt idx="45002">1</cx:pt>
          <cx:pt idx="45003">0</cx:pt>
          <cx:pt idx="45004">1</cx:pt>
          <cx:pt idx="45005">0</cx:pt>
          <cx:pt idx="45006">0</cx:pt>
          <cx:pt idx="45007">1</cx:pt>
          <cx:pt idx="45008">1</cx:pt>
          <cx:pt idx="45009">0</cx:pt>
          <cx:pt idx="45010">0</cx:pt>
          <cx:pt idx="45011">1</cx:pt>
          <cx:pt idx="45012">0</cx:pt>
          <cx:pt idx="45013">0</cx:pt>
          <cx:pt idx="45014">0</cx:pt>
          <cx:pt idx="45015">1</cx:pt>
          <cx:pt idx="45016">0</cx:pt>
          <cx:pt idx="45017">1</cx:pt>
          <cx:pt idx="45018">1</cx:pt>
          <cx:pt idx="45019">0</cx:pt>
          <cx:pt idx="45020">0</cx:pt>
          <cx:pt idx="45021">1</cx:pt>
          <cx:pt idx="45022">0</cx:pt>
          <cx:pt idx="45023">1</cx:pt>
          <cx:pt idx="45024">1</cx:pt>
          <cx:pt idx="45025">1</cx:pt>
          <cx:pt idx="45026">0</cx:pt>
          <cx:pt idx="45027">1</cx:pt>
          <cx:pt idx="45028">1</cx:pt>
          <cx:pt idx="45029">0</cx:pt>
          <cx:pt idx="45030">1</cx:pt>
          <cx:pt idx="45031">0</cx:pt>
          <cx:pt idx="45032">1</cx:pt>
          <cx:pt idx="45033">0</cx:pt>
          <cx:pt idx="45034">0</cx:pt>
          <cx:pt idx="45035">0</cx:pt>
          <cx:pt idx="45036">0</cx:pt>
          <cx:pt idx="45037">0</cx:pt>
          <cx:pt idx="45038">0</cx:pt>
          <cx:pt idx="45039">0</cx:pt>
          <cx:pt idx="45040">0</cx:pt>
          <cx:pt idx="45041">0</cx:pt>
          <cx:pt idx="45042">0</cx:pt>
          <cx:pt idx="45043">0</cx:pt>
          <cx:pt idx="45044">1</cx:pt>
          <cx:pt idx="45045">0</cx:pt>
          <cx:pt idx="45046">0</cx:pt>
          <cx:pt idx="45047">1</cx:pt>
          <cx:pt idx="45048">0</cx:pt>
          <cx:pt idx="45049">1</cx:pt>
          <cx:pt idx="45050">0</cx:pt>
          <cx:pt idx="45051">1</cx:pt>
          <cx:pt idx="45052">0</cx:pt>
          <cx:pt idx="45053">1</cx:pt>
          <cx:pt idx="45054">0</cx:pt>
          <cx:pt idx="45055">1</cx:pt>
          <cx:pt idx="45056">0</cx:pt>
          <cx:pt idx="45057">0</cx:pt>
          <cx:pt idx="45058">1</cx:pt>
          <cx:pt idx="45059">1</cx:pt>
          <cx:pt idx="45060">0</cx:pt>
          <cx:pt idx="45061">0</cx:pt>
          <cx:pt idx="45062">0</cx:pt>
          <cx:pt idx="45063">0</cx:pt>
          <cx:pt idx="45064">0</cx:pt>
          <cx:pt idx="45065">1</cx:pt>
          <cx:pt idx="45066">0</cx:pt>
          <cx:pt idx="45067">0</cx:pt>
          <cx:pt idx="45068">1</cx:pt>
          <cx:pt idx="45069">0</cx:pt>
          <cx:pt idx="45070">0</cx:pt>
          <cx:pt idx="45071">1</cx:pt>
          <cx:pt idx="45072">0</cx:pt>
          <cx:pt idx="45073">0</cx:pt>
          <cx:pt idx="45074">1</cx:pt>
          <cx:pt idx="45075">0</cx:pt>
          <cx:pt idx="45076">0</cx:pt>
          <cx:pt idx="45077">0</cx:pt>
          <cx:pt idx="45078">0</cx:pt>
          <cx:pt idx="45079">1</cx:pt>
          <cx:pt idx="45080">0</cx:pt>
          <cx:pt idx="45081">0</cx:pt>
          <cx:pt idx="45082">0</cx:pt>
          <cx:pt idx="45083">0</cx:pt>
          <cx:pt idx="45084">0</cx:pt>
          <cx:pt idx="45085">0</cx:pt>
          <cx:pt idx="45086">0</cx:pt>
          <cx:pt idx="45087">1</cx:pt>
          <cx:pt idx="45088">0</cx:pt>
          <cx:pt idx="45089">0</cx:pt>
          <cx:pt idx="45090">0</cx:pt>
          <cx:pt idx="45091">1</cx:pt>
          <cx:pt idx="45092">1</cx:pt>
          <cx:pt idx="45093">1</cx:pt>
          <cx:pt idx="45094">0</cx:pt>
          <cx:pt idx="45095">1</cx:pt>
          <cx:pt idx="45096">0</cx:pt>
          <cx:pt idx="45097">1</cx:pt>
          <cx:pt idx="45098">1</cx:pt>
          <cx:pt idx="45099">0</cx:pt>
          <cx:pt idx="45100">1</cx:pt>
          <cx:pt idx="45101">0</cx:pt>
          <cx:pt idx="45102">0</cx:pt>
          <cx:pt idx="45103">0</cx:pt>
          <cx:pt idx="45104">0</cx:pt>
          <cx:pt idx="45105">1</cx:pt>
          <cx:pt idx="45106">0</cx:pt>
          <cx:pt idx="45107">1</cx:pt>
          <cx:pt idx="45108">1</cx:pt>
          <cx:pt idx="45109">1</cx:pt>
          <cx:pt idx="45110">1</cx:pt>
          <cx:pt idx="45111">1</cx:pt>
          <cx:pt idx="45112">1</cx:pt>
          <cx:pt idx="45113">1</cx:pt>
          <cx:pt idx="45114">0</cx:pt>
          <cx:pt idx="45115">0</cx:pt>
          <cx:pt idx="45116">0</cx:pt>
          <cx:pt idx="45117">1</cx:pt>
          <cx:pt idx="45118">1</cx:pt>
          <cx:pt idx="45119">1</cx:pt>
          <cx:pt idx="45120">0</cx:pt>
          <cx:pt idx="45121">0</cx:pt>
          <cx:pt idx="45122">0</cx:pt>
          <cx:pt idx="45123">1</cx:pt>
          <cx:pt idx="45124">0</cx:pt>
          <cx:pt idx="45125">0</cx:pt>
          <cx:pt idx="45126">1</cx:pt>
          <cx:pt idx="45127">1</cx:pt>
          <cx:pt idx="45128">1</cx:pt>
          <cx:pt idx="45129">1</cx:pt>
          <cx:pt idx="45130">0</cx:pt>
          <cx:pt idx="45131">0</cx:pt>
          <cx:pt idx="45132">1</cx:pt>
          <cx:pt idx="45133">0</cx:pt>
          <cx:pt idx="45134">1</cx:pt>
          <cx:pt idx="45135">1</cx:pt>
          <cx:pt idx="45136">0</cx:pt>
          <cx:pt idx="45137">0</cx:pt>
          <cx:pt idx="45138">0</cx:pt>
          <cx:pt idx="45139">0</cx:pt>
          <cx:pt idx="45140">1</cx:pt>
          <cx:pt idx="45141">0</cx:pt>
          <cx:pt idx="45142">0</cx:pt>
          <cx:pt idx="45143">0</cx:pt>
          <cx:pt idx="45144">1</cx:pt>
          <cx:pt idx="45145">1</cx:pt>
          <cx:pt idx="45146">0</cx:pt>
          <cx:pt idx="45147">1</cx:pt>
          <cx:pt idx="45148">0</cx:pt>
          <cx:pt idx="45149">0</cx:pt>
          <cx:pt idx="45150">0</cx:pt>
          <cx:pt idx="45151">0</cx:pt>
          <cx:pt idx="45152">0</cx:pt>
          <cx:pt idx="45153">1</cx:pt>
          <cx:pt idx="45154">0</cx:pt>
          <cx:pt idx="45155">0</cx:pt>
          <cx:pt idx="45156">1</cx:pt>
          <cx:pt idx="45157">0</cx:pt>
          <cx:pt idx="45158">1</cx:pt>
          <cx:pt idx="45159">0</cx:pt>
          <cx:pt idx="45160">0</cx:pt>
          <cx:pt idx="45161">0</cx:pt>
          <cx:pt idx="45162">0</cx:pt>
          <cx:pt idx="45163">0</cx:pt>
          <cx:pt idx="45164">1</cx:pt>
          <cx:pt idx="45165">1</cx:pt>
          <cx:pt idx="45166">0</cx:pt>
          <cx:pt idx="45167">0</cx:pt>
          <cx:pt idx="45168">1</cx:pt>
          <cx:pt idx="45169">1</cx:pt>
          <cx:pt idx="45170">1</cx:pt>
          <cx:pt idx="45171">1</cx:pt>
          <cx:pt idx="45172">1</cx:pt>
          <cx:pt idx="45173">0</cx:pt>
          <cx:pt idx="45174">1</cx:pt>
          <cx:pt idx="45175">0</cx:pt>
          <cx:pt idx="45176">0</cx:pt>
          <cx:pt idx="45177">0</cx:pt>
          <cx:pt idx="45178">1</cx:pt>
          <cx:pt idx="45179">0</cx:pt>
          <cx:pt idx="45180">1</cx:pt>
          <cx:pt idx="45181">0</cx:pt>
          <cx:pt idx="45182">0</cx:pt>
          <cx:pt idx="45183">0</cx:pt>
          <cx:pt idx="45184">1</cx:pt>
          <cx:pt idx="45185">1</cx:pt>
          <cx:pt idx="45186">0</cx:pt>
          <cx:pt idx="45187">1</cx:pt>
          <cx:pt idx="45188">1</cx:pt>
          <cx:pt idx="45189">1</cx:pt>
          <cx:pt idx="45190">0</cx:pt>
          <cx:pt idx="45191">0</cx:pt>
          <cx:pt idx="45192">0</cx:pt>
          <cx:pt idx="45193">0</cx:pt>
          <cx:pt idx="45194">1</cx:pt>
          <cx:pt idx="45195">1</cx:pt>
          <cx:pt idx="45196">0</cx:pt>
          <cx:pt idx="45197">0</cx:pt>
          <cx:pt idx="45198">1</cx:pt>
          <cx:pt idx="45199">0</cx:pt>
          <cx:pt idx="45200">1</cx:pt>
          <cx:pt idx="45201">0</cx:pt>
          <cx:pt idx="45202">1</cx:pt>
          <cx:pt idx="45203">1</cx:pt>
          <cx:pt idx="45204">1</cx:pt>
          <cx:pt idx="45205">0</cx:pt>
          <cx:pt idx="45206">1</cx:pt>
          <cx:pt idx="45207">1</cx:pt>
          <cx:pt idx="45208">1</cx:pt>
          <cx:pt idx="45209">0</cx:pt>
          <cx:pt idx="45210">0</cx:pt>
          <cx:pt idx="45211">0</cx:pt>
          <cx:pt idx="45212">0</cx:pt>
          <cx:pt idx="45213">0</cx:pt>
          <cx:pt idx="45214">0</cx:pt>
          <cx:pt idx="45215">0</cx:pt>
          <cx:pt idx="45216">1</cx:pt>
          <cx:pt idx="45217">1</cx:pt>
          <cx:pt idx="45218">1</cx:pt>
          <cx:pt idx="45219">1</cx:pt>
          <cx:pt idx="45220">0</cx:pt>
          <cx:pt idx="45221">0</cx:pt>
          <cx:pt idx="45222">1</cx:pt>
          <cx:pt idx="45223">0</cx:pt>
          <cx:pt idx="45224">1</cx:pt>
          <cx:pt idx="45225">1</cx:pt>
          <cx:pt idx="45226">0</cx:pt>
          <cx:pt idx="45227">1</cx:pt>
          <cx:pt idx="45228">0</cx:pt>
          <cx:pt idx="45229">1</cx:pt>
          <cx:pt idx="45230">0</cx:pt>
          <cx:pt idx="45231">0</cx:pt>
          <cx:pt idx="45232">0</cx:pt>
          <cx:pt idx="45233">1</cx:pt>
          <cx:pt idx="45234">0</cx:pt>
          <cx:pt idx="45235">1</cx:pt>
          <cx:pt idx="45236">1</cx:pt>
          <cx:pt idx="45237">1</cx:pt>
          <cx:pt idx="45238">0</cx:pt>
          <cx:pt idx="45239">0</cx:pt>
          <cx:pt idx="45240">0</cx:pt>
          <cx:pt idx="45241">0</cx:pt>
          <cx:pt idx="45242">0</cx:pt>
          <cx:pt idx="45243">1</cx:pt>
          <cx:pt idx="45244">0</cx:pt>
          <cx:pt idx="45245">0</cx:pt>
          <cx:pt idx="45246">0</cx:pt>
          <cx:pt idx="45247">0</cx:pt>
          <cx:pt idx="45248">0</cx:pt>
          <cx:pt idx="45249">0</cx:pt>
          <cx:pt idx="45250">1</cx:pt>
          <cx:pt idx="45251">0</cx:pt>
          <cx:pt idx="45252">1</cx:pt>
          <cx:pt idx="45253">0</cx:pt>
          <cx:pt idx="45254">1</cx:pt>
          <cx:pt idx="45255">1</cx:pt>
          <cx:pt idx="45256">1</cx:pt>
          <cx:pt idx="45257">0</cx:pt>
          <cx:pt idx="45258">0</cx:pt>
          <cx:pt idx="45259">0</cx:pt>
          <cx:pt idx="45260">1</cx:pt>
          <cx:pt idx="45261">0</cx:pt>
          <cx:pt idx="45262">0</cx:pt>
          <cx:pt idx="45263">1</cx:pt>
          <cx:pt idx="45264">1</cx:pt>
          <cx:pt idx="45265">0</cx:pt>
          <cx:pt idx="45266">1</cx:pt>
          <cx:pt idx="45267">0</cx:pt>
          <cx:pt idx="45268">0</cx:pt>
          <cx:pt idx="45269">1</cx:pt>
          <cx:pt idx="45270">1</cx:pt>
          <cx:pt idx="45271">1</cx:pt>
          <cx:pt idx="45272">0</cx:pt>
          <cx:pt idx="45273">0</cx:pt>
          <cx:pt idx="45274">1</cx:pt>
          <cx:pt idx="45275">0</cx:pt>
          <cx:pt idx="45276">1</cx:pt>
          <cx:pt idx="45277">1</cx:pt>
          <cx:pt idx="45278">0</cx:pt>
          <cx:pt idx="45279">1</cx:pt>
          <cx:pt idx="45280">0</cx:pt>
          <cx:pt idx="45281">1</cx:pt>
          <cx:pt idx="45282">0</cx:pt>
          <cx:pt idx="45283">1</cx:pt>
          <cx:pt idx="45284">1</cx:pt>
          <cx:pt idx="45285">1</cx:pt>
          <cx:pt idx="45286">0</cx:pt>
          <cx:pt idx="45287">1</cx:pt>
          <cx:pt idx="45288">0</cx:pt>
          <cx:pt idx="45289">0</cx:pt>
          <cx:pt idx="45290">0</cx:pt>
          <cx:pt idx="45291">0</cx:pt>
          <cx:pt idx="45292">0</cx:pt>
          <cx:pt idx="45293">0</cx:pt>
          <cx:pt idx="45294">0</cx:pt>
          <cx:pt idx="45295">0</cx:pt>
          <cx:pt idx="45296">0</cx:pt>
          <cx:pt idx="45297">0</cx:pt>
          <cx:pt idx="45298">0</cx:pt>
          <cx:pt idx="45299">0</cx:pt>
          <cx:pt idx="45300">1</cx:pt>
          <cx:pt idx="45301">1</cx:pt>
          <cx:pt idx="45302">0</cx:pt>
          <cx:pt idx="45303">1</cx:pt>
          <cx:pt idx="45304">1</cx:pt>
          <cx:pt idx="45305">0</cx:pt>
          <cx:pt idx="45306">0</cx:pt>
          <cx:pt idx="45307">1</cx:pt>
          <cx:pt idx="45308">1</cx:pt>
          <cx:pt idx="45309">0</cx:pt>
          <cx:pt idx="45310">1</cx:pt>
          <cx:pt idx="45311">0</cx:pt>
          <cx:pt idx="45312">0</cx:pt>
          <cx:pt idx="45313">0</cx:pt>
          <cx:pt idx="45314">0</cx:pt>
          <cx:pt idx="45315">1</cx:pt>
          <cx:pt idx="45316">1</cx:pt>
          <cx:pt idx="45317">1</cx:pt>
          <cx:pt idx="45318">0</cx:pt>
          <cx:pt idx="45319">0</cx:pt>
          <cx:pt idx="45320">1</cx:pt>
          <cx:pt idx="45321">0</cx:pt>
          <cx:pt idx="45322">0</cx:pt>
          <cx:pt idx="45323">0</cx:pt>
          <cx:pt idx="45324">0</cx:pt>
          <cx:pt idx="45325">0</cx:pt>
          <cx:pt idx="45326">1</cx:pt>
          <cx:pt idx="45327">0</cx:pt>
          <cx:pt idx="45328">0</cx:pt>
          <cx:pt idx="45329">1</cx:pt>
          <cx:pt idx="45330">0</cx:pt>
          <cx:pt idx="45331">0</cx:pt>
          <cx:pt idx="45332">0</cx:pt>
          <cx:pt idx="45333">0</cx:pt>
          <cx:pt idx="45334">0</cx:pt>
          <cx:pt idx="45335">0</cx:pt>
          <cx:pt idx="45336">1</cx:pt>
          <cx:pt idx="45337">0</cx:pt>
          <cx:pt idx="45338">0</cx:pt>
          <cx:pt idx="45339">1</cx:pt>
          <cx:pt idx="45340">1</cx:pt>
          <cx:pt idx="45341">1</cx:pt>
          <cx:pt idx="45342">0</cx:pt>
          <cx:pt idx="45343">1</cx:pt>
          <cx:pt idx="45344">0</cx:pt>
          <cx:pt idx="45345">0</cx:pt>
          <cx:pt idx="45346">1</cx:pt>
          <cx:pt idx="45347">0</cx:pt>
          <cx:pt idx="45348">1</cx:pt>
          <cx:pt idx="45349">1</cx:pt>
          <cx:pt idx="45350">0</cx:pt>
          <cx:pt idx="45351">1</cx:pt>
          <cx:pt idx="45352">0</cx:pt>
          <cx:pt idx="45353">1</cx:pt>
          <cx:pt idx="45354">1</cx:pt>
          <cx:pt idx="45355">1</cx:pt>
          <cx:pt idx="45356">0</cx:pt>
          <cx:pt idx="45357">0</cx:pt>
          <cx:pt idx="45358">0</cx:pt>
          <cx:pt idx="45359">1</cx:pt>
          <cx:pt idx="45360">0</cx:pt>
          <cx:pt idx="45361">1</cx:pt>
          <cx:pt idx="45362">0</cx:pt>
          <cx:pt idx="45363">0</cx:pt>
          <cx:pt idx="45364">0</cx:pt>
          <cx:pt idx="45365">1</cx:pt>
          <cx:pt idx="45366">0</cx:pt>
          <cx:pt idx="45367">0</cx:pt>
          <cx:pt idx="45368">0</cx:pt>
          <cx:pt idx="45369">0</cx:pt>
          <cx:pt idx="45370">1</cx:pt>
          <cx:pt idx="45371">0</cx:pt>
          <cx:pt idx="45372">0</cx:pt>
          <cx:pt idx="45373">1</cx:pt>
          <cx:pt idx="45374">1</cx:pt>
          <cx:pt idx="45375">0</cx:pt>
          <cx:pt idx="45376">0</cx:pt>
          <cx:pt idx="45377">1</cx:pt>
          <cx:pt idx="45378">0</cx:pt>
          <cx:pt idx="45379">1</cx:pt>
          <cx:pt idx="45380">1</cx:pt>
          <cx:pt idx="45381">1</cx:pt>
          <cx:pt idx="45382">0</cx:pt>
          <cx:pt idx="45383">1</cx:pt>
          <cx:pt idx="45384">0</cx:pt>
          <cx:pt idx="45385">0</cx:pt>
          <cx:pt idx="45386">0</cx:pt>
          <cx:pt idx="45387">1</cx:pt>
          <cx:pt idx="45388">1</cx:pt>
          <cx:pt idx="45389">1</cx:pt>
          <cx:pt idx="45390">0</cx:pt>
          <cx:pt idx="45391">0</cx:pt>
          <cx:pt idx="45392">1</cx:pt>
          <cx:pt idx="45393">0</cx:pt>
          <cx:pt idx="45394">0</cx:pt>
          <cx:pt idx="45395">1</cx:pt>
          <cx:pt idx="45396">0</cx:pt>
          <cx:pt idx="45397">1</cx:pt>
          <cx:pt idx="45398">0</cx:pt>
          <cx:pt idx="45399">0</cx:pt>
          <cx:pt idx="45400">1</cx:pt>
          <cx:pt idx="45401">1</cx:pt>
          <cx:pt idx="45402">1</cx:pt>
          <cx:pt idx="45403">0</cx:pt>
          <cx:pt idx="45404">1</cx:pt>
          <cx:pt idx="45405">0</cx:pt>
          <cx:pt idx="45406">1</cx:pt>
          <cx:pt idx="45407">1</cx:pt>
          <cx:pt idx="45408">1</cx:pt>
          <cx:pt idx="45409">1</cx:pt>
          <cx:pt idx="45410">0</cx:pt>
          <cx:pt idx="45411">0</cx:pt>
          <cx:pt idx="45412">1</cx:pt>
          <cx:pt idx="45413">0</cx:pt>
          <cx:pt idx="45414">1</cx:pt>
          <cx:pt idx="45415">0</cx:pt>
          <cx:pt idx="45416">0</cx:pt>
          <cx:pt idx="45417">0</cx:pt>
          <cx:pt idx="45418">0</cx:pt>
          <cx:pt idx="45419">1</cx:pt>
          <cx:pt idx="45420">0</cx:pt>
          <cx:pt idx="45421">1</cx:pt>
          <cx:pt idx="45422">1</cx:pt>
          <cx:pt idx="45423">0</cx:pt>
          <cx:pt idx="45424">1</cx:pt>
          <cx:pt idx="45425">0</cx:pt>
          <cx:pt idx="45426">1</cx:pt>
          <cx:pt idx="45427">0</cx:pt>
          <cx:pt idx="45428">0</cx:pt>
          <cx:pt idx="45429">1</cx:pt>
          <cx:pt idx="45430">0</cx:pt>
          <cx:pt idx="45431">1</cx:pt>
          <cx:pt idx="45432">0</cx:pt>
          <cx:pt idx="45433">1</cx:pt>
          <cx:pt idx="45434">0</cx:pt>
          <cx:pt idx="45435">0</cx:pt>
          <cx:pt idx="45436">0</cx:pt>
          <cx:pt idx="45437">1</cx:pt>
          <cx:pt idx="45438">0</cx:pt>
          <cx:pt idx="45439">0</cx:pt>
          <cx:pt idx="45440">0</cx:pt>
          <cx:pt idx="45441">1</cx:pt>
          <cx:pt idx="45442">0</cx:pt>
          <cx:pt idx="45443">0</cx:pt>
          <cx:pt idx="45444">0</cx:pt>
          <cx:pt idx="45445">0</cx:pt>
          <cx:pt idx="45446">0</cx:pt>
          <cx:pt idx="45447">0</cx:pt>
          <cx:pt idx="45448">0</cx:pt>
          <cx:pt idx="45449">1</cx:pt>
          <cx:pt idx="45450">0</cx:pt>
          <cx:pt idx="45451">0</cx:pt>
          <cx:pt idx="45452">0</cx:pt>
          <cx:pt idx="45453">0</cx:pt>
          <cx:pt idx="45454">0</cx:pt>
          <cx:pt idx="45455">0</cx:pt>
          <cx:pt idx="45456">0</cx:pt>
          <cx:pt idx="45457">1</cx:pt>
          <cx:pt idx="45458">1</cx:pt>
          <cx:pt idx="45459">0</cx:pt>
          <cx:pt idx="45460">1</cx:pt>
          <cx:pt idx="45461">0</cx:pt>
          <cx:pt idx="45462">1</cx:pt>
          <cx:pt idx="45463">1</cx:pt>
          <cx:pt idx="45464">0</cx:pt>
          <cx:pt idx="45465">1</cx:pt>
          <cx:pt idx="45466">0</cx:pt>
          <cx:pt idx="45467">1</cx:pt>
          <cx:pt idx="45468">0</cx:pt>
          <cx:pt idx="45469">1</cx:pt>
          <cx:pt idx="45470">0</cx:pt>
          <cx:pt idx="45471">0</cx:pt>
          <cx:pt idx="45472">1</cx:pt>
          <cx:pt idx="45473">1</cx:pt>
          <cx:pt idx="45474">0</cx:pt>
          <cx:pt idx="45475">0</cx:pt>
          <cx:pt idx="45476">0</cx:pt>
          <cx:pt idx="45477">1</cx:pt>
          <cx:pt idx="45478">1</cx:pt>
          <cx:pt idx="45479">0</cx:pt>
          <cx:pt idx="45480">0</cx:pt>
          <cx:pt idx="45481">0</cx:pt>
          <cx:pt idx="45482">0</cx:pt>
          <cx:pt idx="45483">1</cx:pt>
          <cx:pt idx="45484">0</cx:pt>
          <cx:pt idx="45485">0</cx:pt>
          <cx:pt idx="45486">1</cx:pt>
          <cx:pt idx="45487">0</cx:pt>
          <cx:pt idx="45488">0</cx:pt>
          <cx:pt idx="45489">0</cx:pt>
          <cx:pt idx="45490">1</cx:pt>
          <cx:pt idx="45491">0</cx:pt>
          <cx:pt idx="45492">0</cx:pt>
          <cx:pt idx="45493">0</cx:pt>
          <cx:pt idx="45494">0</cx:pt>
          <cx:pt idx="45495">0</cx:pt>
          <cx:pt idx="45496">0</cx:pt>
          <cx:pt idx="45497">0</cx:pt>
          <cx:pt idx="45498">1</cx:pt>
          <cx:pt idx="45499">0</cx:pt>
          <cx:pt idx="45500">0</cx:pt>
          <cx:pt idx="45501">0</cx:pt>
          <cx:pt idx="45502">1</cx:pt>
          <cx:pt idx="45503">0</cx:pt>
          <cx:pt idx="45504">0</cx:pt>
          <cx:pt idx="45505">0</cx:pt>
          <cx:pt idx="45506">0</cx:pt>
          <cx:pt idx="45507">1</cx:pt>
          <cx:pt idx="45508">0</cx:pt>
          <cx:pt idx="45509">0</cx:pt>
          <cx:pt idx="45510">1</cx:pt>
          <cx:pt idx="45511">0</cx:pt>
          <cx:pt idx="45512">1</cx:pt>
          <cx:pt idx="45513">0</cx:pt>
          <cx:pt idx="45514">0</cx:pt>
          <cx:pt idx="45515">0</cx:pt>
          <cx:pt idx="45516">1</cx:pt>
          <cx:pt idx="45517">1</cx:pt>
          <cx:pt idx="45518">1</cx:pt>
          <cx:pt idx="45519">0</cx:pt>
          <cx:pt idx="45520">0</cx:pt>
          <cx:pt idx="45521">0</cx:pt>
          <cx:pt idx="45522">0</cx:pt>
          <cx:pt idx="45523">0</cx:pt>
          <cx:pt idx="45524">0</cx:pt>
          <cx:pt idx="45525">0</cx:pt>
          <cx:pt idx="45526">0</cx:pt>
          <cx:pt idx="45527">0</cx:pt>
          <cx:pt idx="45528">0</cx:pt>
          <cx:pt idx="45529">1</cx:pt>
          <cx:pt idx="45530">0</cx:pt>
          <cx:pt idx="45531">1</cx:pt>
          <cx:pt idx="45532">1</cx:pt>
          <cx:pt idx="45533">0</cx:pt>
          <cx:pt idx="45534">1</cx:pt>
          <cx:pt idx="45535">0</cx:pt>
          <cx:pt idx="45536">0</cx:pt>
          <cx:pt idx="45537">1</cx:pt>
          <cx:pt idx="45538">0</cx:pt>
          <cx:pt idx="45539">1</cx:pt>
          <cx:pt idx="45540">0</cx:pt>
          <cx:pt idx="45541">1</cx:pt>
          <cx:pt idx="45542">1</cx:pt>
          <cx:pt idx="45543">0</cx:pt>
          <cx:pt idx="45544">1</cx:pt>
          <cx:pt idx="45545">1</cx:pt>
          <cx:pt idx="45546">0</cx:pt>
          <cx:pt idx="45547">0</cx:pt>
          <cx:pt idx="45548">1</cx:pt>
          <cx:pt idx="45549">0</cx:pt>
          <cx:pt idx="45550">1</cx:pt>
          <cx:pt idx="45551">1</cx:pt>
          <cx:pt idx="45552">0</cx:pt>
          <cx:pt idx="45553">0</cx:pt>
          <cx:pt idx="45554">0</cx:pt>
          <cx:pt idx="45555">0</cx:pt>
          <cx:pt idx="45556">1</cx:pt>
          <cx:pt idx="45557">0</cx:pt>
          <cx:pt idx="45558">0</cx:pt>
          <cx:pt idx="45559">1</cx:pt>
          <cx:pt idx="45560">0</cx:pt>
          <cx:pt idx="45561">1</cx:pt>
          <cx:pt idx="45562">0</cx:pt>
          <cx:pt idx="45563">1</cx:pt>
          <cx:pt idx="45564">1</cx:pt>
          <cx:pt idx="45565">1</cx:pt>
          <cx:pt idx="45566">0</cx:pt>
          <cx:pt idx="45567">1</cx:pt>
          <cx:pt idx="45568">0</cx:pt>
          <cx:pt idx="45569">0</cx:pt>
          <cx:pt idx="45570">1</cx:pt>
          <cx:pt idx="45571">0</cx:pt>
          <cx:pt idx="45572">1</cx:pt>
          <cx:pt idx="45573">1</cx:pt>
          <cx:pt idx="45574">0</cx:pt>
          <cx:pt idx="45575">0</cx:pt>
          <cx:pt idx="45576">0</cx:pt>
          <cx:pt idx="45577">0</cx:pt>
          <cx:pt idx="45578">0</cx:pt>
          <cx:pt idx="45579">0</cx:pt>
          <cx:pt idx="45580">0</cx:pt>
          <cx:pt idx="45581">1</cx:pt>
          <cx:pt idx="45582">1</cx:pt>
          <cx:pt idx="45583">1</cx:pt>
          <cx:pt idx="45584">0</cx:pt>
          <cx:pt idx="45585">0</cx:pt>
          <cx:pt idx="45586">0</cx:pt>
          <cx:pt idx="45587">0</cx:pt>
          <cx:pt idx="45588">0</cx:pt>
          <cx:pt idx="45589">1</cx:pt>
          <cx:pt idx="45590">0</cx:pt>
          <cx:pt idx="45591">1</cx:pt>
          <cx:pt idx="45592">1</cx:pt>
          <cx:pt idx="45593">0</cx:pt>
          <cx:pt idx="45594">1</cx:pt>
          <cx:pt idx="45595">0</cx:pt>
          <cx:pt idx="45596">0</cx:pt>
          <cx:pt idx="45597">0</cx:pt>
          <cx:pt idx="45598">1</cx:pt>
          <cx:pt idx="45599">0</cx:pt>
          <cx:pt idx="45600">0</cx:pt>
          <cx:pt idx="45601">0</cx:pt>
          <cx:pt idx="45602">0</cx:pt>
          <cx:pt idx="45603">0</cx:pt>
          <cx:pt idx="45604">1</cx:pt>
          <cx:pt idx="45605">1</cx:pt>
          <cx:pt idx="45606">1</cx:pt>
          <cx:pt idx="45607">1</cx:pt>
          <cx:pt idx="45608">1</cx:pt>
          <cx:pt idx="45609">1</cx:pt>
          <cx:pt idx="45610">0</cx:pt>
          <cx:pt idx="45611">0</cx:pt>
          <cx:pt idx="45612">1</cx:pt>
          <cx:pt idx="45613">0</cx:pt>
          <cx:pt idx="45614">1</cx:pt>
          <cx:pt idx="45615">0</cx:pt>
          <cx:pt idx="45616">0</cx:pt>
          <cx:pt idx="45617">1</cx:pt>
          <cx:pt idx="45618">0</cx:pt>
          <cx:pt idx="45619">0</cx:pt>
          <cx:pt idx="45620">0</cx:pt>
          <cx:pt idx="45621">0</cx:pt>
          <cx:pt idx="45622">1</cx:pt>
          <cx:pt idx="45623">1</cx:pt>
          <cx:pt idx="45624">0</cx:pt>
          <cx:pt idx="45625">0</cx:pt>
          <cx:pt idx="45626">0</cx:pt>
          <cx:pt idx="45627">0</cx:pt>
          <cx:pt idx="45628">1</cx:pt>
          <cx:pt idx="45629">1</cx:pt>
          <cx:pt idx="45630">0</cx:pt>
          <cx:pt idx="45631">0</cx:pt>
          <cx:pt idx="45632">0</cx:pt>
          <cx:pt idx="45633">0</cx:pt>
          <cx:pt idx="45634">1</cx:pt>
          <cx:pt idx="45635">0</cx:pt>
          <cx:pt idx="45636">1</cx:pt>
          <cx:pt idx="45637">0</cx:pt>
          <cx:pt idx="45638">0</cx:pt>
          <cx:pt idx="45639">0</cx:pt>
          <cx:pt idx="45640">0</cx:pt>
          <cx:pt idx="45641">1</cx:pt>
          <cx:pt idx="45642">0</cx:pt>
          <cx:pt idx="45643">0</cx:pt>
          <cx:pt idx="45644">0</cx:pt>
          <cx:pt idx="45645">1</cx:pt>
          <cx:pt idx="45646">1</cx:pt>
          <cx:pt idx="45647">0</cx:pt>
          <cx:pt idx="45648">1</cx:pt>
          <cx:pt idx="45649">0</cx:pt>
          <cx:pt idx="45650">1</cx:pt>
          <cx:pt idx="45651">0</cx:pt>
          <cx:pt idx="45652">1</cx:pt>
          <cx:pt idx="45653">0</cx:pt>
          <cx:pt idx="45654">0</cx:pt>
          <cx:pt idx="45655">0</cx:pt>
          <cx:pt idx="45656">1</cx:pt>
          <cx:pt idx="45657">1</cx:pt>
          <cx:pt idx="45658">0</cx:pt>
          <cx:pt idx="45659">1</cx:pt>
          <cx:pt idx="45660">0</cx:pt>
          <cx:pt idx="45661">0</cx:pt>
          <cx:pt idx="45662">1</cx:pt>
          <cx:pt idx="45663">1</cx:pt>
          <cx:pt idx="45664">0</cx:pt>
          <cx:pt idx="45665">1</cx:pt>
          <cx:pt idx="45666">1</cx:pt>
          <cx:pt idx="45667">0</cx:pt>
          <cx:pt idx="45668">1</cx:pt>
          <cx:pt idx="45669">1</cx:pt>
          <cx:pt idx="45670">0</cx:pt>
          <cx:pt idx="45671">1</cx:pt>
          <cx:pt idx="45672">1</cx:pt>
          <cx:pt idx="45673">1</cx:pt>
          <cx:pt idx="45674">0</cx:pt>
          <cx:pt idx="45675">0</cx:pt>
          <cx:pt idx="45676">0</cx:pt>
          <cx:pt idx="45677">0</cx:pt>
          <cx:pt idx="45678">1</cx:pt>
          <cx:pt idx="45679">1</cx:pt>
          <cx:pt idx="45680">0</cx:pt>
          <cx:pt idx="45681">1</cx:pt>
          <cx:pt idx="45682">0</cx:pt>
          <cx:pt idx="45683">0</cx:pt>
          <cx:pt idx="45684">0</cx:pt>
          <cx:pt idx="45685">0</cx:pt>
          <cx:pt idx="45686">0</cx:pt>
          <cx:pt idx="45687">0</cx:pt>
          <cx:pt idx="45688">0</cx:pt>
          <cx:pt idx="45689">0</cx:pt>
          <cx:pt idx="45690">1</cx:pt>
          <cx:pt idx="45691">1</cx:pt>
          <cx:pt idx="45692">1</cx:pt>
          <cx:pt idx="45693">1</cx:pt>
          <cx:pt idx="45694">0</cx:pt>
          <cx:pt idx="45695">0</cx:pt>
          <cx:pt idx="45696">0</cx:pt>
          <cx:pt idx="45697">0</cx:pt>
          <cx:pt idx="45698">0</cx:pt>
          <cx:pt idx="45699">0</cx:pt>
          <cx:pt idx="45700">0</cx:pt>
          <cx:pt idx="45701">1</cx:pt>
          <cx:pt idx="45702">1</cx:pt>
          <cx:pt idx="45703">0</cx:pt>
          <cx:pt idx="45704">1</cx:pt>
          <cx:pt idx="45705">0</cx:pt>
          <cx:pt idx="45706">0</cx:pt>
          <cx:pt idx="45707">0</cx:pt>
          <cx:pt idx="45708">0</cx:pt>
          <cx:pt idx="45709">0</cx:pt>
          <cx:pt idx="45710">0</cx:pt>
          <cx:pt idx="45711">0</cx:pt>
          <cx:pt idx="45712">0</cx:pt>
          <cx:pt idx="45713">0</cx:pt>
          <cx:pt idx="45714">1</cx:pt>
          <cx:pt idx="45715">0</cx:pt>
          <cx:pt idx="45716">1</cx:pt>
          <cx:pt idx="45717">1</cx:pt>
          <cx:pt idx="45718">1</cx:pt>
          <cx:pt idx="45719">0</cx:pt>
          <cx:pt idx="45720">0</cx:pt>
          <cx:pt idx="45721">1</cx:pt>
          <cx:pt idx="45722">1</cx:pt>
          <cx:pt idx="45723">1</cx:pt>
          <cx:pt idx="45724">0</cx:pt>
          <cx:pt idx="45725">1</cx:pt>
          <cx:pt idx="45726">0</cx:pt>
          <cx:pt idx="45727">0</cx:pt>
          <cx:pt idx="45728">0</cx:pt>
          <cx:pt idx="45729">1</cx:pt>
          <cx:pt idx="45730">1</cx:pt>
          <cx:pt idx="45731">0</cx:pt>
          <cx:pt idx="45732">0</cx:pt>
          <cx:pt idx="45733">0</cx:pt>
          <cx:pt idx="45734">1</cx:pt>
          <cx:pt idx="45735">1</cx:pt>
          <cx:pt idx="45736">1</cx:pt>
          <cx:pt idx="45737">1</cx:pt>
          <cx:pt idx="45738">1</cx:pt>
          <cx:pt idx="45739">0</cx:pt>
          <cx:pt idx="45740">0</cx:pt>
          <cx:pt idx="45741">1</cx:pt>
          <cx:pt idx="45742">0</cx:pt>
          <cx:pt idx="45743">1</cx:pt>
          <cx:pt idx="45744">0</cx:pt>
          <cx:pt idx="45745">0</cx:pt>
          <cx:pt idx="45746">1</cx:pt>
          <cx:pt idx="45747">0</cx:pt>
          <cx:pt idx="45748">0</cx:pt>
          <cx:pt idx="45749">0</cx:pt>
          <cx:pt idx="45750">0</cx:pt>
          <cx:pt idx="45751">0</cx:pt>
          <cx:pt idx="45752">1</cx:pt>
          <cx:pt idx="45753">0</cx:pt>
          <cx:pt idx="45754">1</cx:pt>
          <cx:pt idx="45755">0</cx:pt>
          <cx:pt idx="45756">0</cx:pt>
          <cx:pt idx="45757">1</cx:pt>
          <cx:pt idx="45758">0</cx:pt>
          <cx:pt idx="45759">0</cx:pt>
          <cx:pt idx="45760">1</cx:pt>
          <cx:pt idx="45761">0</cx:pt>
          <cx:pt idx="45762">1</cx:pt>
          <cx:pt idx="45763">1</cx:pt>
          <cx:pt idx="45764">1</cx:pt>
          <cx:pt idx="45765">0</cx:pt>
          <cx:pt idx="45766">0</cx:pt>
          <cx:pt idx="45767">0</cx:pt>
          <cx:pt idx="45768">0</cx:pt>
          <cx:pt idx="45769">1</cx:pt>
          <cx:pt idx="45770">0</cx:pt>
          <cx:pt idx="45771">1</cx:pt>
          <cx:pt idx="45772">1</cx:pt>
          <cx:pt idx="45773">1</cx:pt>
          <cx:pt idx="45774">0</cx:pt>
          <cx:pt idx="45775">1</cx:pt>
          <cx:pt idx="45776">0</cx:pt>
          <cx:pt idx="45777">1</cx:pt>
          <cx:pt idx="45778">0</cx:pt>
          <cx:pt idx="45779">0</cx:pt>
          <cx:pt idx="45780">1</cx:pt>
          <cx:pt idx="45781">0</cx:pt>
          <cx:pt idx="45782">1</cx:pt>
          <cx:pt idx="45783">1</cx:pt>
          <cx:pt idx="45784">0</cx:pt>
          <cx:pt idx="45785">0</cx:pt>
          <cx:pt idx="45786">0</cx:pt>
          <cx:pt idx="45787">0</cx:pt>
          <cx:pt idx="45788">0</cx:pt>
          <cx:pt idx="45789">1</cx:pt>
          <cx:pt idx="45790">1</cx:pt>
          <cx:pt idx="45791">1</cx:pt>
          <cx:pt idx="45792">0</cx:pt>
          <cx:pt idx="45793">1</cx:pt>
          <cx:pt idx="45794">0</cx:pt>
          <cx:pt idx="45795">0</cx:pt>
          <cx:pt idx="45796">0</cx:pt>
          <cx:pt idx="45797">0</cx:pt>
          <cx:pt idx="45798">0</cx:pt>
          <cx:pt idx="45799">0</cx:pt>
          <cx:pt idx="45800">1</cx:pt>
          <cx:pt idx="45801">0</cx:pt>
          <cx:pt idx="45802">1</cx:pt>
          <cx:pt idx="45803">1</cx:pt>
          <cx:pt idx="45804">0</cx:pt>
          <cx:pt idx="45805">1</cx:pt>
          <cx:pt idx="45806">0</cx:pt>
          <cx:pt idx="45807">1</cx:pt>
          <cx:pt idx="45808">0</cx:pt>
          <cx:pt idx="45809">0</cx:pt>
          <cx:pt idx="45810">1</cx:pt>
          <cx:pt idx="45811">1</cx:pt>
          <cx:pt idx="45812">1</cx:pt>
          <cx:pt idx="45813">0</cx:pt>
          <cx:pt idx="45814">0</cx:pt>
          <cx:pt idx="45815">1</cx:pt>
          <cx:pt idx="45816">0</cx:pt>
          <cx:pt idx="45817">0</cx:pt>
          <cx:pt idx="45818">0</cx:pt>
          <cx:pt idx="45819">0</cx:pt>
          <cx:pt idx="45820">1</cx:pt>
          <cx:pt idx="45821">0</cx:pt>
          <cx:pt idx="45822">0</cx:pt>
          <cx:pt idx="45823">1</cx:pt>
          <cx:pt idx="45824">0</cx:pt>
          <cx:pt idx="45825">0</cx:pt>
          <cx:pt idx="45826">1</cx:pt>
          <cx:pt idx="45827">1</cx:pt>
          <cx:pt idx="45828">0</cx:pt>
          <cx:pt idx="45829">0</cx:pt>
          <cx:pt idx="45830">0</cx:pt>
          <cx:pt idx="45831">1</cx:pt>
          <cx:pt idx="45832">0</cx:pt>
          <cx:pt idx="45833">1</cx:pt>
          <cx:pt idx="45834">1</cx:pt>
          <cx:pt idx="45835">1</cx:pt>
          <cx:pt idx="45836">0</cx:pt>
          <cx:pt idx="45837">1</cx:pt>
          <cx:pt idx="45838">1</cx:pt>
          <cx:pt idx="45839">0</cx:pt>
          <cx:pt idx="45840">1</cx:pt>
          <cx:pt idx="45841">1</cx:pt>
          <cx:pt idx="45842">1</cx:pt>
          <cx:pt idx="45843">0</cx:pt>
          <cx:pt idx="45844">0</cx:pt>
          <cx:pt idx="45845">1</cx:pt>
          <cx:pt idx="45846">1</cx:pt>
          <cx:pt idx="45847">1</cx:pt>
          <cx:pt idx="45848">0</cx:pt>
          <cx:pt idx="45849">1</cx:pt>
          <cx:pt idx="45850">0</cx:pt>
          <cx:pt idx="45851">0</cx:pt>
          <cx:pt idx="45852">1</cx:pt>
          <cx:pt idx="45853">0</cx:pt>
          <cx:pt idx="45854">0</cx:pt>
          <cx:pt idx="45855">1</cx:pt>
          <cx:pt idx="45856">1</cx:pt>
          <cx:pt idx="45857">1</cx:pt>
          <cx:pt idx="45858">1</cx:pt>
          <cx:pt idx="45859">0</cx:pt>
          <cx:pt idx="45860">1</cx:pt>
          <cx:pt idx="45861">1</cx:pt>
          <cx:pt idx="45862">1</cx:pt>
          <cx:pt idx="45863">1</cx:pt>
          <cx:pt idx="45864">0</cx:pt>
          <cx:pt idx="45865">0</cx:pt>
          <cx:pt idx="45866">0</cx:pt>
          <cx:pt idx="45867">0</cx:pt>
          <cx:pt idx="45868">1</cx:pt>
          <cx:pt idx="45869">0</cx:pt>
          <cx:pt idx="45870">0</cx:pt>
          <cx:pt idx="45871">0</cx:pt>
          <cx:pt idx="45872">0</cx:pt>
          <cx:pt idx="45873">0</cx:pt>
          <cx:pt idx="45874">0</cx:pt>
          <cx:pt idx="45875">0</cx:pt>
          <cx:pt idx="45876">0</cx:pt>
          <cx:pt idx="45877">0</cx:pt>
          <cx:pt idx="45878">1</cx:pt>
          <cx:pt idx="45879">1</cx:pt>
          <cx:pt idx="45880">0</cx:pt>
          <cx:pt idx="45881">1</cx:pt>
          <cx:pt idx="45882">1</cx:pt>
          <cx:pt idx="45883">0</cx:pt>
          <cx:pt idx="45884">0</cx:pt>
          <cx:pt idx="45885">0</cx:pt>
          <cx:pt idx="45886">0</cx:pt>
          <cx:pt idx="45887">0</cx:pt>
          <cx:pt idx="45888">0</cx:pt>
          <cx:pt idx="45889">1</cx:pt>
          <cx:pt idx="45890">0</cx:pt>
          <cx:pt idx="45891">1</cx:pt>
          <cx:pt idx="45892">0</cx:pt>
          <cx:pt idx="45893">0</cx:pt>
          <cx:pt idx="45894">0</cx:pt>
          <cx:pt idx="45895">0</cx:pt>
          <cx:pt idx="45896">1</cx:pt>
          <cx:pt idx="45897">1</cx:pt>
          <cx:pt idx="45898">0</cx:pt>
          <cx:pt idx="45899">0</cx:pt>
          <cx:pt idx="45900">1</cx:pt>
          <cx:pt idx="45901">1</cx:pt>
          <cx:pt idx="45902">0</cx:pt>
          <cx:pt idx="45903">1</cx:pt>
          <cx:pt idx="45904">1</cx:pt>
          <cx:pt idx="45905">0</cx:pt>
          <cx:pt idx="45906">1</cx:pt>
          <cx:pt idx="45907">0</cx:pt>
          <cx:pt idx="45908">0</cx:pt>
          <cx:pt idx="45909">1</cx:pt>
          <cx:pt idx="45910">0</cx:pt>
          <cx:pt idx="45911">0</cx:pt>
          <cx:pt idx="45912">1</cx:pt>
          <cx:pt idx="45913">0</cx:pt>
          <cx:pt idx="45914">1</cx:pt>
          <cx:pt idx="45915">1</cx:pt>
          <cx:pt idx="45916">0</cx:pt>
          <cx:pt idx="45917">1</cx:pt>
          <cx:pt idx="45918">0</cx:pt>
          <cx:pt idx="45919">1</cx:pt>
          <cx:pt idx="45920">0</cx:pt>
          <cx:pt idx="45921">0</cx:pt>
          <cx:pt idx="45922">0</cx:pt>
          <cx:pt idx="45923">1</cx:pt>
          <cx:pt idx="45924">1</cx:pt>
          <cx:pt idx="45925">0</cx:pt>
          <cx:pt idx="45926">0</cx:pt>
          <cx:pt idx="45927">1</cx:pt>
          <cx:pt idx="45928">1</cx:pt>
          <cx:pt idx="45929">0</cx:pt>
          <cx:pt idx="45930">1</cx:pt>
          <cx:pt idx="45931">0</cx:pt>
          <cx:pt idx="45932">0</cx:pt>
          <cx:pt idx="45933">1</cx:pt>
          <cx:pt idx="45934">0</cx:pt>
          <cx:pt idx="45935">0</cx:pt>
          <cx:pt idx="45936">0</cx:pt>
          <cx:pt idx="45937">1</cx:pt>
          <cx:pt idx="45938">0</cx:pt>
          <cx:pt idx="45939">0</cx:pt>
          <cx:pt idx="45940">0</cx:pt>
          <cx:pt idx="45941">0</cx:pt>
          <cx:pt idx="45942">1</cx:pt>
          <cx:pt idx="45943">1</cx:pt>
          <cx:pt idx="45944">1</cx:pt>
          <cx:pt idx="45945">0</cx:pt>
          <cx:pt idx="45946">0</cx:pt>
          <cx:pt idx="45947">1</cx:pt>
          <cx:pt idx="45948">1</cx:pt>
          <cx:pt idx="45949">1</cx:pt>
          <cx:pt idx="45950">0</cx:pt>
          <cx:pt idx="45951">1</cx:pt>
          <cx:pt idx="45952">1</cx:pt>
          <cx:pt idx="45953">0</cx:pt>
          <cx:pt idx="45954">0</cx:pt>
          <cx:pt idx="45955">0</cx:pt>
          <cx:pt idx="45956">0</cx:pt>
          <cx:pt idx="45957">1</cx:pt>
          <cx:pt idx="45958">1</cx:pt>
          <cx:pt idx="45959">0</cx:pt>
          <cx:pt idx="45960">0</cx:pt>
          <cx:pt idx="45961">0</cx:pt>
          <cx:pt idx="45962">0</cx:pt>
          <cx:pt idx="45963">0</cx:pt>
          <cx:pt idx="45964">0</cx:pt>
          <cx:pt idx="45965">0</cx:pt>
          <cx:pt idx="45966">1</cx:pt>
          <cx:pt idx="45967">1</cx:pt>
          <cx:pt idx="45968">0</cx:pt>
          <cx:pt idx="45969">0</cx:pt>
          <cx:pt idx="45970">0</cx:pt>
          <cx:pt idx="45971">1</cx:pt>
          <cx:pt idx="45972">1</cx:pt>
          <cx:pt idx="45973">1</cx:pt>
          <cx:pt idx="45974">0</cx:pt>
          <cx:pt idx="45975">1</cx:pt>
          <cx:pt idx="45976">0</cx:pt>
          <cx:pt idx="45977">1</cx:pt>
          <cx:pt idx="45978">1</cx:pt>
          <cx:pt idx="45979">0</cx:pt>
          <cx:pt idx="45980">1</cx:pt>
          <cx:pt idx="45981">0</cx:pt>
          <cx:pt idx="45982">1</cx:pt>
          <cx:pt idx="45983">1</cx:pt>
          <cx:pt idx="45984">0</cx:pt>
          <cx:pt idx="45985">1</cx:pt>
          <cx:pt idx="45986">1</cx:pt>
          <cx:pt idx="45987">1</cx:pt>
          <cx:pt idx="45988">0</cx:pt>
          <cx:pt idx="45989">0</cx:pt>
          <cx:pt idx="45990">0</cx:pt>
          <cx:pt idx="45991">0</cx:pt>
          <cx:pt idx="45992">0</cx:pt>
          <cx:pt idx="45993">1</cx:pt>
          <cx:pt idx="45994">0</cx:pt>
          <cx:pt idx="45995">0</cx:pt>
          <cx:pt idx="45996">1</cx:pt>
          <cx:pt idx="45997">0</cx:pt>
          <cx:pt idx="45998">1</cx:pt>
          <cx:pt idx="45999">1</cx:pt>
          <cx:pt idx="46000">1</cx:pt>
          <cx:pt idx="46001">1</cx:pt>
          <cx:pt idx="46002">1</cx:pt>
          <cx:pt idx="46003">1</cx:pt>
          <cx:pt idx="46004">1</cx:pt>
          <cx:pt idx="46005">1</cx:pt>
          <cx:pt idx="46006">0</cx:pt>
          <cx:pt idx="46007">0</cx:pt>
          <cx:pt idx="46008">0</cx:pt>
          <cx:pt idx="46009">1</cx:pt>
          <cx:pt idx="46010">0</cx:pt>
          <cx:pt idx="46011">0</cx:pt>
          <cx:pt idx="46012">1</cx:pt>
          <cx:pt idx="46013">0</cx:pt>
          <cx:pt idx="46014">1</cx:pt>
          <cx:pt idx="46015">0</cx:pt>
          <cx:pt idx="46016">0</cx:pt>
          <cx:pt idx="46017">0</cx:pt>
          <cx:pt idx="46018">0</cx:pt>
          <cx:pt idx="46019">0</cx:pt>
          <cx:pt idx="46020">0</cx:pt>
          <cx:pt idx="46021">1</cx:pt>
          <cx:pt idx="46022">1</cx:pt>
          <cx:pt idx="46023">0</cx:pt>
          <cx:pt idx="46024">0</cx:pt>
          <cx:pt idx="46025">0</cx:pt>
          <cx:pt idx="46026">1</cx:pt>
          <cx:pt idx="46027">0</cx:pt>
          <cx:pt idx="46028">0</cx:pt>
          <cx:pt idx="46029">0</cx:pt>
          <cx:pt idx="46030">0</cx:pt>
          <cx:pt idx="46031">1</cx:pt>
          <cx:pt idx="46032">1</cx:pt>
          <cx:pt idx="46033">0</cx:pt>
          <cx:pt idx="46034">0</cx:pt>
          <cx:pt idx="46035">1</cx:pt>
          <cx:pt idx="46036">0</cx:pt>
          <cx:pt idx="46037">0</cx:pt>
          <cx:pt idx="46038">0</cx:pt>
          <cx:pt idx="46039">0</cx:pt>
          <cx:pt idx="46040">0</cx:pt>
          <cx:pt idx="46041">0</cx:pt>
          <cx:pt idx="46042">1</cx:pt>
          <cx:pt idx="46043">0</cx:pt>
          <cx:pt idx="46044">0</cx:pt>
          <cx:pt idx="46045">1</cx:pt>
          <cx:pt idx="46046">0</cx:pt>
          <cx:pt idx="46047">1</cx:pt>
          <cx:pt idx="46048">1</cx:pt>
          <cx:pt idx="46049">0</cx:pt>
          <cx:pt idx="46050">1</cx:pt>
          <cx:pt idx="46051">1</cx:pt>
          <cx:pt idx="46052">1</cx:pt>
          <cx:pt idx="46053">0</cx:pt>
          <cx:pt idx="46054">0</cx:pt>
          <cx:pt idx="46055">1</cx:pt>
          <cx:pt idx="46056">1</cx:pt>
          <cx:pt idx="46057">0</cx:pt>
          <cx:pt idx="46058">1</cx:pt>
          <cx:pt idx="46059">0</cx:pt>
          <cx:pt idx="46060">0</cx:pt>
          <cx:pt idx="46061">0</cx:pt>
          <cx:pt idx="46062">0</cx:pt>
          <cx:pt idx="46063">0</cx:pt>
          <cx:pt idx="46064">1</cx:pt>
          <cx:pt idx="46065">0</cx:pt>
          <cx:pt idx="46066">0</cx:pt>
          <cx:pt idx="46067">0</cx:pt>
          <cx:pt idx="46068">0</cx:pt>
          <cx:pt idx="46069">0</cx:pt>
          <cx:pt idx="46070">1</cx:pt>
          <cx:pt idx="46071">1</cx:pt>
          <cx:pt idx="46072">0</cx:pt>
          <cx:pt idx="46073">0</cx:pt>
          <cx:pt idx="46074">0</cx:pt>
          <cx:pt idx="46075">0</cx:pt>
          <cx:pt idx="46076">0</cx:pt>
          <cx:pt idx="46077">0</cx:pt>
          <cx:pt idx="46078">0</cx:pt>
          <cx:pt idx="46079">0</cx:pt>
          <cx:pt idx="46080">1</cx:pt>
          <cx:pt idx="46081">1</cx:pt>
          <cx:pt idx="46082">0</cx:pt>
          <cx:pt idx="46083">1</cx:pt>
          <cx:pt idx="46084">1</cx:pt>
          <cx:pt idx="46085">0</cx:pt>
          <cx:pt idx="46086">0</cx:pt>
          <cx:pt idx="46087">1</cx:pt>
          <cx:pt idx="46088">0</cx:pt>
          <cx:pt idx="46089">0</cx:pt>
          <cx:pt idx="46090">0</cx:pt>
          <cx:pt idx="46091">1</cx:pt>
          <cx:pt idx="46092">1</cx:pt>
          <cx:pt idx="46093">1</cx:pt>
          <cx:pt idx="46094">1</cx:pt>
          <cx:pt idx="46095">0</cx:pt>
          <cx:pt idx="46096">0</cx:pt>
          <cx:pt idx="46097">1</cx:pt>
          <cx:pt idx="46098">0</cx:pt>
          <cx:pt idx="46099">0</cx:pt>
          <cx:pt idx="46100">1</cx:pt>
          <cx:pt idx="46101">1</cx:pt>
          <cx:pt idx="46102">0</cx:pt>
          <cx:pt idx="46103">0</cx:pt>
          <cx:pt idx="46104">1</cx:pt>
          <cx:pt idx="46105">1</cx:pt>
          <cx:pt idx="46106">0</cx:pt>
          <cx:pt idx="46107">0</cx:pt>
          <cx:pt idx="46108">1</cx:pt>
          <cx:pt idx="46109">0</cx:pt>
          <cx:pt idx="46110">0</cx:pt>
          <cx:pt idx="46111">0</cx:pt>
          <cx:pt idx="46112">0</cx:pt>
          <cx:pt idx="46113">1</cx:pt>
          <cx:pt idx="46114">0</cx:pt>
          <cx:pt idx="46115">0</cx:pt>
          <cx:pt idx="46116">0</cx:pt>
          <cx:pt idx="46117">0</cx:pt>
          <cx:pt idx="46118">0</cx:pt>
          <cx:pt idx="46119">0</cx:pt>
          <cx:pt idx="46120">0</cx:pt>
          <cx:pt idx="46121">1</cx:pt>
          <cx:pt idx="46122">1</cx:pt>
          <cx:pt idx="46123">1</cx:pt>
          <cx:pt idx="46124">1</cx:pt>
          <cx:pt idx="46125">0</cx:pt>
          <cx:pt idx="46126">1</cx:pt>
          <cx:pt idx="46127">1</cx:pt>
          <cx:pt idx="46128">0</cx:pt>
          <cx:pt idx="46129">0</cx:pt>
          <cx:pt idx="46130">1</cx:pt>
          <cx:pt idx="46131">1</cx:pt>
          <cx:pt idx="46132">0</cx:pt>
          <cx:pt idx="46133">1</cx:pt>
          <cx:pt idx="46134">0</cx:pt>
          <cx:pt idx="46135">0</cx:pt>
          <cx:pt idx="46136">1</cx:pt>
          <cx:pt idx="46137">0</cx:pt>
          <cx:pt idx="46138">1</cx:pt>
          <cx:pt idx="46139">0</cx:pt>
          <cx:pt idx="46140">1</cx:pt>
          <cx:pt idx="46141">1</cx:pt>
          <cx:pt idx="46142">0</cx:pt>
          <cx:pt idx="46143">0</cx:pt>
          <cx:pt idx="46144">0</cx:pt>
          <cx:pt idx="46145">1</cx:pt>
          <cx:pt idx="46146">1</cx:pt>
          <cx:pt idx="46147">0</cx:pt>
          <cx:pt idx="46148">0</cx:pt>
          <cx:pt idx="46149">1</cx:pt>
          <cx:pt idx="46150">1</cx:pt>
          <cx:pt idx="46151">1</cx:pt>
          <cx:pt idx="46152">1</cx:pt>
          <cx:pt idx="46153">0</cx:pt>
          <cx:pt idx="46154">0</cx:pt>
          <cx:pt idx="46155">1</cx:pt>
          <cx:pt idx="46156">0</cx:pt>
          <cx:pt idx="46157">1</cx:pt>
          <cx:pt idx="46158">1</cx:pt>
          <cx:pt idx="46159">1</cx:pt>
          <cx:pt idx="46160">0</cx:pt>
          <cx:pt idx="46161">0</cx:pt>
          <cx:pt idx="46162">0</cx:pt>
          <cx:pt idx="46163">0</cx:pt>
          <cx:pt idx="46164">1</cx:pt>
          <cx:pt idx="46165">0</cx:pt>
          <cx:pt idx="46166">1</cx:pt>
          <cx:pt idx="46167">0</cx:pt>
          <cx:pt idx="46168">0</cx:pt>
          <cx:pt idx="46169">0</cx:pt>
          <cx:pt idx="46170">0</cx:pt>
          <cx:pt idx="46171">0</cx:pt>
          <cx:pt idx="46172">1</cx:pt>
          <cx:pt idx="46173">1</cx:pt>
          <cx:pt idx="46174">1</cx:pt>
          <cx:pt idx="46175">1</cx:pt>
          <cx:pt idx="46176">0</cx:pt>
          <cx:pt idx="46177">1</cx:pt>
          <cx:pt idx="46178">1</cx:pt>
          <cx:pt idx="46179">1</cx:pt>
          <cx:pt idx="46180">1</cx:pt>
          <cx:pt idx="46181">0</cx:pt>
          <cx:pt idx="46182">1</cx:pt>
          <cx:pt idx="46183">0</cx:pt>
          <cx:pt idx="46184">0</cx:pt>
          <cx:pt idx="46185">1</cx:pt>
          <cx:pt idx="46186">0</cx:pt>
          <cx:pt idx="46187">0</cx:pt>
          <cx:pt idx="46188">0</cx:pt>
          <cx:pt idx="46189">0</cx:pt>
          <cx:pt idx="46190">0</cx:pt>
          <cx:pt idx="46191">1</cx:pt>
          <cx:pt idx="46192">0</cx:pt>
          <cx:pt idx="46193">1</cx:pt>
          <cx:pt idx="46194">0</cx:pt>
          <cx:pt idx="46195">0</cx:pt>
          <cx:pt idx="46196">0</cx:pt>
          <cx:pt idx="46197">1</cx:pt>
          <cx:pt idx="46198">0</cx:pt>
          <cx:pt idx="46199">0</cx:pt>
          <cx:pt idx="46200">0</cx:pt>
          <cx:pt idx="46201">1</cx:pt>
          <cx:pt idx="46202">1</cx:pt>
          <cx:pt idx="46203">0</cx:pt>
          <cx:pt idx="46204">1</cx:pt>
          <cx:pt idx="46205">0</cx:pt>
          <cx:pt idx="46206">1</cx:pt>
          <cx:pt idx="46207">1</cx:pt>
          <cx:pt idx="46208">1</cx:pt>
          <cx:pt idx="46209">0</cx:pt>
          <cx:pt idx="46210">1</cx:pt>
          <cx:pt idx="46211">0</cx:pt>
          <cx:pt idx="46212">0</cx:pt>
          <cx:pt idx="46213">0</cx:pt>
          <cx:pt idx="46214">0</cx:pt>
          <cx:pt idx="46215">0</cx:pt>
          <cx:pt idx="46216">0</cx:pt>
          <cx:pt idx="46217">1</cx:pt>
          <cx:pt idx="46218">0</cx:pt>
          <cx:pt idx="46219">0</cx:pt>
          <cx:pt idx="46220">1</cx:pt>
          <cx:pt idx="46221">0</cx:pt>
          <cx:pt idx="46222">1</cx:pt>
          <cx:pt idx="46223">0</cx:pt>
          <cx:pt idx="46224">1</cx:pt>
          <cx:pt idx="46225">0</cx:pt>
          <cx:pt idx="46226">1</cx:pt>
          <cx:pt idx="46227">0</cx:pt>
          <cx:pt idx="46228">1</cx:pt>
          <cx:pt idx="46229">0</cx:pt>
          <cx:pt idx="46230">1</cx:pt>
          <cx:pt idx="46231">0</cx:pt>
          <cx:pt idx="46232">1</cx:pt>
          <cx:pt idx="46233">0</cx:pt>
          <cx:pt idx="46234">1</cx:pt>
          <cx:pt idx="46235">0</cx:pt>
          <cx:pt idx="46236">1</cx:pt>
          <cx:pt idx="46237">0</cx:pt>
          <cx:pt idx="46238">0</cx:pt>
          <cx:pt idx="46239">1</cx:pt>
          <cx:pt idx="46240">1</cx:pt>
          <cx:pt idx="46241">1</cx:pt>
          <cx:pt idx="46242">1</cx:pt>
          <cx:pt idx="46243">0</cx:pt>
          <cx:pt idx="46244">0</cx:pt>
          <cx:pt idx="46245">1</cx:pt>
          <cx:pt idx="46246">1</cx:pt>
          <cx:pt idx="46247">1</cx:pt>
          <cx:pt idx="46248">0</cx:pt>
          <cx:pt idx="46249">1</cx:pt>
          <cx:pt idx="46250">0</cx:pt>
          <cx:pt idx="46251">1</cx:pt>
          <cx:pt idx="46252">1</cx:pt>
          <cx:pt idx="46253">1</cx:pt>
          <cx:pt idx="46254">1</cx:pt>
          <cx:pt idx="46255">0</cx:pt>
          <cx:pt idx="46256">0</cx:pt>
          <cx:pt idx="46257">1</cx:pt>
          <cx:pt idx="46258">0</cx:pt>
          <cx:pt idx="46259">1</cx:pt>
          <cx:pt idx="46260">0</cx:pt>
          <cx:pt idx="46261">0</cx:pt>
          <cx:pt idx="46262">0</cx:pt>
          <cx:pt idx="46263">1</cx:pt>
          <cx:pt idx="46264">0</cx:pt>
          <cx:pt idx="46265">0</cx:pt>
          <cx:pt idx="46266">1</cx:pt>
          <cx:pt idx="46267">1</cx:pt>
          <cx:pt idx="46268">0</cx:pt>
          <cx:pt idx="46269">1</cx:pt>
          <cx:pt idx="46270">1</cx:pt>
          <cx:pt idx="46271">1</cx:pt>
          <cx:pt idx="46272">1</cx:pt>
          <cx:pt idx="46273">0</cx:pt>
          <cx:pt idx="46274">1</cx:pt>
          <cx:pt idx="46275">0</cx:pt>
          <cx:pt idx="46276">0</cx:pt>
          <cx:pt idx="46277">0</cx:pt>
          <cx:pt idx="46278">1</cx:pt>
          <cx:pt idx="46279">0</cx:pt>
          <cx:pt idx="46280">1</cx:pt>
          <cx:pt idx="46281">0</cx:pt>
          <cx:pt idx="46282">1</cx:pt>
          <cx:pt idx="46283">1</cx:pt>
          <cx:pt idx="46284">1</cx:pt>
          <cx:pt idx="46285">0</cx:pt>
          <cx:pt idx="46286">0</cx:pt>
          <cx:pt idx="46287">0</cx:pt>
          <cx:pt idx="46288">0</cx:pt>
          <cx:pt idx="46289">0</cx:pt>
          <cx:pt idx="46290">0</cx:pt>
          <cx:pt idx="46291">0</cx:pt>
          <cx:pt idx="46292">0</cx:pt>
          <cx:pt idx="46293">1</cx:pt>
          <cx:pt idx="46294">1</cx:pt>
          <cx:pt idx="46295">1</cx:pt>
          <cx:pt idx="46296">1</cx:pt>
          <cx:pt idx="46297">0</cx:pt>
          <cx:pt idx="46298">0</cx:pt>
          <cx:pt idx="46299">1</cx:pt>
          <cx:pt idx="46300">0</cx:pt>
          <cx:pt idx="46301">0</cx:pt>
          <cx:pt idx="46302">0</cx:pt>
          <cx:pt idx="46303">1</cx:pt>
          <cx:pt idx="46304">0</cx:pt>
          <cx:pt idx="46305">0</cx:pt>
          <cx:pt idx="46306">0</cx:pt>
          <cx:pt idx="46307">1</cx:pt>
          <cx:pt idx="46308">1</cx:pt>
          <cx:pt idx="46309">1</cx:pt>
          <cx:pt idx="46310">1</cx:pt>
          <cx:pt idx="46311">1</cx:pt>
          <cx:pt idx="46312">0</cx:pt>
          <cx:pt idx="46313">0</cx:pt>
          <cx:pt idx="46314">1</cx:pt>
          <cx:pt idx="46315">0</cx:pt>
          <cx:pt idx="46316">1</cx:pt>
          <cx:pt idx="46317">0</cx:pt>
          <cx:pt idx="46318">0</cx:pt>
          <cx:pt idx="46319">0</cx:pt>
          <cx:pt idx="46320">1</cx:pt>
          <cx:pt idx="46321">1</cx:pt>
          <cx:pt idx="46322">1</cx:pt>
          <cx:pt idx="46323">0</cx:pt>
          <cx:pt idx="46324">0</cx:pt>
          <cx:pt idx="46325">1</cx:pt>
          <cx:pt idx="46326">1</cx:pt>
          <cx:pt idx="46327">0</cx:pt>
          <cx:pt idx="46328">0</cx:pt>
          <cx:pt idx="46329">0</cx:pt>
          <cx:pt idx="46330">1</cx:pt>
          <cx:pt idx="46331">1</cx:pt>
          <cx:pt idx="46332">0</cx:pt>
          <cx:pt idx="46333">1</cx:pt>
          <cx:pt idx="46334">0</cx:pt>
          <cx:pt idx="46335">0</cx:pt>
          <cx:pt idx="46336">1</cx:pt>
          <cx:pt idx="46337">1</cx:pt>
          <cx:pt idx="46338">1</cx:pt>
          <cx:pt idx="46339">0</cx:pt>
          <cx:pt idx="46340">0</cx:pt>
          <cx:pt idx="46341">0</cx:pt>
          <cx:pt idx="46342">0</cx:pt>
          <cx:pt idx="46343">1</cx:pt>
          <cx:pt idx="46344">0</cx:pt>
          <cx:pt idx="46345">0</cx:pt>
          <cx:pt idx="46346">0</cx:pt>
          <cx:pt idx="46347">0</cx:pt>
          <cx:pt idx="46348">0</cx:pt>
          <cx:pt idx="46349">0</cx:pt>
          <cx:pt idx="46350">0</cx:pt>
          <cx:pt idx="46351">0</cx:pt>
          <cx:pt idx="46352">1</cx:pt>
          <cx:pt idx="46353">1</cx:pt>
          <cx:pt idx="46354">0</cx:pt>
          <cx:pt idx="46355">0</cx:pt>
          <cx:pt idx="46356">0</cx:pt>
          <cx:pt idx="46357">1</cx:pt>
          <cx:pt idx="46358">0</cx:pt>
          <cx:pt idx="46359">1</cx:pt>
          <cx:pt idx="46360">0</cx:pt>
          <cx:pt idx="46361">0</cx:pt>
          <cx:pt idx="46362">1</cx:pt>
          <cx:pt idx="46363">0</cx:pt>
          <cx:pt idx="46364">0</cx:pt>
          <cx:pt idx="46365">0</cx:pt>
          <cx:pt idx="46366">0</cx:pt>
          <cx:pt idx="46367">0</cx:pt>
          <cx:pt idx="46368">1</cx:pt>
          <cx:pt idx="46369">1</cx:pt>
          <cx:pt idx="46370">0</cx:pt>
          <cx:pt idx="46371">1</cx:pt>
          <cx:pt idx="46372">0</cx:pt>
          <cx:pt idx="46373">0</cx:pt>
          <cx:pt idx="46374">1</cx:pt>
          <cx:pt idx="46375">1</cx:pt>
          <cx:pt idx="46376">1</cx:pt>
          <cx:pt idx="46377">0</cx:pt>
          <cx:pt idx="46378">1</cx:pt>
          <cx:pt idx="46379">0</cx:pt>
          <cx:pt idx="46380">0</cx:pt>
          <cx:pt idx="46381">1</cx:pt>
          <cx:pt idx="46382">0</cx:pt>
          <cx:pt idx="46383">1</cx:pt>
          <cx:pt idx="46384">0</cx:pt>
          <cx:pt idx="46385">1</cx:pt>
          <cx:pt idx="46386">0</cx:pt>
          <cx:pt idx="46387">1</cx:pt>
          <cx:pt idx="46388">0</cx:pt>
          <cx:pt idx="46389">0</cx:pt>
          <cx:pt idx="46390">1</cx:pt>
          <cx:pt idx="46391">1</cx:pt>
          <cx:pt idx="46392">0</cx:pt>
          <cx:pt idx="46393">0</cx:pt>
          <cx:pt idx="46394">0</cx:pt>
          <cx:pt idx="46395">0</cx:pt>
          <cx:pt idx="46396">1</cx:pt>
          <cx:pt idx="46397">1</cx:pt>
          <cx:pt idx="46398">0</cx:pt>
          <cx:pt idx="46399">1</cx:pt>
          <cx:pt idx="46400">1</cx:pt>
          <cx:pt idx="46401">1</cx:pt>
          <cx:pt idx="46402">0</cx:pt>
          <cx:pt idx="46403">0</cx:pt>
          <cx:pt idx="46404">0</cx:pt>
          <cx:pt idx="46405">0</cx:pt>
          <cx:pt idx="46406">1</cx:pt>
          <cx:pt idx="46407">0</cx:pt>
          <cx:pt idx="46408">0</cx:pt>
          <cx:pt idx="46409">0</cx:pt>
          <cx:pt idx="46410">1</cx:pt>
          <cx:pt idx="46411">0</cx:pt>
          <cx:pt idx="46412">1</cx:pt>
          <cx:pt idx="46413">0</cx:pt>
          <cx:pt idx="46414">0</cx:pt>
          <cx:pt idx="46415">0</cx:pt>
          <cx:pt idx="46416">0</cx:pt>
          <cx:pt idx="46417">1</cx:pt>
          <cx:pt idx="46418">1</cx:pt>
          <cx:pt idx="46419">0</cx:pt>
          <cx:pt idx="46420">1</cx:pt>
          <cx:pt idx="46421">0</cx:pt>
          <cx:pt idx="46422">1</cx:pt>
          <cx:pt idx="46423">0</cx:pt>
          <cx:pt idx="46424">0</cx:pt>
          <cx:pt idx="46425">1</cx:pt>
          <cx:pt idx="46426">0</cx:pt>
          <cx:pt idx="46427">0</cx:pt>
          <cx:pt idx="46428">1</cx:pt>
          <cx:pt idx="46429">0</cx:pt>
          <cx:pt idx="46430">1</cx:pt>
          <cx:pt idx="46431">1</cx:pt>
          <cx:pt idx="46432">0</cx:pt>
          <cx:pt idx="46433">0</cx:pt>
          <cx:pt idx="46434">1</cx:pt>
          <cx:pt idx="46435">1</cx:pt>
          <cx:pt idx="46436">1</cx:pt>
          <cx:pt idx="46437">1</cx:pt>
          <cx:pt idx="46438">1</cx:pt>
          <cx:pt idx="46439">0</cx:pt>
          <cx:pt idx="46440">1</cx:pt>
          <cx:pt idx="46441">0</cx:pt>
          <cx:pt idx="46442">0</cx:pt>
          <cx:pt idx="46443">0</cx:pt>
          <cx:pt idx="46444">1</cx:pt>
          <cx:pt idx="46445">1</cx:pt>
          <cx:pt idx="46446">0</cx:pt>
          <cx:pt idx="46447">0</cx:pt>
          <cx:pt idx="46448">1</cx:pt>
          <cx:pt idx="46449">0</cx:pt>
          <cx:pt idx="46450">1</cx:pt>
          <cx:pt idx="46451">0</cx:pt>
          <cx:pt idx="46452">0</cx:pt>
          <cx:pt idx="46453">0</cx:pt>
          <cx:pt idx="46454">0</cx:pt>
          <cx:pt idx="46455">1</cx:pt>
          <cx:pt idx="46456">1</cx:pt>
          <cx:pt idx="46457">0</cx:pt>
          <cx:pt idx="46458">1</cx:pt>
          <cx:pt idx="46459">0</cx:pt>
          <cx:pt idx="46460">1</cx:pt>
          <cx:pt idx="46461">0</cx:pt>
          <cx:pt idx="46462">0</cx:pt>
          <cx:pt idx="46463">1</cx:pt>
          <cx:pt idx="46464">0</cx:pt>
          <cx:pt idx="46465">1</cx:pt>
          <cx:pt idx="46466">0</cx:pt>
          <cx:pt idx="46467">0</cx:pt>
          <cx:pt idx="46468">1</cx:pt>
          <cx:pt idx="46469">1</cx:pt>
          <cx:pt idx="46470">0</cx:pt>
          <cx:pt idx="46471">0</cx:pt>
          <cx:pt idx="46472">1</cx:pt>
          <cx:pt idx="46473">0</cx:pt>
          <cx:pt idx="46474">0</cx:pt>
          <cx:pt idx="46475">1</cx:pt>
          <cx:pt idx="46476">1</cx:pt>
          <cx:pt idx="46477">0</cx:pt>
          <cx:pt idx="46478">0</cx:pt>
          <cx:pt idx="46479">1</cx:pt>
          <cx:pt idx="46480">0</cx:pt>
          <cx:pt idx="46481">1</cx:pt>
          <cx:pt idx="46482">0</cx:pt>
          <cx:pt idx="46483">0</cx:pt>
          <cx:pt idx="46484">0</cx:pt>
          <cx:pt idx="46485">1</cx:pt>
          <cx:pt idx="46486">0</cx:pt>
          <cx:pt idx="46487">0</cx:pt>
          <cx:pt idx="46488">0</cx:pt>
          <cx:pt idx="46489">1</cx:pt>
          <cx:pt idx="46490">0</cx:pt>
          <cx:pt idx="46491">0</cx:pt>
          <cx:pt idx="46492">1</cx:pt>
          <cx:pt idx="46493">0</cx:pt>
          <cx:pt idx="46494">1</cx:pt>
          <cx:pt idx="46495">1</cx:pt>
          <cx:pt idx="46496">0</cx:pt>
          <cx:pt idx="46497">0</cx:pt>
          <cx:pt idx="46498">0</cx:pt>
          <cx:pt idx="46499">0</cx:pt>
          <cx:pt idx="46500">1</cx:pt>
          <cx:pt idx="46501">0</cx:pt>
          <cx:pt idx="46502">1</cx:pt>
          <cx:pt idx="46503">0</cx:pt>
          <cx:pt idx="46504">0</cx:pt>
          <cx:pt idx="46505">1</cx:pt>
          <cx:pt idx="46506">0</cx:pt>
          <cx:pt idx="46507">0</cx:pt>
          <cx:pt idx="46508">0</cx:pt>
          <cx:pt idx="46509">1</cx:pt>
          <cx:pt idx="46510">0</cx:pt>
          <cx:pt idx="46511">0</cx:pt>
          <cx:pt idx="46512">0</cx:pt>
          <cx:pt idx="46513">1</cx:pt>
          <cx:pt idx="46514">0</cx:pt>
          <cx:pt idx="46515">1</cx:pt>
          <cx:pt idx="46516">0</cx:pt>
          <cx:pt idx="46517">0</cx:pt>
          <cx:pt idx="46518">0</cx:pt>
          <cx:pt idx="46519">0</cx:pt>
          <cx:pt idx="46520">0</cx:pt>
          <cx:pt idx="46521">0</cx:pt>
          <cx:pt idx="46522">1</cx:pt>
          <cx:pt idx="46523">0</cx:pt>
          <cx:pt idx="46524">1</cx:pt>
          <cx:pt idx="46525">0</cx:pt>
          <cx:pt idx="46526">0</cx:pt>
          <cx:pt idx="46527">0</cx:pt>
          <cx:pt idx="46528">1</cx:pt>
          <cx:pt idx="46529">0</cx:pt>
          <cx:pt idx="46530">1</cx:pt>
          <cx:pt idx="46531">1</cx:pt>
          <cx:pt idx="46532">1</cx:pt>
          <cx:pt idx="46533">0</cx:pt>
          <cx:pt idx="46534">0</cx:pt>
          <cx:pt idx="46535">1</cx:pt>
          <cx:pt idx="46536">0</cx:pt>
          <cx:pt idx="46537">0</cx:pt>
          <cx:pt idx="46538">0</cx:pt>
          <cx:pt idx="46539">1</cx:pt>
          <cx:pt idx="46540">1</cx:pt>
          <cx:pt idx="46541">0</cx:pt>
          <cx:pt idx="46542">0</cx:pt>
          <cx:pt idx="46543">1</cx:pt>
          <cx:pt idx="46544">1</cx:pt>
          <cx:pt idx="46545">0</cx:pt>
          <cx:pt idx="46546">0</cx:pt>
          <cx:pt idx="46547">1</cx:pt>
          <cx:pt idx="46548">1</cx:pt>
          <cx:pt idx="46549">0</cx:pt>
          <cx:pt idx="46550">0</cx:pt>
          <cx:pt idx="46551">1</cx:pt>
          <cx:pt idx="46552">0</cx:pt>
          <cx:pt idx="46553">1</cx:pt>
          <cx:pt idx="46554">0</cx:pt>
          <cx:pt idx="46555">0</cx:pt>
          <cx:pt idx="46556">0</cx:pt>
          <cx:pt idx="46557">0</cx:pt>
          <cx:pt idx="46558">0</cx:pt>
          <cx:pt idx="46559">1</cx:pt>
          <cx:pt idx="46560">0</cx:pt>
          <cx:pt idx="46561">0</cx:pt>
          <cx:pt idx="46562">1</cx:pt>
          <cx:pt idx="46563">0</cx:pt>
          <cx:pt idx="46564">1</cx:pt>
          <cx:pt idx="46565">0</cx:pt>
          <cx:pt idx="46566">0</cx:pt>
          <cx:pt idx="46567">0</cx:pt>
          <cx:pt idx="46568">1</cx:pt>
          <cx:pt idx="46569">0</cx:pt>
          <cx:pt idx="46570">0</cx:pt>
          <cx:pt idx="46571">1</cx:pt>
          <cx:pt idx="46572">0</cx:pt>
          <cx:pt idx="46573">1</cx:pt>
          <cx:pt idx="46574">0</cx:pt>
          <cx:pt idx="46575">0</cx:pt>
          <cx:pt idx="46576">1</cx:pt>
          <cx:pt idx="46577">1</cx:pt>
          <cx:pt idx="46578">1</cx:pt>
          <cx:pt idx="46579">1</cx:pt>
          <cx:pt idx="46580">0</cx:pt>
          <cx:pt idx="46581">0</cx:pt>
          <cx:pt idx="46582">1</cx:pt>
          <cx:pt idx="46583">0</cx:pt>
          <cx:pt idx="46584">0</cx:pt>
          <cx:pt idx="46585">1</cx:pt>
          <cx:pt idx="46586">0</cx:pt>
          <cx:pt idx="46587">0</cx:pt>
          <cx:pt idx="46588">1</cx:pt>
          <cx:pt idx="46589">1</cx:pt>
          <cx:pt idx="46590">0</cx:pt>
          <cx:pt idx="46591">1</cx:pt>
          <cx:pt idx="46592">0</cx:pt>
          <cx:pt idx="46593">0</cx:pt>
          <cx:pt idx="46594">1</cx:pt>
          <cx:pt idx="46595">0</cx:pt>
          <cx:pt idx="46596">0</cx:pt>
          <cx:pt idx="46597">1</cx:pt>
          <cx:pt idx="46598">1</cx:pt>
          <cx:pt idx="46599">1</cx:pt>
          <cx:pt idx="46600">0</cx:pt>
          <cx:pt idx="46601">1</cx:pt>
          <cx:pt idx="46602">0</cx:pt>
          <cx:pt idx="46603">1</cx:pt>
          <cx:pt idx="46604">0</cx:pt>
          <cx:pt idx="46605">0</cx:pt>
          <cx:pt idx="46606">1</cx:pt>
          <cx:pt idx="46607">1</cx:pt>
          <cx:pt idx="46608">0</cx:pt>
          <cx:pt idx="46609">0</cx:pt>
          <cx:pt idx="46610">1</cx:pt>
          <cx:pt idx="46611">0</cx:pt>
          <cx:pt idx="46612">0</cx:pt>
          <cx:pt idx="46613">0</cx:pt>
          <cx:pt idx="46614">0</cx:pt>
          <cx:pt idx="46615">0</cx:pt>
          <cx:pt idx="46616">0</cx:pt>
          <cx:pt idx="46617">0</cx:pt>
          <cx:pt idx="46618">1</cx:pt>
          <cx:pt idx="46619">0</cx:pt>
          <cx:pt idx="46620">0</cx:pt>
          <cx:pt idx="46621">0</cx:pt>
          <cx:pt idx="46622">0</cx:pt>
          <cx:pt idx="46623">0</cx:pt>
          <cx:pt idx="46624">1</cx:pt>
          <cx:pt idx="46625">0</cx:pt>
          <cx:pt idx="46626">1</cx:pt>
          <cx:pt idx="46627">1</cx:pt>
          <cx:pt idx="46628">1</cx:pt>
          <cx:pt idx="46629">0</cx:pt>
          <cx:pt idx="46630">0</cx:pt>
          <cx:pt idx="46631">0</cx:pt>
          <cx:pt idx="46632">0</cx:pt>
          <cx:pt idx="46633">1</cx:pt>
          <cx:pt idx="46634">0</cx:pt>
          <cx:pt idx="46635">0</cx:pt>
          <cx:pt idx="46636">0</cx:pt>
          <cx:pt idx="46637">1</cx:pt>
          <cx:pt idx="46638">0</cx:pt>
          <cx:pt idx="46639">1</cx:pt>
          <cx:pt idx="46640">0</cx:pt>
          <cx:pt idx="46641">0</cx:pt>
          <cx:pt idx="46642">1</cx:pt>
          <cx:pt idx="46643">1</cx:pt>
          <cx:pt idx="46644">0</cx:pt>
          <cx:pt idx="46645">0</cx:pt>
          <cx:pt idx="46646">1</cx:pt>
          <cx:pt idx="46647">0</cx:pt>
          <cx:pt idx="46648">0</cx:pt>
          <cx:pt idx="46649">0</cx:pt>
          <cx:pt idx="46650">1</cx:pt>
          <cx:pt idx="46651">0</cx:pt>
          <cx:pt idx="46652">1</cx:pt>
          <cx:pt idx="46653">0</cx:pt>
          <cx:pt idx="46654">0</cx:pt>
          <cx:pt idx="46655">1</cx:pt>
          <cx:pt idx="46656">0</cx:pt>
          <cx:pt idx="46657">0</cx:pt>
          <cx:pt idx="46658">0</cx:pt>
          <cx:pt idx="46659">0</cx:pt>
          <cx:pt idx="46660">0</cx:pt>
          <cx:pt idx="46661">0</cx:pt>
          <cx:pt idx="46662">1</cx:pt>
          <cx:pt idx="46663">0</cx:pt>
          <cx:pt idx="46664">0</cx:pt>
          <cx:pt idx="46665">0</cx:pt>
          <cx:pt idx="46666">1</cx:pt>
          <cx:pt idx="46667">1</cx:pt>
          <cx:pt idx="46668">0</cx:pt>
          <cx:pt idx="46669">1</cx:pt>
          <cx:pt idx="46670">0</cx:pt>
          <cx:pt idx="46671">0</cx:pt>
          <cx:pt idx="46672">1</cx:pt>
          <cx:pt idx="46673">0</cx:pt>
          <cx:pt idx="46674">0</cx:pt>
          <cx:pt idx="46675">1</cx:pt>
          <cx:pt idx="46676">1</cx:pt>
          <cx:pt idx="46677">1</cx:pt>
          <cx:pt idx="46678">0</cx:pt>
          <cx:pt idx="46679">0</cx:pt>
          <cx:pt idx="46680">0</cx:pt>
          <cx:pt idx="46681">0</cx:pt>
          <cx:pt idx="46682">1</cx:pt>
          <cx:pt idx="46683">0</cx:pt>
          <cx:pt idx="46684">0</cx:pt>
          <cx:pt idx="46685">1</cx:pt>
          <cx:pt idx="46686">0</cx:pt>
          <cx:pt idx="46687">1</cx:pt>
          <cx:pt idx="46688">0</cx:pt>
          <cx:pt idx="46689">0</cx:pt>
          <cx:pt idx="46690">0</cx:pt>
          <cx:pt idx="46691">0</cx:pt>
          <cx:pt idx="46692">0</cx:pt>
          <cx:pt idx="46693">0</cx:pt>
          <cx:pt idx="46694">1</cx:pt>
          <cx:pt idx="46695">1</cx:pt>
          <cx:pt idx="46696">1</cx:pt>
          <cx:pt idx="46697">0</cx:pt>
          <cx:pt idx="46698">0</cx:pt>
          <cx:pt idx="46699">0</cx:pt>
          <cx:pt idx="46700">1</cx:pt>
          <cx:pt idx="46701">0</cx:pt>
          <cx:pt idx="46702">0</cx:pt>
          <cx:pt idx="46703">1</cx:pt>
          <cx:pt idx="46704">1</cx:pt>
          <cx:pt idx="46705">0</cx:pt>
          <cx:pt idx="46706">1</cx:pt>
          <cx:pt idx="46707">0</cx:pt>
          <cx:pt idx="46708">0</cx:pt>
          <cx:pt idx="46709">0</cx:pt>
          <cx:pt idx="46710">0</cx:pt>
          <cx:pt idx="46711">1</cx:pt>
          <cx:pt idx="46712">1</cx:pt>
          <cx:pt idx="46713">1</cx:pt>
          <cx:pt idx="46714">1</cx:pt>
          <cx:pt idx="46715">0</cx:pt>
          <cx:pt idx="46716">1</cx:pt>
          <cx:pt idx="46717">1</cx:pt>
          <cx:pt idx="46718">1</cx:pt>
          <cx:pt idx="46719">0</cx:pt>
          <cx:pt idx="46720">1</cx:pt>
          <cx:pt idx="46721">0</cx:pt>
          <cx:pt idx="46722">0</cx:pt>
          <cx:pt idx="46723">0</cx:pt>
          <cx:pt idx="46724">1</cx:pt>
          <cx:pt idx="46725">0</cx:pt>
          <cx:pt idx="46726">0</cx:pt>
          <cx:pt idx="46727">1</cx:pt>
          <cx:pt idx="46728">1</cx:pt>
          <cx:pt idx="46729">1</cx:pt>
          <cx:pt idx="46730">1</cx:pt>
          <cx:pt idx="46731">1</cx:pt>
          <cx:pt idx="46732">0</cx:pt>
          <cx:pt idx="46733">0</cx:pt>
          <cx:pt idx="46734">0</cx:pt>
          <cx:pt idx="46735">0</cx:pt>
          <cx:pt idx="46736">1</cx:pt>
          <cx:pt idx="46737">1</cx:pt>
          <cx:pt idx="46738">1</cx:pt>
          <cx:pt idx="46739">0</cx:pt>
          <cx:pt idx="46740">0</cx:pt>
          <cx:pt idx="46741">0</cx:pt>
          <cx:pt idx="46742">0</cx:pt>
          <cx:pt idx="46743">0</cx:pt>
          <cx:pt idx="46744">1</cx:pt>
          <cx:pt idx="46745">0</cx:pt>
          <cx:pt idx="46746">1</cx:pt>
          <cx:pt idx="46747">0</cx:pt>
          <cx:pt idx="46748">0</cx:pt>
          <cx:pt idx="46749">0</cx:pt>
          <cx:pt idx="46750">1</cx:pt>
          <cx:pt idx="46751">1</cx:pt>
          <cx:pt idx="46752">1</cx:pt>
          <cx:pt idx="46753">1</cx:pt>
          <cx:pt idx="46754">0</cx:pt>
          <cx:pt idx="46755">0</cx:pt>
          <cx:pt idx="46756">0</cx:pt>
          <cx:pt idx="46757">0</cx:pt>
          <cx:pt idx="46758">1</cx:pt>
          <cx:pt idx="46759">0</cx:pt>
          <cx:pt idx="46760">0</cx:pt>
          <cx:pt idx="46761">0</cx:pt>
          <cx:pt idx="46762">0</cx:pt>
          <cx:pt idx="46763">0</cx:pt>
          <cx:pt idx="46764">1</cx:pt>
          <cx:pt idx="46765">0</cx:pt>
          <cx:pt idx="46766">1</cx:pt>
          <cx:pt idx="46767">1</cx:pt>
          <cx:pt idx="46768">0</cx:pt>
          <cx:pt idx="46769">0</cx:pt>
          <cx:pt idx="46770">0</cx:pt>
          <cx:pt idx="46771">1</cx:pt>
          <cx:pt idx="46772">0</cx:pt>
          <cx:pt idx="46773">0</cx:pt>
          <cx:pt idx="46774">1</cx:pt>
          <cx:pt idx="46775">0</cx:pt>
          <cx:pt idx="46776">0</cx:pt>
          <cx:pt idx="46777">1</cx:pt>
          <cx:pt idx="46778">0</cx:pt>
          <cx:pt idx="46779">1</cx:pt>
          <cx:pt idx="46780">1</cx:pt>
          <cx:pt idx="46781">0</cx:pt>
          <cx:pt idx="46782">1</cx:pt>
          <cx:pt idx="46783">1</cx:pt>
          <cx:pt idx="46784">0</cx:pt>
          <cx:pt idx="46785">1</cx:pt>
          <cx:pt idx="46786">0</cx:pt>
          <cx:pt idx="46787">0</cx:pt>
          <cx:pt idx="46788">0</cx:pt>
          <cx:pt idx="46789">1</cx:pt>
          <cx:pt idx="46790">0</cx:pt>
          <cx:pt idx="46791">1</cx:pt>
          <cx:pt idx="46792">1</cx:pt>
          <cx:pt idx="46793">0</cx:pt>
          <cx:pt idx="46794">1</cx:pt>
          <cx:pt idx="46795">0</cx:pt>
          <cx:pt idx="46796">0</cx:pt>
          <cx:pt idx="46797">0</cx:pt>
          <cx:pt idx="46798">0</cx:pt>
          <cx:pt idx="46799">0</cx:pt>
          <cx:pt idx="46800">0</cx:pt>
          <cx:pt idx="46801">1</cx:pt>
          <cx:pt idx="46802">1</cx:pt>
          <cx:pt idx="46803">0</cx:pt>
          <cx:pt idx="46804">0</cx:pt>
          <cx:pt idx="46805">0</cx:pt>
          <cx:pt idx="46806">1</cx:pt>
          <cx:pt idx="46807">1</cx:pt>
          <cx:pt idx="46808">1</cx:pt>
          <cx:pt idx="46809">0</cx:pt>
          <cx:pt idx="46810">0</cx:pt>
          <cx:pt idx="46811">1</cx:pt>
          <cx:pt idx="46812">1</cx:pt>
          <cx:pt idx="46813">1</cx:pt>
          <cx:pt idx="46814">0</cx:pt>
          <cx:pt idx="46815">0</cx:pt>
          <cx:pt idx="46816">0</cx:pt>
          <cx:pt idx="46817">0</cx:pt>
          <cx:pt idx="46818">1</cx:pt>
          <cx:pt idx="46819">1</cx:pt>
          <cx:pt idx="46820">0</cx:pt>
          <cx:pt idx="46821">1</cx:pt>
          <cx:pt idx="46822">0</cx:pt>
          <cx:pt idx="46823">0</cx:pt>
          <cx:pt idx="46824">0</cx:pt>
          <cx:pt idx="46825">1</cx:pt>
          <cx:pt idx="46826">1</cx:pt>
          <cx:pt idx="46827">0</cx:pt>
          <cx:pt idx="46828">1</cx:pt>
          <cx:pt idx="46829">0</cx:pt>
          <cx:pt idx="46830">1</cx:pt>
          <cx:pt idx="46831">0</cx:pt>
          <cx:pt idx="46832">0</cx:pt>
          <cx:pt idx="46833">0</cx:pt>
          <cx:pt idx="46834">0</cx:pt>
          <cx:pt idx="46835">1</cx:pt>
          <cx:pt idx="46836">1</cx:pt>
          <cx:pt idx="46837">0</cx:pt>
          <cx:pt idx="46838">1</cx:pt>
          <cx:pt idx="46839">0</cx:pt>
          <cx:pt idx="46840">1</cx:pt>
          <cx:pt idx="46841">1</cx:pt>
          <cx:pt idx="46842">0</cx:pt>
          <cx:pt idx="46843">0</cx:pt>
          <cx:pt idx="46844">1</cx:pt>
          <cx:pt idx="46845">1</cx:pt>
          <cx:pt idx="46846">1</cx:pt>
          <cx:pt idx="46847">0</cx:pt>
          <cx:pt idx="46848">1</cx:pt>
          <cx:pt idx="46849">0</cx:pt>
          <cx:pt idx="46850">0</cx:pt>
          <cx:pt idx="46851">0</cx:pt>
          <cx:pt idx="46852">1</cx:pt>
          <cx:pt idx="46853">0</cx:pt>
          <cx:pt idx="46854">0</cx:pt>
          <cx:pt idx="46855">0</cx:pt>
          <cx:pt idx="46856">0</cx:pt>
          <cx:pt idx="46857">1</cx:pt>
          <cx:pt idx="46858">1</cx:pt>
          <cx:pt idx="46859">0</cx:pt>
          <cx:pt idx="46860">0</cx:pt>
          <cx:pt idx="46861">1</cx:pt>
          <cx:pt idx="46862">0</cx:pt>
          <cx:pt idx="46863">0</cx:pt>
          <cx:pt idx="46864">1</cx:pt>
          <cx:pt idx="46865">0</cx:pt>
          <cx:pt idx="46866">1</cx:pt>
          <cx:pt idx="46867">1</cx:pt>
          <cx:pt idx="46868">0</cx:pt>
          <cx:pt idx="46869">1</cx:pt>
          <cx:pt idx="46870">1</cx:pt>
          <cx:pt idx="46871">1</cx:pt>
          <cx:pt idx="46872">1</cx:pt>
          <cx:pt idx="46873">0</cx:pt>
          <cx:pt idx="46874">1</cx:pt>
          <cx:pt idx="46875">1</cx:pt>
          <cx:pt idx="46876">0</cx:pt>
          <cx:pt idx="46877">0</cx:pt>
          <cx:pt idx="46878">1</cx:pt>
          <cx:pt idx="46879">0</cx:pt>
          <cx:pt idx="46880">0</cx:pt>
          <cx:pt idx="46881">1</cx:pt>
          <cx:pt idx="46882">0</cx:pt>
          <cx:pt idx="46883">1</cx:pt>
          <cx:pt idx="46884">1</cx:pt>
          <cx:pt idx="46885">1</cx:pt>
          <cx:pt idx="46886">0</cx:pt>
          <cx:pt idx="46887">0</cx:pt>
          <cx:pt idx="46888">1</cx:pt>
          <cx:pt idx="46889">0</cx:pt>
          <cx:pt idx="46890">1</cx:pt>
          <cx:pt idx="46891">0</cx:pt>
          <cx:pt idx="46892">0</cx:pt>
          <cx:pt idx="46893">1</cx:pt>
          <cx:pt idx="46894">1</cx:pt>
          <cx:pt idx="46895">0</cx:pt>
          <cx:pt idx="46896">1</cx:pt>
          <cx:pt idx="46897">1</cx:pt>
          <cx:pt idx="46898">0</cx:pt>
          <cx:pt idx="46899">0</cx:pt>
          <cx:pt idx="46900">0</cx:pt>
          <cx:pt idx="46901">0</cx:pt>
          <cx:pt idx="46902">1</cx:pt>
          <cx:pt idx="46903">1</cx:pt>
          <cx:pt idx="46904">1</cx:pt>
          <cx:pt idx="46905">1</cx:pt>
          <cx:pt idx="46906">0</cx:pt>
          <cx:pt idx="46907">0</cx:pt>
          <cx:pt idx="46908">1</cx:pt>
          <cx:pt idx="46909">0</cx:pt>
          <cx:pt idx="46910">1</cx:pt>
          <cx:pt idx="46911">1</cx:pt>
          <cx:pt idx="46912">1</cx:pt>
          <cx:pt idx="46913">1</cx:pt>
          <cx:pt idx="46914">1</cx:pt>
          <cx:pt idx="46915">1</cx:pt>
          <cx:pt idx="46916">0</cx:pt>
          <cx:pt idx="46917">1</cx:pt>
          <cx:pt idx="46918">0</cx:pt>
          <cx:pt idx="46919">0</cx:pt>
          <cx:pt idx="46920">1</cx:pt>
          <cx:pt idx="46921">0</cx:pt>
          <cx:pt idx="46922">0</cx:pt>
          <cx:pt idx="46923">0</cx:pt>
          <cx:pt idx="46924">0</cx:pt>
          <cx:pt idx="46925">1</cx:pt>
          <cx:pt idx="46926">0</cx:pt>
          <cx:pt idx="46927">1</cx:pt>
          <cx:pt idx="46928">0</cx:pt>
          <cx:pt idx="46929">1</cx:pt>
          <cx:pt idx="46930">1</cx:pt>
          <cx:pt idx="46931">1</cx:pt>
          <cx:pt idx="46932">1</cx:pt>
          <cx:pt idx="46933">0</cx:pt>
          <cx:pt idx="46934">0</cx:pt>
          <cx:pt idx="46935">0</cx:pt>
          <cx:pt idx="46936">0</cx:pt>
          <cx:pt idx="46937">0</cx:pt>
          <cx:pt idx="46938">1</cx:pt>
          <cx:pt idx="46939">1</cx:pt>
          <cx:pt idx="46940">0</cx:pt>
          <cx:pt idx="46941">0</cx:pt>
          <cx:pt idx="46942">0</cx:pt>
          <cx:pt idx="46943">0</cx:pt>
          <cx:pt idx="46944">1</cx:pt>
          <cx:pt idx="46945">0</cx:pt>
          <cx:pt idx="46946">0</cx:pt>
          <cx:pt idx="46947">0</cx:pt>
          <cx:pt idx="46948">0</cx:pt>
          <cx:pt idx="46949">1</cx:pt>
          <cx:pt idx="46950">0</cx:pt>
          <cx:pt idx="46951">0</cx:pt>
          <cx:pt idx="46952">0</cx:pt>
          <cx:pt idx="46953">1</cx:pt>
          <cx:pt idx="46954">0</cx:pt>
          <cx:pt idx="46955">0</cx:pt>
          <cx:pt idx="46956">1</cx:pt>
          <cx:pt idx="46957">0</cx:pt>
          <cx:pt idx="46958">0</cx:pt>
          <cx:pt idx="46959">1</cx:pt>
          <cx:pt idx="46960">1</cx:pt>
          <cx:pt idx="46961">0</cx:pt>
          <cx:pt idx="46962">0</cx:pt>
          <cx:pt idx="46963">0</cx:pt>
          <cx:pt idx="46964">0</cx:pt>
          <cx:pt idx="46965">1</cx:pt>
          <cx:pt idx="46966">1</cx:pt>
          <cx:pt idx="46967">0</cx:pt>
          <cx:pt idx="46968">1</cx:pt>
          <cx:pt idx="46969">0</cx:pt>
          <cx:pt idx="46970">0</cx:pt>
          <cx:pt idx="46971">0</cx:pt>
          <cx:pt idx="46972">0</cx:pt>
          <cx:pt idx="46973">0</cx:pt>
          <cx:pt idx="46974">1</cx:pt>
          <cx:pt idx="46975">0</cx:pt>
          <cx:pt idx="46976">1</cx:pt>
          <cx:pt idx="46977">0</cx:pt>
          <cx:pt idx="46978">0</cx:pt>
          <cx:pt idx="46979">0</cx:pt>
          <cx:pt idx="46980">0</cx:pt>
          <cx:pt idx="46981">0</cx:pt>
          <cx:pt idx="46982">0</cx:pt>
          <cx:pt idx="46983">0</cx:pt>
          <cx:pt idx="46984">0</cx:pt>
          <cx:pt idx="46985">0</cx:pt>
          <cx:pt idx="46986">0</cx:pt>
          <cx:pt idx="46987">1</cx:pt>
          <cx:pt idx="46988">1</cx:pt>
          <cx:pt idx="46989">0</cx:pt>
          <cx:pt idx="46990">0</cx:pt>
          <cx:pt idx="46991">0</cx:pt>
          <cx:pt idx="46992">0</cx:pt>
          <cx:pt idx="46993">0</cx:pt>
          <cx:pt idx="46994">0</cx:pt>
          <cx:pt idx="46995">0</cx:pt>
          <cx:pt idx="46996">0</cx:pt>
          <cx:pt idx="46997">1</cx:pt>
          <cx:pt idx="46998">0</cx:pt>
          <cx:pt idx="46999">1</cx:pt>
          <cx:pt idx="47000">1</cx:pt>
          <cx:pt idx="47001">1</cx:pt>
          <cx:pt idx="47002">0</cx:pt>
          <cx:pt idx="47003">1</cx:pt>
          <cx:pt idx="47004">1</cx:pt>
          <cx:pt idx="47005">0</cx:pt>
          <cx:pt idx="47006">1</cx:pt>
          <cx:pt idx="47007">0</cx:pt>
          <cx:pt idx="47008">0</cx:pt>
          <cx:pt idx="47009">0</cx:pt>
          <cx:pt idx="47010">0</cx:pt>
          <cx:pt idx="47011">0</cx:pt>
          <cx:pt idx="47012">1</cx:pt>
          <cx:pt idx="47013">0</cx:pt>
          <cx:pt idx="47014">0</cx:pt>
          <cx:pt idx="47015">0</cx:pt>
          <cx:pt idx="47016">0</cx:pt>
          <cx:pt idx="47017">1</cx:pt>
          <cx:pt idx="47018">0</cx:pt>
          <cx:pt idx="47019">0</cx:pt>
          <cx:pt idx="47020">0</cx:pt>
          <cx:pt idx="47021">0</cx:pt>
          <cx:pt idx="47022">0</cx:pt>
          <cx:pt idx="47023">0</cx:pt>
          <cx:pt idx="47024">0</cx:pt>
          <cx:pt idx="47025">0</cx:pt>
          <cx:pt idx="47026">1</cx:pt>
          <cx:pt idx="47027">0</cx:pt>
          <cx:pt idx="47028">0</cx:pt>
          <cx:pt idx="47029">0</cx:pt>
          <cx:pt idx="47030">0</cx:pt>
          <cx:pt idx="47031">1</cx:pt>
          <cx:pt idx="47032">0</cx:pt>
          <cx:pt idx="47033">0</cx:pt>
          <cx:pt idx="47034">1</cx:pt>
          <cx:pt idx="47035">0</cx:pt>
          <cx:pt idx="47036">0</cx:pt>
          <cx:pt idx="47037">0</cx:pt>
          <cx:pt idx="47038">0</cx:pt>
          <cx:pt idx="47039">0</cx:pt>
          <cx:pt idx="47040">1</cx:pt>
          <cx:pt idx="47041">0</cx:pt>
          <cx:pt idx="47042">0</cx:pt>
          <cx:pt idx="47043">0</cx:pt>
          <cx:pt idx="47044">0</cx:pt>
          <cx:pt idx="47045">0</cx:pt>
          <cx:pt idx="47046">0</cx:pt>
          <cx:pt idx="47047">0</cx:pt>
          <cx:pt idx="47048">0</cx:pt>
          <cx:pt idx="47049">0</cx:pt>
          <cx:pt idx="47050">0</cx:pt>
          <cx:pt idx="47051">0</cx:pt>
          <cx:pt idx="47052">1</cx:pt>
          <cx:pt idx="47053">0</cx:pt>
          <cx:pt idx="47054">0</cx:pt>
          <cx:pt idx="47055">0</cx:pt>
          <cx:pt idx="47056">0</cx:pt>
          <cx:pt idx="47057">1</cx:pt>
          <cx:pt idx="47058">0</cx:pt>
          <cx:pt idx="47059">0</cx:pt>
          <cx:pt idx="47060">0</cx:pt>
          <cx:pt idx="47061">1</cx:pt>
          <cx:pt idx="47062">0</cx:pt>
          <cx:pt idx="47063">0</cx:pt>
          <cx:pt idx="47064">1</cx:pt>
          <cx:pt idx="47065">1</cx:pt>
          <cx:pt idx="47066">1</cx:pt>
          <cx:pt idx="47067">0</cx:pt>
          <cx:pt idx="47068">1</cx:pt>
          <cx:pt idx="47069">0</cx:pt>
          <cx:pt idx="47070">0</cx:pt>
          <cx:pt idx="47071">0</cx:pt>
          <cx:pt idx="47072">1</cx:pt>
          <cx:pt idx="47073">1</cx:pt>
          <cx:pt idx="47074">0</cx:pt>
          <cx:pt idx="47075">0</cx:pt>
          <cx:pt idx="47076">1</cx:pt>
          <cx:pt idx="47077">0</cx:pt>
          <cx:pt idx="47078">0</cx:pt>
          <cx:pt idx="47079">0</cx:pt>
          <cx:pt idx="47080">1</cx:pt>
          <cx:pt idx="47081">1</cx:pt>
          <cx:pt idx="47082">0</cx:pt>
          <cx:pt idx="47083">1</cx:pt>
          <cx:pt idx="47084">0</cx:pt>
          <cx:pt idx="47085">0</cx:pt>
          <cx:pt idx="47086">0</cx:pt>
          <cx:pt idx="47087">1</cx:pt>
          <cx:pt idx="47088">0</cx:pt>
          <cx:pt idx="47089">1</cx:pt>
          <cx:pt idx="47090">0</cx:pt>
          <cx:pt idx="47091">0</cx:pt>
          <cx:pt idx="47092">0</cx:pt>
          <cx:pt idx="47093">1</cx:pt>
          <cx:pt idx="47094">1</cx:pt>
          <cx:pt idx="47095">0</cx:pt>
          <cx:pt idx="47096">0</cx:pt>
          <cx:pt idx="47097">1</cx:pt>
          <cx:pt idx="47098">0</cx:pt>
          <cx:pt idx="47099">1</cx:pt>
          <cx:pt idx="47100">0</cx:pt>
          <cx:pt idx="47101">0</cx:pt>
          <cx:pt idx="47102">0</cx:pt>
          <cx:pt idx="47103">0</cx:pt>
          <cx:pt idx="47104">1</cx:pt>
          <cx:pt idx="47105">0</cx:pt>
          <cx:pt idx="47106">1</cx:pt>
          <cx:pt idx="47107">1</cx:pt>
          <cx:pt idx="47108">1</cx:pt>
          <cx:pt idx="47109">0</cx:pt>
          <cx:pt idx="47110">1</cx:pt>
          <cx:pt idx="47111">0</cx:pt>
          <cx:pt idx="47112">0</cx:pt>
          <cx:pt idx="47113">1</cx:pt>
          <cx:pt idx="47114">1</cx:pt>
          <cx:pt idx="47115">1</cx:pt>
          <cx:pt idx="47116">1</cx:pt>
          <cx:pt idx="47117">0</cx:pt>
          <cx:pt idx="47118">0</cx:pt>
          <cx:pt idx="47119">0</cx:pt>
          <cx:pt idx="47120">0</cx:pt>
          <cx:pt idx="47121">1</cx:pt>
          <cx:pt idx="47122">1</cx:pt>
          <cx:pt idx="47123">0</cx:pt>
          <cx:pt idx="47124">1</cx:pt>
          <cx:pt idx="47125">0</cx:pt>
          <cx:pt idx="47126">0</cx:pt>
          <cx:pt idx="47127">0</cx:pt>
          <cx:pt idx="47128">0</cx:pt>
          <cx:pt idx="47129">1</cx:pt>
          <cx:pt idx="47130">1</cx:pt>
          <cx:pt idx="47131">0</cx:pt>
          <cx:pt idx="47132">1</cx:pt>
          <cx:pt idx="47133">1</cx:pt>
          <cx:pt idx="47134">1</cx:pt>
          <cx:pt idx="47135">1</cx:pt>
          <cx:pt idx="47136">0</cx:pt>
          <cx:pt idx="47137">1</cx:pt>
          <cx:pt idx="47138">1</cx:pt>
          <cx:pt idx="47139">0</cx:pt>
          <cx:pt idx="47140">1</cx:pt>
          <cx:pt idx="47141">0</cx:pt>
          <cx:pt idx="47142">0</cx:pt>
          <cx:pt idx="47143">1</cx:pt>
          <cx:pt idx="47144">1</cx:pt>
          <cx:pt idx="47145">0</cx:pt>
          <cx:pt idx="47146">1</cx:pt>
          <cx:pt idx="47147">0</cx:pt>
          <cx:pt idx="47148">1</cx:pt>
          <cx:pt idx="47149">0</cx:pt>
          <cx:pt idx="47150">1</cx:pt>
          <cx:pt idx="47151">1</cx:pt>
          <cx:pt idx="47152">0</cx:pt>
          <cx:pt idx="47153">0</cx:pt>
          <cx:pt idx="47154">1</cx:pt>
          <cx:pt idx="47155">0</cx:pt>
          <cx:pt idx="47156">1</cx:pt>
          <cx:pt idx="47157">0</cx:pt>
          <cx:pt idx="47158">1</cx:pt>
          <cx:pt idx="47159">1</cx:pt>
          <cx:pt idx="47160">0</cx:pt>
          <cx:pt idx="47161">0</cx:pt>
          <cx:pt idx="47162">0</cx:pt>
          <cx:pt idx="47163">0</cx:pt>
          <cx:pt idx="47164">1</cx:pt>
          <cx:pt idx="47165">0</cx:pt>
          <cx:pt idx="47166">0</cx:pt>
          <cx:pt idx="47167">1</cx:pt>
          <cx:pt idx="47168">1</cx:pt>
          <cx:pt idx="47169">1</cx:pt>
          <cx:pt idx="47170">0</cx:pt>
          <cx:pt idx="47171">0</cx:pt>
          <cx:pt idx="47172">0</cx:pt>
          <cx:pt idx="47173">0</cx:pt>
          <cx:pt idx="47174">0</cx:pt>
          <cx:pt idx="47175">0</cx:pt>
          <cx:pt idx="47176">0</cx:pt>
          <cx:pt idx="47177">0</cx:pt>
          <cx:pt idx="47178">1</cx:pt>
          <cx:pt idx="47179">1</cx:pt>
          <cx:pt idx="47180">0</cx:pt>
          <cx:pt idx="47181">0</cx:pt>
          <cx:pt idx="47182">0</cx:pt>
          <cx:pt idx="47183">1</cx:pt>
          <cx:pt idx="47184">1</cx:pt>
          <cx:pt idx="47185">1</cx:pt>
          <cx:pt idx="47186">0</cx:pt>
          <cx:pt idx="47187">1</cx:pt>
          <cx:pt idx="47188">1</cx:pt>
          <cx:pt idx="47189">1</cx:pt>
          <cx:pt idx="47190">1</cx:pt>
          <cx:pt idx="47191">0</cx:pt>
          <cx:pt idx="47192">1</cx:pt>
          <cx:pt idx="47193">0</cx:pt>
          <cx:pt idx="47194">1</cx:pt>
          <cx:pt idx="47195">1</cx:pt>
          <cx:pt idx="47196">0</cx:pt>
          <cx:pt idx="47197">1</cx:pt>
          <cx:pt idx="47198">1</cx:pt>
          <cx:pt idx="47199">1</cx:pt>
          <cx:pt idx="47200">0</cx:pt>
          <cx:pt idx="47201">1</cx:pt>
          <cx:pt idx="47202">0</cx:pt>
          <cx:pt idx="47203">0</cx:pt>
          <cx:pt idx="47204">0</cx:pt>
          <cx:pt idx="47205">0</cx:pt>
          <cx:pt idx="47206">1</cx:pt>
          <cx:pt idx="47207">1</cx:pt>
          <cx:pt idx="47208">0</cx:pt>
          <cx:pt idx="47209">0</cx:pt>
          <cx:pt idx="47210">1</cx:pt>
          <cx:pt idx="47211">0</cx:pt>
          <cx:pt idx="47212">0</cx:pt>
          <cx:pt idx="47213">0</cx:pt>
          <cx:pt idx="47214">1</cx:pt>
          <cx:pt idx="47215">0</cx:pt>
          <cx:pt idx="47216">0</cx:pt>
          <cx:pt idx="47217">1</cx:pt>
          <cx:pt idx="47218">0</cx:pt>
          <cx:pt idx="47219">0</cx:pt>
          <cx:pt idx="47220">0</cx:pt>
          <cx:pt idx="47221">0</cx:pt>
          <cx:pt idx="47222">1</cx:pt>
          <cx:pt idx="47223">0</cx:pt>
          <cx:pt idx="47224">1</cx:pt>
          <cx:pt idx="47225">1</cx:pt>
          <cx:pt idx="47226">1</cx:pt>
          <cx:pt idx="47227">0</cx:pt>
          <cx:pt idx="47228">0</cx:pt>
          <cx:pt idx="47229">1</cx:pt>
          <cx:pt idx="47230">0</cx:pt>
          <cx:pt idx="47231">0</cx:pt>
          <cx:pt idx="47232">0</cx:pt>
          <cx:pt idx="47233">1</cx:pt>
          <cx:pt idx="47234">1</cx:pt>
          <cx:pt idx="47235">0</cx:pt>
          <cx:pt idx="47236">0</cx:pt>
          <cx:pt idx="47237">0</cx:pt>
          <cx:pt idx="47238">1</cx:pt>
          <cx:pt idx="47239">0</cx:pt>
          <cx:pt idx="47240">0</cx:pt>
          <cx:pt idx="47241">1</cx:pt>
          <cx:pt idx="47242">0</cx:pt>
          <cx:pt idx="47243">0</cx:pt>
          <cx:pt idx="47244">1</cx:pt>
          <cx:pt idx="47245">0</cx:pt>
          <cx:pt idx="47246">0</cx:pt>
          <cx:pt idx="47247">0</cx:pt>
          <cx:pt idx="47248">0</cx:pt>
          <cx:pt idx="47249">1</cx:pt>
          <cx:pt idx="47250">1</cx:pt>
          <cx:pt idx="47251">1</cx:pt>
          <cx:pt idx="47252">0</cx:pt>
          <cx:pt idx="47253">0</cx:pt>
          <cx:pt idx="47254">1</cx:pt>
          <cx:pt idx="47255">1</cx:pt>
          <cx:pt idx="47256">0</cx:pt>
          <cx:pt idx="47257">0</cx:pt>
          <cx:pt idx="47258">1</cx:pt>
          <cx:pt idx="47259">1</cx:pt>
          <cx:pt idx="47260">0</cx:pt>
          <cx:pt idx="47261">0</cx:pt>
          <cx:pt idx="47262">0</cx:pt>
          <cx:pt idx="47263">0</cx:pt>
          <cx:pt idx="47264">0</cx:pt>
          <cx:pt idx="47265">0</cx:pt>
          <cx:pt idx="47266">0</cx:pt>
          <cx:pt idx="47267">1</cx:pt>
          <cx:pt idx="47268">0</cx:pt>
          <cx:pt idx="47269">0</cx:pt>
          <cx:pt idx="47270">0</cx:pt>
          <cx:pt idx="47271">1</cx:pt>
          <cx:pt idx="47272">0</cx:pt>
          <cx:pt idx="47273">1</cx:pt>
          <cx:pt idx="47274">0</cx:pt>
          <cx:pt idx="47275">1</cx:pt>
          <cx:pt idx="47276">0</cx:pt>
          <cx:pt idx="47277">0</cx:pt>
          <cx:pt idx="47278">1</cx:pt>
          <cx:pt idx="47279">0</cx:pt>
          <cx:pt idx="47280">1</cx:pt>
          <cx:pt idx="47281">0</cx:pt>
          <cx:pt idx="47282">1</cx:pt>
          <cx:pt idx="47283">1</cx:pt>
          <cx:pt idx="47284">0</cx:pt>
          <cx:pt idx="47285">0</cx:pt>
          <cx:pt idx="47286">0</cx:pt>
          <cx:pt idx="47287">0</cx:pt>
          <cx:pt idx="47288">0</cx:pt>
          <cx:pt idx="47289">0</cx:pt>
          <cx:pt idx="47290">1</cx:pt>
          <cx:pt idx="47291">0</cx:pt>
          <cx:pt idx="47292">0</cx:pt>
          <cx:pt idx="47293">1</cx:pt>
          <cx:pt idx="47294">1</cx:pt>
          <cx:pt idx="47295">1</cx:pt>
          <cx:pt idx="47296">1</cx:pt>
          <cx:pt idx="47297">1</cx:pt>
          <cx:pt idx="47298">0</cx:pt>
          <cx:pt idx="47299">1</cx:pt>
          <cx:pt idx="47300">1</cx:pt>
          <cx:pt idx="47301">0</cx:pt>
          <cx:pt idx="47302">1</cx:pt>
          <cx:pt idx="47303">1</cx:pt>
          <cx:pt idx="47304">1</cx:pt>
          <cx:pt idx="47305">0</cx:pt>
          <cx:pt idx="47306">0</cx:pt>
          <cx:pt idx="47307">1</cx:pt>
          <cx:pt idx="47308">0</cx:pt>
          <cx:pt idx="47309">1</cx:pt>
          <cx:pt idx="47310">0</cx:pt>
          <cx:pt idx="47311">0</cx:pt>
          <cx:pt idx="47312">1</cx:pt>
          <cx:pt idx="47313">1</cx:pt>
          <cx:pt idx="47314">1</cx:pt>
          <cx:pt idx="47315">0</cx:pt>
          <cx:pt idx="47316">0</cx:pt>
          <cx:pt idx="47317">0</cx:pt>
          <cx:pt idx="47318">0</cx:pt>
          <cx:pt idx="47319">1</cx:pt>
          <cx:pt idx="47320">0</cx:pt>
          <cx:pt idx="47321">1</cx:pt>
          <cx:pt idx="47322">0</cx:pt>
          <cx:pt idx="47323">1</cx:pt>
          <cx:pt idx="47324">0</cx:pt>
          <cx:pt idx="47325">0</cx:pt>
          <cx:pt idx="47326">1</cx:pt>
          <cx:pt idx="47327">1</cx:pt>
          <cx:pt idx="47328">0</cx:pt>
          <cx:pt idx="47329">1</cx:pt>
          <cx:pt idx="47330">1</cx:pt>
          <cx:pt idx="47331">1</cx:pt>
          <cx:pt idx="47332">0</cx:pt>
          <cx:pt idx="47333">1</cx:pt>
          <cx:pt idx="47334">1</cx:pt>
          <cx:pt idx="47335">0</cx:pt>
          <cx:pt idx="47336">1</cx:pt>
          <cx:pt idx="47337">1</cx:pt>
          <cx:pt idx="47338">1</cx:pt>
          <cx:pt idx="47339">1</cx:pt>
          <cx:pt idx="47340">0</cx:pt>
          <cx:pt idx="47341">1</cx:pt>
          <cx:pt idx="47342">1</cx:pt>
          <cx:pt idx="47343">0</cx:pt>
          <cx:pt idx="47344">0</cx:pt>
          <cx:pt idx="47345">0</cx:pt>
          <cx:pt idx="47346">0</cx:pt>
          <cx:pt idx="47347">0</cx:pt>
          <cx:pt idx="47348">0</cx:pt>
          <cx:pt idx="47349">0</cx:pt>
          <cx:pt idx="47350">0</cx:pt>
          <cx:pt idx="47351">0</cx:pt>
          <cx:pt idx="47352">0</cx:pt>
          <cx:pt idx="47353">1</cx:pt>
          <cx:pt idx="47354">0</cx:pt>
          <cx:pt idx="47355">1</cx:pt>
          <cx:pt idx="47356">0</cx:pt>
          <cx:pt idx="47357">0</cx:pt>
          <cx:pt idx="47358">0</cx:pt>
          <cx:pt idx="47359">0</cx:pt>
          <cx:pt idx="47360">1</cx:pt>
          <cx:pt idx="47361">0</cx:pt>
          <cx:pt idx="47362">0</cx:pt>
          <cx:pt idx="47363">0</cx:pt>
          <cx:pt idx="47364">0</cx:pt>
          <cx:pt idx="47365">0</cx:pt>
          <cx:pt idx="47366">1</cx:pt>
          <cx:pt idx="47367">1</cx:pt>
          <cx:pt idx="47368">1</cx:pt>
          <cx:pt idx="47369">0</cx:pt>
          <cx:pt idx="47370">0</cx:pt>
          <cx:pt idx="47371">0</cx:pt>
          <cx:pt idx="47372">1</cx:pt>
          <cx:pt idx="47373">1</cx:pt>
          <cx:pt idx="47374">1</cx:pt>
          <cx:pt idx="47375">0</cx:pt>
          <cx:pt idx="47376">1</cx:pt>
          <cx:pt idx="47377">1</cx:pt>
          <cx:pt idx="47378">0</cx:pt>
          <cx:pt idx="47379">1</cx:pt>
          <cx:pt idx="47380">1</cx:pt>
          <cx:pt idx="47381">0</cx:pt>
          <cx:pt idx="47382">0</cx:pt>
          <cx:pt idx="47383">0</cx:pt>
          <cx:pt idx="47384">0</cx:pt>
          <cx:pt idx="47385">1</cx:pt>
          <cx:pt idx="47386">0</cx:pt>
          <cx:pt idx="47387">1</cx:pt>
          <cx:pt idx="47388">1</cx:pt>
          <cx:pt idx="47389">1</cx:pt>
          <cx:pt idx="47390">0</cx:pt>
          <cx:pt idx="47391">0</cx:pt>
          <cx:pt idx="47392">0</cx:pt>
          <cx:pt idx="47393">1</cx:pt>
          <cx:pt idx="47394">0</cx:pt>
          <cx:pt idx="47395">0</cx:pt>
          <cx:pt idx="47396">0</cx:pt>
          <cx:pt idx="47397">1</cx:pt>
          <cx:pt idx="47398">0</cx:pt>
          <cx:pt idx="47399">1</cx:pt>
          <cx:pt idx="47400">1</cx:pt>
          <cx:pt idx="47401">0</cx:pt>
          <cx:pt idx="47402">1</cx:pt>
          <cx:pt idx="47403">1</cx:pt>
          <cx:pt idx="47404">1</cx:pt>
          <cx:pt idx="47405">0</cx:pt>
          <cx:pt idx="47406">1</cx:pt>
          <cx:pt idx="47407">0</cx:pt>
          <cx:pt idx="47408">1</cx:pt>
          <cx:pt idx="47409">0</cx:pt>
          <cx:pt idx="47410">1</cx:pt>
          <cx:pt idx="47411">1</cx:pt>
          <cx:pt idx="47412">1</cx:pt>
          <cx:pt idx="47413">0</cx:pt>
          <cx:pt idx="47414">0</cx:pt>
          <cx:pt idx="47415">0</cx:pt>
          <cx:pt idx="47416">1</cx:pt>
          <cx:pt idx="47417">1</cx:pt>
          <cx:pt idx="47418">1</cx:pt>
          <cx:pt idx="47419">1</cx:pt>
          <cx:pt idx="47420">0</cx:pt>
          <cx:pt idx="47421">1</cx:pt>
          <cx:pt idx="47422">1</cx:pt>
          <cx:pt idx="47423">1</cx:pt>
          <cx:pt idx="47424">0</cx:pt>
          <cx:pt idx="47425">0</cx:pt>
          <cx:pt idx="47426">0</cx:pt>
          <cx:pt idx="47427">0</cx:pt>
          <cx:pt idx="47428">0</cx:pt>
          <cx:pt idx="47429">0</cx:pt>
          <cx:pt idx="47430">0</cx:pt>
          <cx:pt idx="47431">0</cx:pt>
          <cx:pt idx="47432">0</cx:pt>
          <cx:pt idx="47433">0</cx:pt>
          <cx:pt idx="47434">0</cx:pt>
          <cx:pt idx="47435">0</cx:pt>
          <cx:pt idx="47436">1</cx:pt>
          <cx:pt idx="47437">0</cx:pt>
          <cx:pt idx="47438">0</cx:pt>
          <cx:pt idx="47439">0</cx:pt>
          <cx:pt idx="47440">0</cx:pt>
          <cx:pt idx="47441">0</cx:pt>
          <cx:pt idx="47442">1</cx:pt>
          <cx:pt idx="47443">0</cx:pt>
          <cx:pt idx="47444">0</cx:pt>
          <cx:pt idx="47445">1</cx:pt>
          <cx:pt idx="47446">0</cx:pt>
          <cx:pt idx="47447">0</cx:pt>
          <cx:pt idx="47448">1</cx:pt>
          <cx:pt idx="47449">0</cx:pt>
          <cx:pt idx="47450">0</cx:pt>
          <cx:pt idx="47451">0</cx:pt>
          <cx:pt idx="47452">1</cx:pt>
          <cx:pt idx="47453">0</cx:pt>
          <cx:pt idx="47454">1</cx:pt>
          <cx:pt idx="47455">0</cx:pt>
          <cx:pt idx="47456">0</cx:pt>
          <cx:pt idx="47457">0</cx:pt>
          <cx:pt idx="47458">1</cx:pt>
          <cx:pt idx="47459">0</cx:pt>
          <cx:pt idx="47460">1</cx:pt>
          <cx:pt idx="47461">1</cx:pt>
          <cx:pt idx="47462">0</cx:pt>
          <cx:pt idx="47463">0</cx:pt>
          <cx:pt idx="47464">1</cx:pt>
          <cx:pt idx="47465">1</cx:pt>
          <cx:pt idx="47466">0</cx:pt>
          <cx:pt idx="47467">1</cx:pt>
          <cx:pt idx="47468">0</cx:pt>
          <cx:pt idx="47469">1</cx:pt>
          <cx:pt idx="47470">0</cx:pt>
          <cx:pt idx="47471">1</cx:pt>
          <cx:pt idx="47472">1</cx:pt>
          <cx:pt idx="47473">0</cx:pt>
          <cx:pt idx="47474">1</cx:pt>
          <cx:pt idx="47475">0</cx:pt>
          <cx:pt idx="47476">0</cx:pt>
          <cx:pt idx="47477">0</cx:pt>
          <cx:pt idx="47478">1</cx:pt>
          <cx:pt idx="47479">0</cx:pt>
          <cx:pt idx="47480">1</cx:pt>
          <cx:pt idx="47481">1</cx:pt>
          <cx:pt idx="47482">1</cx:pt>
          <cx:pt idx="47483">1</cx:pt>
          <cx:pt idx="47484">0</cx:pt>
          <cx:pt idx="47485">0</cx:pt>
          <cx:pt idx="47486">1</cx:pt>
          <cx:pt idx="47487">0</cx:pt>
          <cx:pt idx="47488">0</cx:pt>
          <cx:pt idx="47489">0</cx:pt>
          <cx:pt idx="47490">0</cx:pt>
          <cx:pt idx="47491">0</cx:pt>
          <cx:pt idx="47492">1</cx:pt>
          <cx:pt idx="47493">0</cx:pt>
          <cx:pt idx="47494">0</cx:pt>
          <cx:pt idx="47495">0</cx:pt>
          <cx:pt idx="47496">0</cx:pt>
          <cx:pt idx="47497">1</cx:pt>
          <cx:pt idx="47498">1</cx:pt>
          <cx:pt idx="47499">0</cx:pt>
          <cx:pt idx="47500">0</cx:pt>
          <cx:pt idx="47501">1</cx:pt>
          <cx:pt idx="47502">0</cx:pt>
          <cx:pt idx="47503">0</cx:pt>
          <cx:pt idx="47504">1</cx:pt>
          <cx:pt idx="47505">1</cx:pt>
          <cx:pt idx="47506">0</cx:pt>
          <cx:pt idx="47507">0</cx:pt>
          <cx:pt idx="47508">0</cx:pt>
          <cx:pt idx="47509">1</cx:pt>
          <cx:pt idx="47510">1</cx:pt>
          <cx:pt idx="47511">1</cx:pt>
          <cx:pt idx="47512">0</cx:pt>
          <cx:pt idx="47513">0</cx:pt>
          <cx:pt idx="47514">0</cx:pt>
          <cx:pt idx="47515">0</cx:pt>
          <cx:pt idx="47516">0</cx:pt>
          <cx:pt idx="47517">0</cx:pt>
          <cx:pt idx="47518">0</cx:pt>
          <cx:pt idx="47519">0</cx:pt>
          <cx:pt idx="47520">1</cx:pt>
          <cx:pt idx="47521">0</cx:pt>
          <cx:pt idx="47522">0</cx:pt>
          <cx:pt idx="47523">0</cx:pt>
          <cx:pt idx="47524">0</cx:pt>
          <cx:pt idx="47525">1</cx:pt>
          <cx:pt idx="47526">0</cx:pt>
          <cx:pt idx="47527">0</cx:pt>
          <cx:pt idx="47528">0</cx:pt>
          <cx:pt idx="47529">1</cx:pt>
          <cx:pt idx="47530">0</cx:pt>
          <cx:pt idx="47531">1</cx:pt>
          <cx:pt idx="47532">0</cx:pt>
          <cx:pt idx="47533">0</cx:pt>
          <cx:pt idx="47534">1</cx:pt>
          <cx:pt idx="47535">1</cx:pt>
          <cx:pt idx="47536">1</cx:pt>
          <cx:pt idx="47537">0</cx:pt>
          <cx:pt idx="47538">1</cx:pt>
          <cx:pt idx="47539">0</cx:pt>
          <cx:pt idx="47540">1</cx:pt>
          <cx:pt idx="47541">0</cx:pt>
          <cx:pt idx="47542">1</cx:pt>
          <cx:pt idx="47543">1</cx:pt>
          <cx:pt idx="47544">1</cx:pt>
          <cx:pt idx="47545">0</cx:pt>
          <cx:pt idx="47546">0</cx:pt>
          <cx:pt idx="47547">0</cx:pt>
          <cx:pt idx="47548">0</cx:pt>
          <cx:pt idx="47549">0</cx:pt>
          <cx:pt idx="47550">0</cx:pt>
          <cx:pt idx="47551">1</cx:pt>
          <cx:pt idx="47552">1</cx:pt>
          <cx:pt idx="47553">1</cx:pt>
          <cx:pt idx="47554">0</cx:pt>
          <cx:pt idx="47555">1</cx:pt>
          <cx:pt idx="47556">0</cx:pt>
          <cx:pt idx="47557">0</cx:pt>
          <cx:pt idx="47558">1</cx:pt>
          <cx:pt idx="47559">0</cx:pt>
          <cx:pt idx="47560">1</cx:pt>
          <cx:pt idx="47561">0</cx:pt>
          <cx:pt idx="47562">1</cx:pt>
          <cx:pt idx="47563">1</cx:pt>
          <cx:pt idx="47564">0</cx:pt>
          <cx:pt idx="47565">1</cx:pt>
          <cx:pt idx="47566">1</cx:pt>
          <cx:pt idx="47567">0</cx:pt>
          <cx:pt idx="47568">1</cx:pt>
          <cx:pt idx="47569">0</cx:pt>
          <cx:pt idx="47570">1</cx:pt>
          <cx:pt idx="47571">1</cx:pt>
          <cx:pt idx="47572">0</cx:pt>
          <cx:pt idx="47573">0</cx:pt>
          <cx:pt idx="47574">1</cx:pt>
          <cx:pt idx="47575">0</cx:pt>
          <cx:pt idx="47576">0</cx:pt>
          <cx:pt idx="47577">0</cx:pt>
          <cx:pt idx="47578">1</cx:pt>
          <cx:pt idx="47579">0</cx:pt>
          <cx:pt idx="47580">1</cx:pt>
          <cx:pt idx="47581">0</cx:pt>
          <cx:pt idx="47582">1</cx:pt>
          <cx:pt idx="47583">1</cx:pt>
          <cx:pt idx="47584">1</cx:pt>
          <cx:pt idx="47585">0</cx:pt>
          <cx:pt idx="47586">0</cx:pt>
          <cx:pt idx="47587">0</cx:pt>
          <cx:pt idx="47588">0</cx:pt>
          <cx:pt idx="47589">0</cx:pt>
          <cx:pt idx="47590">1</cx:pt>
          <cx:pt idx="47591">0</cx:pt>
          <cx:pt idx="47592">0</cx:pt>
          <cx:pt idx="47593">0</cx:pt>
          <cx:pt idx="47594">0</cx:pt>
          <cx:pt idx="47595">0</cx:pt>
          <cx:pt idx="47596">1</cx:pt>
          <cx:pt idx="47597">1</cx:pt>
          <cx:pt idx="47598">0</cx:pt>
          <cx:pt idx="47599">1</cx:pt>
          <cx:pt idx="47600">1</cx:pt>
          <cx:pt idx="47601">1</cx:pt>
          <cx:pt idx="47602">1</cx:pt>
          <cx:pt idx="47603">1</cx:pt>
          <cx:pt idx="47604">1</cx:pt>
          <cx:pt idx="47605">0</cx:pt>
          <cx:pt idx="47606">1</cx:pt>
          <cx:pt idx="47607">1</cx:pt>
          <cx:pt idx="47608">1</cx:pt>
          <cx:pt idx="47609">0</cx:pt>
          <cx:pt idx="47610">1</cx:pt>
          <cx:pt idx="47611">1</cx:pt>
          <cx:pt idx="47612">1</cx:pt>
          <cx:pt idx="47613">0</cx:pt>
          <cx:pt idx="47614">0</cx:pt>
          <cx:pt idx="47615">0</cx:pt>
          <cx:pt idx="47616">0</cx:pt>
          <cx:pt idx="47617">1</cx:pt>
          <cx:pt idx="47618">0</cx:pt>
          <cx:pt idx="47619">1</cx:pt>
          <cx:pt idx="47620">0</cx:pt>
          <cx:pt idx="47621">0</cx:pt>
          <cx:pt idx="47622">0</cx:pt>
          <cx:pt idx="47623">1</cx:pt>
          <cx:pt idx="47624">0</cx:pt>
          <cx:pt idx="47625">1</cx:pt>
          <cx:pt idx="47626">1</cx:pt>
          <cx:pt idx="47627">0</cx:pt>
          <cx:pt idx="47628">0</cx:pt>
          <cx:pt idx="47629">0</cx:pt>
          <cx:pt idx="47630">0</cx:pt>
          <cx:pt idx="47631">1</cx:pt>
          <cx:pt idx="47632">1</cx:pt>
          <cx:pt idx="47633">1</cx:pt>
          <cx:pt idx="47634">1</cx:pt>
          <cx:pt idx="47635">0</cx:pt>
          <cx:pt idx="47636">1</cx:pt>
          <cx:pt idx="47637">1</cx:pt>
          <cx:pt idx="47638">0</cx:pt>
          <cx:pt idx="47639">1</cx:pt>
          <cx:pt idx="47640">1</cx:pt>
          <cx:pt idx="47641">0</cx:pt>
          <cx:pt idx="47642">0</cx:pt>
          <cx:pt idx="47643">1</cx:pt>
          <cx:pt idx="47644">0</cx:pt>
          <cx:pt idx="47645">0</cx:pt>
          <cx:pt idx="47646">1</cx:pt>
          <cx:pt idx="47647">1</cx:pt>
          <cx:pt idx="47648">1</cx:pt>
          <cx:pt idx="47649">1</cx:pt>
          <cx:pt idx="47650">0</cx:pt>
          <cx:pt idx="47651">1</cx:pt>
          <cx:pt idx="47652">1</cx:pt>
          <cx:pt idx="47653">0</cx:pt>
          <cx:pt idx="47654">0</cx:pt>
          <cx:pt idx="47655">1</cx:pt>
          <cx:pt idx="47656">0</cx:pt>
          <cx:pt idx="47657">1</cx:pt>
          <cx:pt idx="47658">1</cx:pt>
          <cx:pt idx="47659">1</cx:pt>
          <cx:pt idx="47660">0</cx:pt>
          <cx:pt idx="47661">1</cx:pt>
          <cx:pt idx="47662">0</cx:pt>
          <cx:pt idx="47663">1</cx:pt>
          <cx:pt idx="47664">0</cx:pt>
          <cx:pt idx="47665">0</cx:pt>
          <cx:pt idx="47666">1</cx:pt>
          <cx:pt idx="47667">1</cx:pt>
          <cx:pt idx="47668">0</cx:pt>
          <cx:pt idx="47669">1</cx:pt>
          <cx:pt idx="47670">0</cx:pt>
          <cx:pt idx="47671">0</cx:pt>
          <cx:pt idx="47672">1</cx:pt>
          <cx:pt idx="47673">0</cx:pt>
          <cx:pt idx="47674">1</cx:pt>
          <cx:pt idx="47675">0</cx:pt>
          <cx:pt idx="47676">1</cx:pt>
          <cx:pt idx="47677">1</cx:pt>
          <cx:pt idx="47678">1</cx:pt>
          <cx:pt idx="47679">0</cx:pt>
          <cx:pt idx="47680">0</cx:pt>
          <cx:pt idx="47681">0</cx:pt>
          <cx:pt idx="47682">1</cx:pt>
          <cx:pt idx="47683">0</cx:pt>
          <cx:pt idx="47684">1</cx:pt>
          <cx:pt idx="47685">0</cx:pt>
          <cx:pt idx="47686">1</cx:pt>
          <cx:pt idx="47687">0</cx:pt>
          <cx:pt idx="47688">0</cx:pt>
          <cx:pt idx="47689">1</cx:pt>
          <cx:pt idx="47690">0</cx:pt>
          <cx:pt idx="47691">1</cx:pt>
          <cx:pt idx="47692">0</cx:pt>
          <cx:pt idx="47693">0</cx:pt>
          <cx:pt idx="47694">0</cx:pt>
          <cx:pt idx="47695">1</cx:pt>
          <cx:pt idx="47696">0</cx:pt>
          <cx:pt idx="47697">0</cx:pt>
          <cx:pt idx="47698">0</cx:pt>
          <cx:pt idx="47699">1</cx:pt>
          <cx:pt idx="47700">0</cx:pt>
          <cx:pt idx="47701">1</cx:pt>
          <cx:pt idx="47702">1</cx:pt>
          <cx:pt idx="47703">0</cx:pt>
          <cx:pt idx="47704">1</cx:pt>
          <cx:pt idx="47705">0</cx:pt>
          <cx:pt idx="47706">1</cx:pt>
          <cx:pt idx="47707">1</cx:pt>
          <cx:pt idx="47708">1</cx:pt>
          <cx:pt idx="47709">0</cx:pt>
          <cx:pt idx="47710">0</cx:pt>
          <cx:pt idx="47711">0</cx:pt>
          <cx:pt idx="47712">0</cx:pt>
          <cx:pt idx="47713">0</cx:pt>
          <cx:pt idx="47714">1</cx:pt>
          <cx:pt idx="47715">1</cx:pt>
          <cx:pt idx="47716">0</cx:pt>
          <cx:pt idx="47717">1</cx:pt>
          <cx:pt idx="47718">0</cx:pt>
          <cx:pt idx="47719">1</cx:pt>
          <cx:pt idx="47720">0</cx:pt>
          <cx:pt idx="47721">1</cx:pt>
          <cx:pt idx="47722">0</cx:pt>
          <cx:pt idx="47723">0</cx:pt>
          <cx:pt idx="47724">1</cx:pt>
          <cx:pt idx="47725">0</cx:pt>
          <cx:pt idx="47726">0</cx:pt>
          <cx:pt idx="47727">0</cx:pt>
          <cx:pt idx="47728">0</cx:pt>
          <cx:pt idx="47729">0</cx:pt>
          <cx:pt idx="47730">0</cx:pt>
          <cx:pt idx="47731">0</cx:pt>
          <cx:pt idx="47732">0</cx:pt>
          <cx:pt idx="47733">0</cx:pt>
          <cx:pt idx="47734">0</cx:pt>
          <cx:pt idx="47735">0</cx:pt>
          <cx:pt idx="47736">0</cx:pt>
          <cx:pt idx="47737">1</cx:pt>
          <cx:pt idx="47738">0</cx:pt>
          <cx:pt idx="47739">0</cx:pt>
          <cx:pt idx="47740">0</cx:pt>
          <cx:pt idx="47741">0</cx:pt>
          <cx:pt idx="47742">0</cx:pt>
          <cx:pt idx="47743">0</cx:pt>
          <cx:pt idx="47744">1</cx:pt>
          <cx:pt idx="47745">0</cx:pt>
          <cx:pt idx="47746">1</cx:pt>
          <cx:pt idx="47747">0</cx:pt>
          <cx:pt idx="47748">1</cx:pt>
          <cx:pt idx="47749">0</cx:pt>
          <cx:pt idx="47750">1</cx:pt>
          <cx:pt idx="47751">1</cx:pt>
          <cx:pt idx="47752">0</cx:pt>
          <cx:pt idx="47753">0</cx:pt>
          <cx:pt idx="47754">0</cx:pt>
          <cx:pt idx="47755">0</cx:pt>
          <cx:pt idx="47756">1</cx:pt>
          <cx:pt idx="47757">0</cx:pt>
          <cx:pt idx="47758">0</cx:pt>
          <cx:pt idx="47759">1</cx:pt>
          <cx:pt idx="47760">0</cx:pt>
          <cx:pt idx="47761">0</cx:pt>
          <cx:pt idx="47762">0</cx:pt>
          <cx:pt idx="47763">0</cx:pt>
          <cx:pt idx="47764">1</cx:pt>
          <cx:pt idx="47765">1</cx:pt>
          <cx:pt idx="47766">0</cx:pt>
          <cx:pt idx="47767">1</cx:pt>
          <cx:pt idx="47768">0</cx:pt>
          <cx:pt idx="47769">0</cx:pt>
          <cx:pt idx="47770">1</cx:pt>
          <cx:pt idx="47771">0</cx:pt>
          <cx:pt idx="47772">0</cx:pt>
          <cx:pt idx="47773">1</cx:pt>
          <cx:pt idx="47774">1</cx:pt>
          <cx:pt idx="47775">0</cx:pt>
          <cx:pt idx="47776">1</cx:pt>
          <cx:pt idx="47777">1</cx:pt>
          <cx:pt idx="47778">0</cx:pt>
          <cx:pt idx="47779">1</cx:pt>
          <cx:pt idx="47780">0</cx:pt>
          <cx:pt idx="47781">0</cx:pt>
          <cx:pt idx="47782">0</cx:pt>
          <cx:pt idx="47783">0</cx:pt>
          <cx:pt idx="47784">0</cx:pt>
          <cx:pt idx="47785">0</cx:pt>
          <cx:pt idx="47786">1</cx:pt>
          <cx:pt idx="47787">1</cx:pt>
          <cx:pt idx="47788">1</cx:pt>
          <cx:pt idx="47789">1</cx:pt>
          <cx:pt idx="47790">0</cx:pt>
          <cx:pt idx="47791">1</cx:pt>
          <cx:pt idx="47792">1</cx:pt>
          <cx:pt idx="47793">0</cx:pt>
          <cx:pt idx="47794">1</cx:pt>
          <cx:pt idx="47795">0</cx:pt>
          <cx:pt idx="47796">0</cx:pt>
          <cx:pt idx="47797">0</cx:pt>
          <cx:pt idx="47798">1</cx:pt>
          <cx:pt idx="47799">1</cx:pt>
          <cx:pt idx="47800">0</cx:pt>
          <cx:pt idx="47801">1</cx:pt>
          <cx:pt idx="47802">0</cx:pt>
          <cx:pt idx="47803">1</cx:pt>
          <cx:pt idx="47804">1</cx:pt>
          <cx:pt idx="47805">1</cx:pt>
          <cx:pt idx="47806">1</cx:pt>
          <cx:pt idx="47807">1</cx:pt>
          <cx:pt idx="47808">0</cx:pt>
          <cx:pt idx="47809">1</cx:pt>
          <cx:pt idx="47810">0</cx:pt>
          <cx:pt idx="47811">0</cx:pt>
          <cx:pt idx="47812">1</cx:pt>
          <cx:pt idx="47813">0</cx:pt>
          <cx:pt idx="47814">0</cx:pt>
          <cx:pt idx="47815">0</cx:pt>
          <cx:pt idx="47816">0</cx:pt>
          <cx:pt idx="47817">1</cx:pt>
          <cx:pt idx="47818">0</cx:pt>
          <cx:pt idx="47819">0</cx:pt>
          <cx:pt idx="47820">0</cx:pt>
          <cx:pt idx="47821">0</cx:pt>
          <cx:pt idx="47822">1</cx:pt>
          <cx:pt idx="47823">1</cx:pt>
          <cx:pt idx="47824">1</cx:pt>
          <cx:pt idx="47825">1</cx:pt>
          <cx:pt idx="47826">0</cx:pt>
          <cx:pt idx="47827">0</cx:pt>
          <cx:pt idx="47828">1</cx:pt>
          <cx:pt idx="47829">0</cx:pt>
          <cx:pt idx="47830">0</cx:pt>
          <cx:pt idx="47831">0</cx:pt>
          <cx:pt idx="47832">1</cx:pt>
          <cx:pt idx="47833">0</cx:pt>
          <cx:pt idx="47834">0</cx:pt>
          <cx:pt idx="47835">0</cx:pt>
          <cx:pt idx="47836">1</cx:pt>
          <cx:pt idx="47837">0</cx:pt>
          <cx:pt idx="47838">1</cx:pt>
          <cx:pt idx="47839">0</cx:pt>
          <cx:pt idx="47840">0</cx:pt>
          <cx:pt idx="47841">0</cx:pt>
          <cx:pt idx="47842">1</cx:pt>
          <cx:pt idx="47843">0</cx:pt>
          <cx:pt idx="47844">0</cx:pt>
          <cx:pt idx="47845">0</cx:pt>
          <cx:pt idx="47846">1</cx:pt>
          <cx:pt idx="47847">1</cx:pt>
          <cx:pt idx="47848">1</cx:pt>
          <cx:pt idx="47849">1</cx:pt>
          <cx:pt idx="47850">0</cx:pt>
          <cx:pt idx="47851">0</cx:pt>
          <cx:pt idx="47852">0</cx:pt>
          <cx:pt idx="47853">0</cx:pt>
          <cx:pt idx="47854">0</cx:pt>
          <cx:pt idx="47855">0</cx:pt>
          <cx:pt idx="47856">0</cx:pt>
          <cx:pt idx="47857">1</cx:pt>
          <cx:pt idx="47858">0</cx:pt>
          <cx:pt idx="47859">0</cx:pt>
          <cx:pt idx="47860">0</cx:pt>
          <cx:pt idx="47861">0</cx:pt>
          <cx:pt idx="47862">1</cx:pt>
          <cx:pt idx="47863">0</cx:pt>
          <cx:pt idx="47864">0</cx:pt>
          <cx:pt idx="47865">1</cx:pt>
          <cx:pt idx="47866">1</cx:pt>
          <cx:pt idx="47867">1</cx:pt>
          <cx:pt idx="47868">0</cx:pt>
          <cx:pt idx="47869">1</cx:pt>
          <cx:pt idx="47870">0</cx:pt>
          <cx:pt idx="47871">0</cx:pt>
          <cx:pt idx="47872">0</cx:pt>
          <cx:pt idx="47873">0</cx:pt>
          <cx:pt idx="47874">0</cx:pt>
          <cx:pt idx="47875">0</cx:pt>
          <cx:pt idx="47876">0</cx:pt>
          <cx:pt idx="47877">0</cx:pt>
          <cx:pt idx="47878">1</cx:pt>
          <cx:pt idx="47879">0</cx:pt>
          <cx:pt idx="47880">1</cx:pt>
          <cx:pt idx="47881">0</cx:pt>
          <cx:pt idx="47882">0</cx:pt>
          <cx:pt idx="47883">1</cx:pt>
          <cx:pt idx="47884">0</cx:pt>
          <cx:pt idx="47885">1</cx:pt>
          <cx:pt idx="47886">0</cx:pt>
          <cx:pt idx="47887">1</cx:pt>
          <cx:pt idx="47888">1</cx:pt>
          <cx:pt idx="47889">1</cx:pt>
          <cx:pt idx="47890">1</cx:pt>
          <cx:pt idx="47891">1</cx:pt>
          <cx:pt idx="47892">0</cx:pt>
          <cx:pt idx="47893">1</cx:pt>
          <cx:pt idx="47894">0</cx:pt>
          <cx:pt idx="47895">1</cx:pt>
          <cx:pt idx="47896">1</cx:pt>
          <cx:pt idx="47897">1</cx:pt>
          <cx:pt idx="47898">0</cx:pt>
          <cx:pt idx="47899">0</cx:pt>
          <cx:pt idx="47900">0</cx:pt>
          <cx:pt idx="47901">1</cx:pt>
          <cx:pt idx="47902">0</cx:pt>
          <cx:pt idx="47903">1</cx:pt>
          <cx:pt idx="47904">1</cx:pt>
          <cx:pt idx="47905">1</cx:pt>
          <cx:pt idx="47906">0</cx:pt>
          <cx:pt idx="47907">1</cx:pt>
          <cx:pt idx="47908">0</cx:pt>
          <cx:pt idx="47909">1</cx:pt>
          <cx:pt idx="47910">0</cx:pt>
          <cx:pt idx="47911">0</cx:pt>
          <cx:pt idx="47912">1</cx:pt>
          <cx:pt idx="47913">0</cx:pt>
          <cx:pt idx="47914">1</cx:pt>
          <cx:pt idx="47915">1</cx:pt>
          <cx:pt idx="47916">1</cx:pt>
          <cx:pt idx="47917">0</cx:pt>
          <cx:pt idx="47918">0</cx:pt>
          <cx:pt idx="47919">0</cx:pt>
          <cx:pt idx="47920">0</cx:pt>
          <cx:pt idx="47921">0</cx:pt>
          <cx:pt idx="47922">0</cx:pt>
          <cx:pt idx="47923">0</cx:pt>
          <cx:pt idx="47924">1</cx:pt>
          <cx:pt idx="47925">1</cx:pt>
          <cx:pt idx="47926">1</cx:pt>
          <cx:pt idx="47927">0</cx:pt>
          <cx:pt idx="47928">1</cx:pt>
          <cx:pt idx="47929">1</cx:pt>
          <cx:pt idx="47930">0</cx:pt>
          <cx:pt idx="47931">1</cx:pt>
          <cx:pt idx="47932">0</cx:pt>
          <cx:pt idx="47933">0</cx:pt>
          <cx:pt idx="47934">1</cx:pt>
          <cx:pt idx="47935">0</cx:pt>
          <cx:pt idx="47936">1</cx:pt>
          <cx:pt idx="47937">1</cx:pt>
          <cx:pt idx="47938">0</cx:pt>
          <cx:pt idx="47939">1</cx:pt>
          <cx:pt idx="47940">0</cx:pt>
          <cx:pt idx="47941">1</cx:pt>
          <cx:pt idx="47942">1</cx:pt>
          <cx:pt idx="47943">0</cx:pt>
          <cx:pt idx="47944">1</cx:pt>
          <cx:pt idx="47945">1</cx:pt>
          <cx:pt idx="47946">1</cx:pt>
          <cx:pt idx="47947">1</cx:pt>
          <cx:pt idx="47948">0</cx:pt>
          <cx:pt idx="47949">0</cx:pt>
          <cx:pt idx="47950">0</cx:pt>
          <cx:pt idx="47951">0</cx:pt>
          <cx:pt idx="47952">0</cx:pt>
          <cx:pt idx="47953">0</cx:pt>
          <cx:pt idx="47954">1</cx:pt>
          <cx:pt idx="47955">0</cx:pt>
          <cx:pt idx="47956">1</cx:pt>
          <cx:pt idx="47957">0</cx:pt>
          <cx:pt idx="47958">1</cx:pt>
          <cx:pt idx="47959">0</cx:pt>
          <cx:pt idx="47960">1</cx:pt>
          <cx:pt idx="47961">0</cx:pt>
          <cx:pt idx="47962">0</cx:pt>
          <cx:pt idx="47963">1</cx:pt>
          <cx:pt idx="47964">0</cx:pt>
          <cx:pt idx="47965">0</cx:pt>
          <cx:pt idx="47966">0</cx:pt>
          <cx:pt idx="47967">1</cx:pt>
          <cx:pt idx="47968">0</cx:pt>
          <cx:pt idx="47969">0</cx:pt>
          <cx:pt idx="47970">1</cx:pt>
          <cx:pt idx="47971">0</cx:pt>
          <cx:pt idx="47972">1</cx:pt>
          <cx:pt idx="47973">1</cx:pt>
          <cx:pt idx="47974">1</cx:pt>
          <cx:pt idx="47975">1</cx:pt>
          <cx:pt idx="47976">0</cx:pt>
          <cx:pt idx="47977">0</cx:pt>
          <cx:pt idx="47978">0</cx:pt>
          <cx:pt idx="47979">0</cx:pt>
          <cx:pt idx="47980">1</cx:pt>
          <cx:pt idx="47981">0</cx:pt>
          <cx:pt idx="47982">1</cx:pt>
          <cx:pt idx="47983">1</cx:pt>
          <cx:pt idx="47984">1</cx:pt>
          <cx:pt idx="47985">0</cx:pt>
          <cx:pt idx="47986">0</cx:pt>
          <cx:pt idx="47987">1</cx:pt>
          <cx:pt idx="47988">0</cx:pt>
          <cx:pt idx="47989">1</cx:pt>
          <cx:pt idx="47990">1</cx:pt>
          <cx:pt idx="47991">0</cx:pt>
          <cx:pt idx="47992">1</cx:pt>
          <cx:pt idx="47993">1</cx:pt>
          <cx:pt idx="47994">1</cx:pt>
          <cx:pt idx="47995">1</cx:pt>
          <cx:pt idx="47996">1</cx:pt>
          <cx:pt idx="47997">1</cx:pt>
          <cx:pt idx="47998">0</cx:pt>
          <cx:pt idx="47999">0</cx:pt>
          <cx:pt idx="48000">0</cx:pt>
          <cx:pt idx="48001">0</cx:pt>
          <cx:pt idx="48002">0</cx:pt>
          <cx:pt idx="48003">1</cx:pt>
          <cx:pt idx="48004">1</cx:pt>
          <cx:pt idx="48005">0</cx:pt>
          <cx:pt idx="48006">1</cx:pt>
          <cx:pt idx="48007">1</cx:pt>
          <cx:pt idx="48008">0</cx:pt>
          <cx:pt idx="48009">0</cx:pt>
          <cx:pt idx="48010">0</cx:pt>
          <cx:pt idx="48011">0</cx:pt>
          <cx:pt idx="48012">0</cx:pt>
          <cx:pt idx="48013">0</cx:pt>
          <cx:pt idx="48014">1</cx:pt>
          <cx:pt idx="48015">0</cx:pt>
          <cx:pt idx="48016">1</cx:pt>
          <cx:pt idx="48017">0</cx:pt>
          <cx:pt idx="48018">0</cx:pt>
          <cx:pt idx="48019">0</cx:pt>
          <cx:pt idx="48020">0</cx:pt>
          <cx:pt idx="48021">0</cx:pt>
          <cx:pt idx="48022">0</cx:pt>
          <cx:pt idx="48023">1</cx:pt>
          <cx:pt idx="48024">0</cx:pt>
          <cx:pt idx="48025">0</cx:pt>
          <cx:pt idx="48026">0</cx:pt>
          <cx:pt idx="48027">1</cx:pt>
          <cx:pt idx="48028">1</cx:pt>
          <cx:pt idx="48029">0</cx:pt>
          <cx:pt idx="48030">1</cx:pt>
          <cx:pt idx="48031">0</cx:pt>
          <cx:pt idx="48032">1</cx:pt>
          <cx:pt idx="48033">0</cx:pt>
          <cx:pt idx="48034">1</cx:pt>
          <cx:pt idx="48035">0</cx:pt>
          <cx:pt idx="48036">0</cx:pt>
          <cx:pt idx="48037">0</cx:pt>
          <cx:pt idx="48038">0</cx:pt>
          <cx:pt idx="48039">0</cx:pt>
          <cx:pt idx="48040">1</cx:pt>
          <cx:pt idx="48041">0</cx:pt>
          <cx:pt idx="48042">0</cx:pt>
          <cx:pt idx="48043">1</cx:pt>
          <cx:pt idx="48044">0</cx:pt>
          <cx:pt idx="48045">0</cx:pt>
          <cx:pt idx="48046">0</cx:pt>
          <cx:pt idx="48047">1</cx:pt>
          <cx:pt idx="48048">0</cx:pt>
          <cx:pt idx="48049">1</cx:pt>
          <cx:pt idx="48050">0</cx:pt>
          <cx:pt idx="48051">0</cx:pt>
          <cx:pt idx="48052">0</cx:pt>
          <cx:pt idx="48053">0</cx:pt>
          <cx:pt idx="48054">0</cx:pt>
          <cx:pt idx="48055">1</cx:pt>
          <cx:pt idx="48056">0</cx:pt>
          <cx:pt idx="48057">0</cx:pt>
          <cx:pt idx="48058">1</cx:pt>
          <cx:pt idx="48059">1</cx:pt>
          <cx:pt idx="48060">1</cx:pt>
          <cx:pt idx="48061">0</cx:pt>
          <cx:pt idx="48062">0</cx:pt>
          <cx:pt idx="48063">0</cx:pt>
          <cx:pt idx="48064">0</cx:pt>
          <cx:pt idx="48065">0</cx:pt>
          <cx:pt idx="48066">0</cx:pt>
          <cx:pt idx="48067">0</cx:pt>
          <cx:pt idx="48068">1</cx:pt>
          <cx:pt idx="48069">1</cx:pt>
          <cx:pt idx="48070">0</cx:pt>
          <cx:pt idx="48071">1</cx:pt>
          <cx:pt idx="48072">0</cx:pt>
          <cx:pt idx="48073">0</cx:pt>
          <cx:pt idx="48074">1</cx:pt>
          <cx:pt idx="48075">0</cx:pt>
          <cx:pt idx="48076">0</cx:pt>
          <cx:pt idx="48077">0</cx:pt>
          <cx:pt idx="48078">0</cx:pt>
          <cx:pt idx="48079">0</cx:pt>
          <cx:pt idx="48080">0</cx:pt>
          <cx:pt idx="48081">0</cx:pt>
          <cx:pt idx="48082">0</cx:pt>
          <cx:pt idx="48083">1</cx:pt>
          <cx:pt idx="48084">0</cx:pt>
          <cx:pt idx="48085">1</cx:pt>
          <cx:pt idx="48086">0</cx:pt>
          <cx:pt idx="48087">1</cx:pt>
          <cx:pt idx="48088">1</cx:pt>
          <cx:pt idx="48089">0</cx:pt>
          <cx:pt idx="48090">0</cx:pt>
          <cx:pt idx="48091">1</cx:pt>
          <cx:pt idx="48092">0</cx:pt>
          <cx:pt idx="48093">1</cx:pt>
          <cx:pt idx="48094">1</cx:pt>
          <cx:pt idx="48095">0</cx:pt>
          <cx:pt idx="48096">1</cx:pt>
          <cx:pt idx="48097">1</cx:pt>
          <cx:pt idx="48098">0</cx:pt>
          <cx:pt idx="48099">0</cx:pt>
          <cx:pt idx="48100">1</cx:pt>
          <cx:pt idx="48101">0</cx:pt>
          <cx:pt idx="48102">0</cx:pt>
          <cx:pt idx="48103">1</cx:pt>
          <cx:pt idx="48104">0</cx:pt>
          <cx:pt idx="48105">0</cx:pt>
          <cx:pt idx="48106">0</cx:pt>
          <cx:pt idx="48107">1</cx:pt>
          <cx:pt idx="48108">0</cx:pt>
          <cx:pt idx="48109">0</cx:pt>
          <cx:pt idx="48110">0</cx:pt>
          <cx:pt idx="48111">0</cx:pt>
          <cx:pt idx="48112">0</cx:pt>
          <cx:pt idx="48113">1</cx:pt>
          <cx:pt idx="48114">1</cx:pt>
          <cx:pt idx="48115">1</cx:pt>
          <cx:pt idx="48116">0</cx:pt>
          <cx:pt idx="48117">1</cx:pt>
          <cx:pt idx="48118">1</cx:pt>
          <cx:pt idx="48119">1</cx:pt>
          <cx:pt idx="48120">0</cx:pt>
          <cx:pt idx="48121">1</cx:pt>
          <cx:pt idx="48122">0</cx:pt>
          <cx:pt idx="48123">1</cx:pt>
          <cx:pt idx="48124">0</cx:pt>
          <cx:pt idx="48125">1</cx:pt>
          <cx:pt idx="48126">1</cx:pt>
          <cx:pt idx="48127">1</cx:pt>
          <cx:pt idx="48128">0</cx:pt>
          <cx:pt idx="48129">1</cx:pt>
          <cx:pt idx="48130">1</cx:pt>
          <cx:pt idx="48131">0</cx:pt>
          <cx:pt idx="48132">0</cx:pt>
          <cx:pt idx="48133">0</cx:pt>
          <cx:pt idx="48134">0</cx:pt>
          <cx:pt idx="48135">0</cx:pt>
          <cx:pt idx="48136">0</cx:pt>
          <cx:pt idx="48137">1</cx:pt>
          <cx:pt idx="48138">0</cx:pt>
          <cx:pt idx="48139">0</cx:pt>
          <cx:pt idx="48140">0</cx:pt>
          <cx:pt idx="48141">1</cx:pt>
          <cx:pt idx="48142">1</cx:pt>
          <cx:pt idx="48143">0</cx:pt>
          <cx:pt idx="48144">1</cx:pt>
          <cx:pt idx="48145">0</cx:pt>
          <cx:pt idx="48146">0</cx:pt>
          <cx:pt idx="48147">0</cx:pt>
          <cx:pt idx="48148">0</cx:pt>
          <cx:pt idx="48149">0</cx:pt>
          <cx:pt idx="48150">0</cx:pt>
          <cx:pt idx="48151">1</cx:pt>
          <cx:pt idx="48152">0</cx:pt>
          <cx:pt idx="48153">1</cx:pt>
          <cx:pt idx="48154">0</cx:pt>
          <cx:pt idx="48155">1</cx:pt>
          <cx:pt idx="48156">0</cx:pt>
          <cx:pt idx="48157">0</cx:pt>
          <cx:pt idx="48158">0</cx:pt>
          <cx:pt idx="48159">1</cx:pt>
          <cx:pt idx="48160">1</cx:pt>
          <cx:pt idx="48161">0</cx:pt>
          <cx:pt idx="48162">1</cx:pt>
          <cx:pt idx="48163">0</cx:pt>
          <cx:pt idx="48164">0</cx:pt>
          <cx:pt idx="48165">0</cx:pt>
          <cx:pt idx="48166">1</cx:pt>
          <cx:pt idx="48167">0</cx:pt>
          <cx:pt idx="48168">0</cx:pt>
          <cx:pt idx="48169">0</cx:pt>
          <cx:pt idx="48170">1</cx:pt>
          <cx:pt idx="48171">0</cx:pt>
          <cx:pt idx="48172">1</cx:pt>
          <cx:pt idx="48173">1</cx:pt>
          <cx:pt idx="48174">1</cx:pt>
          <cx:pt idx="48175">0</cx:pt>
          <cx:pt idx="48176">1</cx:pt>
          <cx:pt idx="48177">1</cx:pt>
          <cx:pt idx="48178">0</cx:pt>
          <cx:pt idx="48179">0</cx:pt>
          <cx:pt idx="48180">1</cx:pt>
          <cx:pt idx="48181">1</cx:pt>
          <cx:pt idx="48182">0</cx:pt>
          <cx:pt idx="48183">1</cx:pt>
          <cx:pt idx="48184">1</cx:pt>
          <cx:pt idx="48185">0</cx:pt>
          <cx:pt idx="48186">1</cx:pt>
          <cx:pt idx="48187">0</cx:pt>
          <cx:pt idx="48188">0</cx:pt>
          <cx:pt idx="48189">1</cx:pt>
          <cx:pt idx="48190">0</cx:pt>
          <cx:pt idx="48191">1</cx:pt>
          <cx:pt idx="48192">1</cx:pt>
          <cx:pt idx="48193">0</cx:pt>
          <cx:pt idx="48194">1</cx:pt>
          <cx:pt idx="48195">1</cx:pt>
          <cx:pt idx="48196">0</cx:pt>
          <cx:pt idx="48197">1</cx:pt>
          <cx:pt idx="48198">0</cx:pt>
          <cx:pt idx="48199">0</cx:pt>
          <cx:pt idx="48200">0</cx:pt>
          <cx:pt idx="48201">1</cx:pt>
          <cx:pt idx="48202">1</cx:pt>
          <cx:pt idx="48203">1</cx:pt>
          <cx:pt idx="48204">1</cx:pt>
          <cx:pt idx="48205">0</cx:pt>
          <cx:pt idx="48206">0</cx:pt>
          <cx:pt idx="48207">1</cx:pt>
          <cx:pt idx="48208">1</cx:pt>
          <cx:pt idx="48209">1</cx:pt>
          <cx:pt idx="48210">0</cx:pt>
          <cx:pt idx="48211">1</cx:pt>
          <cx:pt idx="48212">1</cx:pt>
          <cx:pt idx="48213">0</cx:pt>
          <cx:pt idx="48214">0</cx:pt>
          <cx:pt idx="48215">1</cx:pt>
          <cx:pt idx="48216">0</cx:pt>
          <cx:pt idx="48217">0</cx:pt>
          <cx:pt idx="48218">1</cx:pt>
          <cx:pt idx="48219">0</cx:pt>
          <cx:pt idx="48220">0</cx:pt>
          <cx:pt idx="48221">0</cx:pt>
          <cx:pt idx="48222">0</cx:pt>
          <cx:pt idx="48223">0</cx:pt>
          <cx:pt idx="48224">1</cx:pt>
          <cx:pt idx="48225">1</cx:pt>
          <cx:pt idx="48226">1</cx:pt>
          <cx:pt idx="48227">1</cx:pt>
          <cx:pt idx="48228">0</cx:pt>
          <cx:pt idx="48229">1</cx:pt>
          <cx:pt idx="48230">0</cx:pt>
          <cx:pt idx="48231">0</cx:pt>
          <cx:pt idx="48232">0</cx:pt>
          <cx:pt idx="48233">1</cx:pt>
          <cx:pt idx="48234">0</cx:pt>
          <cx:pt idx="48235">0</cx:pt>
          <cx:pt idx="48236">0</cx:pt>
          <cx:pt idx="48237">0</cx:pt>
          <cx:pt idx="48238">1</cx:pt>
          <cx:pt idx="48239">1</cx:pt>
          <cx:pt idx="48240">0</cx:pt>
          <cx:pt idx="48241">0</cx:pt>
          <cx:pt idx="48242">0</cx:pt>
          <cx:pt idx="48243">1</cx:pt>
          <cx:pt idx="48244">0</cx:pt>
          <cx:pt idx="48245">1</cx:pt>
          <cx:pt idx="48246">1</cx:pt>
          <cx:pt idx="48247">0</cx:pt>
          <cx:pt idx="48248">0</cx:pt>
          <cx:pt idx="48249">1</cx:pt>
          <cx:pt idx="48250">0</cx:pt>
          <cx:pt idx="48251">0</cx:pt>
          <cx:pt idx="48252">1</cx:pt>
          <cx:pt idx="48253">0</cx:pt>
          <cx:pt idx="48254">0</cx:pt>
          <cx:pt idx="48255">0</cx:pt>
          <cx:pt idx="48256">1</cx:pt>
          <cx:pt idx="48257">0</cx:pt>
          <cx:pt idx="48258">1</cx:pt>
          <cx:pt idx="48259">0</cx:pt>
          <cx:pt idx="48260">0</cx:pt>
          <cx:pt idx="48261">1</cx:pt>
          <cx:pt idx="48262">0</cx:pt>
          <cx:pt idx="48263">1</cx:pt>
          <cx:pt idx="48264">0</cx:pt>
          <cx:pt idx="48265">0</cx:pt>
          <cx:pt idx="48266">0</cx:pt>
          <cx:pt idx="48267">0</cx:pt>
          <cx:pt idx="48268">1</cx:pt>
          <cx:pt idx="48269">0</cx:pt>
          <cx:pt idx="48270">0</cx:pt>
          <cx:pt idx="48271">0</cx:pt>
          <cx:pt idx="48272">0</cx:pt>
          <cx:pt idx="48273">1</cx:pt>
          <cx:pt idx="48274">1</cx:pt>
          <cx:pt idx="48275">0</cx:pt>
          <cx:pt idx="48276">0</cx:pt>
          <cx:pt idx="48277">0</cx:pt>
          <cx:pt idx="48278">1</cx:pt>
          <cx:pt idx="48279">0</cx:pt>
          <cx:pt idx="48280">0</cx:pt>
          <cx:pt idx="48281">0</cx:pt>
          <cx:pt idx="48282">0</cx:pt>
          <cx:pt idx="48283">1</cx:pt>
          <cx:pt idx="48284">0</cx:pt>
          <cx:pt idx="48285">0</cx:pt>
          <cx:pt idx="48286">1</cx:pt>
          <cx:pt idx="48287">0</cx:pt>
          <cx:pt idx="48288">0</cx:pt>
          <cx:pt idx="48289">0</cx:pt>
          <cx:pt idx="48290">0</cx:pt>
          <cx:pt idx="48291">0</cx:pt>
          <cx:pt idx="48292">1</cx:pt>
          <cx:pt idx="48293">1</cx:pt>
          <cx:pt idx="48294">0</cx:pt>
          <cx:pt idx="48295">1</cx:pt>
          <cx:pt idx="48296">0</cx:pt>
          <cx:pt idx="48297">0</cx:pt>
          <cx:pt idx="48298">1</cx:pt>
          <cx:pt idx="48299">0</cx:pt>
          <cx:pt idx="48300">1</cx:pt>
          <cx:pt idx="48301">0</cx:pt>
          <cx:pt idx="48302">1</cx:pt>
          <cx:pt idx="48303">0</cx:pt>
          <cx:pt idx="48304">0</cx:pt>
          <cx:pt idx="48305">1</cx:pt>
          <cx:pt idx="48306">0</cx:pt>
          <cx:pt idx="48307">0</cx:pt>
          <cx:pt idx="48308">1</cx:pt>
          <cx:pt idx="48309">0</cx:pt>
          <cx:pt idx="48310">1</cx:pt>
          <cx:pt idx="48311">1</cx:pt>
          <cx:pt idx="48312">0</cx:pt>
          <cx:pt idx="48313">1</cx:pt>
          <cx:pt idx="48314">0</cx:pt>
          <cx:pt idx="48315">0</cx:pt>
          <cx:pt idx="48316">0</cx:pt>
          <cx:pt idx="48317">0</cx:pt>
          <cx:pt idx="48318">1</cx:pt>
          <cx:pt idx="48319">0</cx:pt>
          <cx:pt idx="48320">0</cx:pt>
          <cx:pt idx="48321">1</cx:pt>
          <cx:pt idx="48322">0</cx:pt>
          <cx:pt idx="48323">1</cx:pt>
          <cx:pt idx="48324">1</cx:pt>
          <cx:pt idx="48325">0</cx:pt>
          <cx:pt idx="48326">0</cx:pt>
          <cx:pt idx="48327">1</cx:pt>
          <cx:pt idx="48328">0</cx:pt>
          <cx:pt idx="48329">0</cx:pt>
          <cx:pt idx="48330">1</cx:pt>
          <cx:pt idx="48331">0</cx:pt>
          <cx:pt idx="48332">1</cx:pt>
          <cx:pt idx="48333">0</cx:pt>
          <cx:pt idx="48334">1</cx:pt>
          <cx:pt idx="48335">0</cx:pt>
          <cx:pt idx="48336">1</cx:pt>
          <cx:pt idx="48337">1</cx:pt>
          <cx:pt idx="48338">0</cx:pt>
          <cx:pt idx="48339">0</cx:pt>
          <cx:pt idx="48340">1</cx:pt>
          <cx:pt idx="48341">1</cx:pt>
          <cx:pt idx="48342">0</cx:pt>
          <cx:pt idx="48343">0</cx:pt>
          <cx:pt idx="48344">1</cx:pt>
          <cx:pt idx="48345">0</cx:pt>
          <cx:pt idx="48346">0</cx:pt>
          <cx:pt idx="48347">0</cx:pt>
          <cx:pt idx="48348">1</cx:pt>
          <cx:pt idx="48349">0</cx:pt>
          <cx:pt idx="48350">0</cx:pt>
          <cx:pt idx="48351">0</cx:pt>
          <cx:pt idx="48352">0</cx:pt>
          <cx:pt idx="48353">0</cx:pt>
          <cx:pt idx="48354">1</cx:pt>
          <cx:pt idx="48355">0</cx:pt>
          <cx:pt idx="48356">0</cx:pt>
          <cx:pt idx="48357">1</cx:pt>
          <cx:pt idx="48358">1</cx:pt>
          <cx:pt idx="48359">0</cx:pt>
          <cx:pt idx="48360">0</cx:pt>
          <cx:pt idx="48361">1</cx:pt>
          <cx:pt idx="48362">0</cx:pt>
          <cx:pt idx="48363">0</cx:pt>
          <cx:pt idx="48364">0</cx:pt>
          <cx:pt idx="48365">1</cx:pt>
          <cx:pt idx="48366">0</cx:pt>
          <cx:pt idx="48367">0</cx:pt>
          <cx:pt idx="48368">1</cx:pt>
          <cx:pt idx="48369">0</cx:pt>
          <cx:pt idx="48370">1</cx:pt>
          <cx:pt idx="48371">1</cx:pt>
          <cx:pt idx="48372">0</cx:pt>
          <cx:pt idx="48373">0</cx:pt>
          <cx:pt idx="48374">0</cx:pt>
          <cx:pt idx="48375">0</cx:pt>
          <cx:pt idx="48376">0</cx:pt>
          <cx:pt idx="48377">0</cx:pt>
          <cx:pt idx="48378">1</cx:pt>
          <cx:pt idx="48379">0</cx:pt>
          <cx:pt idx="48380">0</cx:pt>
          <cx:pt idx="48381">1</cx:pt>
          <cx:pt idx="48382">0</cx:pt>
          <cx:pt idx="48383">0</cx:pt>
          <cx:pt idx="48384">0</cx:pt>
          <cx:pt idx="48385">0</cx:pt>
          <cx:pt idx="48386">0</cx:pt>
          <cx:pt idx="48387">0</cx:pt>
          <cx:pt idx="48388">0</cx:pt>
          <cx:pt idx="48389">1</cx:pt>
          <cx:pt idx="48390">0</cx:pt>
          <cx:pt idx="48391">0</cx:pt>
          <cx:pt idx="48392">0</cx:pt>
          <cx:pt idx="48393">0</cx:pt>
          <cx:pt idx="48394">1</cx:pt>
          <cx:pt idx="48395">0</cx:pt>
          <cx:pt idx="48396">0</cx:pt>
          <cx:pt idx="48397">0</cx:pt>
          <cx:pt idx="48398">1</cx:pt>
          <cx:pt idx="48399">0</cx:pt>
          <cx:pt idx="48400">1</cx:pt>
          <cx:pt idx="48401">0</cx:pt>
          <cx:pt idx="48402">1</cx:pt>
          <cx:pt idx="48403">0</cx:pt>
          <cx:pt idx="48404">1</cx:pt>
          <cx:pt idx="48405">0</cx:pt>
          <cx:pt idx="48406">0</cx:pt>
          <cx:pt idx="48407">1</cx:pt>
          <cx:pt idx="48408">1</cx:pt>
          <cx:pt idx="48409">0</cx:pt>
          <cx:pt idx="48410">1</cx:pt>
          <cx:pt idx="48411">1</cx:pt>
          <cx:pt idx="48412">0</cx:pt>
          <cx:pt idx="48413">1</cx:pt>
          <cx:pt idx="48414">1</cx:pt>
          <cx:pt idx="48415">1</cx:pt>
          <cx:pt idx="48416">0</cx:pt>
          <cx:pt idx="48417">1</cx:pt>
          <cx:pt idx="48418">1</cx:pt>
          <cx:pt idx="48419">0</cx:pt>
          <cx:pt idx="48420">0</cx:pt>
          <cx:pt idx="48421">0</cx:pt>
          <cx:pt idx="48422">1</cx:pt>
          <cx:pt idx="48423">1</cx:pt>
          <cx:pt idx="48424">0</cx:pt>
          <cx:pt idx="48425">0</cx:pt>
          <cx:pt idx="48426">0</cx:pt>
          <cx:pt idx="48427">1</cx:pt>
          <cx:pt idx="48428">0</cx:pt>
          <cx:pt idx="48429">1</cx:pt>
          <cx:pt idx="48430">0</cx:pt>
          <cx:pt idx="48431">0</cx:pt>
          <cx:pt idx="48432">1</cx:pt>
          <cx:pt idx="48433">0</cx:pt>
          <cx:pt idx="48434">0</cx:pt>
          <cx:pt idx="48435">0</cx:pt>
          <cx:pt idx="48436">1</cx:pt>
          <cx:pt idx="48437">0</cx:pt>
          <cx:pt idx="48438">0</cx:pt>
          <cx:pt idx="48439">1</cx:pt>
          <cx:pt idx="48440">1</cx:pt>
          <cx:pt idx="48441">1</cx:pt>
          <cx:pt idx="48442">1</cx:pt>
          <cx:pt idx="48443">1</cx:pt>
          <cx:pt idx="48444">1</cx:pt>
          <cx:pt idx="48445">0</cx:pt>
          <cx:pt idx="48446">0</cx:pt>
          <cx:pt idx="48447">1</cx:pt>
          <cx:pt idx="48448">0</cx:pt>
          <cx:pt idx="48449">1</cx:pt>
          <cx:pt idx="48450">1</cx:pt>
          <cx:pt idx="48451">0</cx:pt>
          <cx:pt idx="48452">0</cx:pt>
          <cx:pt idx="48453">1</cx:pt>
          <cx:pt idx="48454">1</cx:pt>
          <cx:pt idx="48455">1</cx:pt>
          <cx:pt idx="48456">1</cx:pt>
          <cx:pt idx="48457">0</cx:pt>
          <cx:pt idx="48458">0</cx:pt>
          <cx:pt idx="48459">1</cx:pt>
          <cx:pt idx="48460">1</cx:pt>
          <cx:pt idx="48461">0</cx:pt>
          <cx:pt idx="48462">0</cx:pt>
          <cx:pt idx="48463">1</cx:pt>
          <cx:pt idx="48464">0</cx:pt>
          <cx:pt idx="48465">0</cx:pt>
          <cx:pt idx="48466">0</cx:pt>
          <cx:pt idx="48467">0</cx:pt>
          <cx:pt idx="48468">1</cx:pt>
          <cx:pt idx="48469">1</cx:pt>
          <cx:pt idx="48470">1</cx:pt>
          <cx:pt idx="48471">1</cx:pt>
          <cx:pt idx="48472">1</cx:pt>
          <cx:pt idx="48473">1</cx:pt>
          <cx:pt idx="48474">1</cx:pt>
          <cx:pt idx="48475">0</cx:pt>
          <cx:pt idx="48476">1</cx:pt>
          <cx:pt idx="48477">0</cx:pt>
          <cx:pt idx="48478">0</cx:pt>
          <cx:pt idx="48479">1</cx:pt>
          <cx:pt idx="48480">0</cx:pt>
          <cx:pt idx="48481">1</cx:pt>
          <cx:pt idx="48482">0</cx:pt>
          <cx:pt idx="48483">1</cx:pt>
          <cx:pt idx="48484">1</cx:pt>
          <cx:pt idx="48485">1</cx:pt>
          <cx:pt idx="48486">0</cx:pt>
          <cx:pt idx="48487">1</cx:pt>
          <cx:pt idx="48488">0</cx:pt>
          <cx:pt idx="48489">1</cx:pt>
          <cx:pt idx="48490">1</cx:pt>
          <cx:pt idx="48491">0</cx:pt>
          <cx:pt idx="48492">1</cx:pt>
          <cx:pt idx="48493">1</cx:pt>
          <cx:pt idx="48494">0</cx:pt>
          <cx:pt idx="48495">1</cx:pt>
          <cx:pt idx="48496">0</cx:pt>
          <cx:pt idx="48497">1</cx:pt>
          <cx:pt idx="48498">0</cx:pt>
          <cx:pt idx="48499">1</cx:pt>
          <cx:pt idx="48500">0</cx:pt>
          <cx:pt idx="48501">0</cx:pt>
          <cx:pt idx="48502">0</cx:pt>
          <cx:pt idx="48503">1</cx:pt>
          <cx:pt idx="48504">0</cx:pt>
          <cx:pt idx="48505">0</cx:pt>
          <cx:pt idx="48506">1</cx:pt>
          <cx:pt idx="48507">0</cx:pt>
          <cx:pt idx="48508">1</cx:pt>
          <cx:pt idx="48509">1</cx:pt>
          <cx:pt idx="48510">0</cx:pt>
          <cx:pt idx="48511">0</cx:pt>
          <cx:pt idx="48512">1</cx:pt>
          <cx:pt idx="48513">0</cx:pt>
          <cx:pt idx="48514">1</cx:pt>
          <cx:pt idx="48515">0</cx:pt>
          <cx:pt idx="48516">0</cx:pt>
          <cx:pt idx="48517">1</cx:pt>
          <cx:pt idx="48518">1</cx:pt>
          <cx:pt idx="48519">0</cx:pt>
          <cx:pt idx="48520">1</cx:pt>
          <cx:pt idx="48521">0</cx:pt>
          <cx:pt idx="48522">0</cx:pt>
          <cx:pt idx="48523">1</cx:pt>
          <cx:pt idx="48524">0</cx:pt>
          <cx:pt idx="48525">1</cx:pt>
          <cx:pt idx="48526">0</cx:pt>
          <cx:pt idx="48527">0</cx:pt>
          <cx:pt idx="48528">0</cx:pt>
          <cx:pt idx="48529">0</cx:pt>
          <cx:pt idx="48530">0</cx:pt>
          <cx:pt idx="48531">1</cx:pt>
          <cx:pt idx="48532">0</cx:pt>
          <cx:pt idx="48533">1</cx:pt>
          <cx:pt idx="48534">0</cx:pt>
          <cx:pt idx="48535">1</cx:pt>
          <cx:pt idx="48536">1</cx:pt>
          <cx:pt idx="48537">1</cx:pt>
          <cx:pt idx="48538">0</cx:pt>
          <cx:pt idx="48539">0</cx:pt>
          <cx:pt idx="48540">0</cx:pt>
          <cx:pt idx="48541">0</cx:pt>
          <cx:pt idx="48542">1</cx:pt>
          <cx:pt idx="48543">1</cx:pt>
          <cx:pt idx="48544">0</cx:pt>
          <cx:pt idx="48545">0</cx:pt>
          <cx:pt idx="48546">0</cx:pt>
          <cx:pt idx="48547">0</cx:pt>
          <cx:pt idx="48548">0</cx:pt>
          <cx:pt idx="48549">0</cx:pt>
          <cx:pt idx="48550">1</cx:pt>
          <cx:pt idx="48551">1</cx:pt>
          <cx:pt idx="48552">1</cx:pt>
          <cx:pt idx="48553">0</cx:pt>
          <cx:pt idx="48554">0</cx:pt>
          <cx:pt idx="48555">0</cx:pt>
          <cx:pt idx="48556">0</cx:pt>
          <cx:pt idx="48557">1</cx:pt>
          <cx:pt idx="48558">0</cx:pt>
          <cx:pt idx="48559">1</cx:pt>
          <cx:pt idx="48560">0</cx:pt>
          <cx:pt idx="48561">0</cx:pt>
          <cx:pt idx="48562">1</cx:pt>
          <cx:pt idx="48563">0</cx:pt>
          <cx:pt idx="48564">0</cx:pt>
          <cx:pt idx="48565">0</cx:pt>
          <cx:pt idx="48566">1</cx:pt>
          <cx:pt idx="48567">0</cx:pt>
          <cx:pt idx="48568">0</cx:pt>
          <cx:pt idx="48569">0</cx:pt>
          <cx:pt idx="48570">0</cx:pt>
          <cx:pt idx="48571">0</cx:pt>
          <cx:pt idx="48572">1</cx:pt>
          <cx:pt idx="48573">0</cx:pt>
          <cx:pt idx="48574">1</cx:pt>
          <cx:pt idx="48575">0</cx:pt>
          <cx:pt idx="48576">0</cx:pt>
          <cx:pt idx="48577">1</cx:pt>
          <cx:pt idx="48578">0</cx:pt>
          <cx:pt idx="48579">0</cx:pt>
          <cx:pt idx="48580">1</cx:pt>
          <cx:pt idx="48581">0</cx:pt>
          <cx:pt idx="48582">0</cx:pt>
          <cx:pt idx="48583">1</cx:pt>
          <cx:pt idx="48584">0</cx:pt>
          <cx:pt idx="48585">0</cx:pt>
          <cx:pt idx="48586">1</cx:pt>
          <cx:pt idx="48587">0</cx:pt>
          <cx:pt idx="48588">1</cx:pt>
          <cx:pt idx="48589">0</cx:pt>
          <cx:pt idx="48590">1</cx:pt>
          <cx:pt idx="48591">0</cx:pt>
          <cx:pt idx="48592">1</cx:pt>
          <cx:pt idx="48593">0</cx:pt>
          <cx:pt idx="48594">1</cx:pt>
          <cx:pt idx="48595">0</cx:pt>
          <cx:pt idx="48596">0</cx:pt>
          <cx:pt idx="48597">0</cx:pt>
          <cx:pt idx="48598">0</cx:pt>
          <cx:pt idx="48599">0</cx:pt>
          <cx:pt idx="48600">0</cx:pt>
          <cx:pt idx="48601">1</cx:pt>
          <cx:pt idx="48602">1</cx:pt>
          <cx:pt idx="48603">0</cx:pt>
          <cx:pt idx="48604">1</cx:pt>
          <cx:pt idx="48605">1</cx:pt>
          <cx:pt idx="48606">1</cx:pt>
          <cx:pt idx="48607">1</cx:pt>
          <cx:pt idx="48608">0</cx:pt>
          <cx:pt idx="48609">1</cx:pt>
          <cx:pt idx="48610">0</cx:pt>
          <cx:pt idx="48611">1</cx:pt>
          <cx:pt idx="48612">0</cx:pt>
          <cx:pt idx="48613">0</cx:pt>
          <cx:pt idx="48614">1</cx:pt>
          <cx:pt idx="48615">0</cx:pt>
          <cx:pt idx="48616">1</cx:pt>
          <cx:pt idx="48617">0</cx:pt>
          <cx:pt idx="48618">0</cx:pt>
          <cx:pt idx="48619">0</cx:pt>
          <cx:pt idx="48620">0</cx:pt>
          <cx:pt idx="48621">0</cx:pt>
          <cx:pt idx="48622">1</cx:pt>
          <cx:pt idx="48623">1</cx:pt>
          <cx:pt idx="48624">0</cx:pt>
          <cx:pt idx="48625">1</cx:pt>
          <cx:pt idx="48626">1</cx:pt>
          <cx:pt idx="48627">1</cx:pt>
          <cx:pt idx="48628">1</cx:pt>
          <cx:pt idx="48629">0</cx:pt>
          <cx:pt idx="48630">0</cx:pt>
          <cx:pt idx="48631">1</cx:pt>
          <cx:pt idx="48632">0</cx:pt>
          <cx:pt idx="48633">0</cx:pt>
          <cx:pt idx="48634">1</cx:pt>
          <cx:pt idx="48635">0</cx:pt>
          <cx:pt idx="48636">0</cx:pt>
          <cx:pt idx="48637">0</cx:pt>
          <cx:pt idx="48638">0</cx:pt>
          <cx:pt idx="48639">0</cx:pt>
          <cx:pt idx="48640">1</cx:pt>
          <cx:pt idx="48641">0</cx:pt>
          <cx:pt idx="48642">0</cx:pt>
          <cx:pt idx="48643">0</cx:pt>
          <cx:pt idx="48644">1</cx:pt>
          <cx:pt idx="48645">1</cx:pt>
          <cx:pt idx="48646">0</cx:pt>
          <cx:pt idx="48647">0</cx:pt>
          <cx:pt idx="48648">0</cx:pt>
          <cx:pt idx="48649">1</cx:pt>
          <cx:pt idx="48650">0</cx:pt>
          <cx:pt idx="48651">1</cx:pt>
          <cx:pt idx="48652">0</cx:pt>
          <cx:pt idx="48653">0</cx:pt>
          <cx:pt idx="48654">0</cx:pt>
          <cx:pt idx="48655">1</cx:pt>
          <cx:pt idx="48656">1</cx:pt>
          <cx:pt idx="48657">1</cx:pt>
          <cx:pt idx="48658">1</cx:pt>
          <cx:pt idx="48659">0</cx:pt>
          <cx:pt idx="48660">0</cx:pt>
          <cx:pt idx="48661">0</cx:pt>
          <cx:pt idx="48662">0</cx:pt>
          <cx:pt idx="48663">0</cx:pt>
          <cx:pt idx="48664">0</cx:pt>
          <cx:pt idx="48665">0</cx:pt>
          <cx:pt idx="48666">0</cx:pt>
          <cx:pt idx="48667">0</cx:pt>
          <cx:pt idx="48668">0</cx:pt>
          <cx:pt idx="48669">0</cx:pt>
          <cx:pt idx="48670">0</cx:pt>
          <cx:pt idx="48671">0</cx:pt>
          <cx:pt idx="48672">0</cx:pt>
          <cx:pt idx="48673">0</cx:pt>
          <cx:pt idx="48674">0</cx:pt>
          <cx:pt idx="48675">0</cx:pt>
          <cx:pt idx="48676">0</cx:pt>
          <cx:pt idx="48677">0</cx:pt>
          <cx:pt idx="48678">0</cx:pt>
          <cx:pt idx="48679">0</cx:pt>
          <cx:pt idx="48680">0</cx:pt>
          <cx:pt idx="48681">0</cx:pt>
          <cx:pt idx="48682">0</cx:pt>
          <cx:pt idx="48683">1</cx:pt>
          <cx:pt idx="48684">0</cx:pt>
          <cx:pt idx="48685">1</cx:pt>
          <cx:pt idx="48686">1</cx:pt>
          <cx:pt idx="48687">1</cx:pt>
          <cx:pt idx="48688">0</cx:pt>
          <cx:pt idx="48689">0</cx:pt>
          <cx:pt idx="48690">1</cx:pt>
          <cx:pt idx="48691">0</cx:pt>
          <cx:pt idx="48692">1</cx:pt>
          <cx:pt idx="48693">1</cx:pt>
          <cx:pt idx="48694">1</cx:pt>
          <cx:pt idx="48695">1</cx:pt>
          <cx:pt idx="48696">1</cx:pt>
          <cx:pt idx="48697">0</cx:pt>
          <cx:pt idx="48698">0</cx:pt>
          <cx:pt idx="48699">0</cx:pt>
          <cx:pt idx="48700">1</cx:pt>
          <cx:pt idx="48701">0</cx:pt>
          <cx:pt idx="48702">0</cx:pt>
          <cx:pt idx="48703">1</cx:pt>
          <cx:pt idx="48704">1</cx:pt>
          <cx:pt idx="48705">0</cx:pt>
          <cx:pt idx="48706">0</cx:pt>
          <cx:pt idx="48707">1</cx:pt>
          <cx:pt idx="48708">0</cx:pt>
          <cx:pt idx="48709">1</cx:pt>
          <cx:pt idx="48710">0</cx:pt>
          <cx:pt idx="48711">1</cx:pt>
          <cx:pt idx="48712">1</cx:pt>
          <cx:pt idx="48713">1</cx:pt>
          <cx:pt idx="48714">0</cx:pt>
          <cx:pt idx="48715">1</cx:pt>
          <cx:pt idx="48716">1</cx:pt>
          <cx:pt idx="48717">1</cx:pt>
          <cx:pt idx="48718">1</cx:pt>
          <cx:pt idx="48719">0</cx:pt>
          <cx:pt idx="48720">1</cx:pt>
          <cx:pt idx="48721">1</cx:pt>
          <cx:pt idx="48722">1</cx:pt>
          <cx:pt idx="48723">1</cx:pt>
          <cx:pt idx="48724">0</cx:pt>
          <cx:pt idx="48725">1</cx:pt>
          <cx:pt idx="48726">1</cx:pt>
          <cx:pt idx="48727">1</cx:pt>
          <cx:pt idx="48728">0</cx:pt>
          <cx:pt idx="48729">0</cx:pt>
          <cx:pt idx="48730">0</cx:pt>
          <cx:pt idx="48731">0</cx:pt>
          <cx:pt idx="48732">0</cx:pt>
          <cx:pt idx="48733">0</cx:pt>
          <cx:pt idx="48734">0</cx:pt>
          <cx:pt idx="48735">0</cx:pt>
          <cx:pt idx="48736">1</cx:pt>
          <cx:pt idx="48737">1</cx:pt>
          <cx:pt idx="48738">1</cx:pt>
          <cx:pt idx="48739">1</cx:pt>
          <cx:pt idx="48740">0</cx:pt>
          <cx:pt idx="48741">1</cx:pt>
          <cx:pt idx="48742">0</cx:pt>
          <cx:pt idx="48743">0</cx:pt>
          <cx:pt idx="48744">0</cx:pt>
          <cx:pt idx="48745">1</cx:pt>
          <cx:pt idx="48746">1</cx:pt>
          <cx:pt idx="48747">0</cx:pt>
          <cx:pt idx="48748">1</cx:pt>
          <cx:pt idx="48749">0</cx:pt>
          <cx:pt idx="48750">0</cx:pt>
          <cx:pt idx="48751">0</cx:pt>
          <cx:pt idx="48752">1</cx:pt>
          <cx:pt idx="48753">0</cx:pt>
          <cx:pt idx="48754">1</cx:pt>
          <cx:pt idx="48755">1</cx:pt>
          <cx:pt idx="48756">0</cx:pt>
          <cx:pt idx="48757">1</cx:pt>
          <cx:pt idx="48758">1</cx:pt>
          <cx:pt idx="48759">1</cx:pt>
          <cx:pt idx="48760">0</cx:pt>
          <cx:pt idx="48761">0</cx:pt>
          <cx:pt idx="48762">0</cx:pt>
          <cx:pt idx="48763">1</cx:pt>
          <cx:pt idx="48764">0</cx:pt>
          <cx:pt idx="48765">1</cx:pt>
          <cx:pt idx="48766">0</cx:pt>
          <cx:pt idx="48767">0</cx:pt>
          <cx:pt idx="48768">0</cx:pt>
          <cx:pt idx="48769">1</cx:pt>
          <cx:pt idx="48770">1</cx:pt>
          <cx:pt idx="48771">1</cx:pt>
          <cx:pt idx="48772">1</cx:pt>
          <cx:pt idx="48773">1</cx:pt>
          <cx:pt idx="48774">0</cx:pt>
          <cx:pt idx="48775">0</cx:pt>
          <cx:pt idx="48776">0</cx:pt>
          <cx:pt idx="48777">0</cx:pt>
          <cx:pt idx="48778">1</cx:pt>
          <cx:pt idx="48779">0</cx:pt>
          <cx:pt idx="48780">0</cx:pt>
          <cx:pt idx="48781">1</cx:pt>
          <cx:pt idx="48782">0</cx:pt>
          <cx:pt idx="48783">0</cx:pt>
          <cx:pt idx="48784">0</cx:pt>
          <cx:pt idx="48785">0</cx:pt>
          <cx:pt idx="48786">0</cx:pt>
          <cx:pt idx="48787">1</cx:pt>
          <cx:pt idx="48788">1</cx:pt>
          <cx:pt idx="48789">1</cx:pt>
          <cx:pt idx="48790">0</cx:pt>
          <cx:pt idx="48791">0</cx:pt>
          <cx:pt idx="48792">0</cx:pt>
          <cx:pt idx="48793">0</cx:pt>
          <cx:pt idx="48794">1</cx:pt>
          <cx:pt idx="48795">1</cx:pt>
          <cx:pt idx="48796">1</cx:pt>
          <cx:pt idx="48797">1</cx:pt>
          <cx:pt idx="48798">0</cx:pt>
          <cx:pt idx="48799">0</cx:pt>
          <cx:pt idx="48800">0</cx:pt>
          <cx:pt idx="48801">0</cx:pt>
          <cx:pt idx="48802">0</cx:pt>
          <cx:pt idx="48803">1</cx:pt>
          <cx:pt idx="48804">1</cx:pt>
          <cx:pt idx="48805">1</cx:pt>
          <cx:pt idx="48806">0</cx:pt>
          <cx:pt idx="48807">0</cx:pt>
          <cx:pt idx="48808">0</cx:pt>
          <cx:pt idx="48809">1</cx:pt>
          <cx:pt idx="48810">1</cx:pt>
          <cx:pt idx="48811">0</cx:pt>
          <cx:pt idx="48812">0</cx:pt>
          <cx:pt idx="48813">0</cx:pt>
          <cx:pt idx="48814">0</cx:pt>
          <cx:pt idx="48815">0</cx:pt>
          <cx:pt idx="48816">1</cx:pt>
          <cx:pt idx="48817">1</cx:pt>
          <cx:pt idx="48818">1</cx:pt>
          <cx:pt idx="48819">1</cx:pt>
          <cx:pt idx="48820">1</cx:pt>
          <cx:pt idx="48821">0</cx:pt>
          <cx:pt idx="48822">0</cx:pt>
          <cx:pt idx="48823">0</cx:pt>
          <cx:pt idx="48824">1</cx:pt>
          <cx:pt idx="48825">0</cx:pt>
          <cx:pt idx="48826">1</cx:pt>
          <cx:pt idx="48827">1</cx:pt>
          <cx:pt idx="48828">0</cx:pt>
          <cx:pt idx="48829">0</cx:pt>
          <cx:pt idx="48830">1</cx:pt>
          <cx:pt idx="48831">0</cx:pt>
          <cx:pt idx="48832">1</cx:pt>
          <cx:pt idx="48833">1</cx:pt>
          <cx:pt idx="48834">0</cx:pt>
          <cx:pt idx="48835">0</cx:pt>
          <cx:pt idx="48836">1</cx:pt>
          <cx:pt idx="48837">1</cx:pt>
          <cx:pt idx="48838">1</cx:pt>
          <cx:pt idx="48839">1</cx:pt>
          <cx:pt idx="48840">1</cx:pt>
          <cx:pt idx="48841">0</cx:pt>
          <cx:pt idx="48842">1</cx:pt>
          <cx:pt idx="48843">0</cx:pt>
          <cx:pt idx="48844">0</cx:pt>
          <cx:pt idx="48845">1</cx:pt>
          <cx:pt idx="48846">0</cx:pt>
          <cx:pt idx="48847">1</cx:pt>
          <cx:pt idx="48848">1</cx:pt>
          <cx:pt idx="48849">0</cx:pt>
          <cx:pt idx="48850">1</cx:pt>
          <cx:pt idx="48851">1</cx:pt>
          <cx:pt idx="48852">1</cx:pt>
          <cx:pt idx="48853">1</cx:pt>
          <cx:pt idx="48854">0</cx:pt>
          <cx:pt idx="48855">0</cx:pt>
          <cx:pt idx="48856">1</cx:pt>
          <cx:pt idx="48857">0</cx:pt>
          <cx:pt idx="48858">1</cx:pt>
          <cx:pt idx="48859">0</cx:pt>
          <cx:pt idx="48860">1</cx:pt>
          <cx:pt idx="48861">1</cx:pt>
          <cx:pt idx="48862">0</cx:pt>
          <cx:pt idx="48863">0</cx:pt>
          <cx:pt idx="48864">0</cx:pt>
          <cx:pt idx="48865">0</cx:pt>
          <cx:pt idx="48866">1</cx:pt>
          <cx:pt idx="48867">1</cx:pt>
          <cx:pt idx="48868">0</cx:pt>
          <cx:pt idx="48869">0</cx:pt>
          <cx:pt idx="48870">1</cx:pt>
          <cx:pt idx="48871">1</cx:pt>
          <cx:pt idx="48872">0</cx:pt>
          <cx:pt idx="48873">1</cx:pt>
          <cx:pt idx="48874">0</cx:pt>
          <cx:pt idx="48875">0</cx:pt>
          <cx:pt idx="48876">0</cx:pt>
          <cx:pt idx="48877">0</cx:pt>
          <cx:pt idx="48878">1</cx:pt>
          <cx:pt idx="48879">0</cx:pt>
          <cx:pt idx="48880">1</cx:pt>
          <cx:pt idx="48881">0</cx:pt>
          <cx:pt idx="48882">1</cx:pt>
          <cx:pt idx="48883">0</cx:pt>
          <cx:pt idx="48884">1</cx:pt>
          <cx:pt idx="48885">1</cx:pt>
          <cx:pt idx="48886">1</cx:pt>
          <cx:pt idx="48887">0</cx:pt>
          <cx:pt idx="48888">0</cx:pt>
          <cx:pt idx="48889">0</cx:pt>
          <cx:pt idx="48890">1</cx:pt>
          <cx:pt idx="48891">0</cx:pt>
          <cx:pt idx="48892">1</cx:pt>
          <cx:pt idx="48893">0</cx:pt>
          <cx:pt idx="48894">1</cx:pt>
          <cx:pt idx="48895">0</cx:pt>
          <cx:pt idx="48896">0</cx:pt>
          <cx:pt idx="48897">0</cx:pt>
          <cx:pt idx="48898">1</cx:pt>
          <cx:pt idx="48899">1</cx:pt>
          <cx:pt idx="48900">1</cx:pt>
          <cx:pt idx="48901">1</cx:pt>
          <cx:pt idx="48902">1</cx:pt>
          <cx:pt idx="48903">1</cx:pt>
          <cx:pt idx="48904">0</cx:pt>
          <cx:pt idx="48905">0</cx:pt>
          <cx:pt idx="48906">1</cx:pt>
          <cx:pt idx="48907">1</cx:pt>
          <cx:pt idx="48908">0</cx:pt>
          <cx:pt idx="48909">1</cx:pt>
          <cx:pt idx="48910">0</cx:pt>
          <cx:pt idx="48911">0</cx:pt>
          <cx:pt idx="48912">0</cx:pt>
          <cx:pt idx="48913">0</cx:pt>
          <cx:pt idx="48914">0</cx:pt>
          <cx:pt idx="48915">0</cx:pt>
          <cx:pt idx="48916">1</cx:pt>
          <cx:pt idx="48917">0</cx:pt>
          <cx:pt idx="48918">1</cx:pt>
          <cx:pt idx="48919">1</cx:pt>
          <cx:pt idx="48920">0</cx:pt>
          <cx:pt idx="48921">0</cx:pt>
          <cx:pt idx="48922">0</cx:pt>
          <cx:pt idx="48923">1</cx:pt>
          <cx:pt idx="48924">1</cx:pt>
          <cx:pt idx="48925">0</cx:pt>
          <cx:pt idx="48926">0</cx:pt>
          <cx:pt idx="48927">0</cx:pt>
          <cx:pt idx="48928">1</cx:pt>
          <cx:pt idx="48929">0</cx:pt>
          <cx:pt idx="48930">1</cx:pt>
          <cx:pt idx="48931">0</cx:pt>
          <cx:pt idx="48932">0</cx:pt>
          <cx:pt idx="48933">0</cx:pt>
          <cx:pt idx="48934">0</cx:pt>
          <cx:pt idx="48935">0</cx:pt>
          <cx:pt idx="48936">0</cx:pt>
          <cx:pt idx="48937">1</cx:pt>
          <cx:pt idx="48938">0</cx:pt>
          <cx:pt idx="48939">0</cx:pt>
          <cx:pt idx="48940">0</cx:pt>
          <cx:pt idx="48941">0</cx:pt>
          <cx:pt idx="48942">0</cx:pt>
          <cx:pt idx="48943">1</cx:pt>
          <cx:pt idx="48944">0</cx:pt>
          <cx:pt idx="48945">0</cx:pt>
          <cx:pt idx="48946">0</cx:pt>
          <cx:pt idx="48947">0</cx:pt>
          <cx:pt idx="48948">0</cx:pt>
          <cx:pt idx="48949">0</cx:pt>
          <cx:pt idx="48950">1</cx:pt>
          <cx:pt idx="48951">1</cx:pt>
          <cx:pt idx="48952">1</cx:pt>
          <cx:pt idx="48953">0</cx:pt>
          <cx:pt idx="48954">0</cx:pt>
          <cx:pt idx="48955">1</cx:pt>
          <cx:pt idx="48956">0</cx:pt>
          <cx:pt idx="48957">0</cx:pt>
          <cx:pt idx="48958">1</cx:pt>
          <cx:pt idx="48959">1</cx:pt>
          <cx:pt idx="48960">1</cx:pt>
          <cx:pt idx="48961">1</cx:pt>
          <cx:pt idx="48962">0</cx:pt>
          <cx:pt idx="48963">0</cx:pt>
          <cx:pt idx="48964">1</cx:pt>
          <cx:pt idx="48965">0</cx:pt>
          <cx:pt idx="48966">0</cx:pt>
          <cx:pt idx="48967">1</cx:pt>
          <cx:pt idx="48968">0</cx:pt>
          <cx:pt idx="48969">1</cx:pt>
          <cx:pt idx="48970">0</cx:pt>
          <cx:pt idx="48971">0</cx:pt>
          <cx:pt idx="48972">1</cx:pt>
          <cx:pt idx="48973">0</cx:pt>
          <cx:pt idx="48974">1</cx:pt>
          <cx:pt idx="48975">0</cx:pt>
          <cx:pt idx="48976">0</cx:pt>
          <cx:pt idx="48977">0</cx:pt>
          <cx:pt idx="48978">1</cx:pt>
          <cx:pt idx="48979">0</cx:pt>
          <cx:pt idx="48980">0</cx:pt>
          <cx:pt idx="48981">0</cx:pt>
          <cx:pt idx="48982">1</cx:pt>
          <cx:pt idx="48983">0</cx:pt>
          <cx:pt idx="48984">1</cx:pt>
          <cx:pt idx="48985">1</cx:pt>
          <cx:pt idx="48986">0</cx:pt>
          <cx:pt idx="48987">0</cx:pt>
          <cx:pt idx="48988">0</cx:pt>
          <cx:pt idx="48989">1</cx:pt>
          <cx:pt idx="48990">1</cx:pt>
          <cx:pt idx="48991">1</cx:pt>
          <cx:pt idx="48992">1</cx:pt>
          <cx:pt idx="48993">0</cx:pt>
          <cx:pt idx="48994">1</cx:pt>
          <cx:pt idx="48995">0</cx:pt>
          <cx:pt idx="48996">0</cx:pt>
          <cx:pt idx="48997">1</cx:pt>
          <cx:pt idx="48998">0</cx:pt>
          <cx:pt idx="48999">1</cx:pt>
          <cx:pt idx="49000">0</cx:pt>
          <cx:pt idx="49001">1</cx:pt>
          <cx:pt idx="49002">0</cx:pt>
          <cx:pt idx="49003">1</cx:pt>
          <cx:pt idx="49004">1</cx:pt>
          <cx:pt idx="49005">1</cx:pt>
          <cx:pt idx="49006">0</cx:pt>
          <cx:pt idx="49007">1</cx:pt>
          <cx:pt idx="49008">1</cx:pt>
          <cx:pt idx="49009">0</cx:pt>
          <cx:pt idx="49010">1</cx:pt>
          <cx:pt idx="49011">0</cx:pt>
          <cx:pt idx="49012">0</cx:pt>
          <cx:pt idx="49013">1</cx:pt>
          <cx:pt idx="49014">0</cx:pt>
          <cx:pt idx="49015">0</cx:pt>
          <cx:pt idx="49016">0</cx:pt>
          <cx:pt idx="49017">0</cx:pt>
          <cx:pt idx="49018">0</cx:pt>
          <cx:pt idx="49019">0</cx:pt>
          <cx:pt idx="49020">0</cx:pt>
          <cx:pt idx="49021">0</cx:pt>
          <cx:pt idx="49022">0</cx:pt>
          <cx:pt idx="49023">1</cx:pt>
          <cx:pt idx="49024">1</cx:pt>
          <cx:pt idx="49025">0</cx:pt>
          <cx:pt idx="49026">1</cx:pt>
          <cx:pt idx="49027">0</cx:pt>
          <cx:pt idx="49028">0</cx:pt>
          <cx:pt idx="49029">0</cx:pt>
          <cx:pt idx="49030">0</cx:pt>
          <cx:pt idx="49031">0</cx:pt>
          <cx:pt idx="49032">0</cx:pt>
          <cx:pt idx="49033">1</cx:pt>
          <cx:pt idx="49034">1</cx:pt>
          <cx:pt idx="49035">1</cx:pt>
          <cx:pt idx="49036">0</cx:pt>
          <cx:pt idx="49037">0</cx:pt>
          <cx:pt idx="49038">0</cx:pt>
          <cx:pt idx="49039">1</cx:pt>
          <cx:pt idx="49040">0</cx:pt>
          <cx:pt idx="49041">1</cx:pt>
          <cx:pt idx="49042">0</cx:pt>
          <cx:pt idx="49043">0</cx:pt>
          <cx:pt idx="49044">0</cx:pt>
          <cx:pt idx="49045">0</cx:pt>
          <cx:pt idx="49046">1</cx:pt>
          <cx:pt idx="49047">0</cx:pt>
          <cx:pt idx="49048">0</cx:pt>
          <cx:pt idx="49049">0</cx:pt>
          <cx:pt idx="49050">1</cx:pt>
          <cx:pt idx="49051">0</cx:pt>
          <cx:pt idx="49052">1</cx:pt>
          <cx:pt idx="49053">0</cx:pt>
          <cx:pt idx="49054">1</cx:pt>
          <cx:pt idx="49055">0</cx:pt>
          <cx:pt idx="49056">1</cx:pt>
          <cx:pt idx="49057">1</cx:pt>
          <cx:pt idx="49058">1</cx:pt>
          <cx:pt idx="49059">0</cx:pt>
          <cx:pt idx="49060">1</cx:pt>
          <cx:pt idx="49061">1</cx:pt>
          <cx:pt idx="49062">0</cx:pt>
          <cx:pt idx="49063">1</cx:pt>
          <cx:pt idx="49064">0</cx:pt>
          <cx:pt idx="49065">0</cx:pt>
          <cx:pt idx="49066">0</cx:pt>
          <cx:pt idx="49067">1</cx:pt>
          <cx:pt idx="49068">1</cx:pt>
          <cx:pt idx="49069">0</cx:pt>
          <cx:pt idx="49070">0</cx:pt>
          <cx:pt idx="49071">0</cx:pt>
          <cx:pt idx="49072">0</cx:pt>
          <cx:pt idx="49073">1</cx:pt>
          <cx:pt idx="49074">1</cx:pt>
          <cx:pt idx="49075">1</cx:pt>
          <cx:pt idx="49076">0</cx:pt>
          <cx:pt idx="49077">0</cx:pt>
          <cx:pt idx="49078">0</cx:pt>
          <cx:pt idx="49079">1</cx:pt>
          <cx:pt idx="49080">0</cx:pt>
          <cx:pt idx="49081">0</cx:pt>
          <cx:pt idx="49082">1</cx:pt>
          <cx:pt idx="49083">0</cx:pt>
          <cx:pt idx="49084">0</cx:pt>
          <cx:pt idx="49085">0</cx:pt>
          <cx:pt idx="49086">0</cx:pt>
          <cx:pt idx="49087">1</cx:pt>
          <cx:pt idx="49088">1</cx:pt>
          <cx:pt idx="49089">1</cx:pt>
          <cx:pt idx="49090">1</cx:pt>
          <cx:pt idx="49091">0</cx:pt>
          <cx:pt idx="49092">0</cx:pt>
          <cx:pt idx="49093">0</cx:pt>
          <cx:pt idx="49094">1</cx:pt>
          <cx:pt idx="49095">0</cx:pt>
          <cx:pt idx="49096">0</cx:pt>
          <cx:pt idx="49097">0</cx:pt>
          <cx:pt idx="49098">0</cx:pt>
          <cx:pt idx="49099">1</cx:pt>
          <cx:pt idx="49100">0</cx:pt>
          <cx:pt idx="49101">0</cx:pt>
          <cx:pt idx="49102">1</cx:pt>
          <cx:pt idx="49103">0</cx:pt>
          <cx:pt idx="49104">0</cx:pt>
          <cx:pt idx="49105">0</cx:pt>
          <cx:pt idx="49106">1</cx:pt>
          <cx:pt idx="49107">0</cx:pt>
          <cx:pt idx="49108">1</cx:pt>
          <cx:pt idx="49109">1</cx:pt>
          <cx:pt idx="49110">0</cx:pt>
          <cx:pt idx="49111">1</cx:pt>
          <cx:pt idx="49112">0</cx:pt>
          <cx:pt idx="49113">0</cx:pt>
          <cx:pt idx="49114">1</cx:pt>
          <cx:pt idx="49115">0</cx:pt>
          <cx:pt idx="49116">1</cx:pt>
          <cx:pt idx="49117">0</cx:pt>
          <cx:pt idx="49118">0</cx:pt>
          <cx:pt idx="49119">0</cx:pt>
          <cx:pt idx="49120">0</cx:pt>
          <cx:pt idx="49121">0</cx:pt>
          <cx:pt idx="49122">0</cx:pt>
          <cx:pt idx="49123">1</cx:pt>
          <cx:pt idx="49124">1</cx:pt>
          <cx:pt idx="49125">0</cx:pt>
          <cx:pt idx="49126">0</cx:pt>
          <cx:pt idx="49127">1</cx:pt>
          <cx:pt idx="49128">0</cx:pt>
          <cx:pt idx="49129">0</cx:pt>
          <cx:pt idx="49130">1</cx:pt>
          <cx:pt idx="49131">1</cx:pt>
          <cx:pt idx="49132">0</cx:pt>
          <cx:pt idx="49133">0</cx:pt>
          <cx:pt idx="49134">1</cx:pt>
          <cx:pt idx="49135">0</cx:pt>
          <cx:pt idx="49136">1</cx:pt>
          <cx:pt idx="49137">0</cx:pt>
          <cx:pt idx="49138">1</cx:pt>
          <cx:pt idx="49139">0</cx:pt>
          <cx:pt idx="49140">0</cx:pt>
          <cx:pt idx="49141">1</cx:pt>
          <cx:pt idx="49142">0</cx:pt>
          <cx:pt idx="49143">1</cx:pt>
          <cx:pt idx="49144">1</cx:pt>
          <cx:pt idx="49145">0</cx:pt>
          <cx:pt idx="49146">1</cx:pt>
          <cx:pt idx="49147">0</cx:pt>
          <cx:pt idx="49148">1</cx:pt>
          <cx:pt idx="49149">1</cx:pt>
          <cx:pt idx="49150">1</cx:pt>
          <cx:pt idx="49151">0</cx:pt>
          <cx:pt idx="49152">0</cx:pt>
          <cx:pt idx="49153">1</cx:pt>
          <cx:pt idx="49154">0</cx:pt>
          <cx:pt idx="49155">0</cx:pt>
          <cx:pt idx="49156">0</cx:pt>
          <cx:pt idx="49157">0</cx:pt>
          <cx:pt idx="49158">0</cx:pt>
          <cx:pt idx="49159">1</cx:pt>
          <cx:pt idx="49160">1</cx:pt>
          <cx:pt idx="49161">0</cx:pt>
          <cx:pt idx="49162">1</cx:pt>
          <cx:pt idx="49163">1</cx:pt>
          <cx:pt idx="49164">1</cx:pt>
          <cx:pt idx="49165">0</cx:pt>
          <cx:pt idx="49166">1</cx:pt>
          <cx:pt idx="49167">1</cx:pt>
          <cx:pt idx="49168">1</cx:pt>
          <cx:pt idx="49169">0</cx:pt>
          <cx:pt idx="49170">1</cx:pt>
          <cx:pt idx="49171">1</cx:pt>
          <cx:pt idx="49172">1</cx:pt>
          <cx:pt idx="49173">1</cx:pt>
          <cx:pt idx="49174">0</cx:pt>
          <cx:pt idx="49175">1</cx:pt>
          <cx:pt idx="49176">0</cx:pt>
          <cx:pt idx="49177">0</cx:pt>
          <cx:pt idx="49178">0</cx:pt>
          <cx:pt idx="49179">1</cx:pt>
          <cx:pt idx="49180">0</cx:pt>
          <cx:pt idx="49181">1</cx:pt>
          <cx:pt idx="49182">0</cx:pt>
          <cx:pt idx="49183">1</cx:pt>
          <cx:pt idx="49184">0</cx:pt>
          <cx:pt idx="49185">0</cx:pt>
          <cx:pt idx="49186">0</cx:pt>
          <cx:pt idx="49187">1</cx:pt>
          <cx:pt idx="49188">0</cx:pt>
          <cx:pt idx="49189">1</cx:pt>
          <cx:pt idx="49190">0</cx:pt>
          <cx:pt idx="49191">0</cx:pt>
          <cx:pt idx="49192">1</cx:pt>
          <cx:pt idx="49193">1</cx:pt>
          <cx:pt idx="49194">0</cx:pt>
          <cx:pt idx="49195">0</cx:pt>
          <cx:pt idx="49196">0</cx:pt>
          <cx:pt idx="49197">1</cx:pt>
          <cx:pt idx="49198">0</cx:pt>
          <cx:pt idx="49199">1</cx:pt>
          <cx:pt idx="49200">1</cx:pt>
          <cx:pt idx="49201">0</cx:pt>
          <cx:pt idx="49202">0</cx:pt>
          <cx:pt idx="49203">1</cx:pt>
          <cx:pt idx="49204">0</cx:pt>
          <cx:pt idx="49205">1</cx:pt>
          <cx:pt idx="49206">1</cx:pt>
          <cx:pt idx="49207">0</cx:pt>
          <cx:pt idx="49208">1</cx:pt>
          <cx:pt idx="49209">1</cx:pt>
          <cx:pt idx="49210">0</cx:pt>
          <cx:pt idx="49211">0</cx:pt>
          <cx:pt idx="49212">0</cx:pt>
          <cx:pt idx="49213">1</cx:pt>
          <cx:pt idx="49214">0</cx:pt>
          <cx:pt idx="49215">0</cx:pt>
          <cx:pt idx="49216">0</cx:pt>
          <cx:pt idx="49217">0</cx:pt>
          <cx:pt idx="49218">0</cx:pt>
          <cx:pt idx="49219">1</cx:pt>
          <cx:pt idx="49220">0</cx:pt>
          <cx:pt idx="49221">0</cx:pt>
          <cx:pt idx="49222">0</cx:pt>
          <cx:pt idx="49223">0</cx:pt>
          <cx:pt idx="49224">0</cx:pt>
          <cx:pt idx="49225">0</cx:pt>
          <cx:pt idx="49226">1</cx:pt>
          <cx:pt idx="49227">0</cx:pt>
          <cx:pt idx="49228">0</cx:pt>
          <cx:pt idx="49229">0</cx:pt>
          <cx:pt idx="49230">0</cx:pt>
          <cx:pt idx="49231">0</cx:pt>
          <cx:pt idx="49232">0</cx:pt>
          <cx:pt idx="49233">0</cx:pt>
          <cx:pt idx="49234">0</cx:pt>
          <cx:pt idx="49235">0</cx:pt>
          <cx:pt idx="49236">1</cx:pt>
          <cx:pt idx="49237">1</cx:pt>
          <cx:pt idx="49238">1</cx:pt>
          <cx:pt idx="49239">0</cx:pt>
          <cx:pt idx="49240">0</cx:pt>
          <cx:pt idx="49241">0</cx:pt>
          <cx:pt idx="49242">1</cx:pt>
          <cx:pt idx="49243">0</cx:pt>
          <cx:pt idx="49244">0</cx:pt>
          <cx:pt idx="49245">0</cx:pt>
          <cx:pt idx="49246">0</cx:pt>
          <cx:pt idx="49247">1</cx:pt>
          <cx:pt idx="49248">1</cx:pt>
          <cx:pt idx="49249">0</cx:pt>
          <cx:pt idx="49250">1</cx:pt>
          <cx:pt idx="49251">1</cx:pt>
          <cx:pt idx="49252">1</cx:pt>
          <cx:pt idx="49253">1</cx:pt>
          <cx:pt idx="49254">0</cx:pt>
          <cx:pt idx="49255">0</cx:pt>
          <cx:pt idx="49256">0</cx:pt>
          <cx:pt idx="49257">1</cx:pt>
          <cx:pt idx="49258">0</cx:pt>
          <cx:pt idx="49259">0</cx:pt>
          <cx:pt idx="49260">0</cx:pt>
          <cx:pt idx="49261">0</cx:pt>
          <cx:pt idx="49262">0</cx:pt>
          <cx:pt idx="49263">0</cx:pt>
          <cx:pt idx="49264">0</cx:pt>
          <cx:pt idx="49265">0</cx:pt>
          <cx:pt idx="49266">1</cx:pt>
          <cx:pt idx="49267">0</cx:pt>
          <cx:pt idx="49268">1</cx:pt>
          <cx:pt idx="49269">0</cx:pt>
          <cx:pt idx="49270">0</cx:pt>
          <cx:pt idx="49271">1</cx:pt>
          <cx:pt idx="49272">0</cx:pt>
          <cx:pt idx="49273">0</cx:pt>
          <cx:pt idx="49274">1</cx:pt>
          <cx:pt idx="49275">0</cx:pt>
          <cx:pt idx="49276">1</cx:pt>
          <cx:pt idx="49277">1</cx:pt>
          <cx:pt idx="49278">1</cx:pt>
          <cx:pt idx="49279">1</cx:pt>
          <cx:pt idx="49280">1</cx:pt>
          <cx:pt idx="49281">0</cx:pt>
          <cx:pt idx="49282">0</cx:pt>
          <cx:pt idx="49283">0</cx:pt>
          <cx:pt idx="49284">0</cx:pt>
          <cx:pt idx="49285">1</cx:pt>
          <cx:pt idx="49286">0</cx:pt>
          <cx:pt idx="49287">1</cx:pt>
          <cx:pt idx="49288">0</cx:pt>
          <cx:pt idx="49289">0</cx:pt>
          <cx:pt idx="49290">0</cx:pt>
          <cx:pt idx="49291">0</cx:pt>
          <cx:pt idx="49292">1</cx:pt>
          <cx:pt idx="49293">0</cx:pt>
          <cx:pt idx="49294">0</cx:pt>
          <cx:pt idx="49295">0</cx:pt>
          <cx:pt idx="49296">0</cx:pt>
          <cx:pt idx="49297">0</cx:pt>
          <cx:pt idx="49298">1</cx:pt>
          <cx:pt idx="49299">1</cx:pt>
          <cx:pt idx="49300">1</cx:pt>
          <cx:pt idx="49301">0</cx:pt>
          <cx:pt idx="49302">0</cx:pt>
          <cx:pt idx="49303">0</cx:pt>
          <cx:pt idx="49304">0</cx:pt>
          <cx:pt idx="49305">0</cx:pt>
          <cx:pt idx="49306">0</cx:pt>
          <cx:pt idx="49307">0</cx:pt>
          <cx:pt idx="49308">1</cx:pt>
          <cx:pt idx="49309">0</cx:pt>
          <cx:pt idx="49310">0</cx:pt>
          <cx:pt idx="49311">0</cx:pt>
          <cx:pt idx="49312">1</cx:pt>
          <cx:pt idx="49313">1</cx:pt>
          <cx:pt idx="49314">0</cx:pt>
          <cx:pt idx="49315">1</cx:pt>
          <cx:pt idx="49316">1</cx:pt>
          <cx:pt idx="49317">1</cx:pt>
          <cx:pt idx="49318">0</cx:pt>
          <cx:pt idx="49319">0</cx:pt>
          <cx:pt idx="49320">1</cx:pt>
          <cx:pt idx="49321">0</cx:pt>
          <cx:pt idx="49322">1</cx:pt>
          <cx:pt idx="49323">1</cx:pt>
          <cx:pt idx="49324">0</cx:pt>
          <cx:pt idx="49325">0</cx:pt>
          <cx:pt idx="49326">0</cx:pt>
          <cx:pt idx="49327">0</cx:pt>
          <cx:pt idx="49328">1</cx:pt>
          <cx:pt idx="49329">0</cx:pt>
          <cx:pt idx="49330">1</cx:pt>
          <cx:pt idx="49331">1</cx:pt>
          <cx:pt idx="49332">0</cx:pt>
          <cx:pt idx="49333">0</cx:pt>
          <cx:pt idx="49334">0</cx:pt>
          <cx:pt idx="49335">1</cx:pt>
          <cx:pt idx="49336">0</cx:pt>
          <cx:pt idx="49337">1</cx:pt>
          <cx:pt idx="49338">1</cx:pt>
          <cx:pt idx="49339">0</cx:pt>
          <cx:pt idx="49340">1</cx:pt>
          <cx:pt idx="49341">1</cx:pt>
          <cx:pt idx="49342">0</cx:pt>
          <cx:pt idx="49343">0</cx:pt>
          <cx:pt idx="49344">1</cx:pt>
          <cx:pt idx="49345">0</cx:pt>
          <cx:pt idx="49346">1</cx:pt>
          <cx:pt idx="49347">0</cx:pt>
          <cx:pt idx="49348">1</cx:pt>
          <cx:pt idx="49349">0</cx:pt>
          <cx:pt idx="49350">0</cx:pt>
          <cx:pt idx="49351">0</cx:pt>
          <cx:pt idx="49352">1</cx:pt>
          <cx:pt idx="49353">0</cx:pt>
          <cx:pt idx="49354">0</cx:pt>
          <cx:pt idx="49355">0</cx:pt>
          <cx:pt idx="49356">0</cx:pt>
          <cx:pt idx="49357">1</cx:pt>
          <cx:pt idx="49358">0</cx:pt>
          <cx:pt idx="49359">0</cx:pt>
          <cx:pt idx="49360">1</cx:pt>
          <cx:pt idx="49361">1</cx:pt>
          <cx:pt idx="49362">1</cx:pt>
          <cx:pt idx="49363">0</cx:pt>
          <cx:pt idx="49364">0</cx:pt>
          <cx:pt idx="49365">1</cx:pt>
          <cx:pt idx="49366">0</cx:pt>
          <cx:pt idx="49367">1</cx:pt>
          <cx:pt idx="49368">1</cx:pt>
          <cx:pt idx="49369">0</cx:pt>
          <cx:pt idx="49370">0</cx:pt>
          <cx:pt idx="49371">0</cx:pt>
          <cx:pt idx="49372">1</cx:pt>
          <cx:pt idx="49373">1</cx:pt>
          <cx:pt idx="49374">1</cx:pt>
          <cx:pt idx="49375">0</cx:pt>
          <cx:pt idx="49376">1</cx:pt>
          <cx:pt idx="49377">1</cx:pt>
          <cx:pt idx="49378">1</cx:pt>
          <cx:pt idx="49379">0</cx:pt>
          <cx:pt idx="49380">0</cx:pt>
          <cx:pt idx="49381">1</cx:pt>
          <cx:pt idx="49382">1</cx:pt>
          <cx:pt idx="49383">0</cx:pt>
          <cx:pt idx="49384">1</cx:pt>
          <cx:pt idx="49385">0</cx:pt>
          <cx:pt idx="49386">1</cx:pt>
          <cx:pt idx="49387">1</cx:pt>
          <cx:pt idx="49388">1</cx:pt>
          <cx:pt idx="49389">1</cx:pt>
          <cx:pt idx="49390">0</cx:pt>
          <cx:pt idx="49391">0</cx:pt>
          <cx:pt idx="49392">0</cx:pt>
          <cx:pt idx="49393">0</cx:pt>
          <cx:pt idx="49394">0</cx:pt>
          <cx:pt idx="49395">1</cx:pt>
          <cx:pt idx="49396">0</cx:pt>
          <cx:pt idx="49397">0</cx:pt>
          <cx:pt idx="49398">0</cx:pt>
          <cx:pt idx="49399">0</cx:pt>
          <cx:pt idx="49400">0</cx:pt>
          <cx:pt idx="49401">0</cx:pt>
          <cx:pt idx="49402">0</cx:pt>
          <cx:pt idx="49403">0</cx:pt>
          <cx:pt idx="49404">0</cx:pt>
          <cx:pt idx="49405">0</cx:pt>
          <cx:pt idx="49406">0</cx:pt>
          <cx:pt idx="49407">1</cx:pt>
          <cx:pt idx="49408">1</cx:pt>
          <cx:pt idx="49409">0</cx:pt>
          <cx:pt idx="49410">0</cx:pt>
          <cx:pt idx="49411">1</cx:pt>
          <cx:pt idx="49412">0</cx:pt>
          <cx:pt idx="49413">1</cx:pt>
          <cx:pt idx="49414">0</cx:pt>
          <cx:pt idx="49415">1</cx:pt>
          <cx:pt idx="49416">0</cx:pt>
          <cx:pt idx="49417">1</cx:pt>
          <cx:pt idx="49418">1</cx:pt>
          <cx:pt idx="49419">1</cx:pt>
          <cx:pt idx="49420">1</cx:pt>
          <cx:pt idx="49421">1</cx:pt>
          <cx:pt idx="49422">1</cx:pt>
          <cx:pt idx="49423">0</cx:pt>
          <cx:pt idx="49424">1</cx:pt>
          <cx:pt idx="49425">0</cx:pt>
          <cx:pt idx="49426">1</cx:pt>
          <cx:pt idx="49427">0</cx:pt>
          <cx:pt idx="49428">1</cx:pt>
          <cx:pt idx="49429">0</cx:pt>
          <cx:pt idx="49430">1</cx:pt>
          <cx:pt idx="49431">1</cx:pt>
          <cx:pt idx="49432">0</cx:pt>
          <cx:pt idx="49433">1</cx:pt>
          <cx:pt idx="49434">1</cx:pt>
          <cx:pt idx="49435">1</cx:pt>
          <cx:pt idx="49436">1</cx:pt>
          <cx:pt idx="49437">0</cx:pt>
          <cx:pt idx="49438">1</cx:pt>
          <cx:pt idx="49439">1</cx:pt>
          <cx:pt idx="49440">0</cx:pt>
          <cx:pt idx="49441">0</cx:pt>
          <cx:pt idx="49442">0</cx:pt>
          <cx:pt idx="49443">0</cx:pt>
          <cx:pt idx="49444">0</cx:pt>
          <cx:pt idx="49445">1</cx:pt>
          <cx:pt idx="49446">1</cx:pt>
          <cx:pt idx="49447">0</cx:pt>
          <cx:pt idx="49448">0</cx:pt>
          <cx:pt idx="49449">1</cx:pt>
          <cx:pt idx="49450">0</cx:pt>
          <cx:pt idx="49451">1</cx:pt>
          <cx:pt idx="49452">0</cx:pt>
          <cx:pt idx="49453">1</cx:pt>
          <cx:pt idx="49454">1</cx:pt>
          <cx:pt idx="49455">1</cx:pt>
          <cx:pt idx="49456">0</cx:pt>
          <cx:pt idx="49457">0</cx:pt>
          <cx:pt idx="49458">0</cx:pt>
          <cx:pt idx="49459">1</cx:pt>
          <cx:pt idx="49460">1</cx:pt>
          <cx:pt idx="49461">0</cx:pt>
          <cx:pt idx="49462">1</cx:pt>
          <cx:pt idx="49463">0</cx:pt>
          <cx:pt idx="49464">0</cx:pt>
          <cx:pt idx="49465">0</cx:pt>
          <cx:pt idx="49466">0</cx:pt>
          <cx:pt idx="49467">1</cx:pt>
          <cx:pt idx="49468">1</cx:pt>
          <cx:pt idx="49469">0</cx:pt>
          <cx:pt idx="49470">0</cx:pt>
          <cx:pt idx="49471">0</cx:pt>
          <cx:pt idx="49472">0</cx:pt>
          <cx:pt idx="49473">1</cx:pt>
          <cx:pt idx="49474">1</cx:pt>
          <cx:pt idx="49475">1</cx:pt>
          <cx:pt idx="49476">1</cx:pt>
          <cx:pt idx="49477">1</cx:pt>
          <cx:pt idx="49478">0</cx:pt>
          <cx:pt idx="49479">1</cx:pt>
          <cx:pt idx="49480">1</cx:pt>
          <cx:pt idx="49481">1</cx:pt>
          <cx:pt idx="49482">1</cx:pt>
          <cx:pt idx="49483">1</cx:pt>
          <cx:pt idx="49484">0</cx:pt>
          <cx:pt idx="49485">1</cx:pt>
          <cx:pt idx="49486">0</cx:pt>
          <cx:pt idx="49487">0</cx:pt>
          <cx:pt idx="49488">1</cx:pt>
          <cx:pt idx="49489">0</cx:pt>
          <cx:pt idx="49490">0</cx:pt>
          <cx:pt idx="49491">0</cx:pt>
          <cx:pt idx="49492">1</cx:pt>
          <cx:pt idx="49493">0</cx:pt>
          <cx:pt idx="49494">0</cx:pt>
          <cx:pt idx="49495">0</cx:pt>
          <cx:pt idx="49496">0</cx:pt>
          <cx:pt idx="49497">1</cx:pt>
          <cx:pt idx="49498">0</cx:pt>
          <cx:pt idx="49499">1</cx:pt>
          <cx:pt idx="49500">0</cx:pt>
          <cx:pt idx="49501">0</cx:pt>
          <cx:pt idx="49502">0</cx:pt>
          <cx:pt idx="49503">0</cx:pt>
          <cx:pt idx="49504">1</cx:pt>
          <cx:pt idx="49505">0</cx:pt>
          <cx:pt idx="49506">1</cx:pt>
          <cx:pt idx="49507">0</cx:pt>
          <cx:pt idx="49508">1</cx:pt>
          <cx:pt idx="49509">0</cx:pt>
          <cx:pt idx="49510">0</cx:pt>
          <cx:pt idx="49511">1</cx:pt>
          <cx:pt idx="49512">1</cx:pt>
          <cx:pt idx="49513">1</cx:pt>
          <cx:pt idx="49514">1</cx:pt>
          <cx:pt idx="49515">0</cx:pt>
          <cx:pt idx="49516">0</cx:pt>
          <cx:pt idx="49517">0</cx:pt>
          <cx:pt idx="49518">0</cx:pt>
          <cx:pt idx="49519">0</cx:pt>
          <cx:pt idx="49520">1</cx:pt>
          <cx:pt idx="49521">0</cx:pt>
          <cx:pt idx="49522">0</cx:pt>
          <cx:pt idx="49523">1</cx:pt>
          <cx:pt idx="49524">0</cx:pt>
          <cx:pt idx="49525">0</cx:pt>
          <cx:pt idx="49526">0</cx:pt>
          <cx:pt idx="49527">0</cx:pt>
          <cx:pt idx="49528">1</cx:pt>
          <cx:pt idx="49529">1</cx:pt>
          <cx:pt idx="49530">0</cx:pt>
          <cx:pt idx="49531">0</cx:pt>
          <cx:pt idx="49532">0</cx:pt>
          <cx:pt idx="49533">0</cx:pt>
          <cx:pt idx="49534">0</cx:pt>
          <cx:pt idx="49535">1</cx:pt>
          <cx:pt idx="49536">0</cx:pt>
          <cx:pt idx="49537">1</cx:pt>
          <cx:pt idx="49538">1</cx:pt>
          <cx:pt idx="49539">0</cx:pt>
          <cx:pt idx="49540">1</cx:pt>
          <cx:pt idx="49541">1</cx:pt>
          <cx:pt idx="49542">0</cx:pt>
          <cx:pt idx="49543">0</cx:pt>
          <cx:pt idx="49544">1</cx:pt>
          <cx:pt idx="49545">0</cx:pt>
          <cx:pt idx="49546">0</cx:pt>
          <cx:pt idx="49547">0</cx:pt>
          <cx:pt idx="49548">1</cx:pt>
          <cx:pt idx="49549">1</cx:pt>
          <cx:pt idx="49550">0</cx:pt>
          <cx:pt idx="49551">0</cx:pt>
          <cx:pt idx="49552">1</cx:pt>
          <cx:pt idx="49553">1</cx:pt>
          <cx:pt idx="49554">0</cx:pt>
          <cx:pt idx="49555">0</cx:pt>
          <cx:pt idx="49556">1</cx:pt>
          <cx:pt idx="49557">1</cx:pt>
          <cx:pt idx="49558">0</cx:pt>
          <cx:pt idx="49559">1</cx:pt>
          <cx:pt idx="49560">1</cx:pt>
          <cx:pt idx="49561">1</cx:pt>
          <cx:pt idx="49562">0</cx:pt>
          <cx:pt idx="49563">0</cx:pt>
          <cx:pt idx="49564">1</cx:pt>
          <cx:pt idx="49565">0</cx:pt>
          <cx:pt idx="49566">0</cx:pt>
          <cx:pt idx="49567">0</cx:pt>
          <cx:pt idx="49568">1</cx:pt>
          <cx:pt idx="49569">0</cx:pt>
          <cx:pt idx="49570">0</cx:pt>
          <cx:pt idx="49571">1</cx:pt>
          <cx:pt idx="49572">0</cx:pt>
          <cx:pt idx="49573">0</cx:pt>
          <cx:pt idx="49574">1</cx:pt>
          <cx:pt idx="49575">1</cx:pt>
          <cx:pt idx="49576">0</cx:pt>
          <cx:pt idx="49577">0</cx:pt>
          <cx:pt idx="49578">1</cx:pt>
          <cx:pt idx="49579">1</cx:pt>
          <cx:pt idx="49580">0</cx:pt>
          <cx:pt idx="49581">0</cx:pt>
          <cx:pt idx="49582">0</cx:pt>
          <cx:pt idx="49583">1</cx:pt>
          <cx:pt idx="49584">1</cx:pt>
          <cx:pt idx="49585">1</cx:pt>
          <cx:pt idx="49586">0</cx:pt>
          <cx:pt idx="49587">0</cx:pt>
          <cx:pt idx="49588">1</cx:pt>
          <cx:pt idx="49589">0</cx:pt>
          <cx:pt idx="49590">1</cx:pt>
          <cx:pt idx="49591">0</cx:pt>
          <cx:pt idx="49592">1</cx:pt>
          <cx:pt idx="49593">1</cx:pt>
          <cx:pt idx="49594">1</cx:pt>
          <cx:pt idx="49595">0</cx:pt>
          <cx:pt idx="49596">1</cx:pt>
          <cx:pt idx="49597">0</cx:pt>
          <cx:pt idx="49598">1</cx:pt>
          <cx:pt idx="49599">0</cx:pt>
          <cx:pt idx="49600">1</cx:pt>
          <cx:pt idx="49601">0</cx:pt>
          <cx:pt idx="49602">0</cx:pt>
          <cx:pt idx="49603">1</cx:pt>
          <cx:pt idx="49604">1</cx:pt>
          <cx:pt idx="49605">0</cx:pt>
          <cx:pt idx="49606">1</cx:pt>
          <cx:pt idx="49607">1</cx:pt>
          <cx:pt idx="49608">0</cx:pt>
          <cx:pt idx="49609">0</cx:pt>
          <cx:pt idx="49610">1</cx:pt>
          <cx:pt idx="49611">1</cx:pt>
          <cx:pt idx="49612">0</cx:pt>
          <cx:pt idx="49613">1</cx:pt>
          <cx:pt idx="49614">1</cx:pt>
          <cx:pt idx="49615">0</cx:pt>
          <cx:pt idx="49616">1</cx:pt>
          <cx:pt idx="49617">0</cx:pt>
          <cx:pt idx="49618">0</cx:pt>
          <cx:pt idx="49619">0</cx:pt>
          <cx:pt idx="49620">1</cx:pt>
          <cx:pt idx="49621">0</cx:pt>
          <cx:pt idx="49622">0</cx:pt>
          <cx:pt idx="49623">0</cx:pt>
          <cx:pt idx="49624">0</cx:pt>
          <cx:pt idx="49625">1</cx:pt>
          <cx:pt idx="49626">0</cx:pt>
          <cx:pt idx="49627">1</cx:pt>
          <cx:pt idx="49628">1</cx:pt>
          <cx:pt idx="49629">0</cx:pt>
          <cx:pt idx="49630">1</cx:pt>
          <cx:pt idx="49631">1</cx:pt>
          <cx:pt idx="49632">0</cx:pt>
          <cx:pt idx="49633">0</cx:pt>
          <cx:pt idx="49634">0</cx:pt>
          <cx:pt idx="49635">0</cx:pt>
          <cx:pt idx="49636">1</cx:pt>
          <cx:pt idx="49637">0</cx:pt>
          <cx:pt idx="49638">1</cx:pt>
          <cx:pt idx="49639">0</cx:pt>
          <cx:pt idx="49640">1</cx:pt>
          <cx:pt idx="49641">1</cx:pt>
          <cx:pt idx="49642">1</cx:pt>
          <cx:pt idx="49643">0</cx:pt>
          <cx:pt idx="49644">0</cx:pt>
          <cx:pt idx="49645">0</cx:pt>
          <cx:pt idx="49646">0</cx:pt>
          <cx:pt idx="49647">1</cx:pt>
          <cx:pt idx="49648">1</cx:pt>
          <cx:pt idx="49649">0</cx:pt>
          <cx:pt idx="49650">1</cx:pt>
          <cx:pt idx="49651">0</cx:pt>
          <cx:pt idx="49652">0</cx:pt>
          <cx:pt idx="49653">1</cx:pt>
          <cx:pt idx="49654">1</cx:pt>
          <cx:pt idx="49655">1</cx:pt>
          <cx:pt idx="49656">0</cx:pt>
          <cx:pt idx="49657">1</cx:pt>
          <cx:pt idx="49658">0</cx:pt>
          <cx:pt idx="49659">0</cx:pt>
          <cx:pt idx="49660">0</cx:pt>
          <cx:pt idx="49661">0</cx:pt>
          <cx:pt idx="49662">1</cx:pt>
          <cx:pt idx="49663">1</cx:pt>
          <cx:pt idx="49664">0</cx:pt>
          <cx:pt idx="49665">1</cx:pt>
          <cx:pt idx="49666">1</cx:pt>
          <cx:pt idx="49667">0</cx:pt>
          <cx:pt idx="49668">1</cx:pt>
          <cx:pt idx="49669">0</cx:pt>
          <cx:pt idx="49670">0</cx:pt>
          <cx:pt idx="49671">0</cx:pt>
          <cx:pt idx="49672">0</cx:pt>
          <cx:pt idx="49673">0</cx:pt>
          <cx:pt idx="49674">0</cx:pt>
          <cx:pt idx="49675">0</cx:pt>
          <cx:pt idx="49676">1</cx:pt>
          <cx:pt idx="49677">1</cx:pt>
          <cx:pt idx="49678">1</cx:pt>
          <cx:pt idx="49679">1</cx:pt>
          <cx:pt idx="49680">1</cx:pt>
          <cx:pt idx="49681">1</cx:pt>
          <cx:pt idx="49682">1</cx:pt>
          <cx:pt idx="49683">1</cx:pt>
          <cx:pt idx="49684">0</cx:pt>
          <cx:pt idx="49685">1</cx:pt>
          <cx:pt idx="49686">0</cx:pt>
          <cx:pt idx="49687">1</cx:pt>
          <cx:pt idx="49688">0</cx:pt>
          <cx:pt idx="49689">1</cx:pt>
          <cx:pt idx="49690">0</cx:pt>
          <cx:pt idx="49691">0</cx:pt>
          <cx:pt idx="49692">0</cx:pt>
          <cx:pt idx="49693">1</cx:pt>
          <cx:pt idx="49694">0</cx:pt>
          <cx:pt idx="49695">0</cx:pt>
          <cx:pt idx="49696">1</cx:pt>
          <cx:pt idx="49697">0</cx:pt>
          <cx:pt idx="49698">1</cx:pt>
          <cx:pt idx="49699">0</cx:pt>
          <cx:pt idx="49700">0</cx:pt>
          <cx:pt idx="49701">0</cx:pt>
          <cx:pt idx="49702">0</cx:pt>
          <cx:pt idx="49703">1</cx:pt>
          <cx:pt idx="49704">1</cx:pt>
          <cx:pt idx="49705">1</cx:pt>
          <cx:pt idx="49706">1</cx:pt>
          <cx:pt idx="49707">0</cx:pt>
          <cx:pt idx="49708">0</cx:pt>
          <cx:pt idx="49709">1</cx:pt>
          <cx:pt idx="49710">1</cx:pt>
          <cx:pt idx="49711">1</cx:pt>
          <cx:pt idx="49712">1</cx:pt>
          <cx:pt idx="49713">1</cx:pt>
          <cx:pt idx="49714">1</cx:pt>
          <cx:pt idx="49715">1</cx:pt>
          <cx:pt idx="49716">0</cx:pt>
          <cx:pt idx="49717">0</cx:pt>
          <cx:pt idx="49718">0</cx:pt>
          <cx:pt idx="49719">0</cx:pt>
          <cx:pt idx="49720">0</cx:pt>
          <cx:pt idx="49721">0</cx:pt>
          <cx:pt idx="49722">0</cx:pt>
          <cx:pt idx="49723">1</cx:pt>
          <cx:pt idx="49724">0</cx:pt>
          <cx:pt idx="49725">0</cx:pt>
          <cx:pt idx="49726">1</cx:pt>
          <cx:pt idx="49727">1</cx:pt>
          <cx:pt idx="49728">1</cx:pt>
          <cx:pt idx="49729">0</cx:pt>
          <cx:pt idx="49730">0</cx:pt>
          <cx:pt idx="49731">0</cx:pt>
          <cx:pt idx="49732">0</cx:pt>
          <cx:pt idx="49733">0</cx:pt>
          <cx:pt idx="49734">1</cx:pt>
          <cx:pt idx="49735">1</cx:pt>
          <cx:pt idx="49736">0</cx:pt>
          <cx:pt idx="49737">0</cx:pt>
          <cx:pt idx="49738">1</cx:pt>
          <cx:pt idx="49739">0</cx:pt>
          <cx:pt idx="49740">1</cx:pt>
          <cx:pt idx="49741">0</cx:pt>
          <cx:pt idx="49742">0</cx:pt>
          <cx:pt idx="49743">0</cx:pt>
          <cx:pt idx="49744">0</cx:pt>
          <cx:pt idx="49745">1</cx:pt>
          <cx:pt idx="49746">1</cx:pt>
          <cx:pt idx="49747">0</cx:pt>
          <cx:pt idx="49748">0</cx:pt>
          <cx:pt idx="49749">0</cx:pt>
          <cx:pt idx="49750">0</cx:pt>
          <cx:pt idx="49751">0</cx:pt>
          <cx:pt idx="49752">0</cx:pt>
          <cx:pt idx="49753">1</cx:pt>
          <cx:pt idx="49754">1</cx:pt>
          <cx:pt idx="49755">1</cx:pt>
          <cx:pt idx="49756">0</cx:pt>
          <cx:pt idx="49757">1</cx:pt>
          <cx:pt idx="49758">0</cx:pt>
          <cx:pt idx="49759">1</cx:pt>
          <cx:pt idx="49760">0</cx:pt>
          <cx:pt idx="49761">1</cx:pt>
          <cx:pt idx="49762">1</cx:pt>
          <cx:pt idx="49763">0</cx:pt>
          <cx:pt idx="49764">0</cx:pt>
          <cx:pt idx="49765">0</cx:pt>
          <cx:pt idx="49766">0</cx:pt>
          <cx:pt idx="49767">0</cx:pt>
          <cx:pt idx="49768">0</cx:pt>
          <cx:pt idx="49769">1</cx:pt>
          <cx:pt idx="49770">0</cx:pt>
          <cx:pt idx="49771">1</cx:pt>
          <cx:pt idx="49772">0</cx:pt>
          <cx:pt idx="49773">0</cx:pt>
          <cx:pt idx="49774">0</cx:pt>
          <cx:pt idx="49775">1</cx:pt>
          <cx:pt idx="49776">0</cx:pt>
          <cx:pt idx="49777">0</cx:pt>
          <cx:pt idx="49778">1</cx:pt>
          <cx:pt idx="49779">0</cx:pt>
          <cx:pt idx="49780">0</cx:pt>
          <cx:pt idx="49781">1</cx:pt>
          <cx:pt idx="49782">0</cx:pt>
          <cx:pt idx="49783">1</cx:pt>
          <cx:pt idx="49784">0</cx:pt>
          <cx:pt idx="49785">0</cx:pt>
          <cx:pt idx="49786">0</cx:pt>
          <cx:pt idx="49787">0</cx:pt>
          <cx:pt idx="49788">0</cx:pt>
          <cx:pt idx="49789">0</cx:pt>
          <cx:pt idx="49790">1</cx:pt>
          <cx:pt idx="49791">1</cx:pt>
          <cx:pt idx="49792">1</cx:pt>
          <cx:pt idx="49793">0</cx:pt>
          <cx:pt idx="49794">0</cx:pt>
          <cx:pt idx="49795">1</cx:pt>
          <cx:pt idx="49796">1</cx:pt>
          <cx:pt idx="49797">1</cx:pt>
          <cx:pt idx="49798">1</cx:pt>
          <cx:pt idx="49799">0</cx:pt>
          <cx:pt idx="49800">0</cx:pt>
          <cx:pt idx="49801">0</cx:pt>
          <cx:pt idx="49802">0</cx:pt>
          <cx:pt idx="49803">1</cx:pt>
          <cx:pt idx="49804">0</cx:pt>
          <cx:pt idx="49805">0</cx:pt>
          <cx:pt idx="49806">0</cx:pt>
          <cx:pt idx="49807">0</cx:pt>
          <cx:pt idx="49808">1</cx:pt>
          <cx:pt idx="49809">0</cx:pt>
          <cx:pt idx="49810">0</cx:pt>
          <cx:pt idx="49811">0</cx:pt>
          <cx:pt idx="49812">1</cx:pt>
          <cx:pt idx="49813">1</cx:pt>
          <cx:pt idx="49814">1</cx:pt>
          <cx:pt idx="49815">1</cx:pt>
          <cx:pt idx="49816">0</cx:pt>
          <cx:pt idx="49817">1</cx:pt>
          <cx:pt idx="49818">1</cx:pt>
          <cx:pt idx="49819">1</cx:pt>
          <cx:pt idx="49820">0</cx:pt>
          <cx:pt idx="49821">0</cx:pt>
          <cx:pt idx="49822">1</cx:pt>
          <cx:pt idx="49823">1</cx:pt>
          <cx:pt idx="49824">0</cx:pt>
          <cx:pt idx="49825">1</cx:pt>
          <cx:pt idx="49826">0</cx:pt>
          <cx:pt idx="49827">1</cx:pt>
          <cx:pt idx="49828">1</cx:pt>
          <cx:pt idx="49829">0</cx:pt>
          <cx:pt idx="49830">1</cx:pt>
          <cx:pt idx="49831">0</cx:pt>
          <cx:pt idx="49832">1</cx:pt>
          <cx:pt idx="49833">0</cx:pt>
          <cx:pt idx="49834">1</cx:pt>
          <cx:pt idx="49835">0</cx:pt>
          <cx:pt idx="49836">0</cx:pt>
          <cx:pt idx="49837">0</cx:pt>
          <cx:pt idx="49838">1</cx:pt>
          <cx:pt idx="49839">0</cx:pt>
          <cx:pt idx="49840">1</cx:pt>
          <cx:pt idx="49841">0</cx:pt>
          <cx:pt idx="49842">1</cx:pt>
          <cx:pt idx="49843">0</cx:pt>
          <cx:pt idx="49844">0</cx:pt>
          <cx:pt idx="49845">1</cx:pt>
          <cx:pt idx="49846">0</cx:pt>
          <cx:pt idx="49847">1</cx:pt>
          <cx:pt idx="49848">1</cx:pt>
          <cx:pt idx="49849">1</cx:pt>
          <cx:pt idx="49850">1</cx:pt>
          <cx:pt idx="49851">0</cx:pt>
          <cx:pt idx="49852">0</cx:pt>
          <cx:pt idx="49853">1</cx:pt>
          <cx:pt idx="49854">0</cx:pt>
          <cx:pt idx="49855">0</cx:pt>
          <cx:pt idx="49856">1</cx:pt>
          <cx:pt idx="49857">0</cx:pt>
          <cx:pt idx="49858">0</cx:pt>
          <cx:pt idx="49859">0</cx:pt>
          <cx:pt idx="49860">0</cx:pt>
          <cx:pt idx="49861">0</cx:pt>
          <cx:pt idx="49862">0</cx:pt>
          <cx:pt idx="49863">1</cx:pt>
          <cx:pt idx="49864">1</cx:pt>
          <cx:pt idx="49865">0</cx:pt>
          <cx:pt idx="49866">1</cx:pt>
          <cx:pt idx="49867">0</cx:pt>
          <cx:pt idx="49868">0</cx:pt>
          <cx:pt idx="49869">1</cx:pt>
          <cx:pt idx="49870">0</cx:pt>
          <cx:pt idx="49871">0</cx:pt>
          <cx:pt idx="49872">0</cx:pt>
          <cx:pt idx="49873">0</cx:pt>
          <cx:pt idx="49874">0</cx:pt>
          <cx:pt idx="49875">0</cx:pt>
          <cx:pt idx="49876">0</cx:pt>
          <cx:pt idx="49877">0</cx:pt>
          <cx:pt idx="49878">1</cx:pt>
          <cx:pt idx="49879">1</cx:pt>
          <cx:pt idx="49880">0</cx:pt>
          <cx:pt idx="49881">0</cx:pt>
          <cx:pt idx="49882">1</cx:pt>
          <cx:pt idx="49883">0</cx:pt>
          <cx:pt idx="49884">0</cx:pt>
          <cx:pt idx="49885">0</cx:pt>
          <cx:pt idx="49886">0</cx:pt>
          <cx:pt idx="49887">0</cx:pt>
          <cx:pt idx="49888">1</cx:pt>
          <cx:pt idx="49889">1</cx:pt>
          <cx:pt idx="49890">0</cx:pt>
          <cx:pt idx="49891">1</cx:pt>
          <cx:pt idx="49892">1</cx:pt>
          <cx:pt idx="49893">1</cx:pt>
          <cx:pt idx="49894">1</cx:pt>
          <cx:pt idx="49895">1</cx:pt>
          <cx:pt idx="49896">1</cx:pt>
          <cx:pt idx="49897">1</cx:pt>
          <cx:pt idx="49898">0</cx:pt>
          <cx:pt idx="49899">1</cx:pt>
          <cx:pt idx="49900">0</cx:pt>
          <cx:pt idx="49901">1</cx:pt>
          <cx:pt idx="49902">0</cx:pt>
          <cx:pt idx="49903">0</cx:pt>
          <cx:pt idx="49904">0</cx:pt>
          <cx:pt idx="49905">1</cx:pt>
          <cx:pt idx="49906">0</cx:pt>
          <cx:pt idx="49907">0</cx:pt>
          <cx:pt idx="49908">0</cx:pt>
          <cx:pt idx="49909">0</cx:pt>
          <cx:pt idx="49910">1</cx:pt>
          <cx:pt idx="49911">0</cx:pt>
          <cx:pt idx="49912">1</cx:pt>
          <cx:pt idx="49913">1</cx:pt>
          <cx:pt idx="49914">1</cx:pt>
          <cx:pt idx="49915">0</cx:pt>
          <cx:pt idx="49916">1</cx:pt>
          <cx:pt idx="49917">0</cx:pt>
          <cx:pt idx="49918">0</cx:pt>
          <cx:pt idx="49919">1</cx:pt>
          <cx:pt idx="49920">1</cx:pt>
          <cx:pt idx="49921">1</cx:pt>
          <cx:pt idx="49922">1</cx:pt>
          <cx:pt idx="49923">0</cx:pt>
          <cx:pt idx="49924">1</cx:pt>
          <cx:pt idx="49925">1</cx:pt>
          <cx:pt idx="49926">0</cx:pt>
          <cx:pt idx="49927">0</cx:pt>
          <cx:pt idx="49928">1</cx:pt>
          <cx:pt idx="49929">1</cx:pt>
          <cx:pt idx="49930">0</cx:pt>
          <cx:pt idx="49931">1</cx:pt>
          <cx:pt idx="49932">1</cx:pt>
          <cx:pt idx="49933">0</cx:pt>
          <cx:pt idx="49934">1</cx:pt>
          <cx:pt idx="49935">0</cx:pt>
          <cx:pt idx="49936">0</cx:pt>
          <cx:pt idx="49937">0</cx:pt>
          <cx:pt idx="49938">0</cx:pt>
          <cx:pt idx="49939">1</cx:pt>
          <cx:pt idx="49940">0</cx:pt>
          <cx:pt idx="49941">0</cx:pt>
          <cx:pt idx="49942">1</cx:pt>
          <cx:pt idx="49943">1</cx:pt>
          <cx:pt idx="49944">0</cx:pt>
          <cx:pt idx="49945">1</cx:pt>
          <cx:pt idx="49946">1</cx:pt>
          <cx:pt idx="49947">0</cx:pt>
          <cx:pt idx="49948">1</cx:pt>
          <cx:pt idx="49949">1</cx:pt>
          <cx:pt idx="49950">0</cx:pt>
          <cx:pt idx="49951">1</cx:pt>
          <cx:pt idx="49952">0</cx:pt>
          <cx:pt idx="49953">1</cx:pt>
          <cx:pt idx="49954">1</cx:pt>
          <cx:pt idx="49955">1</cx:pt>
          <cx:pt idx="49956">1</cx:pt>
          <cx:pt idx="49957">1</cx:pt>
          <cx:pt idx="49958">0</cx:pt>
          <cx:pt idx="49959">1</cx:pt>
          <cx:pt idx="49960">0</cx:pt>
          <cx:pt idx="49961">1</cx:pt>
          <cx:pt idx="49962">1</cx:pt>
          <cx:pt idx="49963">0</cx:pt>
          <cx:pt idx="49964">0</cx:pt>
          <cx:pt idx="49965">1</cx:pt>
          <cx:pt idx="49966">0</cx:pt>
          <cx:pt idx="49967">0</cx:pt>
          <cx:pt idx="49968">0</cx:pt>
          <cx:pt idx="49969">0</cx:pt>
          <cx:pt idx="49970">1</cx:pt>
          <cx:pt idx="49971">0</cx:pt>
          <cx:pt idx="49972">0</cx:pt>
          <cx:pt idx="49973">1</cx:pt>
          <cx:pt idx="49974">0</cx:pt>
          <cx:pt idx="49975">0</cx:pt>
          <cx:pt idx="49976">0</cx:pt>
          <cx:pt idx="49977">0</cx:pt>
          <cx:pt idx="49978">0</cx:pt>
          <cx:pt idx="49979">1</cx:pt>
          <cx:pt idx="49980">0</cx:pt>
          <cx:pt idx="49981">0</cx:pt>
          <cx:pt idx="49982">0</cx:pt>
          <cx:pt idx="49983">0</cx:pt>
          <cx:pt idx="49984">1</cx:pt>
          <cx:pt idx="49985">0</cx:pt>
          <cx:pt idx="49986">1</cx:pt>
          <cx:pt idx="49987">1</cx:pt>
          <cx:pt idx="49988">0</cx:pt>
          <cx:pt idx="49989">0</cx:pt>
          <cx:pt idx="49990">0</cx:pt>
          <cx:pt idx="49991">1</cx:pt>
          <cx:pt idx="49992">1</cx:pt>
          <cx:pt idx="49993">0</cx:pt>
          <cx:pt idx="49994">1</cx:pt>
          <cx:pt idx="49995">0</cx:pt>
          <cx:pt idx="49996">1</cx:pt>
          <cx:pt idx="49997">1</cx:pt>
          <cx:pt idx="49998">1</cx:pt>
          <cx:pt idx="49999">0</cx:pt>
          <cx:pt idx="50000">0</cx:pt>
          <cx:pt idx="50001">0</cx:pt>
          <cx:pt idx="50002">0</cx:pt>
          <cx:pt idx="50003">1</cx:pt>
          <cx:pt idx="50004">0</cx:pt>
          <cx:pt idx="50005">0</cx:pt>
          <cx:pt idx="50006">0</cx:pt>
          <cx:pt idx="50007">1</cx:pt>
          <cx:pt idx="50008">0</cx:pt>
          <cx:pt idx="50009">1</cx:pt>
          <cx:pt idx="50010">0</cx:pt>
          <cx:pt idx="50011">0</cx:pt>
          <cx:pt idx="50012">1</cx:pt>
          <cx:pt idx="50013">0</cx:pt>
          <cx:pt idx="50014">0</cx:pt>
          <cx:pt idx="50015">0</cx:pt>
          <cx:pt idx="50016">0</cx:pt>
          <cx:pt idx="50017">1</cx:pt>
          <cx:pt idx="50018">1</cx:pt>
          <cx:pt idx="50019">0</cx:pt>
          <cx:pt idx="50020">0</cx:pt>
          <cx:pt idx="50021">0</cx:pt>
          <cx:pt idx="50022">0</cx:pt>
          <cx:pt idx="50023">1</cx:pt>
          <cx:pt idx="50024">1</cx:pt>
          <cx:pt idx="50025">0</cx:pt>
          <cx:pt idx="50026">0</cx:pt>
          <cx:pt idx="50027">1</cx:pt>
          <cx:pt idx="50028">1</cx:pt>
          <cx:pt idx="50029">0</cx:pt>
          <cx:pt idx="50030">1</cx:pt>
          <cx:pt idx="50031">0</cx:pt>
          <cx:pt idx="50032">1</cx:pt>
          <cx:pt idx="50033">0</cx:pt>
          <cx:pt idx="50034">1</cx:pt>
          <cx:pt idx="50035">0</cx:pt>
          <cx:pt idx="50036">0</cx:pt>
          <cx:pt idx="50037">1</cx:pt>
          <cx:pt idx="50038">1</cx:pt>
          <cx:pt idx="50039">0</cx:pt>
          <cx:pt idx="50040">1</cx:pt>
          <cx:pt idx="50041">1</cx:pt>
          <cx:pt idx="50042">0</cx:pt>
          <cx:pt idx="50043">1</cx:pt>
          <cx:pt idx="50044">1</cx:pt>
          <cx:pt idx="50045">0</cx:pt>
          <cx:pt idx="50046">1</cx:pt>
          <cx:pt idx="50047">0</cx:pt>
          <cx:pt idx="50048">1</cx:pt>
          <cx:pt idx="50049">1</cx:pt>
          <cx:pt idx="50050">1</cx:pt>
          <cx:pt idx="50051">0</cx:pt>
          <cx:pt idx="50052">0</cx:pt>
          <cx:pt idx="50053">0</cx:pt>
          <cx:pt idx="50054">0</cx:pt>
          <cx:pt idx="50055">1</cx:pt>
          <cx:pt idx="50056">0</cx:pt>
          <cx:pt idx="50057">1</cx:pt>
          <cx:pt idx="50058">1</cx:pt>
          <cx:pt idx="50059">0</cx:pt>
          <cx:pt idx="50060">0</cx:pt>
          <cx:pt idx="50061">0</cx:pt>
          <cx:pt idx="50062">1</cx:pt>
          <cx:pt idx="50063">0</cx:pt>
          <cx:pt idx="50064">1</cx:pt>
          <cx:pt idx="50065">1</cx:pt>
          <cx:pt idx="50066">0</cx:pt>
          <cx:pt idx="50067">1</cx:pt>
          <cx:pt idx="50068">0</cx:pt>
          <cx:pt idx="50069">0</cx:pt>
          <cx:pt idx="50070">1</cx:pt>
          <cx:pt idx="50071">0</cx:pt>
          <cx:pt idx="50072">0</cx:pt>
          <cx:pt idx="50073">0</cx:pt>
          <cx:pt idx="50074">0</cx:pt>
          <cx:pt idx="50075">1</cx:pt>
          <cx:pt idx="50076">0</cx:pt>
          <cx:pt idx="50077">1</cx:pt>
          <cx:pt idx="50078">1</cx:pt>
          <cx:pt idx="50079">0</cx:pt>
          <cx:pt idx="50080">0</cx:pt>
          <cx:pt idx="50081">1</cx:pt>
          <cx:pt idx="50082">0</cx:pt>
          <cx:pt idx="50083">1</cx:pt>
          <cx:pt idx="50084">1</cx:pt>
          <cx:pt idx="50085">0</cx:pt>
          <cx:pt idx="50086">1</cx:pt>
          <cx:pt idx="50087">1</cx:pt>
          <cx:pt idx="50088">0</cx:pt>
          <cx:pt idx="50089">1</cx:pt>
          <cx:pt idx="50090">0</cx:pt>
          <cx:pt idx="50091">1</cx:pt>
          <cx:pt idx="50092">0</cx:pt>
          <cx:pt idx="50093">1</cx:pt>
          <cx:pt idx="50094">0</cx:pt>
          <cx:pt idx="50095">1</cx:pt>
          <cx:pt idx="50096">0</cx:pt>
          <cx:pt idx="50097">0</cx:pt>
          <cx:pt idx="50098">1</cx:pt>
          <cx:pt idx="50099">0</cx:pt>
          <cx:pt idx="50100">0</cx:pt>
          <cx:pt idx="50101">0</cx:pt>
          <cx:pt idx="50102">1</cx:pt>
          <cx:pt idx="50103">0</cx:pt>
          <cx:pt idx="50104">1</cx:pt>
          <cx:pt idx="50105">0</cx:pt>
          <cx:pt idx="50106">1</cx:pt>
          <cx:pt idx="50107">0</cx:pt>
          <cx:pt idx="50108">0</cx:pt>
          <cx:pt idx="50109">0</cx:pt>
          <cx:pt idx="50110">0</cx:pt>
          <cx:pt idx="50111">0</cx:pt>
          <cx:pt idx="50112">1</cx:pt>
          <cx:pt idx="50113">0</cx:pt>
          <cx:pt idx="50114">1</cx:pt>
          <cx:pt idx="50115">1</cx:pt>
          <cx:pt idx="50116">0</cx:pt>
          <cx:pt idx="50117">1</cx:pt>
          <cx:pt idx="50118">0</cx:pt>
          <cx:pt idx="50119">0</cx:pt>
          <cx:pt idx="50120">0</cx:pt>
          <cx:pt idx="50121">1</cx:pt>
          <cx:pt idx="50122">1</cx:pt>
          <cx:pt idx="50123">0</cx:pt>
          <cx:pt idx="50124">0</cx:pt>
          <cx:pt idx="50125">0</cx:pt>
          <cx:pt idx="50126">1</cx:pt>
          <cx:pt idx="50127">1</cx:pt>
          <cx:pt idx="50128">0</cx:pt>
          <cx:pt idx="50129">0</cx:pt>
          <cx:pt idx="50130">0</cx:pt>
          <cx:pt idx="50131">1</cx:pt>
          <cx:pt idx="50132">0</cx:pt>
          <cx:pt idx="50133">1</cx:pt>
          <cx:pt idx="50134">0</cx:pt>
          <cx:pt idx="50135">1</cx:pt>
          <cx:pt idx="50136">1</cx:pt>
          <cx:pt idx="50137">0</cx:pt>
          <cx:pt idx="50138">1</cx:pt>
          <cx:pt idx="50139">0</cx:pt>
          <cx:pt idx="50140">0</cx:pt>
          <cx:pt idx="50141">0</cx:pt>
          <cx:pt idx="50142">1</cx:pt>
          <cx:pt idx="50143">0</cx:pt>
          <cx:pt idx="50144">0</cx:pt>
          <cx:pt idx="50145">0</cx:pt>
          <cx:pt idx="50146">1</cx:pt>
          <cx:pt idx="50147">1</cx:pt>
          <cx:pt idx="50148">1</cx:pt>
          <cx:pt idx="50149">0</cx:pt>
          <cx:pt idx="50150">1</cx:pt>
          <cx:pt idx="50151">1</cx:pt>
          <cx:pt idx="50152">0</cx:pt>
          <cx:pt idx="50153">0</cx:pt>
          <cx:pt idx="50154">0</cx:pt>
          <cx:pt idx="50155">0</cx:pt>
          <cx:pt idx="50156">0</cx:pt>
          <cx:pt idx="50157">1</cx:pt>
          <cx:pt idx="50158">1</cx:pt>
          <cx:pt idx="50159">0</cx:pt>
          <cx:pt idx="50160">0</cx:pt>
          <cx:pt idx="50161">0</cx:pt>
          <cx:pt idx="50162">1</cx:pt>
          <cx:pt idx="50163">1</cx:pt>
          <cx:pt idx="50164">0</cx:pt>
          <cx:pt idx="50165">1</cx:pt>
          <cx:pt idx="50166">0</cx:pt>
          <cx:pt idx="50167">1</cx:pt>
          <cx:pt idx="50168">1</cx:pt>
          <cx:pt idx="50169">0</cx:pt>
          <cx:pt idx="50170">1</cx:pt>
          <cx:pt idx="50171">1</cx:pt>
          <cx:pt idx="50172">1</cx:pt>
          <cx:pt idx="50173">0</cx:pt>
          <cx:pt idx="50174">1</cx:pt>
          <cx:pt idx="50175">0</cx:pt>
          <cx:pt idx="50176">0</cx:pt>
          <cx:pt idx="50177">0</cx:pt>
          <cx:pt idx="50178">0</cx:pt>
          <cx:pt idx="50179">1</cx:pt>
          <cx:pt idx="50180">0</cx:pt>
          <cx:pt idx="50181">1</cx:pt>
          <cx:pt idx="50182">0</cx:pt>
          <cx:pt idx="50183">0</cx:pt>
          <cx:pt idx="50184">1</cx:pt>
          <cx:pt idx="50185">0</cx:pt>
          <cx:pt idx="50186">0</cx:pt>
          <cx:pt idx="50187">1</cx:pt>
          <cx:pt idx="50188">1</cx:pt>
          <cx:pt idx="50189">0</cx:pt>
          <cx:pt idx="50190">0</cx:pt>
          <cx:pt idx="50191">0</cx:pt>
          <cx:pt idx="50192">0</cx:pt>
          <cx:pt idx="50193">0</cx:pt>
          <cx:pt idx="50194">0</cx:pt>
          <cx:pt idx="50195">0</cx:pt>
          <cx:pt idx="50196">1</cx:pt>
          <cx:pt idx="50197">1</cx:pt>
          <cx:pt idx="50198">0</cx:pt>
          <cx:pt idx="50199">1</cx:pt>
          <cx:pt idx="50200">0</cx:pt>
          <cx:pt idx="50201">1</cx:pt>
          <cx:pt idx="50202">1</cx:pt>
          <cx:pt idx="50203">0</cx:pt>
          <cx:pt idx="50204">0</cx:pt>
          <cx:pt idx="50205">1</cx:pt>
          <cx:pt idx="50206">0</cx:pt>
          <cx:pt idx="50207">0</cx:pt>
          <cx:pt idx="50208">1</cx:pt>
          <cx:pt idx="50209">1</cx:pt>
          <cx:pt idx="50210">0</cx:pt>
          <cx:pt idx="50211">1</cx:pt>
          <cx:pt idx="50212">1</cx:pt>
          <cx:pt idx="50213">1</cx:pt>
          <cx:pt idx="50214">1</cx:pt>
          <cx:pt idx="50215">0</cx:pt>
          <cx:pt idx="50216">0</cx:pt>
          <cx:pt idx="50217">0</cx:pt>
          <cx:pt idx="50218">1</cx:pt>
          <cx:pt idx="50219">0</cx:pt>
          <cx:pt idx="50220">0</cx:pt>
          <cx:pt idx="50221">0</cx:pt>
          <cx:pt idx="50222">0</cx:pt>
          <cx:pt idx="50223">0</cx:pt>
          <cx:pt idx="50224">1</cx:pt>
          <cx:pt idx="50225">0</cx:pt>
          <cx:pt idx="50226">1</cx:pt>
          <cx:pt idx="50227">0</cx:pt>
          <cx:pt idx="50228">0</cx:pt>
          <cx:pt idx="50229">0</cx:pt>
          <cx:pt idx="50230">0</cx:pt>
          <cx:pt idx="50231">1</cx:pt>
          <cx:pt idx="50232">1</cx:pt>
          <cx:pt idx="50233">1</cx:pt>
          <cx:pt idx="50234">1</cx:pt>
          <cx:pt idx="50235">0</cx:pt>
          <cx:pt idx="50236">0</cx:pt>
          <cx:pt idx="50237">0</cx:pt>
          <cx:pt idx="50238">1</cx:pt>
          <cx:pt idx="50239">1</cx:pt>
          <cx:pt idx="50240">0</cx:pt>
          <cx:pt idx="50241">1</cx:pt>
          <cx:pt idx="50242">1</cx:pt>
          <cx:pt idx="50243">0</cx:pt>
          <cx:pt idx="50244">1</cx:pt>
          <cx:pt idx="50245">1</cx:pt>
          <cx:pt idx="50246">1</cx:pt>
          <cx:pt idx="50247">0</cx:pt>
          <cx:pt idx="50248">0</cx:pt>
          <cx:pt idx="50249">1</cx:pt>
          <cx:pt idx="50250">0</cx:pt>
          <cx:pt idx="50251">0</cx:pt>
          <cx:pt idx="50252">0</cx:pt>
          <cx:pt idx="50253">0</cx:pt>
          <cx:pt idx="50254">1</cx:pt>
          <cx:pt idx="50255">0</cx:pt>
          <cx:pt idx="50256">1</cx:pt>
          <cx:pt idx="50257">0</cx:pt>
          <cx:pt idx="50258">0</cx:pt>
          <cx:pt idx="50259">1</cx:pt>
          <cx:pt idx="50260">1</cx:pt>
          <cx:pt idx="50261">1</cx:pt>
          <cx:pt idx="50262">1</cx:pt>
          <cx:pt idx="50263">0</cx:pt>
          <cx:pt idx="50264">0</cx:pt>
          <cx:pt idx="50265">1</cx:pt>
          <cx:pt idx="50266">1</cx:pt>
          <cx:pt idx="50267">1</cx:pt>
          <cx:pt idx="50268">1</cx:pt>
          <cx:pt idx="50269">1</cx:pt>
          <cx:pt idx="50270">0</cx:pt>
          <cx:pt idx="50271">1</cx:pt>
          <cx:pt idx="50272">0</cx:pt>
          <cx:pt idx="50273">0</cx:pt>
          <cx:pt idx="50274">0</cx:pt>
          <cx:pt idx="50275">1</cx:pt>
          <cx:pt idx="50276">0</cx:pt>
          <cx:pt idx="50277">0</cx:pt>
          <cx:pt idx="50278">0</cx:pt>
          <cx:pt idx="50279">0</cx:pt>
          <cx:pt idx="50280">0</cx:pt>
          <cx:pt idx="50281">0</cx:pt>
          <cx:pt idx="50282">0</cx:pt>
          <cx:pt idx="50283">1</cx:pt>
          <cx:pt idx="50284">1</cx:pt>
          <cx:pt idx="50285">0</cx:pt>
          <cx:pt idx="50286">0</cx:pt>
          <cx:pt idx="50287">0</cx:pt>
          <cx:pt idx="50288">1</cx:pt>
          <cx:pt idx="50289">0</cx:pt>
          <cx:pt idx="50290">1</cx:pt>
          <cx:pt idx="50291">1</cx:pt>
          <cx:pt idx="50292">1</cx:pt>
          <cx:pt idx="50293">1</cx:pt>
          <cx:pt idx="50294">0</cx:pt>
          <cx:pt idx="50295">0</cx:pt>
          <cx:pt idx="50296">0</cx:pt>
          <cx:pt idx="50297">0</cx:pt>
          <cx:pt idx="50298">0</cx:pt>
          <cx:pt idx="50299">1</cx:pt>
          <cx:pt idx="50300">1</cx:pt>
          <cx:pt idx="50301">0</cx:pt>
          <cx:pt idx="50302">0</cx:pt>
          <cx:pt idx="50303">0</cx:pt>
          <cx:pt idx="50304">1</cx:pt>
          <cx:pt idx="50305">0</cx:pt>
          <cx:pt idx="50306">0</cx:pt>
          <cx:pt idx="50307">0</cx:pt>
          <cx:pt idx="50308">0</cx:pt>
          <cx:pt idx="50309">1</cx:pt>
          <cx:pt idx="50310">1</cx:pt>
          <cx:pt idx="50311">0</cx:pt>
          <cx:pt idx="50312">1</cx:pt>
          <cx:pt idx="50313">0</cx:pt>
          <cx:pt idx="50314">0</cx:pt>
          <cx:pt idx="50315">1</cx:pt>
          <cx:pt idx="50316">0</cx:pt>
          <cx:pt idx="50317">1</cx:pt>
          <cx:pt idx="50318">1</cx:pt>
          <cx:pt idx="50319">1</cx:pt>
          <cx:pt idx="50320">0</cx:pt>
          <cx:pt idx="50321">0</cx:pt>
          <cx:pt idx="50322">0</cx:pt>
          <cx:pt idx="50323">1</cx:pt>
          <cx:pt idx="50324">0</cx:pt>
          <cx:pt idx="50325">1</cx:pt>
          <cx:pt idx="50326">0</cx:pt>
          <cx:pt idx="50327">0</cx:pt>
          <cx:pt idx="50328">1</cx:pt>
          <cx:pt idx="50329">0</cx:pt>
          <cx:pt idx="50330">0</cx:pt>
          <cx:pt idx="50331">0</cx:pt>
          <cx:pt idx="50332">1</cx:pt>
          <cx:pt idx="50333">0</cx:pt>
          <cx:pt idx="50334">0</cx:pt>
          <cx:pt idx="50335">0</cx:pt>
          <cx:pt idx="50336">1</cx:pt>
          <cx:pt idx="50337">0</cx:pt>
          <cx:pt idx="50338">0</cx:pt>
          <cx:pt idx="50339">0</cx:pt>
          <cx:pt idx="50340">0</cx:pt>
          <cx:pt idx="50341">0</cx:pt>
          <cx:pt idx="50342">1</cx:pt>
          <cx:pt idx="50343">0</cx:pt>
          <cx:pt idx="50344">1</cx:pt>
          <cx:pt idx="50345">1</cx:pt>
          <cx:pt idx="50346">0</cx:pt>
          <cx:pt idx="50347">0</cx:pt>
          <cx:pt idx="50348">1</cx:pt>
          <cx:pt idx="50349">1</cx:pt>
          <cx:pt idx="50350">0</cx:pt>
          <cx:pt idx="50351">1</cx:pt>
          <cx:pt idx="50352">1</cx:pt>
          <cx:pt idx="50353">1</cx:pt>
          <cx:pt idx="50354">0</cx:pt>
          <cx:pt idx="50355">0</cx:pt>
          <cx:pt idx="50356">1</cx:pt>
          <cx:pt idx="50357">0</cx:pt>
          <cx:pt idx="50358">0</cx:pt>
          <cx:pt idx="50359">1</cx:pt>
          <cx:pt idx="50360">1</cx:pt>
          <cx:pt idx="50361">0</cx:pt>
          <cx:pt idx="50362">0</cx:pt>
          <cx:pt idx="50363">0</cx:pt>
          <cx:pt idx="50364">0</cx:pt>
          <cx:pt idx="50365">1</cx:pt>
          <cx:pt idx="50366">0</cx:pt>
          <cx:pt idx="50367">0</cx:pt>
          <cx:pt idx="50368">0</cx:pt>
          <cx:pt idx="50369">0</cx:pt>
          <cx:pt idx="50370">0</cx:pt>
          <cx:pt idx="50371">1</cx:pt>
          <cx:pt idx="50372">1</cx:pt>
          <cx:pt idx="50373">1</cx:pt>
          <cx:pt idx="50374">1</cx:pt>
          <cx:pt idx="50375">1</cx:pt>
          <cx:pt idx="50376">0</cx:pt>
          <cx:pt idx="50377">0</cx:pt>
          <cx:pt idx="50378">0</cx:pt>
          <cx:pt idx="50379">1</cx:pt>
          <cx:pt idx="50380">1</cx:pt>
          <cx:pt idx="50381">0</cx:pt>
          <cx:pt idx="50382">1</cx:pt>
          <cx:pt idx="50383">0</cx:pt>
          <cx:pt idx="50384">0</cx:pt>
          <cx:pt idx="50385">0</cx:pt>
          <cx:pt idx="50386">0</cx:pt>
          <cx:pt idx="50387">0</cx:pt>
          <cx:pt idx="50388">1</cx:pt>
          <cx:pt idx="50389">1</cx:pt>
          <cx:pt idx="50390">1</cx:pt>
          <cx:pt idx="50391">0</cx:pt>
          <cx:pt idx="50392">0</cx:pt>
          <cx:pt idx="50393">1</cx:pt>
          <cx:pt idx="50394">1</cx:pt>
          <cx:pt idx="50395">0</cx:pt>
          <cx:pt idx="50396">1</cx:pt>
          <cx:pt idx="50397">1</cx:pt>
          <cx:pt idx="50398">0</cx:pt>
          <cx:pt idx="50399">0</cx:pt>
          <cx:pt idx="50400">0</cx:pt>
          <cx:pt idx="50401">0</cx:pt>
          <cx:pt idx="50402">1</cx:pt>
          <cx:pt idx="50403">0</cx:pt>
          <cx:pt idx="50404">0</cx:pt>
          <cx:pt idx="50405">1</cx:pt>
          <cx:pt idx="50406">0</cx:pt>
          <cx:pt idx="50407">1</cx:pt>
          <cx:pt idx="50408">0</cx:pt>
          <cx:pt idx="50409">0</cx:pt>
          <cx:pt idx="50410">0</cx:pt>
          <cx:pt idx="50411">1</cx:pt>
          <cx:pt idx="50412">1</cx:pt>
          <cx:pt idx="50413">0</cx:pt>
          <cx:pt idx="50414">1</cx:pt>
          <cx:pt idx="50415">1</cx:pt>
          <cx:pt idx="50416">0</cx:pt>
          <cx:pt idx="50417">1</cx:pt>
          <cx:pt idx="50418">1</cx:pt>
          <cx:pt idx="50419">0</cx:pt>
          <cx:pt idx="50420">0</cx:pt>
          <cx:pt idx="50421">1</cx:pt>
          <cx:pt idx="50422">0</cx:pt>
          <cx:pt idx="50423">0</cx:pt>
          <cx:pt idx="50424">0</cx:pt>
          <cx:pt idx="50425">0</cx:pt>
          <cx:pt idx="50426">0</cx:pt>
          <cx:pt idx="50427">0</cx:pt>
          <cx:pt idx="50428">0</cx:pt>
          <cx:pt idx="50429">0</cx:pt>
          <cx:pt idx="50430">1</cx:pt>
          <cx:pt idx="50431">0</cx:pt>
          <cx:pt idx="50432">1</cx:pt>
          <cx:pt idx="50433">1</cx:pt>
          <cx:pt idx="50434">0</cx:pt>
          <cx:pt idx="50435">0</cx:pt>
          <cx:pt idx="50436">0</cx:pt>
          <cx:pt idx="50437">1</cx:pt>
          <cx:pt idx="50438">1</cx:pt>
          <cx:pt idx="50439">1</cx:pt>
          <cx:pt idx="50440">0</cx:pt>
          <cx:pt idx="50441">1</cx:pt>
          <cx:pt idx="50442">0</cx:pt>
          <cx:pt idx="50443">0</cx:pt>
          <cx:pt idx="50444">0</cx:pt>
          <cx:pt idx="50445">0</cx:pt>
          <cx:pt idx="50446">1</cx:pt>
          <cx:pt idx="50447">0</cx:pt>
          <cx:pt idx="50448">1</cx:pt>
          <cx:pt idx="50449">0</cx:pt>
          <cx:pt idx="50450">1</cx:pt>
          <cx:pt idx="50451">1</cx:pt>
          <cx:pt idx="50452">1</cx:pt>
          <cx:pt idx="50453">1</cx:pt>
          <cx:pt idx="50454">0</cx:pt>
          <cx:pt idx="50455">1</cx:pt>
          <cx:pt idx="50456">0</cx:pt>
          <cx:pt idx="50457">1</cx:pt>
          <cx:pt idx="50458">1</cx:pt>
          <cx:pt idx="50459">0</cx:pt>
          <cx:pt idx="50460">1</cx:pt>
          <cx:pt idx="50461">0</cx:pt>
          <cx:pt idx="50462">0</cx:pt>
          <cx:pt idx="50463">0</cx:pt>
          <cx:pt idx="50464">1</cx:pt>
          <cx:pt idx="50465">0</cx:pt>
          <cx:pt idx="50466">1</cx:pt>
          <cx:pt idx="50467">1</cx:pt>
          <cx:pt idx="50468">1</cx:pt>
          <cx:pt idx="50469">0</cx:pt>
          <cx:pt idx="50470">1</cx:pt>
          <cx:pt idx="50471">1</cx:pt>
          <cx:pt idx="50472">0</cx:pt>
          <cx:pt idx="50473">0</cx:pt>
          <cx:pt idx="50474">1</cx:pt>
          <cx:pt idx="50475">1</cx:pt>
          <cx:pt idx="50476">0</cx:pt>
          <cx:pt idx="50477">1</cx:pt>
          <cx:pt idx="50478">0</cx:pt>
          <cx:pt idx="50479">0</cx:pt>
          <cx:pt idx="50480">0</cx:pt>
          <cx:pt idx="50481">0</cx:pt>
          <cx:pt idx="50482">0</cx:pt>
          <cx:pt idx="50483">1</cx:pt>
          <cx:pt idx="50484">0</cx:pt>
          <cx:pt idx="50485">0</cx:pt>
          <cx:pt idx="50486">1</cx:pt>
          <cx:pt idx="50487">0</cx:pt>
          <cx:pt idx="50488">1</cx:pt>
          <cx:pt idx="50489">1</cx:pt>
          <cx:pt idx="50490">1</cx:pt>
          <cx:pt idx="50491">1</cx:pt>
          <cx:pt idx="50492">1</cx:pt>
          <cx:pt idx="50493">0</cx:pt>
          <cx:pt idx="50494">1</cx:pt>
          <cx:pt idx="50495">0</cx:pt>
          <cx:pt idx="50496">0</cx:pt>
          <cx:pt idx="50497">1</cx:pt>
          <cx:pt idx="50498">1</cx:pt>
          <cx:pt idx="50499">0</cx:pt>
          <cx:pt idx="50500">0</cx:pt>
          <cx:pt idx="50501">1</cx:pt>
          <cx:pt idx="50502">0</cx:pt>
          <cx:pt idx="50503">1</cx:pt>
          <cx:pt idx="50504">0</cx:pt>
          <cx:pt idx="50505">0</cx:pt>
          <cx:pt idx="50506">0</cx:pt>
          <cx:pt idx="50507">0</cx:pt>
          <cx:pt idx="50508">1</cx:pt>
          <cx:pt idx="50509">0</cx:pt>
          <cx:pt idx="50510">1</cx:pt>
          <cx:pt idx="50511">1</cx:pt>
          <cx:pt idx="50512">0</cx:pt>
          <cx:pt idx="50513">1</cx:pt>
          <cx:pt idx="50514">0</cx:pt>
          <cx:pt idx="50515">0</cx:pt>
          <cx:pt idx="50516">1</cx:pt>
          <cx:pt idx="50517">0</cx:pt>
          <cx:pt idx="50518">1</cx:pt>
          <cx:pt idx="50519">0</cx:pt>
          <cx:pt idx="50520">1</cx:pt>
          <cx:pt idx="50521">0</cx:pt>
          <cx:pt idx="50522">0</cx:pt>
          <cx:pt idx="50523">1</cx:pt>
          <cx:pt idx="50524">0</cx:pt>
          <cx:pt idx="50525">1</cx:pt>
          <cx:pt idx="50526">0</cx:pt>
          <cx:pt idx="50527">0</cx:pt>
          <cx:pt idx="50528">1</cx:pt>
          <cx:pt idx="50529">1</cx:pt>
          <cx:pt idx="50530">0</cx:pt>
          <cx:pt idx="50531">0</cx:pt>
          <cx:pt idx="50532">1</cx:pt>
          <cx:pt idx="50533">0</cx:pt>
          <cx:pt idx="50534">1</cx:pt>
          <cx:pt idx="50535">0</cx:pt>
          <cx:pt idx="50536">0</cx:pt>
          <cx:pt idx="50537">0</cx:pt>
          <cx:pt idx="50538">1</cx:pt>
          <cx:pt idx="50539">0</cx:pt>
          <cx:pt idx="50540">0</cx:pt>
          <cx:pt idx="50541">1</cx:pt>
          <cx:pt idx="50542">1</cx:pt>
          <cx:pt idx="50543">1</cx:pt>
          <cx:pt idx="50544">0</cx:pt>
          <cx:pt idx="50545">0</cx:pt>
          <cx:pt idx="50546">1</cx:pt>
          <cx:pt idx="50547">0</cx:pt>
          <cx:pt idx="50548">0</cx:pt>
          <cx:pt idx="50549">1</cx:pt>
          <cx:pt idx="50550">1</cx:pt>
          <cx:pt idx="50551">0</cx:pt>
          <cx:pt idx="50552">0</cx:pt>
          <cx:pt idx="50553">0</cx:pt>
          <cx:pt idx="50554">0</cx:pt>
          <cx:pt idx="50555">1</cx:pt>
          <cx:pt idx="50556">0</cx:pt>
          <cx:pt idx="50557">0</cx:pt>
          <cx:pt idx="50558">1</cx:pt>
          <cx:pt idx="50559">0</cx:pt>
          <cx:pt idx="50560">0</cx:pt>
          <cx:pt idx="50561">0</cx:pt>
          <cx:pt idx="50562">1</cx:pt>
          <cx:pt idx="50563">0</cx:pt>
          <cx:pt idx="50564">0</cx:pt>
          <cx:pt idx="50565">0</cx:pt>
          <cx:pt idx="50566">0</cx:pt>
          <cx:pt idx="50567">0</cx:pt>
          <cx:pt idx="50568">0</cx:pt>
          <cx:pt idx="50569">1</cx:pt>
          <cx:pt idx="50570">0</cx:pt>
          <cx:pt idx="50571">0</cx:pt>
          <cx:pt idx="50572">0</cx:pt>
          <cx:pt idx="50573">1</cx:pt>
          <cx:pt idx="50574">1</cx:pt>
          <cx:pt idx="50575">0</cx:pt>
          <cx:pt idx="50576">1</cx:pt>
          <cx:pt idx="50577">0</cx:pt>
          <cx:pt idx="50578">0</cx:pt>
          <cx:pt idx="50579">1</cx:pt>
          <cx:pt idx="50580">0</cx:pt>
          <cx:pt idx="50581">1</cx:pt>
          <cx:pt idx="50582">0</cx:pt>
          <cx:pt idx="50583">0</cx:pt>
          <cx:pt idx="50584">0</cx:pt>
          <cx:pt idx="50585">0</cx:pt>
          <cx:pt idx="50586">1</cx:pt>
          <cx:pt idx="50587">0</cx:pt>
          <cx:pt idx="50588">0</cx:pt>
          <cx:pt idx="50589">1</cx:pt>
          <cx:pt idx="50590">0</cx:pt>
          <cx:pt idx="50591">0</cx:pt>
          <cx:pt idx="50592">1</cx:pt>
          <cx:pt idx="50593">0</cx:pt>
          <cx:pt idx="50594">1</cx:pt>
          <cx:pt idx="50595">1</cx:pt>
          <cx:pt idx="50596">1</cx:pt>
          <cx:pt idx="50597">0</cx:pt>
          <cx:pt idx="50598">0</cx:pt>
          <cx:pt idx="50599">1</cx:pt>
          <cx:pt idx="50600">1</cx:pt>
          <cx:pt idx="50601">1</cx:pt>
          <cx:pt idx="50602">0</cx:pt>
          <cx:pt idx="50603">0</cx:pt>
          <cx:pt idx="50604">0</cx:pt>
          <cx:pt idx="50605">0</cx:pt>
          <cx:pt idx="50606">0</cx:pt>
          <cx:pt idx="50607">0</cx:pt>
          <cx:pt idx="50608">0</cx:pt>
          <cx:pt idx="50609">0</cx:pt>
          <cx:pt idx="50610">1</cx:pt>
          <cx:pt idx="50611">0</cx:pt>
          <cx:pt idx="50612">1</cx:pt>
          <cx:pt idx="50613">1</cx:pt>
          <cx:pt idx="50614">1</cx:pt>
          <cx:pt idx="50615">0</cx:pt>
          <cx:pt idx="50616">0</cx:pt>
          <cx:pt idx="50617">0</cx:pt>
          <cx:pt idx="50618">1</cx:pt>
          <cx:pt idx="50619">1</cx:pt>
          <cx:pt idx="50620">0</cx:pt>
          <cx:pt idx="50621">1</cx:pt>
          <cx:pt idx="50622">0</cx:pt>
          <cx:pt idx="50623">0</cx:pt>
          <cx:pt idx="50624">0</cx:pt>
          <cx:pt idx="50625">1</cx:pt>
          <cx:pt idx="50626">0</cx:pt>
          <cx:pt idx="50627">0</cx:pt>
          <cx:pt idx="50628">0</cx:pt>
          <cx:pt idx="50629">0</cx:pt>
          <cx:pt idx="50630">1</cx:pt>
          <cx:pt idx="50631">1</cx:pt>
          <cx:pt idx="50632">0</cx:pt>
          <cx:pt idx="50633">0</cx:pt>
          <cx:pt idx="50634">0</cx:pt>
          <cx:pt idx="50635">1</cx:pt>
          <cx:pt idx="50636">0</cx:pt>
          <cx:pt idx="50637">0</cx:pt>
          <cx:pt idx="50638">1</cx:pt>
          <cx:pt idx="50639">1</cx:pt>
          <cx:pt idx="50640">0</cx:pt>
          <cx:pt idx="50641">1</cx:pt>
          <cx:pt idx="50642">0</cx:pt>
          <cx:pt idx="50643">0</cx:pt>
          <cx:pt idx="50644">1</cx:pt>
          <cx:pt idx="50645">0</cx:pt>
          <cx:pt idx="50646">0</cx:pt>
          <cx:pt idx="50647">1</cx:pt>
          <cx:pt idx="50648">0</cx:pt>
          <cx:pt idx="50649">1</cx:pt>
          <cx:pt idx="50650">0</cx:pt>
          <cx:pt idx="50651">1</cx:pt>
          <cx:pt idx="50652">0</cx:pt>
          <cx:pt idx="50653">0</cx:pt>
          <cx:pt idx="50654">0</cx:pt>
          <cx:pt idx="50655">0</cx:pt>
          <cx:pt idx="50656">0</cx:pt>
          <cx:pt idx="50657">1</cx:pt>
          <cx:pt idx="50658">0</cx:pt>
          <cx:pt idx="50659">0</cx:pt>
          <cx:pt idx="50660">1</cx:pt>
          <cx:pt idx="50661">1</cx:pt>
          <cx:pt idx="50662">1</cx:pt>
          <cx:pt idx="50663">0</cx:pt>
          <cx:pt idx="50664">1</cx:pt>
          <cx:pt idx="50665">0</cx:pt>
          <cx:pt idx="50666">0</cx:pt>
          <cx:pt idx="50667">0</cx:pt>
          <cx:pt idx="50668">0</cx:pt>
          <cx:pt idx="50669">0</cx:pt>
          <cx:pt idx="50670">1</cx:pt>
          <cx:pt idx="50671">0</cx:pt>
          <cx:pt idx="50672">1</cx:pt>
          <cx:pt idx="50673">0</cx:pt>
          <cx:pt idx="50674">1</cx:pt>
          <cx:pt idx="50675">0</cx:pt>
          <cx:pt idx="50676">1</cx:pt>
          <cx:pt idx="50677">0</cx:pt>
          <cx:pt idx="50678">1</cx:pt>
          <cx:pt idx="50679">0</cx:pt>
          <cx:pt idx="50680">0</cx:pt>
          <cx:pt idx="50681">0</cx:pt>
          <cx:pt idx="50682">1</cx:pt>
          <cx:pt idx="50683">0</cx:pt>
          <cx:pt idx="50684">0</cx:pt>
          <cx:pt idx="50685">0</cx:pt>
          <cx:pt idx="50686">1</cx:pt>
          <cx:pt idx="50687">1</cx:pt>
          <cx:pt idx="50688">0</cx:pt>
          <cx:pt idx="50689">0</cx:pt>
          <cx:pt idx="50690">1</cx:pt>
          <cx:pt idx="50691">0</cx:pt>
          <cx:pt idx="50692">1</cx:pt>
          <cx:pt idx="50693">0</cx:pt>
          <cx:pt idx="50694">0</cx:pt>
          <cx:pt idx="50695">1</cx:pt>
          <cx:pt idx="50696">1</cx:pt>
          <cx:pt idx="50697">0</cx:pt>
          <cx:pt idx="50698">1</cx:pt>
          <cx:pt idx="50699">0</cx:pt>
          <cx:pt idx="50700">1</cx:pt>
          <cx:pt idx="50701">0</cx:pt>
          <cx:pt idx="50702">0</cx:pt>
          <cx:pt idx="50703">1</cx:pt>
          <cx:pt idx="50704">0</cx:pt>
          <cx:pt idx="50705">0</cx:pt>
          <cx:pt idx="50706">0</cx:pt>
          <cx:pt idx="50707">1</cx:pt>
          <cx:pt idx="50708">0</cx:pt>
          <cx:pt idx="50709">1</cx:pt>
          <cx:pt idx="50710">0</cx:pt>
          <cx:pt idx="50711">0</cx:pt>
          <cx:pt idx="50712">0</cx:pt>
          <cx:pt idx="50713">0</cx:pt>
          <cx:pt idx="50714">0</cx:pt>
          <cx:pt idx="50715">1</cx:pt>
          <cx:pt idx="50716">1</cx:pt>
          <cx:pt idx="50717">0</cx:pt>
          <cx:pt idx="50718">1</cx:pt>
          <cx:pt idx="50719">0</cx:pt>
          <cx:pt idx="50720">0</cx:pt>
          <cx:pt idx="50721">1</cx:pt>
          <cx:pt idx="50722">1</cx:pt>
          <cx:pt idx="50723">0</cx:pt>
          <cx:pt idx="50724">1</cx:pt>
          <cx:pt idx="50725">1</cx:pt>
          <cx:pt idx="50726">0</cx:pt>
          <cx:pt idx="50727">1</cx:pt>
          <cx:pt idx="50728">0</cx:pt>
          <cx:pt idx="50729">0</cx:pt>
          <cx:pt idx="50730">1</cx:pt>
          <cx:pt idx="50731">1</cx:pt>
          <cx:pt idx="50732">0</cx:pt>
          <cx:pt idx="50733">1</cx:pt>
          <cx:pt idx="50734">0</cx:pt>
          <cx:pt idx="50735">0</cx:pt>
          <cx:pt idx="50736">1</cx:pt>
          <cx:pt idx="50737">0</cx:pt>
          <cx:pt idx="50738">0</cx:pt>
          <cx:pt idx="50739">1</cx:pt>
          <cx:pt idx="50740">1</cx:pt>
          <cx:pt idx="50741">0</cx:pt>
          <cx:pt idx="50742">0</cx:pt>
          <cx:pt idx="50743">0</cx:pt>
          <cx:pt idx="50744">1</cx:pt>
          <cx:pt idx="50745">0</cx:pt>
          <cx:pt idx="50746">1</cx:pt>
          <cx:pt idx="50747">0</cx:pt>
          <cx:pt idx="50748">0</cx:pt>
          <cx:pt idx="50749">0</cx:pt>
          <cx:pt idx="50750">0</cx:pt>
          <cx:pt idx="50751">0</cx:pt>
          <cx:pt idx="50752">0</cx:pt>
          <cx:pt idx="50753">0</cx:pt>
          <cx:pt idx="50754">0</cx:pt>
          <cx:pt idx="50755">1</cx:pt>
          <cx:pt idx="50756">1</cx:pt>
          <cx:pt idx="50757">0</cx:pt>
          <cx:pt idx="50758">0</cx:pt>
          <cx:pt idx="50759">0</cx:pt>
          <cx:pt idx="50760">0</cx:pt>
          <cx:pt idx="50761">1</cx:pt>
          <cx:pt idx="50762">1</cx:pt>
          <cx:pt idx="50763">0</cx:pt>
          <cx:pt idx="50764">0</cx:pt>
          <cx:pt idx="50765">0</cx:pt>
          <cx:pt idx="50766">0</cx:pt>
          <cx:pt idx="50767">1</cx:pt>
          <cx:pt idx="50768">1</cx:pt>
          <cx:pt idx="50769">0</cx:pt>
          <cx:pt idx="50770">1</cx:pt>
          <cx:pt idx="50771">0</cx:pt>
          <cx:pt idx="50772">0</cx:pt>
          <cx:pt idx="50773">0</cx:pt>
          <cx:pt idx="50774">0</cx:pt>
          <cx:pt idx="50775">0</cx:pt>
          <cx:pt idx="50776">1</cx:pt>
          <cx:pt idx="50777">1</cx:pt>
          <cx:pt idx="50778">1</cx:pt>
          <cx:pt idx="50779">0</cx:pt>
          <cx:pt idx="50780">0</cx:pt>
          <cx:pt idx="50781">1</cx:pt>
          <cx:pt idx="50782">0</cx:pt>
          <cx:pt idx="50783">0</cx:pt>
          <cx:pt idx="50784">1</cx:pt>
          <cx:pt idx="50785">1</cx:pt>
          <cx:pt idx="50786">1</cx:pt>
          <cx:pt idx="50787">1</cx:pt>
          <cx:pt idx="50788">0</cx:pt>
          <cx:pt idx="50789">0</cx:pt>
          <cx:pt idx="50790">0</cx:pt>
          <cx:pt idx="50791">0</cx:pt>
          <cx:pt idx="50792">1</cx:pt>
          <cx:pt idx="50793">0</cx:pt>
          <cx:pt idx="50794">1</cx:pt>
          <cx:pt idx="50795">0</cx:pt>
          <cx:pt idx="50796">0</cx:pt>
          <cx:pt idx="50797">1</cx:pt>
          <cx:pt idx="50798">1</cx:pt>
          <cx:pt idx="50799">0</cx:pt>
          <cx:pt idx="50800">1</cx:pt>
          <cx:pt idx="50801">0</cx:pt>
          <cx:pt idx="50802">0</cx:pt>
          <cx:pt idx="50803">1</cx:pt>
          <cx:pt idx="50804">1</cx:pt>
          <cx:pt idx="50805">0</cx:pt>
          <cx:pt idx="50806">0</cx:pt>
          <cx:pt idx="50807">0</cx:pt>
          <cx:pt idx="50808">1</cx:pt>
          <cx:pt idx="50809">1</cx:pt>
          <cx:pt idx="50810">0</cx:pt>
          <cx:pt idx="50811">0</cx:pt>
          <cx:pt idx="50812">0</cx:pt>
          <cx:pt idx="50813">0</cx:pt>
          <cx:pt idx="50814">1</cx:pt>
          <cx:pt idx="50815">1</cx:pt>
          <cx:pt idx="50816">0</cx:pt>
          <cx:pt idx="50817">0</cx:pt>
          <cx:pt idx="50818">0</cx:pt>
          <cx:pt idx="50819">0</cx:pt>
          <cx:pt idx="50820">0</cx:pt>
          <cx:pt idx="50821">0</cx:pt>
          <cx:pt idx="50822">0</cx:pt>
          <cx:pt idx="50823">1</cx:pt>
          <cx:pt idx="50824">0</cx:pt>
          <cx:pt idx="50825">0</cx:pt>
          <cx:pt idx="50826">0</cx:pt>
          <cx:pt idx="50827">1</cx:pt>
          <cx:pt idx="50828">0</cx:pt>
          <cx:pt idx="50829">0</cx:pt>
          <cx:pt idx="50830">1</cx:pt>
          <cx:pt idx="50831">1</cx:pt>
          <cx:pt idx="50832">0</cx:pt>
          <cx:pt idx="50833">1</cx:pt>
          <cx:pt idx="50834">0</cx:pt>
          <cx:pt idx="50835">1</cx:pt>
          <cx:pt idx="50836">0</cx:pt>
          <cx:pt idx="50837">1</cx:pt>
          <cx:pt idx="50838">0</cx:pt>
          <cx:pt idx="50839">0</cx:pt>
          <cx:pt idx="50840">0</cx:pt>
          <cx:pt idx="50841">0</cx:pt>
          <cx:pt idx="50842">0</cx:pt>
          <cx:pt idx="50843">1</cx:pt>
          <cx:pt idx="50844">0</cx:pt>
          <cx:pt idx="50845">1</cx:pt>
          <cx:pt idx="50846">0</cx:pt>
          <cx:pt idx="50847">0</cx:pt>
          <cx:pt idx="50848">1</cx:pt>
          <cx:pt idx="50849">1</cx:pt>
          <cx:pt idx="50850">1</cx:pt>
          <cx:pt idx="50851">1</cx:pt>
          <cx:pt idx="50852">0</cx:pt>
          <cx:pt idx="50853">0</cx:pt>
          <cx:pt idx="50854">0</cx:pt>
          <cx:pt idx="50855">0</cx:pt>
          <cx:pt idx="50856">0</cx:pt>
          <cx:pt idx="50857">0</cx:pt>
          <cx:pt idx="50858">0</cx:pt>
          <cx:pt idx="50859">0</cx:pt>
          <cx:pt idx="50860">0</cx:pt>
          <cx:pt idx="50861">1</cx:pt>
          <cx:pt idx="50862">1</cx:pt>
          <cx:pt idx="50863">1</cx:pt>
          <cx:pt idx="50864">1</cx:pt>
          <cx:pt idx="50865">0</cx:pt>
          <cx:pt idx="50866">1</cx:pt>
          <cx:pt idx="50867">1</cx:pt>
          <cx:pt idx="50868">0</cx:pt>
          <cx:pt idx="50869">1</cx:pt>
          <cx:pt idx="50870">0</cx:pt>
          <cx:pt idx="50871">1</cx:pt>
          <cx:pt idx="50872">1</cx:pt>
          <cx:pt idx="50873">0</cx:pt>
          <cx:pt idx="50874">0</cx:pt>
          <cx:pt idx="50875">1</cx:pt>
          <cx:pt idx="50876">1</cx:pt>
          <cx:pt idx="50877">0</cx:pt>
          <cx:pt idx="50878">0</cx:pt>
          <cx:pt idx="50879">0</cx:pt>
          <cx:pt idx="50880">1</cx:pt>
          <cx:pt idx="50881">1</cx:pt>
          <cx:pt idx="50882">0</cx:pt>
          <cx:pt idx="50883">0</cx:pt>
          <cx:pt idx="50884">1</cx:pt>
          <cx:pt idx="50885">0</cx:pt>
          <cx:pt idx="50886">0</cx:pt>
          <cx:pt idx="50887">1</cx:pt>
          <cx:pt idx="50888">0</cx:pt>
          <cx:pt idx="50889">0</cx:pt>
          <cx:pt idx="50890">0</cx:pt>
          <cx:pt idx="50891">0</cx:pt>
          <cx:pt idx="50892">1</cx:pt>
          <cx:pt idx="50893">1</cx:pt>
          <cx:pt idx="50894">1</cx:pt>
          <cx:pt idx="50895">0</cx:pt>
          <cx:pt idx="50896">0</cx:pt>
          <cx:pt idx="50897">1</cx:pt>
          <cx:pt idx="50898">1</cx:pt>
          <cx:pt idx="50899">0</cx:pt>
          <cx:pt idx="50900">0</cx:pt>
          <cx:pt idx="50901">1</cx:pt>
          <cx:pt idx="50902">1</cx:pt>
          <cx:pt idx="50903">0</cx:pt>
          <cx:pt idx="50904">0</cx:pt>
          <cx:pt idx="50905">0</cx:pt>
          <cx:pt idx="50906">0</cx:pt>
          <cx:pt idx="50907">1</cx:pt>
          <cx:pt idx="50908">1</cx:pt>
          <cx:pt idx="50909">0</cx:pt>
          <cx:pt idx="50910">1</cx:pt>
          <cx:pt idx="50911">1</cx:pt>
          <cx:pt idx="50912">0</cx:pt>
          <cx:pt idx="50913">1</cx:pt>
          <cx:pt idx="50914">0</cx:pt>
          <cx:pt idx="50915">1</cx:pt>
          <cx:pt idx="50916">0</cx:pt>
          <cx:pt idx="50917">0</cx:pt>
          <cx:pt idx="50918">1</cx:pt>
          <cx:pt idx="50919">0</cx:pt>
          <cx:pt idx="50920">1</cx:pt>
          <cx:pt idx="50921">0</cx:pt>
          <cx:pt idx="50922">1</cx:pt>
          <cx:pt idx="50923">0</cx:pt>
          <cx:pt idx="50924">1</cx:pt>
          <cx:pt idx="50925">0</cx:pt>
          <cx:pt idx="50926">0</cx:pt>
          <cx:pt idx="50927">1</cx:pt>
          <cx:pt idx="50928">0</cx:pt>
          <cx:pt idx="50929">1</cx:pt>
          <cx:pt idx="50930">0</cx:pt>
          <cx:pt idx="50931">1</cx:pt>
          <cx:pt idx="50932">1</cx:pt>
          <cx:pt idx="50933">0</cx:pt>
          <cx:pt idx="50934">1</cx:pt>
          <cx:pt idx="50935">1</cx:pt>
          <cx:pt idx="50936">1</cx:pt>
          <cx:pt idx="50937">0</cx:pt>
          <cx:pt idx="50938">0</cx:pt>
          <cx:pt idx="50939">0</cx:pt>
          <cx:pt idx="50940">0</cx:pt>
          <cx:pt idx="50941">0</cx:pt>
          <cx:pt idx="50942">0</cx:pt>
          <cx:pt idx="50943">0</cx:pt>
          <cx:pt idx="50944">0</cx:pt>
          <cx:pt idx="50945">0</cx:pt>
          <cx:pt idx="50946">1</cx:pt>
          <cx:pt idx="50947">0</cx:pt>
          <cx:pt idx="50948">0</cx:pt>
          <cx:pt idx="50949">1</cx:pt>
          <cx:pt idx="50950">1</cx:pt>
          <cx:pt idx="50951">0</cx:pt>
          <cx:pt idx="50952">0</cx:pt>
          <cx:pt idx="50953">0</cx:pt>
          <cx:pt idx="50954">1</cx:pt>
          <cx:pt idx="50955">0</cx:pt>
          <cx:pt idx="50956">0</cx:pt>
          <cx:pt idx="50957">1</cx:pt>
          <cx:pt idx="50958">1</cx:pt>
          <cx:pt idx="50959">1</cx:pt>
          <cx:pt idx="50960">1</cx:pt>
          <cx:pt idx="50961">0</cx:pt>
          <cx:pt idx="50962">0</cx:pt>
          <cx:pt idx="50963">0</cx:pt>
          <cx:pt idx="50964">1</cx:pt>
          <cx:pt idx="50965">0</cx:pt>
          <cx:pt idx="50966">0</cx:pt>
          <cx:pt idx="50967">1</cx:pt>
          <cx:pt idx="50968">0</cx:pt>
          <cx:pt idx="50969">0</cx:pt>
          <cx:pt idx="50970">0</cx:pt>
          <cx:pt idx="50971">1</cx:pt>
          <cx:pt idx="50972">1</cx:pt>
          <cx:pt idx="50973">1</cx:pt>
          <cx:pt idx="50974">1</cx:pt>
          <cx:pt idx="50975">0</cx:pt>
          <cx:pt idx="50976">0</cx:pt>
          <cx:pt idx="50977">1</cx:pt>
          <cx:pt idx="50978">1</cx:pt>
          <cx:pt idx="50979">1</cx:pt>
          <cx:pt idx="50980">1</cx:pt>
          <cx:pt idx="50981">0</cx:pt>
          <cx:pt idx="50982">0</cx:pt>
          <cx:pt idx="50983">1</cx:pt>
          <cx:pt idx="50984">0</cx:pt>
          <cx:pt idx="50985">0</cx:pt>
          <cx:pt idx="50986">0</cx:pt>
          <cx:pt idx="50987">1</cx:pt>
          <cx:pt idx="50988">0</cx:pt>
          <cx:pt idx="50989">0</cx:pt>
          <cx:pt idx="50990">0</cx:pt>
          <cx:pt idx="50991">0</cx:pt>
          <cx:pt idx="50992">1</cx:pt>
          <cx:pt idx="50993">0</cx:pt>
          <cx:pt idx="50994">0</cx:pt>
          <cx:pt idx="50995">0</cx:pt>
          <cx:pt idx="50996">1</cx:pt>
          <cx:pt idx="50997">0</cx:pt>
          <cx:pt idx="50998">1</cx:pt>
          <cx:pt idx="50999">0</cx:pt>
          <cx:pt idx="51000">0</cx:pt>
          <cx:pt idx="51001">1</cx:pt>
          <cx:pt idx="51002">0</cx:pt>
          <cx:pt idx="51003">1</cx:pt>
          <cx:pt idx="51004">0</cx:pt>
          <cx:pt idx="51005">0</cx:pt>
          <cx:pt idx="51006">0</cx:pt>
          <cx:pt idx="51007">1</cx:pt>
          <cx:pt idx="51008">1</cx:pt>
          <cx:pt idx="51009">0</cx:pt>
          <cx:pt idx="51010">0</cx:pt>
          <cx:pt idx="51011">1</cx:pt>
          <cx:pt idx="51012">0</cx:pt>
          <cx:pt idx="51013">1</cx:pt>
          <cx:pt idx="51014">0</cx:pt>
          <cx:pt idx="51015">1</cx:pt>
          <cx:pt idx="51016">0</cx:pt>
          <cx:pt idx="51017">1</cx:pt>
          <cx:pt idx="51018">0</cx:pt>
          <cx:pt idx="51019">0</cx:pt>
          <cx:pt idx="51020">0</cx:pt>
          <cx:pt idx="51021">1</cx:pt>
          <cx:pt idx="51022">1</cx:pt>
          <cx:pt idx="51023">0</cx:pt>
          <cx:pt idx="51024">1</cx:pt>
          <cx:pt idx="51025">1</cx:pt>
          <cx:pt idx="51026">1</cx:pt>
          <cx:pt idx="51027">0</cx:pt>
          <cx:pt idx="51028">1</cx:pt>
          <cx:pt idx="51029">1</cx:pt>
          <cx:pt idx="51030">1</cx:pt>
          <cx:pt idx="51031">0</cx:pt>
          <cx:pt idx="51032">0</cx:pt>
          <cx:pt idx="51033">0</cx:pt>
          <cx:pt idx="51034">1</cx:pt>
          <cx:pt idx="51035">1</cx:pt>
          <cx:pt idx="51036">1</cx:pt>
          <cx:pt idx="51037">1</cx:pt>
          <cx:pt idx="51038">1</cx:pt>
          <cx:pt idx="51039">0</cx:pt>
          <cx:pt idx="51040">0</cx:pt>
          <cx:pt idx="51041">1</cx:pt>
          <cx:pt idx="51042">0</cx:pt>
          <cx:pt idx="51043">1</cx:pt>
          <cx:pt idx="51044">1</cx:pt>
          <cx:pt idx="51045">0</cx:pt>
          <cx:pt idx="51046">1</cx:pt>
          <cx:pt idx="51047">1</cx:pt>
          <cx:pt idx="51048">0</cx:pt>
          <cx:pt idx="51049">0</cx:pt>
          <cx:pt idx="51050">0</cx:pt>
          <cx:pt idx="51051">1</cx:pt>
          <cx:pt idx="51052">0</cx:pt>
          <cx:pt idx="51053">0</cx:pt>
          <cx:pt idx="51054">0</cx:pt>
          <cx:pt idx="51055">0</cx:pt>
          <cx:pt idx="51056">0</cx:pt>
          <cx:pt idx="51057">1</cx:pt>
          <cx:pt idx="51058">0</cx:pt>
          <cx:pt idx="51059">0</cx:pt>
          <cx:pt idx="51060">0</cx:pt>
          <cx:pt idx="51061">0</cx:pt>
          <cx:pt idx="51062">0</cx:pt>
          <cx:pt idx="51063">0</cx:pt>
          <cx:pt idx="51064">0</cx:pt>
          <cx:pt idx="51065">1</cx:pt>
          <cx:pt idx="51066">1</cx:pt>
          <cx:pt idx="51067">1</cx:pt>
          <cx:pt idx="51068">0</cx:pt>
          <cx:pt idx="51069">0</cx:pt>
          <cx:pt idx="51070">1</cx:pt>
          <cx:pt idx="51071">1</cx:pt>
          <cx:pt idx="51072">1</cx:pt>
          <cx:pt idx="51073">1</cx:pt>
          <cx:pt idx="51074">1</cx:pt>
          <cx:pt idx="51075">0</cx:pt>
          <cx:pt idx="51076">1</cx:pt>
          <cx:pt idx="51077">0</cx:pt>
          <cx:pt idx="51078">0</cx:pt>
          <cx:pt idx="51079">1</cx:pt>
          <cx:pt idx="51080">0</cx:pt>
          <cx:pt idx="51081">1</cx:pt>
          <cx:pt idx="51082">1</cx:pt>
          <cx:pt idx="51083">0</cx:pt>
          <cx:pt idx="51084">1</cx:pt>
          <cx:pt idx="51085">1</cx:pt>
          <cx:pt idx="51086">1</cx:pt>
          <cx:pt idx="51087">0</cx:pt>
          <cx:pt idx="51088">1</cx:pt>
          <cx:pt idx="51089">1</cx:pt>
          <cx:pt idx="51090">1</cx:pt>
          <cx:pt idx="51091">0</cx:pt>
          <cx:pt idx="51092">1</cx:pt>
          <cx:pt idx="51093">1</cx:pt>
          <cx:pt idx="51094">1</cx:pt>
          <cx:pt idx="51095">1</cx:pt>
          <cx:pt idx="51096">0</cx:pt>
          <cx:pt idx="51097">0</cx:pt>
          <cx:pt idx="51098">1</cx:pt>
          <cx:pt idx="51099">0</cx:pt>
          <cx:pt idx="51100">0</cx:pt>
          <cx:pt idx="51101">1</cx:pt>
          <cx:pt idx="51102">0</cx:pt>
          <cx:pt idx="51103">1</cx:pt>
          <cx:pt idx="51104">1</cx:pt>
          <cx:pt idx="51105">0</cx:pt>
          <cx:pt idx="51106">0</cx:pt>
          <cx:pt idx="51107">1</cx:pt>
          <cx:pt idx="51108">0</cx:pt>
          <cx:pt idx="51109">0</cx:pt>
          <cx:pt idx="51110">1</cx:pt>
          <cx:pt idx="51111">1</cx:pt>
          <cx:pt idx="51112">0</cx:pt>
          <cx:pt idx="51113">1</cx:pt>
          <cx:pt idx="51114">0</cx:pt>
          <cx:pt idx="51115">0</cx:pt>
          <cx:pt idx="51116">1</cx:pt>
          <cx:pt idx="51117">1</cx:pt>
          <cx:pt idx="51118">1</cx:pt>
          <cx:pt idx="51119">1</cx:pt>
          <cx:pt idx="51120">0</cx:pt>
          <cx:pt idx="51121">1</cx:pt>
          <cx:pt idx="51122">0</cx:pt>
          <cx:pt idx="51123">1</cx:pt>
          <cx:pt idx="51124">1</cx:pt>
          <cx:pt idx="51125">1</cx:pt>
          <cx:pt idx="51126">0</cx:pt>
          <cx:pt idx="51127">1</cx:pt>
          <cx:pt idx="51128">1</cx:pt>
          <cx:pt idx="51129">0</cx:pt>
          <cx:pt idx="51130">1</cx:pt>
          <cx:pt idx="51131">1</cx:pt>
          <cx:pt idx="51132">0</cx:pt>
          <cx:pt idx="51133">1</cx:pt>
          <cx:pt idx="51134">0</cx:pt>
          <cx:pt idx="51135">0</cx:pt>
          <cx:pt idx="51136">1</cx:pt>
          <cx:pt idx="51137">0</cx:pt>
          <cx:pt idx="51138">1</cx:pt>
          <cx:pt idx="51139">1</cx:pt>
          <cx:pt idx="51140">0</cx:pt>
          <cx:pt idx="51141">1</cx:pt>
          <cx:pt idx="51142">0</cx:pt>
          <cx:pt idx="51143">1</cx:pt>
          <cx:pt idx="51144">0</cx:pt>
          <cx:pt idx="51145">0</cx:pt>
          <cx:pt idx="51146">1</cx:pt>
          <cx:pt idx="51147">1</cx:pt>
          <cx:pt idx="51148">0</cx:pt>
          <cx:pt idx="51149">0</cx:pt>
          <cx:pt idx="51150">0</cx:pt>
          <cx:pt idx="51151">1</cx:pt>
          <cx:pt idx="51152">1</cx:pt>
          <cx:pt idx="51153">1</cx:pt>
          <cx:pt idx="51154">1</cx:pt>
          <cx:pt idx="51155">1</cx:pt>
          <cx:pt idx="51156">0</cx:pt>
          <cx:pt idx="51157">0</cx:pt>
          <cx:pt idx="51158">0</cx:pt>
          <cx:pt idx="51159">1</cx:pt>
          <cx:pt idx="51160">1</cx:pt>
          <cx:pt idx="51161">0</cx:pt>
          <cx:pt idx="51162">1</cx:pt>
          <cx:pt idx="51163">0</cx:pt>
          <cx:pt idx="51164">1</cx:pt>
          <cx:pt idx="51165">1</cx:pt>
          <cx:pt idx="51166">1</cx:pt>
          <cx:pt idx="51167">1</cx:pt>
          <cx:pt idx="51168">0</cx:pt>
          <cx:pt idx="51169">0</cx:pt>
          <cx:pt idx="51170">0</cx:pt>
          <cx:pt idx="51171">0</cx:pt>
          <cx:pt idx="51172">0</cx:pt>
          <cx:pt idx="51173">0</cx:pt>
          <cx:pt idx="51174">1</cx:pt>
          <cx:pt idx="51175">0</cx:pt>
          <cx:pt idx="51176">1</cx:pt>
          <cx:pt idx="51177">0</cx:pt>
          <cx:pt idx="51178">0</cx:pt>
          <cx:pt idx="51179">1</cx:pt>
          <cx:pt idx="51180">0</cx:pt>
          <cx:pt idx="51181">1</cx:pt>
          <cx:pt idx="51182">0</cx:pt>
          <cx:pt idx="51183">1</cx:pt>
          <cx:pt idx="51184">1</cx:pt>
          <cx:pt idx="51185">0</cx:pt>
          <cx:pt idx="51186">0</cx:pt>
          <cx:pt idx="51187">1</cx:pt>
          <cx:pt idx="51188">1</cx:pt>
          <cx:pt idx="51189">0</cx:pt>
          <cx:pt idx="51190">0</cx:pt>
          <cx:pt idx="51191">1</cx:pt>
          <cx:pt idx="51192">1</cx:pt>
          <cx:pt idx="51193">0</cx:pt>
          <cx:pt idx="51194">1</cx:pt>
          <cx:pt idx="51195">1</cx:pt>
          <cx:pt idx="51196">1</cx:pt>
          <cx:pt idx="51197">0</cx:pt>
          <cx:pt idx="51198">0</cx:pt>
          <cx:pt idx="51199">1</cx:pt>
          <cx:pt idx="51200">1</cx:pt>
          <cx:pt idx="51201">0</cx:pt>
          <cx:pt idx="51202">1</cx:pt>
          <cx:pt idx="51203">1</cx:pt>
          <cx:pt idx="51204">1</cx:pt>
          <cx:pt idx="51205">0</cx:pt>
          <cx:pt idx="51206">1</cx:pt>
          <cx:pt idx="51207">0</cx:pt>
          <cx:pt idx="51208">0</cx:pt>
          <cx:pt idx="51209">0</cx:pt>
          <cx:pt idx="51210">0</cx:pt>
          <cx:pt idx="51211">0</cx:pt>
          <cx:pt idx="51212">1</cx:pt>
          <cx:pt idx="51213">0</cx:pt>
          <cx:pt idx="51214">0</cx:pt>
          <cx:pt idx="51215">1</cx:pt>
          <cx:pt idx="51216">0</cx:pt>
          <cx:pt idx="51217">1</cx:pt>
          <cx:pt idx="51218">0</cx:pt>
          <cx:pt idx="51219">1</cx:pt>
          <cx:pt idx="51220">1</cx:pt>
          <cx:pt idx="51221">0</cx:pt>
          <cx:pt idx="51222">0</cx:pt>
          <cx:pt idx="51223">0</cx:pt>
          <cx:pt idx="51224">1</cx:pt>
          <cx:pt idx="51225">1</cx:pt>
          <cx:pt idx="51226">0</cx:pt>
          <cx:pt idx="51227">1</cx:pt>
          <cx:pt idx="51228">1</cx:pt>
          <cx:pt idx="51229">0</cx:pt>
          <cx:pt idx="51230">0</cx:pt>
          <cx:pt idx="51231">0</cx:pt>
          <cx:pt idx="51232">0</cx:pt>
          <cx:pt idx="51233">0</cx:pt>
          <cx:pt idx="51234">0</cx:pt>
          <cx:pt idx="51235">0</cx:pt>
          <cx:pt idx="51236">1</cx:pt>
          <cx:pt idx="51237">1</cx:pt>
          <cx:pt idx="51238">0</cx:pt>
          <cx:pt idx="51239">0</cx:pt>
          <cx:pt idx="51240">1</cx:pt>
          <cx:pt idx="51241">1</cx:pt>
          <cx:pt idx="51242">0</cx:pt>
          <cx:pt idx="51243">1</cx:pt>
          <cx:pt idx="51244">0</cx:pt>
          <cx:pt idx="51245">0</cx:pt>
          <cx:pt idx="51246">0</cx:pt>
          <cx:pt idx="51247">0</cx:pt>
          <cx:pt idx="51248">0</cx:pt>
          <cx:pt idx="51249">1</cx:pt>
          <cx:pt idx="51250">0</cx:pt>
          <cx:pt idx="51251">1</cx:pt>
          <cx:pt idx="51252">0</cx:pt>
          <cx:pt idx="51253">1</cx:pt>
          <cx:pt idx="51254">0</cx:pt>
          <cx:pt idx="51255">0</cx:pt>
          <cx:pt idx="51256">0</cx:pt>
          <cx:pt idx="51257">0</cx:pt>
          <cx:pt idx="51258">0</cx:pt>
          <cx:pt idx="51259">0</cx:pt>
          <cx:pt idx="51260">1</cx:pt>
          <cx:pt idx="51261">0</cx:pt>
          <cx:pt idx="51262">0</cx:pt>
          <cx:pt idx="51263">0</cx:pt>
          <cx:pt idx="51264">1</cx:pt>
          <cx:pt idx="51265">0</cx:pt>
          <cx:pt idx="51266">0</cx:pt>
          <cx:pt idx="51267">1</cx:pt>
          <cx:pt idx="51268">1</cx:pt>
          <cx:pt idx="51269">0</cx:pt>
          <cx:pt idx="51270">1</cx:pt>
          <cx:pt idx="51271">0</cx:pt>
          <cx:pt idx="51272">1</cx:pt>
          <cx:pt idx="51273">0</cx:pt>
          <cx:pt idx="51274">1</cx:pt>
          <cx:pt idx="51275">0</cx:pt>
          <cx:pt idx="51276">0</cx:pt>
          <cx:pt idx="51277">1</cx:pt>
          <cx:pt idx="51278">0</cx:pt>
          <cx:pt idx="51279">1</cx:pt>
          <cx:pt idx="51280">1</cx:pt>
          <cx:pt idx="51281">0</cx:pt>
          <cx:pt idx="51282">0</cx:pt>
          <cx:pt idx="51283">0</cx:pt>
          <cx:pt idx="51284">1</cx:pt>
          <cx:pt idx="51285">0</cx:pt>
          <cx:pt idx="51286">1</cx:pt>
          <cx:pt idx="51287">0</cx:pt>
          <cx:pt idx="51288">1</cx:pt>
          <cx:pt idx="51289">1</cx:pt>
          <cx:pt idx="51290">1</cx:pt>
          <cx:pt idx="51291">0</cx:pt>
          <cx:pt idx="51292">1</cx:pt>
          <cx:pt idx="51293">0</cx:pt>
          <cx:pt idx="51294">0</cx:pt>
          <cx:pt idx="51295">0</cx:pt>
          <cx:pt idx="51296">0</cx:pt>
          <cx:pt idx="51297">1</cx:pt>
          <cx:pt idx="51298">0</cx:pt>
          <cx:pt idx="51299">1</cx:pt>
          <cx:pt idx="51300">0</cx:pt>
          <cx:pt idx="51301">1</cx:pt>
          <cx:pt idx="51302">0</cx:pt>
          <cx:pt idx="51303">0</cx:pt>
          <cx:pt idx="51304">0</cx:pt>
          <cx:pt idx="51305">1</cx:pt>
          <cx:pt idx="51306">0</cx:pt>
          <cx:pt idx="51307">1</cx:pt>
          <cx:pt idx="51308">0</cx:pt>
          <cx:pt idx="51309">0</cx:pt>
          <cx:pt idx="51310">1</cx:pt>
          <cx:pt idx="51311">0</cx:pt>
          <cx:pt idx="51312">0</cx:pt>
          <cx:pt idx="51313">0</cx:pt>
          <cx:pt idx="51314">1</cx:pt>
          <cx:pt idx="51315">0</cx:pt>
          <cx:pt idx="51316">1</cx:pt>
          <cx:pt idx="51317">0</cx:pt>
          <cx:pt idx="51318">0</cx:pt>
          <cx:pt idx="51319">0</cx:pt>
          <cx:pt idx="51320">0</cx:pt>
          <cx:pt idx="51321">0</cx:pt>
          <cx:pt idx="51322">1</cx:pt>
          <cx:pt idx="51323">1</cx:pt>
          <cx:pt idx="51324">0</cx:pt>
          <cx:pt idx="51325">1</cx:pt>
          <cx:pt idx="51326">0</cx:pt>
          <cx:pt idx="51327">0</cx:pt>
          <cx:pt idx="51328">1</cx:pt>
          <cx:pt idx="51329">0</cx:pt>
          <cx:pt idx="51330">0</cx:pt>
          <cx:pt idx="51331">0</cx:pt>
          <cx:pt idx="51332">0</cx:pt>
          <cx:pt idx="51333">1</cx:pt>
          <cx:pt idx="51334">1</cx:pt>
          <cx:pt idx="51335">1</cx:pt>
          <cx:pt idx="51336">1</cx:pt>
          <cx:pt idx="51337">1</cx:pt>
          <cx:pt idx="51338">1</cx:pt>
          <cx:pt idx="51339">1</cx:pt>
          <cx:pt idx="51340">1</cx:pt>
          <cx:pt idx="51341">0</cx:pt>
          <cx:pt idx="51342">1</cx:pt>
          <cx:pt idx="51343">0</cx:pt>
          <cx:pt idx="51344">0</cx:pt>
          <cx:pt idx="51345">0</cx:pt>
          <cx:pt idx="51346">0</cx:pt>
          <cx:pt idx="51347">0</cx:pt>
          <cx:pt idx="51348">0</cx:pt>
          <cx:pt idx="51349">0</cx:pt>
          <cx:pt idx="51350">0</cx:pt>
          <cx:pt idx="51351">0</cx:pt>
          <cx:pt idx="51352">0</cx:pt>
          <cx:pt idx="51353">0</cx:pt>
          <cx:pt idx="51354">0</cx:pt>
          <cx:pt idx="51355">0</cx:pt>
          <cx:pt idx="51356">1</cx:pt>
          <cx:pt idx="51357">1</cx:pt>
          <cx:pt idx="51358">1</cx:pt>
          <cx:pt idx="51359">1</cx:pt>
          <cx:pt idx="51360">0</cx:pt>
          <cx:pt idx="51361">0</cx:pt>
          <cx:pt idx="51362">0</cx:pt>
          <cx:pt idx="51363">1</cx:pt>
          <cx:pt idx="51364">1</cx:pt>
          <cx:pt idx="51365">0</cx:pt>
          <cx:pt idx="51366">1</cx:pt>
          <cx:pt idx="51367">0</cx:pt>
          <cx:pt idx="51368">1</cx:pt>
          <cx:pt idx="51369">0</cx:pt>
          <cx:pt idx="51370">1</cx:pt>
          <cx:pt idx="51371">1</cx:pt>
          <cx:pt idx="51372">0</cx:pt>
          <cx:pt idx="51373">1</cx:pt>
          <cx:pt idx="51374">0</cx:pt>
          <cx:pt idx="51375">0</cx:pt>
          <cx:pt idx="51376">1</cx:pt>
          <cx:pt idx="51377">0</cx:pt>
          <cx:pt idx="51378">1</cx:pt>
          <cx:pt idx="51379">0</cx:pt>
          <cx:pt idx="51380">0</cx:pt>
          <cx:pt idx="51381">1</cx:pt>
          <cx:pt idx="51382">0</cx:pt>
          <cx:pt idx="51383">0</cx:pt>
          <cx:pt idx="51384">1</cx:pt>
          <cx:pt idx="51385">1</cx:pt>
          <cx:pt idx="51386">0</cx:pt>
          <cx:pt idx="51387">0</cx:pt>
          <cx:pt idx="51388">1</cx:pt>
          <cx:pt idx="51389">0</cx:pt>
          <cx:pt idx="51390">1</cx:pt>
          <cx:pt idx="51391">0</cx:pt>
          <cx:pt idx="51392">0</cx:pt>
          <cx:pt idx="51393">1</cx:pt>
          <cx:pt idx="51394">0</cx:pt>
          <cx:pt idx="51395">1</cx:pt>
          <cx:pt idx="51396">1</cx:pt>
          <cx:pt idx="51397">0</cx:pt>
          <cx:pt idx="51398">1</cx:pt>
          <cx:pt idx="51399">0</cx:pt>
          <cx:pt idx="51400">0</cx:pt>
          <cx:pt idx="51401">0</cx:pt>
          <cx:pt idx="51402">1</cx:pt>
          <cx:pt idx="51403">0</cx:pt>
          <cx:pt idx="51404">0</cx:pt>
          <cx:pt idx="51405">0</cx:pt>
          <cx:pt idx="51406">1</cx:pt>
          <cx:pt idx="51407">1</cx:pt>
          <cx:pt idx="51408">1</cx:pt>
          <cx:pt idx="51409">0</cx:pt>
          <cx:pt idx="51410">1</cx:pt>
          <cx:pt idx="51411">0</cx:pt>
          <cx:pt idx="51412">1</cx:pt>
          <cx:pt idx="51413">0</cx:pt>
          <cx:pt idx="51414">1</cx:pt>
          <cx:pt idx="51415">0</cx:pt>
          <cx:pt idx="51416">0</cx:pt>
          <cx:pt idx="51417">1</cx:pt>
          <cx:pt idx="51418">0</cx:pt>
          <cx:pt idx="51419">0</cx:pt>
          <cx:pt idx="51420">1</cx:pt>
          <cx:pt idx="51421">0</cx:pt>
          <cx:pt idx="51422">0</cx:pt>
          <cx:pt idx="51423">0</cx:pt>
          <cx:pt idx="51424">0</cx:pt>
          <cx:pt idx="51425">0</cx:pt>
          <cx:pt idx="51426">0</cx:pt>
          <cx:pt idx="51427">1</cx:pt>
          <cx:pt idx="51428">0</cx:pt>
          <cx:pt idx="51429">1</cx:pt>
          <cx:pt idx="51430">1</cx:pt>
          <cx:pt idx="51431">1</cx:pt>
          <cx:pt idx="51432">0</cx:pt>
          <cx:pt idx="51433">0</cx:pt>
          <cx:pt idx="51434">1</cx:pt>
          <cx:pt idx="51435">0</cx:pt>
          <cx:pt idx="51436">1</cx:pt>
          <cx:pt idx="51437">1</cx:pt>
          <cx:pt idx="51438">1</cx:pt>
          <cx:pt idx="51439">0</cx:pt>
          <cx:pt idx="51440">0</cx:pt>
          <cx:pt idx="51441">0</cx:pt>
          <cx:pt idx="51442">0</cx:pt>
          <cx:pt idx="51443">0</cx:pt>
          <cx:pt idx="51444">0</cx:pt>
          <cx:pt idx="51445">1</cx:pt>
          <cx:pt idx="51446">1</cx:pt>
          <cx:pt idx="51447">1</cx:pt>
          <cx:pt idx="51448">1</cx:pt>
          <cx:pt idx="51449">0</cx:pt>
          <cx:pt idx="51450">0</cx:pt>
          <cx:pt idx="51451">1</cx:pt>
          <cx:pt idx="51452">0</cx:pt>
          <cx:pt idx="51453">0</cx:pt>
          <cx:pt idx="51454">1</cx:pt>
          <cx:pt idx="51455">0</cx:pt>
          <cx:pt idx="51456">0</cx:pt>
          <cx:pt idx="51457">1</cx:pt>
          <cx:pt idx="51458">0</cx:pt>
          <cx:pt idx="51459">1</cx:pt>
          <cx:pt idx="51460">1</cx:pt>
          <cx:pt idx="51461">1</cx:pt>
          <cx:pt idx="51462">1</cx:pt>
          <cx:pt idx="51463">1</cx:pt>
          <cx:pt idx="51464">0</cx:pt>
          <cx:pt idx="51465">0</cx:pt>
          <cx:pt idx="51466">0</cx:pt>
          <cx:pt idx="51467">0</cx:pt>
          <cx:pt idx="51468">0</cx:pt>
          <cx:pt idx="51469">1</cx:pt>
          <cx:pt idx="51470">0</cx:pt>
          <cx:pt idx="51471">1</cx:pt>
          <cx:pt idx="51472">0</cx:pt>
          <cx:pt idx="51473">0</cx:pt>
          <cx:pt idx="51474">1</cx:pt>
          <cx:pt idx="51475">0</cx:pt>
          <cx:pt idx="51476">1</cx:pt>
          <cx:pt idx="51477">1</cx:pt>
          <cx:pt idx="51478">0</cx:pt>
          <cx:pt idx="51479">1</cx:pt>
          <cx:pt idx="51480">0</cx:pt>
          <cx:pt idx="51481">0</cx:pt>
          <cx:pt idx="51482">0</cx:pt>
          <cx:pt idx="51483">1</cx:pt>
          <cx:pt idx="51484">0</cx:pt>
          <cx:pt idx="51485">0</cx:pt>
          <cx:pt idx="51486">0</cx:pt>
          <cx:pt idx="51487">0</cx:pt>
          <cx:pt idx="51488">0</cx:pt>
          <cx:pt idx="51489">0</cx:pt>
          <cx:pt idx="51490">0</cx:pt>
          <cx:pt idx="51491">1</cx:pt>
          <cx:pt idx="51492">1</cx:pt>
          <cx:pt idx="51493">0</cx:pt>
          <cx:pt idx="51494">0</cx:pt>
          <cx:pt idx="51495">1</cx:pt>
          <cx:pt idx="51496">1</cx:pt>
          <cx:pt idx="51497">0</cx:pt>
          <cx:pt idx="51498">0</cx:pt>
          <cx:pt idx="51499">0</cx:pt>
          <cx:pt idx="51500">0</cx:pt>
          <cx:pt idx="51501">0</cx:pt>
          <cx:pt idx="51502">1</cx:pt>
          <cx:pt idx="51503">1</cx:pt>
          <cx:pt idx="51504">1</cx:pt>
          <cx:pt idx="51505">1</cx:pt>
          <cx:pt idx="51506">1</cx:pt>
          <cx:pt idx="51507">0</cx:pt>
          <cx:pt idx="51508">0</cx:pt>
          <cx:pt idx="51509">0</cx:pt>
          <cx:pt idx="51510">0</cx:pt>
          <cx:pt idx="51511">0</cx:pt>
          <cx:pt idx="51512">0</cx:pt>
          <cx:pt idx="51513">0</cx:pt>
          <cx:pt idx="51514">0</cx:pt>
          <cx:pt idx="51515">0</cx:pt>
          <cx:pt idx="51516">0</cx:pt>
          <cx:pt idx="51517">1</cx:pt>
          <cx:pt idx="51518">0</cx:pt>
          <cx:pt idx="51519">0</cx:pt>
          <cx:pt idx="51520">1</cx:pt>
          <cx:pt idx="51521">1</cx:pt>
          <cx:pt idx="51522">0</cx:pt>
          <cx:pt idx="51523">0</cx:pt>
          <cx:pt idx="51524">0</cx:pt>
          <cx:pt idx="51525">1</cx:pt>
          <cx:pt idx="51526">1</cx:pt>
          <cx:pt idx="51527">1</cx:pt>
          <cx:pt idx="51528">1</cx:pt>
          <cx:pt idx="51529">0</cx:pt>
          <cx:pt idx="51530">1</cx:pt>
          <cx:pt idx="51531">0</cx:pt>
          <cx:pt idx="51532">0</cx:pt>
          <cx:pt idx="51533">1</cx:pt>
          <cx:pt idx="51534">0</cx:pt>
          <cx:pt idx="51535">0</cx:pt>
          <cx:pt idx="51536">1</cx:pt>
          <cx:pt idx="51537">0</cx:pt>
          <cx:pt idx="51538">0</cx:pt>
          <cx:pt idx="51539">0</cx:pt>
          <cx:pt idx="51540">1</cx:pt>
          <cx:pt idx="51541">0</cx:pt>
          <cx:pt idx="51542">0</cx:pt>
          <cx:pt idx="51543">0</cx:pt>
          <cx:pt idx="51544">0</cx:pt>
          <cx:pt idx="51545">0</cx:pt>
          <cx:pt idx="51546">1</cx:pt>
          <cx:pt idx="51547">0</cx:pt>
          <cx:pt idx="51548">1</cx:pt>
          <cx:pt idx="51549">1</cx:pt>
          <cx:pt idx="51550">1</cx:pt>
          <cx:pt idx="51551">0</cx:pt>
          <cx:pt idx="51552">0</cx:pt>
          <cx:pt idx="51553">1</cx:pt>
          <cx:pt idx="51554">1</cx:pt>
          <cx:pt idx="51555">0</cx:pt>
          <cx:pt idx="51556">0</cx:pt>
          <cx:pt idx="51557">1</cx:pt>
          <cx:pt idx="51558">0</cx:pt>
          <cx:pt idx="51559">1</cx:pt>
          <cx:pt idx="51560">0</cx:pt>
          <cx:pt idx="51561">0</cx:pt>
          <cx:pt idx="51562">0</cx:pt>
          <cx:pt idx="51563">0</cx:pt>
          <cx:pt idx="51564">1</cx:pt>
          <cx:pt idx="51565">0</cx:pt>
          <cx:pt idx="51566">0</cx:pt>
          <cx:pt idx="51567">0</cx:pt>
          <cx:pt idx="51568">1</cx:pt>
          <cx:pt idx="51569">0</cx:pt>
          <cx:pt idx="51570">0</cx:pt>
          <cx:pt idx="51571">0</cx:pt>
          <cx:pt idx="51572">1</cx:pt>
          <cx:pt idx="51573">0</cx:pt>
          <cx:pt idx="51574">0</cx:pt>
          <cx:pt idx="51575">0</cx:pt>
          <cx:pt idx="51576">1</cx:pt>
          <cx:pt idx="51577">0</cx:pt>
          <cx:pt idx="51578">1</cx:pt>
          <cx:pt idx="51579">0</cx:pt>
          <cx:pt idx="51580">1</cx:pt>
          <cx:pt idx="51581">1</cx:pt>
          <cx:pt idx="51582">0</cx:pt>
          <cx:pt idx="51583">1</cx:pt>
          <cx:pt idx="51584">0</cx:pt>
          <cx:pt idx="51585">1</cx:pt>
          <cx:pt idx="51586">1</cx:pt>
          <cx:pt idx="51587">0</cx:pt>
          <cx:pt idx="51588">0</cx:pt>
          <cx:pt idx="51589">0</cx:pt>
          <cx:pt idx="51590">0</cx:pt>
          <cx:pt idx="51591">1</cx:pt>
          <cx:pt idx="51592">0</cx:pt>
          <cx:pt idx="51593">1</cx:pt>
          <cx:pt idx="51594">0</cx:pt>
          <cx:pt idx="51595">1</cx:pt>
          <cx:pt idx="51596">1</cx:pt>
          <cx:pt idx="51597">0</cx:pt>
          <cx:pt idx="51598">0</cx:pt>
          <cx:pt idx="51599">1</cx:pt>
          <cx:pt idx="51600">1</cx:pt>
          <cx:pt idx="51601">0</cx:pt>
          <cx:pt idx="51602">0</cx:pt>
          <cx:pt idx="51603">1</cx:pt>
          <cx:pt idx="51604">0</cx:pt>
          <cx:pt idx="51605">1</cx:pt>
          <cx:pt idx="51606">1</cx:pt>
          <cx:pt idx="51607">0</cx:pt>
          <cx:pt idx="51608">0</cx:pt>
          <cx:pt idx="51609">1</cx:pt>
          <cx:pt idx="51610">0</cx:pt>
          <cx:pt idx="51611">1</cx:pt>
          <cx:pt idx="51612">1</cx:pt>
          <cx:pt idx="51613">1</cx:pt>
          <cx:pt idx="51614">1</cx:pt>
          <cx:pt idx="51615">0</cx:pt>
          <cx:pt idx="51616">1</cx:pt>
          <cx:pt idx="51617">1</cx:pt>
          <cx:pt idx="51618">0</cx:pt>
          <cx:pt idx="51619">1</cx:pt>
          <cx:pt idx="51620">0</cx:pt>
          <cx:pt idx="51621">0</cx:pt>
          <cx:pt idx="51622">1</cx:pt>
          <cx:pt idx="51623">0</cx:pt>
          <cx:pt idx="51624">1</cx:pt>
          <cx:pt idx="51625">0</cx:pt>
          <cx:pt idx="51626">0</cx:pt>
          <cx:pt idx="51627">0</cx:pt>
          <cx:pt idx="51628">0</cx:pt>
          <cx:pt idx="51629">1</cx:pt>
          <cx:pt idx="51630">0</cx:pt>
          <cx:pt idx="51631">0</cx:pt>
          <cx:pt idx="51632">0</cx:pt>
          <cx:pt idx="51633">1</cx:pt>
          <cx:pt idx="51634">0</cx:pt>
          <cx:pt idx="51635">0</cx:pt>
          <cx:pt idx="51636">1</cx:pt>
          <cx:pt idx="51637">0</cx:pt>
          <cx:pt idx="51638">1</cx:pt>
          <cx:pt idx="51639">1</cx:pt>
          <cx:pt idx="51640">0</cx:pt>
          <cx:pt idx="51641">1</cx:pt>
          <cx:pt idx="51642">0</cx:pt>
          <cx:pt idx="51643">1</cx:pt>
          <cx:pt idx="51644">0</cx:pt>
          <cx:pt idx="51645">1</cx:pt>
          <cx:pt idx="51646">0</cx:pt>
          <cx:pt idx="51647">1</cx:pt>
          <cx:pt idx="51648">1</cx:pt>
          <cx:pt idx="51649">0</cx:pt>
          <cx:pt idx="51650">1</cx:pt>
          <cx:pt idx="51651">0</cx:pt>
          <cx:pt idx="51652">1</cx:pt>
          <cx:pt idx="51653">1</cx:pt>
          <cx:pt idx="51654">1</cx:pt>
          <cx:pt idx="51655">1</cx:pt>
          <cx:pt idx="51656">0</cx:pt>
          <cx:pt idx="51657">1</cx:pt>
          <cx:pt idx="51658">0</cx:pt>
          <cx:pt idx="51659">0</cx:pt>
          <cx:pt idx="51660">0</cx:pt>
          <cx:pt idx="51661">1</cx:pt>
          <cx:pt idx="51662">1</cx:pt>
          <cx:pt idx="51663">1</cx:pt>
          <cx:pt idx="51664">0</cx:pt>
          <cx:pt idx="51665">0</cx:pt>
          <cx:pt idx="51666">1</cx:pt>
          <cx:pt idx="51667">1</cx:pt>
          <cx:pt idx="51668">0</cx:pt>
          <cx:pt idx="51669">1</cx:pt>
          <cx:pt idx="51670">0</cx:pt>
          <cx:pt idx="51671">1</cx:pt>
          <cx:pt idx="51672">1</cx:pt>
          <cx:pt idx="51673">0</cx:pt>
          <cx:pt idx="51674">1</cx:pt>
          <cx:pt idx="51675">1</cx:pt>
          <cx:pt idx="51676">1</cx:pt>
          <cx:pt idx="51677">0</cx:pt>
          <cx:pt idx="51678">0</cx:pt>
          <cx:pt idx="51679">0</cx:pt>
          <cx:pt idx="51680">0</cx:pt>
          <cx:pt idx="51681">1</cx:pt>
          <cx:pt idx="51682">0</cx:pt>
          <cx:pt idx="51683">1</cx:pt>
          <cx:pt idx="51684">1</cx:pt>
          <cx:pt idx="51685">1</cx:pt>
          <cx:pt idx="51686">1</cx:pt>
          <cx:pt idx="51687">1</cx:pt>
          <cx:pt idx="51688">0</cx:pt>
          <cx:pt idx="51689">0</cx:pt>
          <cx:pt idx="51690">1</cx:pt>
          <cx:pt idx="51691">0</cx:pt>
          <cx:pt idx="51692">0</cx:pt>
          <cx:pt idx="51693">0</cx:pt>
          <cx:pt idx="51694">0</cx:pt>
          <cx:pt idx="51695">1</cx:pt>
          <cx:pt idx="51696">0</cx:pt>
          <cx:pt idx="51697">1</cx:pt>
          <cx:pt idx="51698">0</cx:pt>
          <cx:pt idx="51699">1</cx:pt>
          <cx:pt idx="51700">0</cx:pt>
          <cx:pt idx="51701">1</cx:pt>
          <cx:pt idx="51702">0</cx:pt>
          <cx:pt idx="51703">1</cx:pt>
          <cx:pt idx="51704">0</cx:pt>
          <cx:pt idx="51705">1</cx:pt>
          <cx:pt idx="51706">0</cx:pt>
          <cx:pt idx="51707">1</cx:pt>
          <cx:pt idx="51708">1</cx:pt>
          <cx:pt idx="51709">0</cx:pt>
          <cx:pt idx="51710">0</cx:pt>
          <cx:pt idx="51711">0</cx:pt>
          <cx:pt idx="51712">1</cx:pt>
          <cx:pt idx="51713">0</cx:pt>
          <cx:pt idx="51714">1</cx:pt>
          <cx:pt idx="51715">1</cx:pt>
          <cx:pt idx="51716">0</cx:pt>
          <cx:pt idx="51717">0</cx:pt>
          <cx:pt idx="51718">0</cx:pt>
          <cx:pt idx="51719">1</cx:pt>
          <cx:pt idx="51720">1</cx:pt>
          <cx:pt idx="51721">0</cx:pt>
          <cx:pt idx="51722">1</cx:pt>
          <cx:pt idx="51723">1</cx:pt>
          <cx:pt idx="51724">1</cx:pt>
          <cx:pt idx="51725">1</cx:pt>
          <cx:pt idx="51726">1</cx:pt>
          <cx:pt idx="51727">0</cx:pt>
          <cx:pt idx="51728">0</cx:pt>
          <cx:pt idx="51729">0</cx:pt>
          <cx:pt idx="51730">0</cx:pt>
          <cx:pt idx="51731">1</cx:pt>
          <cx:pt idx="51732">0</cx:pt>
          <cx:pt idx="51733">1</cx:pt>
          <cx:pt idx="51734">1</cx:pt>
          <cx:pt idx="51735">0</cx:pt>
          <cx:pt idx="51736">1</cx:pt>
          <cx:pt idx="51737">1</cx:pt>
          <cx:pt idx="51738">0</cx:pt>
          <cx:pt idx="51739">1</cx:pt>
          <cx:pt idx="51740">0</cx:pt>
          <cx:pt idx="51741">0</cx:pt>
          <cx:pt idx="51742">0</cx:pt>
          <cx:pt idx="51743">1</cx:pt>
          <cx:pt idx="51744">1</cx:pt>
          <cx:pt idx="51745">1</cx:pt>
          <cx:pt idx="51746">1</cx:pt>
          <cx:pt idx="51747">0</cx:pt>
          <cx:pt idx="51748">1</cx:pt>
          <cx:pt idx="51749">1</cx:pt>
          <cx:pt idx="51750">0</cx:pt>
          <cx:pt idx="51751">0</cx:pt>
          <cx:pt idx="51752">0</cx:pt>
          <cx:pt idx="51753">0</cx:pt>
          <cx:pt idx="51754">1</cx:pt>
          <cx:pt idx="51755">0</cx:pt>
          <cx:pt idx="51756">0</cx:pt>
          <cx:pt idx="51757">0</cx:pt>
          <cx:pt idx="51758">1</cx:pt>
          <cx:pt idx="51759">0</cx:pt>
          <cx:pt idx="51760">1</cx:pt>
          <cx:pt idx="51761">1</cx:pt>
          <cx:pt idx="51762">1</cx:pt>
          <cx:pt idx="51763">1</cx:pt>
          <cx:pt idx="51764">0</cx:pt>
          <cx:pt idx="51765">1</cx:pt>
          <cx:pt idx="51766">0</cx:pt>
          <cx:pt idx="51767">0</cx:pt>
          <cx:pt idx="51768">0</cx:pt>
          <cx:pt idx="51769">0</cx:pt>
          <cx:pt idx="51770">0</cx:pt>
          <cx:pt idx="51771">0</cx:pt>
          <cx:pt idx="51772">1</cx:pt>
          <cx:pt idx="51773">0</cx:pt>
          <cx:pt idx="51774">0</cx:pt>
          <cx:pt idx="51775">0</cx:pt>
          <cx:pt idx="51776">1</cx:pt>
          <cx:pt idx="51777">0</cx:pt>
          <cx:pt idx="51778">0</cx:pt>
          <cx:pt idx="51779">0</cx:pt>
          <cx:pt idx="51780">0</cx:pt>
          <cx:pt idx="51781">0</cx:pt>
          <cx:pt idx="51782">1</cx:pt>
          <cx:pt idx="51783">1</cx:pt>
          <cx:pt idx="51784">0</cx:pt>
          <cx:pt idx="51785">0</cx:pt>
          <cx:pt idx="51786">0</cx:pt>
          <cx:pt idx="51787">0</cx:pt>
          <cx:pt idx="51788">1</cx:pt>
          <cx:pt idx="51789">0</cx:pt>
          <cx:pt idx="51790">1</cx:pt>
          <cx:pt idx="51791">1</cx:pt>
          <cx:pt idx="51792">1</cx:pt>
          <cx:pt idx="51793">0</cx:pt>
          <cx:pt idx="51794">1</cx:pt>
          <cx:pt idx="51795">1</cx:pt>
          <cx:pt idx="51796">1</cx:pt>
          <cx:pt idx="51797">0</cx:pt>
          <cx:pt idx="51798">1</cx:pt>
          <cx:pt idx="51799">1</cx:pt>
          <cx:pt idx="51800">0</cx:pt>
          <cx:pt idx="51801">0</cx:pt>
          <cx:pt idx="51802">0</cx:pt>
          <cx:pt idx="51803">0</cx:pt>
          <cx:pt idx="51804">0</cx:pt>
          <cx:pt idx="51805">0</cx:pt>
          <cx:pt idx="51806">0</cx:pt>
          <cx:pt idx="51807">1</cx:pt>
          <cx:pt idx="51808">0</cx:pt>
          <cx:pt idx="51809">1</cx:pt>
          <cx:pt idx="51810">1</cx:pt>
          <cx:pt idx="51811">0</cx:pt>
          <cx:pt idx="51812">0</cx:pt>
          <cx:pt idx="51813">1</cx:pt>
          <cx:pt idx="51814">1</cx:pt>
          <cx:pt idx="51815">0</cx:pt>
          <cx:pt idx="51816">1</cx:pt>
          <cx:pt idx="51817">0</cx:pt>
          <cx:pt idx="51818">1</cx:pt>
          <cx:pt idx="51819">0</cx:pt>
          <cx:pt idx="51820">0</cx:pt>
          <cx:pt idx="51821">0</cx:pt>
          <cx:pt idx="51822">0</cx:pt>
          <cx:pt idx="51823">0</cx:pt>
          <cx:pt idx="51824">0</cx:pt>
          <cx:pt idx="51825">0</cx:pt>
          <cx:pt idx="51826">0</cx:pt>
          <cx:pt idx="51827">0</cx:pt>
          <cx:pt idx="51828">1</cx:pt>
          <cx:pt idx="51829">0</cx:pt>
          <cx:pt idx="51830">1</cx:pt>
          <cx:pt idx="51831">1</cx:pt>
          <cx:pt idx="51832">0</cx:pt>
          <cx:pt idx="51833">1</cx:pt>
          <cx:pt idx="51834">0</cx:pt>
          <cx:pt idx="51835">1</cx:pt>
          <cx:pt idx="51836">0</cx:pt>
          <cx:pt idx="51837">0</cx:pt>
          <cx:pt idx="51838">0</cx:pt>
          <cx:pt idx="51839">1</cx:pt>
          <cx:pt idx="51840">0</cx:pt>
          <cx:pt idx="51841">0</cx:pt>
          <cx:pt idx="51842">0</cx:pt>
          <cx:pt idx="51843">0</cx:pt>
          <cx:pt idx="51844">0</cx:pt>
          <cx:pt idx="51845">0</cx:pt>
          <cx:pt idx="51846">0</cx:pt>
          <cx:pt idx="51847">1</cx:pt>
          <cx:pt idx="51848">0</cx:pt>
          <cx:pt idx="51849">0</cx:pt>
          <cx:pt idx="51850">1</cx:pt>
          <cx:pt idx="51851">0</cx:pt>
          <cx:pt idx="51852">0</cx:pt>
          <cx:pt idx="51853">0</cx:pt>
          <cx:pt idx="51854">0</cx:pt>
          <cx:pt idx="51855">1</cx:pt>
          <cx:pt idx="51856">0</cx:pt>
          <cx:pt idx="51857">0</cx:pt>
          <cx:pt idx="51858">0</cx:pt>
          <cx:pt idx="51859">1</cx:pt>
          <cx:pt idx="51860">0</cx:pt>
          <cx:pt idx="51861">0</cx:pt>
          <cx:pt idx="51862">1</cx:pt>
          <cx:pt idx="51863">1</cx:pt>
          <cx:pt idx="51864">1</cx:pt>
          <cx:pt idx="51865">0</cx:pt>
          <cx:pt idx="51866">1</cx:pt>
          <cx:pt idx="51867">0</cx:pt>
          <cx:pt idx="51868">1</cx:pt>
          <cx:pt idx="51869">1</cx:pt>
          <cx:pt idx="51870">0</cx:pt>
          <cx:pt idx="51871">0</cx:pt>
          <cx:pt idx="51872">1</cx:pt>
          <cx:pt idx="51873">1</cx:pt>
          <cx:pt idx="51874">0</cx:pt>
          <cx:pt idx="51875">0</cx:pt>
          <cx:pt idx="51876">0</cx:pt>
          <cx:pt idx="51877">0</cx:pt>
          <cx:pt idx="51878">0</cx:pt>
          <cx:pt idx="51879">0</cx:pt>
          <cx:pt idx="51880">0</cx:pt>
          <cx:pt idx="51881">0</cx:pt>
          <cx:pt idx="51882">0</cx:pt>
          <cx:pt idx="51883">0</cx:pt>
          <cx:pt idx="51884">1</cx:pt>
          <cx:pt idx="51885">0</cx:pt>
          <cx:pt idx="51886">1</cx:pt>
          <cx:pt idx="51887">0</cx:pt>
          <cx:pt idx="51888">0</cx:pt>
          <cx:pt idx="51889">1</cx:pt>
          <cx:pt idx="51890">1</cx:pt>
          <cx:pt idx="51891">0</cx:pt>
          <cx:pt idx="51892">0</cx:pt>
          <cx:pt idx="51893">0</cx:pt>
          <cx:pt idx="51894">0</cx:pt>
          <cx:pt idx="51895">1</cx:pt>
          <cx:pt idx="51896">0</cx:pt>
          <cx:pt idx="51897">1</cx:pt>
          <cx:pt idx="51898">1</cx:pt>
          <cx:pt idx="51899">0</cx:pt>
          <cx:pt idx="51900">0</cx:pt>
          <cx:pt idx="51901">0</cx:pt>
          <cx:pt idx="51902">1</cx:pt>
          <cx:pt idx="51903">0</cx:pt>
          <cx:pt idx="51904">0</cx:pt>
          <cx:pt idx="51905">0</cx:pt>
          <cx:pt idx="51906">0</cx:pt>
          <cx:pt idx="51907">1</cx:pt>
          <cx:pt idx="51908">0</cx:pt>
          <cx:pt idx="51909">0</cx:pt>
          <cx:pt idx="51910">1</cx:pt>
          <cx:pt idx="51911">1</cx:pt>
          <cx:pt idx="51912">1</cx:pt>
          <cx:pt idx="51913">1</cx:pt>
          <cx:pt idx="51914">1</cx:pt>
          <cx:pt idx="51915">0</cx:pt>
          <cx:pt idx="51916">1</cx:pt>
          <cx:pt idx="51917">0</cx:pt>
          <cx:pt idx="51918">1</cx:pt>
          <cx:pt idx="51919">0</cx:pt>
          <cx:pt idx="51920">0</cx:pt>
          <cx:pt idx="51921">1</cx:pt>
          <cx:pt idx="51922">0</cx:pt>
          <cx:pt idx="51923">1</cx:pt>
          <cx:pt idx="51924">1</cx:pt>
          <cx:pt idx="51925">0</cx:pt>
          <cx:pt idx="51926">1</cx:pt>
          <cx:pt idx="51927">0</cx:pt>
          <cx:pt idx="51928">0</cx:pt>
          <cx:pt idx="51929">0</cx:pt>
          <cx:pt idx="51930">0</cx:pt>
          <cx:pt idx="51931">0</cx:pt>
          <cx:pt idx="51932">1</cx:pt>
          <cx:pt idx="51933">0</cx:pt>
          <cx:pt idx="51934">0</cx:pt>
          <cx:pt idx="51935">1</cx:pt>
          <cx:pt idx="51936">0</cx:pt>
          <cx:pt idx="51937">1</cx:pt>
          <cx:pt idx="51938">0</cx:pt>
          <cx:pt idx="51939">1</cx:pt>
          <cx:pt idx="51940">0</cx:pt>
          <cx:pt idx="51941">0</cx:pt>
          <cx:pt idx="51942">0</cx:pt>
          <cx:pt idx="51943">0</cx:pt>
          <cx:pt idx="51944">1</cx:pt>
          <cx:pt idx="51945">0</cx:pt>
          <cx:pt idx="51946">1</cx:pt>
          <cx:pt idx="51947">0</cx:pt>
          <cx:pt idx="51948">0</cx:pt>
          <cx:pt idx="51949">1</cx:pt>
          <cx:pt idx="51950">1</cx:pt>
          <cx:pt idx="51951">0</cx:pt>
          <cx:pt idx="51952">1</cx:pt>
          <cx:pt idx="51953">0</cx:pt>
          <cx:pt idx="51954">0</cx:pt>
          <cx:pt idx="51955">1</cx:pt>
          <cx:pt idx="51956">1</cx:pt>
          <cx:pt idx="51957">1</cx:pt>
          <cx:pt idx="51958">0</cx:pt>
          <cx:pt idx="51959">1</cx:pt>
          <cx:pt idx="51960">1</cx:pt>
          <cx:pt idx="51961">0</cx:pt>
          <cx:pt idx="51962">1</cx:pt>
          <cx:pt idx="51963">1</cx:pt>
          <cx:pt idx="51964">0</cx:pt>
          <cx:pt idx="51965">0</cx:pt>
          <cx:pt idx="51966">1</cx:pt>
          <cx:pt idx="51967">0</cx:pt>
          <cx:pt idx="51968">0</cx:pt>
          <cx:pt idx="51969">0</cx:pt>
          <cx:pt idx="51970">0</cx:pt>
          <cx:pt idx="51971">0</cx:pt>
          <cx:pt idx="51972">0</cx:pt>
          <cx:pt idx="51973">0</cx:pt>
          <cx:pt idx="51974">0</cx:pt>
          <cx:pt idx="51975">1</cx:pt>
          <cx:pt idx="51976">1</cx:pt>
          <cx:pt idx="51977">1</cx:pt>
          <cx:pt idx="51978">0</cx:pt>
          <cx:pt idx="51979">1</cx:pt>
          <cx:pt idx="51980">0</cx:pt>
          <cx:pt idx="51981">0</cx:pt>
          <cx:pt idx="51982">0</cx:pt>
          <cx:pt idx="51983">0</cx:pt>
          <cx:pt idx="51984">1</cx:pt>
          <cx:pt idx="51985">0</cx:pt>
          <cx:pt idx="51986">0</cx:pt>
          <cx:pt idx="51987">0</cx:pt>
          <cx:pt idx="51988">1</cx:pt>
          <cx:pt idx="51989">0</cx:pt>
          <cx:pt idx="51990">0</cx:pt>
          <cx:pt idx="51991">1</cx:pt>
          <cx:pt idx="51992">1</cx:pt>
          <cx:pt idx="51993">1</cx:pt>
          <cx:pt idx="51994">1</cx:pt>
          <cx:pt idx="51995">0</cx:pt>
          <cx:pt idx="51996">1</cx:pt>
          <cx:pt idx="51997">0</cx:pt>
          <cx:pt idx="51998">0</cx:pt>
          <cx:pt idx="51999">0</cx:pt>
          <cx:pt idx="52000">1</cx:pt>
          <cx:pt idx="52001">0</cx:pt>
          <cx:pt idx="52002">1</cx:pt>
          <cx:pt idx="52003">1</cx:pt>
          <cx:pt idx="52004">0</cx:pt>
          <cx:pt idx="52005">1</cx:pt>
          <cx:pt idx="52006">0</cx:pt>
          <cx:pt idx="52007">1</cx:pt>
          <cx:pt idx="52008">0</cx:pt>
          <cx:pt idx="52009">0</cx:pt>
          <cx:pt idx="52010">1</cx:pt>
          <cx:pt idx="52011">1</cx:pt>
          <cx:pt idx="52012">1</cx:pt>
          <cx:pt idx="52013">0</cx:pt>
          <cx:pt idx="52014">0</cx:pt>
          <cx:pt idx="52015">0</cx:pt>
          <cx:pt idx="52016">0</cx:pt>
          <cx:pt idx="52017">0</cx:pt>
          <cx:pt idx="52018">0</cx:pt>
          <cx:pt idx="52019">0</cx:pt>
          <cx:pt idx="52020">1</cx:pt>
          <cx:pt idx="52021">1</cx:pt>
          <cx:pt idx="52022">1</cx:pt>
          <cx:pt idx="52023">0</cx:pt>
          <cx:pt idx="52024">1</cx:pt>
          <cx:pt idx="52025">0</cx:pt>
          <cx:pt idx="52026">1</cx:pt>
          <cx:pt idx="52027">1</cx:pt>
          <cx:pt idx="52028">0</cx:pt>
          <cx:pt idx="52029">1</cx:pt>
          <cx:pt idx="52030">1</cx:pt>
          <cx:pt idx="52031">1</cx:pt>
          <cx:pt idx="52032">0</cx:pt>
          <cx:pt idx="52033">1</cx:pt>
          <cx:pt idx="52034">1</cx:pt>
          <cx:pt idx="52035">0</cx:pt>
          <cx:pt idx="52036">0</cx:pt>
          <cx:pt idx="52037">1</cx:pt>
          <cx:pt idx="52038">1</cx:pt>
          <cx:pt idx="52039">0</cx:pt>
          <cx:pt idx="52040">0</cx:pt>
          <cx:pt idx="52041">1</cx:pt>
          <cx:pt idx="52042">0</cx:pt>
          <cx:pt idx="52043">0</cx:pt>
          <cx:pt idx="52044">1</cx:pt>
          <cx:pt idx="52045">0</cx:pt>
          <cx:pt idx="52046">1</cx:pt>
          <cx:pt idx="52047">0</cx:pt>
          <cx:pt idx="52048">1</cx:pt>
          <cx:pt idx="52049">1</cx:pt>
          <cx:pt idx="52050">1</cx:pt>
          <cx:pt idx="52051">0</cx:pt>
          <cx:pt idx="52052">0</cx:pt>
          <cx:pt idx="52053">0</cx:pt>
          <cx:pt idx="52054">0</cx:pt>
          <cx:pt idx="52055">0</cx:pt>
          <cx:pt idx="52056">0</cx:pt>
          <cx:pt idx="52057">1</cx:pt>
          <cx:pt idx="52058">0</cx:pt>
          <cx:pt idx="52059">0</cx:pt>
          <cx:pt idx="52060">0</cx:pt>
          <cx:pt idx="52061">0</cx:pt>
          <cx:pt idx="52062">0</cx:pt>
          <cx:pt idx="52063">0</cx:pt>
          <cx:pt idx="52064">1</cx:pt>
          <cx:pt idx="52065">0</cx:pt>
          <cx:pt idx="52066">1</cx:pt>
          <cx:pt idx="52067">0</cx:pt>
          <cx:pt idx="52068">1</cx:pt>
          <cx:pt idx="52069">1</cx:pt>
          <cx:pt idx="52070">0</cx:pt>
          <cx:pt idx="52071">0</cx:pt>
          <cx:pt idx="52072">1</cx:pt>
          <cx:pt idx="52073">0</cx:pt>
          <cx:pt idx="52074">1</cx:pt>
          <cx:pt idx="52075">0</cx:pt>
          <cx:pt idx="52076">0</cx:pt>
          <cx:pt idx="52077">0</cx:pt>
          <cx:pt idx="52078">1</cx:pt>
          <cx:pt idx="52079">0</cx:pt>
          <cx:pt idx="52080">0</cx:pt>
          <cx:pt idx="52081">0</cx:pt>
          <cx:pt idx="52082">1</cx:pt>
          <cx:pt idx="52083">0</cx:pt>
          <cx:pt idx="52084">1</cx:pt>
          <cx:pt idx="52085">1</cx:pt>
          <cx:pt idx="52086">0</cx:pt>
          <cx:pt idx="52087">0</cx:pt>
          <cx:pt idx="52088">0</cx:pt>
          <cx:pt idx="52089">1</cx:pt>
          <cx:pt idx="52090">0</cx:pt>
          <cx:pt idx="52091">1</cx:pt>
          <cx:pt idx="52092">1</cx:pt>
          <cx:pt idx="52093">0</cx:pt>
          <cx:pt idx="52094">0</cx:pt>
          <cx:pt idx="52095">0</cx:pt>
          <cx:pt idx="52096">1</cx:pt>
          <cx:pt idx="52097">1</cx:pt>
          <cx:pt idx="52098">1</cx:pt>
          <cx:pt idx="52099">0</cx:pt>
          <cx:pt idx="52100">0</cx:pt>
          <cx:pt idx="52101">0</cx:pt>
          <cx:pt idx="52102">0</cx:pt>
          <cx:pt idx="52103">0</cx:pt>
          <cx:pt idx="52104">1</cx:pt>
          <cx:pt idx="52105">1</cx:pt>
          <cx:pt idx="52106">1</cx:pt>
          <cx:pt idx="52107">1</cx:pt>
          <cx:pt idx="52108">0</cx:pt>
          <cx:pt idx="52109">0</cx:pt>
          <cx:pt idx="52110">0</cx:pt>
          <cx:pt idx="52111">0</cx:pt>
          <cx:pt idx="52112">0</cx:pt>
          <cx:pt idx="52113">0</cx:pt>
          <cx:pt idx="52114">0</cx:pt>
          <cx:pt idx="52115">0</cx:pt>
          <cx:pt idx="52116">1</cx:pt>
          <cx:pt idx="52117">0</cx:pt>
          <cx:pt idx="52118">1</cx:pt>
          <cx:pt idx="52119">0</cx:pt>
          <cx:pt idx="52120">0</cx:pt>
          <cx:pt idx="52121">1</cx:pt>
          <cx:pt idx="52122">0</cx:pt>
          <cx:pt idx="52123">1</cx:pt>
          <cx:pt idx="52124">1</cx:pt>
          <cx:pt idx="52125">0</cx:pt>
          <cx:pt idx="52126">0</cx:pt>
          <cx:pt idx="52127">1</cx:pt>
          <cx:pt idx="52128">1</cx:pt>
          <cx:pt idx="52129">1</cx:pt>
          <cx:pt idx="52130">0</cx:pt>
          <cx:pt idx="52131">1</cx:pt>
          <cx:pt idx="52132">0</cx:pt>
          <cx:pt idx="52133">0</cx:pt>
          <cx:pt idx="52134">0</cx:pt>
          <cx:pt idx="52135">0</cx:pt>
          <cx:pt idx="52136">0</cx:pt>
          <cx:pt idx="52137">0</cx:pt>
          <cx:pt idx="52138">0</cx:pt>
          <cx:pt idx="52139">0</cx:pt>
          <cx:pt idx="52140">1</cx:pt>
          <cx:pt idx="52141">1</cx:pt>
          <cx:pt idx="52142">0</cx:pt>
          <cx:pt idx="52143">0</cx:pt>
          <cx:pt idx="52144">0</cx:pt>
          <cx:pt idx="52145">0</cx:pt>
          <cx:pt idx="52146">1</cx:pt>
          <cx:pt idx="52147">0</cx:pt>
          <cx:pt idx="52148">0</cx:pt>
          <cx:pt idx="52149">1</cx:pt>
          <cx:pt idx="52150">1</cx:pt>
          <cx:pt idx="52151">0</cx:pt>
          <cx:pt idx="52152">0</cx:pt>
          <cx:pt idx="52153">1</cx:pt>
          <cx:pt idx="52154">0</cx:pt>
          <cx:pt idx="52155">0</cx:pt>
          <cx:pt idx="52156">0</cx:pt>
          <cx:pt idx="52157">0</cx:pt>
          <cx:pt idx="52158">1</cx:pt>
          <cx:pt idx="52159">0</cx:pt>
          <cx:pt idx="52160">0</cx:pt>
          <cx:pt idx="52161">0</cx:pt>
          <cx:pt idx="52162">0</cx:pt>
          <cx:pt idx="52163">1</cx:pt>
          <cx:pt idx="52164">0</cx:pt>
          <cx:pt idx="52165">0</cx:pt>
          <cx:pt idx="52166">1</cx:pt>
          <cx:pt idx="52167">1</cx:pt>
          <cx:pt idx="52168">0</cx:pt>
          <cx:pt idx="52169">0</cx:pt>
          <cx:pt idx="52170">0</cx:pt>
          <cx:pt idx="52171">0</cx:pt>
          <cx:pt idx="52172">0</cx:pt>
          <cx:pt idx="52173">1</cx:pt>
          <cx:pt idx="52174">0</cx:pt>
          <cx:pt idx="52175">1</cx:pt>
          <cx:pt idx="52176">1</cx:pt>
          <cx:pt idx="52177">0</cx:pt>
          <cx:pt idx="52178">1</cx:pt>
          <cx:pt idx="52179">0</cx:pt>
          <cx:pt idx="52180">0</cx:pt>
          <cx:pt idx="52181">1</cx:pt>
          <cx:pt idx="52182">0</cx:pt>
          <cx:pt idx="52183">0</cx:pt>
          <cx:pt idx="52184">1</cx:pt>
          <cx:pt idx="52185">1</cx:pt>
          <cx:pt idx="52186">0</cx:pt>
          <cx:pt idx="52187">1</cx:pt>
          <cx:pt idx="52188">1</cx:pt>
          <cx:pt idx="52189">0</cx:pt>
          <cx:pt idx="52190">0</cx:pt>
          <cx:pt idx="52191">0</cx:pt>
          <cx:pt idx="52192">0</cx:pt>
          <cx:pt idx="52193">0</cx:pt>
          <cx:pt idx="52194">0</cx:pt>
          <cx:pt idx="52195">0</cx:pt>
          <cx:pt idx="52196">1</cx:pt>
          <cx:pt idx="52197">1</cx:pt>
          <cx:pt idx="52198">0</cx:pt>
          <cx:pt idx="52199">0</cx:pt>
          <cx:pt idx="52200">0</cx:pt>
          <cx:pt idx="52201">1</cx:pt>
          <cx:pt idx="52202">1</cx:pt>
          <cx:pt idx="52203">1</cx:pt>
          <cx:pt idx="52204">1</cx:pt>
          <cx:pt idx="52205">1</cx:pt>
          <cx:pt idx="52206">0</cx:pt>
          <cx:pt idx="52207">0</cx:pt>
          <cx:pt idx="52208">1</cx:pt>
          <cx:pt idx="52209">1</cx:pt>
          <cx:pt idx="52210">1</cx:pt>
          <cx:pt idx="52211">1</cx:pt>
          <cx:pt idx="52212">0</cx:pt>
          <cx:pt idx="52213">1</cx:pt>
          <cx:pt idx="52214">0</cx:pt>
          <cx:pt idx="52215">1</cx:pt>
          <cx:pt idx="52216">1</cx:pt>
          <cx:pt idx="52217">0</cx:pt>
          <cx:pt idx="52218">0</cx:pt>
          <cx:pt idx="52219">0</cx:pt>
          <cx:pt idx="52220">0</cx:pt>
          <cx:pt idx="52221">0</cx:pt>
          <cx:pt idx="52222">0</cx:pt>
          <cx:pt idx="52223">0</cx:pt>
          <cx:pt idx="52224">0</cx:pt>
          <cx:pt idx="52225">0</cx:pt>
          <cx:pt idx="52226">1</cx:pt>
          <cx:pt idx="52227">0</cx:pt>
          <cx:pt idx="52228">0</cx:pt>
          <cx:pt idx="52229">0</cx:pt>
          <cx:pt idx="52230">0</cx:pt>
          <cx:pt idx="52231">1</cx:pt>
          <cx:pt idx="52232">1</cx:pt>
          <cx:pt idx="52233">0</cx:pt>
          <cx:pt idx="52234">0</cx:pt>
          <cx:pt idx="52235">0</cx:pt>
          <cx:pt idx="52236">0</cx:pt>
          <cx:pt idx="52237">0</cx:pt>
          <cx:pt idx="52238">0</cx:pt>
          <cx:pt idx="52239">1</cx:pt>
          <cx:pt idx="52240">0</cx:pt>
          <cx:pt idx="52241">0</cx:pt>
          <cx:pt idx="52242">1</cx:pt>
          <cx:pt idx="52243">0</cx:pt>
          <cx:pt idx="52244">0</cx:pt>
          <cx:pt idx="52245">1</cx:pt>
          <cx:pt idx="52246">1</cx:pt>
          <cx:pt idx="52247">0</cx:pt>
          <cx:pt idx="52248">1</cx:pt>
          <cx:pt idx="52249">0</cx:pt>
          <cx:pt idx="52250">0</cx:pt>
          <cx:pt idx="52251">0</cx:pt>
          <cx:pt idx="52252">0</cx:pt>
          <cx:pt idx="52253">0</cx:pt>
          <cx:pt idx="52254">0</cx:pt>
          <cx:pt idx="52255">0</cx:pt>
          <cx:pt idx="52256">1</cx:pt>
          <cx:pt idx="52257">0</cx:pt>
          <cx:pt idx="52258">0</cx:pt>
          <cx:pt idx="52259">1</cx:pt>
          <cx:pt idx="52260">0</cx:pt>
          <cx:pt idx="52261">0</cx:pt>
          <cx:pt idx="52262">0</cx:pt>
          <cx:pt idx="52263">0</cx:pt>
          <cx:pt idx="52264">0</cx:pt>
          <cx:pt idx="52265">1</cx:pt>
          <cx:pt idx="52266">1</cx:pt>
          <cx:pt idx="52267">0</cx:pt>
          <cx:pt idx="52268">1</cx:pt>
          <cx:pt idx="52269">0</cx:pt>
          <cx:pt idx="52270">1</cx:pt>
          <cx:pt idx="52271">1</cx:pt>
          <cx:pt idx="52272">0</cx:pt>
          <cx:pt idx="52273">1</cx:pt>
          <cx:pt idx="52274">0</cx:pt>
          <cx:pt idx="52275">0</cx:pt>
          <cx:pt idx="52276">0</cx:pt>
          <cx:pt idx="52277">0</cx:pt>
          <cx:pt idx="52278">0</cx:pt>
          <cx:pt idx="52279">1</cx:pt>
          <cx:pt idx="52280">0</cx:pt>
          <cx:pt idx="52281">1</cx:pt>
          <cx:pt idx="52282">1</cx:pt>
          <cx:pt idx="52283">1</cx:pt>
          <cx:pt idx="52284">0</cx:pt>
          <cx:pt idx="52285">1</cx:pt>
          <cx:pt idx="52286">1</cx:pt>
          <cx:pt idx="52287">1</cx:pt>
          <cx:pt idx="52288">0</cx:pt>
          <cx:pt idx="52289">0</cx:pt>
          <cx:pt idx="52290">0</cx:pt>
          <cx:pt idx="52291">0</cx:pt>
          <cx:pt idx="52292">1</cx:pt>
          <cx:pt idx="52293">0</cx:pt>
          <cx:pt idx="52294">1</cx:pt>
          <cx:pt idx="52295">1</cx:pt>
          <cx:pt idx="52296">1</cx:pt>
          <cx:pt idx="52297">0</cx:pt>
          <cx:pt idx="52298">0</cx:pt>
          <cx:pt idx="52299">0</cx:pt>
          <cx:pt idx="52300">1</cx:pt>
          <cx:pt idx="52301">1</cx:pt>
          <cx:pt idx="52302">1</cx:pt>
          <cx:pt idx="52303">0</cx:pt>
          <cx:pt idx="52304">1</cx:pt>
          <cx:pt idx="52305">0</cx:pt>
          <cx:pt idx="52306">0</cx:pt>
          <cx:pt idx="52307">1</cx:pt>
          <cx:pt idx="52308">1</cx:pt>
          <cx:pt idx="52309">0</cx:pt>
          <cx:pt idx="52310">1</cx:pt>
          <cx:pt idx="52311">0</cx:pt>
          <cx:pt idx="52312">0</cx:pt>
          <cx:pt idx="52313">1</cx:pt>
          <cx:pt idx="52314">0</cx:pt>
          <cx:pt idx="52315">0</cx:pt>
          <cx:pt idx="52316">1</cx:pt>
          <cx:pt idx="52317">1</cx:pt>
          <cx:pt idx="52318">0</cx:pt>
          <cx:pt idx="52319">1</cx:pt>
          <cx:pt idx="52320">0</cx:pt>
          <cx:pt idx="52321">0</cx:pt>
          <cx:pt idx="52322">1</cx:pt>
          <cx:pt idx="52323">0</cx:pt>
          <cx:pt idx="52324">0</cx:pt>
          <cx:pt idx="52325">0</cx:pt>
          <cx:pt idx="52326">1</cx:pt>
          <cx:pt idx="52327">1</cx:pt>
          <cx:pt idx="52328">0</cx:pt>
          <cx:pt idx="52329">0</cx:pt>
          <cx:pt idx="52330">0</cx:pt>
          <cx:pt idx="52331">1</cx:pt>
          <cx:pt idx="52332">1</cx:pt>
          <cx:pt idx="52333">0</cx:pt>
          <cx:pt idx="52334">0</cx:pt>
          <cx:pt idx="52335">1</cx:pt>
          <cx:pt idx="52336">1</cx:pt>
          <cx:pt idx="52337">1</cx:pt>
          <cx:pt idx="52338">0</cx:pt>
          <cx:pt idx="52339">0</cx:pt>
          <cx:pt idx="52340">0</cx:pt>
          <cx:pt idx="52341">0</cx:pt>
          <cx:pt idx="52342">1</cx:pt>
          <cx:pt idx="52343">1</cx:pt>
          <cx:pt idx="52344">0</cx:pt>
          <cx:pt idx="52345">0</cx:pt>
          <cx:pt idx="52346">1</cx:pt>
          <cx:pt idx="52347">1</cx:pt>
          <cx:pt idx="52348">0</cx:pt>
          <cx:pt idx="52349">0</cx:pt>
          <cx:pt idx="52350">1</cx:pt>
          <cx:pt idx="52351">0</cx:pt>
          <cx:pt idx="52352">0</cx:pt>
          <cx:pt idx="52353">1</cx:pt>
          <cx:pt idx="52354">1</cx:pt>
          <cx:pt idx="52355">0</cx:pt>
          <cx:pt idx="52356">0</cx:pt>
          <cx:pt idx="52357">0</cx:pt>
          <cx:pt idx="52358">0</cx:pt>
          <cx:pt idx="52359">0</cx:pt>
          <cx:pt idx="52360">0</cx:pt>
          <cx:pt idx="52361">0</cx:pt>
          <cx:pt idx="52362">0</cx:pt>
          <cx:pt idx="52363">0</cx:pt>
          <cx:pt idx="52364">0</cx:pt>
          <cx:pt idx="52365">0</cx:pt>
          <cx:pt idx="52366">0</cx:pt>
          <cx:pt idx="52367">1</cx:pt>
          <cx:pt idx="52368">0</cx:pt>
          <cx:pt idx="52369">0</cx:pt>
          <cx:pt idx="52370">1</cx:pt>
          <cx:pt idx="52371">0</cx:pt>
          <cx:pt idx="52372">0</cx:pt>
          <cx:pt idx="52373">0</cx:pt>
          <cx:pt idx="52374">0</cx:pt>
          <cx:pt idx="52375">1</cx:pt>
          <cx:pt idx="52376">0</cx:pt>
          <cx:pt idx="52377">0</cx:pt>
          <cx:pt idx="52378">1</cx:pt>
          <cx:pt idx="52379">1</cx:pt>
          <cx:pt idx="52380">1</cx:pt>
          <cx:pt idx="52381">0</cx:pt>
          <cx:pt idx="52382">0</cx:pt>
          <cx:pt idx="52383">0</cx:pt>
          <cx:pt idx="52384">0</cx:pt>
          <cx:pt idx="52385">0</cx:pt>
          <cx:pt idx="52386">0</cx:pt>
          <cx:pt idx="52387">0</cx:pt>
          <cx:pt idx="52388">1</cx:pt>
          <cx:pt idx="52389">1</cx:pt>
          <cx:pt idx="52390">0</cx:pt>
          <cx:pt idx="52391">1</cx:pt>
          <cx:pt idx="52392">0</cx:pt>
          <cx:pt idx="52393">0</cx:pt>
          <cx:pt idx="52394">1</cx:pt>
          <cx:pt idx="52395">0</cx:pt>
          <cx:pt idx="52396">0</cx:pt>
          <cx:pt idx="52397">1</cx:pt>
          <cx:pt idx="52398">0</cx:pt>
          <cx:pt idx="52399">0</cx:pt>
          <cx:pt idx="52400">0</cx:pt>
          <cx:pt idx="52401">0</cx:pt>
          <cx:pt idx="52402">0</cx:pt>
          <cx:pt idx="52403">0</cx:pt>
          <cx:pt idx="52404">0</cx:pt>
          <cx:pt idx="52405">1</cx:pt>
          <cx:pt idx="52406">1</cx:pt>
          <cx:pt idx="52407">0</cx:pt>
          <cx:pt idx="52408">1</cx:pt>
          <cx:pt idx="52409">0</cx:pt>
          <cx:pt idx="52410">1</cx:pt>
          <cx:pt idx="52411">0</cx:pt>
          <cx:pt idx="52412">0</cx:pt>
          <cx:pt idx="52413">0</cx:pt>
          <cx:pt idx="52414">1</cx:pt>
          <cx:pt idx="52415">1</cx:pt>
          <cx:pt idx="52416">0</cx:pt>
          <cx:pt idx="52417">0</cx:pt>
          <cx:pt idx="52418">0</cx:pt>
          <cx:pt idx="52419">0</cx:pt>
          <cx:pt idx="52420">1</cx:pt>
          <cx:pt idx="52421">1</cx:pt>
          <cx:pt idx="52422">0</cx:pt>
          <cx:pt idx="52423">1</cx:pt>
          <cx:pt idx="52424">0</cx:pt>
          <cx:pt idx="52425">0</cx:pt>
          <cx:pt idx="52426">1</cx:pt>
          <cx:pt idx="52427">0</cx:pt>
          <cx:pt idx="52428">0</cx:pt>
          <cx:pt idx="52429">1</cx:pt>
          <cx:pt idx="52430">1</cx:pt>
          <cx:pt idx="52431">1</cx:pt>
          <cx:pt idx="52432">1</cx:pt>
          <cx:pt idx="52433">1</cx:pt>
          <cx:pt idx="52434">1</cx:pt>
          <cx:pt idx="52435">0</cx:pt>
          <cx:pt idx="52436">0</cx:pt>
          <cx:pt idx="52437">0</cx:pt>
          <cx:pt idx="52438">1</cx:pt>
          <cx:pt idx="52439">1</cx:pt>
          <cx:pt idx="52440">0</cx:pt>
          <cx:pt idx="52441">1</cx:pt>
          <cx:pt idx="52442">1</cx:pt>
          <cx:pt idx="52443">0</cx:pt>
          <cx:pt idx="52444">1</cx:pt>
          <cx:pt idx="52445">1</cx:pt>
          <cx:pt idx="52446">0</cx:pt>
          <cx:pt idx="52447">0</cx:pt>
          <cx:pt idx="52448">0</cx:pt>
          <cx:pt idx="52449">0</cx:pt>
          <cx:pt idx="52450">0</cx:pt>
          <cx:pt idx="52451">1</cx:pt>
          <cx:pt idx="52452">1</cx:pt>
          <cx:pt idx="52453">1</cx:pt>
          <cx:pt idx="52454">0</cx:pt>
          <cx:pt idx="52455">0</cx:pt>
          <cx:pt idx="52456">0</cx:pt>
          <cx:pt idx="52457">1</cx:pt>
          <cx:pt idx="52458">1</cx:pt>
          <cx:pt idx="52459">0</cx:pt>
          <cx:pt idx="52460">1</cx:pt>
          <cx:pt idx="52461">0</cx:pt>
          <cx:pt idx="52462">1</cx:pt>
          <cx:pt idx="52463">1</cx:pt>
          <cx:pt idx="52464">1</cx:pt>
          <cx:pt idx="52465">0</cx:pt>
          <cx:pt idx="52466">1</cx:pt>
          <cx:pt idx="52467">0</cx:pt>
          <cx:pt idx="52468">0</cx:pt>
          <cx:pt idx="52469">0</cx:pt>
          <cx:pt idx="52470">0</cx:pt>
          <cx:pt idx="52471">0</cx:pt>
          <cx:pt idx="52472">1</cx:pt>
          <cx:pt idx="52473">0</cx:pt>
          <cx:pt idx="52474">1</cx:pt>
          <cx:pt idx="52475">1</cx:pt>
          <cx:pt idx="52476">1</cx:pt>
          <cx:pt idx="52477">0</cx:pt>
          <cx:pt idx="52478">1</cx:pt>
          <cx:pt idx="52479">0</cx:pt>
          <cx:pt idx="52480">1</cx:pt>
          <cx:pt idx="52481">0</cx:pt>
          <cx:pt idx="52482">1</cx:pt>
          <cx:pt idx="52483">0</cx:pt>
          <cx:pt idx="52484">0</cx:pt>
          <cx:pt idx="52485">0</cx:pt>
          <cx:pt idx="52486">1</cx:pt>
          <cx:pt idx="52487">0</cx:pt>
          <cx:pt idx="52488">0</cx:pt>
          <cx:pt idx="52489">1</cx:pt>
          <cx:pt idx="52490">1</cx:pt>
          <cx:pt idx="52491">1</cx:pt>
          <cx:pt idx="52492">1</cx:pt>
          <cx:pt idx="52493">0</cx:pt>
          <cx:pt idx="52494">0</cx:pt>
          <cx:pt idx="52495">1</cx:pt>
          <cx:pt idx="52496">0</cx:pt>
          <cx:pt idx="52497">0</cx:pt>
          <cx:pt idx="52498">1</cx:pt>
          <cx:pt idx="52499">0</cx:pt>
          <cx:pt idx="52500">1</cx:pt>
          <cx:pt idx="52501">0</cx:pt>
          <cx:pt idx="52502">1</cx:pt>
          <cx:pt idx="52503">0</cx:pt>
          <cx:pt idx="52504">1</cx:pt>
          <cx:pt idx="52505">0</cx:pt>
          <cx:pt idx="52506">0</cx:pt>
          <cx:pt idx="52507">0</cx:pt>
          <cx:pt idx="52508">0</cx:pt>
          <cx:pt idx="52509">1</cx:pt>
          <cx:pt idx="52510">0</cx:pt>
          <cx:pt idx="52511">1</cx:pt>
          <cx:pt idx="52512">0</cx:pt>
          <cx:pt idx="52513">1</cx:pt>
          <cx:pt idx="52514">0</cx:pt>
          <cx:pt idx="52515">0</cx:pt>
          <cx:pt idx="52516">0</cx:pt>
          <cx:pt idx="52517">0</cx:pt>
          <cx:pt idx="52518">1</cx:pt>
          <cx:pt idx="52519">1</cx:pt>
          <cx:pt idx="52520">0</cx:pt>
          <cx:pt idx="52521">0</cx:pt>
          <cx:pt idx="52522">0</cx:pt>
          <cx:pt idx="52523">0</cx:pt>
          <cx:pt idx="52524">0</cx:pt>
          <cx:pt idx="52525">1</cx:pt>
          <cx:pt idx="52526">1</cx:pt>
          <cx:pt idx="52527">0</cx:pt>
          <cx:pt idx="52528">1</cx:pt>
          <cx:pt idx="52529">0</cx:pt>
          <cx:pt idx="52530">1</cx:pt>
          <cx:pt idx="52531">1</cx:pt>
          <cx:pt idx="52532">0</cx:pt>
          <cx:pt idx="52533">0</cx:pt>
          <cx:pt idx="52534">1</cx:pt>
          <cx:pt idx="52535">0</cx:pt>
          <cx:pt idx="52536">0</cx:pt>
          <cx:pt idx="52537">0</cx:pt>
          <cx:pt idx="52538">1</cx:pt>
          <cx:pt idx="52539">0</cx:pt>
          <cx:pt idx="52540">1</cx:pt>
          <cx:pt idx="52541">1</cx:pt>
          <cx:pt idx="52542">0</cx:pt>
          <cx:pt idx="52543">0</cx:pt>
          <cx:pt idx="52544">0</cx:pt>
          <cx:pt idx="52545">0</cx:pt>
          <cx:pt idx="52546">1</cx:pt>
          <cx:pt idx="52547">1</cx:pt>
          <cx:pt idx="52548">0</cx:pt>
          <cx:pt idx="52549">0</cx:pt>
          <cx:pt idx="52550">0</cx:pt>
          <cx:pt idx="52551">0</cx:pt>
          <cx:pt idx="52552">1</cx:pt>
          <cx:pt idx="52553">0</cx:pt>
          <cx:pt idx="52554">0</cx:pt>
          <cx:pt idx="52555">0</cx:pt>
          <cx:pt idx="52556">1</cx:pt>
          <cx:pt idx="52557">0</cx:pt>
          <cx:pt idx="52558">1</cx:pt>
          <cx:pt idx="52559">0</cx:pt>
          <cx:pt idx="52560">1</cx:pt>
          <cx:pt idx="52561">1</cx:pt>
          <cx:pt idx="52562">1</cx:pt>
          <cx:pt idx="52563">0</cx:pt>
          <cx:pt idx="52564">1</cx:pt>
          <cx:pt idx="52565">1</cx:pt>
          <cx:pt idx="52566">1</cx:pt>
          <cx:pt idx="52567">0</cx:pt>
          <cx:pt idx="52568">1</cx:pt>
          <cx:pt idx="52569">0</cx:pt>
          <cx:pt idx="52570">1</cx:pt>
          <cx:pt idx="52571">1</cx:pt>
          <cx:pt idx="52572">1</cx:pt>
          <cx:pt idx="52573">0</cx:pt>
          <cx:pt idx="52574">0</cx:pt>
          <cx:pt idx="52575">1</cx:pt>
          <cx:pt idx="52576">0</cx:pt>
          <cx:pt idx="52577">0</cx:pt>
          <cx:pt idx="52578">0</cx:pt>
          <cx:pt idx="52579">1</cx:pt>
          <cx:pt idx="52580">0</cx:pt>
          <cx:pt idx="52581">0</cx:pt>
          <cx:pt idx="52582">0</cx:pt>
          <cx:pt idx="52583">0</cx:pt>
          <cx:pt idx="52584">1</cx:pt>
          <cx:pt idx="52585">1</cx:pt>
          <cx:pt idx="52586">1</cx:pt>
          <cx:pt idx="52587">0</cx:pt>
          <cx:pt idx="52588">1</cx:pt>
          <cx:pt idx="52589">1</cx:pt>
          <cx:pt idx="52590">1</cx:pt>
          <cx:pt idx="52591">0</cx:pt>
          <cx:pt idx="52592">0</cx:pt>
          <cx:pt idx="52593">1</cx:pt>
          <cx:pt idx="52594">0</cx:pt>
          <cx:pt idx="52595">0</cx:pt>
          <cx:pt idx="52596">0</cx:pt>
          <cx:pt idx="52597">0</cx:pt>
          <cx:pt idx="52598">0</cx:pt>
          <cx:pt idx="52599">1</cx:pt>
          <cx:pt idx="52600">1</cx:pt>
          <cx:pt idx="52601">0</cx:pt>
          <cx:pt idx="52602">1</cx:pt>
          <cx:pt idx="52603">1</cx:pt>
          <cx:pt idx="52604">0</cx:pt>
          <cx:pt idx="52605">1</cx:pt>
          <cx:pt idx="52606">1</cx:pt>
          <cx:pt idx="52607">0</cx:pt>
          <cx:pt idx="52608">0</cx:pt>
          <cx:pt idx="52609">0</cx:pt>
          <cx:pt idx="52610">1</cx:pt>
          <cx:pt idx="52611">0</cx:pt>
          <cx:pt idx="52612">1</cx:pt>
          <cx:pt idx="52613">1</cx:pt>
          <cx:pt idx="52614">0</cx:pt>
          <cx:pt idx="52615">1</cx:pt>
          <cx:pt idx="52616">1</cx:pt>
          <cx:pt idx="52617">1</cx:pt>
          <cx:pt idx="52618">0</cx:pt>
          <cx:pt idx="52619">0</cx:pt>
          <cx:pt idx="52620">1</cx:pt>
          <cx:pt idx="52621">1</cx:pt>
          <cx:pt idx="52622">1</cx:pt>
          <cx:pt idx="52623">0</cx:pt>
          <cx:pt idx="52624">1</cx:pt>
          <cx:pt idx="52625">1</cx:pt>
          <cx:pt idx="52626">0</cx:pt>
          <cx:pt idx="52627">1</cx:pt>
          <cx:pt idx="52628">0</cx:pt>
          <cx:pt idx="52629">1</cx:pt>
          <cx:pt idx="52630">0</cx:pt>
          <cx:pt idx="52631">0</cx:pt>
          <cx:pt idx="52632">1</cx:pt>
          <cx:pt idx="52633">0</cx:pt>
          <cx:pt idx="52634">1</cx:pt>
          <cx:pt idx="52635">1</cx:pt>
          <cx:pt idx="52636">0</cx:pt>
          <cx:pt idx="52637">0</cx:pt>
          <cx:pt idx="52638">0</cx:pt>
          <cx:pt idx="52639">1</cx:pt>
          <cx:pt idx="52640">0</cx:pt>
          <cx:pt idx="52641">0</cx:pt>
          <cx:pt idx="52642">0</cx:pt>
          <cx:pt idx="52643">0</cx:pt>
          <cx:pt idx="52644">0</cx:pt>
          <cx:pt idx="52645">0</cx:pt>
          <cx:pt idx="52646">1</cx:pt>
          <cx:pt idx="52647">0</cx:pt>
          <cx:pt idx="52648">1</cx:pt>
          <cx:pt idx="52649">0</cx:pt>
          <cx:pt idx="52650">0</cx:pt>
          <cx:pt idx="52651">0</cx:pt>
          <cx:pt idx="52652">0</cx:pt>
          <cx:pt idx="52653">0</cx:pt>
          <cx:pt idx="52654">1</cx:pt>
          <cx:pt idx="52655">1</cx:pt>
          <cx:pt idx="52656">1</cx:pt>
          <cx:pt idx="52657">1</cx:pt>
          <cx:pt idx="52658">1</cx:pt>
          <cx:pt idx="52659">0</cx:pt>
          <cx:pt idx="52660">0</cx:pt>
          <cx:pt idx="52661">1</cx:pt>
          <cx:pt idx="52662">1</cx:pt>
          <cx:pt idx="52663">0</cx:pt>
          <cx:pt idx="52664">0</cx:pt>
          <cx:pt idx="52665">0</cx:pt>
          <cx:pt idx="52666">0</cx:pt>
          <cx:pt idx="52667">1</cx:pt>
          <cx:pt idx="52668">1</cx:pt>
          <cx:pt idx="52669">0</cx:pt>
          <cx:pt idx="52670">1</cx:pt>
          <cx:pt idx="52671">0</cx:pt>
          <cx:pt idx="52672">1</cx:pt>
          <cx:pt idx="52673">1</cx:pt>
          <cx:pt idx="52674">0</cx:pt>
          <cx:pt idx="52675">1</cx:pt>
          <cx:pt idx="52676">1</cx:pt>
          <cx:pt idx="52677">1</cx:pt>
          <cx:pt idx="52678">0</cx:pt>
          <cx:pt idx="52679">0</cx:pt>
          <cx:pt idx="52680">1</cx:pt>
          <cx:pt idx="52681">1</cx:pt>
          <cx:pt idx="52682">0</cx:pt>
          <cx:pt idx="52683">0</cx:pt>
          <cx:pt idx="52684">0</cx:pt>
          <cx:pt idx="52685">0</cx:pt>
          <cx:pt idx="52686">0</cx:pt>
          <cx:pt idx="52687">1</cx:pt>
          <cx:pt idx="52688">1</cx:pt>
          <cx:pt idx="52689">1</cx:pt>
          <cx:pt idx="52690">1</cx:pt>
          <cx:pt idx="52691">0</cx:pt>
          <cx:pt idx="52692">1</cx:pt>
          <cx:pt idx="52693">0</cx:pt>
          <cx:pt idx="52694">0</cx:pt>
          <cx:pt idx="52695">1</cx:pt>
          <cx:pt idx="52696">0</cx:pt>
          <cx:pt idx="52697">0</cx:pt>
          <cx:pt idx="52698">0</cx:pt>
          <cx:pt idx="52699">1</cx:pt>
          <cx:pt idx="52700">0</cx:pt>
          <cx:pt idx="52701">0</cx:pt>
          <cx:pt idx="52702">0</cx:pt>
          <cx:pt idx="52703">0</cx:pt>
          <cx:pt idx="52704">1</cx:pt>
          <cx:pt idx="52705">1</cx:pt>
          <cx:pt idx="52706">0</cx:pt>
          <cx:pt idx="52707">0</cx:pt>
          <cx:pt idx="52708">1</cx:pt>
          <cx:pt idx="52709">0</cx:pt>
          <cx:pt idx="52710">0</cx:pt>
          <cx:pt idx="52711">0</cx:pt>
          <cx:pt idx="52712">1</cx:pt>
          <cx:pt idx="52713">1</cx:pt>
          <cx:pt idx="52714">1</cx:pt>
          <cx:pt idx="52715">1</cx:pt>
          <cx:pt idx="52716">0</cx:pt>
          <cx:pt idx="52717">0</cx:pt>
          <cx:pt idx="52718">1</cx:pt>
          <cx:pt idx="52719">0</cx:pt>
          <cx:pt idx="52720">0</cx:pt>
          <cx:pt idx="52721">1</cx:pt>
          <cx:pt idx="52722">0</cx:pt>
          <cx:pt idx="52723">1</cx:pt>
          <cx:pt idx="52724">0</cx:pt>
          <cx:pt idx="52725">0</cx:pt>
          <cx:pt idx="52726">0</cx:pt>
          <cx:pt idx="52727">1</cx:pt>
          <cx:pt idx="52728">1</cx:pt>
          <cx:pt idx="52729">1</cx:pt>
          <cx:pt idx="52730">0</cx:pt>
          <cx:pt idx="52731">0</cx:pt>
          <cx:pt idx="52732">1</cx:pt>
          <cx:pt idx="52733">0</cx:pt>
          <cx:pt idx="52734">0</cx:pt>
          <cx:pt idx="52735">0</cx:pt>
          <cx:pt idx="52736">0</cx:pt>
          <cx:pt idx="52737">0</cx:pt>
          <cx:pt idx="52738">1</cx:pt>
          <cx:pt idx="52739">0</cx:pt>
          <cx:pt idx="52740">0</cx:pt>
          <cx:pt idx="52741">1</cx:pt>
          <cx:pt idx="52742">0</cx:pt>
          <cx:pt idx="52743">1</cx:pt>
          <cx:pt idx="52744">0</cx:pt>
          <cx:pt idx="52745">1</cx:pt>
          <cx:pt idx="52746">0</cx:pt>
          <cx:pt idx="52747">1</cx:pt>
          <cx:pt idx="52748">0</cx:pt>
          <cx:pt idx="52749">0</cx:pt>
          <cx:pt idx="52750">0</cx:pt>
          <cx:pt idx="52751">0</cx:pt>
          <cx:pt idx="52752">1</cx:pt>
          <cx:pt idx="52753">1</cx:pt>
          <cx:pt idx="52754">1</cx:pt>
          <cx:pt idx="52755">1</cx:pt>
          <cx:pt idx="52756">0</cx:pt>
          <cx:pt idx="52757">1</cx:pt>
          <cx:pt idx="52758">1</cx:pt>
          <cx:pt idx="52759">0</cx:pt>
          <cx:pt idx="52760">1</cx:pt>
          <cx:pt idx="52761">0</cx:pt>
          <cx:pt idx="52762">1</cx:pt>
          <cx:pt idx="52763">1</cx:pt>
          <cx:pt idx="52764">0</cx:pt>
          <cx:pt idx="52765">0</cx:pt>
          <cx:pt idx="52766">0</cx:pt>
          <cx:pt idx="52767">1</cx:pt>
          <cx:pt idx="52768">0</cx:pt>
          <cx:pt idx="52769">1</cx:pt>
          <cx:pt idx="52770">0</cx:pt>
          <cx:pt idx="52771">1</cx:pt>
          <cx:pt idx="52772">0</cx:pt>
          <cx:pt idx="52773">0</cx:pt>
          <cx:pt idx="52774">0</cx:pt>
          <cx:pt idx="52775">1</cx:pt>
          <cx:pt idx="52776">1</cx:pt>
          <cx:pt idx="52777">1</cx:pt>
          <cx:pt idx="52778">0</cx:pt>
          <cx:pt idx="52779">0</cx:pt>
          <cx:pt idx="52780">0</cx:pt>
          <cx:pt idx="52781">1</cx:pt>
          <cx:pt idx="52782">0</cx:pt>
          <cx:pt idx="52783">0</cx:pt>
          <cx:pt idx="52784">1</cx:pt>
          <cx:pt idx="52785">0</cx:pt>
          <cx:pt idx="52786">1</cx:pt>
          <cx:pt idx="52787">1</cx:pt>
          <cx:pt idx="52788">1</cx:pt>
          <cx:pt idx="52789">1</cx:pt>
          <cx:pt idx="52790">0</cx:pt>
          <cx:pt idx="52791">1</cx:pt>
          <cx:pt idx="52792">1</cx:pt>
          <cx:pt idx="52793">1</cx:pt>
          <cx:pt idx="52794">0</cx:pt>
          <cx:pt idx="52795">0</cx:pt>
          <cx:pt idx="52796">0</cx:pt>
          <cx:pt idx="52797">1</cx:pt>
          <cx:pt idx="52798">1</cx:pt>
          <cx:pt idx="52799">0</cx:pt>
          <cx:pt idx="52800">0</cx:pt>
          <cx:pt idx="52801">1</cx:pt>
          <cx:pt idx="52802">0</cx:pt>
          <cx:pt idx="52803">0</cx:pt>
          <cx:pt idx="52804">1</cx:pt>
          <cx:pt idx="52805">1</cx:pt>
          <cx:pt idx="52806">1</cx:pt>
          <cx:pt idx="52807">1</cx:pt>
          <cx:pt idx="52808">1</cx:pt>
          <cx:pt idx="52809">0</cx:pt>
          <cx:pt idx="52810">1</cx:pt>
          <cx:pt idx="52811">1</cx:pt>
          <cx:pt idx="52812">1</cx:pt>
          <cx:pt idx="52813">1</cx:pt>
          <cx:pt idx="52814">0</cx:pt>
          <cx:pt idx="52815">1</cx:pt>
          <cx:pt idx="52816">0</cx:pt>
          <cx:pt idx="52817">1</cx:pt>
          <cx:pt idx="52818">1</cx:pt>
          <cx:pt idx="52819">1</cx:pt>
          <cx:pt idx="52820">1</cx:pt>
          <cx:pt idx="52821">1</cx:pt>
          <cx:pt idx="52822">1</cx:pt>
          <cx:pt idx="52823">1</cx:pt>
          <cx:pt idx="52824">0</cx:pt>
          <cx:pt idx="52825">1</cx:pt>
          <cx:pt idx="52826">1</cx:pt>
          <cx:pt idx="52827">0</cx:pt>
          <cx:pt idx="52828">0</cx:pt>
          <cx:pt idx="52829">0</cx:pt>
          <cx:pt idx="52830">1</cx:pt>
          <cx:pt idx="52831">0</cx:pt>
          <cx:pt idx="52832">1</cx:pt>
          <cx:pt idx="52833">0</cx:pt>
          <cx:pt idx="52834">1</cx:pt>
          <cx:pt idx="52835">0</cx:pt>
          <cx:pt idx="52836">1</cx:pt>
          <cx:pt idx="52837">1</cx:pt>
          <cx:pt idx="52838">0</cx:pt>
          <cx:pt idx="52839">1</cx:pt>
          <cx:pt idx="52840">1</cx:pt>
          <cx:pt idx="52841">0</cx:pt>
          <cx:pt idx="52842">1</cx:pt>
          <cx:pt idx="52843">1</cx:pt>
          <cx:pt idx="52844">0</cx:pt>
          <cx:pt idx="52845">1</cx:pt>
          <cx:pt idx="52846">1</cx:pt>
          <cx:pt idx="52847">0</cx:pt>
          <cx:pt idx="52848">1</cx:pt>
          <cx:pt idx="52849">0</cx:pt>
          <cx:pt idx="52850">1</cx:pt>
          <cx:pt idx="52851">0</cx:pt>
          <cx:pt idx="52852">1</cx:pt>
          <cx:pt idx="52853">0</cx:pt>
          <cx:pt idx="52854">1</cx:pt>
          <cx:pt idx="52855">1</cx:pt>
          <cx:pt idx="52856">1</cx:pt>
          <cx:pt idx="52857">1</cx:pt>
          <cx:pt idx="52858">1</cx:pt>
          <cx:pt idx="52859">0</cx:pt>
          <cx:pt idx="52860">1</cx:pt>
          <cx:pt idx="52861">0</cx:pt>
          <cx:pt idx="52862">0</cx:pt>
          <cx:pt idx="52863">1</cx:pt>
          <cx:pt idx="52864">1</cx:pt>
          <cx:pt idx="52865">0</cx:pt>
          <cx:pt idx="52866">1</cx:pt>
          <cx:pt idx="52867">1</cx:pt>
          <cx:pt idx="52868">0</cx:pt>
          <cx:pt idx="52869">1</cx:pt>
          <cx:pt idx="52870">0</cx:pt>
          <cx:pt idx="52871">1</cx:pt>
          <cx:pt idx="52872">0</cx:pt>
          <cx:pt idx="52873">0</cx:pt>
          <cx:pt idx="52874">0</cx:pt>
          <cx:pt idx="52875">0</cx:pt>
          <cx:pt idx="52876">1</cx:pt>
          <cx:pt idx="52877">0</cx:pt>
          <cx:pt idx="52878">0</cx:pt>
          <cx:pt idx="52879">0</cx:pt>
          <cx:pt idx="52880">1</cx:pt>
          <cx:pt idx="52881">0</cx:pt>
          <cx:pt idx="52882">1</cx:pt>
          <cx:pt idx="52883">1</cx:pt>
          <cx:pt idx="52884">1</cx:pt>
          <cx:pt idx="52885">0</cx:pt>
          <cx:pt idx="52886">1</cx:pt>
          <cx:pt idx="52887">0</cx:pt>
          <cx:pt idx="52888">1</cx:pt>
          <cx:pt idx="52889">1</cx:pt>
          <cx:pt idx="52890">1</cx:pt>
          <cx:pt idx="52891">1</cx:pt>
          <cx:pt idx="52892">1</cx:pt>
          <cx:pt idx="52893">0</cx:pt>
          <cx:pt idx="52894">1</cx:pt>
          <cx:pt idx="52895">0</cx:pt>
          <cx:pt idx="52896">1</cx:pt>
          <cx:pt idx="52897">0</cx:pt>
          <cx:pt idx="52898">0</cx:pt>
          <cx:pt idx="52899">0</cx:pt>
          <cx:pt idx="52900">0</cx:pt>
          <cx:pt idx="52901">0</cx:pt>
          <cx:pt idx="52902">0</cx:pt>
          <cx:pt idx="52903">0</cx:pt>
          <cx:pt idx="52904">1</cx:pt>
          <cx:pt idx="52905">0</cx:pt>
          <cx:pt idx="52906">0</cx:pt>
          <cx:pt idx="52907">1</cx:pt>
          <cx:pt idx="52908">1</cx:pt>
          <cx:pt idx="52909">0</cx:pt>
          <cx:pt idx="52910">0</cx:pt>
          <cx:pt idx="52911">1</cx:pt>
          <cx:pt idx="52912">0</cx:pt>
          <cx:pt idx="52913">1</cx:pt>
          <cx:pt idx="52914">1</cx:pt>
          <cx:pt idx="52915">0</cx:pt>
          <cx:pt idx="52916">0</cx:pt>
          <cx:pt idx="52917">0</cx:pt>
          <cx:pt idx="52918">1</cx:pt>
          <cx:pt idx="52919">0</cx:pt>
          <cx:pt idx="52920">0</cx:pt>
          <cx:pt idx="52921">1</cx:pt>
          <cx:pt idx="52922">0</cx:pt>
          <cx:pt idx="52923">1</cx:pt>
          <cx:pt idx="52924">1</cx:pt>
          <cx:pt idx="52925">0</cx:pt>
          <cx:pt idx="52926">0</cx:pt>
          <cx:pt idx="52927">1</cx:pt>
          <cx:pt idx="52928">0</cx:pt>
          <cx:pt idx="52929">1</cx:pt>
          <cx:pt idx="52930">1</cx:pt>
          <cx:pt idx="52931">0</cx:pt>
          <cx:pt idx="52932">1</cx:pt>
          <cx:pt idx="52933">1</cx:pt>
          <cx:pt idx="52934">0</cx:pt>
          <cx:pt idx="52935">0</cx:pt>
          <cx:pt idx="52936">0</cx:pt>
          <cx:pt idx="52937">1</cx:pt>
          <cx:pt idx="52938">1</cx:pt>
          <cx:pt idx="52939">0</cx:pt>
          <cx:pt idx="52940">0</cx:pt>
          <cx:pt idx="52941">0</cx:pt>
          <cx:pt idx="52942">1</cx:pt>
          <cx:pt idx="52943">0</cx:pt>
          <cx:pt idx="52944">1</cx:pt>
          <cx:pt idx="52945">1</cx:pt>
          <cx:pt idx="52946">1</cx:pt>
          <cx:pt idx="52947">1</cx:pt>
          <cx:pt idx="52948">1</cx:pt>
          <cx:pt idx="52949">0</cx:pt>
          <cx:pt idx="52950">1</cx:pt>
          <cx:pt idx="52951">0</cx:pt>
          <cx:pt idx="52952">1</cx:pt>
          <cx:pt idx="52953">1</cx:pt>
          <cx:pt idx="52954">1</cx:pt>
          <cx:pt idx="52955">1</cx:pt>
          <cx:pt idx="52956">0</cx:pt>
          <cx:pt idx="52957">0</cx:pt>
          <cx:pt idx="52958">0</cx:pt>
          <cx:pt idx="52959">0</cx:pt>
          <cx:pt idx="52960">0</cx:pt>
          <cx:pt idx="52961">0</cx:pt>
          <cx:pt idx="52962">1</cx:pt>
          <cx:pt idx="52963">0</cx:pt>
          <cx:pt idx="52964">0</cx:pt>
          <cx:pt idx="52965">0</cx:pt>
          <cx:pt idx="52966">0</cx:pt>
          <cx:pt idx="52967">1</cx:pt>
          <cx:pt idx="52968">0</cx:pt>
          <cx:pt idx="52969">0</cx:pt>
          <cx:pt idx="52970">0</cx:pt>
          <cx:pt idx="52971">1</cx:pt>
          <cx:pt idx="52972">0</cx:pt>
          <cx:pt idx="52973">0</cx:pt>
          <cx:pt idx="52974">1</cx:pt>
          <cx:pt idx="52975">1</cx:pt>
          <cx:pt idx="52976">0</cx:pt>
          <cx:pt idx="52977">1</cx:pt>
          <cx:pt idx="52978">0</cx:pt>
          <cx:pt idx="52979">0</cx:pt>
          <cx:pt idx="52980">0</cx:pt>
          <cx:pt idx="52981">0</cx:pt>
          <cx:pt idx="52982">0</cx:pt>
          <cx:pt idx="52983">1</cx:pt>
          <cx:pt idx="52984">0</cx:pt>
          <cx:pt idx="52985">0</cx:pt>
          <cx:pt idx="52986">1</cx:pt>
          <cx:pt idx="52987">1</cx:pt>
          <cx:pt idx="52988">0</cx:pt>
          <cx:pt idx="52989">1</cx:pt>
          <cx:pt idx="52990">0</cx:pt>
          <cx:pt idx="52991">1</cx:pt>
          <cx:pt idx="52992">0</cx:pt>
          <cx:pt idx="52993">0</cx:pt>
          <cx:pt idx="52994">1</cx:pt>
          <cx:pt idx="52995">0</cx:pt>
          <cx:pt idx="52996">0</cx:pt>
          <cx:pt idx="52997">1</cx:pt>
          <cx:pt idx="52998">1</cx:pt>
          <cx:pt idx="52999">1</cx:pt>
          <cx:pt idx="53000">1</cx:pt>
          <cx:pt idx="53001">0</cx:pt>
          <cx:pt idx="53002">0</cx:pt>
          <cx:pt idx="53003">1</cx:pt>
          <cx:pt idx="53004">1</cx:pt>
          <cx:pt idx="53005">0</cx:pt>
          <cx:pt idx="53006">1</cx:pt>
          <cx:pt idx="53007">1</cx:pt>
          <cx:pt idx="53008">0</cx:pt>
          <cx:pt idx="53009">0</cx:pt>
          <cx:pt idx="53010">0</cx:pt>
          <cx:pt idx="53011">0</cx:pt>
          <cx:pt idx="53012">1</cx:pt>
          <cx:pt idx="53013">1</cx:pt>
          <cx:pt idx="53014">0</cx:pt>
          <cx:pt idx="53015">0</cx:pt>
          <cx:pt idx="53016">1</cx:pt>
          <cx:pt idx="53017">0</cx:pt>
          <cx:pt idx="53018">0</cx:pt>
          <cx:pt idx="53019">0</cx:pt>
          <cx:pt idx="53020">0</cx:pt>
          <cx:pt idx="53021">0</cx:pt>
          <cx:pt idx="53022">0</cx:pt>
          <cx:pt idx="53023">0</cx:pt>
          <cx:pt idx="53024">1</cx:pt>
          <cx:pt idx="53025">0</cx:pt>
          <cx:pt idx="53026">1</cx:pt>
          <cx:pt idx="53027">0</cx:pt>
          <cx:pt idx="53028">1</cx:pt>
          <cx:pt idx="53029">0</cx:pt>
          <cx:pt idx="53030">0</cx:pt>
          <cx:pt idx="53031">0</cx:pt>
          <cx:pt idx="53032">0</cx:pt>
          <cx:pt idx="53033">0</cx:pt>
          <cx:pt idx="53034">0</cx:pt>
          <cx:pt idx="53035">0</cx:pt>
          <cx:pt idx="53036">1</cx:pt>
          <cx:pt idx="53037">0</cx:pt>
          <cx:pt idx="53038">1</cx:pt>
          <cx:pt idx="53039">0</cx:pt>
          <cx:pt idx="53040">1</cx:pt>
          <cx:pt idx="53041">1</cx:pt>
          <cx:pt idx="53042">0</cx:pt>
          <cx:pt idx="53043">1</cx:pt>
          <cx:pt idx="53044">0</cx:pt>
          <cx:pt idx="53045">0</cx:pt>
          <cx:pt idx="53046">0</cx:pt>
          <cx:pt idx="53047">0</cx:pt>
          <cx:pt idx="53048">0</cx:pt>
          <cx:pt idx="53049">1</cx:pt>
          <cx:pt idx="53050">0</cx:pt>
          <cx:pt idx="53051">1</cx:pt>
          <cx:pt idx="53052">0</cx:pt>
          <cx:pt idx="53053">0</cx:pt>
          <cx:pt idx="53054">0</cx:pt>
          <cx:pt idx="53055">1</cx:pt>
          <cx:pt idx="53056">1</cx:pt>
          <cx:pt idx="53057">0</cx:pt>
          <cx:pt idx="53058">1</cx:pt>
          <cx:pt idx="53059">0</cx:pt>
          <cx:pt idx="53060">0</cx:pt>
          <cx:pt idx="53061">1</cx:pt>
          <cx:pt idx="53062">0</cx:pt>
          <cx:pt idx="53063">1</cx:pt>
          <cx:pt idx="53064">1</cx:pt>
          <cx:pt idx="53065">0</cx:pt>
          <cx:pt idx="53066">1</cx:pt>
          <cx:pt idx="53067">0</cx:pt>
          <cx:pt idx="53068">0</cx:pt>
          <cx:pt idx="53069">1</cx:pt>
          <cx:pt idx="53070">0</cx:pt>
          <cx:pt idx="53071">0</cx:pt>
          <cx:pt idx="53072">0</cx:pt>
          <cx:pt idx="53073">1</cx:pt>
          <cx:pt idx="53074">0</cx:pt>
          <cx:pt idx="53075">0</cx:pt>
          <cx:pt idx="53076">0</cx:pt>
          <cx:pt idx="53077">0</cx:pt>
          <cx:pt idx="53078">1</cx:pt>
          <cx:pt idx="53079">1</cx:pt>
          <cx:pt idx="53080">0</cx:pt>
          <cx:pt idx="53081">0</cx:pt>
          <cx:pt idx="53082">0</cx:pt>
          <cx:pt idx="53083">0</cx:pt>
          <cx:pt idx="53084">1</cx:pt>
          <cx:pt idx="53085">1</cx:pt>
          <cx:pt idx="53086">1</cx:pt>
          <cx:pt idx="53087">0</cx:pt>
          <cx:pt idx="53088">1</cx:pt>
          <cx:pt idx="53089">1</cx:pt>
          <cx:pt idx="53090">1</cx:pt>
          <cx:pt idx="53091">1</cx:pt>
          <cx:pt idx="53092">0</cx:pt>
          <cx:pt idx="53093">0</cx:pt>
          <cx:pt idx="53094">0</cx:pt>
          <cx:pt idx="53095">0</cx:pt>
          <cx:pt idx="53096">0</cx:pt>
          <cx:pt idx="53097">1</cx:pt>
          <cx:pt idx="53098">0</cx:pt>
          <cx:pt idx="53099">1</cx:pt>
          <cx:pt idx="53100">0</cx:pt>
          <cx:pt idx="53101">1</cx:pt>
          <cx:pt idx="53102">1</cx:pt>
          <cx:pt idx="53103">1</cx:pt>
          <cx:pt idx="53104">0</cx:pt>
          <cx:pt idx="53105">1</cx:pt>
          <cx:pt idx="53106">0</cx:pt>
          <cx:pt idx="53107">0</cx:pt>
          <cx:pt idx="53108">0</cx:pt>
          <cx:pt idx="53109">0</cx:pt>
          <cx:pt idx="53110">0</cx:pt>
          <cx:pt idx="53111">0</cx:pt>
          <cx:pt idx="53112">1</cx:pt>
          <cx:pt idx="53113">1</cx:pt>
          <cx:pt idx="53114">0</cx:pt>
          <cx:pt idx="53115">0</cx:pt>
          <cx:pt idx="53116">1</cx:pt>
          <cx:pt idx="53117">0</cx:pt>
          <cx:pt idx="53118">1</cx:pt>
          <cx:pt idx="53119">1</cx:pt>
          <cx:pt idx="53120">0</cx:pt>
          <cx:pt idx="53121">1</cx:pt>
          <cx:pt idx="53122">0</cx:pt>
          <cx:pt idx="53123">0</cx:pt>
          <cx:pt idx="53124">1</cx:pt>
          <cx:pt idx="53125">0</cx:pt>
          <cx:pt idx="53126">0</cx:pt>
          <cx:pt idx="53127">0</cx:pt>
          <cx:pt idx="53128">0</cx:pt>
          <cx:pt idx="53129">1</cx:pt>
          <cx:pt idx="53130">1</cx:pt>
          <cx:pt idx="53131">1</cx:pt>
          <cx:pt idx="53132">1</cx:pt>
          <cx:pt idx="53133">1</cx:pt>
          <cx:pt idx="53134">1</cx:pt>
          <cx:pt idx="53135">0</cx:pt>
          <cx:pt idx="53136">0</cx:pt>
          <cx:pt idx="53137">0</cx:pt>
          <cx:pt idx="53138">0</cx:pt>
          <cx:pt idx="53139">1</cx:pt>
          <cx:pt idx="53140">1</cx:pt>
          <cx:pt idx="53141">1</cx:pt>
          <cx:pt idx="53142">0</cx:pt>
          <cx:pt idx="53143">1</cx:pt>
          <cx:pt idx="53144">1</cx:pt>
          <cx:pt idx="53145">1</cx:pt>
          <cx:pt idx="53146">0</cx:pt>
          <cx:pt idx="53147">0</cx:pt>
          <cx:pt idx="53148">1</cx:pt>
          <cx:pt idx="53149">1</cx:pt>
          <cx:pt idx="53150">1</cx:pt>
          <cx:pt idx="53151">1</cx:pt>
          <cx:pt idx="53152">0</cx:pt>
          <cx:pt idx="53153">0</cx:pt>
          <cx:pt idx="53154">1</cx:pt>
          <cx:pt idx="53155">0</cx:pt>
          <cx:pt idx="53156">1</cx:pt>
          <cx:pt idx="53157">1</cx:pt>
          <cx:pt idx="53158">0</cx:pt>
          <cx:pt idx="53159">1</cx:pt>
          <cx:pt idx="53160">1</cx:pt>
          <cx:pt idx="53161">1</cx:pt>
          <cx:pt idx="53162">0</cx:pt>
          <cx:pt idx="53163">1</cx:pt>
          <cx:pt idx="53164">1</cx:pt>
          <cx:pt idx="53165">1</cx:pt>
          <cx:pt idx="53166">0</cx:pt>
          <cx:pt idx="53167">0</cx:pt>
          <cx:pt idx="53168">1</cx:pt>
          <cx:pt idx="53169">0</cx:pt>
          <cx:pt idx="53170">0</cx:pt>
          <cx:pt idx="53171">0</cx:pt>
          <cx:pt idx="53172">1</cx:pt>
          <cx:pt idx="53173">0</cx:pt>
          <cx:pt idx="53174">1</cx:pt>
          <cx:pt idx="53175">1</cx:pt>
          <cx:pt idx="53176">1</cx:pt>
          <cx:pt idx="53177">1</cx:pt>
          <cx:pt idx="53178">1</cx:pt>
          <cx:pt idx="53179">0</cx:pt>
          <cx:pt idx="53180">0</cx:pt>
          <cx:pt idx="53181">1</cx:pt>
          <cx:pt idx="53182">0</cx:pt>
          <cx:pt idx="53183">0</cx:pt>
          <cx:pt idx="53184">1</cx:pt>
          <cx:pt idx="53185">1</cx:pt>
          <cx:pt idx="53186">0</cx:pt>
          <cx:pt idx="53187">0</cx:pt>
          <cx:pt idx="53188">1</cx:pt>
          <cx:pt idx="53189">1</cx:pt>
          <cx:pt idx="53190">0</cx:pt>
          <cx:pt idx="53191">1</cx:pt>
          <cx:pt idx="53192">1</cx:pt>
          <cx:pt idx="53193">0</cx:pt>
          <cx:pt idx="53194">1</cx:pt>
          <cx:pt idx="53195">1</cx:pt>
          <cx:pt idx="53196">1</cx:pt>
          <cx:pt idx="53197">0</cx:pt>
          <cx:pt idx="53198">0</cx:pt>
          <cx:pt idx="53199">0</cx:pt>
          <cx:pt idx="53200">0</cx:pt>
          <cx:pt idx="53201">0</cx:pt>
          <cx:pt idx="53202">1</cx:pt>
          <cx:pt idx="53203">0</cx:pt>
          <cx:pt idx="53204">1</cx:pt>
          <cx:pt idx="53205">1</cx:pt>
          <cx:pt idx="53206">0</cx:pt>
          <cx:pt idx="53207">0</cx:pt>
          <cx:pt idx="53208">1</cx:pt>
          <cx:pt idx="53209">0</cx:pt>
          <cx:pt idx="53210">1</cx:pt>
          <cx:pt idx="53211">0</cx:pt>
          <cx:pt idx="53212">0</cx:pt>
          <cx:pt idx="53213">0</cx:pt>
          <cx:pt idx="53214">1</cx:pt>
          <cx:pt idx="53215">0</cx:pt>
          <cx:pt idx="53216">0</cx:pt>
          <cx:pt idx="53217">1</cx:pt>
          <cx:pt idx="53218">1</cx:pt>
          <cx:pt idx="53219">0</cx:pt>
          <cx:pt idx="53220">0</cx:pt>
          <cx:pt idx="53221">1</cx:pt>
          <cx:pt idx="53222">0</cx:pt>
          <cx:pt idx="53223">1</cx:pt>
          <cx:pt idx="53224">0</cx:pt>
          <cx:pt idx="53225">1</cx:pt>
          <cx:pt idx="53226">1</cx:pt>
          <cx:pt idx="53227">0</cx:pt>
          <cx:pt idx="53228">0</cx:pt>
          <cx:pt idx="53229">0</cx:pt>
          <cx:pt idx="53230">0</cx:pt>
          <cx:pt idx="53231">1</cx:pt>
          <cx:pt idx="53232">1</cx:pt>
          <cx:pt idx="53233">0</cx:pt>
          <cx:pt idx="53234">0</cx:pt>
          <cx:pt idx="53235">0</cx:pt>
          <cx:pt idx="53236">1</cx:pt>
          <cx:pt idx="53237">1</cx:pt>
          <cx:pt idx="53238">1</cx:pt>
          <cx:pt idx="53239">0</cx:pt>
          <cx:pt idx="53240">1</cx:pt>
          <cx:pt idx="53241">0</cx:pt>
          <cx:pt idx="53242">0</cx:pt>
          <cx:pt idx="53243">0</cx:pt>
          <cx:pt idx="53244">0</cx:pt>
          <cx:pt idx="53245">0</cx:pt>
          <cx:pt idx="53246">1</cx:pt>
          <cx:pt idx="53247">1</cx:pt>
          <cx:pt idx="53248">0</cx:pt>
          <cx:pt idx="53249">0</cx:pt>
          <cx:pt idx="53250">0</cx:pt>
          <cx:pt idx="53251">1</cx:pt>
          <cx:pt idx="53252">0</cx:pt>
          <cx:pt idx="53253">0</cx:pt>
          <cx:pt idx="53254">0</cx:pt>
          <cx:pt idx="53255">1</cx:pt>
          <cx:pt idx="53256">0</cx:pt>
          <cx:pt idx="53257">0</cx:pt>
          <cx:pt idx="53258">0</cx:pt>
          <cx:pt idx="53259">1</cx:pt>
          <cx:pt idx="53260">0</cx:pt>
          <cx:pt idx="53261">0</cx:pt>
          <cx:pt idx="53262">0</cx:pt>
          <cx:pt idx="53263">0</cx:pt>
          <cx:pt idx="53264">1</cx:pt>
          <cx:pt idx="53265">1</cx:pt>
          <cx:pt idx="53266">0</cx:pt>
          <cx:pt idx="53267">1</cx:pt>
          <cx:pt idx="53268">1</cx:pt>
          <cx:pt idx="53269">0</cx:pt>
          <cx:pt idx="53270">1</cx:pt>
          <cx:pt idx="53271">1</cx:pt>
          <cx:pt idx="53272">0</cx:pt>
          <cx:pt idx="53273">0</cx:pt>
          <cx:pt idx="53274">1</cx:pt>
          <cx:pt idx="53275">0</cx:pt>
          <cx:pt idx="53276">1</cx:pt>
          <cx:pt idx="53277">0</cx:pt>
          <cx:pt idx="53278">1</cx:pt>
          <cx:pt idx="53279">0</cx:pt>
          <cx:pt idx="53280">0</cx:pt>
          <cx:pt idx="53281">1</cx:pt>
          <cx:pt idx="53282">0</cx:pt>
          <cx:pt idx="53283">0</cx:pt>
          <cx:pt idx="53284">1</cx:pt>
          <cx:pt idx="53285">0</cx:pt>
          <cx:pt idx="53286">1</cx:pt>
          <cx:pt idx="53287">0</cx:pt>
          <cx:pt idx="53288">0</cx:pt>
          <cx:pt idx="53289">0</cx:pt>
          <cx:pt idx="53290">1</cx:pt>
          <cx:pt idx="53291">1</cx:pt>
          <cx:pt idx="53292">0</cx:pt>
          <cx:pt idx="53293">0</cx:pt>
          <cx:pt idx="53294">0</cx:pt>
          <cx:pt idx="53295">1</cx:pt>
          <cx:pt idx="53296">0</cx:pt>
          <cx:pt idx="53297">1</cx:pt>
          <cx:pt idx="53298">0</cx:pt>
          <cx:pt idx="53299">0</cx:pt>
          <cx:pt idx="53300">1</cx:pt>
          <cx:pt idx="53301">0</cx:pt>
          <cx:pt idx="53302">1</cx:pt>
          <cx:pt idx="53303">1</cx:pt>
          <cx:pt idx="53304">0</cx:pt>
          <cx:pt idx="53305">0</cx:pt>
          <cx:pt idx="53306">0</cx:pt>
          <cx:pt idx="53307">0</cx:pt>
          <cx:pt idx="53308">1</cx:pt>
          <cx:pt idx="53309">1</cx:pt>
          <cx:pt idx="53310">1</cx:pt>
          <cx:pt idx="53311">0</cx:pt>
          <cx:pt idx="53312">0</cx:pt>
          <cx:pt idx="53313">1</cx:pt>
          <cx:pt idx="53314">1</cx:pt>
          <cx:pt idx="53315">1</cx:pt>
          <cx:pt idx="53316">1</cx:pt>
          <cx:pt idx="53317">0</cx:pt>
          <cx:pt idx="53318">0</cx:pt>
          <cx:pt idx="53319">0</cx:pt>
          <cx:pt idx="53320">1</cx:pt>
          <cx:pt idx="53321">1</cx:pt>
          <cx:pt idx="53322">1</cx:pt>
          <cx:pt idx="53323">0</cx:pt>
          <cx:pt idx="53324">0</cx:pt>
          <cx:pt idx="53325">1</cx:pt>
          <cx:pt idx="53326">1</cx:pt>
          <cx:pt idx="53327">1</cx:pt>
          <cx:pt idx="53328">0</cx:pt>
          <cx:pt idx="53329">1</cx:pt>
          <cx:pt idx="53330">0</cx:pt>
          <cx:pt idx="53331">0</cx:pt>
          <cx:pt idx="53332">0</cx:pt>
          <cx:pt idx="53333">0</cx:pt>
          <cx:pt idx="53334">0</cx:pt>
          <cx:pt idx="53335">0</cx:pt>
          <cx:pt idx="53336">1</cx:pt>
          <cx:pt idx="53337">1</cx:pt>
          <cx:pt idx="53338">0</cx:pt>
          <cx:pt idx="53339">1</cx:pt>
          <cx:pt idx="53340">1</cx:pt>
          <cx:pt idx="53341">0</cx:pt>
          <cx:pt idx="53342">1</cx:pt>
          <cx:pt idx="53343">0</cx:pt>
          <cx:pt idx="53344">0</cx:pt>
          <cx:pt idx="53345">0</cx:pt>
          <cx:pt idx="53346">1</cx:pt>
          <cx:pt idx="53347">0</cx:pt>
          <cx:pt idx="53348">0</cx:pt>
          <cx:pt idx="53349">1</cx:pt>
          <cx:pt idx="53350">0</cx:pt>
          <cx:pt idx="53351">1</cx:pt>
          <cx:pt idx="53352">0</cx:pt>
          <cx:pt idx="53353">1</cx:pt>
          <cx:pt idx="53354">0</cx:pt>
          <cx:pt idx="53355">0</cx:pt>
          <cx:pt idx="53356">0</cx:pt>
          <cx:pt idx="53357">0</cx:pt>
          <cx:pt idx="53358">1</cx:pt>
          <cx:pt idx="53359">0</cx:pt>
          <cx:pt idx="53360">1</cx:pt>
          <cx:pt idx="53361">0</cx:pt>
          <cx:pt idx="53362">0</cx:pt>
          <cx:pt idx="53363">1</cx:pt>
          <cx:pt idx="53364">0</cx:pt>
          <cx:pt idx="53365">0</cx:pt>
          <cx:pt idx="53366">0</cx:pt>
          <cx:pt idx="53367">0</cx:pt>
          <cx:pt idx="53368">1</cx:pt>
          <cx:pt idx="53369">0</cx:pt>
          <cx:pt idx="53370">0</cx:pt>
          <cx:pt idx="53371">0</cx:pt>
          <cx:pt idx="53372">0</cx:pt>
          <cx:pt idx="53373">0</cx:pt>
          <cx:pt idx="53374">0</cx:pt>
          <cx:pt idx="53375">1</cx:pt>
          <cx:pt idx="53376">0</cx:pt>
          <cx:pt idx="53377">1</cx:pt>
          <cx:pt idx="53378">0</cx:pt>
          <cx:pt idx="53379">0</cx:pt>
          <cx:pt idx="53380">0</cx:pt>
          <cx:pt idx="53381">0</cx:pt>
          <cx:pt idx="53382">0</cx:pt>
          <cx:pt idx="53383">0</cx:pt>
          <cx:pt idx="53384">0</cx:pt>
          <cx:pt idx="53385">0</cx:pt>
          <cx:pt idx="53386">0</cx:pt>
          <cx:pt idx="53387">0</cx:pt>
          <cx:pt idx="53388">0</cx:pt>
          <cx:pt idx="53389">0</cx:pt>
          <cx:pt idx="53390">0</cx:pt>
          <cx:pt idx="53391">1</cx:pt>
          <cx:pt idx="53392">0</cx:pt>
          <cx:pt idx="53393">0</cx:pt>
          <cx:pt idx="53394">1</cx:pt>
          <cx:pt idx="53395">1</cx:pt>
          <cx:pt idx="53396">0</cx:pt>
          <cx:pt idx="53397">0</cx:pt>
          <cx:pt idx="53398">1</cx:pt>
          <cx:pt idx="53399">0</cx:pt>
          <cx:pt idx="53400">1</cx:pt>
          <cx:pt idx="53401">1</cx:pt>
          <cx:pt idx="53402">1</cx:pt>
          <cx:pt idx="53403">0</cx:pt>
          <cx:pt idx="53404">0</cx:pt>
          <cx:pt idx="53405">0</cx:pt>
          <cx:pt idx="53406">1</cx:pt>
          <cx:pt idx="53407">0</cx:pt>
          <cx:pt idx="53408">1</cx:pt>
          <cx:pt idx="53409">0</cx:pt>
          <cx:pt idx="53410">1</cx:pt>
          <cx:pt idx="53411">0</cx:pt>
          <cx:pt idx="53412">0</cx:pt>
          <cx:pt idx="53413">1</cx:pt>
          <cx:pt idx="53414">1</cx:pt>
          <cx:pt idx="53415">1</cx:pt>
          <cx:pt idx="53416">1</cx:pt>
          <cx:pt idx="53417">0</cx:pt>
          <cx:pt idx="53418">0</cx:pt>
          <cx:pt idx="53419">0</cx:pt>
          <cx:pt idx="53420">1</cx:pt>
          <cx:pt idx="53421">1</cx:pt>
          <cx:pt idx="53422">1</cx:pt>
          <cx:pt idx="53423">0</cx:pt>
          <cx:pt idx="53424">0</cx:pt>
          <cx:pt idx="53425">0</cx:pt>
          <cx:pt idx="53426">1</cx:pt>
          <cx:pt idx="53427">0</cx:pt>
          <cx:pt idx="53428">1</cx:pt>
          <cx:pt idx="53429">0</cx:pt>
          <cx:pt idx="53430">0</cx:pt>
          <cx:pt idx="53431">0</cx:pt>
          <cx:pt idx="53432">0</cx:pt>
          <cx:pt idx="53433">0</cx:pt>
          <cx:pt idx="53434">0</cx:pt>
          <cx:pt idx="53435">0</cx:pt>
          <cx:pt idx="53436">0</cx:pt>
          <cx:pt idx="53437">1</cx:pt>
          <cx:pt idx="53438">1</cx:pt>
          <cx:pt idx="53439">1</cx:pt>
          <cx:pt idx="53440">1</cx:pt>
          <cx:pt idx="53441">0</cx:pt>
          <cx:pt idx="53442">0</cx:pt>
          <cx:pt idx="53443">1</cx:pt>
          <cx:pt idx="53444">1</cx:pt>
          <cx:pt idx="53445">0</cx:pt>
          <cx:pt idx="53446">0</cx:pt>
          <cx:pt idx="53447">1</cx:pt>
          <cx:pt idx="53448">1</cx:pt>
          <cx:pt idx="53449">0</cx:pt>
          <cx:pt idx="53450">1</cx:pt>
          <cx:pt idx="53451">1</cx:pt>
          <cx:pt idx="53452">0</cx:pt>
          <cx:pt idx="53453">0</cx:pt>
          <cx:pt idx="53454">0</cx:pt>
          <cx:pt idx="53455">0</cx:pt>
          <cx:pt idx="53456">1</cx:pt>
          <cx:pt idx="53457">0</cx:pt>
          <cx:pt idx="53458">1</cx:pt>
          <cx:pt idx="53459">0</cx:pt>
          <cx:pt idx="53460">1</cx:pt>
          <cx:pt idx="53461">0</cx:pt>
          <cx:pt idx="53462">1</cx:pt>
          <cx:pt idx="53463">0</cx:pt>
          <cx:pt idx="53464">0</cx:pt>
          <cx:pt idx="53465">0</cx:pt>
          <cx:pt idx="53466">1</cx:pt>
          <cx:pt idx="53467">0</cx:pt>
          <cx:pt idx="53468">1</cx:pt>
          <cx:pt idx="53469">0</cx:pt>
          <cx:pt idx="53470">1</cx:pt>
          <cx:pt idx="53471">1</cx:pt>
          <cx:pt idx="53472">1</cx:pt>
          <cx:pt idx="53473">0</cx:pt>
          <cx:pt idx="53474">1</cx:pt>
          <cx:pt idx="53475">1</cx:pt>
          <cx:pt idx="53476">1</cx:pt>
          <cx:pt idx="53477">0</cx:pt>
          <cx:pt idx="53478">0</cx:pt>
          <cx:pt idx="53479">0</cx:pt>
          <cx:pt idx="53480">0</cx:pt>
          <cx:pt idx="53481">1</cx:pt>
          <cx:pt idx="53482">0</cx:pt>
          <cx:pt idx="53483">0</cx:pt>
          <cx:pt idx="53484">1</cx:pt>
          <cx:pt idx="53485">0</cx:pt>
          <cx:pt idx="53486">1</cx:pt>
          <cx:pt idx="53487">0</cx:pt>
          <cx:pt idx="53488">0</cx:pt>
          <cx:pt idx="53489">1</cx:pt>
          <cx:pt idx="53490">0</cx:pt>
          <cx:pt idx="53491">0</cx:pt>
          <cx:pt idx="53492">0</cx:pt>
          <cx:pt idx="53493">0</cx:pt>
          <cx:pt idx="53494">0</cx:pt>
          <cx:pt idx="53495">0</cx:pt>
          <cx:pt idx="53496">0</cx:pt>
          <cx:pt idx="53497">0</cx:pt>
          <cx:pt idx="53498">1</cx:pt>
          <cx:pt idx="53499">0</cx:pt>
          <cx:pt idx="53500">1</cx:pt>
          <cx:pt idx="53501">1</cx:pt>
          <cx:pt idx="53502">0</cx:pt>
          <cx:pt idx="53503">0</cx:pt>
          <cx:pt idx="53504">1</cx:pt>
          <cx:pt idx="53505">0</cx:pt>
          <cx:pt idx="53506">1</cx:pt>
          <cx:pt idx="53507">1</cx:pt>
          <cx:pt idx="53508">1</cx:pt>
          <cx:pt idx="53509">0</cx:pt>
          <cx:pt idx="53510">1</cx:pt>
          <cx:pt idx="53511">0</cx:pt>
          <cx:pt idx="53512">1</cx:pt>
          <cx:pt idx="53513">0</cx:pt>
          <cx:pt idx="53514">1</cx:pt>
          <cx:pt idx="53515">0</cx:pt>
          <cx:pt idx="53516">1</cx:pt>
          <cx:pt idx="53517">0</cx:pt>
          <cx:pt idx="53518">0</cx:pt>
          <cx:pt idx="53519">0</cx:pt>
          <cx:pt idx="53520">1</cx:pt>
          <cx:pt idx="53521">0</cx:pt>
          <cx:pt idx="53522">0</cx:pt>
          <cx:pt idx="53523">0</cx:pt>
          <cx:pt idx="53524">0</cx:pt>
          <cx:pt idx="53525">1</cx:pt>
          <cx:pt idx="53526">1</cx:pt>
          <cx:pt idx="53527">1</cx:pt>
          <cx:pt idx="53528">0</cx:pt>
          <cx:pt idx="53529">0</cx:pt>
          <cx:pt idx="53530">0</cx:pt>
          <cx:pt idx="53531">1</cx:pt>
          <cx:pt idx="53532">0</cx:pt>
          <cx:pt idx="53533">0</cx:pt>
          <cx:pt idx="53534">0</cx:pt>
          <cx:pt idx="53535">0</cx:pt>
          <cx:pt idx="53536">1</cx:pt>
          <cx:pt idx="53537">0</cx:pt>
          <cx:pt idx="53538">0</cx:pt>
          <cx:pt idx="53539">0</cx:pt>
          <cx:pt idx="53540">0</cx:pt>
          <cx:pt idx="53541">1</cx:pt>
          <cx:pt idx="53542">0</cx:pt>
          <cx:pt idx="53543">0</cx:pt>
          <cx:pt idx="53544">0</cx:pt>
          <cx:pt idx="53545">1</cx:pt>
          <cx:pt idx="53546">1</cx:pt>
          <cx:pt idx="53547">0</cx:pt>
          <cx:pt idx="53548">1</cx:pt>
          <cx:pt idx="53549">0</cx:pt>
          <cx:pt idx="53550">0</cx:pt>
          <cx:pt idx="53551">0</cx:pt>
          <cx:pt idx="53552">1</cx:pt>
          <cx:pt idx="53553">1</cx:pt>
          <cx:pt idx="53554">1</cx:pt>
          <cx:pt idx="53555">1</cx:pt>
          <cx:pt idx="53556">1</cx:pt>
          <cx:pt idx="53557">0</cx:pt>
          <cx:pt idx="53558">1</cx:pt>
          <cx:pt idx="53559">0</cx:pt>
          <cx:pt idx="53560">0</cx:pt>
          <cx:pt idx="53561">0</cx:pt>
          <cx:pt idx="53562">0</cx:pt>
          <cx:pt idx="53563">1</cx:pt>
          <cx:pt idx="53564">0</cx:pt>
          <cx:pt idx="53565">1</cx:pt>
          <cx:pt idx="53566">0</cx:pt>
          <cx:pt idx="53567">0</cx:pt>
          <cx:pt idx="53568">1</cx:pt>
          <cx:pt idx="53569">0</cx:pt>
          <cx:pt idx="53570">0</cx:pt>
          <cx:pt idx="53571">1</cx:pt>
          <cx:pt idx="53572">0</cx:pt>
          <cx:pt idx="53573">1</cx:pt>
          <cx:pt idx="53574">1</cx:pt>
          <cx:pt idx="53575">0</cx:pt>
          <cx:pt idx="53576">0</cx:pt>
          <cx:pt idx="53577">0</cx:pt>
          <cx:pt idx="53578">0</cx:pt>
          <cx:pt idx="53579">0</cx:pt>
          <cx:pt idx="53580">1</cx:pt>
          <cx:pt idx="53581">0</cx:pt>
          <cx:pt idx="53582">1</cx:pt>
          <cx:pt idx="53583">0</cx:pt>
          <cx:pt idx="53584">0</cx:pt>
          <cx:pt idx="53585">1</cx:pt>
          <cx:pt idx="53586">1</cx:pt>
          <cx:pt idx="53587">1</cx:pt>
          <cx:pt idx="53588">1</cx:pt>
          <cx:pt idx="53589">0</cx:pt>
          <cx:pt idx="53590">0</cx:pt>
          <cx:pt idx="53591">0</cx:pt>
          <cx:pt idx="53592">0</cx:pt>
          <cx:pt idx="53593">0</cx:pt>
          <cx:pt idx="53594">1</cx:pt>
          <cx:pt idx="53595">0</cx:pt>
          <cx:pt idx="53596">1</cx:pt>
          <cx:pt idx="53597">1</cx:pt>
          <cx:pt idx="53598">0</cx:pt>
          <cx:pt idx="53599">1</cx:pt>
          <cx:pt idx="53600">0</cx:pt>
          <cx:pt idx="53601">0</cx:pt>
          <cx:pt idx="53602">1</cx:pt>
          <cx:pt idx="53603">1</cx:pt>
          <cx:pt idx="53604">1</cx:pt>
          <cx:pt idx="53605">0</cx:pt>
          <cx:pt idx="53606">1</cx:pt>
          <cx:pt idx="53607">1</cx:pt>
          <cx:pt idx="53608">0</cx:pt>
          <cx:pt idx="53609">0</cx:pt>
          <cx:pt idx="53610">0</cx:pt>
          <cx:pt idx="53611">0</cx:pt>
          <cx:pt idx="53612">0</cx:pt>
          <cx:pt idx="53613">0</cx:pt>
          <cx:pt idx="53614">0</cx:pt>
          <cx:pt idx="53615">1</cx:pt>
          <cx:pt idx="53616">1</cx:pt>
          <cx:pt idx="53617">1</cx:pt>
          <cx:pt idx="53618">0</cx:pt>
          <cx:pt idx="53619">0</cx:pt>
          <cx:pt idx="53620">1</cx:pt>
          <cx:pt idx="53621">0</cx:pt>
          <cx:pt idx="53622">0</cx:pt>
          <cx:pt idx="53623">0</cx:pt>
          <cx:pt idx="53624">0</cx:pt>
          <cx:pt idx="53625">0</cx:pt>
          <cx:pt idx="53626">1</cx:pt>
          <cx:pt idx="53627">0</cx:pt>
          <cx:pt idx="53628">1</cx:pt>
          <cx:pt idx="53629">0</cx:pt>
          <cx:pt idx="53630">0</cx:pt>
          <cx:pt idx="53631">1</cx:pt>
          <cx:pt idx="53632">0</cx:pt>
          <cx:pt idx="53633">0</cx:pt>
          <cx:pt idx="53634">1</cx:pt>
          <cx:pt idx="53635">0</cx:pt>
          <cx:pt idx="53636">0</cx:pt>
          <cx:pt idx="53637">1</cx:pt>
          <cx:pt idx="53638">1</cx:pt>
          <cx:pt idx="53639">0</cx:pt>
          <cx:pt idx="53640">1</cx:pt>
          <cx:pt idx="53641">0</cx:pt>
          <cx:pt idx="53642">1</cx:pt>
          <cx:pt idx="53643">0</cx:pt>
          <cx:pt idx="53644">0</cx:pt>
          <cx:pt idx="53645">1</cx:pt>
          <cx:pt idx="53646">1</cx:pt>
          <cx:pt idx="53647">1</cx:pt>
          <cx:pt idx="53648">0</cx:pt>
          <cx:pt idx="53649">0</cx:pt>
          <cx:pt idx="53650">1</cx:pt>
          <cx:pt idx="53651">0</cx:pt>
          <cx:pt idx="53652">1</cx:pt>
          <cx:pt idx="53653">0</cx:pt>
          <cx:pt idx="53654">1</cx:pt>
          <cx:pt idx="53655">1</cx:pt>
          <cx:pt idx="53656">0</cx:pt>
          <cx:pt idx="53657">1</cx:pt>
          <cx:pt idx="53658">1</cx:pt>
          <cx:pt idx="53659">1</cx:pt>
          <cx:pt idx="53660">1</cx:pt>
          <cx:pt idx="53661">1</cx:pt>
          <cx:pt idx="53662">1</cx:pt>
          <cx:pt idx="53663">0</cx:pt>
          <cx:pt idx="53664">1</cx:pt>
          <cx:pt idx="53665">1</cx:pt>
          <cx:pt idx="53666">0</cx:pt>
          <cx:pt idx="53667">0</cx:pt>
          <cx:pt idx="53668">1</cx:pt>
          <cx:pt idx="53669">1</cx:pt>
          <cx:pt idx="53670">0</cx:pt>
          <cx:pt idx="53671">1</cx:pt>
          <cx:pt idx="53672">1</cx:pt>
          <cx:pt idx="53673">0</cx:pt>
          <cx:pt idx="53674">0</cx:pt>
          <cx:pt idx="53675">1</cx:pt>
          <cx:pt idx="53676">1</cx:pt>
          <cx:pt idx="53677">0</cx:pt>
          <cx:pt idx="53678">0</cx:pt>
          <cx:pt idx="53679">1</cx:pt>
          <cx:pt idx="53680">1</cx:pt>
          <cx:pt idx="53681">0</cx:pt>
          <cx:pt idx="53682">0</cx:pt>
          <cx:pt idx="53683">1</cx:pt>
          <cx:pt idx="53684">1</cx:pt>
          <cx:pt idx="53685">0</cx:pt>
          <cx:pt idx="53686">1</cx:pt>
          <cx:pt idx="53687">1</cx:pt>
          <cx:pt idx="53688">1</cx:pt>
          <cx:pt idx="53689">0</cx:pt>
          <cx:pt idx="53690">0</cx:pt>
          <cx:pt idx="53691">0</cx:pt>
          <cx:pt idx="53692">1</cx:pt>
          <cx:pt idx="53693">0</cx:pt>
          <cx:pt idx="53694">0</cx:pt>
          <cx:pt idx="53695">0</cx:pt>
          <cx:pt idx="53696">1</cx:pt>
          <cx:pt idx="53697">0</cx:pt>
          <cx:pt idx="53698">1</cx:pt>
          <cx:pt idx="53699">0</cx:pt>
          <cx:pt idx="53700">1</cx:pt>
          <cx:pt idx="53701">1</cx:pt>
          <cx:pt idx="53702">0</cx:pt>
          <cx:pt idx="53703">0</cx:pt>
          <cx:pt idx="53704">1</cx:pt>
          <cx:pt idx="53705">0</cx:pt>
          <cx:pt idx="53706">0</cx:pt>
          <cx:pt idx="53707">0</cx:pt>
          <cx:pt idx="53708">1</cx:pt>
          <cx:pt idx="53709">1</cx:pt>
          <cx:pt idx="53710">0</cx:pt>
          <cx:pt idx="53711">0</cx:pt>
          <cx:pt idx="53712">0</cx:pt>
          <cx:pt idx="53713">0</cx:pt>
          <cx:pt idx="53714">1</cx:pt>
          <cx:pt idx="53715">0</cx:pt>
          <cx:pt idx="53716">0</cx:pt>
          <cx:pt idx="53717">0</cx:pt>
          <cx:pt idx="53718">0</cx:pt>
          <cx:pt idx="53719">1</cx:pt>
          <cx:pt idx="53720">1</cx:pt>
          <cx:pt idx="53721">1</cx:pt>
          <cx:pt idx="53722">1</cx:pt>
          <cx:pt idx="53723">1</cx:pt>
          <cx:pt idx="53724">1</cx:pt>
          <cx:pt idx="53725">0</cx:pt>
          <cx:pt idx="53726">1</cx:pt>
          <cx:pt idx="53727">1</cx:pt>
          <cx:pt idx="53728">0</cx:pt>
          <cx:pt idx="53729">0</cx:pt>
          <cx:pt idx="53730">0</cx:pt>
          <cx:pt idx="53731">0</cx:pt>
          <cx:pt idx="53732">0</cx:pt>
          <cx:pt idx="53733">0</cx:pt>
          <cx:pt idx="53734">0</cx:pt>
          <cx:pt idx="53735">0</cx:pt>
          <cx:pt idx="53736">0</cx:pt>
          <cx:pt idx="53737">0</cx:pt>
          <cx:pt idx="53738">1</cx:pt>
          <cx:pt idx="53739">0</cx:pt>
          <cx:pt idx="53740">0</cx:pt>
          <cx:pt idx="53741">0</cx:pt>
          <cx:pt idx="53742">0</cx:pt>
          <cx:pt idx="53743">0</cx:pt>
          <cx:pt idx="53744">0</cx:pt>
          <cx:pt idx="53745">0</cx:pt>
          <cx:pt idx="53746">1</cx:pt>
          <cx:pt idx="53747">1</cx:pt>
          <cx:pt idx="53748">0</cx:pt>
          <cx:pt idx="53749">0</cx:pt>
          <cx:pt idx="53750">0</cx:pt>
          <cx:pt idx="53751">0</cx:pt>
          <cx:pt idx="53752">1</cx:pt>
          <cx:pt idx="53753">1</cx:pt>
          <cx:pt idx="53754">0</cx:pt>
          <cx:pt idx="53755">0</cx:pt>
          <cx:pt idx="53756">1</cx:pt>
          <cx:pt idx="53757">0</cx:pt>
          <cx:pt idx="53758">1</cx:pt>
          <cx:pt idx="53759">0</cx:pt>
          <cx:pt idx="53760">0</cx:pt>
          <cx:pt idx="53761">1</cx:pt>
          <cx:pt idx="53762">1</cx:pt>
          <cx:pt idx="53763">0</cx:pt>
          <cx:pt idx="53764">0</cx:pt>
          <cx:pt idx="53765">1</cx:pt>
          <cx:pt idx="53766">0</cx:pt>
          <cx:pt idx="53767">1</cx:pt>
          <cx:pt idx="53768">1</cx:pt>
          <cx:pt idx="53769">0</cx:pt>
          <cx:pt idx="53770">0</cx:pt>
          <cx:pt idx="53771">0</cx:pt>
          <cx:pt idx="53772">0</cx:pt>
          <cx:pt idx="53773">0</cx:pt>
          <cx:pt idx="53774">1</cx:pt>
          <cx:pt idx="53775">0</cx:pt>
          <cx:pt idx="53776">1</cx:pt>
          <cx:pt idx="53777">0</cx:pt>
          <cx:pt idx="53778">1</cx:pt>
          <cx:pt idx="53779">0</cx:pt>
          <cx:pt idx="53780">1</cx:pt>
          <cx:pt idx="53781">0</cx:pt>
          <cx:pt idx="53782">0</cx:pt>
          <cx:pt idx="53783">0</cx:pt>
          <cx:pt idx="53784">1</cx:pt>
          <cx:pt idx="53785">1</cx:pt>
          <cx:pt idx="53786">1</cx:pt>
          <cx:pt idx="53787">1</cx:pt>
          <cx:pt idx="53788">1</cx:pt>
          <cx:pt idx="53789">0</cx:pt>
          <cx:pt idx="53790">0</cx:pt>
          <cx:pt idx="53791">0</cx:pt>
          <cx:pt idx="53792">1</cx:pt>
          <cx:pt idx="53793">0</cx:pt>
          <cx:pt idx="53794">0</cx:pt>
          <cx:pt idx="53795">0</cx:pt>
          <cx:pt idx="53796">0</cx:pt>
          <cx:pt idx="53797">1</cx:pt>
          <cx:pt idx="53798">0</cx:pt>
          <cx:pt idx="53799">1</cx:pt>
          <cx:pt idx="53800">0</cx:pt>
          <cx:pt idx="53801">0</cx:pt>
          <cx:pt idx="53802">1</cx:pt>
          <cx:pt idx="53803">0</cx:pt>
          <cx:pt idx="53804">0</cx:pt>
          <cx:pt idx="53805">0</cx:pt>
          <cx:pt idx="53806">1</cx:pt>
          <cx:pt idx="53807">0</cx:pt>
          <cx:pt idx="53808">1</cx:pt>
          <cx:pt idx="53809">1</cx:pt>
          <cx:pt idx="53810">0</cx:pt>
          <cx:pt idx="53811">1</cx:pt>
          <cx:pt idx="53812">0</cx:pt>
          <cx:pt idx="53813">0</cx:pt>
          <cx:pt idx="53814">1</cx:pt>
          <cx:pt idx="53815">1</cx:pt>
          <cx:pt idx="53816">0</cx:pt>
          <cx:pt idx="53817">0</cx:pt>
          <cx:pt idx="53818">0</cx:pt>
          <cx:pt idx="53819">0</cx:pt>
          <cx:pt idx="53820">0</cx:pt>
          <cx:pt idx="53821">0</cx:pt>
          <cx:pt idx="53822">1</cx:pt>
          <cx:pt idx="53823">1</cx:pt>
          <cx:pt idx="53824">1</cx:pt>
          <cx:pt idx="53825">1</cx:pt>
          <cx:pt idx="53826">0</cx:pt>
          <cx:pt idx="53827">0</cx:pt>
          <cx:pt idx="53828">0</cx:pt>
          <cx:pt idx="53829">0</cx:pt>
          <cx:pt idx="53830">1</cx:pt>
          <cx:pt idx="53831">0</cx:pt>
          <cx:pt idx="53832">0</cx:pt>
          <cx:pt idx="53833">1</cx:pt>
          <cx:pt idx="53834">1</cx:pt>
          <cx:pt idx="53835">1</cx:pt>
          <cx:pt idx="53836">0</cx:pt>
          <cx:pt idx="53837">1</cx:pt>
          <cx:pt idx="53838">0</cx:pt>
          <cx:pt idx="53839">1</cx:pt>
          <cx:pt idx="53840">0</cx:pt>
          <cx:pt idx="53841">0</cx:pt>
          <cx:pt idx="53842">1</cx:pt>
          <cx:pt idx="53843">0</cx:pt>
          <cx:pt idx="53844">0</cx:pt>
          <cx:pt idx="53845">1</cx:pt>
          <cx:pt idx="53846">0</cx:pt>
          <cx:pt idx="53847">0</cx:pt>
          <cx:pt idx="53848">0</cx:pt>
          <cx:pt idx="53849">0</cx:pt>
          <cx:pt idx="53850">1</cx:pt>
          <cx:pt idx="53851">0</cx:pt>
          <cx:pt idx="53852">0</cx:pt>
          <cx:pt idx="53853">0</cx:pt>
          <cx:pt idx="53854">0</cx:pt>
          <cx:pt idx="53855">0</cx:pt>
          <cx:pt idx="53856">1</cx:pt>
          <cx:pt idx="53857">1</cx:pt>
          <cx:pt idx="53858">0</cx:pt>
          <cx:pt idx="53859">1</cx:pt>
          <cx:pt idx="53860">0</cx:pt>
          <cx:pt idx="53861">0</cx:pt>
          <cx:pt idx="53862">0</cx:pt>
          <cx:pt idx="53863">1</cx:pt>
          <cx:pt idx="53864">0</cx:pt>
          <cx:pt idx="53865">0</cx:pt>
          <cx:pt idx="53866">1</cx:pt>
          <cx:pt idx="53867">0</cx:pt>
          <cx:pt idx="53868">0</cx:pt>
          <cx:pt idx="53869">1</cx:pt>
          <cx:pt idx="53870">0</cx:pt>
          <cx:pt idx="53871">0</cx:pt>
          <cx:pt idx="53872">0</cx:pt>
          <cx:pt idx="53873">0</cx:pt>
          <cx:pt idx="53874">0</cx:pt>
          <cx:pt idx="53875">0</cx:pt>
          <cx:pt idx="53876">1</cx:pt>
          <cx:pt idx="53877">0</cx:pt>
          <cx:pt idx="53878">0</cx:pt>
          <cx:pt idx="53879">1</cx:pt>
          <cx:pt idx="53880">1</cx:pt>
          <cx:pt idx="53881">0</cx:pt>
          <cx:pt idx="53882">0</cx:pt>
          <cx:pt idx="53883">1</cx:pt>
          <cx:pt idx="53884">0</cx:pt>
          <cx:pt idx="53885">0</cx:pt>
          <cx:pt idx="53886">1</cx:pt>
          <cx:pt idx="53887">0</cx:pt>
          <cx:pt idx="53888">1</cx:pt>
          <cx:pt idx="53889">0</cx:pt>
          <cx:pt idx="53890">0</cx:pt>
          <cx:pt idx="53891">0</cx:pt>
          <cx:pt idx="53892">0</cx:pt>
          <cx:pt idx="53893">1</cx:pt>
          <cx:pt idx="53894">0</cx:pt>
          <cx:pt idx="53895">0</cx:pt>
          <cx:pt idx="53896">0</cx:pt>
          <cx:pt idx="53897">1</cx:pt>
          <cx:pt idx="53898">1</cx:pt>
          <cx:pt idx="53899">1</cx:pt>
          <cx:pt idx="53900">1</cx:pt>
          <cx:pt idx="53901">1</cx:pt>
          <cx:pt idx="53902">1</cx:pt>
          <cx:pt idx="53903">0</cx:pt>
          <cx:pt idx="53904">0</cx:pt>
          <cx:pt idx="53905">0</cx:pt>
          <cx:pt idx="53906">1</cx:pt>
          <cx:pt idx="53907">1</cx:pt>
          <cx:pt idx="53908">0</cx:pt>
          <cx:pt idx="53909">1</cx:pt>
          <cx:pt idx="53910">1</cx:pt>
          <cx:pt idx="53911">0</cx:pt>
          <cx:pt idx="53912">1</cx:pt>
          <cx:pt idx="53913">0</cx:pt>
          <cx:pt idx="53914">1</cx:pt>
          <cx:pt idx="53915">0</cx:pt>
          <cx:pt idx="53916">1</cx:pt>
          <cx:pt idx="53917">1</cx:pt>
          <cx:pt idx="53918">1</cx:pt>
          <cx:pt idx="53919">0</cx:pt>
          <cx:pt idx="53920">0</cx:pt>
          <cx:pt idx="53921">0</cx:pt>
          <cx:pt idx="53922">1</cx:pt>
          <cx:pt idx="53923">1</cx:pt>
          <cx:pt idx="53924">0</cx:pt>
          <cx:pt idx="53925">1</cx:pt>
          <cx:pt idx="53926">1</cx:pt>
          <cx:pt idx="53927">1</cx:pt>
          <cx:pt idx="53928">0</cx:pt>
          <cx:pt idx="53929">0</cx:pt>
          <cx:pt idx="53930">0</cx:pt>
          <cx:pt idx="53931">0</cx:pt>
          <cx:pt idx="53932">1</cx:pt>
          <cx:pt idx="53933">1</cx:pt>
          <cx:pt idx="53934">0</cx:pt>
          <cx:pt idx="53935">0</cx:pt>
          <cx:pt idx="53936">0</cx:pt>
          <cx:pt idx="53937">0</cx:pt>
          <cx:pt idx="53938">0</cx:pt>
          <cx:pt idx="53939">1</cx:pt>
          <cx:pt idx="53940">1</cx:pt>
          <cx:pt idx="53941">0</cx:pt>
          <cx:pt idx="53942">0</cx:pt>
          <cx:pt idx="53943">0</cx:pt>
          <cx:pt idx="53944">1</cx:pt>
          <cx:pt idx="53945">0</cx:pt>
          <cx:pt idx="53946">1</cx:pt>
          <cx:pt idx="53947">1</cx:pt>
          <cx:pt idx="53948">1</cx:pt>
          <cx:pt idx="53949">0</cx:pt>
          <cx:pt idx="53950">0</cx:pt>
          <cx:pt idx="53951">1</cx:pt>
          <cx:pt idx="53952">0</cx:pt>
          <cx:pt idx="53953">1</cx:pt>
          <cx:pt idx="53954">1</cx:pt>
          <cx:pt idx="53955">0</cx:pt>
          <cx:pt idx="53956">1</cx:pt>
          <cx:pt idx="53957">0</cx:pt>
          <cx:pt idx="53958">1</cx:pt>
          <cx:pt idx="53959">1</cx:pt>
          <cx:pt idx="53960">0</cx:pt>
          <cx:pt idx="53961">0</cx:pt>
          <cx:pt idx="53962">0</cx:pt>
          <cx:pt idx="53963">1</cx:pt>
          <cx:pt idx="53964">0</cx:pt>
          <cx:pt idx="53965">0</cx:pt>
          <cx:pt idx="53966">1</cx:pt>
          <cx:pt idx="53967">0</cx:pt>
          <cx:pt idx="53968">0</cx:pt>
          <cx:pt idx="53969">0</cx:pt>
          <cx:pt idx="53970">1</cx:pt>
          <cx:pt idx="53971">1</cx:pt>
          <cx:pt idx="53972">0</cx:pt>
          <cx:pt idx="53973">1</cx:pt>
          <cx:pt idx="53974">0</cx:pt>
          <cx:pt idx="53975">0</cx:pt>
          <cx:pt idx="53976">0</cx:pt>
          <cx:pt idx="53977">0</cx:pt>
          <cx:pt idx="53978">0</cx:pt>
          <cx:pt idx="53979">0</cx:pt>
          <cx:pt idx="53980">0</cx:pt>
          <cx:pt idx="53981">0</cx:pt>
          <cx:pt idx="53982">0</cx:pt>
          <cx:pt idx="53983">0</cx:pt>
          <cx:pt idx="53984">0</cx:pt>
          <cx:pt idx="53985">0</cx:pt>
          <cx:pt idx="53986">1</cx:pt>
          <cx:pt idx="53987">1</cx:pt>
          <cx:pt idx="53988">0</cx:pt>
          <cx:pt idx="53989">1</cx:pt>
          <cx:pt idx="53990">0</cx:pt>
          <cx:pt idx="53991">0</cx:pt>
          <cx:pt idx="53992">1</cx:pt>
          <cx:pt idx="53993">0</cx:pt>
          <cx:pt idx="53994">1</cx:pt>
          <cx:pt idx="53995">1</cx:pt>
          <cx:pt idx="53996">0</cx:pt>
          <cx:pt idx="53997">0</cx:pt>
          <cx:pt idx="53998">1</cx:pt>
          <cx:pt idx="53999">0</cx:pt>
          <cx:pt idx="54000">1</cx:pt>
          <cx:pt idx="54001">0</cx:pt>
          <cx:pt idx="54002">0</cx:pt>
          <cx:pt idx="54003">1</cx:pt>
          <cx:pt idx="54004">1</cx:pt>
          <cx:pt idx="54005">1</cx:pt>
          <cx:pt idx="54006">0</cx:pt>
          <cx:pt idx="54007">1</cx:pt>
          <cx:pt idx="54008">1</cx:pt>
          <cx:pt idx="54009">0</cx:pt>
          <cx:pt idx="54010">0</cx:pt>
          <cx:pt idx="54011">1</cx:pt>
          <cx:pt idx="54012">0</cx:pt>
          <cx:pt idx="54013">1</cx:pt>
          <cx:pt idx="54014">0</cx:pt>
          <cx:pt idx="54015">1</cx:pt>
          <cx:pt idx="54016">1</cx:pt>
          <cx:pt idx="54017">1</cx:pt>
          <cx:pt idx="54018">0</cx:pt>
          <cx:pt idx="54019">0</cx:pt>
          <cx:pt idx="54020">0</cx:pt>
          <cx:pt idx="54021">0</cx:pt>
          <cx:pt idx="54022">1</cx:pt>
          <cx:pt idx="54023">0</cx:pt>
          <cx:pt idx="54024">1</cx:pt>
          <cx:pt idx="54025">0</cx:pt>
          <cx:pt idx="54026">0</cx:pt>
          <cx:pt idx="54027">1</cx:pt>
          <cx:pt idx="54028">0</cx:pt>
          <cx:pt idx="54029">0</cx:pt>
          <cx:pt idx="54030">0</cx:pt>
          <cx:pt idx="54031">1</cx:pt>
          <cx:pt idx="54032">0</cx:pt>
          <cx:pt idx="54033">0</cx:pt>
          <cx:pt idx="54034">0</cx:pt>
          <cx:pt idx="54035">1</cx:pt>
          <cx:pt idx="54036">0</cx:pt>
          <cx:pt idx="54037">1</cx:pt>
          <cx:pt idx="54038">1</cx:pt>
          <cx:pt idx="54039">0</cx:pt>
          <cx:pt idx="54040">0</cx:pt>
          <cx:pt idx="54041">1</cx:pt>
          <cx:pt idx="54042">1</cx:pt>
          <cx:pt idx="54043">1</cx:pt>
          <cx:pt idx="54044">0</cx:pt>
          <cx:pt idx="54045">0</cx:pt>
          <cx:pt idx="54046">1</cx:pt>
          <cx:pt idx="54047">0</cx:pt>
          <cx:pt idx="54048">1</cx:pt>
          <cx:pt idx="54049">1</cx:pt>
          <cx:pt idx="54050">1</cx:pt>
          <cx:pt idx="54051">0</cx:pt>
          <cx:pt idx="54052">0</cx:pt>
          <cx:pt idx="54053">0</cx:pt>
          <cx:pt idx="54054">1</cx:pt>
          <cx:pt idx="54055">0</cx:pt>
          <cx:pt idx="54056">0</cx:pt>
          <cx:pt idx="54057">0</cx:pt>
          <cx:pt idx="54058">1</cx:pt>
          <cx:pt idx="54059">0</cx:pt>
          <cx:pt idx="54060">1</cx:pt>
          <cx:pt idx="54061">0</cx:pt>
          <cx:pt idx="54062">1</cx:pt>
          <cx:pt idx="54063">0</cx:pt>
          <cx:pt idx="54064">0</cx:pt>
          <cx:pt idx="54065">0</cx:pt>
          <cx:pt idx="54066">1</cx:pt>
          <cx:pt idx="54067">1</cx:pt>
          <cx:pt idx="54068">1</cx:pt>
          <cx:pt idx="54069">1</cx:pt>
          <cx:pt idx="54070">0</cx:pt>
          <cx:pt idx="54071">1</cx:pt>
          <cx:pt idx="54072">1</cx:pt>
          <cx:pt idx="54073">1</cx:pt>
          <cx:pt idx="54074">0</cx:pt>
          <cx:pt idx="54075">1</cx:pt>
          <cx:pt idx="54076">1</cx:pt>
          <cx:pt idx="54077">0</cx:pt>
          <cx:pt idx="54078">0</cx:pt>
          <cx:pt idx="54079">0</cx:pt>
          <cx:pt idx="54080">0</cx:pt>
          <cx:pt idx="54081">0</cx:pt>
          <cx:pt idx="54082">0</cx:pt>
          <cx:pt idx="54083">1</cx:pt>
          <cx:pt idx="54084">1</cx:pt>
          <cx:pt idx="54085">0</cx:pt>
          <cx:pt idx="54086">0</cx:pt>
          <cx:pt idx="54087">0</cx:pt>
          <cx:pt idx="54088">0</cx:pt>
          <cx:pt idx="54089">1</cx:pt>
          <cx:pt idx="54090">0</cx:pt>
          <cx:pt idx="54091">0</cx:pt>
          <cx:pt idx="54092">0</cx:pt>
          <cx:pt idx="54093">1</cx:pt>
          <cx:pt idx="54094">0</cx:pt>
          <cx:pt idx="54095">0</cx:pt>
          <cx:pt idx="54096">0</cx:pt>
          <cx:pt idx="54097">0</cx:pt>
          <cx:pt idx="54098">0</cx:pt>
          <cx:pt idx="54099">0</cx:pt>
          <cx:pt idx="54100">1</cx:pt>
          <cx:pt idx="54101">0</cx:pt>
          <cx:pt idx="54102">1</cx:pt>
          <cx:pt idx="54103">0</cx:pt>
          <cx:pt idx="54104">0</cx:pt>
          <cx:pt idx="54105">1</cx:pt>
          <cx:pt idx="54106">0</cx:pt>
          <cx:pt idx="54107">0</cx:pt>
          <cx:pt idx="54108">0</cx:pt>
          <cx:pt idx="54109">1</cx:pt>
          <cx:pt idx="54110">0</cx:pt>
          <cx:pt idx="54111">1</cx:pt>
          <cx:pt idx="54112">0</cx:pt>
          <cx:pt idx="54113">0</cx:pt>
          <cx:pt idx="54114">0</cx:pt>
          <cx:pt idx="54115">1</cx:pt>
          <cx:pt idx="54116">0</cx:pt>
          <cx:pt idx="54117">0</cx:pt>
          <cx:pt idx="54118">0</cx:pt>
          <cx:pt idx="54119">0</cx:pt>
          <cx:pt idx="54120">0</cx:pt>
          <cx:pt idx="54121">0</cx:pt>
          <cx:pt idx="54122">1</cx:pt>
          <cx:pt idx="54123">0</cx:pt>
          <cx:pt idx="54124">0</cx:pt>
          <cx:pt idx="54125">0</cx:pt>
          <cx:pt idx="54126">0</cx:pt>
          <cx:pt idx="54127">1</cx:pt>
          <cx:pt idx="54128">1</cx:pt>
          <cx:pt idx="54129">0</cx:pt>
          <cx:pt idx="54130">0</cx:pt>
          <cx:pt idx="54131">0</cx:pt>
          <cx:pt idx="54132">0</cx:pt>
          <cx:pt idx="54133">0</cx:pt>
          <cx:pt idx="54134">0</cx:pt>
          <cx:pt idx="54135">0</cx:pt>
          <cx:pt idx="54136">1</cx:pt>
          <cx:pt idx="54137">0</cx:pt>
          <cx:pt idx="54138">1</cx:pt>
          <cx:pt idx="54139">0</cx:pt>
          <cx:pt idx="54140">0</cx:pt>
          <cx:pt idx="54141">1</cx:pt>
          <cx:pt idx="54142">0</cx:pt>
          <cx:pt idx="54143">0</cx:pt>
          <cx:pt idx="54144">0</cx:pt>
          <cx:pt idx="54145">1</cx:pt>
          <cx:pt idx="54146">0</cx:pt>
          <cx:pt idx="54147">0</cx:pt>
          <cx:pt idx="54148">1</cx:pt>
          <cx:pt idx="54149">0</cx:pt>
          <cx:pt idx="54150">1</cx:pt>
          <cx:pt idx="54151">0</cx:pt>
          <cx:pt idx="54152">0</cx:pt>
          <cx:pt idx="54153">0</cx:pt>
          <cx:pt idx="54154">0</cx:pt>
          <cx:pt idx="54155">0</cx:pt>
          <cx:pt idx="54156">0</cx:pt>
          <cx:pt idx="54157">0</cx:pt>
          <cx:pt idx="54158">0</cx:pt>
          <cx:pt idx="54159">0</cx:pt>
          <cx:pt idx="54160">0</cx:pt>
          <cx:pt idx="54161">1</cx:pt>
          <cx:pt idx="54162">0</cx:pt>
          <cx:pt idx="54163">1</cx:pt>
          <cx:pt idx="54164">0</cx:pt>
          <cx:pt idx="54165">1</cx:pt>
          <cx:pt idx="54166">1</cx:pt>
          <cx:pt idx="54167">0</cx:pt>
          <cx:pt idx="54168">1</cx:pt>
          <cx:pt idx="54169">1</cx:pt>
          <cx:pt idx="54170">1</cx:pt>
          <cx:pt idx="54171">1</cx:pt>
          <cx:pt idx="54172">1</cx:pt>
          <cx:pt idx="54173">0</cx:pt>
          <cx:pt idx="54174">0</cx:pt>
          <cx:pt idx="54175">1</cx:pt>
          <cx:pt idx="54176">1</cx:pt>
          <cx:pt idx="54177">1</cx:pt>
          <cx:pt idx="54178">1</cx:pt>
          <cx:pt idx="54179">0</cx:pt>
          <cx:pt idx="54180">0</cx:pt>
          <cx:pt idx="54181">1</cx:pt>
          <cx:pt idx="54182">1</cx:pt>
          <cx:pt idx="54183">1</cx:pt>
          <cx:pt idx="54184">1</cx:pt>
          <cx:pt idx="54185">0</cx:pt>
          <cx:pt idx="54186">0</cx:pt>
          <cx:pt idx="54187">0</cx:pt>
          <cx:pt idx="54188">0</cx:pt>
          <cx:pt idx="54189">0</cx:pt>
          <cx:pt idx="54190">1</cx:pt>
          <cx:pt idx="54191">1</cx:pt>
          <cx:pt idx="54192">0</cx:pt>
          <cx:pt idx="54193">0</cx:pt>
          <cx:pt idx="54194">0</cx:pt>
          <cx:pt idx="54195">0</cx:pt>
          <cx:pt idx="54196">1</cx:pt>
          <cx:pt idx="54197">1</cx:pt>
          <cx:pt idx="54198">1</cx:pt>
          <cx:pt idx="54199">1</cx:pt>
          <cx:pt idx="54200">0</cx:pt>
          <cx:pt idx="54201">1</cx:pt>
          <cx:pt idx="54202">0</cx:pt>
          <cx:pt idx="54203">1</cx:pt>
          <cx:pt idx="54204">1</cx:pt>
          <cx:pt idx="54205">0</cx:pt>
          <cx:pt idx="54206">0</cx:pt>
          <cx:pt idx="54207">0</cx:pt>
          <cx:pt idx="54208">0</cx:pt>
          <cx:pt idx="54209">1</cx:pt>
          <cx:pt idx="54210">1</cx:pt>
          <cx:pt idx="54211">1</cx:pt>
          <cx:pt idx="54212">1</cx:pt>
          <cx:pt idx="54213">1</cx:pt>
          <cx:pt idx="54214">1</cx:pt>
          <cx:pt idx="54215">0</cx:pt>
          <cx:pt idx="54216">1</cx:pt>
          <cx:pt idx="54217">1</cx:pt>
          <cx:pt idx="54218">1</cx:pt>
          <cx:pt idx="54219">1</cx:pt>
          <cx:pt idx="54220">0</cx:pt>
          <cx:pt idx="54221">1</cx:pt>
          <cx:pt idx="54222">1</cx:pt>
          <cx:pt idx="54223">1</cx:pt>
          <cx:pt idx="54224">1</cx:pt>
          <cx:pt idx="54225">0</cx:pt>
          <cx:pt idx="54226">1</cx:pt>
          <cx:pt idx="54227">1</cx:pt>
          <cx:pt idx="54228">0</cx:pt>
          <cx:pt idx="54229">0</cx:pt>
          <cx:pt idx="54230">1</cx:pt>
          <cx:pt idx="54231">0</cx:pt>
          <cx:pt idx="54232">0</cx:pt>
          <cx:pt idx="54233">0</cx:pt>
          <cx:pt idx="54234">1</cx:pt>
          <cx:pt idx="54235">1</cx:pt>
          <cx:pt idx="54236">0</cx:pt>
          <cx:pt idx="54237">0</cx:pt>
          <cx:pt idx="54238">1</cx:pt>
          <cx:pt idx="54239">1</cx:pt>
          <cx:pt idx="54240">1</cx:pt>
          <cx:pt idx="54241">1</cx:pt>
          <cx:pt idx="54242">0</cx:pt>
          <cx:pt idx="54243">0</cx:pt>
          <cx:pt idx="54244">1</cx:pt>
          <cx:pt idx="54245">1</cx:pt>
          <cx:pt idx="54246">1</cx:pt>
          <cx:pt idx="54247">0</cx:pt>
          <cx:pt idx="54248">1</cx:pt>
          <cx:pt idx="54249">1</cx:pt>
          <cx:pt idx="54250">0</cx:pt>
          <cx:pt idx="54251">0</cx:pt>
          <cx:pt idx="54252">0</cx:pt>
          <cx:pt idx="54253">0</cx:pt>
          <cx:pt idx="54254">0</cx:pt>
          <cx:pt idx="54255">0</cx:pt>
          <cx:pt idx="54256">0</cx:pt>
          <cx:pt idx="54257">1</cx:pt>
          <cx:pt idx="54258">1</cx:pt>
          <cx:pt idx="54259">0</cx:pt>
          <cx:pt idx="54260">1</cx:pt>
          <cx:pt idx="54261">1</cx:pt>
          <cx:pt idx="54262">0</cx:pt>
          <cx:pt idx="54263">1</cx:pt>
          <cx:pt idx="54264">0</cx:pt>
          <cx:pt idx="54265">1</cx:pt>
          <cx:pt idx="54266">1</cx:pt>
          <cx:pt idx="54267">1</cx:pt>
          <cx:pt idx="54268">0</cx:pt>
          <cx:pt idx="54269">0</cx:pt>
          <cx:pt idx="54270">0</cx:pt>
          <cx:pt idx="54271">1</cx:pt>
          <cx:pt idx="54272">1</cx:pt>
          <cx:pt idx="54273">0</cx:pt>
          <cx:pt idx="54274">0</cx:pt>
          <cx:pt idx="54275">1</cx:pt>
          <cx:pt idx="54276">1</cx:pt>
          <cx:pt idx="54277">0</cx:pt>
          <cx:pt idx="54278">0</cx:pt>
          <cx:pt idx="54279">0</cx:pt>
          <cx:pt idx="54280">1</cx:pt>
          <cx:pt idx="54281">0</cx:pt>
          <cx:pt idx="54282">0</cx:pt>
          <cx:pt idx="54283">0</cx:pt>
          <cx:pt idx="54284">0</cx:pt>
          <cx:pt idx="54285">1</cx:pt>
          <cx:pt idx="54286">0</cx:pt>
          <cx:pt idx="54287">0</cx:pt>
          <cx:pt idx="54288">1</cx:pt>
          <cx:pt idx="54289">1</cx:pt>
          <cx:pt idx="54290">0</cx:pt>
          <cx:pt idx="54291">0</cx:pt>
          <cx:pt idx="54292">0</cx:pt>
          <cx:pt idx="54293">0</cx:pt>
          <cx:pt idx="54294">1</cx:pt>
          <cx:pt idx="54295">0</cx:pt>
          <cx:pt idx="54296">0</cx:pt>
          <cx:pt idx="54297">0</cx:pt>
          <cx:pt idx="54298">1</cx:pt>
          <cx:pt idx="54299">0</cx:pt>
          <cx:pt idx="54300">0</cx:pt>
          <cx:pt idx="54301">0</cx:pt>
          <cx:pt idx="54302">1</cx:pt>
          <cx:pt idx="54303">0</cx:pt>
          <cx:pt idx="54304">1</cx:pt>
          <cx:pt idx="54305">0</cx:pt>
          <cx:pt idx="54306">1</cx:pt>
          <cx:pt idx="54307">1</cx:pt>
          <cx:pt idx="54308">1</cx:pt>
          <cx:pt idx="54309">1</cx:pt>
          <cx:pt idx="54310">1</cx:pt>
          <cx:pt idx="54311">1</cx:pt>
          <cx:pt idx="54312">1</cx:pt>
          <cx:pt idx="54313">1</cx:pt>
          <cx:pt idx="54314">0</cx:pt>
          <cx:pt idx="54315">1</cx:pt>
          <cx:pt idx="54316">1</cx:pt>
          <cx:pt idx="54317">0</cx:pt>
          <cx:pt idx="54318">0</cx:pt>
          <cx:pt idx="54319">0</cx:pt>
          <cx:pt idx="54320">1</cx:pt>
          <cx:pt idx="54321">0</cx:pt>
          <cx:pt idx="54322">0</cx:pt>
          <cx:pt idx="54323">0</cx:pt>
          <cx:pt idx="54324">1</cx:pt>
          <cx:pt idx="54325">0</cx:pt>
          <cx:pt idx="54326">0</cx:pt>
          <cx:pt idx="54327">0</cx:pt>
          <cx:pt idx="54328">0</cx:pt>
          <cx:pt idx="54329">1</cx:pt>
          <cx:pt idx="54330">0</cx:pt>
          <cx:pt idx="54331">1</cx:pt>
          <cx:pt idx="54332">0</cx:pt>
          <cx:pt idx="54333">0</cx:pt>
          <cx:pt idx="54334">0</cx:pt>
          <cx:pt idx="54335">0</cx:pt>
          <cx:pt idx="54336">0</cx:pt>
          <cx:pt idx="54337">0</cx:pt>
          <cx:pt idx="54338">0</cx:pt>
          <cx:pt idx="54339">0</cx:pt>
          <cx:pt idx="54340">1</cx:pt>
          <cx:pt idx="54341">0</cx:pt>
          <cx:pt idx="54342">0</cx:pt>
          <cx:pt idx="54343">1</cx:pt>
          <cx:pt idx="54344">0</cx:pt>
          <cx:pt idx="54345">1</cx:pt>
          <cx:pt idx="54346">0</cx:pt>
          <cx:pt idx="54347">0</cx:pt>
          <cx:pt idx="54348">0</cx:pt>
          <cx:pt idx="54349">1</cx:pt>
          <cx:pt idx="54350">0</cx:pt>
          <cx:pt idx="54351">0</cx:pt>
          <cx:pt idx="54352">1</cx:pt>
          <cx:pt idx="54353">1</cx:pt>
          <cx:pt idx="54354">1</cx:pt>
          <cx:pt idx="54355">0</cx:pt>
          <cx:pt idx="54356">1</cx:pt>
          <cx:pt idx="54357">0</cx:pt>
          <cx:pt idx="54358">0</cx:pt>
          <cx:pt idx="54359">1</cx:pt>
          <cx:pt idx="54360">1</cx:pt>
          <cx:pt idx="54361">1</cx:pt>
          <cx:pt idx="54362">0</cx:pt>
          <cx:pt idx="54363">0</cx:pt>
          <cx:pt idx="54364">1</cx:pt>
          <cx:pt idx="54365">0</cx:pt>
          <cx:pt idx="54366">0</cx:pt>
          <cx:pt idx="54367">0</cx:pt>
          <cx:pt idx="54368">0</cx:pt>
          <cx:pt idx="54369">0</cx:pt>
          <cx:pt idx="54370">1</cx:pt>
          <cx:pt idx="54371">0</cx:pt>
          <cx:pt idx="54372">0</cx:pt>
          <cx:pt idx="54373">1</cx:pt>
          <cx:pt idx="54374">1</cx:pt>
          <cx:pt idx="54375">0</cx:pt>
          <cx:pt idx="54376">1</cx:pt>
          <cx:pt idx="54377">1</cx:pt>
          <cx:pt idx="54378">1</cx:pt>
          <cx:pt idx="54379">1</cx:pt>
          <cx:pt idx="54380">1</cx:pt>
          <cx:pt idx="54381">0</cx:pt>
          <cx:pt idx="54382">1</cx:pt>
          <cx:pt idx="54383">1</cx:pt>
          <cx:pt idx="54384">0</cx:pt>
          <cx:pt idx="54385">0</cx:pt>
          <cx:pt idx="54386">1</cx:pt>
          <cx:pt idx="54387">0</cx:pt>
          <cx:pt idx="54388">0</cx:pt>
          <cx:pt idx="54389">1</cx:pt>
          <cx:pt idx="54390">1</cx:pt>
          <cx:pt idx="54391">0</cx:pt>
          <cx:pt idx="54392">1</cx:pt>
          <cx:pt idx="54393">1</cx:pt>
          <cx:pt idx="54394">0</cx:pt>
          <cx:pt idx="54395">1</cx:pt>
          <cx:pt idx="54396">0</cx:pt>
          <cx:pt idx="54397">1</cx:pt>
          <cx:pt idx="54398">1</cx:pt>
          <cx:pt idx="54399">0</cx:pt>
          <cx:pt idx="54400">1</cx:pt>
          <cx:pt idx="54401">0</cx:pt>
          <cx:pt idx="54402">1</cx:pt>
          <cx:pt idx="54403">0</cx:pt>
          <cx:pt idx="54404">0</cx:pt>
          <cx:pt idx="54405">0</cx:pt>
          <cx:pt idx="54406">0</cx:pt>
          <cx:pt idx="54407">0</cx:pt>
          <cx:pt idx="54408">0</cx:pt>
          <cx:pt idx="54409">0</cx:pt>
          <cx:pt idx="54410">1</cx:pt>
          <cx:pt idx="54411">0</cx:pt>
          <cx:pt idx="54412">0</cx:pt>
          <cx:pt idx="54413">0</cx:pt>
          <cx:pt idx="54414">0</cx:pt>
          <cx:pt idx="54415">0</cx:pt>
          <cx:pt idx="54416">0</cx:pt>
          <cx:pt idx="54417">1</cx:pt>
          <cx:pt idx="54418">0</cx:pt>
          <cx:pt idx="54419">1</cx:pt>
          <cx:pt idx="54420">1</cx:pt>
          <cx:pt idx="54421">0</cx:pt>
          <cx:pt idx="54422">0</cx:pt>
          <cx:pt idx="54423">0</cx:pt>
          <cx:pt idx="54424">0</cx:pt>
          <cx:pt idx="54425">0</cx:pt>
          <cx:pt idx="54426">1</cx:pt>
          <cx:pt idx="54427">1</cx:pt>
          <cx:pt idx="54428">0</cx:pt>
          <cx:pt idx="54429">0</cx:pt>
          <cx:pt idx="54430">1</cx:pt>
          <cx:pt idx="54431">1</cx:pt>
          <cx:pt idx="54432">1</cx:pt>
          <cx:pt idx="54433">0</cx:pt>
          <cx:pt idx="54434">0</cx:pt>
          <cx:pt idx="54435">0</cx:pt>
          <cx:pt idx="54436">1</cx:pt>
          <cx:pt idx="54437">1</cx:pt>
          <cx:pt idx="54438">0</cx:pt>
          <cx:pt idx="54439">1</cx:pt>
          <cx:pt idx="54440">0</cx:pt>
          <cx:pt idx="54441">0</cx:pt>
          <cx:pt idx="54442">0</cx:pt>
          <cx:pt idx="54443">0</cx:pt>
          <cx:pt idx="54444">0</cx:pt>
          <cx:pt idx="54445">0</cx:pt>
          <cx:pt idx="54446">1</cx:pt>
          <cx:pt idx="54447">0</cx:pt>
          <cx:pt idx="54448">1</cx:pt>
          <cx:pt idx="54449">0</cx:pt>
          <cx:pt idx="54450">1</cx:pt>
          <cx:pt idx="54451">0</cx:pt>
          <cx:pt idx="54452">0</cx:pt>
          <cx:pt idx="54453">0</cx:pt>
          <cx:pt idx="54454">0</cx:pt>
          <cx:pt idx="54455">0</cx:pt>
          <cx:pt idx="54456">0</cx:pt>
          <cx:pt idx="54457">0</cx:pt>
          <cx:pt idx="54458">0</cx:pt>
          <cx:pt idx="54459">0</cx:pt>
          <cx:pt idx="54460">1</cx:pt>
          <cx:pt idx="54461">0</cx:pt>
          <cx:pt idx="54462">1</cx:pt>
          <cx:pt idx="54463">0</cx:pt>
          <cx:pt idx="54464">1</cx:pt>
          <cx:pt idx="54465">1</cx:pt>
          <cx:pt idx="54466">1</cx:pt>
          <cx:pt idx="54467">1</cx:pt>
          <cx:pt idx="54468">0</cx:pt>
          <cx:pt idx="54469">0</cx:pt>
          <cx:pt idx="54470">1</cx:pt>
          <cx:pt idx="54471">1</cx:pt>
          <cx:pt idx="54472">1</cx:pt>
          <cx:pt idx="54473">0</cx:pt>
          <cx:pt idx="54474">0</cx:pt>
          <cx:pt idx="54475">0</cx:pt>
          <cx:pt idx="54476">1</cx:pt>
          <cx:pt idx="54477">0</cx:pt>
          <cx:pt idx="54478">0</cx:pt>
          <cx:pt idx="54479">1</cx:pt>
          <cx:pt idx="54480">0</cx:pt>
          <cx:pt idx="54481">0</cx:pt>
          <cx:pt idx="54482">1</cx:pt>
          <cx:pt idx="54483">0</cx:pt>
          <cx:pt idx="54484">0</cx:pt>
          <cx:pt idx="54485">1</cx:pt>
          <cx:pt idx="54486">0</cx:pt>
          <cx:pt idx="54487">0</cx:pt>
          <cx:pt idx="54488">1</cx:pt>
          <cx:pt idx="54489">0</cx:pt>
          <cx:pt idx="54490">1</cx:pt>
          <cx:pt idx="54491">0</cx:pt>
          <cx:pt idx="54492">1</cx:pt>
          <cx:pt idx="54493">0</cx:pt>
          <cx:pt idx="54494">0</cx:pt>
          <cx:pt idx="54495">1</cx:pt>
          <cx:pt idx="54496">0</cx:pt>
          <cx:pt idx="54497">0</cx:pt>
          <cx:pt idx="54498">0</cx:pt>
          <cx:pt idx="54499">1</cx:pt>
          <cx:pt idx="54500">1</cx:pt>
          <cx:pt idx="54501">0</cx:pt>
          <cx:pt idx="54502">0</cx:pt>
          <cx:pt idx="54503">0</cx:pt>
          <cx:pt idx="54504">0</cx:pt>
          <cx:pt idx="54505">0</cx:pt>
          <cx:pt idx="54506">1</cx:pt>
          <cx:pt idx="54507">0</cx:pt>
          <cx:pt idx="54508">1</cx:pt>
          <cx:pt idx="54509">1</cx:pt>
          <cx:pt idx="54510">1</cx:pt>
          <cx:pt idx="54511">0</cx:pt>
          <cx:pt idx="54512">0</cx:pt>
          <cx:pt idx="54513">1</cx:pt>
          <cx:pt idx="54514">0</cx:pt>
          <cx:pt idx="54515">1</cx:pt>
          <cx:pt idx="54516">1</cx:pt>
          <cx:pt idx="54517">0</cx:pt>
          <cx:pt idx="54518">0</cx:pt>
          <cx:pt idx="54519">1</cx:pt>
          <cx:pt idx="54520">0</cx:pt>
          <cx:pt idx="54521">1</cx:pt>
          <cx:pt idx="54522">1</cx:pt>
          <cx:pt idx="54523">1</cx:pt>
          <cx:pt idx="54524">0</cx:pt>
          <cx:pt idx="54525">0</cx:pt>
          <cx:pt idx="54526">0</cx:pt>
          <cx:pt idx="54527">0</cx:pt>
          <cx:pt idx="54528">0</cx:pt>
          <cx:pt idx="54529">0</cx:pt>
          <cx:pt idx="54530">0</cx:pt>
          <cx:pt idx="54531">0</cx:pt>
          <cx:pt idx="54532">0</cx:pt>
          <cx:pt idx="54533">0</cx:pt>
          <cx:pt idx="54534">0</cx:pt>
          <cx:pt idx="54535">1</cx:pt>
          <cx:pt idx="54536">1</cx:pt>
          <cx:pt idx="54537">1</cx:pt>
          <cx:pt idx="54538">1</cx:pt>
          <cx:pt idx="54539">0</cx:pt>
          <cx:pt idx="54540">1</cx:pt>
          <cx:pt idx="54541">0</cx:pt>
          <cx:pt idx="54542">0</cx:pt>
          <cx:pt idx="54543">0</cx:pt>
          <cx:pt idx="54544">0</cx:pt>
          <cx:pt idx="54545">1</cx:pt>
          <cx:pt idx="54546">0</cx:pt>
          <cx:pt idx="54547">0</cx:pt>
          <cx:pt idx="54548">1</cx:pt>
          <cx:pt idx="54549">0</cx:pt>
          <cx:pt idx="54550">1</cx:pt>
          <cx:pt idx="54551">1</cx:pt>
          <cx:pt idx="54552">0</cx:pt>
          <cx:pt idx="54553">1</cx:pt>
          <cx:pt idx="54554">1</cx:pt>
          <cx:pt idx="54555">0</cx:pt>
          <cx:pt idx="54556">1</cx:pt>
          <cx:pt idx="54557">0</cx:pt>
          <cx:pt idx="54558">1</cx:pt>
          <cx:pt idx="54559">1</cx:pt>
          <cx:pt idx="54560">0</cx:pt>
          <cx:pt idx="54561">0</cx:pt>
          <cx:pt idx="54562">0</cx:pt>
          <cx:pt idx="54563">1</cx:pt>
          <cx:pt idx="54564">0</cx:pt>
          <cx:pt idx="54565">1</cx:pt>
          <cx:pt idx="54566">1</cx:pt>
          <cx:pt idx="54567">0</cx:pt>
          <cx:pt idx="54568">0</cx:pt>
          <cx:pt idx="54569">0</cx:pt>
          <cx:pt idx="54570">0</cx:pt>
          <cx:pt idx="54571">1</cx:pt>
          <cx:pt idx="54572">1</cx:pt>
          <cx:pt idx="54573">0</cx:pt>
          <cx:pt idx="54574">0</cx:pt>
          <cx:pt idx="54575">1</cx:pt>
          <cx:pt idx="54576">1</cx:pt>
          <cx:pt idx="54577">0</cx:pt>
          <cx:pt idx="54578">0</cx:pt>
          <cx:pt idx="54579">0</cx:pt>
          <cx:pt idx="54580">0</cx:pt>
          <cx:pt idx="54581">1</cx:pt>
          <cx:pt idx="54582">1</cx:pt>
          <cx:pt idx="54583">0</cx:pt>
          <cx:pt idx="54584">1</cx:pt>
          <cx:pt idx="54585">1</cx:pt>
          <cx:pt idx="54586">1</cx:pt>
          <cx:pt idx="54587">0</cx:pt>
          <cx:pt idx="54588">0</cx:pt>
          <cx:pt idx="54589">1</cx:pt>
          <cx:pt idx="54590">1</cx:pt>
          <cx:pt idx="54591">0</cx:pt>
          <cx:pt idx="54592">0</cx:pt>
          <cx:pt idx="54593">0</cx:pt>
          <cx:pt idx="54594">1</cx:pt>
          <cx:pt idx="54595">0</cx:pt>
          <cx:pt idx="54596">1</cx:pt>
          <cx:pt idx="54597">0</cx:pt>
          <cx:pt idx="54598">1</cx:pt>
          <cx:pt idx="54599">0</cx:pt>
          <cx:pt idx="54600">0</cx:pt>
          <cx:pt idx="54601">0</cx:pt>
          <cx:pt idx="54602">1</cx:pt>
          <cx:pt idx="54603">0</cx:pt>
          <cx:pt idx="54604">1</cx:pt>
          <cx:pt idx="54605">0</cx:pt>
          <cx:pt idx="54606">1</cx:pt>
          <cx:pt idx="54607">0</cx:pt>
          <cx:pt idx="54608">0</cx:pt>
          <cx:pt idx="54609">1</cx:pt>
          <cx:pt idx="54610">0</cx:pt>
          <cx:pt idx="54611">1</cx:pt>
          <cx:pt idx="54612">1</cx:pt>
          <cx:pt idx="54613">1</cx:pt>
          <cx:pt idx="54614">0</cx:pt>
          <cx:pt idx="54615">1</cx:pt>
          <cx:pt idx="54616">1</cx:pt>
          <cx:pt idx="54617">1</cx:pt>
          <cx:pt idx="54618">0</cx:pt>
          <cx:pt idx="54619">1</cx:pt>
          <cx:pt idx="54620">1</cx:pt>
          <cx:pt idx="54621">1</cx:pt>
          <cx:pt idx="54622">0</cx:pt>
          <cx:pt idx="54623">1</cx:pt>
          <cx:pt idx="54624">1</cx:pt>
          <cx:pt idx="54625">1</cx:pt>
          <cx:pt idx="54626">0</cx:pt>
          <cx:pt idx="54627">1</cx:pt>
          <cx:pt idx="54628">1</cx:pt>
          <cx:pt idx="54629">0</cx:pt>
          <cx:pt idx="54630">1</cx:pt>
          <cx:pt idx="54631">1</cx:pt>
          <cx:pt idx="54632">0</cx:pt>
          <cx:pt idx="54633">0</cx:pt>
          <cx:pt idx="54634">1</cx:pt>
          <cx:pt idx="54635">0</cx:pt>
          <cx:pt idx="54636">0</cx:pt>
          <cx:pt idx="54637">0</cx:pt>
          <cx:pt idx="54638">1</cx:pt>
          <cx:pt idx="54639">1</cx:pt>
          <cx:pt idx="54640">0</cx:pt>
          <cx:pt idx="54641">0</cx:pt>
          <cx:pt idx="54642">0</cx:pt>
          <cx:pt idx="54643">1</cx:pt>
          <cx:pt idx="54644">1</cx:pt>
          <cx:pt idx="54645">1</cx:pt>
          <cx:pt idx="54646">1</cx:pt>
          <cx:pt idx="54647">0</cx:pt>
          <cx:pt idx="54648">0</cx:pt>
          <cx:pt idx="54649">1</cx:pt>
          <cx:pt idx="54650">0</cx:pt>
          <cx:pt idx="54651">1</cx:pt>
          <cx:pt idx="54652">0</cx:pt>
          <cx:pt idx="54653">0</cx:pt>
          <cx:pt idx="54654">0</cx:pt>
          <cx:pt idx="54655">0</cx:pt>
          <cx:pt idx="54656">0</cx:pt>
          <cx:pt idx="54657">0</cx:pt>
          <cx:pt idx="54658">1</cx:pt>
          <cx:pt idx="54659">0</cx:pt>
          <cx:pt idx="54660">0</cx:pt>
          <cx:pt idx="54661">0</cx:pt>
          <cx:pt idx="54662">0</cx:pt>
          <cx:pt idx="54663">1</cx:pt>
          <cx:pt idx="54664">0</cx:pt>
          <cx:pt idx="54665">0</cx:pt>
          <cx:pt idx="54666">0</cx:pt>
          <cx:pt idx="54667">0</cx:pt>
          <cx:pt idx="54668">0</cx:pt>
          <cx:pt idx="54669">0</cx:pt>
          <cx:pt idx="54670">0</cx:pt>
          <cx:pt idx="54671">0</cx:pt>
          <cx:pt idx="54672">1</cx:pt>
          <cx:pt idx="54673">0</cx:pt>
          <cx:pt idx="54674">1</cx:pt>
          <cx:pt idx="54675">1</cx:pt>
          <cx:pt idx="54676">1</cx:pt>
          <cx:pt idx="54677">0</cx:pt>
          <cx:pt idx="54678">0</cx:pt>
          <cx:pt idx="54679">0</cx:pt>
          <cx:pt idx="54680">1</cx:pt>
          <cx:pt idx="54681">1</cx:pt>
          <cx:pt idx="54682">0</cx:pt>
          <cx:pt idx="54683">0</cx:pt>
          <cx:pt idx="54684">1</cx:pt>
          <cx:pt idx="54685">0</cx:pt>
          <cx:pt idx="54686">1</cx:pt>
          <cx:pt idx="54687">1</cx:pt>
          <cx:pt idx="54688">1</cx:pt>
          <cx:pt idx="54689">1</cx:pt>
          <cx:pt idx="54690">0</cx:pt>
          <cx:pt idx="54691">0</cx:pt>
          <cx:pt idx="54692">0</cx:pt>
          <cx:pt idx="54693">0</cx:pt>
          <cx:pt idx="54694">1</cx:pt>
          <cx:pt idx="54695">1</cx:pt>
          <cx:pt idx="54696">0</cx:pt>
          <cx:pt idx="54697">1</cx:pt>
          <cx:pt idx="54698">0</cx:pt>
          <cx:pt idx="54699">1</cx:pt>
          <cx:pt idx="54700">1</cx:pt>
          <cx:pt idx="54701">0</cx:pt>
          <cx:pt idx="54702">0</cx:pt>
          <cx:pt idx="54703">0</cx:pt>
          <cx:pt idx="54704">0</cx:pt>
          <cx:pt idx="54705">0</cx:pt>
          <cx:pt idx="54706">1</cx:pt>
          <cx:pt idx="54707">0</cx:pt>
          <cx:pt idx="54708">1</cx:pt>
          <cx:pt idx="54709">1</cx:pt>
          <cx:pt idx="54710">0</cx:pt>
          <cx:pt idx="54711">0</cx:pt>
          <cx:pt idx="54712">1</cx:pt>
          <cx:pt idx="54713">1</cx:pt>
          <cx:pt idx="54714">1</cx:pt>
          <cx:pt idx="54715">1</cx:pt>
          <cx:pt idx="54716">0</cx:pt>
          <cx:pt idx="54717">0</cx:pt>
          <cx:pt idx="54718">1</cx:pt>
          <cx:pt idx="54719">1</cx:pt>
          <cx:pt idx="54720">0</cx:pt>
          <cx:pt idx="54721">0</cx:pt>
          <cx:pt idx="54722">0</cx:pt>
          <cx:pt idx="54723">0</cx:pt>
          <cx:pt idx="54724">1</cx:pt>
          <cx:pt idx="54725">1</cx:pt>
          <cx:pt idx="54726">1</cx:pt>
          <cx:pt idx="54727">1</cx:pt>
          <cx:pt idx="54728">1</cx:pt>
          <cx:pt idx="54729">0</cx:pt>
          <cx:pt idx="54730">1</cx:pt>
          <cx:pt idx="54731">0</cx:pt>
          <cx:pt idx="54732">0</cx:pt>
          <cx:pt idx="54733">1</cx:pt>
          <cx:pt idx="54734">1</cx:pt>
          <cx:pt idx="54735">1</cx:pt>
          <cx:pt idx="54736">1</cx:pt>
          <cx:pt idx="54737">1</cx:pt>
          <cx:pt idx="54738">1</cx:pt>
          <cx:pt idx="54739">1</cx:pt>
          <cx:pt idx="54740">1</cx:pt>
          <cx:pt idx="54741">1</cx:pt>
          <cx:pt idx="54742">0</cx:pt>
          <cx:pt idx="54743">1</cx:pt>
          <cx:pt idx="54744">1</cx:pt>
          <cx:pt idx="54745">1</cx:pt>
          <cx:pt idx="54746">0</cx:pt>
          <cx:pt idx="54747">1</cx:pt>
          <cx:pt idx="54748">0</cx:pt>
          <cx:pt idx="54749">1</cx:pt>
          <cx:pt idx="54750">1</cx:pt>
          <cx:pt idx="54751">0</cx:pt>
          <cx:pt idx="54752">1</cx:pt>
          <cx:pt idx="54753">1</cx:pt>
          <cx:pt idx="54754">1</cx:pt>
          <cx:pt idx="54755">0</cx:pt>
          <cx:pt idx="54756">0</cx:pt>
          <cx:pt idx="54757">0</cx:pt>
          <cx:pt idx="54758">0</cx:pt>
          <cx:pt idx="54759">0</cx:pt>
          <cx:pt idx="54760">1</cx:pt>
          <cx:pt idx="54761">0</cx:pt>
          <cx:pt idx="54762">0</cx:pt>
          <cx:pt idx="54763">1</cx:pt>
          <cx:pt idx="54764">1</cx:pt>
          <cx:pt idx="54765">0</cx:pt>
          <cx:pt idx="54766">0</cx:pt>
          <cx:pt idx="54767">1</cx:pt>
          <cx:pt idx="54768">1</cx:pt>
          <cx:pt idx="54769">0</cx:pt>
          <cx:pt idx="54770">1</cx:pt>
          <cx:pt idx="54771">0</cx:pt>
          <cx:pt idx="54772">1</cx:pt>
          <cx:pt idx="54773">0</cx:pt>
          <cx:pt idx="54774">1</cx:pt>
          <cx:pt idx="54775">0</cx:pt>
          <cx:pt idx="54776">0</cx:pt>
          <cx:pt idx="54777">0</cx:pt>
          <cx:pt idx="54778">1</cx:pt>
          <cx:pt idx="54779">0</cx:pt>
          <cx:pt idx="54780">1</cx:pt>
          <cx:pt idx="54781">0</cx:pt>
          <cx:pt idx="54782">0</cx:pt>
          <cx:pt idx="54783">0</cx:pt>
          <cx:pt idx="54784">1</cx:pt>
          <cx:pt idx="54785">1</cx:pt>
          <cx:pt idx="54786">0</cx:pt>
          <cx:pt idx="54787">1</cx:pt>
          <cx:pt idx="54788">0</cx:pt>
          <cx:pt idx="54789">0</cx:pt>
          <cx:pt idx="54790">1</cx:pt>
          <cx:pt idx="54791">0</cx:pt>
          <cx:pt idx="54792">0</cx:pt>
          <cx:pt idx="54793">0</cx:pt>
          <cx:pt idx="54794">0</cx:pt>
          <cx:pt idx="54795">1</cx:pt>
          <cx:pt idx="54796">0</cx:pt>
          <cx:pt idx="54797">1</cx:pt>
          <cx:pt idx="54798">1</cx:pt>
          <cx:pt idx="54799">1</cx:pt>
          <cx:pt idx="54800">0</cx:pt>
          <cx:pt idx="54801">1</cx:pt>
          <cx:pt idx="54802">0</cx:pt>
          <cx:pt idx="54803">0</cx:pt>
          <cx:pt idx="54804">1</cx:pt>
          <cx:pt idx="54805">1</cx:pt>
          <cx:pt idx="54806">1</cx:pt>
          <cx:pt idx="54807">0</cx:pt>
          <cx:pt idx="54808">0</cx:pt>
          <cx:pt idx="54809">0</cx:pt>
          <cx:pt idx="54810">0</cx:pt>
          <cx:pt idx="54811">0</cx:pt>
          <cx:pt idx="54812">0</cx:pt>
          <cx:pt idx="54813">1</cx:pt>
          <cx:pt idx="54814">0</cx:pt>
          <cx:pt idx="54815">1</cx:pt>
          <cx:pt idx="54816">0</cx:pt>
          <cx:pt idx="54817">0</cx:pt>
          <cx:pt idx="54818">1</cx:pt>
          <cx:pt idx="54819">1</cx:pt>
          <cx:pt idx="54820">1</cx:pt>
          <cx:pt idx="54821">0</cx:pt>
          <cx:pt idx="54822">0</cx:pt>
          <cx:pt idx="54823">0</cx:pt>
          <cx:pt idx="54824">1</cx:pt>
          <cx:pt idx="54825">0</cx:pt>
          <cx:pt idx="54826">1</cx:pt>
          <cx:pt idx="54827">0</cx:pt>
          <cx:pt idx="54828">1</cx:pt>
          <cx:pt idx="54829">0</cx:pt>
          <cx:pt idx="54830">1</cx:pt>
          <cx:pt idx="54831">1</cx:pt>
          <cx:pt idx="54832">1</cx:pt>
          <cx:pt idx="54833">0</cx:pt>
          <cx:pt idx="54834">1</cx:pt>
          <cx:pt idx="54835">1</cx:pt>
          <cx:pt idx="54836">0</cx:pt>
          <cx:pt idx="54837">0</cx:pt>
          <cx:pt idx="54838">1</cx:pt>
          <cx:pt idx="54839">0</cx:pt>
          <cx:pt idx="54840">0</cx:pt>
          <cx:pt idx="54841">0</cx:pt>
          <cx:pt idx="54842">0</cx:pt>
          <cx:pt idx="54843">1</cx:pt>
          <cx:pt idx="54844">0</cx:pt>
          <cx:pt idx="54845">0</cx:pt>
          <cx:pt idx="54846">0</cx:pt>
          <cx:pt idx="54847">0</cx:pt>
          <cx:pt idx="54848">0</cx:pt>
          <cx:pt idx="54849">1</cx:pt>
          <cx:pt idx="54850">0</cx:pt>
          <cx:pt idx="54851">1</cx:pt>
          <cx:pt idx="54852">0</cx:pt>
          <cx:pt idx="54853">1</cx:pt>
          <cx:pt idx="54854">0</cx:pt>
          <cx:pt idx="54855">0</cx:pt>
          <cx:pt idx="54856">0</cx:pt>
          <cx:pt idx="54857">0</cx:pt>
          <cx:pt idx="54858">0</cx:pt>
          <cx:pt idx="54859">1</cx:pt>
          <cx:pt idx="54860">0</cx:pt>
          <cx:pt idx="54861">0</cx:pt>
          <cx:pt idx="54862">0</cx:pt>
          <cx:pt idx="54863">0</cx:pt>
          <cx:pt idx="54864">1</cx:pt>
          <cx:pt idx="54865">0</cx:pt>
          <cx:pt idx="54866">0</cx:pt>
          <cx:pt idx="54867">0</cx:pt>
          <cx:pt idx="54868">0</cx:pt>
          <cx:pt idx="54869">0</cx:pt>
          <cx:pt idx="54870">1</cx:pt>
          <cx:pt idx="54871">0</cx:pt>
          <cx:pt idx="54872">1</cx:pt>
          <cx:pt idx="54873">0</cx:pt>
          <cx:pt idx="54874">0</cx:pt>
          <cx:pt idx="54875">0</cx:pt>
          <cx:pt idx="54876">1</cx:pt>
          <cx:pt idx="54877">0</cx:pt>
          <cx:pt idx="54878">0</cx:pt>
          <cx:pt idx="54879">1</cx:pt>
          <cx:pt idx="54880">0</cx:pt>
          <cx:pt idx="54881">0</cx:pt>
          <cx:pt idx="54882">0</cx:pt>
          <cx:pt idx="54883">0</cx:pt>
          <cx:pt idx="54884">1</cx:pt>
          <cx:pt idx="54885">1</cx:pt>
          <cx:pt idx="54886">0</cx:pt>
          <cx:pt idx="54887">0</cx:pt>
          <cx:pt idx="54888">0</cx:pt>
          <cx:pt idx="54889">1</cx:pt>
          <cx:pt idx="54890">0</cx:pt>
          <cx:pt idx="54891">0</cx:pt>
          <cx:pt idx="54892">1</cx:pt>
          <cx:pt idx="54893">0</cx:pt>
          <cx:pt idx="54894">0</cx:pt>
          <cx:pt idx="54895">1</cx:pt>
          <cx:pt idx="54896">0</cx:pt>
          <cx:pt idx="54897">0</cx:pt>
          <cx:pt idx="54898">0</cx:pt>
          <cx:pt idx="54899">1</cx:pt>
          <cx:pt idx="54900">1</cx:pt>
          <cx:pt idx="54901">0</cx:pt>
          <cx:pt idx="54902">1</cx:pt>
          <cx:pt idx="54903">0</cx:pt>
          <cx:pt idx="54904">1</cx:pt>
          <cx:pt idx="54905">0</cx:pt>
          <cx:pt idx="54906">0</cx:pt>
          <cx:pt idx="54907">0</cx:pt>
          <cx:pt idx="54908">0</cx:pt>
          <cx:pt idx="54909">0</cx:pt>
          <cx:pt idx="54910">1</cx:pt>
          <cx:pt idx="54911">0</cx:pt>
          <cx:pt idx="54912">1</cx:pt>
          <cx:pt idx="54913">1</cx:pt>
          <cx:pt idx="54914">1</cx:pt>
          <cx:pt idx="54915">1</cx:pt>
          <cx:pt idx="54916">1</cx:pt>
          <cx:pt idx="54917">1</cx:pt>
          <cx:pt idx="54918">0</cx:pt>
          <cx:pt idx="54919">1</cx:pt>
          <cx:pt idx="54920">1</cx:pt>
          <cx:pt idx="54921">1</cx:pt>
          <cx:pt idx="54922">1</cx:pt>
          <cx:pt idx="54923">0</cx:pt>
          <cx:pt idx="54924">1</cx:pt>
          <cx:pt idx="54925">1</cx:pt>
          <cx:pt idx="54926">1</cx:pt>
          <cx:pt idx="54927">0</cx:pt>
          <cx:pt idx="54928">0</cx:pt>
          <cx:pt idx="54929">0</cx:pt>
          <cx:pt idx="54930">1</cx:pt>
          <cx:pt idx="54931">1</cx:pt>
          <cx:pt idx="54932">0</cx:pt>
          <cx:pt idx="54933">0</cx:pt>
          <cx:pt idx="54934">0</cx:pt>
          <cx:pt idx="54935">0</cx:pt>
          <cx:pt idx="54936">0</cx:pt>
          <cx:pt idx="54937">0</cx:pt>
          <cx:pt idx="54938">0</cx:pt>
          <cx:pt idx="54939">0</cx:pt>
          <cx:pt idx="54940">1</cx:pt>
          <cx:pt idx="54941">0</cx:pt>
          <cx:pt idx="54942">0</cx:pt>
          <cx:pt idx="54943">0</cx:pt>
          <cx:pt idx="54944">1</cx:pt>
          <cx:pt idx="54945">1</cx:pt>
          <cx:pt idx="54946">1</cx:pt>
          <cx:pt idx="54947">0</cx:pt>
          <cx:pt idx="54948">0</cx:pt>
          <cx:pt idx="54949">1</cx:pt>
          <cx:pt idx="54950">0</cx:pt>
          <cx:pt idx="54951">0</cx:pt>
          <cx:pt idx="54952">1</cx:pt>
          <cx:pt idx="54953">0</cx:pt>
          <cx:pt idx="54954">0</cx:pt>
          <cx:pt idx="54955">0</cx:pt>
          <cx:pt idx="54956">1</cx:pt>
          <cx:pt idx="54957">1</cx:pt>
          <cx:pt idx="54958">1</cx:pt>
          <cx:pt idx="54959">0</cx:pt>
          <cx:pt idx="54960">1</cx:pt>
          <cx:pt idx="54961">0</cx:pt>
          <cx:pt idx="54962">0</cx:pt>
          <cx:pt idx="54963">0</cx:pt>
          <cx:pt idx="54964">1</cx:pt>
          <cx:pt idx="54965">0</cx:pt>
          <cx:pt idx="54966">0</cx:pt>
          <cx:pt idx="54967">0</cx:pt>
          <cx:pt idx="54968">1</cx:pt>
          <cx:pt idx="54969">1</cx:pt>
          <cx:pt idx="54970">0</cx:pt>
          <cx:pt idx="54971">0</cx:pt>
          <cx:pt idx="54972">1</cx:pt>
          <cx:pt idx="54973">0</cx:pt>
          <cx:pt idx="54974">1</cx:pt>
          <cx:pt idx="54975">0</cx:pt>
          <cx:pt idx="54976">0</cx:pt>
          <cx:pt idx="54977">1</cx:pt>
          <cx:pt idx="54978">0</cx:pt>
          <cx:pt idx="54979">0</cx:pt>
          <cx:pt idx="54980">0</cx:pt>
          <cx:pt idx="54981">1</cx:pt>
          <cx:pt idx="54982">1</cx:pt>
          <cx:pt idx="54983">1</cx:pt>
          <cx:pt idx="54984">0</cx:pt>
          <cx:pt idx="54985">1</cx:pt>
          <cx:pt idx="54986">0</cx:pt>
          <cx:pt idx="54987">1</cx:pt>
          <cx:pt idx="54988">1</cx:pt>
          <cx:pt idx="54989">1</cx:pt>
          <cx:pt idx="54990">0</cx:pt>
          <cx:pt idx="54991">1</cx:pt>
          <cx:pt idx="54992">1</cx:pt>
          <cx:pt idx="54993">0</cx:pt>
          <cx:pt idx="54994">0</cx:pt>
          <cx:pt idx="54995">0</cx:pt>
          <cx:pt idx="54996">1</cx:pt>
          <cx:pt idx="54997">0</cx:pt>
          <cx:pt idx="54998">1</cx:pt>
          <cx:pt idx="54999">0</cx:pt>
          <cx:pt idx="55000">0</cx:pt>
          <cx:pt idx="55001">1</cx:pt>
          <cx:pt idx="55002">0</cx:pt>
          <cx:pt idx="55003">0</cx:pt>
          <cx:pt idx="55004">1</cx:pt>
          <cx:pt idx="55005">1</cx:pt>
          <cx:pt idx="55006">0</cx:pt>
          <cx:pt idx="55007">0</cx:pt>
          <cx:pt idx="55008">0</cx:pt>
          <cx:pt idx="55009">0</cx:pt>
          <cx:pt idx="55010">0</cx:pt>
          <cx:pt idx="55011">0</cx:pt>
          <cx:pt idx="55012">1</cx:pt>
          <cx:pt idx="55013">0</cx:pt>
          <cx:pt idx="55014">0</cx:pt>
          <cx:pt idx="55015">0</cx:pt>
          <cx:pt idx="55016">1</cx:pt>
          <cx:pt idx="55017">1</cx:pt>
          <cx:pt idx="55018">1</cx:pt>
          <cx:pt idx="55019">1</cx:pt>
          <cx:pt idx="55020">1</cx:pt>
          <cx:pt idx="55021">1</cx:pt>
          <cx:pt idx="55022">0</cx:pt>
          <cx:pt idx="55023">0</cx:pt>
          <cx:pt idx="55024">1</cx:pt>
          <cx:pt idx="55025">1</cx:pt>
          <cx:pt idx="55026">0</cx:pt>
          <cx:pt idx="55027">0</cx:pt>
          <cx:pt idx="55028">0</cx:pt>
          <cx:pt idx="55029">1</cx:pt>
          <cx:pt idx="55030">1</cx:pt>
          <cx:pt idx="55031">0</cx:pt>
          <cx:pt idx="55032">1</cx:pt>
          <cx:pt idx="55033">0</cx:pt>
          <cx:pt idx="55034">1</cx:pt>
          <cx:pt idx="55035">1</cx:pt>
          <cx:pt idx="55036">1</cx:pt>
          <cx:pt idx="55037">0</cx:pt>
          <cx:pt idx="55038">1</cx:pt>
          <cx:pt idx="55039">1</cx:pt>
          <cx:pt idx="55040">0</cx:pt>
          <cx:pt idx="55041">0</cx:pt>
          <cx:pt idx="55042">0</cx:pt>
          <cx:pt idx="55043">1</cx:pt>
          <cx:pt idx="55044">1</cx:pt>
          <cx:pt idx="55045">1</cx:pt>
          <cx:pt idx="55046">0</cx:pt>
          <cx:pt idx="55047">1</cx:pt>
          <cx:pt idx="55048">0</cx:pt>
          <cx:pt idx="55049">0</cx:pt>
          <cx:pt idx="55050">1</cx:pt>
          <cx:pt idx="55051">0</cx:pt>
          <cx:pt idx="55052">0</cx:pt>
          <cx:pt idx="55053">0</cx:pt>
          <cx:pt idx="55054">0</cx:pt>
          <cx:pt idx="55055">1</cx:pt>
          <cx:pt idx="55056">0</cx:pt>
          <cx:pt idx="55057">1</cx:pt>
          <cx:pt idx="55058">1</cx:pt>
          <cx:pt idx="55059">1</cx:pt>
          <cx:pt idx="55060">0</cx:pt>
          <cx:pt idx="55061">1</cx:pt>
          <cx:pt idx="55062">0</cx:pt>
          <cx:pt idx="55063">1</cx:pt>
          <cx:pt idx="55064">0</cx:pt>
          <cx:pt idx="55065">1</cx:pt>
          <cx:pt idx="55066">0</cx:pt>
          <cx:pt idx="55067">1</cx:pt>
          <cx:pt idx="55068">1</cx:pt>
          <cx:pt idx="55069">0</cx:pt>
          <cx:pt idx="55070">1</cx:pt>
          <cx:pt idx="55071">0</cx:pt>
          <cx:pt idx="55072">1</cx:pt>
          <cx:pt idx="55073">0</cx:pt>
          <cx:pt idx="55074">0</cx:pt>
          <cx:pt idx="55075">0</cx:pt>
          <cx:pt idx="55076">1</cx:pt>
          <cx:pt idx="55077">1</cx:pt>
          <cx:pt idx="55078">0</cx:pt>
          <cx:pt idx="55079">0</cx:pt>
          <cx:pt idx="55080">1</cx:pt>
          <cx:pt idx="55081">0</cx:pt>
          <cx:pt idx="55082">0</cx:pt>
          <cx:pt idx="55083">0</cx:pt>
          <cx:pt idx="55084">1</cx:pt>
          <cx:pt idx="55085">1</cx:pt>
          <cx:pt idx="55086">1</cx:pt>
          <cx:pt idx="55087">0</cx:pt>
          <cx:pt idx="55088">0</cx:pt>
          <cx:pt idx="55089">0</cx:pt>
          <cx:pt idx="55090">0</cx:pt>
          <cx:pt idx="55091">0</cx:pt>
          <cx:pt idx="55092">0</cx:pt>
          <cx:pt idx="55093">0</cx:pt>
          <cx:pt idx="55094">0</cx:pt>
          <cx:pt idx="55095">1</cx:pt>
          <cx:pt idx="55096">0</cx:pt>
          <cx:pt idx="55097">1</cx:pt>
          <cx:pt idx="55098">1</cx:pt>
          <cx:pt idx="55099">0</cx:pt>
          <cx:pt idx="55100">0</cx:pt>
          <cx:pt idx="55101">1</cx:pt>
          <cx:pt idx="55102">0</cx:pt>
          <cx:pt idx="55103">0</cx:pt>
          <cx:pt idx="55104">0</cx:pt>
          <cx:pt idx="55105">0</cx:pt>
          <cx:pt idx="55106">0</cx:pt>
          <cx:pt idx="55107">1</cx:pt>
          <cx:pt idx="55108">1</cx:pt>
          <cx:pt idx="55109">0</cx:pt>
          <cx:pt idx="55110">0</cx:pt>
          <cx:pt idx="55111">0</cx:pt>
          <cx:pt idx="55112">0</cx:pt>
          <cx:pt idx="55113">1</cx:pt>
          <cx:pt idx="55114">0</cx:pt>
          <cx:pt idx="55115">1</cx:pt>
          <cx:pt idx="55116">0</cx:pt>
          <cx:pt idx="55117">0</cx:pt>
          <cx:pt idx="55118">0</cx:pt>
          <cx:pt idx="55119">0</cx:pt>
          <cx:pt idx="55120">0</cx:pt>
          <cx:pt idx="55121">0</cx:pt>
          <cx:pt idx="55122">1</cx:pt>
          <cx:pt idx="55123">1</cx:pt>
          <cx:pt idx="55124">1</cx:pt>
          <cx:pt idx="55125">1</cx:pt>
          <cx:pt idx="55126">0</cx:pt>
          <cx:pt idx="55127">0</cx:pt>
          <cx:pt idx="55128">0</cx:pt>
          <cx:pt idx="55129">1</cx:pt>
          <cx:pt idx="55130">0</cx:pt>
          <cx:pt idx="55131">0</cx:pt>
          <cx:pt idx="55132">0</cx:pt>
          <cx:pt idx="55133">1</cx:pt>
          <cx:pt idx="55134">1</cx:pt>
          <cx:pt idx="55135">0</cx:pt>
          <cx:pt idx="55136">0</cx:pt>
          <cx:pt idx="55137">0</cx:pt>
          <cx:pt idx="55138">0</cx:pt>
          <cx:pt idx="55139">1</cx:pt>
          <cx:pt idx="55140">0</cx:pt>
          <cx:pt idx="55141">1</cx:pt>
          <cx:pt idx="55142">1</cx:pt>
          <cx:pt idx="55143">0</cx:pt>
          <cx:pt idx="55144">1</cx:pt>
          <cx:pt idx="55145">1</cx:pt>
          <cx:pt idx="55146">0</cx:pt>
          <cx:pt idx="55147">0</cx:pt>
          <cx:pt idx="55148">1</cx:pt>
          <cx:pt idx="55149">0</cx:pt>
          <cx:pt idx="55150">0</cx:pt>
          <cx:pt idx="55151">1</cx:pt>
          <cx:pt idx="55152">0</cx:pt>
          <cx:pt idx="55153">0</cx:pt>
          <cx:pt idx="55154">1</cx:pt>
          <cx:pt idx="55155">1</cx:pt>
          <cx:pt idx="55156">0</cx:pt>
          <cx:pt idx="55157">0</cx:pt>
          <cx:pt idx="55158">1</cx:pt>
          <cx:pt idx="55159">0</cx:pt>
          <cx:pt idx="55160">0</cx:pt>
          <cx:pt idx="55161">0</cx:pt>
          <cx:pt idx="55162">1</cx:pt>
          <cx:pt idx="55163">1</cx:pt>
          <cx:pt idx="55164">0</cx:pt>
          <cx:pt idx="55165">1</cx:pt>
          <cx:pt idx="55166">0</cx:pt>
          <cx:pt idx="55167">0</cx:pt>
          <cx:pt idx="55168">1</cx:pt>
          <cx:pt idx="55169">0</cx:pt>
          <cx:pt idx="55170">1</cx:pt>
          <cx:pt idx="55171">1</cx:pt>
          <cx:pt idx="55172">0</cx:pt>
          <cx:pt idx="55173">1</cx:pt>
          <cx:pt idx="55174">1</cx:pt>
          <cx:pt idx="55175">0</cx:pt>
          <cx:pt idx="55176">1</cx:pt>
          <cx:pt idx="55177">0</cx:pt>
          <cx:pt idx="55178">0</cx:pt>
          <cx:pt idx="55179">0</cx:pt>
          <cx:pt idx="55180">0</cx:pt>
          <cx:pt idx="55181">0</cx:pt>
          <cx:pt idx="55182">0</cx:pt>
          <cx:pt idx="55183">0</cx:pt>
          <cx:pt idx="55184">0</cx:pt>
          <cx:pt idx="55185">1</cx:pt>
          <cx:pt idx="55186">1</cx:pt>
          <cx:pt idx="55187">1</cx:pt>
          <cx:pt idx="55188">0</cx:pt>
          <cx:pt idx="55189">1</cx:pt>
          <cx:pt idx="55190">0</cx:pt>
          <cx:pt idx="55191">0</cx:pt>
          <cx:pt idx="55192">0</cx:pt>
          <cx:pt idx="55193">0</cx:pt>
          <cx:pt idx="55194">1</cx:pt>
          <cx:pt idx="55195">0</cx:pt>
          <cx:pt idx="55196">0</cx:pt>
          <cx:pt idx="55197">1</cx:pt>
          <cx:pt idx="55198">1</cx:pt>
          <cx:pt idx="55199">0</cx:pt>
          <cx:pt idx="55200">1</cx:pt>
          <cx:pt idx="55201">0</cx:pt>
          <cx:pt idx="55202">0</cx:pt>
          <cx:pt idx="55203">0</cx:pt>
          <cx:pt idx="55204">0</cx:pt>
          <cx:pt idx="55205">0</cx:pt>
          <cx:pt idx="55206">0</cx:pt>
          <cx:pt idx="55207">0</cx:pt>
          <cx:pt idx="55208">0</cx:pt>
          <cx:pt idx="55209">0</cx:pt>
          <cx:pt idx="55210">1</cx:pt>
          <cx:pt idx="55211">0</cx:pt>
          <cx:pt idx="55212">1</cx:pt>
          <cx:pt idx="55213">0</cx:pt>
          <cx:pt idx="55214">1</cx:pt>
          <cx:pt idx="55215">0</cx:pt>
          <cx:pt idx="55216">1</cx:pt>
          <cx:pt idx="55217">1</cx:pt>
          <cx:pt idx="55218">1</cx:pt>
          <cx:pt idx="55219">1</cx:pt>
          <cx:pt idx="55220">1</cx:pt>
          <cx:pt idx="55221">0</cx:pt>
          <cx:pt idx="55222">1</cx:pt>
          <cx:pt idx="55223">0</cx:pt>
          <cx:pt idx="55224">0</cx:pt>
          <cx:pt idx="55225">0</cx:pt>
          <cx:pt idx="55226">1</cx:pt>
          <cx:pt idx="55227">1</cx:pt>
          <cx:pt idx="55228">0</cx:pt>
          <cx:pt idx="55229">1</cx:pt>
          <cx:pt idx="55230">0</cx:pt>
          <cx:pt idx="55231">0</cx:pt>
          <cx:pt idx="55232">0</cx:pt>
          <cx:pt idx="55233">0</cx:pt>
          <cx:pt idx="55234">1</cx:pt>
          <cx:pt idx="55235">1</cx:pt>
          <cx:pt idx="55236">1</cx:pt>
          <cx:pt idx="55237">0</cx:pt>
          <cx:pt idx="55238">1</cx:pt>
          <cx:pt idx="55239">0</cx:pt>
          <cx:pt idx="55240">1</cx:pt>
          <cx:pt idx="55241">1</cx:pt>
          <cx:pt idx="55242">0</cx:pt>
          <cx:pt idx="55243">0</cx:pt>
          <cx:pt idx="55244">0</cx:pt>
          <cx:pt idx="55245">0</cx:pt>
          <cx:pt idx="55246">1</cx:pt>
          <cx:pt idx="55247">0</cx:pt>
          <cx:pt idx="55248">0</cx:pt>
          <cx:pt idx="55249">0</cx:pt>
          <cx:pt idx="55250">0</cx:pt>
          <cx:pt idx="55251">0</cx:pt>
          <cx:pt idx="55252">0</cx:pt>
          <cx:pt idx="55253">0</cx:pt>
          <cx:pt idx="55254">1</cx:pt>
          <cx:pt idx="55255">1</cx:pt>
          <cx:pt idx="55256">1</cx:pt>
          <cx:pt idx="55257">0</cx:pt>
          <cx:pt idx="55258">0</cx:pt>
          <cx:pt idx="55259">1</cx:pt>
          <cx:pt idx="55260">0</cx:pt>
          <cx:pt idx="55261">1</cx:pt>
          <cx:pt idx="55262">1</cx:pt>
          <cx:pt idx="55263">0</cx:pt>
          <cx:pt idx="55264">1</cx:pt>
          <cx:pt idx="55265">1</cx:pt>
          <cx:pt idx="55266">0</cx:pt>
          <cx:pt idx="55267">1</cx:pt>
          <cx:pt idx="55268">0</cx:pt>
          <cx:pt idx="55269">0</cx:pt>
          <cx:pt idx="55270">1</cx:pt>
          <cx:pt idx="55271">0</cx:pt>
          <cx:pt idx="55272">0</cx:pt>
          <cx:pt idx="55273">1</cx:pt>
          <cx:pt idx="55274">0</cx:pt>
          <cx:pt idx="55275">1</cx:pt>
          <cx:pt idx="55276">1</cx:pt>
          <cx:pt idx="55277">1</cx:pt>
          <cx:pt idx="55278">0</cx:pt>
          <cx:pt idx="55279">1</cx:pt>
          <cx:pt idx="55280">0</cx:pt>
          <cx:pt idx="55281">1</cx:pt>
          <cx:pt idx="55282">1</cx:pt>
          <cx:pt idx="55283">1</cx:pt>
          <cx:pt idx="55284">1</cx:pt>
          <cx:pt idx="55285">0</cx:pt>
          <cx:pt idx="55286">0</cx:pt>
          <cx:pt idx="55287">0</cx:pt>
          <cx:pt idx="55288">1</cx:pt>
          <cx:pt idx="55289">0</cx:pt>
          <cx:pt idx="55290">0</cx:pt>
          <cx:pt idx="55291">0</cx:pt>
          <cx:pt idx="55292">1</cx:pt>
          <cx:pt idx="55293">1</cx:pt>
          <cx:pt idx="55294">0</cx:pt>
          <cx:pt idx="55295">1</cx:pt>
          <cx:pt idx="55296">0</cx:pt>
          <cx:pt idx="55297">1</cx:pt>
          <cx:pt idx="55298">0</cx:pt>
          <cx:pt idx="55299">0</cx:pt>
          <cx:pt idx="55300">0</cx:pt>
          <cx:pt idx="55301">1</cx:pt>
          <cx:pt idx="55302">1</cx:pt>
          <cx:pt idx="55303">0</cx:pt>
          <cx:pt idx="55304">1</cx:pt>
          <cx:pt idx="55305">1</cx:pt>
          <cx:pt idx="55306">0</cx:pt>
          <cx:pt idx="55307">0</cx:pt>
          <cx:pt idx="55308">0</cx:pt>
          <cx:pt idx="55309">1</cx:pt>
          <cx:pt idx="55310">1</cx:pt>
          <cx:pt idx="55311">0</cx:pt>
          <cx:pt idx="55312">0</cx:pt>
          <cx:pt idx="55313">1</cx:pt>
          <cx:pt idx="55314">1</cx:pt>
          <cx:pt idx="55315">0</cx:pt>
          <cx:pt idx="55316">0</cx:pt>
          <cx:pt idx="55317">1</cx:pt>
          <cx:pt idx="55318">0</cx:pt>
          <cx:pt idx="55319">0</cx:pt>
          <cx:pt idx="55320">0</cx:pt>
          <cx:pt idx="55321">0</cx:pt>
          <cx:pt idx="55322">0</cx:pt>
          <cx:pt idx="55323">1</cx:pt>
          <cx:pt idx="55324">0</cx:pt>
          <cx:pt idx="55325">1</cx:pt>
          <cx:pt idx="55326">0</cx:pt>
          <cx:pt idx="55327">1</cx:pt>
          <cx:pt idx="55328">0</cx:pt>
          <cx:pt idx="55329">1</cx:pt>
          <cx:pt idx="55330">1</cx:pt>
          <cx:pt idx="55331">1</cx:pt>
          <cx:pt idx="55332">0</cx:pt>
          <cx:pt idx="55333">1</cx:pt>
          <cx:pt idx="55334">1</cx:pt>
          <cx:pt idx="55335">1</cx:pt>
          <cx:pt idx="55336">1</cx:pt>
          <cx:pt idx="55337">0</cx:pt>
          <cx:pt idx="55338">1</cx:pt>
          <cx:pt idx="55339">0</cx:pt>
          <cx:pt idx="55340">0</cx:pt>
          <cx:pt idx="55341">1</cx:pt>
          <cx:pt idx="55342">0</cx:pt>
          <cx:pt idx="55343">1</cx:pt>
          <cx:pt idx="55344">0</cx:pt>
          <cx:pt idx="55345">0</cx:pt>
          <cx:pt idx="55346">0</cx:pt>
          <cx:pt idx="55347">0</cx:pt>
          <cx:pt idx="55348">1</cx:pt>
          <cx:pt idx="55349">1</cx:pt>
          <cx:pt idx="55350">0</cx:pt>
          <cx:pt idx="55351">1</cx:pt>
          <cx:pt idx="55352">0</cx:pt>
          <cx:pt idx="55353">1</cx:pt>
          <cx:pt idx="55354">1</cx:pt>
          <cx:pt idx="55355">0</cx:pt>
          <cx:pt idx="55356">0</cx:pt>
          <cx:pt idx="55357">1</cx:pt>
          <cx:pt idx="55358">0</cx:pt>
          <cx:pt idx="55359">1</cx:pt>
          <cx:pt idx="55360">0</cx:pt>
          <cx:pt idx="55361">0</cx:pt>
          <cx:pt idx="55362">0</cx:pt>
          <cx:pt idx="55363">0</cx:pt>
          <cx:pt idx="55364">1</cx:pt>
          <cx:pt idx="55365">0</cx:pt>
          <cx:pt idx="55366">0</cx:pt>
          <cx:pt idx="55367">0</cx:pt>
          <cx:pt idx="55368">1</cx:pt>
          <cx:pt idx="55369">0</cx:pt>
          <cx:pt idx="55370">0</cx:pt>
          <cx:pt idx="55371">1</cx:pt>
          <cx:pt idx="55372">1</cx:pt>
          <cx:pt idx="55373">0</cx:pt>
          <cx:pt idx="55374">0</cx:pt>
          <cx:pt idx="55375">1</cx:pt>
          <cx:pt idx="55376">0</cx:pt>
          <cx:pt idx="55377">1</cx:pt>
          <cx:pt idx="55378">0</cx:pt>
          <cx:pt idx="55379">1</cx:pt>
          <cx:pt idx="55380">0</cx:pt>
          <cx:pt idx="55381">1</cx:pt>
          <cx:pt idx="55382">0</cx:pt>
          <cx:pt idx="55383">1</cx:pt>
          <cx:pt idx="55384">0</cx:pt>
          <cx:pt idx="55385">0</cx:pt>
          <cx:pt idx="55386">1</cx:pt>
          <cx:pt idx="55387">0</cx:pt>
          <cx:pt idx="55388">1</cx:pt>
          <cx:pt idx="55389">1</cx:pt>
          <cx:pt idx="55390">0</cx:pt>
          <cx:pt idx="55391">0</cx:pt>
          <cx:pt idx="55392">1</cx:pt>
          <cx:pt idx="55393">0</cx:pt>
          <cx:pt idx="55394">1</cx:pt>
          <cx:pt idx="55395">0</cx:pt>
          <cx:pt idx="55396">1</cx:pt>
          <cx:pt idx="55397">1</cx:pt>
          <cx:pt idx="55398">0</cx:pt>
          <cx:pt idx="55399">1</cx:pt>
          <cx:pt idx="55400">1</cx:pt>
          <cx:pt idx="55401">0</cx:pt>
          <cx:pt idx="55402">0</cx:pt>
          <cx:pt idx="55403">0</cx:pt>
          <cx:pt idx="55404">1</cx:pt>
          <cx:pt idx="55405">0</cx:pt>
          <cx:pt idx="55406">1</cx:pt>
          <cx:pt idx="55407">0</cx:pt>
          <cx:pt idx="55408">0</cx:pt>
          <cx:pt idx="55409">0</cx:pt>
          <cx:pt idx="55410">1</cx:pt>
          <cx:pt idx="55411">0</cx:pt>
          <cx:pt idx="55412">1</cx:pt>
          <cx:pt idx="55413">1</cx:pt>
          <cx:pt idx="55414">1</cx:pt>
          <cx:pt idx="55415">0</cx:pt>
          <cx:pt idx="55416">0</cx:pt>
          <cx:pt idx="55417">0</cx:pt>
          <cx:pt idx="55418">1</cx:pt>
          <cx:pt idx="55419">0</cx:pt>
          <cx:pt idx="55420">0</cx:pt>
          <cx:pt idx="55421">0</cx:pt>
          <cx:pt idx="55422">0</cx:pt>
          <cx:pt idx="55423">1</cx:pt>
          <cx:pt idx="55424">0</cx:pt>
          <cx:pt idx="55425">1</cx:pt>
          <cx:pt idx="55426">1</cx:pt>
          <cx:pt idx="55427">1</cx:pt>
          <cx:pt idx="55428">0</cx:pt>
          <cx:pt idx="55429">0</cx:pt>
          <cx:pt idx="55430">1</cx:pt>
          <cx:pt idx="55431">0</cx:pt>
          <cx:pt idx="55432">1</cx:pt>
          <cx:pt idx="55433">0</cx:pt>
          <cx:pt idx="55434">0</cx:pt>
          <cx:pt idx="55435">1</cx:pt>
          <cx:pt idx="55436">0</cx:pt>
          <cx:pt idx="55437">0</cx:pt>
          <cx:pt idx="55438">0</cx:pt>
          <cx:pt idx="55439">0</cx:pt>
          <cx:pt idx="55440">0</cx:pt>
          <cx:pt idx="55441">0</cx:pt>
          <cx:pt idx="55442">0</cx:pt>
          <cx:pt idx="55443">0</cx:pt>
          <cx:pt idx="55444">0</cx:pt>
          <cx:pt idx="55445">0</cx:pt>
          <cx:pt idx="55446">0</cx:pt>
          <cx:pt idx="55447">1</cx:pt>
          <cx:pt idx="55448">0</cx:pt>
          <cx:pt idx="55449">1</cx:pt>
          <cx:pt idx="55450">1</cx:pt>
          <cx:pt idx="55451">0</cx:pt>
          <cx:pt idx="55452">0</cx:pt>
          <cx:pt idx="55453">0</cx:pt>
          <cx:pt idx="55454">0</cx:pt>
          <cx:pt idx="55455">0</cx:pt>
          <cx:pt idx="55456">0</cx:pt>
          <cx:pt idx="55457">0</cx:pt>
          <cx:pt idx="55458">0</cx:pt>
          <cx:pt idx="55459">0</cx:pt>
          <cx:pt idx="55460">0</cx:pt>
          <cx:pt idx="55461">1</cx:pt>
          <cx:pt idx="55462">1</cx:pt>
          <cx:pt idx="55463">1</cx:pt>
          <cx:pt idx="55464">1</cx:pt>
          <cx:pt idx="55465">0</cx:pt>
          <cx:pt idx="55466">1</cx:pt>
          <cx:pt idx="55467">0</cx:pt>
          <cx:pt idx="55468">1</cx:pt>
          <cx:pt idx="55469">1</cx:pt>
          <cx:pt idx="55470">0</cx:pt>
          <cx:pt idx="55471">1</cx:pt>
          <cx:pt idx="55472">0</cx:pt>
          <cx:pt idx="55473">0</cx:pt>
          <cx:pt idx="55474">1</cx:pt>
          <cx:pt idx="55475">1</cx:pt>
          <cx:pt idx="55476">0</cx:pt>
          <cx:pt idx="55477">1</cx:pt>
          <cx:pt idx="55478">0</cx:pt>
          <cx:pt idx="55479">1</cx:pt>
          <cx:pt idx="55480">0</cx:pt>
          <cx:pt idx="55481">1</cx:pt>
          <cx:pt idx="55482">1</cx:pt>
          <cx:pt idx="55483">0</cx:pt>
          <cx:pt idx="55484">1</cx:pt>
          <cx:pt idx="55485">0</cx:pt>
          <cx:pt idx="55486">0</cx:pt>
          <cx:pt idx="55487">0</cx:pt>
          <cx:pt idx="55488">1</cx:pt>
          <cx:pt idx="55489">0</cx:pt>
          <cx:pt idx="55490">0</cx:pt>
          <cx:pt idx="55491">0</cx:pt>
          <cx:pt idx="55492">0</cx:pt>
          <cx:pt idx="55493">0</cx:pt>
          <cx:pt idx="55494">0</cx:pt>
          <cx:pt idx="55495">1</cx:pt>
          <cx:pt idx="55496">1</cx:pt>
          <cx:pt idx="55497">0</cx:pt>
          <cx:pt idx="55498">1</cx:pt>
          <cx:pt idx="55499">0</cx:pt>
          <cx:pt idx="55500">1</cx:pt>
          <cx:pt idx="55501">0</cx:pt>
          <cx:pt idx="55502">0</cx:pt>
          <cx:pt idx="55503">0</cx:pt>
          <cx:pt idx="55504">0</cx:pt>
          <cx:pt idx="55505">0</cx:pt>
          <cx:pt idx="55506">0</cx:pt>
          <cx:pt idx="55507">1</cx:pt>
          <cx:pt idx="55508">0</cx:pt>
          <cx:pt idx="55509">0</cx:pt>
          <cx:pt idx="55510">1</cx:pt>
          <cx:pt idx="55511">1</cx:pt>
          <cx:pt idx="55512">0</cx:pt>
          <cx:pt idx="55513">0</cx:pt>
          <cx:pt idx="55514">1</cx:pt>
          <cx:pt idx="55515">0</cx:pt>
          <cx:pt idx="55516">1</cx:pt>
          <cx:pt idx="55517">1</cx:pt>
          <cx:pt idx="55518">1</cx:pt>
          <cx:pt idx="55519">1</cx:pt>
          <cx:pt idx="55520">1</cx:pt>
          <cx:pt idx="55521">0</cx:pt>
          <cx:pt idx="55522">0</cx:pt>
          <cx:pt idx="55523">0</cx:pt>
          <cx:pt idx="55524">1</cx:pt>
          <cx:pt idx="55525">1</cx:pt>
          <cx:pt idx="55526">0</cx:pt>
          <cx:pt idx="55527">1</cx:pt>
          <cx:pt idx="55528">0</cx:pt>
          <cx:pt idx="55529">1</cx:pt>
          <cx:pt idx="55530">0</cx:pt>
          <cx:pt idx="55531">0</cx:pt>
          <cx:pt idx="55532">1</cx:pt>
          <cx:pt idx="55533">0</cx:pt>
          <cx:pt idx="55534">1</cx:pt>
          <cx:pt idx="55535">0</cx:pt>
          <cx:pt idx="55536">0</cx:pt>
          <cx:pt idx="55537">0</cx:pt>
          <cx:pt idx="55538">0</cx:pt>
          <cx:pt idx="55539">0</cx:pt>
          <cx:pt idx="55540">1</cx:pt>
          <cx:pt idx="55541">1</cx:pt>
          <cx:pt idx="55542">1</cx:pt>
          <cx:pt idx="55543">0</cx:pt>
          <cx:pt idx="55544">1</cx:pt>
          <cx:pt idx="55545">0</cx:pt>
          <cx:pt idx="55546">1</cx:pt>
          <cx:pt idx="55547">1</cx:pt>
          <cx:pt idx="55548">0</cx:pt>
          <cx:pt idx="55549">0</cx:pt>
          <cx:pt idx="55550">1</cx:pt>
          <cx:pt idx="55551">0</cx:pt>
          <cx:pt idx="55552">0</cx:pt>
          <cx:pt idx="55553">0</cx:pt>
          <cx:pt idx="55554">1</cx:pt>
          <cx:pt idx="55555">0</cx:pt>
          <cx:pt idx="55556">0</cx:pt>
          <cx:pt idx="55557">0</cx:pt>
          <cx:pt idx="55558">1</cx:pt>
          <cx:pt idx="55559">1</cx:pt>
          <cx:pt idx="55560">0</cx:pt>
          <cx:pt idx="55561">1</cx:pt>
          <cx:pt idx="55562">0</cx:pt>
          <cx:pt idx="55563">1</cx:pt>
          <cx:pt idx="55564">1</cx:pt>
          <cx:pt idx="55565">1</cx:pt>
          <cx:pt idx="55566">1</cx:pt>
          <cx:pt idx="55567">0</cx:pt>
          <cx:pt idx="55568">1</cx:pt>
          <cx:pt idx="55569">0</cx:pt>
          <cx:pt idx="55570">0</cx:pt>
          <cx:pt idx="55571">0</cx:pt>
          <cx:pt idx="55572">0</cx:pt>
          <cx:pt idx="55573">1</cx:pt>
          <cx:pt idx="55574">0</cx:pt>
          <cx:pt idx="55575">1</cx:pt>
          <cx:pt idx="55576">1</cx:pt>
          <cx:pt idx="55577">1</cx:pt>
          <cx:pt idx="55578">1</cx:pt>
          <cx:pt idx="55579">1</cx:pt>
          <cx:pt idx="55580">0</cx:pt>
          <cx:pt idx="55581">0</cx:pt>
          <cx:pt idx="55582">0</cx:pt>
          <cx:pt idx="55583">0</cx:pt>
          <cx:pt idx="55584">0</cx:pt>
          <cx:pt idx="55585">1</cx:pt>
          <cx:pt idx="55586">0</cx:pt>
          <cx:pt idx="55587">0</cx:pt>
          <cx:pt idx="55588">0</cx:pt>
          <cx:pt idx="55589">0</cx:pt>
          <cx:pt idx="55590">0</cx:pt>
          <cx:pt idx="55591">1</cx:pt>
          <cx:pt idx="55592">0</cx:pt>
          <cx:pt idx="55593">0</cx:pt>
          <cx:pt idx="55594">0</cx:pt>
          <cx:pt idx="55595">0</cx:pt>
          <cx:pt idx="55596">0</cx:pt>
          <cx:pt idx="55597">0</cx:pt>
          <cx:pt idx="55598">1</cx:pt>
          <cx:pt idx="55599">1</cx:pt>
          <cx:pt idx="55600">1</cx:pt>
          <cx:pt idx="55601">1</cx:pt>
          <cx:pt idx="55602">0</cx:pt>
          <cx:pt idx="55603">0</cx:pt>
          <cx:pt idx="55604">0</cx:pt>
          <cx:pt idx="55605">1</cx:pt>
          <cx:pt idx="55606">0</cx:pt>
          <cx:pt idx="55607">1</cx:pt>
          <cx:pt idx="55608">1</cx:pt>
          <cx:pt idx="55609">1</cx:pt>
          <cx:pt idx="55610">0</cx:pt>
          <cx:pt idx="55611">1</cx:pt>
          <cx:pt idx="55612">1</cx:pt>
          <cx:pt idx="55613">0</cx:pt>
          <cx:pt idx="55614">0</cx:pt>
          <cx:pt idx="55615">1</cx:pt>
          <cx:pt idx="55616">1</cx:pt>
          <cx:pt idx="55617">0</cx:pt>
          <cx:pt idx="55618">0</cx:pt>
          <cx:pt idx="55619">0</cx:pt>
          <cx:pt idx="55620">0</cx:pt>
          <cx:pt idx="55621">1</cx:pt>
          <cx:pt idx="55622">0</cx:pt>
          <cx:pt idx="55623">1</cx:pt>
          <cx:pt idx="55624">0</cx:pt>
          <cx:pt idx="55625">0</cx:pt>
          <cx:pt idx="55626">0</cx:pt>
          <cx:pt idx="55627">0</cx:pt>
          <cx:pt idx="55628">1</cx:pt>
          <cx:pt idx="55629">1</cx:pt>
          <cx:pt idx="55630">0</cx:pt>
          <cx:pt idx="55631">0</cx:pt>
          <cx:pt idx="55632">1</cx:pt>
          <cx:pt idx="55633">0</cx:pt>
          <cx:pt idx="55634">0</cx:pt>
          <cx:pt idx="55635">1</cx:pt>
          <cx:pt idx="55636">1</cx:pt>
          <cx:pt idx="55637">1</cx:pt>
          <cx:pt idx="55638">0</cx:pt>
          <cx:pt idx="55639">0</cx:pt>
          <cx:pt idx="55640">0</cx:pt>
          <cx:pt idx="55641">0</cx:pt>
          <cx:pt idx="55642">1</cx:pt>
          <cx:pt idx="55643">0</cx:pt>
          <cx:pt idx="55644">0</cx:pt>
          <cx:pt idx="55645">1</cx:pt>
          <cx:pt idx="55646">1</cx:pt>
          <cx:pt idx="55647">1</cx:pt>
          <cx:pt idx="55648">1</cx:pt>
          <cx:pt idx="55649">0</cx:pt>
          <cx:pt idx="55650">1</cx:pt>
          <cx:pt idx="55651">1</cx:pt>
          <cx:pt idx="55652">0</cx:pt>
          <cx:pt idx="55653">0</cx:pt>
          <cx:pt idx="55654">1</cx:pt>
          <cx:pt idx="55655">1</cx:pt>
          <cx:pt idx="55656">1</cx:pt>
          <cx:pt idx="55657">0</cx:pt>
          <cx:pt idx="55658">0</cx:pt>
          <cx:pt idx="55659">1</cx:pt>
          <cx:pt idx="55660">0</cx:pt>
          <cx:pt idx="55661">0</cx:pt>
          <cx:pt idx="55662">0</cx:pt>
          <cx:pt idx="55663">1</cx:pt>
          <cx:pt idx="55664">1</cx:pt>
          <cx:pt idx="55665">0</cx:pt>
          <cx:pt idx="55666">1</cx:pt>
          <cx:pt idx="55667">0</cx:pt>
          <cx:pt idx="55668">0</cx:pt>
          <cx:pt idx="55669">1</cx:pt>
          <cx:pt idx="55670">1</cx:pt>
          <cx:pt idx="55671">0</cx:pt>
          <cx:pt idx="55672">1</cx:pt>
          <cx:pt idx="55673">1</cx:pt>
          <cx:pt idx="55674">1</cx:pt>
          <cx:pt idx="55675">0</cx:pt>
          <cx:pt idx="55676">0</cx:pt>
          <cx:pt idx="55677">1</cx:pt>
          <cx:pt idx="55678">1</cx:pt>
          <cx:pt idx="55679">0</cx:pt>
          <cx:pt idx="55680">0</cx:pt>
          <cx:pt idx="55681">1</cx:pt>
          <cx:pt idx="55682">1</cx:pt>
          <cx:pt idx="55683">0</cx:pt>
          <cx:pt idx="55684">1</cx:pt>
          <cx:pt idx="55685">0</cx:pt>
          <cx:pt idx="55686">0</cx:pt>
          <cx:pt idx="55687">0</cx:pt>
          <cx:pt idx="55688">1</cx:pt>
          <cx:pt idx="55689">1</cx:pt>
          <cx:pt idx="55690">0</cx:pt>
          <cx:pt idx="55691">0</cx:pt>
          <cx:pt idx="55692">0</cx:pt>
          <cx:pt idx="55693">0</cx:pt>
          <cx:pt idx="55694">0</cx:pt>
          <cx:pt idx="55695">0</cx:pt>
          <cx:pt idx="55696">0</cx:pt>
          <cx:pt idx="55697">0</cx:pt>
          <cx:pt idx="55698">0</cx:pt>
          <cx:pt idx="55699">0</cx:pt>
          <cx:pt idx="55700">0</cx:pt>
          <cx:pt idx="55701">1</cx:pt>
          <cx:pt idx="55702">0</cx:pt>
          <cx:pt idx="55703">0</cx:pt>
          <cx:pt idx="55704">1</cx:pt>
          <cx:pt idx="55705">0</cx:pt>
          <cx:pt idx="55706">0</cx:pt>
          <cx:pt idx="55707">0</cx:pt>
          <cx:pt idx="55708">1</cx:pt>
          <cx:pt idx="55709">0</cx:pt>
          <cx:pt idx="55710">1</cx:pt>
          <cx:pt idx="55711">1</cx:pt>
          <cx:pt idx="55712">1</cx:pt>
          <cx:pt idx="55713">0</cx:pt>
          <cx:pt idx="55714">1</cx:pt>
          <cx:pt idx="55715">0</cx:pt>
          <cx:pt idx="55716">0</cx:pt>
          <cx:pt idx="55717">0</cx:pt>
          <cx:pt idx="55718">1</cx:pt>
          <cx:pt idx="55719">1</cx:pt>
          <cx:pt idx="55720">1</cx:pt>
          <cx:pt idx="55721">1</cx:pt>
          <cx:pt idx="55722">0</cx:pt>
          <cx:pt idx="55723">1</cx:pt>
          <cx:pt idx="55724">0</cx:pt>
          <cx:pt idx="55725">0</cx:pt>
          <cx:pt idx="55726">0</cx:pt>
          <cx:pt idx="55727">0</cx:pt>
          <cx:pt idx="55728">1</cx:pt>
          <cx:pt idx="55729">0</cx:pt>
          <cx:pt idx="55730">0</cx:pt>
          <cx:pt idx="55731">0</cx:pt>
          <cx:pt idx="55732">1</cx:pt>
          <cx:pt idx="55733">0</cx:pt>
          <cx:pt idx="55734">0</cx:pt>
          <cx:pt idx="55735">1</cx:pt>
          <cx:pt idx="55736">1</cx:pt>
          <cx:pt idx="55737">1</cx:pt>
          <cx:pt idx="55738">1</cx:pt>
          <cx:pt idx="55739">0</cx:pt>
          <cx:pt idx="55740">0</cx:pt>
          <cx:pt idx="55741">0</cx:pt>
          <cx:pt idx="55742">0</cx:pt>
          <cx:pt idx="55743">1</cx:pt>
          <cx:pt idx="55744">0</cx:pt>
          <cx:pt idx="55745">0</cx:pt>
          <cx:pt idx="55746">1</cx:pt>
          <cx:pt idx="55747">0</cx:pt>
          <cx:pt idx="55748">1</cx:pt>
          <cx:pt idx="55749">0</cx:pt>
          <cx:pt idx="55750">0</cx:pt>
          <cx:pt idx="55751">0</cx:pt>
          <cx:pt idx="55752">0</cx:pt>
          <cx:pt idx="55753">1</cx:pt>
          <cx:pt idx="55754">1</cx:pt>
          <cx:pt idx="55755">0</cx:pt>
          <cx:pt idx="55756">1</cx:pt>
          <cx:pt idx="55757">1</cx:pt>
          <cx:pt idx="55758">1</cx:pt>
          <cx:pt idx="55759">1</cx:pt>
          <cx:pt idx="55760">0</cx:pt>
          <cx:pt idx="55761">0</cx:pt>
          <cx:pt idx="55762">0</cx:pt>
          <cx:pt idx="55763">1</cx:pt>
          <cx:pt idx="55764">1</cx:pt>
          <cx:pt idx="55765">0</cx:pt>
          <cx:pt idx="55766">1</cx:pt>
          <cx:pt idx="55767">0</cx:pt>
          <cx:pt idx="55768">0</cx:pt>
          <cx:pt idx="55769">1</cx:pt>
          <cx:pt idx="55770">0</cx:pt>
          <cx:pt idx="55771">0</cx:pt>
          <cx:pt idx="55772">1</cx:pt>
          <cx:pt idx="55773">1</cx:pt>
          <cx:pt idx="55774">1</cx:pt>
          <cx:pt idx="55775">0</cx:pt>
          <cx:pt idx="55776">1</cx:pt>
          <cx:pt idx="55777">1</cx:pt>
          <cx:pt idx="55778">1</cx:pt>
          <cx:pt idx="55779">0</cx:pt>
          <cx:pt idx="55780">0</cx:pt>
          <cx:pt idx="55781">0</cx:pt>
          <cx:pt idx="55782">0</cx:pt>
          <cx:pt idx="55783">0</cx:pt>
          <cx:pt idx="55784">0</cx:pt>
          <cx:pt idx="55785">1</cx:pt>
          <cx:pt idx="55786">1</cx:pt>
          <cx:pt idx="55787">0</cx:pt>
          <cx:pt idx="55788">0</cx:pt>
          <cx:pt idx="55789">0</cx:pt>
          <cx:pt idx="55790">1</cx:pt>
          <cx:pt idx="55791">1</cx:pt>
          <cx:pt idx="55792">1</cx:pt>
          <cx:pt idx="55793">1</cx:pt>
          <cx:pt idx="55794">1</cx:pt>
          <cx:pt idx="55795">0</cx:pt>
          <cx:pt idx="55796">0</cx:pt>
          <cx:pt idx="55797">0</cx:pt>
          <cx:pt idx="55798">0</cx:pt>
          <cx:pt idx="55799">0</cx:pt>
          <cx:pt idx="55800">1</cx:pt>
          <cx:pt idx="55801">0</cx:pt>
          <cx:pt idx="55802">0</cx:pt>
          <cx:pt idx="55803">0</cx:pt>
          <cx:pt idx="55804">0</cx:pt>
          <cx:pt idx="55805">0</cx:pt>
          <cx:pt idx="55806">1</cx:pt>
          <cx:pt idx="55807">0</cx:pt>
          <cx:pt idx="55808">0</cx:pt>
          <cx:pt idx="55809">0</cx:pt>
          <cx:pt idx="55810">1</cx:pt>
          <cx:pt idx="55811">1</cx:pt>
          <cx:pt idx="55812">0</cx:pt>
          <cx:pt idx="55813">0</cx:pt>
          <cx:pt idx="55814">0</cx:pt>
          <cx:pt idx="55815">0</cx:pt>
          <cx:pt idx="55816">1</cx:pt>
          <cx:pt idx="55817">1</cx:pt>
          <cx:pt idx="55818">1</cx:pt>
          <cx:pt idx="55819">1</cx:pt>
          <cx:pt idx="55820">0</cx:pt>
          <cx:pt idx="55821">0</cx:pt>
          <cx:pt idx="55822">0</cx:pt>
          <cx:pt idx="55823">0</cx:pt>
          <cx:pt idx="55824">0</cx:pt>
          <cx:pt idx="55825">1</cx:pt>
          <cx:pt idx="55826">0</cx:pt>
          <cx:pt idx="55827">0</cx:pt>
          <cx:pt idx="55828">0</cx:pt>
          <cx:pt idx="55829">0</cx:pt>
          <cx:pt idx="55830">1</cx:pt>
          <cx:pt idx="55831">1</cx:pt>
          <cx:pt idx="55832">1</cx:pt>
          <cx:pt idx="55833">0</cx:pt>
          <cx:pt idx="55834">1</cx:pt>
          <cx:pt idx="55835">0</cx:pt>
          <cx:pt idx="55836">0</cx:pt>
          <cx:pt idx="55837">0</cx:pt>
          <cx:pt idx="55838">0</cx:pt>
          <cx:pt idx="55839">1</cx:pt>
          <cx:pt idx="55840">0</cx:pt>
          <cx:pt idx="55841">1</cx:pt>
          <cx:pt idx="55842">1</cx:pt>
          <cx:pt idx="55843">1</cx:pt>
          <cx:pt idx="55844">0</cx:pt>
          <cx:pt idx="55845">1</cx:pt>
          <cx:pt idx="55846">0</cx:pt>
          <cx:pt idx="55847">0</cx:pt>
          <cx:pt idx="55848">0</cx:pt>
          <cx:pt idx="55849">1</cx:pt>
          <cx:pt idx="55850">1</cx:pt>
          <cx:pt idx="55851">1</cx:pt>
          <cx:pt idx="55852">1</cx:pt>
          <cx:pt idx="55853">0</cx:pt>
          <cx:pt idx="55854">1</cx:pt>
          <cx:pt idx="55855">1</cx:pt>
          <cx:pt idx="55856">1</cx:pt>
          <cx:pt idx="55857">1</cx:pt>
          <cx:pt idx="55858">0</cx:pt>
          <cx:pt idx="55859">0</cx:pt>
          <cx:pt idx="55860">0</cx:pt>
          <cx:pt idx="55861">1</cx:pt>
          <cx:pt idx="55862">0</cx:pt>
          <cx:pt idx="55863">1</cx:pt>
          <cx:pt idx="55864">0</cx:pt>
          <cx:pt idx="55865">1</cx:pt>
          <cx:pt idx="55866">0</cx:pt>
          <cx:pt idx="55867">1</cx:pt>
          <cx:pt idx="55868">1</cx:pt>
          <cx:pt idx="55869">0</cx:pt>
          <cx:pt idx="55870">0</cx:pt>
          <cx:pt idx="55871">1</cx:pt>
          <cx:pt idx="55872">0</cx:pt>
          <cx:pt idx="55873">0</cx:pt>
          <cx:pt idx="55874">0</cx:pt>
          <cx:pt idx="55875">0</cx:pt>
          <cx:pt idx="55876">1</cx:pt>
          <cx:pt idx="55877">0</cx:pt>
          <cx:pt idx="55878">1</cx:pt>
          <cx:pt idx="55879">0</cx:pt>
          <cx:pt idx="55880">0</cx:pt>
          <cx:pt idx="55881">1</cx:pt>
          <cx:pt idx="55882">1</cx:pt>
          <cx:pt idx="55883">1</cx:pt>
          <cx:pt idx="55884">1</cx:pt>
          <cx:pt idx="55885">1</cx:pt>
          <cx:pt idx="55886">1</cx:pt>
          <cx:pt idx="55887">0</cx:pt>
          <cx:pt idx="55888">1</cx:pt>
          <cx:pt idx="55889">0</cx:pt>
          <cx:pt idx="55890">0</cx:pt>
          <cx:pt idx="55891">0</cx:pt>
          <cx:pt idx="55892">1</cx:pt>
          <cx:pt idx="55893">0</cx:pt>
          <cx:pt idx="55894">0</cx:pt>
          <cx:pt idx="55895">0</cx:pt>
          <cx:pt idx="55896">1</cx:pt>
          <cx:pt idx="55897">1</cx:pt>
          <cx:pt idx="55898">0</cx:pt>
          <cx:pt idx="55899">1</cx:pt>
          <cx:pt idx="55900">0</cx:pt>
          <cx:pt idx="55901">0</cx:pt>
          <cx:pt idx="55902">1</cx:pt>
          <cx:pt idx="55903">1</cx:pt>
          <cx:pt idx="55904">1</cx:pt>
          <cx:pt idx="55905">0</cx:pt>
          <cx:pt idx="55906">0</cx:pt>
          <cx:pt idx="55907">0</cx:pt>
          <cx:pt idx="55908">0</cx:pt>
          <cx:pt idx="55909">0</cx:pt>
          <cx:pt idx="55910">1</cx:pt>
          <cx:pt idx="55911">1</cx:pt>
          <cx:pt idx="55912">0</cx:pt>
          <cx:pt idx="55913">0</cx:pt>
          <cx:pt idx="55914">1</cx:pt>
          <cx:pt idx="55915">1</cx:pt>
          <cx:pt idx="55916">1</cx:pt>
          <cx:pt idx="55917">0</cx:pt>
          <cx:pt idx="55918">0</cx:pt>
          <cx:pt idx="55919">0</cx:pt>
          <cx:pt idx="55920">0</cx:pt>
          <cx:pt idx="55921">1</cx:pt>
          <cx:pt idx="55922">0</cx:pt>
          <cx:pt idx="55923">0</cx:pt>
          <cx:pt idx="55924">1</cx:pt>
          <cx:pt idx="55925">1</cx:pt>
          <cx:pt idx="55926">0</cx:pt>
          <cx:pt idx="55927">1</cx:pt>
          <cx:pt idx="55928">1</cx:pt>
          <cx:pt idx="55929">1</cx:pt>
          <cx:pt idx="55930">1</cx:pt>
          <cx:pt idx="55931">1</cx:pt>
          <cx:pt idx="55932">1</cx:pt>
          <cx:pt idx="55933">0</cx:pt>
          <cx:pt idx="55934">0</cx:pt>
          <cx:pt idx="55935">1</cx:pt>
          <cx:pt idx="55936">1</cx:pt>
          <cx:pt idx="55937">0</cx:pt>
          <cx:pt idx="55938">1</cx:pt>
          <cx:pt idx="55939">0</cx:pt>
          <cx:pt idx="55940">1</cx:pt>
          <cx:pt idx="55941">1</cx:pt>
          <cx:pt idx="55942">1</cx:pt>
          <cx:pt idx="55943">0</cx:pt>
          <cx:pt idx="55944">0</cx:pt>
          <cx:pt idx="55945">1</cx:pt>
          <cx:pt idx="55946">0</cx:pt>
          <cx:pt idx="55947">1</cx:pt>
          <cx:pt idx="55948">0</cx:pt>
          <cx:pt idx="55949">1</cx:pt>
          <cx:pt idx="55950">0</cx:pt>
          <cx:pt idx="55951">0</cx:pt>
          <cx:pt idx="55952">0</cx:pt>
          <cx:pt idx="55953">1</cx:pt>
          <cx:pt idx="55954">0</cx:pt>
          <cx:pt idx="55955">0</cx:pt>
          <cx:pt idx="55956">1</cx:pt>
          <cx:pt idx="55957">1</cx:pt>
          <cx:pt idx="55958">0</cx:pt>
          <cx:pt idx="55959">0</cx:pt>
          <cx:pt idx="55960">0</cx:pt>
          <cx:pt idx="55961">0</cx:pt>
          <cx:pt idx="55962">1</cx:pt>
          <cx:pt idx="55963">0</cx:pt>
          <cx:pt idx="55964">0</cx:pt>
          <cx:pt idx="55965">0</cx:pt>
          <cx:pt idx="55966">0</cx:pt>
          <cx:pt idx="55967">0</cx:pt>
          <cx:pt idx="55968">1</cx:pt>
          <cx:pt idx="55969">1</cx:pt>
          <cx:pt idx="55970">0</cx:pt>
          <cx:pt idx="55971">0</cx:pt>
          <cx:pt idx="55972">0</cx:pt>
          <cx:pt idx="55973">0</cx:pt>
          <cx:pt idx="55974">0</cx:pt>
          <cx:pt idx="55975">1</cx:pt>
          <cx:pt idx="55976">1</cx:pt>
          <cx:pt idx="55977">0</cx:pt>
          <cx:pt idx="55978">0</cx:pt>
          <cx:pt idx="55979">0</cx:pt>
          <cx:pt idx="55980">0</cx:pt>
          <cx:pt idx="55981">0</cx:pt>
          <cx:pt idx="55982">1</cx:pt>
          <cx:pt idx="55983">0</cx:pt>
          <cx:pt idx="55984">0</cx:pt>
          <cx:pt idx="55985">0</cx:pt>
          <cx:pt idx="55986">0</cx:pt>
          <cx:pt idx="55987">0</cx:pt>
          <cx:pt idx="55988">0</cx:pt>
          <cx:pt idx="55989">1</cx:pt>
          <cx:pt idx="55990">1</cx:pt>
          <cx:pt idx="55991">0</cx:pt>
          <cx:pt idx="55992">0</cx:pt>
          <cx:pt idx="55993">1</cx:pt>
          <cx:pt idx="55994">0</cx:pt>
          <cx:pt idx="55995">1</cx:pt>
          <cx:pt idx="55996">0</cx:pt>
          <cx:pt idx="55997">1</cx:pt>
          <cx:pt idx="55998">1</cx:pt>
          <cx:pt idx="55999">1</cx:pt>
          <cx:pt idx="56000">0</cx:pt>
          <cx:pt idx="56001">0</cx:pt>
          <cx:pt idx="56002">1</cx:pt>
          <cx:pt idx="56003">0</cx:pt>
          <cx:pt idx="56004">1</cx:pt>
          <cx:pt idx="56005">1</cx:pt>
          <cx:pt idx="56006">0</cx:pt>
          <cx:pt idx="56007">0</cx:pt>
          <cx:pt idx="56008">1</cx:pt>
          <cx:pt idx="56009">1</cx:pt>
          <cx:pt idx="56010">0</cx:pt>
          <cx:pt idx="56011">0</cx:pt>
          <cx:pt idx="56012">0</cx:pt>
          <cx:pt idx="56013">0</cx:pt>
          <cx:pt idx="56014">0</cx:pt>
          <cx:pt idx="56015">1</cx:pt>
          <cx:pt idx="56016">1</cx:pt>
          <cx:pt idx="56017">0</cx:pt>
          <cx:pt idx="56018">1</cx:pt>
          <cx:pt idx="56019">0</cx:pt>
          <cx:pt idx="56020">0</cx:pt>
          <cx:pt idx="56021">0</cx:pt>
          <cx:pt idx="56022">1</cx:pt>
          <cx:pt idx="56023">1</cx:pt>
          <cx:pt idx="56024">0</cx:pt>
          <cx:pt idx="56025">0</cx:pt>
          <cx:pt idx="56026">0</cx:pt>
          <cx:pt idx="56027">1</cx:pt>
          <cx:pt idx="56028">1</cx:pt>
          <cx:pt idx="56029">0</cx:pt>
          <cx:pt idx="56030">0</cx:pt>
          <cx:pt idx="56031">0</cx:pt>
          <cx:pt idx="56032">0</cx:pt>
          <cx:pt idx="56033">0</cx:pt>
          <cx:pt idx="56034">0</cx:pt>
          <cx:pt idx="56035">1</cx:pt>
          <cx:pt idx="56036">0</cx:pt>
          <cx:pt idx="56037">0</cx:pt>
          <cx:pt idx="56038">1</cx:pt>
          <cx:pt idx="56039">0</cx:pt>
          <cx:pt idx="56040">0</cx:pt>
          <cx:pt idx="56041">0</cx:pt>
          <cx:pt idx="56042">0</cx:pt>
          <cx:pt idx="56043">0</cx:pt>
          <cx:pt idx="56044">1</cx:pt>
          <cx:pt idx="56045">0</cx:pt>
          <cx:pt idx="56046">1</cx:pt>
          <cx:pt idx="56047">0</cx:pt>
          <cx:pt idx="56048">0</cx:pt>
          <cx:pt idx="56049">1</cx:pt>
          <cx:pt idx="56050">0</cx:pt>
          <cx:pt idx="56051">1</cx:pt>
          <cx:pt idx="56052">1</cx:pt>
          <cx:pt idx="56053">1</cx:pt>
          <cx:pt idx="56054">0</cx:pt>
          <cx:pt idx="56055">0</cx:pt>
          <cx:pt idx="56056">0</cx:pt>
          <cx:pt idx="56057">1</cx:pt>
          <cx:pt idx="56058">1</cx:pt>
          <cx:pt idx="56059">0</cx:pt>
          <cx:pt idx="56060">1</cx:pt>
          <cx:pt idx="56061">1</cx:pt>
          <cx:pt idx="56062">1</cx:pt>
          <cx:pt idx="56063">1</cx:pt>
          <cx:pt idx="56064">0</cx:pt>
          <cx:pt idx="56065">0</cx:pt>
          <cx:pt idx="56066">0</cx:pt>
          <cx:pt idx="56067">0</cx:pt>
          <cx:pt idx="56068">0</cx:pt>
          <cx:pt idx="56069">0</cx:pt>
          <cx:pt idx="56070">1</cx:pt>
          <cx:pt idx="56071">0</cx:pt>
          <cx:pt idx="56072">1</cx:pt>
          <cx:pt idx="56073">1</cx:pt>
          <cx:pt idx="56074">0</cx:pt>
          <cx:pt idx="56075">1</cx:pt>
          <cx:pt idx="56076">1</cx:pt>
          <cx:pt idx="56077">0</cx:pt>
          <cx:pt idx="56078">1</cx:pt>
          <cx:pt idx="56079">1</cx:pt>
          <cx:pt idx="56080">0</cx:pt>
          <cx:pt idx="56081">0</cx:pt>
          <cx:pt idx="56082">1</cx:pt>
          <cx:pt idx="56083">0</cx:pt>
          <cx:pt idx="56084">1</cx:pt>
          <cx:pt idx="56085">1</cx:pt>
          <cx:pt idx="56086">1</cx:pt>
          <cx:pt idx="56087">0</cx:pt>
          <cx:pt idx="56088">0</cx:pt>
          <cx:pt idx="56089">1</cx:pt>
          <cx:pt idx="56090">1</cx:pt>
          <cx:pt idx="56091">1</cx:pt>
          <cx:pt idx="56092">0</cx:pt>
          <cx:pt idx="56093">0</cx:pt>
          <cx:pt idx="56094">0</cx:pt>
          <cx:pt idx="56095">1</cx:pt>
          <cx:pt idx="56096">0</cx:pt>
          <cx:pt idx="56097">1</cx:pt>
          <cx:pt idx="56098">0</cx:pt>
          <cx:pt idx="56099">1</cx:pt>
          <cx:pt idx="56100">0</cx:pt>
          <cx:pt idx="56101">1</cx:pt>
          <cx:pt idx="56102">0</cx:pt>
          <cx:pt idx="56103">0</cx:pt>
          <cx:pt idx="56104">1</cx:pt>
          <cx:pt idx="56105">0</cx:pt>
          <cx:pt idx="56106">0</cx:pt>
          <cx:pt idx="56107">1</cx:pt>
          <cx:pt idx="56108">1</cx:pt>
          <cx:pt idx="56109">0</cx:pt>
          <cx:pt idx="56110">0</cx:pt>
          <cx:pt idx="56111">1</cx:pt>
          <cx:pt idx="56112">0</cx:pt>
          <cx:pt idx="56113">1</cx:pt>
          <cx:pt idx="56114">0</cx:pt>
          <cx:pt idx="56115">1</cx:pt>
          <cx:pt idx="56116">1</cx:pt>
          <cx:pt idx="56117">1</cx:pt>
          <cx:pt idx="56118">0</cx:pt>
          <cx:pt idx="56119">1</cx:pt>
          <cx:pt idx="56120">1</cx:pt>
          <cx:pt idx="56121">0</cx:pt>
          <cx:pt idx="56122">0</cx:pt>
          <cx:pt idx="56123">0</cx:pt>
          <cx:pt idx="56124">1</cx:pt>
          <cx:pt idx="56125">0</cx:pt>
          <cx:pt idx="56126">1</cx:pt>
          <cx:pt idx="56127">1</cx:pt>
          <cx:pt idx="56128">0</cx:pt>
          <cx:pt idx="56129">1</cx:pt>
          <cx:pt idx="56130">0</cx:pt>
          <cx:pt idx="56131">1</cx:pt>
          <cx:pt idx="56132">1</cx:pt>
          <cx:pt idx="56133">0</cx:pt>
          <cx:pt idx="56134">0</cx:pt>
          <cx:pt idx="56135">0</cx:pt>
          <cx:pt idx="56136">0</cx:pt>
          <cx:pt idx="56137">1</cx:pt>
          <cx:pt idx="56138">0</cx:pt>
          <cx:pt idx="56139">0</cx:pt>
          <cx:pt idx="56140">1</cx:pt>
          <cx:pt idx="56141">0</cx:pt>
          <cx:pt idx="56142">0</cx:pt>
          <cx:pt idx="56143">0</cx:pt>
          <cx:pt idx="56144">0</cx:pt>
          <cx:pt idx="56145">1</cx:pt>
          <cx:pt idx="56146">0</cx:pt>
          <cx:pt idx="56147">1</cx:pt>
          <cx:pt idx="56148">1</cx:pt>
          <cx:pt idx="56149">1</cx:pt>
          <cx:pt idx="56150">0</cx:pt>
          <cx:pt idx="56151">1</cx:pt>
          <cx:pt idx="56152">1</cx:pt>
          <cx:pt idx="56153">0</cx:pt>
          <cx:pt idx="56154">0</cx:pt>
          <cx:pt idx="56155">0</cx:pt>
          <cx:pt idx="56156">0</cx:pt>
          <cx:pt idx="56157">1</cx:pt>
          <cx:pt idx="56158">1</cx:pt>
          <cx:pt idx="56159">1</cx:pt>
          <cx:pt idx="56160">1</cx:pt>
          <cx:pt idx="56161">0</cx:pt>
          <cx:pt idx="56162">0</cx:pt>
          <cx:pt idx="56163">0</cx:pt>
          <cx:pt idx="56164">0</cx:pt>
          <cx:pt idx="56165">1</cx:pt>
          <cx:pt idx="56166">1</cx:pt>
          <cx:pt idx="56167">1</cx:pt>
          <cx:pt idx="56168">0</cx:pt>
          <cx:pt idx="56169">0</cx:pt>
          <cx:pt idx="56170">1</cx:pt>
          <cx:pt idx="56171">0</cx:pt>
          <cx:pt idx="56172">0</cx:pt>
          <cx:pt idx="56173">0</cx:pt>
          <cx:pt idx="56174">1</cx:pt>
          <cx:pt idx="56175">0</cx:pt>
          <cx:pt idx="56176">0</cx:pt>
          <cx:pt idx="56177">1</cx:pt>
          <cx:pt idx="56178">0</cx:pt>
          <cx:pt idx="56179">0</cx:pt>
          <cx:pt idx="56180">0</cx:pt>
          <cx:pt idx="56181">1</cx:pt>
          <cx:pt idx="56182">1</cx:pt>
          <cx:pt idx="56183">0</cx:pt>
          <cx:pt idx="56184">1</cx:pt>
          <cx:pt idx="56185">0</cx:pt>
          <cx:pt idx="56186">0</cx:pt>
          <cx:pt idx="56187">0</cx:pt>
          <cx:pt idx="56188">1</cx:pt>
          <cx:pt idx="56189">0</cx:pt>
          <cx:pt idx="56190">1</cx:pt>
          <cx:pt idx="56191">0</cx:pt>
          <cx:pt idx="56192">1</cx:pt>
          <cx:pt idx="56193">1</cx:pt>
          <cx:pt idx="56194">1</cx:pt>
          <cx:pt idx="56195">1</cx:pt>
          <cx:pt idx="56196">1</cx:pt>
          <cx:pt idx="56197">0</cx:pt>
          <cx:pt idx="56198">1</cx:pt>
          <cx:pt idx="56199">0</cx:pt>
          <cx:pt idx="56200">1</cx:pt>
          <cx:pt idx="56201">1</cx:pt>
          <cx:pt idx="56202">0</cx:pt>
          <cx:pt idx="56203">0</cx:pt>
          <cx:pt idx="56204">1</cx:pt>
          <cx:pt idx="56205">1</cx:pt>
          <cx:pt idx="56206">1</cx:pt>
          <cx:pt idx="56207">1</cx:pt>
          <cx:pt idx="56208">0</cx:pt>
          <cx:pt idx="56209">0</cx:pt>
          <cx:pt idx="56210">0</cx:pt>
          <cx:pt idx="56211">0</cx:pt>
          <cx:pt idx="56212">0</cx:pt>
          <cx:pt idx="56213">0</cx:pt>
          <cx:pt idx="56214">1</cx:pt>
          <cx:pt idx="56215">0</cx:pt>
          <cx:pt idx="56216">0</cx:pt>
          <cx:pt idx="56217">0</cx:pt>
          <cx:pt idx="56218">1</cx:pt>
          <cx:pt idx="56219">1</cx:pt>
          <cx:pt idx="56220">1</cx:pt>
          <cx:pt idx="56221">0</cx:pt>
          <cx:pt idx="56222">0</cx:pt>
          <cx:pt idx="56223">0</cx:pt>
          <cx:pt idx="56224">0</cx:pt>
          <cx:pt idx="56225">0</cx:pt>
          <cx:pt idx="56226">0</cx:pt>
          <cx:pt idx="56227">0</cx:pt>
          <cx:pt idx="56228">0</cx:pt>
          <cx:pt idx="56229">1</cx:pt>
          <cx:pt idx="56230">1</cx:pt>
          <cx:pt idx="56231">1</cx:pt>
          <cx:pt idx="56232">1</cx:pt>
          <cx:pt idx="56233">0</cx:pt>
          <cx:pt idx="56234">0</cx:pt>
          <cx:pt idx="56235">1</cx:pt>
          <cx:pt idx="56236">0</cx:pt>
          <cx:pt idx="56237">1</cx:pt>
          <cx:pt idx="56238">1</cx:pt>
          <cx:pt idx="56239">0</cx:pt>
          <cx:pt idx="56240">1</cx:pt>
          <cx:pt idx="56241">1</cx:pt>
          <cx:pt idx="56242">0</cx:pt>
          <cx:pt idx="56243">0</cx:pt>
          <cx:pt idx="56244">1</cx:pt>
          <cx:pt idx="56245">0</cx:pt>
          <cx:pt idx="56246">0</cx:pt>
          <cx:pt idx="56247">0</cx:pt>
          <cx:pt idx="56248">1</cx:pt>
          <cx:pt idx="56249">0</cx:pt>
          <cx:pt idx="56250">1</cx:pt>
          <cx:pt idx="56251">0</cx:pt>
          <cx:pt idx="56252">0</cx:pt>
          <cx:pt idx="56253">0</cx:pt>
          <cx:pt idx="56254">0</cx:pt>
          <cx:pt idx="56255">0</cx:pt>
          <cx:pt idx="56256">0</cx:pt>
          <cx:pt idx="56257">0</cx:pt>
          <cx:pt idx="56258">0</cx:pt>
          <cx:pt idx="56259">0</cx:pt>
          <cx:pt idx="56260">0</cx:pt>
          <cx:pt idx="56261">0</cx:pt>
          <cx:pt idx="56262">1</cx:pt>
          <cx:pt idx="56263">1</cx:pt>
          <cx:pt idx="56264">1</cx:pt>
          <cx:pt idx="56265">0</cx:pt>
          <cx:pt idx="56266">1</cx:pt>
          <cx:pt idx="56267">0</cx:pt>
          <cx:pt idx="56268">1</cx:pt>
          <cx:pt idx="56269">1</cx:pt>
          <cx:pt idx="56270">0</cx:pt>
          <cx:pt idx="56271">0</cx:pt>
          <cx:pt idx="56272">0</cx:pt>
          <cx:pt idx="56273">1</cx:pt>
          <cx:pt idx="56274">0</cx:pt>
          <cx:pt idx="56275">0</cx:pt>
          <cx:pt idx="56276">1</cx:pt>
          <cx:pt idx="56277">0</cx:pt>
          <cx:pt idx="56278">1</cx:pt>
          <cx:pt idx="56279">0</cx:pt>
          <cx:pt idx="56280">1</cx:pt>
          <cx:pt idx="56281">1</cx:pt>
          <cx:pt idx="56282">1</cx:pt>
          <cx:pt idx="56283">0</cx:pt>
          <cx:pt idx="56284">0</cx:pt>
          <cx:pt idx="56285">0</cx:pt>
          <cx:pt idx="56286">0</cx:pt>
          <cx:pt idx="56287">1</cx:pt>
          <cx:pt idx="56288">0</cx:pt>
          <cx:pt idx="56289">0</cx:pt>
          <cx:pt idx="56290">1</cx:pt>
          <cx:pt idx="56291">1</cx:pt>
          <cx:pt idx="56292">0</cx:pt>
          <cx:pt idx="56293">1</cx:pt>
          <cx:pt idx="56294">1</cx:pt>
          <cx:pt idx="56295">1</cx:pt>
          <cx:pt idx="56296">0</cx:pt>
          <cx:pt idx="56297">1</cx:pt>
          <cx:pt idx="56298">1</cx:pt>
          <cx:pt idx="56299">0</cx:pt>
          <cx:pt idx="56300">0</cx:pt>
          <cx:pt idx="56301">1</cx:pt>
          <cx:pt idx="56302">0</cx:pt>
          <cx:pt idx="56303">1</cx:pt>
          <cx:pt idx="56304">1</cx:pt>
          <cx:pt idx="56305">1</cx:pt>
          <cx:pt idx="56306">1</cx:pt>
          <cx:pt idx="56307">1</cx:pt>
          <cx:pt idx="56308">1</cx:pt>
          <cx:pt idx="56309">1</cx:pt>
          <cx:pt idx="56310">0</cx:pt>
          <cx:pt idx="56311">0</cx:pt>
          <cx:pt idx="56312">0</cx:pt>
          <cx:pt idx="56313">0</cx:pt>
          <cx:pt idx="56314">0</cx:pt>
          <cx:pt idx="56315">1</cx:pt>
          <cx:pt idx="56316">0</cx:pt>
          <cx:pt idx="56317">0</cx:pt>
          <cx:pt idx="56318">0</cx:pt>
          <cx:pt idx="56319">0</cx:pt>
          <cx:pt idx="56320">1</cx:pt>
          <cx:pt idx="56321">0</cx:pt>
          <cx:pt idx="56322">0</cx:pt>
          <cx:pt idx="56323">1</cx:pt>
          <cx:pt idx="56324">1</cx:pt>
          <cx:pt idx="56325">1</cx:pt>
          <cx:pt idx="56326">0</cx:pt>
          <cx:pt idx="56327">1</cx:pt>
          <cx:pt idx="56328">0</cx:pt>
          <cx:pt idx="56329">1</cx:pt>
          <cx:pt idx="56330">1</cx:pt>
          <cx:pt idx="56331">1</cx:pt>
          <cx:pt idx="56332">0</cx:pt>
          <cx:pt idx="56333">0</cx:pt>
          <cx:pt idx="56334">1</cx:pt>
          <cx:pt idx="56335">0</cx:pt>
          <cx:pt idx="56336">0</cx:pt>
          <cx:pt idx="56337">1</cx:pt>
          <cx:pt idx="56338">1</cx:pt>
          <cx:pt idx="56339">0</cx:pt>
          <cx:pt idx="56340">1</cx:pt>
          <cx:pt idx="56341">0</cx:pt>
          <cx:pt idx="56342">0</cx:pt>
          <cx:pt idx="56343">1</cx:pt>
          <cx:pt idx="56344">1</cx:pt>
          <cx:pt idx="56345">1</cx:pt>
          <cx:pt idx="56346">0</cx:pt>
          <cx:pt idx="56347">1</cx:pt>
          <cx:pt idx="56348">0</cx:pt>
          <cx:pt idx="56349">0</cx:pt>
          <cx:pt idx="56350">1</cx:pt>
          <cx:pt idx="56351">0</cx:pt>
          <cx:pt idx="56352">0</cx:pt>
          <cx:pt idx="56353">0</cx:pt>
          <cx:pt idx="56354">0</cx:pt>
          <cx:pt idx="56355">0</cx:pt>
          <cx:pt idx="56356">1</cx:pt>
          <cx:pt idx="56357">1</cx:pt>
          <cx:pt idx="56358">1</cx:pt>
          <cx:pt idx="56359">0</cx:pt>
          <cx:pt idx="56360">0</cx:pt>
          <cx:pt idx="56361">0</cx:pt>
          <cx:pt idx="56362">0</cx:pt>
          <cx:pt idx="56363">0</cx:pt>
          <cx:pt idx="56364">0</cx:pt>
          <cx:pt idx="56365">0</cx:pt>
          <cx:pt idx="56366">1</cx:pt>
          <cx:pt idx="56367">1</cx:pt>
          <cx:pt idx="56368">1</cx:pt>
          <cx:pt idx="56369">0</cx:pt>
          <cx:pt idx="56370">0</cx:pt>
          <cx:pt idx="56371">0</cx:pt>
          <cx:pt idx="56372">1</cx:pt>
          <cx:pt idx="56373">1</cx:pt>
          <cx:pt idx="56374">1</cx:pt>
          <cx:pt idx="56375">1</cx:pt>
          <cx:pt idx="56376">0</cx:pt>
          <cx:pt idx="56377">1</cx:pt>
          <cx:pt idx="56378">1</cx:pt>
          <cx:pt idx="56379">0</cx:pt>
          <cx:pt idx="56380">0</cx:pt>
          <cx:pt idx="56381">1</cx:pt>
          <cx:pt idx="56382">0</cx:pt>
          <cx:pt idx="56383">1</cx:pt>
          <cx:pt idx="56384">1</cx:pt>
          <cx:pt idx="56385">0</cx:pt>
          <cx:pt idx="56386">1</cx:pt>
          <cx:pt idx="56387">0</cx:pt>
          <cx:pt idx="56388">0</cx:pt>
          <cx:pt idx="56389">0</cx:pt>
          <cx:pt idx="56390">0</cx:pt>
          <cx:pt idx="56391">0</cx:pt>
          <cx:pt idx="56392">0</cx:pt>
          <cx:pt idx="56393">1</cx:pt>
          <cx:pt idx="56394">1</cx:pt>
          <cx:pt idx="56395">0</cx:pt>
          <cx:pt idx="56396">0</cx:pt>
          <cx:pt idx="56397">0</cx:pt>
          <cx:pt idx="56398">0</cx:pt>
          <cx:pt idx="56399">1</cx:pt>
          <cx:pt idx="56400">1</cx:pt>
          <cx:pt idx="56401">0</cx:pt>
          <cx:pt idx="56402">1</cx:pt>
          <cx:pt idx="56403">1</cx:pt>
          <cx:pt idx="56404">0</cx:pt>
          <cx:pt idx="56405">1</cx:pt>
          <cx:pt idx="56406">0</cx:pt>
          <cx:pt idx="56407">0</cx:pt>
          <cx:pt idx="56408">1</cx:pt>
          <cx:pt idx="56409">0</cx:pt>
          <cx:pt idx="56410">0</cx:pt>
          <cx:pt idx="56411">0</cx:pt>
          <cx:pt idx="56412">1</cx:pt>
          <cx:pt idx="56413">1</cx:pt>
          <cx:pt idx="56414">0</cx:pt>
          <cx:pt idx="56415">0</cx:pt>
          <cx:pt idx="56416">0</cx:pt>
          <cx:pt idx="56417">0</cx:pt>
          <cx:pt idx="56418">1</cx:pt>
          <cx:pt idx="56419">0</cx:pt>
          <cx:pt idx="56420">0</cx:pt>
          <cx:pt idx="56421">0</cx:pt>
          <cx:pt idx="56422">1</cx:pt>
          <cx:pt idx="56423">0</cx:pt>
          <cx:pt idx="56424">0</cx:pt>
          <cx:pt idx="56425">0</cx:pt>
          <cx:pt idx="56426">1</cx:pt>
          <cx:pt idx="56427">0</cx:pt>
          <cx:pt idx="56428">1</cx:pt>
          <cx:pt idx="56429">1</cx:pt>
          <cx:pt idx="56430">0</cx:pt>
          <cx:pt idx="56431">1</cx:pt>
          <cx:pt idx="56432">1</cx:pt>
          <cx:pt idx="56433">0</cx:pt>
          <cx:pt idx="56434">1</cx:pt>
          <cx:pt idx="56435">0</cx:pt>
          <cx:pt idx="56436">0</cx:pt>
          <cx:pt idx="56437">1</cx:pt>
          <cx:pt idx="56438">0</cx:pt>
          <cx:pt idx="56439">0</cx:pt>
          <cx:pt idx="56440">0</cx:pt>
          <cx:pt idx="56441">0</cx:pt>
          <cx:pt idx="56442">0</cx:pt>
          <cx:pt idx="56443">0</cx:pt>
          <cx:pt idx="56444">1</cx:pt>
          <cx:pt idx="56445">1</cx:pt>
          <cx:pt idx="56446">0</cx:pt>
          <cx:pt idx="56447">0</cx:pt>
          <cx:pt idx="56448">1</cx:pt>
          <cx:pt idx="56449">1</cx:pt>
          <cx:pt idx="56450">1</cx:pt>
          <cx:pt idx="56451">0</cx:pt>
          <cx:pt idx="56452">0</cx:pt>
          <cx:pt idx="56453">1</cx:pt>
          <cx:pt idx="56454">1</cx:pt>
          <cx:pt idx="56455">1</cx:pt>
          <cx:pt idx="56456">0</cx:pt>
          <cx:pt idx="56457">0</cx:pt>
          <cx:pt idx="56458">1</cx:pt>
          <cx:pt idx="56459">0</cx:pt>
          <cx:pt idx="56460">0</cx:pt>
          <cx:pt idx="56461">0</cx:pt>
          <cx:pt idx="56462">1</cx:pt>
          <cx:pt idx="56463">0</cx:pt>
          <cx:pt idx="56464">1</cx:pt>
          <cx:pt idx="56465">0</cx:pt>
          <cx:pt idx="56466">0</cx:pt>
          <cx:pt idx="56467">1</cx:pt>
          <cx:pt idx="56468">0</cx:pt>
          <cx:pt idx="56469">0</cx:pt>
          <cx:pt idx="56470">0</cx:pt>
          <cx:pt idx="56471">0</cx:pt>
          <cx:pt idx="56472">1</cx:pt>
          <cx:pt idx="56473">0</cx:pt>
          <cx:pt idx="56474">0</cx:pt>
          <cx:pt idx="56475">1</cx:pt>
          <cx:pt idx="56476">1</cx:pt>
          <cx:pt idx="56477">0</cx:pt>
          <cx:pt idx="56478">0</cx:pt>
          <cx:pt idx="56479">1</cx:pt>
          <cx:pt idx="56480">0</cx:pt>
          <cx:pt idx="56481">1</cx:pt>
          <cx:pt idx="56482">0</cx:pt>
          <cx:pt idx="56483">1</cx:pt>
          <cx:pt idx="56484">1</cx:pt>
          <cx:pt idx="56485">0</cx:pt>
          <cx:pt idx="56486">1</cx:pt>
          <cx:pt idx="56487">0</cx:pt>
          <cx:pt idx="56488">0</cx:pt>
          <cx:pt idx="56489">1</cx:pt>
          <cx:pt idx="56490">1</cx:pt>
          <cx:pt idx="56491">0</cx:pt>
          <cx:pt idx="56492">0</cx:pt>
          <cx:pt idx="56493">0</cx:pt>
          <cx:pt idx="56494">1</cx:pt>
          <cx:pt idx="56495">1</cx:pt>
          <cx:pt idx="56496">0</cx:pt>
          <cx:pt idx="56497">0</cx:pt>
          <cx:pt idx="56498">1</cx:pt>
          <cx:pt idx="56499">1</cx:pt>
          <cx:pt idx="56500">1</cx:pt>
          <cx:pt idx="56501">0</cx:pt>
          <cx:pt idx="56502">0</cx:pt>
          <cx:pt idx="56503">1</cx:pt>
          <cx:pt idx="56504">0</cx:pt>
          <cx:pt idx="56505">1</cx:pt>
          <cx:pt idx="56506">1</cx:pt>
          <cx:pt idx="56507">1</cx:pt>
          <cx:pt idx="56508">1</cx:pt>
          <cx:pt idx="56509">0</cx:pt>
          <cx:pt idx="56510">0</cx:pt>
          <cx:pt idx="56511">0</cx:pt>
          <cx:pt idx="56512">0</cx:pt>
          <cx:pt idx="56513">0</cx:pt>
          <cx:pt idx="56514">0</cx:pt>
          <cx:pt idx="56515">0</cx:pt>
          <cx:pt idx="56516">1</cx:pt>
          <cx:pt idx="56517">1</cx:pt>
          <cx:pt idx="56518">1</cx:pt>
          <cx:pt idx="56519">0</cx:pt>
          <cx:pt idx="56520">0</cx:pt>
          <cx:pt idx="56521">1</cx:pt>
          <cx:pt idx="56522">1</cx:pt>
          <cx:pt idx="56523">0</cx:pt>
          <cx:pt idx="56524">1</cx:pt>
          <cx:pt idx="56525">0</cx:pt>
          <cx:pt idx="56526">1</cx:pt>
          <cx:pt idx="56527">0</cx:pt>
          <cx:pt idx="56528">0</cx:pt>
          <cx:pt idx="56529">0</cx:pt>
          <cx:pt idx="56530">1</cx:pt>
          <cx:pt idx="56531">0</cx:pt>
          <cx:pt idx="56532">0</cx:pt>
          <cx:pt idx="56533">0</cx:pt>
          <cx:pt idx="56534">1</cx:pt>
          <cx:pt idx="56535">1</cx:pt>
          <cx:pt idx="56536">0</cx:pt>
          <cx:pt idx="56537">0</cx:pt>
          <cx:pt idx="56538">1</cx:pt>
          <cx:pt idx="56539">0</cx:pt>
          <cx:pt idx="56540">0</cx:pt>
          <cx:pt idx="56541">1</cx:pt>
          <cx:pt idx="56542">0</cx:pt>
          <cx:pt idx="56543">0</cx:pt>
          <cx:pt idx="56544">1</cx:pt>
          <cx:pt idx="56545">0</cx:pt>
          <cx:pt idx="56546">1</cx:pt>
          <cx:pt idx="56547">0</cx:pt>
          <cx:pt idx="56548">0</cx:pt>
          <cx:pt idx="56549">0</cx:pt>
          <cx:pt idx="56550">0</cx:pt>
          <cx:pt idx="56551">1</cx:pt>
          <cx:pt idx="56552">0</cx:pt>
          <cx:pt idx="56553">0</cx:pt>
          <cx:pt idx="56554">1</cx:pt>
          <cx:pt idx="56555">1</cx:pt>
          <cx:pt idx="56556">0</cx:pt>
          <cx:pt idx="56557">0</cx:pt>
          <cx:pt idx="56558">1</cx:pt>
          <cx:pt idx="56559">0</cx:pt>
          <cx:pt idx="56560">1</cx:pt>
          <cx:pt idx="56561">0</cx:pt>
          <cx:pt idx="56562">0</cx:pt>
          <cx:pt idx="56563">1</cx:pt>
          <cx:pt idx="56564">1</cx:pt>
          <cx:pt idx="56565">0</cx:pt>
          <cx:pt idx="56566">0</cx:pt>
          <cx:pt idx="56567">1</cx:pt>
          <cx:pt idx="56568">0</cx:pt>
          <cx:pt idx="56569">0</cx:pt>
          <cx:pt idx="56570">0</cx:pt>
          <cx:pt idx="56571">0</cx:pt>
          <cx:pt idx="56572">1</cx:pt>
          <cx:pt idx="56573">1</cx:pt>
          <cx:pt idx="56574">0</cx:pt>
          <cx:pt idx="56575">0</cx:pt>
          <cx:pt idx="56576">1</cx:pt>
          <cx:pt idx="56577">1</cx:pt>
          <cx:pt idx="56578">0</cx:pt>
          <cx:pt idx="56579">0</cx:pt>
          <cx:pt idx="56580">1</cx:pt>
          <cx:pt idx="56581">0</cx:pt>
          <cx:pt idx="56582">0</cx:pt>
          <cx:pt idx="56583">0</cx:pt>
          <cx:pt idx="56584">1</cx:pt>
          <cx:pt idx="56585">1</cx:pt>
          <cx:pt idx="56586">0</cx:pt>
          <cx:pt idx="56587">1</cx:pt>
          <cx:pt idx="56588">1</cx:pt>
          <cx:pt idx="56589">1</cx:pt>
          <cx:pt idx="56590">1</cx:pt>
          <cx:pt idx="56591">0</cx:pt>
          <cx:pt idx="56592">0</cx:pt>
          <cx:pt idx="56593">1</cx:pt>
          <cx:pt idx="56594">1</cx:pt>
          <cx:pt idx="56595">0</cx:pt>
          <cx:pt idx="56596">1</cx:pt>
          <cx:pt idx="56597">1</cx:pt>
          <cx:pt idx="56598">1</cx:pt>
          <cx:pt idx="56599">1</cx:pt>
          <cx:pt idx="56600">1</cx:pt>
          <cx:pt idx="56601">0</cx:pt>
          <cx:pt idx="56602">1</cx:pt>
          <cx:pt idx="56603">1</cx:pt>
          <cx:pt idx="56604">1</cx:pt>
          <cx:pt idx="56605">0</cx:pt>
          <cx:pt idx="56606">1</cx:pt>
          <cx:pt idx="56607">0</cx:pt>
          <cx:pt idx="56608">0</cx:pt>
          <cx:pt idx="56609">1</cx:pt>
          <cx:pt idx="56610">0</cx:pt>
          <cx:pt idx="56611">0</cx:pt>
          <cx:pt idx="56612">1</cx:pt>
          <cx:pt idx="56613">1</cx:pt>
          <cx:pt idx="56614">1</cx:pt>
          <cx:pt idx="56615">0</cx:pt>
          <cx:pt idx="56616">1</cx:pt>
          <cx:pt idx="56617">1</cx:pt>
          <cx:pt idx="56618">0</cx:pt>
          <cx:pt idx="56619">1</cx:pt>
          <cx:pt idx="56620">0</cx:pt>
          <cx:pt idx="56621">0</cx:pt>
          <cx:pt idx="56622">0</cx:pt>
          <cx:pt idx="56623">1</cx:pt>
          <cx:pt idx="56624">1</cx:pt>
          <cx:pt idx="56625">0</cx:pt>
          <cx:pt idx="56626">1</cx:pt>
          <cx:pt idx="56627">1</cx:pt>
          <cx:pt idx="56628">1</cx:pt>
          <cx:pt idx="56629">1</cx:pt>
          <cx:pt idx="56630">0</cx:pt>
          <cx:pt idx="56631">0</cx:pt>
          <cx:pt idx="56632">0</cx:pt>
          <cx:pt idx="56633">1</cx:pt>
          <cx:pt idx="56634">1</cx:pt>
          <cx:pt idx="56635">0</cx:pt>
          <cx:pt idx="56636">1</cx:pt>
          <cx:pt idx="56637">1</cx:pt>
          <cx:pt idx="56638">1</cx:pt>
          <cx:pt idx="56639">0</cx:pt>
          <cx:pt idx="56640">1</cx:pt>
          <cx:pt idx="56641">0</cx:pt>
          <cx:pt idx="56642">0</cx:pt>
          <cx:pt idx="56643">1</cx:pt>
          <cx:pt idx="56644">0</cx:pt>
          <cx:pt idx="56645">1</cx:pt>
          <cx:pt idx="56646">0</cx:pt>
          <cx:pt idx="56647">1</cx:pt>
          <cx:pt idx="56648">0</cx:pt>
          <cx:pt idx="56649">1</cx:pt>
          <cx:pt idx="56650">0</cx:pt>
          <cx:pt idx="56651">1</cx:pt>
          <cx:pt idx="56652">1</cx:pt>
          <cx:pt idx="56653">0</cx:pt>
          <cx:pt idx="56654">1</cx:pt>
          <cx:pt idx="56655">1</cx:pt>
          <cx:pt idx="56656">0</cx:pt>
          <cx:pt idx="56657">0</cx:pt>
          <cx:pt idx="56658">0</cx:pt>
          <cx:pt idx="56659">1</cx:pt>
          <cx:pt idx="56660">1</cx:pt>
          <cx:pt idx="56661">0</cx:pt>
          <cx:pt idx="56662">0</cx:pt>
          <cx:pt idx="56663">0</cx:pt>
          <cx:pt idx="56664">1</cx:pt>
          <cx:pt idx="56665">1</cx:pt>
          <cx:pt idx="56666">0</cx:pt>
          <cx:pt idx="56667">0</cx:pt>
          <cx:pt idx="56668">0</cx:pt>
          <cx:pt idx="56669">0</cx:pt>
          <cx:pt idx="56670">0</cx:pt>
          <cx:pt idx="56671">0</cx:pt>
          <cx:pt idx="56672">0</cx:pt>
          <cx:pt idx="56673">0</cx:pt>
          <cx:pt idx="56674">0</cx:pt>
          <cx:pt idx="56675">0</cx:pt>
          <cx:pt idx="56676">0</cx:pt>
          <cx:pt idx="56677">0</cx:pt>
          <cx:pt idx="56678">1</cx:pt>
          <cx:pt idx="56679">1</cx:pt>
          <cx:pt idx="56680">1</cx:pt>
          <cx:pt idx="56681">1</cx:pt>
          <cx:pt idx="56682">0</cx:pt>
          <cx:pt idx="56683">1</cx:pt>
          <cx:pt idx="56684">0</cx:pt>
          <cx:pt idx="56685">1</cx:pt>
          <cx:pt idx="56686">0</cx:pt>
          <cx:pt idx="56687">0</cx:pt>
          <cx:pt idx="56688">0</cx:pt>
          <cx:pt idx="56689">1</cx:pt>
          <cx:pt idx="56690">1</cx:pt>
          <cx:pt idx="56691">1</cx:pt>
          <cx:pt idx="56692">0</cx:pt>
          <cx:pt idx="56693">0</cx:pt>
          <cx:pt idx="56694">0</cx:pt>
          <cx:pt idx="56695">1</cx:pt>
          <cx:pt idx="56696">1</cx:pt>
          <cx:pt idx="56697">0</cx:pt>
          <cx:pt idx="56698">0</cx:pt>
          <cx:pt idx="56699">0</cx:pt>
          <cx:pt idx="56700">0</cx:pt>
          <cx:pt idx="56701">0</cx:pt>
          <cx:pt idx="56702">1</cx:pt>
          <cx:pt idx="56703">1</cx:pt>
          <cx:pt idx="56704">0</cx:pt>
          <cx:pt idx="56705">1</cx:pt>
          <cx:pt idx="56706">0</cx:pt>
          <cx:pt idx="56707">0</cx:pt>
          <cx:pt idx="56708">0</cx:pt>
          <cx:pt idx="56709">1</cx:pt>
          <cx:pt idx="56710">1</cx:pt>
          <cx:pt idx="56711">1</cx:pt>
          <cx:pt idx="56712">1</cx:pt>
          <cx:pt idx="56713">0</cx:pt>
          <cx:pt idx="56714">1</cx:pt>
          <cx:pt idx="56715">1</cx:pt>
          <cx:pt idx="56716">1</cx:pt>
          <cx:pt idx="56717">0</cx:pt>
          <cx:pt idx="56718">0</cx:pt>
          <cx:pt idx="56719">0</cx:pt>
          <cx:pt idx="56720">0</cx:pt>
          <cx:pt idx="56721">0</cx:pt>
          <cx:pt idx="56722">0</cx:pt>
          <cx:pt idx="56723">0</cx:pt>
          <cx:pt idx="56724">0</cx:pt>
          <cx:pt idx="56725">0</cx:pt>
          <cx:pt idx="56726">0</cx:pt>
          <cx:pt idx="56727">0</cx:pt>
          <cx:pt idx="56728">0</cx:pt>
          <cx:pt idx="56729">0</cx:pt>
          <cx:pt idx="56730">1</cx:pt>
          <cx:pt idx="56731">0</cx:pt>
          <cx:pt idx="56732">0</cx:pt>
          <cx:pt idx="56733">0</cx:pt>
          <cx:pt idx="56734">1</cx:pt>
          <cx:pt idx="56735">1</cx:pt>
          <cx:pt idx="56736">0</cx:pt>
          <cx:pt idx="56737">0</cx:pt>
          <cx:pt idx="56738">0</cx:pt>
          <cx:pt idx="56739">0</cx:pt>
          <cx:pt idx="56740">0</cx:pt>
          <cx:pt idx="56741">1</cx:pt>
          <cx:pt idx="56742">0</cx:pt>
          <cx:pt idx="56743">0</cx:pt>
          <cx:pt idx="56744">0</cx:pt>
          <cx:pt idx="56745">1</cx:pt>
          <cx:pt idx="56746">0</cx:pt>
          <cx:pt idx="56747">0</cx:pt>
          <cx:pt idx="56748">1</cx:pt>
          <cx:pt idx="56749">0</cx:pt>
          <cx:pt idx="56750">1</cx:pt>
          <cx:pt idx="56751">0</cx:pt>
          <cx:pt idx="56752">1</cx:pt>
          <cx:pt idx="56753">1</cx:pt>
          <cx:pt idx="56754">0</cx:pt>
          <cx:pt idx="56755">1</cx:pt>
          <cx:pt idx="56756">1</cx:pt>
          <cx:pt idx="56757">1</cx:pt>
          <cx:pt idx="56758">1</cx:pt>
          <cx:pt idx="56759">0</cx:pt>
          <cx:pt idx="56760">0</cx:pt>
          <cx:pt idx="56761">0</cx:pt>
          <cx:pt idx="56762">1</cx:pt>
          <cx:pt idx="56763">0</cx:pt>
          <cx:pt idx="56764">1</cx:pt>
          <cx:pt idx="56765">1</cx:pt>
          <cx:pt idx="56766">0</cx:pt>
          <cx:pt idx="56767">1</cx:pt>
          <cx:pt idx="56768">1</cx:pt>
          <cx:pt idx="56769">0</cx:pt>
          <cx:pt idx="56770">0</cx:pt>
          <cx:pt idx="56771">0</cx:pt>
          <cx:pt idx="56772">0</cx:pt>
          <cx:pt idx="56773">1</cx:pt>
          <cx:pt idx="56774">0</cx:pt>
          <cx:pt idx="56775">1</cx:pt>
          <cx:pt idx="56776">0</cx:pt>
          <cx:pt idx="56777">0</cx:pt>
          <cx:pt idx="56778">0</cx:pt>
          <cx:pt idx="56779">1</cx:pt>
          <cx:pt idx="56780">1</cx:pt>
          <cx:pt idx="56781">0</cx:pt>
          <cx:pt idx="56782">0</cx:pt>
          <cx:pt idx="56783">1</cx:pt>
          <cx:pt idx="56784">0</cx:pt>
          <cx:pt idx="56785">1</cx:pt>
          <cx:pt idx="56786">0</cx:pt>
          <cx:pt idx="56787">0</cx:pt>
          <cx:pt idx="56788">1</cx:pt>
          <cx:pt idx="56789">1</cx:pt>
          <cx:pt idx="56790">1</cx:pt>
          <cx:pt idx="56791">0</cx:pt>
          <cx:pt idx="56792">0</cx:pt>
          <cx:pt idx="56793">1</cx:pt>
          <cx:pt idx="56794">0</cx:pt>
          <cx:pt idx="56795">0</cx:pt>
          <cx:pt idx="56796">1</cx:pt>
          <cx:pt idx="56797">1</cx:pt>
          <cx:pt idx="56798">0</cx:pt>
          <cx:pt idx="56799">0</cx:pt>
          <cx:pt idx="56800">1</cx:pt>
          <cx:pt idx="56801">1</cx:pt>
          <cx:pt idx="56802">1</cx:pt>
          <cx:pt idx="56803">0</cx:pt>
          <cx:pt idx="56804">0</cx:pt>
          <cx:pt idx="56805">0</cx:pt>
          <cx:pt idx="56806">1</cx:pt>
          <cx:pt idx="56807">0</cx:pt>
          <cx:pt idx="56808">1</cx:pt>
          <cx:pt idx="56809">0</cx:pt>
          <cx:pt idx="56810">1</cx:pt>
          <cx:pt idx="56811">1</cx:pt>
          <cx:pt idx="56812">0</cx:pt>
          <cx:pt idx="56813">1</cx:pt>
          <cx:pt idx="56814">0</cx:pt>
          <cx:pt idx="56815">0</cx:pt>
          <cx:pt idx="56816">1</cx:pt>
          <cx:pt idx="56817">0</cx:pt>
          <cx:pt idx="56818">1</cx:pt>
          <cx:pt idx="56819">0</cx:pt>
          <cx:pt idx="56820">1</cx:pt>
          <cx:pt idx="56821">0</cx:pt>
          <cx:pt idx="56822">0</cx:pt>
          <cx:pt idx="56823">0</cx:pt>
          <cx:pt idx="56824">0</cx:pt>
          <cx:pt idx="56825">0</cx:pt>
          <cx:pt idx="56826">1</cx:pt>
          <cx:pt idx="56827">0</cx:pt>
          <cx:pt idx="56828">0</cx:pt>
          <cx:pt idx="56829">1</cx:pt>
          <cx:pt idx="56830">0</cx:pt>
          <cx:pt idx="56831">0</cx:pt>
          <cx:pt idx="56832">0</cx:pt>
          <cx:pt idx="56833">0</cx:pt>
          <cx:pt idx="56834">0</cx:pt>
          <cx:pt idx="56835">0</cx:pt>
          <cx:pt idx="56836">0</cx:pt>
          <cx:pt idx="56837">0</cx:pt>
          <cx:pt idx="56838">0</cx:pt>
          <cx:pt idx="56839">0</cx:pt>
          <cx:pt idx="56840">0</cx:pt>
          <cx:pt idx="56841">0</cx:pt>
          <cx:pt idx="56842">1</cx:pt>
          <cx:pt idx="56843">0</cx:pt>
          <cx:pt idx="56844">0</cx:pt>
          <cx:pt idx="56845">0</cx:pt>
          <cx:pt idx="56846">1</cx:pt>
          <cx:pt idx="56847">0</cx:pt>
          <cx:pt idx="56848">1</cx:pt>
          <cx:pt idx="56849">0</cx:pt>
          <cx:pt idx="56850">0</cx:pt>
          <cx:pt idx="56851">1</cx:pt>
          <cx:pt idx="56852">0</cx:pt>
          <cx:pt idx="56853">0</cx:pt>
          <cx:pt idx="56854">1</cx:pt>
          <cx:pt idx="56855">1</cx:pt>
          <cx:pt idx="56856">0</cx:pt>
          <cx:pt idx="56857">0</cx:pt>
          <cx:pt idx="56858">1</cx:pt>
          <cx:pt idx="56859">1</cx:pt>
          <cx:pt idx="56860">1</cx:pt>
          <cx:pt idx="56861">1</cx:pt>
          <cx:pt idx="56862">0</cx:pt>
          <cx:pt idx="56863">0</cx:pt>
          <cx:pt idx="56864">0</cx:pt>
          <cx:pt idx="56865">1</cx:pt>
          <cx:pt idx="56866">0</cx:pt>
          <cx:pt idx="56867">1</cx:pt>
          <cx:pt idx="56868">1</cx:pt>
          <cx:pt idx="56869">0</cx:pt>
          <cx:pt idx="56870">0</cx:pt>
          <cx:pt idx="56871">1</cx:pt>
          <cx:pt idx="56872">0</cx:pt>
          <cx:pt idx="56873">0</cx:pt>
          <cx:pt idx="56874">0</cx:pt>
          <cx:pt idx="56875">0</cx:pt>
          <cx:pt idx="56876">1</cx:pt>
          <cx:pt idx="56877">1</cx:pt>
          <cx:pt idx="56878">1</cx:pt>
          <cx:pt idx="56879">0</cx:pt>
          <cx:pt idx="56880">0</cx:pt>
          <cx:pt idx="56881">0</cx:pt>
          <cx:pt idx="56882">0</cx:pt>
          <cx:pt idx="56883">1</cx:pt>
          <cx:pt idx="56884">1</cx:pt>
          <cx:pt idx="56885">1</cx:pt>
          <cx:pt idx="56886">0</cx:pt>
          <cx:pt idx="56887">1</cx:pt>
          <cx:pt idx="56888">1</cx:pt>
          <cx:pt idx="56889">0</cx:pt>
          <cx:pt idx="56890">1</cx:pt>
          <cx:pt idx="56891">1</cx:pt>
          <cx:pt idx="56892">0</cx:pt>
          <cx:pt idx="56893">0</cx:pt>
          <cx:pt idx="56894">0</cx:pt>
          <cx:pt idx="56895">0</cx:pt>
          <cx:pt idx="56896">0</cx:pt>
          <cx:pt idx="56897">0</cx:pt>
          <cx:pt idx="56898">0</cx:pt>
          <cx:pt idx="56899">1</cx:pt>
          <cx:pt idx="56900">1</cx:pt>
          <cx:pt idx="56901">0</cx:pt>
          <cx:pt idx="56902">1</cx:pt>
          <cx:pt idx="56903">0</cx:pt>
          <cx:pt idx="56904">0</cx:pt>
          <cx:pt idx="56905">0</cx:pt>
          <cx:pt idx="56906">0</cx:pt>
          <cx:pt idx="56907">0</cx:pt>
          <cx:pt idx="56908">1</cx:pt>
          <cx:pt idx="56909">1</cx:pt>
          <cx:pt idx="56910">1</cx:pt>
          <cx:pt idx="56911">0</cx:pt>
          <cx:pt idx="56912">1</cx:pt>
          <cx:pt idx="56913">1</cx:pt>
          <cx:pt idx="56914">1</cx:pt>
          <cx:pt idx="56915">0</cx:pt>
          <cx:pt idx="56916">0</cx:pt>
          <cx:pt idx="56917">0</cx:pt>
          <cx:pt idx="56918">1</cx:pt>
          <cx:pt idx="56919">0</cx:pt>
          <cx:pt idx="56920">1</cx:pt>
          <cx:pt idx="56921">0</cx:pt>
          <cx:pt idx="56922">0</cx:pt>
          <cx:pt idx="56923">1</cx:pt>
          <cx:pt idx="56924">1</cx:pt>
          <cx:pt idx="56925">1</cx:pt>
          <cx:pt idx="56926">0</cx:pt>
          <cx:pt idx="56927">0</cx:pt>
          <cx:pt idx="56928">0</cx:pt>
          <cx:pt idx="56929">1</cx:pt>
          <cx:pt idx="56930">1</cx:pt>
          <cx:pt idx="56931">1</cx:pt>
          <cx:pt idx="56932">0</cx:pt>
          <cx:pt idx="56933">0</cx:pt>
          <cx:pt idx="56934">0</cx:pt>
          <cx:pt idx="56935">0</cx:pt>
          <cx:pt idx="56936">0</cx:pt>
          <cx:pt idx="56937">0</cx:pt>
          <cx:pt idx="56938">1</cx:pt>
          <cx:pt idx="56939">1</cx:pt>
          <cx:pt idx="56940">0</cx:pt>
          <cx:pt idx="56941">0</cx:pt>
          <cx:pt idx="56942">0</cx:pt>
          <cx:pt idx="56943">0</cx:pt>
          <cx:pt idx="56944">0</cx:pt>
          <cx:pt idx="56945">1</cx:pt>
          <cx:pt idx="56946">0</cx:pt>
          <cx:pt idx="56947">1</cx:pt>
          <cx:pt idx="56948">0</cx:pt>
          <cx:pt idx="56949">0</cx:pt>
          <cx:pt idx="56950">0</cx:pt>
          <cx:pt idx="56951">0</cx:pt>
          <cx:pt idx="56952">0</cx:pt>
          <cx:pt idx="56953">1</cx:pt>
          <cx:pt idx="56954">0</cx:pt>
          <cx:pt idx="56955">1</cx:pt>
          <cx:pt idx="56956">0</cx:pt>
          <cx:pt idx="56957">1</cx:pt>
          <cx:pt idx="56958">1</cx:pt>
          <cx:pt idx="56959">1</cx:pt>
          <cx:pt idx="56960">0</cx:pt>
          <cx:pt idx="56961">1</cx:pt>
          <cx:pt idx="56962">1</cx:pt>
          <cx:pt idx="56963">0</cx:pt>
          <cx:pt idx="56964">1</cx:pt>
          <cx:pt idx="56965">0</cx:pt>
          <cx:pt idx="56966">0</cx:pt>
          <cx:pt idx="56967">0</cx:pt>
          <cx:pt idx="56968">0</cx:pt>
          <cx:pt idx="56969">1</cx:pt>
          <cx:pt idx="56970">1</cx:pt>
          <cx:pt idx="56971">1</cx:pt>
          <cx:pt idx="56972">1</cx:pt>
          <cx:pt idx="56973">0</cx:pt>
          <cx:pt idx="56974">1</cx:pt>
          <cx:pt idx="56975">1</cx:pt>
          <cx:pt idx="56976">0</cx:pt>
          <cx:pt idx="56977">1</cx:pt>
          <cx:pt idx="56978">0</cx:pt>
          <cx:pt idx="56979">1</cx:pt>
          <cx:pt idx="56980">1</cx:pt>
          <cx:pt idx="56981">1</cx:pt>
          <cx:pt idx="56982">0</cx:pt>
          <cx:pt idx="56983">0</cx:pt>
          <cx:pt idx="56984">0</cx:pt>
          <cx:pt idx="56985">0</cx:pt>
          <cx:pt idx="56986">0</cx:pt>
          <cx:pt idx="56987">1</cx:pt>
          <cx:pt idx="56988">0</cx:pt>
          <cx:pt idx="56989">0</cx:pt>
          <cx:pt idx="56990">0</cx:pt>
          <cx:pt idx="56991">1</cx:pt>
          <cx:pt idx="56992">0</cx:pt>
          <cx:pt idx="56993">0</cx:pt>
          <cx:pt idx="56994">0</cx:pt>
          <cx:pt idx="56995">1</cx:pt>
          <cx:pt idx="56996">1</cx:pt>
          <cx:pt idx="56997">1</cx:pt>
          <cx:pt idx="56998">1</cx:pt>
          <cx:pt idx="56999">0</cx:pt>
          <cx:pt idx="57000">0</cx:pt>
          <cx:pt idx="57001">0</cx:pt>
          <cx:pt idx="57002">0</cx:pt>
          <cx:pt idx="57003">1</cx:pt>
          <cx:pt idx="57004">0</cx:pt>
          <cx:pt idx="57005">0</cx:pt>
          <cx:pt idx="57006">1</cx:pt>
          <cx:pt idx="57007">0</cx:pt>
          <cx:pt idx="57008">1</cx:pt>
          <cx:pt idx="57009">0</cx:pt>
          <cx:pt idx="57010">0</cx:pt>
          <cx:pt idx="57011">1</cx:pt>
          <cx:pt idx="57012">0</cx:pt>
          <cx:pt idx="57013">0</cx:pt>
          <cx:pt idx="57014">1</cx:pt>
          <cx:pt idx="57015">0</cx:pt>
          <cx:pt idx="57016">1</cx:pt>
          <cx:pt idx="57017">0</cx:pt>
          <cx:pt idx="57018">0</cx:pt>
          <cx:pt idx="57019">0</cx:pt>
          <cx:pt idx="57020">0</cx:pt>
          <cx:pt idx="57021">0</cx:pt>
          <cx:pt idx="57022">0</cx:pt>
          <cx:pt idx="57023">0</cx:pt>
          <cx:pt idx="57024">0</cx:pt>
          <cx:pt idx="57025">1</cx:pt>
          <cx:pt idx="57026">1</cx:pt>
          <cx:pt idx="57027">0</cx:pt>
          <cx:pt idx="57028">0</cx:pt>
          <cx:pt idx="57029">0</cx:pt>
          <cx:pt idx="57030">0</cx:pt>
          <cx:pt idx="57031">1</cx:pt>
          <cx:pt idx="57032">1</cx:pt>
          <cx:pt idx="57033">0</cx:pt>
          <cx:pt idx="57034">1</cx:pt>
          <cx:pt idx="57035">1</cx:pt>
          <cx:pt idx="57036">0</cx:pt>
          <cx:pt idx="57037">0</cx:pt>
          <cx:pt idx="57038">1</cx:pt>
          <cx:pt idx="57039">0</cx:pt>
          <cx:pt idx="57040">0</cx:pt>
          <cx:pt idx="57041">0</cx:pt>
          <cx:pt idx="57042">0</cx:pt>
          <cx:pt idx="57043">1</cx:pt>
          <cx:pt idx="57044">0</cx:pt>
          <cx:pt idx="57045">0</cx:pt>
          <cx:pt idx="57046">0</cx:pt>
          <cx:pt idx="57047">1</cx:pt>
          <cx:pt idx="57048">1</cx:pt>
          <cx:pt idx="57049">0</cx:pt>
          <cx:pt idx="57050">0</cx:pt>
          <cx:pt idx="57051">1</cx:pt>
          <cx:pt idx="57052">0</cx:pt>
          <cx:pt idx="57053">1</cx:pt>
          <cx:pt idx="57054">1</cx:pt>
          <cx:pt idx="57055">1</cx:pt>
          <cx:pt idx="57056">1</cx:pt>
          <cx:pt idx="57057">1</cx:pt>
          <cx:pt idx="57058">1</cx:pt>
          <cx:pt idx="57059">0</cx:pt>
          <cx:pt idx="57060">1</cx:pt>
          <cx:pt idx="57061">0</cx:pt>
          <cx:pt idx="57062">0</cx:pt>
          <cx:pt idx="57063">1</cx:pt>
          <cx:pt idx="57064">0</cx:pt>
          <cx:pt idx="57065">1</cx:pt>
          <cx:pt idx="57066">1</cx:pt>
          <cx:pt idx="57067">1</cx:pt>
          <cx:pt idx="57068">0</cx:pt>
          <cx:pt idx="57069">1</cx:pt>
          <cx:pt idx="57070">0</cx:pt>
          <cx:pt idx="57071">1</cx:pt>
          <cx:pt idx="57072">0</cx:pt>
          <cx:pt idx="57073">1</cx:pt>
          <cx:pt idx="57074">0</cx:pt>
          <cx:pt idx="57075">1</cx:pt>
          <cx:pt idx="57076">0</cx:pt>
          <cx:pt idx="57077">1</cx:pt>
          <cx:pt idx="57078">1</cx:pt>
          <cx:pt idx="57079">0</cx:pt>
          <cx:pt idx="57080">1</cx:pt>
          <cx:pt idx="57081">0</cx:pt>
          <cx:pt idx="57082">0</cx:pt>
          <cx:pt idx="57083">0</cx:pt>
          <cx:pt idx="57084">0</cx:pt>
          <cx:pt idx="57085">1</cx:pt>
          <cx:pt idx="57086">0</cx:pt>
          <cx:pt idx="57087">1</cx:pt>
          <cx:pt idx="57088">1</cx:pt>
          <cx:pt idx="57089">1</cx:pt>
          <cx:pt idx="57090">0</cx:pt>
          <cx:pt idx="57091">0</cx:pt>
          <cx:pt idx="57092">0</cx:pt>
          <cx:pt idx="57093">0</cx:pt>
          <cx:pt idx="57094">0</cx:pt>
          <cx:pt idx="57095">0</cx:pt>
          <cx:pt idx="57096">0</cx:pt>
          <cx:pt idx="57097">1</cx:pt>
          <cx:pt idx="57098">1</cx:pt>
          <cx:pt idx="57099">1</cx:pt>
          <cx:pt idx="57100">1</cx:pt>
          <cx:pt idx="57101">1</cx:pt>
          <cx:pt idx="57102">0</cx:pt>
          <cx:pt idx="57103">0</cx:pt>
          <cx:pt idx="57104">1</cx:pt>
          <cx:pt idx="57105">1</cx:pt>
          <cx:pt idx="57106">1</cx:pt>
          <cx:pt idx="57107">0</cx:pt>
          <cx:pt idx="57108">0</cx:pt>
          <cx:pt idx="57109">0</cx:pt>
          <cx:pt idx="57110">1</cx:pt>
          <cx:pt idx="57111">0</cx:pt>
          <cx:pt idx="57112">1</cx:pt>
          <cx:pt idx="57113">0</cx:pt>
          <cx:pt idx="57114">0</cx:pt>
          <cx:pt idx="57115">0</cx:pt>
          <cx:pt idx="57116">1</cx:pt>
          <cx:pt idx="57117">0</cx:pt>
          <cx:pt idx="57118">0</cx:pt>
          <cx:pt idx="57119">0</cx:pt>
          <cx:pt idx="57120">1</cx:pt>
          <cx:pt idx="57121">0</cx:pt>
          <cx:pt idx="57122">0</cx:pt>
          <cx:pt idx="57123">1</cx:pt>
          <cx:pt idx="57124">1</cx:pt>
          <cx:pt idx="57125">0</cx:pt>
          <cx:pt idx="57126">1</cx:pt>
          <cx:pt idx="57127">1</cx:pt>
          <cx:pt idx="57128">0</cx:pt>
          <cx:pt idx="57129">0</cx:pt>
          <cx:pt idx="57130">1</cx:pt>
          <cx:pt idx="57131">0</cx:pt>
          <cx:pt idx="57132">1</cx:pt>
          <cx:pt idx="57133">0</cx:pt>
          <cx:pt idx="57134">1</cx:pt>
          <cx:pt idx="57135">1</cx:pt>
          <cx:pt idx="57136">0</cx:pt>
          <cx:pt idx="57137">0</cx:pt>
          <cx:pt idx="57138">0</cx:pt>
          <cx:pt idx="57139">0</cx:pt>
          <cx:pt idx="57140">1</cx:pt>
          <cx:pt idx="57141">0</cx:pt>
          <cx:pt idx="57142">0</cx:pt>
          <cx:pt idx="57143">1</cx:pt>
          <cx:pt idx="57144">0</cx:pt>
          <cx:pt idx="57145">0</cx:pt>
          <cx:pt idx="57146">1</cx:pt>
          <cx:pt idx="57147">0</cx:pt>
          <cx:pt idx="57148">1</cx:pt>
          <cx:pt idx="57149">0</cx:pt>
          <cx:pt idx="57150">0</cx:pt>
          <cx:pt idx="57151">0</cx:pt>
          <cx:pt idx="57152">0</cx:pt>
          <cx:pt idx="57153">0</cx:pt>
          <cx:pt idx="57154">0</cx:pt>
          <cx:pt idx="57155">0</cx:pt>
          <cx:pt idx="57156">1</cx:pt>
          <cx:pt idx="57157">1</cx:pt>
          <cx:pt idx="57158">0</cx:pt>
          <cx:pt idx="57159">0</cx:pt>
          <cx:pt idx="57160">1</cx:pt>
          <cx:pt idx="57161">0</cx:pt>
          <cx:pt idx="57162">1</cx:pt>
          <cx:pt idx="57163">1</cx:pt>
          <cx:pt idx="57164">1</cx:pt>
          <cx:pt idx="57165">0</cx:pt>
          <cx:pt idx="57166">1</cx:pt>
          <cx:pt idx="57167">0</cx:pt>
          <cx:pt idx="57168">0</cx:pt>
          <cx:pt idx="57169">0</cx:pt>
          <cx:pt idx="57170">1</cx:pt>
          <cx:pt idx="57171">0</cx:pt>
          <cx:pt idx="57172">1</cx:pt>
          <cx:pt idx="57173">1</cx:pt>
          <cx:pt idx="57174">1</cx:pt>
          <cx:pt idx="57175">0</cx:pt>
          <cx:pt idx="57176">0</cx:pt>
          <cx:pt idx="57177">0</cx:pt>
          <cx:pt idx="57178">0</cx:pt>
          <cx:pt idx="57179">0</cx:pt>
          <cx:pt idx="57180">1</cx:pt>
          <cx:pt idx="57181">1</cx:pt>
          <cx:pt idx="57182">1</cx:pt>
          <cx:pt idx="57183">1</cx:pt>
          <cx:pt idx="57184">0</cx:pt>
          <cx:pt idx="57185">1</cx:pt>
          <cx:pt idx="57186">1</cx:pt>
          <cx:pt idx="57187">1</cx:pt>
          <cx:pt idx="57188">0</cx:pt>
          <cx:pt idx="57189">1</cx:pt>
          <cx:pt idx="57190">0</cx:pt>
          <cx:pt idx="57191">1</cx:pt>
          <cx:pt idx="57192">0</cx:pt>
          <cx:pt idx="57193">1</cx:pt>
          <cx:pt idx="57194">1</cx:pt>
          <cx:pt idx="57195">0</cx:pt>
          <cx:pt idx="57196">0</cx:pt>
          <cx:pt idx="57197">1</cx:pt>
          <cx:pt idx="57198">1</cx:pt>
          <cx:pt idx="57199">0</cx:pt>
          <cx:pt idx="57200">0</cx:pt>
          <cx:pt idx="57201">1</cx:pt>
          <cx:pt idx="57202">1</cx:pt>
          <cx:pt idx="57203">0</cx:pt>
          <cx:pt idx="57204">0</cx:pt>
          <cx:pt idx="57205">0</cx:pt>
          <cx:pt idx="57206">0</cx:pt>
          <cx:pt idx="57207">0</cx:pt>
          <cx:pt idx="57208">0</cx:pt>
          <cx:pt idx="57209">0</cx:pt>
          <cx:pt idx="57210">1</cx:pt>
          <cx:pt idx="57211">0</cx:pt>
          <cx:pt idx="57212">0</cx:pt>
          <cx:pt idx="57213">1</cx:pt>
          <cx:pt idx="57214">0</cx:pt>
          <cx:pt idx="57215">0</cx:pt>
          <cx:pt idx="57216">1</cx:pt>
          <cx:pt idx="57217">1</cx:pt>
          <cx:pt idx="57218">1</cx:pt>
          <cx:pt idx="57219">0</cx:pt>
          <cx:pt idx="57220">0</cx:pt>
          <cx:pt idx="57221">1</cx:pt>
          <cx:pt idx="57222">0</cx:pt>
          <cx:pt idx="57223">1</cx:pt>
          <cx:pt idx="57224">1</cx:pt>
          <cx:pt idx="57225">1</cx:pt>
          <cx:pt idx="57226">0</cx:pt>
          <cx:pt idx="57227">1</cx:pt>
          <cx:pt idx="57228">0</cx:pt>
          <cx:pt idx="57229">0</cx:pt>
          <cx:pt idx="57230">0</cx:pt>
          <cx:pt idx="57231">1</cx:pt>
          <cx:pt idx="57232">1</cx:pt>
          <cx:pt idx="57233">1</cx:pt>
          <cx:pt idx="57234">0</cx:pt>
          <cx:pt idx="57235">0</cx:pt>
          <cx:pt idx="57236">1</cx:pt>
          <cx:pt idx="57237">0</cx:pt>
          <cx:pt idx="57238">0</cx:pt>
          <cx:pt idx="57239">0</cx:pt>
          <cx:pt idx="57240">1</cx:pt>
          <cx:pt idx="57241">1</cx:pt>
          <cx:pt idx="57242">1</cx:pt>
          <cx:pt idx="57243">0</cx:pt>
          <cx:pt idx="57244">0</cx:pt>
          <cx:pt idx="57245">0</cx:pt>
          <cx:pt idx="57246">1</cx:pt>
          <cx:pt idx="57247">1</cx:pt>
          <cx:pt idx="57248">0</cx:pt>
          <cx:pt idx="57249">0</cx:pt>
          <cx:pt idx="57250">1</cx:pt>
          <cx:pt idx="57251">1</cx:pt>
          <cx:pt idx="57252">0</cx:pt>
          <cx:pt idx="57253">0</cx:pt>
          <cx:pt idx="57254">0</cx:pt>
          <cx:pt idx="57255">1</cx:pt>
          <cx:pt idx="57256">0</cx:pt>
          <cx:pt idx="57257">1</cx:pt>
          <cx:pt idx="57258">1</cx:pt>
          <cx:pt idx="57259">0</cx:pt>
          <cx:pt idx="57260">0</cx:pt>
          <cx:pt idx="57261">1</cx:pt>
          <cx:pt idx="57262">0</cx:pt>
          <cx:pt idx="57263">0</cx:pt>
          <cx:pt idx="57264">1</cx:pt>
          <cx:pt idx="57265">1</cx:pt>
          <cx:pt idx="57266">1</cx:pt>
          <cx:pt idx="57267">0</cx:pt>
          <cx:pt idx="57268">0</cx:pt>
          <cx:pt idx="57269">1</cx:pt>
          <cx:pt idx="57270">0</cx:pt>
          <cx:pt idx="57271">0</cx:pt>
          <cx:pt idx="57272">0</cx:pt>
          <cx:pt idx="57273">1</cx:pt>
          <cx:pt idx="57274">1</cx:pt>
          <cx:pt idx="57275">0</cx:pt>
          <cx:pt idx="57276">0</cx:pt>
          <cx:pt idx="57277">0</cx:pt>
          <cx:pt idx="57278">0</cx:pt>
          <cx:pt idx="57279">0</cx:pt>
          <cx:pt idx="57280">1</cx:pt>
          <cx:pt idx="57281">0</cx:pt>
          <cx:pt idx="57282">1</cx:pt>
          <cx:pt idx="57283">0</cx:pt>
          <cx:pt idx="57284">0</cx:pt>
          <cx:pt idx="57285">0</cx:pt>
          <cx:pt idx="57286">1</cx:pt>
          <cx:pt idx="57287">1</cx:pt>
          <cx:pt idx="57288">0</cx:pt>
          <cx:pt idx="57289">0</cx:pt>
          <cx:pt idx="57290">1</cx:pt>
          <cx:pt idx="57291">0</cx:pt>
          <cx:pt idx="57292">0</cx:pt>
          <cx:pt idx="57293">1</cx:pt>
          <cx:pt idx="57294">0</cx:pt>
          <cx:pt idx="57295">0</cx:pt>
          <cx:pt idx="57296">0</cx:pt>
          <cx:pt idx="57297">1</cx:pt>
          <cx:pt idx="57298">0</cx:pt>
          <cx:pt idx="57299">0</cx:pt>
          <cx:pt idx="57300">0</cx:pt>
          <cx:pt idx="57301">1</cx:pt>
          <cx:pt idx="57302">0</cx:pt>
          <cx:pt idx="57303">0</cx:pt>
          <cx:pt idx="57304">1</cx:pt>
          <cx:pt idx="57305">1</cx:pt>
          <cx:pt idx="57306">0</cx:pt>
          <cx:pt idx="57307">1</cx:pt>
          <cx:pt idx="57308">0</cx:pt>
          <cx:pt idx="57309">0</cx:pt>
          <cx:pt idx="57310">1</cx:pt>
          <cx:pt idx="57311">0</cx:pt>
          <cx:pt idx="57312">1</cx:pt>
          <cx:pt idx="57313">0</cx:pt>
          <cx:pt idx="57314">1</cx:pt>
          <cx:pt idx="57315">0</cx:pt>
          <cx:pt idx="57316">0</cx:pt>
          <cx:pt idx="57317">0</cx:pt>
          <cx:pt idx="57318">1</cx:pt>
          <cx:pt idx="57319">0</cx:pt>
          <cx:pt idx="57320">1</cx:pt>
          <cx:pt idx="57321">1</cx:pt>
          <cx:pt idx="57322">0</cx:pt>
          <cx:pt idx="57323">1</cx:pt>
          <cx:pt idx="57324">0</cx:pt>
          <cx:pt idx="57325">1</cx:pt>
          <cx:pt idx="57326">1</cx:pt>
          <cx:pt idx="57327">0</cx:pt>
          <cx:pt idx="57328">1</cx:pt>
          <cx:pt idx="57329">0</cx:pt>
          <cx:pt idx="57330">1</cx:pt>
          <cx:pt idx="57331">0</cx:pt>
          <cx:pt idx="57332">0</cx:pt>
          <cx:pt idx="57333">1</cx:pt>
          <cx:pt idx="57334">0</cx:pt>
          <cx:pt idx="57335">0</cx:pt>
          <cx:pt idx="57336">1</cx:pt>
          <cx:pt idx="57337">0</cx:pt>
          <cx:pt idx="57338">1</cx:pt>
          <cx:pt idx="57339">1</cx:pt>
          <cx:pt idx="57340">1</cx:pt>
          <cx:pt idx="57341">1</cx:pt>
          <cx:pt idx="57342">1</cx:pt>
          <cx:pt idx="57343">0</cx:pt>
          <cx:pt idx="57344">0</cx:pt>
          <cx:pt idx="57345">0</cx:pt>
          <cx:pt idx="57346">0</cx:pt>
          <cx:pt idx="57347">0</cx:pt>
          <cx:pt idx="57348">1</cx:pt>
          <cx:pt idx="57349">1</cx:pt>
          <cx:pt idx="57350">0</cx:pt>
          <cx:pt idx="57351">0</cx:pt>
          <cx:pt idx="57352">1</cx:pt>
          <cx:pt idx="57353">0</cx:pt>
          <cx:pt idx="57354">0</cx:pt>
          <cx:pt idx="57355">1</cx:pt>
          <cx:pt idx="57356">1</cx:pt>
          <cx:pt idx="57357">0</cx:pt>
          <cx:pt idx="57358">0</cx:pt>
          <cx:pt idx="57359">1</cx:pt>
          <cx:pt idx="57360">0</cx:pt>
          <cx:pt idx="57361">0</cx:pt>
          <cx:pt idx="57362">0</cx:pt>
          <cx:pt idx="57363">1</cx:pt>
          <cx:pt idx="57364">1</cx:pt>
          <cx:pt idx="57365">0</cx:pt>
          <cx:pt idx="57366">0</cx:pt>
          <cx:pt idx="57367">1</cx:pt>
          <cx:pt idx="57368">0</cx:pt>
          <cx:pt idx="57369">1</cx:pt>
          <cx:pt idx="57370">0</cx:pt>
          <cx:pt idx="57371">0</cx:pt>
          <cx:pt idx="57372">0</cx:pt>
          <cx:pt idx="57373">0</cx:pt>
          <cx:pt idx="57374">0</cx:pt>
          <cx:pt idx="57375">1</cx:pt>
          <cx:pt idx="57376">0</cx:pt>
          <cx:pt idx="57377">0</cx:pt>
          <cx:pt idx="57378">0</cx:pt>
          <cx:pt idx="57379">0</cx:pt>
          <cx:pt idx="57380">1</cx:pt>
          <cx:pt idx="57381">1</cx:pt>
          <cx:pt idx="57382">0</cx:pt>
          <cx:pt idx="57383">0</cx:pt>
          <cx:pt idx="57384">0</cx:pt>
          <cx:pt idx="57385">1</cx:pt>
          <cx:pt idx="57386">0</cx:pt>
          <cx:pt idx="57387">0</cx:pt>
          <cx:pt idx="57388">0</cx:pt>
          <cx:pt idx="57389">0</cx:pt>
          <cx:pt idx="57390">0</cx:pt>
          <cx:pt idx="57391">0</cx:pt>
          <cx:pt idx="57392">0</cx:pt>
          <cx:pt idx="57393">1</cx:pt>
          <cx:pt idx="57394">0</cx:pt>
          <cx:pt idx="57395">1</cx:pt>
          <cx:pt idx="57396">1</cx:pt>
          <cx:pt idx="57397">0</cx:pt>
          <cx:pt idx="57398">1</cx:pt>
          <cx:pt idx="57399">1</cx:pt>
          <cx:pt idx="57400">1</cx:pt>
          <cx:pt idx="57401">1</cx:pt>
          <cx:pt idx="57402">0</cx:pt>
          <cx:pt idx="57403">1</cx:pt>
          <cx:pt idx="57404">1</cx:pt>
          <cx:pt idx="57405">0</cx:pt>
          <cx:pt idx="57406">0</cx:pt>
          <cx:pt idx="57407">0</cx:pt>
          <cx:pt idx="57408">1</cx:pt>
          <cx:pt idx="57409">0</cx:pt>
          <cx:pt idx="57410">1</cx:pt>
          <cx:pt idx="57411">1</cx:pt>
          <cx:pt idx="57412">0</cx:pt>
          <cx:pt idx="57413">0</cx:pt>
          <cx:pt idx="57414">1</cx:pt>
          <cx:pt idx="57415">0</cx:pt>
          <cx:pt idx="57416">0</cx:pt>
          <cx:pt idx="57417">0</cx:pt>
          <cx:pt idx="57418">0</cx:pt>
          <cx:pt idx="57419">1</cx:pt>
          <cx:pt idx="57420">0</cx:pt>
          <cx:pt idx="57421">1</cx:pt>
          <cx:pt idx="57422">0</cx:pt>
          <cx:pt idx="57423">1</cx:pt>
          <cx:pt idx="57424">0</cx:pt>
          <cx:pt idx="57425">1</cx:pt>
          <cx:pt idx="57426">1</cx:pt>
          <cx:pt idx="57427">0</cx:pt>
          <cx:pt idx="57428">0</cx:pt>
          <cx:pt idx="57429">0</cx:pt>
          <cx:pt idx="57430">0</cx:pt>
          <cx:pt idx="57431">1</cx:pt>
          <cx:pt idx="57432">0</cx:pt>
          <cx:pt idx="57433">0</cx:pt>
          <cx:pt idx="57434">1</cx:pt>
          <cx:pt idx="57435">0</cx:pt>
          <cx:pt idx="57436">0</cx:pt>
          <cx:pt idx="57437">0</cx:pt>
          <cx:pt idx="57438">1</cx:pt>
          <cx:pt idx="57439">0</cx:pt>
          <cx:pt idx="57440">1</cx:pt>
          <cx:pt idx="57441">0</cx:pt>
          <cx:pt idx="57442">1</cx:pt>
          <cx:pt idx="57443">0</cx:pt>
          <cx:pt idx="57444">1</cx:pt>
          <cx:pt idx="57445">1</cx:pt>
          <cx:pt idx="57446">1</cx:pt>
          <cx:pt idx="57447">1</cx:pt>
          <cx:pt idx="57448">1</cx:pt>
          <cx:pt idx="57449">1</cx:pt>
          <cx:pt idx="57450">0</cx:pt>
          <cx:pt idx="57451">1</cx:pt>
          <cx:pt idx="57452">0</cx:pt>
          <cx:pt idx="57453">1</cx:pt>
          <cx:pt idx="57454">1</cx:pt>
          <cx:pt idx="57455">0</cx:pt>
          <cx:pt idx="57456">1</cx:pt>
          <cx:pt idx="57457">0</cx:pt>
          <cx:pt idx="57458">1</cx:pt>
          <cx:pt idx="57459">0</cx:pt>
          <cx:pt idx="57460">0</cx:pt>
          <cx:pt idx="57461">0</cx:pt>
          <cx:pt idx="57462">1</cx:pt>
          <cx:pt idx="57463">1</cx:pt>
          <cx:pt idx="57464">0</cx:pt>
          <cx:pt idx="57465">0</cx:pt>
          <cx:pt idx="57466">0</cx:pt>
          <cx:pt idx="57467">0</cx:pt>
          <cx:pt idx="57468">1</cx:pt>
          <cx:pt idx="57469">1</cx:pt>
          <cx:pt idx="57470">0</cx:pt>
          <cx:pt idx="57471">1</cx:pt>
          <cx:pt idx="57472">0</cx:pt>
          <cx:pt idx="57473">0</cx:pt>
          <cx:pt idx="57474">1</cx:pt>
          <cx:pt idx="57475">0</cx:pt>
          <cx:pt idx="57476">1</cx:pt>
          <cx:pt idx="57477">0</cx:pt>
          <cx:pt idx="57478">1</cx:pt>
          <cx:pt idx="57479">0</cx:pt>
          <cx:pt idx="57480">0</cx:pt>
          <cx:pt idx="57481">0</cx:pt>
          <cx:pt idx="57482">1</cx:pt>
          <cx:pt idx="57483">1</cx:pt>
          <cx:pt idx="57484">0</cx:pt>
          <cx:pt idx="57485">1</cx:pt>
          <cx:pt idx="57486">1</cx:pt>
          <cx:pt idx="57487">0</cx:pt>
          <cx:pt idx="57488">1</cx:pt>
          <cx:pt idx="57489">1</cx:pt>
          <cx:pt idx="57490">1</cx:pt>
          <cx:pt idx="57491">0</cx:pt>
          <cx:pt idx="57492">1</cx:pt>
          <cx:pt idx="57493">0</cx:pt>
          <cx:pt idx="57494">0</cx:pt>
          <cx:pt idx="57495">0</cx:pt>
          <cx:pt idx="57496">0</cx:pt>
          <cx:pt idx="57497">0</cx:pt>
          <cx:pt idx="57498">0</cx:pt>
          <cx:pt idx="57499">0</cx:pt>
          <cx:pt idx="57500">0</cx:pt>
          <cx:pt idx="57501">1</cx:pt>
          <cx:pt idx="57502">1</cx:pt>
          <cx:pt idx="57503">1</cx:pt>
          <cx:pt idx="57504">0</cx:pt>
          <cx:pt idx="57505">0</cx:pt>
          <cx:pt idx="57506">0</cx:pt>
          <cx:pt idx="57507">0</cx:pt>
          <cx:pt idx="57508">0</cx:pt>
          <cx:pt idx="57509">1</cx:pt>
          <cx:pt idx="57510">0</cx:pt>
          <cx:pt idx="57511">1</cx:pt>
          <cx:pt idx="57512">1</cx:pt>
          <cx:pt idx="57513">1</cx:pt>
          <cx:pt idx="57514">0</cx:pt>
          <cx:pt idx="57515">0</cx:pt>
          <cx:pt idx="57516">1</cx:pt>
          <cx:pt idx="57517">1</cx:pt>
          <cx:pt idx="57518">0</cx:pt>
          <cx:pt idx="57519">0</cx:pt>
          <cx:pt idx="57520">0</cx:pt>
          <cx:pt idx="57521">1</cx:pt>
          <cx:pt idx="57522">0</cx:pt>
          <cx:pt idx="57523">0</cx:pt>
          <cx:pt idx="57524">1</cx:pt>
          <cx:pt idx="57525">0</cx:pt>
          <cx:pt idx="57526">0</cx:pt>
          <cx:pt idx="57527">0</cx:pt>
          <cx:pt idx="57528">1</cx:pt>
          <cx:pt idx="57529">1</cx:pt>
          <cx:pt idx="57530">0</cx:pt>
          <cx:pt idx="57531">0</cx:pt>
          <cx:pt idx="57532">1</cx:pt>
          <cx:pt idx="57533">1</cx:pt>
          <cx:pt idx="57534">1</cx:pt>
          <cx:pt idx="57535">1</cx:pt>
          <cx:pt idx="57536">0</cx:pt>
          <cx:pt idx="57537">1</cx:pt>
          <cx:pt idx="57538">0</cx:pt>
          <cx:pt idx="57539">0</cx:pt>
          <cx:pt idx="57540">1</cx:pt>
          <cx:pt idx="57541">0</cx:pt>
          <cx:pt idx="57542">1</cx:pt>
          <cx:pt idx="57543">1</cx:pt>
          <cx:pt idx="57544">0</cx:pt>
          <cx:pt idx="57545">0</cx:pt>
          <cx:pt idx="57546">1</cx:pt>
          <cx:pt idx="57547">0</cx:pt>
          <cx:pt idx="57548">0</cx:pt>
          <cx:pt idx="57549">0</cx:pt>
          <cx:pt idx="57550">1</cx:pt>
          <cx:pt idx="57551">1</cx:pt>
          <cx:pt idx="57552">0</cx:pt>
          <cx:pt idx="57553">1</cx:pt>
          <cx:pt idx="57554">0</cx:pt>
          <cx:pt idx="57555">1</cx:pt>
          <cx:pt idx="57556">1</cx:pt>
          <cx:pt idx="57557">0</cx:pt>
          <cx:pt idx="57558">0</cx:pt>
          <cx:pt idx="57559">0</cx:pt>
          <cx:pt idx="57560">1</cx:pt>
          <cx:pt idx="57561">0</cx:pt>
          <cx:pt idx="57562">0</cx:pt>
          <cx:pt idx="57563">0</cx:pt>
          <cx:pt idx="57564">0</cx:pt>
          <cx:pt idx="57565">1</cx:pt>
          <cx:pt idx="57566">0</cx:pt>
          <cx:pt idx="57567">0</cx:pt>
          <cx:pt idx="57568">1</cx:pt>
          <cx:pt idx="57569">1</cx:pt>
          <cx:pt idx="57570">0</cx:pt>
          <cx:pt idx="57571">0</cx:pt>
          <cx:pt idx="57572">0</cx:pt>
          <cx:pt idx="57573">1</cx:pt>
          <cx:pt idx="57574">0</cx:pt>
          <cx:pt idx="57575">1</cx:pt>
          <cx:pt idx="57576">0</cx:pt>
          <cx:pt idx="57577">0</cx:pt>
          <cx:pt idx="57578">0</cx:pt>
          <cx:pt idx="57579">0</cx:pt>
          <cx:pt idx="57580">0</cx:pt>
          <cx:pt idx="57581">1</cx:pt>
          <cx:pt idx="57582">0</cx:pt>
          <cx:pt idx="57583">0</cx:pt>
          <cx:pt idx="57584">1</cx:pt>
          <cx:pt idx="57585">0</cx:pt>
          <cx:pt idx="57586">0</cx:pt>
          <cx:pt idx="57587">0</cx:pt>
          <cx:pt idx="57588">0</cx:pt>
          <cx:pt idx="57589">0</cx:pt>
          <cx:pt idx="57590">1</cx:pt>
          <cx:pt idx="57591">0</cx:pt>
          <cx:pt idx="57592">0</cx:pt>
          <cx:pt idx="57593">0</cx:pt>
          <cx:pt idx="57594">0</cx:pt>
          <cx:pt idx="57595">1</cx:pt>
          <cx:pt idx="57596">0</cx:pt>
          <cx:pt idx="57597">1</cx:pt>
          <cx:pt idx="57598">0</cx:pt>
          <cx:pt idx="57599">0</cx:pt>
          <cx:pt idx="57600">0</cx:pt>
          <cx:pt idx="57601">1</cx:pt>
          <cx:pt idx="57602">1</cx:pt>
          <cx:pt idx="57603">0</cx:pt>
          <cx:pt idx="57604">1</cx:pt>
          <cx:pt idx="57605">1</cx:pt>
          <cx:pt idx="57606">1</cx:pt>
          <cx:pt idx="57607">1</cx:pt>
          <cx:pt idx="57608">0</cx:pt>
          <cx:pt idx="57609">0</cx:pt>
          <cx:pt idx="57610">0</cx:pt>
          <cx:pt idx="57611">1</cx:pt>
          <cx:pt idx="57612">1</cx:pt>
          <cx:pt idx="57613">0</cx:pt>
          <cx:pt idx="57614">0</cx:pt>
          <cx:pt idx="57615">1</cx:pt>
          <cx:pt idx="57616">1</cx:pt>
          <cx:pt idx="57617">0</cx:pt>
          <cx:pt idx="57618">0</cx:pt>
          <cx:pt idx="57619">0</cx:pt>
          <cx:pt idx="57620">0</cx:pt>
          <cx:pt idx="57621">0</cx:pt>
          <cx:pt idx="57622">0</cx:pt>
          <cx:pt idx="57623">1</cx:pt>
          <cx:pt idx="57624">1</cx:pt>
          <cx:pt idx="57625">1</cx:pt>
          <cx:pt idx="57626">1</cx:pt>
          <cx:pt idx="57627">1</cx:pt>
          <cx:pt idx="57628">0</cx:pt>
          <cx:pt idx="57629">1</cx:pt>
          <cx:pt idx="57630">0</cx:pt>
          <cx:pt idx="57631">1</cx:pt>
          <cx:pt idx="57632">0</cx:pt>
          <cx:pt idx="57633">1</cx:pt>
          <cx:pt idx="57634">1</cx:pt>
          <cx:pt idx="57635">1</cx:pt>
          <cx:pt idx="57636">0</cx:pt>
          <cx:pt idx="57637">1</cx:pt>
          <cx:pt idx="57638">0</cx:pt>
          <cx:pt idx="57639">0</cx:pt>
          <cx:pt idx="57640">0</cx:pt>
          <cx:pt idx="57641">0</cx:pt>
          <cx:pt idx="57642">1</cx:pt>
          <cx:pt idx="57643">0</cx:pt>
          <cx:pt idx="57644">1</cx:pt>
          <cx:pt idx="57645">1</cx:pt>
          <cx:pt idx="57646">1</cx:pt>
          <cx:pt idx="57647">0</cx:pt>
          <cx:pt idx="57648">1</cx:pt>
          <cx:pt idx="57649">0</cx:pt>
          <cx:pt idx="57650">0</cx:pt>
          <cx:pt idx="57651">0</cx:pt>
          <cx:pt idx="57652">0</cx:pt>
          <cx:pt idx="57653">0</cx:pt>
          <cx:pt idx="57654">1</cx:pt>
          <cx:pt idx="57655">0</cx:pt>
          <cx:pt idx="57656">1</cx:pt>
          <cx:pt idx="57657">1</cx:pt>
          <cx:pt idx="57658">0</cx:pt>
          <cx:pt idx="57659">1</cx:pt>
          <cx:pt idx="57660">1</cx:pt>
          <cx:pt idx="57661">0</cx:pt>
          <cx:pt idx="57662">1</cx:pt>
          <cx:pt idx="57663">0</cx:pt>
          <cx:pt idx="57664">1</cx:pt>
          <cx:pt idx="57665">0</cx:pt>
          <cx:pt idx="57666">0</cx:pt>
          <cx:pt idx="57667">1</cx:pt>
          <cx:pt idx="57668">0</cx:pt>
          <cx:pt idx="57669">0</cx:pt>
          <cx:pt idx="57670">1</cx:pt>
          <cx:pt idx="57671">0</cx:pt>
          <cx:pt idx="57672">1</cx:pt>
          <cx:pt idx="57673">1</cx:pt>
          <cx:pt idx="57674">0</cx:pt>
          <cx:pt idx="57675">1</cx:pt>
          <cx:pt idx="57676">0</cx:pt>
          <cx:pt idx="57677">0</cx:pt>
          <cx:pt idx="57678">0</cx:pt>
          <cx:pt idx="57679">0</cx:pt>
          <cx:pt idx="57680">1</cx:pt>
          <cx:pt idx="57681">1</cx:pt>
          <cx:pt idx="57682">1</cx:pt>
          <cx:pt idx="57683">1</cx:pt>
          <cx:pt idx="57684">1</cx:pt>
          <cx:pt idx="57685">1</cx:pt>
          <cx:pt idx="57686">0</cx:pt>
          <cx:pt idx="57687">1</cx:pt>
          <cx:pt idx="57688">1</cx:pt>
          <cx:pt idx="57689">1</cx:pt>
          <cx:pt idx="57690">1</cx:pt>
          <cx:pt idx="57691">0</cx:pt>
          <cx:pt idx="57692">1</cx:pt>
          <cx:pt idx="57693">0</cx:pt>
          <cx:pt idx="57694">0</cx:pt>
          <cx:pt idx="57695">0</cx:pt>
          <cx:pt idx="57696">0</cx:pt>
          <cx:pt idx="57697">0</cx:pt>
          <cx:pt idx="57698">0</cx:pt>
          <cx:pt idx="57699">0</cx:pt>
          <cx:pt idx="57700">0</cx:pt>
          <cx:pt idx="57701">1</cx:pt>
          <cx:pt idx="57702">0</cx:pt>
          <cx:pt idx="57703">0</cx:pt>
          <cx:pt idx="57704">1</cx:pt>
          <cx:pt idx="57705">1</cx:pt>
          <cx:pt idx="57706">1</cx:pt>
          <cx:pt idx="57707">0</cx:pt>
          <cx:pt idx="57708">0</cx:pt>
          <cx:pt idx="57709">0</cx:pt>
          <cx:pt idx="57710">0</cx:pt>
          <cx:pt idx="57711">1</cx:pt>
          <cx:pt idx="57712">1</cx:pt>
          <cx:pt idx="57713">0</cx:pt>
          <cx:pt idx="57714">0</cx:pt>
          <cx:pt idx="57715">1</cx:pt>
          <cx:pt idx="57716">1</cx:pt>
          <cx:pt idx="57717">1</cx:pt>
          <cx:pt idx="57718">0</cx:pt>
          <cx:pt idx="57719">0</cx:pt>
          <cx:pt idx="57720">0</cx:pt>
          <cx:pt idx="57721">0</cx:pt>
          <cx:pt idx="57722">0</cx:pt>
          <cx:pt idx="57723">0</cx:pt>
          <cx:pt idx="57724">1</cx:pt>
          <cx:pt idx="57725">0</cx:pt>
          <cx:pt idx="57726">1</cx:pt>
          <cx:pt idx="57727">0</cx:pt>
          <cx:pt idx="57728">0</cx:pt>
          <cx:pt idx="57729">1</cx:pt>
          <cx:pt idx="57730">0</cx:pt>
          <cx:pt idx="57731">0</cx:pt>
          <cx:pt idx="57732">1</cx:pt>
          <cx:pt idx="57733">0</cx:pt>
          <cx:pt idx="57734">1</cx:pt>
          <cx:pt idx="57735">1</cx:pt>
          <cx:pt idx="57736">0</cx:pt>
          <cx:pt idx="57737">1</cx:pt>
          <cx:pt idx="57738">1</cx:pt>
          <cx:pt idx="57739">0</cx:pt>
          <cx:pt idx="57740">0</cx:pt>
          <cx:pt idx="57741">0</cx:pt>
          <cx:pt idx="57742">1</cx:pt>
          <cx:pt idx="57743">1</cx:pt>
          <cx:pt idx="57744">0</cx:pt>
          <cx:pt idx="57745">1</cx:pt>
          <cx:pt idx="57746">1</cx:pt>
          <cx:pt idx="57747">1</cx:pt>
          <cx:pt idx="57748">1</cx:pt>
          <cx:pt idx="57749">1</cx:pt>
          <cx:pt idx="57750">0</cx:pt>
          <cx:pt idx="57751">0</cx:pt>
          <cx:pt idx="57752">0</cx:pt>
          <cx:pt idx="57753">0</cx:pt>
          <cx:pt idx="57754">0</cx:pt>
          <cx:pt idx="57755">0</cx:pt>
          <cx:pt idx="57756">0</cx:pt>
          <cx:pt idx="57757">0</cx:pt>
          <cx:pt idx="57758">1</cx:pt>
          <cx:pt idx="57759">0</cx:pt>
          <cx:pt idx="57760">1</cx:pt>
          <cx:pt idx="57761">0</cx:pt>
          <cx:pt idx="57762">0</cx:pt>
          <cx:pt idx="57763">0</cx:pt>
          <cx:pt idx="57764">0</cx:pt>
          <cx:pt idx="57765">1</cx:pt>
          <cx:pt idx="57766">0</cx:pt>
          <cx:pt idx="57767">1</cx:pt>
          <cx:pt idx="57768">0</cx:pt>
          <cx:pt idx="57769">0</cx:pt>
          <cx:pt idx="57770">0</cx:pt>
          <cx:pt idx="57771">0</cx:pt>
          <cx:pt idx="57772">1</cx:pt>
          <cx:pt idx="57773">0</cx:pt>
          <cx:pt idx="57774">1</cx:pt>
          <cx:pt idx="57775">1</cx:pt>
          <cx:pt idx="57776">0</cx:pt>
          <cx:pt idx="57777">0</cx:pt>
          <cx:pt idx="57778">0</cx:pt>
          <cx:pt idx="57779">0</cx:pt>
          <cx:pt idx="57780">0</cx:pt>
          <cx:pt idx="57781">1</cx:pt>
          <cx:pt idx="57782">0</cx:pt>
          <cx:pt idx="57783">0</cx:pt>
          <cx:pt idx="57784">0</cx:pt>
          <cx:pt idx="57785">0</cx:pt>
          <cx:pt idx="57786">1</cx:pt>
          <cx:pt idx="57787">0</cx:pt>
          <cx:pt idx="57788">0</cx:pt>
          <cx:pt idx="57789">1</cx:pt>
          <cx:pt idx="57790">0</cx:pt>
          <cx:pt idx="57791">1</cx:pt>
          <cx:pt idx="57792">0</cx:pt>
          <cx:pt idx="57793">1</cx:pt>
          <cx:pt idx="57794">0</cx:pt>
          <cx:pt idx="57795">0</cx:pt>
          <cx:pt idx="57796">0</cx:pt>
          <cx:pt idx="57797">0</cx:pt>
          <cx:pt idx="57798">0</cx:pt>
          <cx:pt idx="57799">1</cx:pt>
          <cx:pt idx="57800">1</cx:pt>
          <cx:pt idx="57801">1</cx:pt>
          <cx:pt idx="57802">1</cx:pt>
          <cx:pt idx="57803">0</cx:pt>
          <cx:pt idx="57804">1</cx:pt>
          <cx:pt idx="57805">1</cx:pt>
          <cx:pt idx="57806">0</cx:pt>
          <cx:pt idx="57807">0</cx:pt>
          <cx:pt idx="57808">1</cx:pt>
          <cx:pt idx="57809">0</cx:pt>
          <cx:pt idx="57810">1</cx:pt>
          <cx:pt idx="57811">0</cx:pt>
          <cx:pt idx="57812">0</cx:pt>
          <cx:pt idx="57813">0</cx:pt>
          <cx:pt idx="57814">1</cx:pt>
          <cx:pt idx="57815">0</cx:pt>
          <cx:pt idx="57816">0</cx:pt>
          <cx:pt idx="57817">0</cx:pt>
          <cx:pt idx="57818">0</cx:pt>
          <cx:pt idx="57819">0</cx:pt>
          <cx:pt idx="57820">1</cx:pt>
          <cx:pt idx="57821">1</cx:pt>
          <cx:pt idx="57822">1</cx:pt>
          <cx:pt idx="57823">1</cx:pt>
          <cx:pt idx="57824">0</cx:pt>
          <cx:pt idx="57825">0</cx:pt>
          <cx:pt idx="57826">1</cx:pt>
          <cx:pt idx="57827">1</cx:pt>
          <cx:pt idx="57828">0</cx:pt>
          <cx:pt idx="57829">0</cx:pt>
          <cx:pt idx="57830">0</cx:pt>
          <cx:pt idx="57831">0</cx:pt>
          <cx:pt idx="57832">0</cx:pt>
          <cx:pt idx="57833">1</cx:pt>
          <cx:pt idx="57834">0</cx:pt>
          <cx:pt idx="57835">0</cx:pt>
          <cx:pt idx="57836">0</cx:pt>
          <cx:pt idx="57837">1</cx:pt>
          <cx:pt idx="57838">1</cx:pt>
          <cx:pt idx="57839">1</cx:pt>
          <cx:pt idx="57840">0</cx:pt>
          <cx:pt idx="57841">1</cx:pt>
          <cx:pt idx="57842">0</cx:pt>
          <cx:pt idx="57843">1</cx:pt>
          <cx:pt idx="57844">0</cx:pt>
          <cx:pt idx="57845">0</cx:pt>
          <cx:pt idx="57846">1</cx:pt>
          <cx:pt idx="57847">1</cx:pt>
          <cx:pt idx="57848">0</cx:pt>
          <cx:pt idx="57849">0</cx:pt>
          <cx:pt idx="57850">1</cx:pt>
          <cx:pt idx="57851">0</cx:pt>
          <cx:pt idx="57852">1</cx:pt>
          <cx:pt idx="57853">1</cx:pt>
          <cx:pt idx="57854">0</cx:pt>
          <cx:pt idx="57855">1</cx:pt>
          <cx:pt idx="57856">0</cx:pt>
          <cx:pt idx="57857">0</cx:pt>
          <cx:pt idx="57858">0</cx:pt>
          <cx:pt idx="57859">0</cx:pt>
          <cx:pt idx="57860">0</cx:pt>
          <cx:pt idx="57861">1</cx:pt>
          <cx:pt idx="57862">0</cx:pt>
          <cx:pt idx="57863">0</cx:pt>
          <cx:pt idx="57864">1</cx:pt>
          <cx:pt idx="57865">1</cx:pt>
          <cx:pt idx="57866">0</cx:pt>
          <cx:pt idx="57867">1</cx:pt>
          <cx:pt idx="57868">0</cx:pt>
          <cx:pt idx="57869">1</cx:pt>
          <cx:pt idx="57870">1</cx:pt>
          <cx:pt idx="57871">1</cx:pt>
          <cx:pt idx="57872">0</cx:pt>
          <cx:pt idx="57873">1</cx:pt>
          <cx:pt idx="57874">1</cx:pt>
          <cx:pt idx="57875">0</cx:pt>
          <cx:pt idx="57876">1</cx:pt>
          <cx:pt idx="57877">0</cx:pt>
          <cx:pt idx="57878">0</cx:pt>
          <cx:pt idx="57879">1</cx:pt>
          <cx:pt idx="57880">0</cx:pt>
          <cx:pt idx="57881">0</cx:pt>
          <cx:pt idx="57882">1</cx:pt>
          <cx:pt idx="57883">0</cx:pt>
          <cx:pt idx="57884">1</cx:pt>
          <cx:pt idx="57885">1</cx:pt>
          <cx:pt idx="57886">0</cx:pt>
          <cx:pt idx="57887">1</cx:pt>
          <cx:pt idx="57888">0</cx:pt>
          <cx:pt idx="57889">0</cx:pt>
          <cx:pt idx="57890">1</cx:pt>
          <cx:pt idx="57891">0</cx:pt>
          <cx:pt idx="57892">1</cx:pt>
          <cx:pt idx="57893">0</cx:pt>
          <cx:pt idx="57894">1</cx:pt>
          <cx:pt idx="57895">1</cx:pt>
          <cx:pt idx="57896">0</cx:pt>
          <cx:pt idx="57897">0</cx:pt>
          <cx:pt idx="57898">1</cx:pt>
          <cx:pt idx="57899">1</cx:pt>
          <cx:pt idx="57900">0</cx:pt>
          <cx:pt idx="57901">0</cx:pt>
          <cx:pt idx="57902">0</cx:pt>
          <cx:pt idx="57903">0</cx:pt>
          <cx:pt idx="57904">0</cx:pt>
          <cx:pt idx="57905">1</cx:pt>
          <cx:pt idx="57906">0</cx:pt>
          <cx:pt idx="57907">0</cx:pt>
          <cx:pt idx="57908">1</cx:pt>
          <cx:pt idx="57909">0</cx:pt>
          <cx:pt idx="57910">0</cx:pt>
          <cx:pt idx="57911">0</cx:pt>
          <cx:pt idx="57912">0</cx:pt>
          <cx:pt idx="57913">0</cx:pt>
          <cx:pt idx="57914">0</cx:pt>
          <cx:pt idx="57915">0</cx:pt>
          <cx:pt idx="57916">1</cx:pt>
          <cx:pt idx="57917">0</cx:pt>
          <cx:pt idx="57918">1</cx:pt>
          <cx:pt idx="57919">1</cx:pt>
          <cx:pt idx="57920">0</cx:pt>
          <cx:pt idx="57921">0</cx:pt>
          <cx:pt idx="57922">0</cx:pt>
          <cx:pt idx="57923">1</cx:pt>
          <cx:pt idx="57924">1</cx:pt>
          <cx:pt idx="57925">0</cx:pt>
          <cx:pt idx="57926">0</cx:pt>
          <cx:pt idx="57927">1</cx:pt>
          <cx:pt idx="57928">0</cx:pt>
          <cx:pt idx="57929">0</cx:pt>
          <cx:pt idx="57930">0</cx:pt>
          <cx:pt idx="57931">0</cx:pt>
          <cx:pt idx="57932">0</cx:pt>
          <cx:pt idx="57933">0</cx:pt>
          <cx:pt idx="57934">0</cx:pt>
          <cx:pt idx="57935">0</cx:pt>
          <cx:pt idx="57936">1</cx:pt>
          <cx:pt idx="57937">0</cx:pt>
          <cx:pt idx="57938">0</cx:pt>
          <cx:pt idx="57939">1</cx:pt>
          <cx:pt idx="57940">1</cx:pt>
          <cx:pt idx="57941">0</cx:pt>
          <cx:pt idx="57942">1</cx:pt>
          <cx:pt idx="57943">0</cx:pt>
          <cx:pt idx="57944">0</cx:pt>
          <cx:pt idx="57945">1</cx:pt>
          <cx:pt idx="57946">0</cx:pt>
          <cx:pt idx="57947">1</cx:pt>
          <cx:pt idx="57948">1</cx:pt>
          <cx:pt idx="57949">1</cx:pt>
          <cx:pt idx="57950">1</cx:pt>
          <cx:pt idx="57951">0</cx:pt>
          <cx:pt idx="57952">0</cx:pt>
          <cx:pt idx="57953">0</cx:pt>
          <cx:pt idx="57954">0</cx:pt>
          <cx:pt idx="57955">0</cx:pt>
          <cx:pt idx="57956">0</cx:pt>
          <cx:pt idx="57957">1</cx:pt>
          <cx:pt idx="57958">0</cx:pt>
          <cx:pt idx="57959">0</cx:pt>
          <cx:pt idx="57960">0</cx:pt>
          <cx:pt idx="57961">1</cx:pt>
          <cx:pt idx="57962">1</cx:pt>
          <cx:pt idx="57963">1</cx:pt>
          <cx:pt idx="57964">0</cx:pt>
          <cx:pt idx="57965">0</cx:pt>
          <cx:pt idx="57966">1</cx:pt>
          <cx:pt idx="57967">0</cx:pt>
          <cx:pt idx="57968">0</cx:pt>
          <cx:pt idx="57969">0</cx:pt>
          <cx:pt idx="57970">1</cx:pt>
          <cx:pt idx="57971">0</cx:pt>
          <cx:pt idx="57972">0</cx:pt>
          <cx:pt idx="57973">1</cx:pt>
          <cx:pt idx="57974">0</cx:pt>
          <cx:pt idx="57975">1</cx:pt>
          <cx:pt idx="57976">1</cx:pt>
          <cx:pt idx="57977">0</cx:pt>
          <cx:pt idx="57978">0</cx:pt>
          <cx:pt idx="57979">0</cx:pt>
          <cx:pt idx="57980">0</cx:pt>
          <cx:pt idx="57981">0</cx:pt>
          <cx:pt idx="57982">0</cx:pt>
          <cx:pt idx="57983">0</cx:pt>
          <cx:pt idx="57984">0</cx:pt>
          <cx:pt idx="57985">1</cx:pt>
          <cx:pt idx="57986">1</cx:pt>
          <cx:pt idx="57987">0</cx:pt>
          <cx:pt idx="57988">0</cx:pt>
          <cx:pt idx="57989">0</cx:pt>
          <cx:pt idx="57990">1</cx:pt>
          <cx:pt idx="57991">1</cx:pt>
          <cx:pt idx="57992">0</cx:pt>
          <cx:pt idx="57993">1</cx:pt>
          <cx:pt idx="57994">1</cx:pt>
          <cx:pt idx="57995">0</cx:pt>
          <cx:pt idx="57996">1</cx:pt>
          <cx:pt idx="57997">1</cx:pt>
          <cx:pt idx="57998">1</cx:pt>
          <cx:pt idx="57999">0</cx:pt>
          <cx:pt idx="58000">0</cx:pt>
          <cx:pt idx="58001">0</cx:pt>
          <cx:pt idx="58002">0</cx:pt>
          <cx:pt idx="58003">1</cx:pt>
          <cx:pt idx="58004">1</cx:pt>
          <cx:pt idx="58005">1</cx:pt>
          <cx:pt idx="58006">1</cx:pt>
          <cx:pt idx="58007">0</cx:pt>
          <cx:pt idx="58008">0</cx:pt>
          <cx:pt idx="58009">0</cx:pt>
          <cx:pt idx="58010">1</cx:pt>
          <cx:pt idx="58011">1</cx:pt>
          <cx:pt idx="58012">0</cx:pt>
          <cx:pt idx="58013">0</cx:pt>
          <cx:pt idx="58014">0</cx:pt>
          <cx:pt idx="58015">0</cx:pt>
          <cx:pt idx="58016">0</cx:pt>
          <cx:pt idx="58017">0</cx:pt>
          <cx:pt idx="58018">0</cx:pt>
          <cx:pt idx="58019">0</cx:pt>
          <cx:pt idx="58020">1</cx:pt>
          <cx:pt idx="58021">1</cx:pt>
          <cx:pt idx="58022">0</cx:pt>
          <cx:pt idx="58023">1</cx:pt>
          <cx:pt idx="58024">0</cx:pt>
          <cx:pt idx="58025">1</cx:pt>
          <cx:pt idx="58026">0</cx:pt>
          <cx:pt idx="58027">1</cx:pt>
          <cx:pt idx="58028">0</cx:pt>
          <cx:pt idx="58029">0</cx:pt>
          <cx:pt idx="58030">0</cx:pt>
          <cx:pt idx="58031">1</cx:pt>
          <cx:pt idx="58032">1</cx:pt>
          <cx:pt idx="58033">0</cx:pt>
          <cx:pt idx="58034">1</cx:pt>
          <cx:pt idx="58035">0</cx:pt>
          <cx:pt idx="58036">0</cx:pt>
          <cx:pt idx="58037">1</cx:pt>
          <cx:pt idx="58038">1</cx:pt>
          <cx:pt idx="58039">1</cx:pt>
          <cx:pt idx="58040">1</cx:pt>
          <cx:pt idx="58041">1</cx:pt>
          <cx:pt idx="58042">0</cx:pt>
          <cx:pt idx="58043">0</cx:pt>
          <cx:pt idx="58044">0</cx:pt>
          <cx:pt idx="58045">1</cx:pt>
          <cx:pt idx="58046">1</cx:pt>
          <cx:pt idx="58047">1</cx:pt>
          <cx:pt idx="58048">1</cx:pt>
          <cx:pt idx="58049">0</cx:pt>
          <cx:pt idx="58050">0</cx:pt>
          <cx:pt idx="58051">1</cx:pt>
          <cx:pt idx="58052">0</cx:pt>
          <cx:pt idx="58053">0</cx:pt>
          <cx:pt idx="58054">0</cx:pt>
          <cx:pt idx="58055">0</cx:pt>
          <cx:pt idx="58056">1</cx:pt>
          <cx:pt idx="58057">0</cx:pt>
          <cx:pt idx="58058">0</cx:pt>
          <cx:pt idx="58059">1</cx:pt>
          <cx:pt idx="58060">0</cx:pt>
          <cx:pt idx="58061">1</cx:pt>
          <cx:pt idx="58062">1</cx:pt>
          <cx:pt idx="58063">1</cx:pt>
          <cx:pt idx="58064">0</cx:pt>
          <cx:pt idx="58065">0</cx:pt>
          <cx:pt idx="58066">0</cx:pt>
          <cx:pt idx="58067">0</cx:pt>
          <cx:pt idx="58068">0</cx:pt>
          <cx:pt idx="58069">1</cx:pt>
          <cx:pt idx="58070">0</cx:pt>
          <cx:pt idx="58071">1</cx:pt>
          <cx:pt idx="58072">1</cx:pt>
          <cx:pt idx="58073">0</cx:pt>
          <cx:pt idx="58074">0</cx:pt>
          <cx:pt idx="58075">1</cx:pt>
          <cx:pt idx="58076">0</cx:pt>
          <cx:pt idx="58077">1</cx:pt>
          <cx:pt idx="58078">0</cx:pt>
          <cx:pt idx="58079">1</cx:pt>
          <cx:pt idx="58080">1</cx:pt>
          <cx:pt idx="58081">0</cx:pt>
          <cx:pt idx="58082">0</cx:pt>
          <cx:pt idx="58083">0</cx:pt>
          <cx:pt idx="58084">0</cx:pt>
          <cx:pt idx="58085">0</cx:pt>
          <cx:pt idx="58086">0</cx:pt>
          <cx:pt idx="58087">1</cx:pt>
          <cx:pt idx="58088">1</cx:pt>
          <cx:pt idx="58089">0</cx:pt>
          <cx:pt idx="58090">0</cx:pt>
          <cx:pt idx="58091">0</cx:pt>
          <cx:pt idx="58092">0</cx:pt>
          <cx:pt idx="58093">1</cx:pt>
          <cx:pt idx="58094">0</cx:pt>
          <cx:pt idx="58095">0</cx:pt>
          <cx:pt idx="58096">1</cx:pt>
          <cx:pt idx="58097">0</cx:pt>
          <cx:pt idx="58098">0</cx:pt>
          <cx:pt idx="58099">0</cx:pt>
          <cx:pt idx="58100">1</cx:pt>
          <cx:pt idx="58101">0</cx:pt>
          <cx:pt idx="58102">0</cx:pt>
          <cx:pt idx="58103">1</cx:pt>
          <cx:pt idx="58104">0</cx:pt>
          <cx:pt idx="58105">1</cx:pt>
          <cx:pt idx="58106">0</cx:pt>
          <cx:pt idx="58107">0</cx:pt>
          <cx:pt idx="58108">1</cx:pt>
          <cx:pt idx="58109">0</cx:pt>
          <cx:pt idx="58110">0</cx:pt>
          <cx:pt idx="58111">0</cx:pt>
          <cx:pt idx="58112">1</cx:pt>
          <cx:pt idx="58113">1</cx:pt>
          <cx:pt idx="58114">1</cx:pt>
          <cx:pt idx="58115">1</cx:pt>
          <cx:pt idx="58116">0</cx:pt>
          <cx:pt idx="58117">1</cx:pt>
          <cx:pt idx="58118">0</cx:pt>
          <cx:pt idx="58119">1</cx:pt>
          <cx:pt idx="58120">0</cx:pt>
          <cx:pt idx="58121">0</cx:pt>
          <cx:pt idx="58122">1</cx:pt>
          <cx:pt idx="58123">0</cx:pt>
          <cx:pt idx="58124">0</cx:pt>
          <cx:pt idx="58125">0</cx:pt>
          <cx:pt idx="58126">1</cx:pt>
          <cx:pt idx="58127">0</cx:pt>
          <cx:pt idx="58128">1</cx:pt>
          <cx:pt idx="58129">0</cx:pt>
          <cx:pt idx="58130">0</cx:pt>
          <cx:pt idx="58131">0</cx:pt>
          <cx:pt idx="58132">0</cx:pt>
          <cx:pt idx="58133">1</cx:pt>
          <cx:pt idx="58134">1</cx:pt>
          <cx:pt idx="58135">0</cx:pt>
          <cx:pt idx="58136">0</cx:pt>
          <cx:pt idx="58137">0</cx:pt>
          <cx:pt idx="58138">0</cx:pt>
          <cx:pt idx="58139">0</cx:pt>
          <cx:pt idx="58140">0</cx:pt>
          <cx:pt idx="58141">0</cx:pt>
          <cx:pt idx="58142">1</cx:pt>
          <cx:pt idx="58143">0</cx:pt>
          <cx:pt idx="58144">1</cx:pt>
          <cx:pt idx="58145">0</cx:pt>
          <cx:pt idx="58146">0</cx:pt>
          <cx:pt idx="58147">1</cx:pt>
          <cx:pt idx="58148">0</cx:pt>
          <cx:pt idx="58149">1</cx:pt>
          <cx:pt idx="58150">0</cx:pt>
          <cx:pt idx="58151">0</cx:pt>
          <cx:pt idx="58152">0</cx:pt>
          <cx:pt idx="58153">0</cx:pt>
          <cx:pt idx="58154">1</cx:pt>
          <cx:pt idx="58155">1</cx:pt>
          <cx:pt idx="58156">0</cx:pt>
          <cx:pt idx="58157">0</cx:pt>
          <cx:pt idx="58158">0</cx:pt>
          <cx:pt idx="58159">0</cx:pt>
          <cx:pt idx="58160">0</cx:pt>
          <cx:pt idx="58161">0</cx:pt>
          <cx:pt idx="58162">1</cx:pt>
          <cx:pt idx="58163">1</cx:pt>
          <cx:pt idx="58164">0</cx:pt>
          <cx:pt idx="58165">0</cx:pt>
          <cx:pt idx="58166">1</cx:pt>
          <cx:pt idx="58167">1</cx:pt>
          <cx:pt idx="58168">1</cx:pt>
          <cx:pt idx="58169">0</cx:pt>
          <cx:pt idx="58170">1</cx:pt>
          <cx:pt idx="58171">0</cx:pt>
          <cx:pt idx="58172">0</cx:pt>
          <cx:pt idx="58173">1</cx:pt>
          <cx:pt idx="58174">0</cx:pt>
          <cx:pt idx="58175">0</cx:pt>
          <cx:pt idx="58176">0</cx:pt>
          <cx:pt idx="58177">1</cx:pt>
          <cx:pt idx="58178">1</cx:pt>
          <cx:pt idx="58179">0</cx:pt>
          <cx:pt idx="58180">0</cx:pt>
          <cx:pt idx="58181">0</cx:pt>
          <cx:pt idx="58182">1</cx:pt>
          <cx:pt idx="58183">0</cx:pt>
          <cx:pt idx="58184">0</cx:pt>
          <cx:pt idx="58185">1</cx:pt>
          <cx:pt idx="58186">0</cx:pt>
          <cx:pt idx="58187">0</cx:pt>
          <cx:pt idx="58188">0</cx:pt>
          <cx:pt idx="58189">0</cx:pt>
          <cx:pt idx="58190">1</cx:pt>
          <cx:pt idx="58191">0</cx:pt>
          <cx:pt idx="58192">1</cx:pt>
          <cx:pt idx="58193">0</cx:pt>
          <cx:pt idx="58194">1</cx:pt>
          <cx:pt idx="58195">0</cx:pt>
          <cx:pt idx="58196">1</cx:pt>
          <cx:pt idx="58197">0</cx:pt>
          <cx:pt idx="58198">1</cx:pt>
          <cx:pt idx="58199">1</cx:pt>
          <cx:pt idx="58200">1</cx:pt>
          <cx:pt idx="58201">1</cx:pt>
          <cx:pt idx="58202">0</cx:pt>
          <cx:pt idx="58203">0</cx:pt>
          <cx:pt idx="58204">1</cx:pt>
          <cx:pt idx="58205">0</cx:pt>
          <cx:pt idx="58206">1</cx:pt>
          <cx:pt idx="58207">0</cx:pt>
          <cx:pt idx="58208">1</cx:pt>
          <cx:pt idx="58209">1</cx:pt>
          <cx:pt idx="58210">0</cx:pt>
          <cx:pt idx="58211">0</cx:pt>
          <cx:pt idx="58212">1</cx:pt>
          <cx:pt idx="58213">0</cx:pt>
          <cx:pt idx="58214">0</cx:pt>
          <cx:pt idx="58215">0</cx:pt>
          <cx:pt idx="58216">1</cx:pt>
          <cx:pt idx="58217">0</cx:pt>
          <cx:pt idx="58218">0</cx:pt>
          <cx:pt idx="58219">0</cx:pt>
          <cx:pt idx="58220">0</cx:pt>
          <cx:pt idx="58221">0</cx:pt>
          <cx:pt idx="58222">0</cx:pt>
          <cx:pt idx="58223">0</cx:pt>
          <cx:pt idx="58224">0</cx:pt>
          <cx:pt idx="58225">1</cx:pt>
          <cx:pt idx="58226">1</cx:pt>
          <cx:pt idx="58227">0</cx:pt>
          <cx:pt idx="58228">0</cx:pt>
          <cx:pt idx="58229">0</cx:pt>
          <cx:pt idx="58230">1</cx:pt>
          <cx:pt idx="58231">1</cx:pt>
          <cx:pt idx="58232">1</cx:pt>
          <cx:pt idx="58233">1</cx:pt>
          <cx:pt idx="58234">0</cx:pt>
          <cx:pt idx="58235">0</cx:pt>
          <cx:pt idx="58236">1</cx:pt>
          <cx:pt idx="58237">1</cx:pt>
          <cx:pt idx="58238">1</cx:pt>
          <cx:pt idx="58239">0</cx:pt>
          <cx:pt idx="58240">1</cx:pt>
          <cx:pt idx="58241">0</cx:pt>
          <cx:pt idx="58242">1</cx:pt>
          <cx:pt idx="58243">0</cx:pt>
          <cx:pt idx="58244">1</cx:pt>
          <cx:pt idx="58245">0</cx:pt>
          <cx:pt idx="58246">0</cx:pt>
          <cx:pt idx="58247">1</cx:pt>
          <cx:pt idx="58248">1</cx:pt>
          <cx:pt idx="58249">0</cx:pt>
          <cx:pt idx="58250">1</cx:pt>
          <cx:pt idx="58251">1</cx:pt>
          <cx:pt idx="58252">1</cx:pt>
          <cx:pt idx="58253">1</cx:pt>
          <cx:pt idx="58254">1</cx:pt>
          <cx:pt idx="58255">1</cx:pt>
          <cx:pt idx="58256">0</cx:pt>
          <cx:pt idx="58257">0</cx:pt>
          <cx:pt idx="58258">1</cx:pt>
          <cx:pt idx="58259">1</cx:pt>
          <cx:pt idx="58260">1</cx:pt>
          <cx:pt idx="58261">1</cx:pt>
          <cx:pt idx="58262">1</cx:pt>
          <cx:pt idx="58263">0</cx:pt>
          <cx:pt idx="58264">1</cx:pt>
          <cx:pt idx="58265">1</cx:pt>
          <cx:pt idx="58266">0</cx:pt>
          <cx:pt idx="58267">1</cx:pt>
          <cx:pt idx="58268">1</cx:pt>
          <cx:pt idx="58269">0</cx:pt>
          <cx:pt idx="58270">0</cx:pt>
          <cx:pt idx="58271">1</cx:pt>
          <cx:pt idx="58272">1</cx:pt>
          <cx:pt idx="58273">1</cx:pt>
          <cx:pt idx="58274">1</cx:pt>
          <cx:pt idx="58275">1</cx:pt>
          <cx:pt idx="58276">0</cx:pt>
          <cx:pt idx="58277">1</cx:pt>
          <cx:pt idx="58278">1</cx:pt>
          <cx:pt idx="58279">0</cx:pt>
          <cx:pt idx="58280">1</cx:pt>
          <cx:pt idx="58281">0</cx:pt>
          <cx:pt idx="58282">0</cx:pt>
          <cx:pt idx="58283">1</cx:pt>
          <cx:pt idx="58284">1</cx:pt>
          <cx:pt idx="58285">0</cx:pt>
          <cx:pt idx="58286">0</cx:pt>
          <cx:pt idx="58287">0</cx:pt>
          <cx:pt idx="58288">0</cx:pt>
          <cx:pt idx="58289">0</cx:pt>
          <cx:pt idx="58290">0</cx:pt>
          <cx:pt idx="58291">0</cx:pt>
          <cx:pt idx="58292">1</cx:pt>
          <cx:pt idx="58293">0</cx:pt>
          <cx:pt idx="58294">1</cx:pt>
          <cx:pt idx="58295">0</cx:pt>
          <cx:pt idx="58296">1</cx:pt>
          <cx:pt idx="58297">1</cx:pt>
          <cx:pt idx="58298">0</cx:pt>
          <cx:pt idx="58299">0</cx:pt>
          <cx:pt idx="58300">1</cx:pt>
          <cx:pt idx="58301">1</cx:pt>
          <cx:pt idx="58302">1</cx:pt>
          <cx:pt idx="58303">1</cx:pt>
          <cx:pt idx="58304">1</cx:pt>
          <cx:pt idx="58305">0</cx:pt>
          <cx:pt idx="58306">0</cx:pt>
          <cx:pt idx="58307">1</cx:pt>
          <cx:pt idx="58308">0</cx:pt>
          <cx:pt idx="58309">0</cx:pt>
          <cx:pt idx="58310">0</cx:pt>
          <cx:pt idx="58311">1</cx:pt>
          <cx:pt idx="58312">1</cx:pt>
          <cx:pt idx="58313">1</cx:pt>
          <cx:pt idx="58314">1</cx:pt>
          <cx:pt idx="58315">1</cx:pt>
          <cx:pt idx="58316">1</cx:pt>
          <cx:pt idx="58317">0</cx:pt>
          <cx:pt idx="58318">1</cx:pt>
          <cx:pt idx="58319">1</cx:pt>
          <cx:pt idx="58320">1</cx:pt>
          <cx:pt idx="58321">0</cx:pt>
          <cx:pt idx="58322">0</cx:pt>
          <cx:pt idx="58323">0</cx:pt>
          <cx:pt idx="58324">0</cx:pt>
          <cx:pt idx="58325">0</cx:pt>
          <cx:pt idx="58326">1</cx:pt>
          <cx:pt idx="58327">0</cx:pt>
          <cx:pt idx="58328">1</cx:pt>
          <cx:pt idx="58329">1</cx:pt>
          <cx:pt idx="58330">0</cx:pt>
          <cx:pt idx="58331">1</cx:pt>
          <cx:pt idx="58332">0</cx:pt>
          <cx:pt idx="58333">1</cx:pt>
          <cx:pt idx="58334">1</cx:pt>
          <cx:pt idx="58335">1</cx:pt>
          <cx:pt idx="58336">1</cx:pt>
          <cx:pt idx="58337">1</cx:pt>
          <cx:pt idx="58338">1</cx:pt>
          <cx:pt idx="58339">1</cx:pt>
          <cx:pt idx="58340">0</cx:pt>
          <cx:pt idx="58341">1</cx:pt>
          <cx:pt idx="58342">0</cx:pt>
          <cx:pt idx="58343">1</cx:pt>
          <cx:pt idx="58344">0</cx:pt>
          <cx:pt idx="58345">1</cx:pt>
          <cx:pt idx="58346">0</cx:pt>
          <cx:pt idx="58347">1</cx:pt>
          <cx:pt idx="58348">0</cx:pt>
          <cx:pt idx="58349">0</cx:pt>
          <cx:pt idx="58350">0</cx:pt>
          <cx:pt idx="58351">1</cx:pt>
          <cx:pt idx="58352">1</cx:pt>
          <cx:pt idx="58353">1</cx:pt>
          <cx:pt idx="58354">0</cx:pt>
          <cx:pt idx="58355">0</cx:pt>
          <cx:pt idx="58356">1</cx:pt>
          <cx:pt idx="58357">0</cx:pt>
          <cx:pt idx="58358">1</cx:pt>
          <cx:pt idx="58359">1</cx:pt>
          <cx:pt idx="58360">1</cx:pt>
          <cx:pt idx="58361">0</cx:pt>
          <cx:pt idx="58362">1</cx:pt>
          <cx:pt idx="58363">0</cx:pt>
          <cx:pt idx="58364">1</cx:pt>
          <cx:pt idx="58365">1</cx:pt>
          <cx:pt idx="58366">1</cx:pt>
          <cx:pt idx="58367">1</cx:pt>
          <cx:pt idx="58368">1</cx:pt>
          <cx:pt idx="58369">0</cx:pt>
          <cx:pt idx="58370">0</cx:pt>
          <cx:pt idx="58371">1</cx:pt>
          <cx:pt idx="58372">1</cx:pt>
          <cx:pt idx="58373">0</cx:pt>
          <cx:pt idx="58374">1</cx:pt>
          <cx:pt idx="58375">0</cx:pt>
          <cx:pt idx="58376">1</cx:pt>
          <cx:pt idx="58377">0</cx:pt>
          <cx:pt idx="58378">0</cx:pt>
          <cx:pt idx="58379">0</cx:pt>
          <cx:pt idx="58380">1</cx:pt>
          <cx:pt idx="58381">1</cx:pt>
          <cx:pt idx="58382">0</cx:pt>
          <cx:pt idx="58383">0</cx:pt>
          <cx:pt idx="58384">0</cx:pt>
          <cx:pt idx="58385">0</cx:pt>
          <cx:pt idx="58386">0</cx:pt>
          <cx:pt idx="58387">0</cx:pt>
          <cx:pt idx="58388">0</cx:pt>
          <cx:pt idx="58389">0</cx:pt>
          <cx:pt idx="58390">1</cx:pt>
          <cx:pt idx="58391">0</cx:pt>
          <cx:pt idx="58392">0</cx:pt>
          <cx:pt idx="58393">1</cx:pt>
          <cx:pt idx="58394">1</cx:pt>
          <cx:pt idx="58395">1</cx:pt>
          <cx:pt idx="58396">0</cx:pt>
          <cx:pt idx="58397">0</cx:pt>
          <cx:pt idx="58398">1</cx:pt>
          <cx:pt idx="58399">1</cx:pt>
          <cx:pt idx="58400">1</cx:pt>
          <cx:pt idx="58401">1</cx:pt>
          <cx:pt idx="58402">0</cx:pt>
          <cx:pt idx="58403">0</cx:pt>
          <cx:pt idx="58404">1</cx:pt>
          <cx:pt idx="58405">1</cx:pt>
          <cx:pt idx="58406">1</cx:pt>
          <cx:pt idx="58407">1</cx:pt>
          <cx:pt idx="58408">0</cx:pt>
          <cx:pt idx="58409">0</cx:pt>
          <cx:pt idx="58410">1</cx:pt>
          <cx:pt idx="58411">1</cx:pt>
          <cx:pt idx="58412">1</cx:pt>
          <cx:pt idx="58413">0</cx:pt>
          <cx:pt idx="58414">0</cx:pt>
          <cx:pt idx="58415">0</cx:pt>
          <cx:pt idx="58416">0</cx:pt>
          <cx:pt idx="58417">1</cx:pt>
          <cx:pt idx="58418">0</cx:pt>
          <cx:pt idx="58419">1</cx:pt>
          <cx:pt idx="58420">0</cx:pt>
          <cx:pt idx="58421">1</cx:pt>
          <cx:pt idx="58422">1</cx:pt>
          <cx:pt idx="58423">0</cx:pt>
          <cx:pt idx="58424">1</cx:pt>
          <cx:pt idx="58425">1</cx:pt>
          <cx:pt idx="58426">0</cx:pt>
          <cx:pt idx="58427">1</cx:pt>
          <cx:pt idx="58428">0</cx:pt>
          <cx:pt idx="58429">1</cx:pt>
          <cx:pt idx="58430">0</cx:pt>
          <cx:pt idx="58431">1</cx:pt>
          <cx:pt idx="58432">0</cx:pt>
          <cx:pt idx="58433">0</cx:pt>
          <cx:pt idx="58434">0</cx:pt>
          <cx:pt idx="58435">0</cx:pt>
          <cx:pt idx="58436">1</cx:pt>
          <cx:pt idx="58437">0</cx:pt>
          <cx:pt idx="58438">0</cx:pt>
          <cx:pt idx="58439">0</cx:pt>
          <cx:pt idx="58440">0</cx:pt>
          <cx:pt idx="58441">1</cx:pt>
          <cx:pt idx="58442">1</cx:pt>
          <cx:pt idx="58443">0</cx:pt>
          <cx:pt idx="58444">1</cx:pt>
          <cx:pt idx="58445">0</cx:pt>
          <cx:pt idx="58446">0</cx:pt>
          <cx:pt idx="58447">1</cx:pt>
          <cx:pt idx="58448">1</cx:pt>
          <cx:pt idx="58449">0</cx:pt>
          <cx:pt idx="58450">0</cx:pt>
          <cx:pt idx="58451">0</cx:pt>
          <cx:pt idx="58452">0</cx:pt>
          <cx:pt idx="58453">0</cx:pt>
          <cx:pt idx="58454">0</cx:pt>
          <cx:pt idx="58455">1</cx:pt>
          <cx:pt idx="58456">1</cx:pt>
          <cx:pt idx="58457">1</cx:pt>
          <cx:pt idx="58458">1</cx:pt>
          <cx:pt idx="58459">1</cx:pt>
          <cx:pt idx="58460">1</cx:pt>
          <cx:pt idx="58461">0</cx:pt>
          <cx:pt idx="58462">1</cx:pt>
          <cx:pt idx="58463">1</cx:pt>
          <cx:pt idx="58464">0</cx:pt>
          <cx:pt idx="58465">1</cx:pt>
          <cx:pt idx="58466">1</cx:pt>
          <cx:pt idx="58467">1</cx:pt>
          <cx:pt idx="58468">0</cx:pt>
          <cx:pt idx="58469">0</cx:pt>
          <cx:pt idx="58470">0</cx:pt>
          <cx:pt idx="58471">0</cx:pt>
          <cx:pt idx="58472">0</cx:pt>
          <cx:pt idx="58473">0</cx:pt>
          <cx:pt idx="58474">1</cx:pt>
          <cx:pt idx="58475">1</cx:pt>
          <cx:pt idx="58476">0</cx:pt>
          <cx:pt idx="58477">0</cx:pt>
          <cx:pt idx="58478">1</cx:pt>
          <cx:pt idx="58479">1</cx:pt>
          <cx:pt idx="58480">1</cx:pt>
          <cx:pt idx="58481">1</cx:pt>
          <cx:pt idx="58482">0</cx:pt>
          <cx:pt idx="58483">0</cx:pt>
          <cx:pt idx="58484">0</cx:pt>
          <cx:pt idx="58485">1</cx:pt>
          <cx:pt idx="58486">0</cx:pt>
          <cx:pt idx="58487">0</cx:pt>
          <cx:pt idx="58488">1</cx:pt>
          <cx:pt idx="58489">0</cx:pt>
          <cx:pt idx="58490">0</cx:pt>
          <cx:pt idx="58491">0</cx:pt>
          <cx:pt idx="58492">1</cx:pt>
          <cx:pt idx="58493">0</cx:pt>
          <cx:pt idx="58494">0</cx:pt>
          <cx:pt idx="58495">1</cx:pt>
          <cx:pt idx="58496">0</cx:pt>
          <cx:pt idx="58497">1</cx:pt>
          <cx:pt idx="58498">0</cx:pt>
          <cx:pt idx="58499">1</cx:pt>
          <cx:pt idx="58500">1</cx:pt>
          <cx:pt idx="58501">0</cx:pt>
          <cx:pt idx="58502">0</cx:pt>
          <cx:pt idx="58503">0</cx:pt>
          <cx:pt idx="58504">0</cx:pt>
          <cx:pt idx="58505">0</cx:pt>
          <cx:pt idx="58506">0</cx:pt>
          <cx:pt idx="58507">1</cx:pt>
          <cx:pt idx="58508">0</cx:pt>
          <cx:pt idx="58509">1</cx:pt>
          <cx:pt idx="58510">1</cx:pt>
          <cx:pt idx="58511">0</cx:pt>
          <cx:pt idx="58512">1</cx:pt>
          <cx:pt idx="58513">0</cx:pt>
          <cx:pt idx="58514">1</cx:pt>
          <cx:pt idx="58515">1</cx:pt>
          <cx:pt idx="58516">0</cx:pt>
          <cx:pt idx="58517">0</cx:pt>
          <cx:pt idx="58518">0</cx:pt>
          <cx:pt idx="58519">0</cx:pt>
          <cx:pt idx="58520">1</cx:pt>
          <cx:pt idx="58521">0</cx:pt>
          <cx:pt idx="58522">1</cx:pt>
          <cx:pt idx="58523">1</cx:pt>
          <cx:pt idx="58524">1</cx:pt>
          <cx:pt idx="58525">1</cx:pt>
          <cx:pt idx="58526">0</cx:pt>
          <cx:pt idx="58527">0</cx:pt>
          <cx:pt idx="58528">0</cx:pt>
          <cx:pt idx="58529">0</cx:pt>
          <cx:pt idx="58530">0</cx:pt>
          <cx:pt idx="58531">0</cx:pt>
          <cx:pt idx="58532">1</cx:pt>
          <cx:pt idx="58533">1</cx:pt>
          <cx:pt idx="58534">1</cx:pt>
          <cx:pt idx="58535">1</cx:pt>
          <cx:pt idx="58536">1</cx:pt>
          <cx:pt idx="58537">0</cx:pt>
          <cx:pt idx="58538">0</cx:pt>
          <cx:pt idx="58539">1</cx:pt>
          <cx:pt idx="58540">0</cx:pt>
          <cx:pt idx="58541">1</cx:pt>
          <cx:pt idx="58542">1</cx:pt>
          <cx:pt idx="58543">0</cx:pt>
          <cx:pt idx="58544">1</cx:pt>
          <cx:pt idx="58545">1</cx:pt>
          <cx:pt idx="58546">0</cx:pt>
          <cx:pt idx="58547">1</cx:pt>
          <cx:pt idx="58548">0</cx:pt>
          <cx:pt idx="58549">1</cx:pt>
          <cx:pt idx="58550">0</cx:pt>
          <cx:pt idx="58551">0</cx:pt>
          <cx:pt idx="58552">1</cx:pt>
          <cx:pt idx="58553">0</cx:pt>
          <cx:pt idx="58554">0</cx:pt>
          <cx:pt idx="58555">0</cx:pt>
          <cx:pt idx="58556">0</cx:pt>
          <cx:pt idx="58557">1</cx:pt>
          <cx:pt idx="58558">0</cx:pt>
          <cx:pt idx="58559">0</cx:pt>
          <cx:pt idx="58560">0</cx:pt>
          <cx:pt idx="58561">1</cx:pt>
          <cx:pt idx="58562">1</cx:pt>
          <cx:pt idx="58563">1</cx:pt>
          <cx:pt idx="58564">0</cx:pt>
          <cx:pt idx="58565">1</cx:pt>
          <cx:pt idx="58566">1</cx:pt>
          <cx:pt idx="58567">1</cx:pt>
          <cx:pt idx="58568">0</cx:pt>
          <cx:pt idx="58569">0</cx:pt>
          <cx:pt idx="58570">0</cx:pt>
          <cx:pt idx="58571">1</cx:pt>
          <cx:pt idx="58572">0</cx:pt>
          <cx:pt idx="58573">1</cx:pt>
          <cx:pt idx="58574">1</cx:pt>
          <cx:pt idx="58575">1</cx:pt>
          <cx:pt idx="58576">0</cx:pt>
          <cx:pt idx="58577">0</cx:pt>
          <cx:pt idx="58578">0</cx:pt>
          <cx:pt idx="58579">0</cx:pt>
          <cx:pt idx="58580">1</cx:pt>
          <cx:pt idx="58581">0</cx:pt>
          <cx:pt idx="58582">1</cx:pt>
          <cx:pt idx="58583">1</cx:pt>
          <cx:pt idx="58584">1</cx:pt>
          <cx:pt idx="58585">1</cx:pt>
          <cx:pt idx="58586">0</cx:pt>
          <cx:pt idx="58587">1</cx:pt>
          <cx:pt idx="58588">1</cx:pt>
          <cx:pt idx="58589">0</cx:pt>
          <cx:pt idx="58590">0</cx:pt>
          <cx:pt idx="58591">1</cx:pt>
          <cx:pt idx="58592">1</cx:pt>
          <cx:pt idx="58593">0</cx:pt>
          <cx:pt idx="58594">1</cx:pt>
          <cx:pt idx="58595">1</cx:pt>
          <cx:pt idx="58596">1</cx:pt>
          <cx:pt idx="58597">0</cx:pt>
          <cx:pt idx="58598">0</cx:pt>
          <cx:pt idx="58599">0</cx:pt>
          <cx:pt idx="58600">0</cx:pt>
          <cx:pt idx="58601">1</cx:pt>
          <cx:pt idx="58602">0</cx:pt>
          <cx:pt idx="58603">0</cx:pt>
          <cx:pt idx="58604">1</cx:pt>
          <cx:pt idx="58605">1</cx:pt>
          <cx:pt idx="58606">0</cx:pt>
          <cx:pt idx="58607">0</cx:pt>
          <cx:pt idx="58608">0</cx:pt>
          <cx:pt idx="58609">0</cx:pt>
          <cx:pt idx="58610">0</cx:pt>
          <cx:pt idx="58611">0</cx:pt>
          <cx:pt idx="58612">0</cx:pt>
          <cx:pt idx="58613">0</cx:pt>
          <cx:pt idx="58614">0</cx:pt>
          <cx:pt idx="58615">1</cx:pt>
          <cx:pt idx="58616">0</cx:pt>
          <cx:pt idx="58617">1</cx:pt>
          <cx:pt idx="58618">1</cx:pt>
          <cx:pt idx="58619">0</cx:pt>
          <cx:pt idx="58620">1</cx:pt>
          <cx:pt idx="58621">1</cx:pt>
          <cx:pt idx="58622">1</cx:pt>
          <cx:pt idx="58623">0</cx:pt>
          <cx:pt idx="58624">1</cx:pt>
          <cx:pt idx="58625">0</cx:pt>
          <cx:pt idx="58626">0</cx:pt>
          <cx:pt idx="58627">0</cx:pt>
          <cx:pt idx="58628">1</cx:pt>
          <cx:pt idx="58629">0</cx:pt>
          <cx:pt idx="58630">1</cx:pt>
          <cx:pt idx="58631">0</cx:pt>
          <cx:pt idx="58632">1</cx:pt>
          <cx:pt idx="58633">1</cx:pt>
          <cx:pt idx="58634">1</cx:pt>
          <cx:pt idx="58635">0</cx:pt>
          <cx:pt idx="58636">1</cx:pt>
          <cx:pt idx="58637">0</cx:pt>
          <cx:pt idx="58638">0</cx:pt>
          <cx:pt idx="58639">0</cx:pt>
          <cx:pt idx="58640">0</cx:pt>
          <cx:pt idx="58641">0</cx:pt>
          <cx:pt idx="58642">0</cx:pt>
          <cx:pt idx="58643">0</cx:pt>
          <cx:pt idx="58644">1</cx:pt>
          <cx:pt idx="58645">0</cx:pt>
          <cx:pt idx="58646">0</cx:pt>
          <cx:pt idx="58647">0</cx:pt>
          <cx:pt idx="58648">1</cx:pt>
          <cx:pt idx="58649">0</cx:pt>
          <cx:pt idx="58650">0</cx:pt>
          <cx:pt idx="58651">1</cx:pt>
          <cx:pt idx="58652">0</cx:pt>
          <cx:pt idx="58653">1</cx:pt>
          <cx:pt idx="58654">1</cx:pt>
          <cx:pt idx="58655">0</cx:pt>
          <cx:pt idx="58656">0</cx:pt>
          <cx:pt idx="58657">0</cx:pt>
          <cx:pt idx="58658">0</cx:pt>
          <cx:pt idx="58659">1</cx:pt>
          <cx:pt idx="58660">1</cx:pt>
          <cx:pt idx="58661">1</cx:pt>
          <cx:pt idx="58662">1</cx:pt>
          <cx:pt idx="58663">1</cx:pt>
          <cx:pt idx="58664">1</cx:pt>
          <cx:pt idx="58665">1</cx:pt>
          <cx:pt idx="58666">1</cx:pt>
          <cx:pt idx="58667">0</cx:pt>
          <cx:pt idx="58668">0</cx:pt>
          <cx:pt idx="58669">0</cx:pt>
          <cx:pt idx="58670">0</cx:pt>
          <cx:pt idx="58671">0</cx:pt>
          <cx:pt idx="58672">0</cx:pt>
          <cx:pt idx="58673">1</cx:pt>
          <cx:pt idx="58674">0</cx:pt>
          <cx:pt idx="58675">0</cx:pt>
          <cx:pt idx="58676">1</cx:pt>
          <cx:pt idx="58677">0</cx:pt>
          <cx:pt idx="58678">0</cx:pt>
          <cx:pt idx="58679">1</cx:pt>
          <cx:pt idx="58680">1</cx:pt>
          <cx:pt idx="58681">1</cx:pt>
          <cx:pt idx="58682">1</cx:pt>
          <cx:pt idx="58683">0</cx:pt>
          <cx:pt idx="58684">1</cx:pt>
          <cx:pt idx="58685">1</cx:pt>
          <cx:pt idx="58686">0</cx:pt>
          <cx:pt idx="58687">1</cx:pt>
          <cx:pt idx="58688">1</cx:pt>
          <cx:pt idx="58689">0</cx:pt>
          <cx:pt idx="58690">0</cx:pt>
          <cx:pt idx="58691">0</cx:pt>
          <cx:pt idx="58692">0</cx:pt>
          <cx:pt idx="58693">0</cx:pt>
          <cx:pt idx="58694">1</cx:pt>
          <cx:pt idx="58695">1</cx:pt>
          <cx:pt idx="58696">0</cx:pt>
          <cx:pt idx="58697">0</cx:pt>
          <cx:pt idx="58698">1</cx:pt>
          <cx:pt idx="58699">0</cx:pt>
          <cx:pt idx="58700">1</cx:pt>
          <cx:pt idx="58701">0</cx:pt>
          <cx:pt idx="58702">0</cx:pt>
          <cx:pt idx="58703">1</cx:pt>
          <cx:pt idx="58704">0</cx:pt>
          <cx:pt idx="58705">0</cx:pt>
          <cx:pt idx="58706">0</cx:pt>
          <cx:pt idx="58707">0</cx:pt>
          <cx:pt idx="58708">1</cx:pt>
          <cx:pt idx="58709">0</cx:pt>
          <cx:pt idx="58710">0</cx:pt>
          <cx:pt idx="58711">1</cx:pt>
          <cx:pt idx="58712">0</cx:pt>
          <cx:pt idx="58713">1</cx:pt>
          <cx:pt idx="58714">0</cx:pt>
          <cx:pt idx="58715">0</cx:pt>
          <cx:pt idx="58716">1</cx:pt>
          <cx:pt idx="58717">1</cx:pt>
          <cx:pt idx="58718">0</cx:pt>
          <cx:pt idx="58719">1</cx:pt>
          <cx:pt idx="58720">0</cx:pt>
          <cx:pt idx="58721">1</cx:pt>
          <cx:pt idx="58722">1</cx:pt>
          <cx:pt idx="58723">0</cx:pt>
          <cx:pt idx="58724">0</cx:pt>
          <cx:pt idx="58725">0</cx:pt>
          <cx:pt idx="58726">1</cx:pt>
          <cx:pt idx="58727">0</cx:pt>
          <cx:pt idx="58728">0</cx:pt>
          <cx:pt idx="58729">1</cx:pt>
          <cx:pt idx="58730">0</cx:pt>
          <cx:pt idx="58731">0</cx:pt>
          <cx:pt idx="58732">0</cx:pt>
          <cx:pt idx="58733">1</cx:pt>
          <cx:pt idx="58734">1</cx:pt>
          <cx:pt idx="58735">0</cx:pt>
          <cx:pt idx="58736">1</cx:pt>
          <cx:pt idx="58737">0</cx:pt>
          <cx:pt idx="58738">0</cx:pt>
          <cx:pt idx="58739">1</cx:pt>
          <cx:pt idx="58740">1</cx:pt>
          <cx:pt idx="58741">1</cx:pt>
          <cx:pt idx="58742">1</cx:pt>
          <cx:pt idx="58743">1</cx:pt>
          <cx:pt idx="58744">0</cx:pt>
          <cx:pt idx="58745">0</cx:pt>
          <cx:pt idx="58746">0</cx:pt>
          <cx:pt idx="58747">0</cx:pt>
          <cx:pt idx="58748">0</cx:pt>
          <cx:pt idx="58749">1</cx:pt>
          <cx:pt idx="58750">0</cx:pt>
          <cx:pt idx="58751">0</cx:pt>
          <cx:pt idx="58752">1</cx:pt>
          <cx:pt idx="58753">0</cx:pt>
          <cx:pt idx="58754">1</cx:pt>
          <cx:pt idx="58755">1</cx:pt>
          <cx:pt idx="58756">1</cx:pt>
          <cx:pt idx="58757">1</cx:pt>
          <cx:pt idx="58758">0</cx:pt>
          <cx:pt idx="58759">0</cx:pt>
          <cx:pt idx="58760">0</cx:pt>
          <cx:pt idx="58761">1</cx:pt>
          <cx:pt idx="58762">1</cx:pt>
          <cx:pt idx="58763">1</cx:pt>
          <cx:pt idx="58764">1</cx:pt>
          <cx:pt idx="58765">1</cx:pt>
          <cx:pt idx="58766">0</cx:pt>
          <cx:pt idx="58767">0</cx:pt>
          <cx:pt idx="58768">1</cx:pt>
          <cx:pt idx="58769">1</cx:pt>
          <cx:pt idx="58770">0</cx:pt>
          <cx:pt idx="58771">0</cx:pt>
          <cx:pt idx="58772">0</cx:pt>
          <cx:pt idx="58773">1</cx:pt>
          <cx:pt idx="58774">0</cx:pt>
          <cx:pt idx="58775">1</cx:pt>
          <cx:pt idx="58776">0</cx:pt>
          <cx:pt idx="58777">0</cx:pt>
          <cx:pt idx="58778">1</cx:pt>
          <cx:pt idx="58779">0</cx:pt>
          <cx:pt idx="58780">0</cx:pt>
          <cx:pt idx="58781">0</cx:pt>
          <cx:pt idx="58782">1</cx:pt>
          <cx:pt idx="58783">1</cx:pt>
          <cx:pt idx="58784">0</cx:pt>
          <cx:pt idx="58785">0</cx:pt>
          <cx:pt idx="58786">0</cx:pt>
          <cx:pt idx="58787">0</cx:pt>
          <cx:pt idx="58788">1</cx:pt>
          <cx:pt idx="58789">0</cx:pt>
          <cx:pt idx="58790">1</cx:pt>
          <cx:pt idx="58791">0</cx:pt>
          <cx:pt idx="58792">1</cx:pt>
          <cx:pt idx="58793">0</cx:pt>
          <cx:pt idx="58794">0</cx:pt>
          <cx:pt idx="58795">0</cx:pt>
          <cx:pt idx="58796">1</cx:pt>
          <cx:pt idx="58797">1</cx:pt>
          <cx:pt idx="58798">1</cx:pt>
          <cx:pt idx="58799">0</cx:pt>
          <cx:pt idx="58800">0</cx:pt>
          <cx:pt idx="58801">0</cx:pt>
          <cx:pt idx="58802">0</cx:pt>
          <cx:pt idx="58803">1</cx:pt>
          <cx:pt idx="58804">1</cx:pt>
          <cx:pt idx="58805">0</cx:pt>
          <cx:pt idx="58806">0</cx:pt>
          <cx:pt idx="58807">1</cx:pt>
          <cx:pt idx="58808">0</cx:pt>
          <cx:pt idx="58809">0</cx:pt>
          <cx:pt idx="58810">0</cx:pt>
          <cx:pt idx="58811">0</cx:pt>
          <cx:pt idx="58812">1</cx:pt>
          <cx:pt idx="58813">0</cx:pt>
          <cx:pt idx="58814">0</cx:pt>
          <cx:pt idx="58815">0</cx:pt>
          <cx:pt idx="58816">0</cx:pt>
          <cx:pt idx="58817">1</cx:pt>
          <cx:pt idx="58818">0</cx:pt>
          <cx:pt idx="58819">0</cx:pt>
          <cx:pt idx="58820">1</cx:pt>
          <cx:pt idx="58821">1</cx:pt>
          <cx:pt idx="58822">1</cx:pt>
          <cx:pt idx="58823">0</cx:pt>
          <cx:pt idx="58824">0</cx:pt>
          <cx:pt idx="58825">1</cx:pt>
          <cx:pt idx="58826">1</cx:pt>
          <cx:pt idx="58827">0</cx:pt>
          <cx:pt idx="58828">1</cx:pt>
          <cx:pt idx="58829">1</cx:pt>
          <cx:pt idx="58830">1</cx:pt>
          <cx:pt idx="58831">1</cx:pt>
          <cx:pt idx="58832">0</cx:pt>
          <cx:pt idx="58833">0</cx:pt>
          <cx:pt idx="58834">0</cx:pt>
          <cx:pt idx="58835">1</cx:pt>
          <cx:pt idx="58836">0</cx:pt>
          <cx:pt idx="58837">0</cx:pt>
          <cx:pt idx="58838">0</cx:pt>
          <cx:pt idx="58839">0</cx:pt>
          <cx:pt idx="58840">0</cx:pt>
          <cx:pt idx="58841">1</cx:pt>
          <cx:pt idx="58842">0</cx:pt>
          <cx:pt idx="58843">1</cx:pt>
          <cx:pt idx="58844">0</cx:pt>
          <cx:pt idx="58845">0</cx:pt>
          <cx:pt idx="58846">0</cx:pt>
          <cx:pt idx="58847">0</cx:pt>
          <cx:pt idx="58848">0</cx:pt>
          <cx:pt idx="58849">1</cx:pt>
          <cx:pt idx="58850">0</cx:pt>
          <cx:pt idx="58851">0</cx:pt>
          <cx:pt idx="58852">0</cx:pt>
          <cx:pt idx="58853">1</cx:pt>
          <cx:pt idx="58854">1</cx:pt>
          <cx:pt idx="58855">1</cx:pt>
          <cx:pt idx="58856">0</cx:pt>
          <cx:pt idx="58857">0</cx:pt>
          <cx:pt idx="58858">1</cx:pt>
          <cx:pt idx="58859">0</cx:pt>
          <cx:pt idx="58860">0</cx:pt>
          <cx:pt idx="58861">0</cx:pt>
          <cx:pt idx="58862">0</cx:pt>
          <cx:pt idx="58863">1</cx:pt>
          <cx:pt idx="58864">1</cx:pt>
          <cx:pt idx="58865">1</cx:pt>
          <cx:pt idx="58866">0</cx:pt>
          <cx:pt idx="58867">0</cx:pt>
          <cx:pt idx="58868">1</cx:pt>
          <cx:pt idx="58869">1</cx:pt>
          <cx:pt idx="58870">1</cx:pt>
          <cx:pt idx="58871">0</cx:pt>
          <cx:pt idx="58872">0</cx:pt>
          <cx:pt idx="58873">0</cx:pt>
          <cx:pt idx="58874">1</cx:pt>
          <cx:pt idx="58875">0</cx:pt>
          <cx:pt idx="58876">1</cx:pt>
          <cx:pt idx="58877">0</cx:pt>
          <cx:pt idx="58878">0</cx:pt>
          <cx:pt idx="58879">0</cx:pt>
          <cx:pt idx="58880">0</cx:pt>
          <cx:pt idx="58881">0</cx:pt>
          <cx:pt idx="58882">1</cx:pt>
          <cx:pt idx="58883">1</cx:pt>
          <cx:pt idx="58884">0</cx:pt>
          <cx:pt idx="58885">0</cx:pt>
          <cx:pt idx="58886">0</cx:pt>
          <cx:pt idx="58887">0</cx:pt>
          <cx:pt idx="58888">0</cx:pt>
          <cx:pt idx="58889">0</cx:pt>
          <cx:pt idx="58890">1</cx:pt>
          <cx:pt idx="58891">0</cx:pt>
          <cx:pt idx="58892">0</cx:pt>
          <cx:pt idx="58893">1</cx:pt>
          <cx:pt idx="58894">0</cx:pt>
          <cx:pt idx="58895">1</cx:pt>
          <cx:pt idx="58896">1</cx:pt>
          <cx:pt idx="58897">0</cx:pt>
          <cx:pt idx="58898">0</cx:pt>
          <cx:pt idx="58899">0</cx:pt>
          <cx:pt idx="58900">0</cx:pt>
          <cx:pt idx="58901">1</cx:pt>
          <cx:pt idx="58902">1</cx:pt>
          <cx:pt idx="58903">1</cx:pt>
          <cx:pt idx="58904">1</cx:pt>
          <cx:pt idx="58905">0</cx:pt>
          <cx:pt idx="58906">0</cx:pt>
          <cx:pt idx="58907">0</cx:pt>
          <cx:pt idx="58908">1</cx:pt>
          <cx:pt idx="58909">1</cx:pt>
          <cx:pt idx="58910">0</cx:pt>
          <cx:pt idx="58911">0</cx:pt>
          <cx:pt idx="58912">1</cx:pt>
          <cx:pt idx="58913">0</cx:pt>
          <cx:pt idx="58914">1</cx:pt>
          <cx:pt idx="58915">0</cx:pt>
          <cx:pt idx="58916">1</cx:pt>
          <cx:pt idx="58917">1</cx:pt>
          <cx:pt idx="58918">1</cx:pt>
          <cx:pt idx="58919">0</cx:pt>
          <cx:pt idx="58920">0</cx:pt>
          <cx:pt idx="58921">0</cx:pt>
          <cx:pt idx="58922">0</cx:pt>
          <cx:pt idx="58923">0</cx:pt>
          <cx:pt idx="58924">1</cx:pt>
          <cx:pt idx="58925">0</cx:pt>
          <cx:pt idx="58926">1</cx:pt>
          <cx:pt idx="58927">1</cx:pt>
          <cx:pt idx="58928">0</cx:pt>
          <cx:pt idx="58929">0</cx:pt>
          <cx:pt idx="58930">1</cx:pt>
          <cx:pt idx="58931">0</cx:pt>
          <cx:pt idx="58932">1</cx:pt>
          <cx:pt idx="58933">0</cx:pt>
          <cx:pt idx="58934">0</cx:pt>
          <cx:pt idx="58935">0</cx:pt>
          <cx:pt idx="58936">0</cx:pt>
          <cx:pt idx="58937">0</cx:pt>
          <cx:pt idx="58938">0</cx:pt>
          <cx:pt idx="58939">0</cx:pt>
          <cx:pt idx="58940">1</cx:pt>
          <cx:pt idx="58941">0</cx:pt>
          <cx:pt idx="58942">1</cx:pt>
          <cx:pt idx="58943">0</cx:pt>
          <cx:pt idx="58944">1</cx:pt>
          <cx:pt idx="58945">0</cx:pt>
          <cx:pt idx="58946">1</cx:pt>
          <cx:pt idx="58947">1</cx:pt>
          <cx:pt idx="58948">0</cx:pt>
          <cx:pt idx="58949">0</cx:pt>
          <cx:pt idx="58950">0</cx:pt>
          <cx:pt idx="58951">0</cx:pt>
          <cx:pt idx="58952">0</cx:pt>
          <cx:pt idx="58953">0</cx:pt>
          <cx:pt idx="58954">1</cx:pt>
          <cx:pt idx="58955">0</cx:pt>
          <cx:pt idx="58956">0</cx:pt>
          <cx:pt idx="58957">1</cx:pt>
          <cx:pt idx="58958">0</cx:pt>
          <cx:pt idx="58959">0</cx:pt>
          <cx:pt idx="58960">0</cx:pt>
          <cx:pt idx="58961">0</cx:pt>
          <cx:pt idx="58962">1</cx:pt>
          <cx:pt idx="58963">1</cx:pt>
          <cx:pt idx="58964">0</cx:pt>
          <cx:pt idx="58965">1</cx:pt>
          <cx:pt idx="58966">0</cx:pt>
          <cx:pt idx="58967">1</cx:pt>
          <cx:pt idx="58968">0</cx:pt>
          <cx:pt idx="58969">0</cx:pt>
          <cx:pt idx="58970">1</cx:pt>
          <cx:pt idx="58971">1</cx:pt>
          <cx:pt idx="58972">0</cx:pt>
          <cx:pt idx="58973">0</cx:pt>
          <cx:pt idx="58974">0</cx:pt>
          <cx:pt idx="58975">0</cx:pt>
          <cx:pt idx="58976">1</cx:pt>
          <cx:pt idx="58977">0</cx:pt>
          <cx:pt idx="58978">0</cx:pt>
          <cx:pt idx="58979">0</cx:pt>
          <cx:pt idx="58980">1</cx:pt>
          <cx:pt idx="58981">0</cx:pt>
          <cx:pt idx="58982">0</cx:pt>
          <cx:pt idx="58983">1</cx:pt>
          <cx:pt idx="58984">0</cx:pt>
          <cx:pt idx="58985">1</cx:pt>
          <cx:pt idx="58986">0</cx:pt>
          <cx:pt idx="58987">0</cx:pt>
          <cx:pt idx="58988">0</cx:pt>
          <cx:pt idx="58989">0</cx:pt>
          <cx:pt idx="58990">0</cx:pt>
          <cx:pt idx="58991">0</cx:pt>
          <cx:pt idx="58992">1</cx:pt>
          <cx:pt idx="58993">0</cx:pt>
          <cx:pt idx="58994">0</cx:pt>
          <cx:pt idx="58995">1</cx:pt>
          <cx:pt idx="58996">0</cx:pt>
          <cx:pt idx="58997">1</cx:pt>
          <cx:pt idx="58998">1</cx:pt>
          <cx:pt idx="58999">0</cx:pt>
          <cx:pt idx="59000">1</cx:pt>
          <cx:pt idx="59001">0</cx:pt>
          <cx:pt idx="59002">0</cx:pt>
          <cx:pt idx="59003">0</cx:pt>
          <cx:pt idx="59004">0</cx:pt>
          <cx:pt idx="59005">0</cx:pt>
          <cx:pt idx="59006">0</cx:pt>
          <cx:pt idx="59007">0</cx:pt>
          <cx:pt idx="59008">0</cx:pt>
          <cx:pt idx="59009">1</cx:pt>
          <cx:pt idx="59010">0</cx:pt>
          <cx:pt idx="59011">1</cx:pt>
          <cx:pt idx="59012">1</cx:pt>
          <cx:pt idx="59013">0</cx:pt>
          <cx:pt idx="59014">0</cx:pt>
          <cx:pt idx="59015">0</cx:pt>
          <cx:pt idx="59016">0</cx:pt>
          <cx:pt idx="59017">0</cx:pt>
          <cx:pt idx="59018">1</cx:pt>
          <cx:pt idx="59019">0</cx:pt>
          <cx:pt idx="59020">1</cx:pt>
          <cx:pt idx="59021">0</cx:pt>
          <cx:pt idx="59022">0</cx:pt>
          <cx:pt idx="59023">0</cx:pt>
          <cx:pt idx="59024">1</cx:pt>
          <cx:pt idx="59025">1</cx:pt>
          <cx:pt idx="59026">1</cx:pt>
          <cx:pt idx="59027">1</cx:pt>
          <cx:pt idx="59028">1</cx:pt>
          <cx:pt idx="59029">0</cx:pt>
          <cx:pt idx="59030">1</cx:pt>
          <cx:pt idx="59031">1</cx:pt>
          <cx:pt idx="59032">0</cx:pt>
          <cx:pt idx="59033">1</cx:pt>
          <cx:pt idx="59034">0</cx:pt>
          <cx:pt idx="59035">1</cx:pt>
          <cx:pt idx="59036">0</cx:pt>
          <cx:pt idx="59037">0</cx:pt>
          <cx:pt idx="59038">1</cx:pt>
          <cx:pt idx="59039">0</cx:pt>
          <cx:pt idx="59040">0</cx:pt>
          <cx:pt idx="59041">0</cx:pt>
          <cx:pt idx="59042">0</cx:pt>
          <cx:pt idx="59043">0</cx:pt>
          <cx:pt idx="59044">0</cx:pt>
          <cx:pt idx="59045">0</cx:pt>
          <cx:pt idx="59046">0</cx:pt>
          <cx:pt idx="59047">0</cx:pt>
          <cx:pt idx="59048">1</cx:pt>
          <cx:pt idx="59049">0</cx:pt>
          <cx:pt idx="59050">0</cx:pt>
          <cx:pt idx="59051">0</cx:pt>
          <cx:pt idx="59052">0</cx:pt>
          <cx:pt idx="59053">1</cx:pt>
          <cx:pt idx="59054">0</cx:pt>
          <cx:pt idx="59055">0</cx:pt>
          <cx:pt idx="59056">0</cx:pt>
          <cx:pt idx="59057">0</cx:pt>
          <cx:pt idx="59058">1</cx:pt>
          <cx:pt idx="59059">0</cx:pt>
          <cx:pt idx="59060">1</cx:pt>
          <cx:pt idx="59061">1</cx:pt>
          <cx:pt idx="59062">1</cx:pt>
          <cx:pt idx="59063">0</cx:pt>
          <cx:pt idx="59064">0</cx:pt>
          <cx:pt idx="59065">1</cx:pt>
          <cx:pt idx="59066">1</cx:pt>
          <cx:pt idx="59067">1</cx:pt>
          <cx:pt idx="59068">0</cx:pt>
          <cx:pt idx="59069">0</cx:pt>
          <cx:pt idx="59070">1</cx:pt>
          <cx:pt idx="59071">0</cx:pt>
          <cx:pt idx="59072">1</cx:pt>
          <cx:pt idx="59073">0</cx:pt>
          <cx:pt idx="59074">0</cx:pt>
          <cx:pt idx="59075">0</cx:pt>
          <cx:pt idx="59076">0</cx:pt>
          <cx:pt idx="59077">1</cx:pt>
          <cx:pt idx="59078">1</cx:pt>
          <cx:pt idx="59079">1</cx:pt>
          <cx:pt idx="59080">1</cx:pt>
          <cx:pt idx="59081">1</cx:pt>
          <cx:pt idx="59082">0</cx:pt>
          <cx:pt idx="59083">1</cx:pt>
          <cx:pt idx="59084">1</cx:pt>
          <cx:pt idx="59085">0</cx:pt>
          <cx:pt idx="59086">0</cx:pt>
          <cx:pt idx="59087">0</cx:pt>
          <cx:pt idx="59088">0</cx:pt>
          <cx:pt idx="59089">1</cx:pt>
          <cx:pt idx="59090">1</cx:pt>
          <cx:pt idx="59091">0</cx:pt>
          <cx:pt idx="59092">0</cx:pt>
          <cx:pt idx="59093">0</cx:pt>
          <cx:pt idx="59094">0</cx:pt>
          <cx:pt idx="59095">1</cx:pt>
          <cx:pt idx="59096">0</cx:pt>
          <cx:pt idx="59097">1</cx:pt>
          <cx:pt idx="59098">0</cx:pt>
          <cx:pt idx="59099">1</cx:pt>
          <cx:pt idx="59100">0</cx:pt>
          <cx:pt idx="59101">1</cx:pt>
          <cx:pt idx="59102">1</cx:pt>
          <cx:pt idx="59103">1</cx:pt>
          <cx:pt idx="59104">0</cx:pt>
          <cx:pt idx="59105">0</cx:pt>
          <cx:pt idx="59106">0</cx:pt>
          <cx:pt idx="59107">0</cx:pt>
          <cx:pt idx="59108">1</cx:pt>
          <cx:pt idx="59109">0</cx:pt>
          <cx:pt idx="59110">0</cx:pt>
          <cx:pt idx="59111">0</cx:pt>
          <cx:pt idx="59112">0</cx:pt>
          <cx:pt idx="59113">0</cx:pt>
          <cx:pt idx="59114">1</cx:pt>
          <cx:pt idx="59115">1</cx:pt>
          <cx:pt idx="59116">1</cx:pt>
          <cx:pt idx="59117">1</cx:pt>
          <cx:pt idx="59118">0</cx:pt>
          <cx:pt idx="59119">1</cx:pt>
          <cx:pt idx="59120">1</cx:pt>
          <cx:pt idx="59121">0</cx:pt>
          <cx:pt idx="59122">0</cx:pt>
          <cx:pt idx="59123">0</cx:pt>
          <cx:pt idx="59124">1</cx:pt>
          <cx:pt idx="59125">0</cx:pt>
          <cx:pt idx="59126">1</cx:pt>
          <cx:pt idx="59127">0</cx:pt>
          <cx:pt idx="59128">0</cx:pt>
          <cx:pt idx="59129">0</cx:pt>
          <cx:pt idx="59130">0</cx:pt>
          <cx:pt idx="59131">0</cx:pt>
          <cx:pt idx="59132">0</cx:pt>
          <cx:pt idx="59133">1</cx:pt>
          <cx:pt idx="59134">1</cx:pt>
          <cx:pt idx="59135">1</cx:pt>
          <cx:pt idx="59136">0</cx:pt>
          <cx:pt idx="59137">1</cx:pt>
          <cx:pt idx="59138">0</cx:pt>
          <cx:pt idx="59139">1</cx:pt>
          <cx:pt idx="59140">1</cx:pt>
          <cx:pt idx="59141">0</cx:pt>
          <cx:pt idx="59142">1</cx:pt>
          <cx:pt idx="59143">0</cx:pt>
          <cx:pt idx="59144">0</cx:pt>
          <cx:pt idx="59145">0</cx:pt>
          <cx:pt idx="59146">0</cx:pt>
          <cx:pt idx="59147">0</cx:pt>
          <cx:pt idx="59148">1</cx:pt>
          <cx:pt idx="59149">0</cx:pt>
          <cx:pt idx="59150">1</cx:pt>
          <cx:pt idx="59151">1</cx:pt>
          <cx:pt idx="59152">0</cx:pt>
          <cx:pt idx="59153">1</cx:pt>
          <cx:pt idx="59154">0</cx:pt>
          <cx:pt idx="59155">0</cx:pt>
          <cx:pt idx="59156">1</cx:pt>
          <cx:pt idx="59157">0</cx:pt>
          <cx:pt idx="59158">0</cx:pt>
          <cx:pt idx="59159">0</cx:pt>
          <cx:pt idx="59160">0</cx:pt>
          <cx:pt idx="59161">1</cx:pt>
          <cx:pt idx="59162">0</cx:pt>
          <cx:pt idx="59163">0</cx:pt>
          <cx:pt idx="59164">1</cx:pt>
          <cx:pt idx="59165">0</cx:pt>
          <cx:pt idx="59166">0</cx:pt>
          <cx:pt idx="59167">0</cx:pt>
          <cx:pt idx="59168">0</cx:pt>
          <cx:pt idx="59169">0</cx:pt>
          <cx:pt idx="59170">1</cx:pt>
          <cx:pt idx="59171">1</cx:pt>
          <cx:pt idx="59172">0</cx:pt>
          <cx:pt idx="59173">1</cx:pt>
          <cx:pt idx="59174">1</cx:pt>
          <cx:pt idx="59175">0</cx:pt>
          <cx:pt idx="59176">0</cx:pt>
          <cx:pt idx="59177">0</cx:pt>
          <cx:pt idx="59178">0</cx:pt>
          <cx:pt idx="59179">0</cx:pt>
          <cx:pt idx="59180">1</cx:pt>
          <cx:pt idx="59181">1</cx:pt>
          <cx:pt idx="59182">1</cx:pt>
          <cx:pt idx="59183">0</cx:pt>
          <cx:pt idx="59184">1</cx:pt>
          <cx:pt idx="59185">1</cx:pt>
          <cx:pt idx="59186">0</cx:pt>
          <cx:pt idx="59187">0</cx:pt>
          <cx:pt idx="59188">1</cx:pt>
          <cx:pt idx="59189">0</cx:pt>
          <cx:pt idx="59190">0</cx:pt>
          <cx:pt idx="59191">1</cx:pt>
          <cx:pt idx="59192">0</cx:pt>
          <cx:pt idx="59193">1</cx:pt>
          <cx:pt idx="59194">0</cx:pt>
          <cx:pt idx="59195">1</cx:pt>
          <cx:pt idx="59196">1</cx:pt>
          <cx:pt idx="59197">1</cx:pt>
          <cx:pt idx="59198">0</cx:pt>
          <cx:pt idx="59199">0</cx:pt>
          <cx:pt idx="59200">0</cx:pt>
          <cx:pt idx="59201">1</cx:pt>
          <cx:pt idx="59202">1</cx:pt>
          <cx:pt idx="59203">0</cx:pt>
          <cx:pt idx="59204">0</cx:pt>
          <cx:pt idx="59205">0</cx:pt>
          <cx:pt idx="59206">1</cx:pt>
          <cx:pt idx="59207">1</cx:pt>
          <cx:pt idx="59208">0</cx:pt>
          <cx:pt idx="59209">1</cx:pt>
          <cx:pt idx="59210">0</cx:pt>
          <cx:pt idx="59211">0</cx:pt>
          <cx:pt idx="59212">1</cx:pt>
          <cx:pt idx="59213">1</cx:pt>
          <cx:pt idx="59214">0</cx:pt>
          <cx:pt idx="59215">0</cx:pt>
          <cx:pt idx="59216">1</cx:pt>
          <cx:pt idx="59217">0</cx:pt>
          <cx:pt idx="59218">0</cx:pt>
          <cx:pt idx="59219">0</cx:pt>
          <cx:pt idx="59220">0</cx:pt>
          <cx:pt idx="59221">0</cx:pt>
          <cx:pt idx="59222">1</cx:pt>
          <cx:pt idx="59223">0</cx:pt>
          <cx:pt idx="59224">0</cx:pt>
          <cx:pt idx="59225">0</cx:pt>
          <cx:pt idx="59226">0</cx:pt>
          <cx:pt idx="59227">0</cx:pt>
          <cx:pt idx="59228">1</cx:pt>
          <cx:pt idx="59229">1</cx:pt>
          <cx:pt idx="59230">0</cx:pt>
          <cx:pt idx="59231">1</cx:pt>
          <cx:pt idx="59232">1</cx:pt>
          <cx:pt idx="59233">0</cx:pt>
          <cx:pt idx="59234">0</cx:pt>
          <cx:pt idx="59235">0</cx:pt>
          <cx:pt idx="59236">0</cx:pt>
          <cx:pt idx="59237">0</cx:pt>
          <cx:pt idx="59238">0</cx:pt>
          <cx:pt idx="59239">0</cx:pt>
          <cx:pt idx="59240">0</cx:pt>
          <cx:pt idx="59241">1</cx:pt>
          <cx:pt idx="59242">1</cx:pt>
          <cx:pt idx="59243">1</cx:pt>
          <cx:pt idx="59244">1</cx:pt>
          <cx:pt idx="59245">1</cx:pt>
          <cx:pt idx="59246">1</cx:pt>
          <cx:pt idx="59247">0</cx:pt>
          <cx:pt idx="59248">0</cx:pt>
          <cx:pt idx="59249">1</cx:pt>
          <cx:pt idx="59250">0</cx:pt>
          <cx:pt idx="59251">1</cx:pt>
          <cx:pt idx="59252">1</cx:pt>
          <cx:pt idx="59253">0</cx:pt>
          <cx:pt idx="59254">0</cx:pt>
          <cx:pt idx="59255">0</cx:pt>
          <cx:pt idx="59256">1</cx:pt>
          <cx:pt idx="59257">1</cx:pt>
          <cx:pt idx="59258">1</cx:pt>
          <cx:pt idx="59259">0</cx:pt>
          <cx:pt idx="59260">1</cx:pt>
          <cx:pt idx="59261">1</cx:pt>
          <cx:pt idx="59262">1</cx:pt>
          <cx:pt idx="59263">1</cx:pt>
          <cx:pt idx="59264">0</cx:pt>
          <cx:pt idx="59265">0</cx:pt>
          <cx:pt idx="59266">1</cx:pt>
          <cx:pt idx="59267">0</cx:pt>
          <cx:pt idx="59268">1</cx:pt>
          <cx:pt idx="59269">1</cx:pt>
          <cx:pt idx="59270">0</cx:pt>
          <cx:pt idx="59271">0</cx:pt>
          <cx:pt idx="59272">0</cx:pt>
          <cx:pt idx="59273">1</cx:pt>
          <cx:pt idx="59274">1</cx:pt>
          <cx:pt idx="59275">0</cx:pt>
          <cx:pt idx="59276">1</cx:pt>
          <cx:pt idx="59277">0</cx:pt>
          <cx:pt idx="59278">1</cx:pt>
          <cx:pt idx="59279">0</cx:pt>
          <cx:pt idx="59280">1</cx:pt>
          <cx:pt idx="59281">1</cx:pt>
          <cx:pt idx="59282">0</cx:pt>
          <cx:pt idx="59283">1</cx:pt>
          <cx:pt idx="59284">0</cx:pt>
          <cx:pt idx="59285">1</cx:pt>
          <cx:pt idx="59286">0</cx:pt>
          <cx:pt idx="59287">0</cx:pt>
          <cx:pt idx="59288">1</cx:pt>
          <cx:pt idx="59289">0</cx:pt>
          <cx:pt idx="59290">1</cx:pt>
          <cx:pt idx="59291">0</cx:pt>
          <cx:pt idx="59292">1</cx:pt>
          <cx:pt idx="59293">1</cx:pt>
          <cx:pt idx="59294">0</cx:pt>
          <cx:pt idx="59295">0</cx:pt>
          <cx:pt idx="59296">0</cx:pt>
          <cx:pt idx="59297">1</cx:pt>
          <cx:pt idx="59298">1</cx:pt>
          <cx:pt idx="59299">0</cx:pt>
          <cx:pt idx="59300">0</cx:pt>
          <cx:pt idx="59301">0</cx:pt>
          <cx:pt idx="59302">0</cx:pt>
          <cx:pt idx="59303">0</cx:pt>
          <cx:pt idx="59304">0</cx:pt>
          <cx:pt idx="59305">0</cx:pt>
          <cx:pt idx="59306">1</cx:pt>
          <cx:pt idx="59307">0</cx:pt>
          <cx:pt idx="59308">0</cx:pt>
          <cx:pt idx="59309">0</cx:pt>
          <cx:pt idx="59310">0</cx:pt>
          <cx:pt idx="59311">0</cx:pt>
          <cx:pt idx="59312">0</cx:pt>
          <cx:pt idx="59313">1</cx:pt>
          <cx:pt idx="59314">1</cx:pt>
          <cx:pt idx="59315">1</cx:pt>
          <cx:pt idx="59316">0</cx:pt>
          <cx:pt idx="59317">0</cx:pt>
          <cx:pt idx="59318">0</cx:pt>
          <cx:pt idx="59319">0</cx:pt>
          <cx:pt idx="59320">0</cx:pt>
          <cx:pt idx="59321">1</cx:pt>
          <cx:pt idx="59322">1</cx:pt>
          <cx:pt idx="59323">1</cx:pt>
          <cx:pt idx="59324">1</cx:pt>
          <cx:pt idx="59325">0</cx:pt>
          <cx:pt idx="59326">0</cx:pt>
          <cx:pt idx="59327">1</cx:pt>
          <cx:pt idx="59328">0</cx:pt>
          <cx:pt idx="59329">1</cx:pt>
          <cx:pt idx="59330">0</cx:pt>
          <cx:pt idx="59331">0</cx:pt>
          <cx:pt idx="59332">1</cx:pt>
          <cx:pt idx="59333">1</cx:pt>
          <cx:pt idx="59334">0</cx:pt>
          <cx:pt idx="59335">1</cx:pt>
          <cx:pt idx="59336">0</cx:pt>
          <cx:pt idx="59337">0</cx:pt>
          <cx:pt idx="59338">0</cx:pt>
          <cx:pt idx="59339">0</cx:pt>
          <cx:pt idx="59340">1</cx:pt>
          <cx:pt idx="59341">0</cx:pt>
          <cx:pt idx="59342">0</cx:pt>
          <cx:pt idx="59343">0</cx:pt>
          <cx:pt idx="59344">0</cx:pt>
          <cx:pt idx="59345">1</cx:pt>
          <cx:pt idx="59346">0</cx:pt>
          <cx:pt idx="59347">0</cx:pt>
          <cx:pt idx="59348">0</cx:pt>
          <cx:pt idx="59349">1</cx:pt>
          <cx:pt idx="59350">1</cx:pt>
          <cx:pt idx="59351">0</cx:pt>
          <cx:pt idx="59352">1</cx:pt>
          <cx:pt idx="59353">1</cx:pt>
          <cx:pt idx="59354">1</cx:pt>
          <cx:pt idx="59355">0</cx:pt>
          <cx:pt idx="59356">0</cx:pt>
          <cx:pt idx="59357">1</cx:pt>
          <cx:pt idx="59358">1</cx:pt>
          <cx:pt idx="59359">1</cx:pt>
          <cx:pt idx="59360">0</cx:pt>
          <cx:pt idx="59361">0</cx:pt>
          <cx:pt idx="59362">1</cx:pt>
          <cx:pt idx="59363">0</cx:pt>
          <cx:pt idx="59364">0</cx:pt>
          <cx:pt idx="59365">0</cx:pt>
          <cx:pt idx="59366">0</cx:pt>
          <cx:pt idx="59367">1</cx:pt>
          <cx:pt idx="59368">1</cx:pt>
          <cx:pt idx="59369">0</cx:pt>
          <cx:pt idx="59370">0</cx:pt>
          <cx:pt idx="59371">0</cx:pt>
          <cx:pt idx="59372">0</cx:pt>
          <cx:pt idx="59373">1</cx:pt>
          <cx:pt idx="59374">0</cx:pt>
          <cx:pt idx="59375">1</cx:pt>
          <cx:pt idx="59376">0</cx:pt>
          <cx:pt idx="59377">1</cx:pt>
          <cx:pt idx="59378">1</cx:pt>
          <cx:pt idx="59379">0</cx:pt>
          <cx:pt idx="59380">0</cx:pt>
          <cx:pt idx="59381">1</cx:pt>
          <cx:pt idx="59382">0</cx:pt>
          <cx:pt idx="59383">0</cx:pt>
          <cx:pt idx="59384">0</cx:pt>
          <cx:pt idx="59385">1</cx:pt>
          <cx:pt idx="59386">0</cx:pt>
          <cx:pt idx="59387">1</cx:pt>
          <cx:pt idx="59388">0</cx:pt>
          <cx:pt idx="59389">0</cx:pt>
          <cx:pt idx="59390">0</cx:pt>
          <cx:pt idx="59391">0</cx:pt>
          <cx:pt idx="59392">1</cx:pt>
          <cx:pt idx="59393">0</cx:pt>
          <cx:pt idx="59394">0</cx:pt>
          <cx:pt idx="59395">0</cx:pt>
          <cx:pt idx="59396">1</cx:pt>
          <cx:pt idx="59397">0</cx:pt>
          <cx:pt idx="59398">0</cx:pt>
          <cx:pt idx="59399">0</cx:pt>
          <cx:pt idx="59400">0</cx:pt>
          <cx:pt idx="59401">1</cx:pt>
          <cx:pt idx="59402">1</cx:pt>
          <cx:pt idx="59403">1</cx:pt>
          <cx:pt idx="59404">0</cx:pt>
          <cx:pt idx="59405">0</cx:pt>
          <cx:pt idx="59406">0</cx:pt>
          <cx:pt idx="59407">0</cx:pt>
          <cx:pt idx="59408">1</cx:pt>
          <cx:pt idx="59409">0</cx:pt>
          <cx:pt idx="59410">1</cx:pt>
          <cx:pt idx="59411">1</cx:pt>
          <cx:pt idx="59412">1</cx:pt>
          <cx:pt idx="59413">0</cx:pt>
          <cx:pt idx="59414">1</cx:pt>
          <cx:pt idx="59415">1</cx:pt>
          <cx:pt idx="59416">0</cx:pt>
          <cx:pt idx="59417">1</cx:pt>
          <cx:pt idx="59418">0</cx:pt>
          <cx:pt idx="59419">0</cx:pt>
          <cx:pt idx="59420">0</cx:pt>
          <cx:pt idx="59421">0</cx:pt>
          <cx:pt idx="59422">1</cx:pt>
          <cx:pt idx="59423">0</cx:pt>
          <cx:pt idx="59424">1</cx:pt>
          <cx:pt idx="59425">1</cx:pt>
          <cx:pt idx="59426">1</cx:pt>
          <cx:pt idx="59427">0</cx:pt>
          <cx:pt idx="59428">0</cx:pt>
          <cx:pt idx="59429">1</cx:pt>
          <cx:pt idx="59430">1</cx:pt>
          <cx:pt idx="59431">1</cx:pt>
          <cx:pt idx="59432">0</cx:pt>
          <cx:pt idx="59433">1</cx:pt>
          <cx:pt idx="59434">0</cx:pt>
          <cx:pt idx="59435">1</cx:pt>
          <cx:pt idx="59436">0</cx:pt>
          <cx:pt idx="59437">0</cx:pt>
          <cx:pt idx="59438">0</cx:pt>
          <cx:pt idx="59439">1</cx:pt>
          <cx:pt idx="59440">0</cx:pt>
          <cx:pt idx="59441">0</cx:pt>
          <cx:pt idx="59442">0</cx:pt>
          <cx:pt idx="59443">0</cx:pt>
          <cx:pt idx="59444">0</cx:pt>
          <cx:pt idx="59445">1</cx:pt>
          <cx:pt idx="59446">1</cx:pt>
          <cx:pt idx="59447">1</cx:pt>
          <cx:pt idx="59448">1</cx:pt>
          <cx:pt idx="59449">0</cx:pt>
          <cx:pt idx="59450">1</cx:pt>
          <cx:pt idx="59451">1</cx:pt>
          <cx:pt idx="59452">1</cx:pt>
          <cx:pt idx="59453">0</cx:pt>
          <cx:pt idx="59454">1</cx:pt>
          <cx:pt idx="59455">0</cx:pt>
          <cx:pt idx="59456">0</cx:pt>
          <cx:pt idx="59457">0</cx:pt>
          <cx:pt idx="59458">1</cx:pt>
          <cx:pt idx="59459">1</cx:pt>
          <cx:pt idx="59460">0</cx:pt>
          <cx:pt idx="59461">1</cx:pt>
          <cx:pt idx="59462">1</cx:pt>
          <cx:pt idx="59463">1</cx:pt>
          <cx:pt idx="59464">0</cx:pt>
          <cx:pt idx="59465">0</cx:pt>
          <cx:pt idx="59466">0</cx:pt>
          <cx:pt idx="59467">0</cx:pt>
          <cx:pt idx="59468">0</cx:pt>
          <cx:pt idx="59469">0</cx:pt>
          <cx:pt idx="59470">1</cx:pt>
          <cx:pt idx="59471">1</cx:pt>
          <cx:pt idx="59472">1</cx:pt>
          <cx:pt idx="59473">0</cx:pt>
          <cx:pt idx="59474">0</cx:pt>
          <cx:pt idx="59475">0</cx:pt>
          <cx:pt idx="59476">1</cx:pt>
          <cx:pt idx="59477">1</cx:pt>
          <cx:pt idx="59478">0</cx:pt>
          <cx:pt idx="59479">1</cx:pt>
          <cx:pt idx="59480">1</cx:pt>
          <cx:pt idx="59481">0</cx:pt>
          <cx:pt idx="59482">1</cx:pt>
          <cx:pt idx="59483">0</cx:pt>
          <cx:pt idx="59484">0</cx:pt>
          <cx:pt idx="59485">1</cx:pt>
          <cx:pt idx="59486">0</cx:pt>
          <cx:pt idx="59487">0</cx:pt>
          <cx:pt idx="59488">1</cx:pt>
          <cx:pt idx="59489">0</cx:pt>
          <cx:pt idx="59490">0</cx:pt>
          <cx:pt idx="59491">1</cx:pt>
          <cx:pt idx="59492">0</cx:pt>
          <cx:pt idx="59493">1</cx:pt>
          <cx:pt idx="59494">1</cx:pt>
          <cx:pt idx="59495">0</cx:pt>
          <cx:pt idx="59496">0</cx:pt>
          <cx:pt idx="59497">1</cx:pt>
          <cx:pt idx="59498">0</cx:pt>
          <cx:pt idx="59499">1</cx:pt>
          <cx:pt idx="59500">0</cx:pt>
          <cx:pt idx="59501">0</cx:pt>
          <cx:pt idx="59502">1</cx:pt>
          <cx:pt idx="59503">0</cx:pt>
          <cx:pt idx="59504">1</cx:pt>
          <cx:pt idx="59505">1</cx:pt>
          <cx:pt idx="59506">0</cx:pt>
          <cx:pt idx="59507">0</cx:pt>
          <cx:pt idx="59508">1</cx:pt>
          <cx:pt idx="59509">0</cx:pt>
          <cx:pt idx="59510">0</cx:pt>
          <cx:pt idx="59511">0</cx:pt>
          <cx:pt idx="59512">0</cx:pt>
          <cx:pt idx="59513">1</cx:pt>
          <cx:pt idx="59514">1</cx:pt>
          <cx:pt idx="59515">0</cx:pt>
          <cx:pt idx="59516">0</cx:pt>
          <cx:pt idx="59517">1</cx:pt>
          <cx:pt idx="59518">0</cx:pt>
          <cx:pt idx="59519">1</cx:pt>
          <cx:pt idx="59520">0</cx:pt>
          <cx:pt idx="59521">0</cx:pt>
          <cx:pt idx="59522">0</cx:pt>
          <cx:pt idx="59523">1</cx:pt>
          <cx:pt idx="59524">0</cx:pt>
          <cx:pt idx="59525">0</cx:pt>
          <cx:pt idx="59526">1</cx:pt>
          <cx:pt idx="59527">1</cx:pt>
          <cx:pt idx="59528">0</cx:pt>
          <cx:pt idx="59529">0</cx:pt>
          <cx:pt idx="59530">0</cx:pt>
          <cx:pt idx="59531">0</cx:pt>
          <cx:pt idx="59532">0</cx:pt>
          <cx:pt idx="59533">0</cx:pt>
          <cx:pt idx="59534">0</cx:pt>
          <cx:pt idx="59535">1</cx:pt>
          <cx:pt idx="59536">0</cx:pt>
          <cx:pt idx="59537">1</cx:pt>
          <cx:pt idx="59538">1</cx:pt>
          <cx:pt idx="59539">1</cx:pt>
          <cx:pt idx="59540">0</cx:pt>
          <cx:pt idx="59541">0</cx:pt>
          <cx:pt idx="59542">1</cx:pt>
          <cx:pt idx="59543">0</cx:pt>
          <cx:pt idx="59544">1</cx:pt>
          <cx:pt idx="59545">1</cx:pt>
          <cx:pt idx="59546">1</cx:pt>
          <cx:pt idx="59547">1</cx:pt>
          <cx:pt idx="59548">0</cx:pt>
          <cx:pt idx="59549">0</cx:pt>
          <cx:pt idx="59550">1</cx:pt>
          <cx:pt idx="59551">0</cx:pt>
          <cx:pt idx="59552">0</cx:pt>
          <cx:pt idx="59553">0</cx:pt>
          <cx:pt idx="59554">1</cx:pt>
          <cx:pt idx="59555">0</cx:pt>
          <cx:pt idx="59556">0</cx:pt>
          <cx:pt idx="59557">1</cx:pt>
          <cx:pt idx="59558">0</cx:pt>
          <cx:pt idx="59559">0</cx:pt>
          <cx:pt idx="59560">1</cx:pt>
          <cx:pt idx="59561">1</cx:pt>
          <cx:pt idx="59562">0</cx:pt>
          <cx:pt idx="59563">0</cx:pt>
          <cx:pt idx="59564">1</cx:pt>
          <cx:pt idx="59565">1</cx:pt>
          <cx:pt idx="59566">1</cx:pt>
          <cx:pt idx="59567">0</cx:pt>
          <cx:pt idx="59568">0</cx:pt>
          <cx:pt idx="59569">0</cx:pt>
          <cx:pt idx="59570">1</cx:pt>
          <cx:pt idx="59571">1</cx:pt>
          <cx:pt idx="59572">1</cx:pt>
          <cx:pt idx="59573">1</cx:pt>
          <cx:pt idx="59574">1</cx:pt>
          <cx:pt idx="59575">0</cx:pt>
          <cx:pt idx="59576">0</cx:pt>
          <cx:pt idx="59577">1</cx:pt>
          <cx:pt idx="59578">1</cx:pt>
          <cx:pt idx="59579">1</cx:pt>
          <cx:pt idx="59580">0</cx:pt>
          <cx:pt idx="59581">0</cx:pt>
          <cx:pt idx="59582">0</cx:pt>
          <cx:pt idx="59583">1</cx:pt>
          <cx:pt idx="59584">1</cx:pt>
          <cx:pt idx="59585">1</cx:pt>
          <cx:pt idx="59586">1</cx:pt>
          <cx:pt idx="59587">1</cx:pt>
          <cx:pt idx="59588">0</cx:pt>
          <cx:pt idx="59589">0</cx:pt>
          <cx:pt idx="59590">0</cx:pt>
          <cx:pt idx="59591">0</cx:pt>
          <cx:pt idx="59592">1</cx:pt>
          <cx:pt idx="59593">0</cx:pt>
          <cx:pt idx="59594">1</cx:pt>
          <cx:pt idx="59595">1</cx:pt>
          <cx:pt idx="59596">0</cx:pt>
          <cx:pt idx="59597">0</cx:pt>
          <cx:pt idx="59598">1</cx:pt>
          <cx:pt idx="59599">1</cx:pt>
          <cx:pt idx="59600">0</cx:pt>
          <cx:pt idx="59601">1</cx:pt>
          <cx:pt idx="59602">1</cx:pt>
          <cx:pt idx="59603">0</cx:pt>
          <cx:pt idx="59604">0</cx:pt>
          <cx:pt idx="59605">0</cx:pt>
          <cx:pt idx="59606">0</cx:pt>
          <cx:pt idx="59607">1</cx:pt>
          <cx:pt idx="59608">0</cx:pt>
          <cx:pt idx="59609">0</cx:pt>
          <cx:pt idx="59610">1</cx:pt>
          <cx:pt idx="59611">0</cx:pt>
          <cx:pt idx="59612">0</cx:pt>
          <cx:pt idx="59613">0</cx:pt>
          <cx:pt idx="59614">0</cx:pt>
          <cx:pt idx="59615">0</cx:pt>
          <cx:pt idx="59616">0</cx:pt>
          <cx:pt idx="59617">1</cx:pt>
          <cx:pt idx="59618">0</cx:pt>
          <cx:pt idx="59619">1</cx:pt>
          <cx:pt idx="59620">1</cx:pt>
          <cx:pt idx="59621">1</cx:pt>
          <cx:pt idx="59622">0</cx:pt>
          <cx:pt idx="59623">0</cx:pt>
          <cx:pt idx="59624">1</cx:pt>
          <cx:pt idx="59625">1</cx:pt>
          <cx:pt idx="59626">0</cx:pt>
          <cx:pt idx="59627">0</cx:pt>
          <cx:pt idx="59628">0</cx:pt>
          <cx:pt idx="59629">1</cx:pt>
          <cx:pt idx="59630">0</cx:pt>
          <cx:pt idx="59631">0</cx:pt>
          <cx:pt idx="59632">0</cx:pt>
          <cx:pt idx="59633">0</cx:pt>
          <cx:pt idx="59634">1</cx:pt>
          <cx:pt idx="59635">1</cx:pt>
          <cx:pt idx="59636">0</cx:pt>
          <cx:pt idx="59637">0</cx:pt>
          <cx:pt idx="59638">0</cx:pt>
          <cx:pt idx="59639">0</cx:pt>
          <cx:pt idx="59640">1</cx:pt>
          <cx:pt idx="59641">1</cx:pt>
          <cx:pt idx="59642">1</cx:pt>
          <cx:pt idx="59643">0</cx:pt>
          <cx:pt idx="59644">0</cx:pt>
          <cx:pt idx="59645">0</cx:pt>
          <cx:pt idx="59646">0</cx:pt>
          <cx:pt idx="59647">0</cx:pt>
          <cx:pt idx="59648">0</cx:pt>
          <cx:pt idx="59649">1</cx:pt>
          <cx:pt idx="59650">1</cx:pt>
          <cx:pt idx="59651">1</cx:pt>
          <cx:pt idx="59652">0</cx:pt>
          <cx:pt idx="59653">1</cx:pt>
          <cx:pt idx="59654">0</cx:pt>
          <cx:pt idx="59655">1</cx:pt>
          <cx:pt idx="59656">0</cx:pt>
          <cx:pt idx="59657">0</cx:pt>
          <cx:pt idx="59658">0</cx:pt>
          <cx:pt idx="59659">1</cx:pt>
          <cx:pt idx="59660">0</cx:pt>
          <cx:pt idx="59661">0</cx:pt>
          <cx:pt idx="59662">1</cx:pt>
          <cx:pt idx="59663">0</cx:pt>
          <cx:pt idx="59664">0</cx:pt>
          <cx:pt idx="59665">0</cx:pt>
          <cx:pt idx="59666">1</cx:pt>
          <cx:pt idx="59667">1</cx:pt>
          <cx:pt idx="59668">0</cx:pt>
          <cx:pt idx="59669">0</cx:pt>
          <cx:pt idx="59670">0</cx:pt>
          <cx:pt idx="59671">0</cx:pt>
          <cx:pt idx="59672">1</cx:pt>
          <cx:pt idx="59673">0</cx:pt>
          <cx:pt idx="59674">1</cx:pt>
          <cx:pt idx="59675">0</cx:pt>
          <cx:pt idx="59676">0</cx:pt>
          <cx:pt idx="59677">1</cx:pt>
          <cx:pt idx="59678">1</cx:pt>
          <cx:pt idx="59679">1</cx:pt>
          <cx:pt idx="59680">1</cx:pt>
          <cx:pt idx="59681">0</cx:pt>
          <cx:pt idx="59682">0</cx:pt>
          <cx:pt idx="59683">0</cx:pt>
          <cx:pt idx="59684">0</cx:pt>
          <cx:pt idx="59685">1</cx:pt>
          <cx:pt idx="59686">0</cx:pt>
          <cx:pt idx="59687">0</cx:pt>
          <cx:pt idx="59688">0</cx:pt>
          <cx:pt idx="59689">0</cx:pt>
          <cx:pt idx="59690">1</cx:pt>
          <cx:pt idx="59691">0</cx:pt>
          <cx:pt idx="59692">1</cx:pt>
          <cx:pt idx="59693">0</cx:pt>
          <cx:pt idx="59694">0</cx:pt>
          <cx:pt idx="59695">1</cx:pt>
          <cx:pt idx="59696">0</cx:pt>
          <cx:pt idx="59697">0</cx:pt>
          <cx:pt idx="59698">0</cx:pt>
          <cx:pt idx="59699">0</cx:pt>
          <cx:pt idx="59700">0</cx:pt>
          <cx:pt idx="59701">1</cx:pt>
          <cx:pt idx="59702">0</cx:pt>
          <cx:pt idx="59703">0</cx:pt>
          <cx:pt idx="59704">0</cx:pt>
          <cx:pt idx="59705">0</cx:pt>
          <cx:pt idx="59706">1</cx:pt>
          <cx:pt idx="59707">0</cx:pt>
          <cx:pt idx="59708">1</cx:pt>
          <cx:pt idx="59709">0</cx:pt>
          <cx:pt idx="59710">1</cx:pt>
          <cx:pt idx="59711">0</cx:pt>
          <cx:pt idx="59712">0</cx:pt>
          <cx:pt idx="59713">0</cx:pt>
          <cx:pt idx="59714">0</cx:pt>
          <cx:pt idx="59715">1</cx:pt>
          <cx:pt idx="59716">0</cx:pt>
          <cx:pt idx="59717">0</cx:pt>
          <cx:pt idx="59718">0</cx:pt>
          <cx:pt idx="59719">0</cx:pt>
          <cx:pt idx="59720">1</cx:pt>
          <cx:pt idx="59721">1</cx:pt>
          <cx:pt idx="59722">1</cx:pt>
          <cx:pt idx="59723">0</cx:pt>
          <cx:pt idx="59724">0</cx:pt>
          <cx:pt idx="59725">1</cx:pt>
          <cx:pt idx="59726">0</cx:pt>
          <cx:pt idx="59727">0</cx:pt>
          <cx:pt idx="59728">0</cx:pt>
          <cx:pt idx="59729">0</cx:pt>
          <cx:pt idx="59730">1</cx:pt>
          <cx:pt idx="59731">0</cx:pt>
          <cx:pt idx="59732">1</cx:pt>
          <cx:pt idx="59733">1</cx:pt>
          <cx:pt idx="59734">1</cx:pt>
          <cx:pt idx="59735">1</cx:pt>
          <cx:pt idx="59736">0</cx:pt>
          <cx:pt idx="59737">0</cx:pt>
          <cx:pt idx="59738">0</cx:pt>
          <cx:pt idx="59739">1</cx:pt>
          <cx:pt idx="59740">1</cx:pt>
          <cx:pt idx="59741">1</cx:pt>
          <cx:pt idx="59742">1</cx:pt>
          <cx:pt idx="59743">0</cx:pt>
          <cx:pt idx="59744">0</cx:pt>
          <cx:pt idx="59745">1</cx:pt>
          <cx:pt idx="59746">1</cx:pt>
          <cx:pt idx="59747">1</cx:pt>
          <cx:pt idx="59748">1</cx:pt>
          <cx:pt idx="59749">0</cx:pt>
          <cx:pt idx="59750">1</cx:pt>
          <cx:pt idx="59751">0</cx:pt>
          <cx:pt idx="59752">1</cx:pt>
          <cx:pt idx="59753">0</cx:pt>
          <cx:pt idx="59754">1</cx:pt>
          <cx:pt idx="59755">1</cx:pt>
          <cx:pt idx="59756">0</cx:pt>
          <cx:pt idx="59757">0</cx:pt>
          <cx:pt idx="59758">0</cx:pt>
          <cx:pt idx="59759">0</cx:pt>
          <cx:pt idx="59760">1</cx:pt>
          <cx:pt idx="59761">0</cx:pt>
          <cx:pt idx="59762">1</cx:pt>
          <cx:pt idx="59763">1</cx:pt>
          <cx:pt idx="59764">1</cx:pt>
          <cx:pt idx="59765">1</cx:pt>
          <cx:pt idx="59766">0</cx:pt>
          <cx:pt idx="59767">1</cx:pt>
          <cx:pt idx="59768">0</cx:pt>
          <cx:pt idx="59769">1</cx:pt>
          <cx:pt idx="59770">0</cx:pt>
          <cx:pt idx="59771">1</cx:pt>
          <cx:pt idx="59772">0</cx:pt>
          <cx:pt idx="59773">0</cx:pt>
          <cx:pt idx="59774">0</cx:pt>
          <cx:pt idx="59775">1</cx:pt>
          <cx:pt idx="59776">0</cx:pt>
          <cx:pt idx="59777">0</cx:pt>
          <cx:pt idx="59778">1</cx:pt>
          <cx:pt idx="59779">0</cx:pt>
          <cx:pt idx="59780">1</cx:pt>
          <cx:pt idx="59781">1</cx:pt>
          <cx:pt idx="59782">0</cx:pt>
          <cx:pt idx="59783">0</cx:pt>
          <cx:pt idx="59784">1</cx:pt>
          <cx:pt idx="59785">1</cx:pt>
          <cx:pt idx="59786">0</cx:pt>
          <cx:pt idx="59787">0</cx:pt>
          <cx:pt idx="59788">0</cx:pt>
          <cx:pt idx="59789">0</cx:pt>
          <cx:pt idx="59790">0</cx:pt>
          <cx:pt idx="59791">1</cx:pt>
          <cx:pt idx="59792">0</cx:pt>
          <cx:pt idx="59793">0</cx:pt>
          <cx:pt idx="59794">0</cx:pt>
          <cx:pt idx="59795">1</cx:pt>
          <cx:pt idx="59796">0</cx:pt>
          <cx:pt idx="59797">0</cx:pt>
          <cx:pt idx="59798">0</cx:pt>
          <cx:pt idx="59799">0</cx:pt>
          <cx:pt idx="59800">0</cx:pt>
          <cx:pt idx="59801">0</cx:pt>
          <cx:pt idx="59802">1</cx:pt>
          <cx:pt idx="59803">0</cx:pt>
          <cx:pt idx="59804">1</cx:pt>
          <cx:pt idx="59805">0</cx:pt>
          <cx:pt idx="59806">0</cx:pt>
          <cx:pt idx="59807">1</cx:pt>
          <cx:pt idx="59808">0</cx:pt>
          <cx:pt idx="59809">0</cx:pt>
          <cx:pt idx="59810">0</cx:pt>
          <cx:pt idx="59811">0</cx:pt>
          <cx:pt idx="59812">1</cx:pt>
          <cx:pt idx="59813">0</cx:pt>
          <cx:pt idx="59814">0</cx:pt>
          <cx:pt idx="59815">0</cx:pt>
          <cx:pt idx="59816">0</cx:pt>
          <cx:pt idx="59817">1</cx:pt>
          <cx:pt idx="59818">0</cx:pt>
          <cx:pt idx="59819">1</cx:pt>
          <cx:pt idx="59820">0</cx:pt>
          <cx:pt idx="59821">0</cx:pt>
          <cx:pt idx="59822">0</cx:pt>
          <cx:pt idx="59823">1</cx:pt>
          <cx:pt idx="59824">1</cx:pt>
          <cx:pt idx="59825">1</cx:pt>
          <cx:pt idx="59826">1</cx:pt>
          <cx:pt idx="59827">1</cx:pt>
          <cx:pt idx="59828">1</cx:pt>
          <cx:pt idx="59829">0</cx:pt>
          <cx:pt idx="59830">0</cx:pt>
          <cx:pt idx="59831">1</cx:pt>
          <cx:pt idx="59832">0</cx:pt>
          <cx:pt idx="59833">0</cx:pt>
          <cx:pt idx="59834">1</cx:pt>
          <cx:pt idx="59835">1</cx:pt>
          <cx:pt idx="59836">1</cx:pt>
          <cx:pt idx="59837">1</cx:pt>
          <cx:pt idx="59838">1</cx:pt>
          <cx:pt idx="59839">0</cx:pt>
          <cx:pt idx="59840">0</cx:pt>
          <cx:pt idx="59841">0</cx:pt>
          <cx:pt idx="59842">1</cx:pt>
          <cx:pt idx="59843">0</cx:pt>
          <cx:pt idx="59844">0</cx:pt>
          <cx:pt idx="59845">0</cx:pt>
          <cx:pt idx="59846">0</cx:pt>
          <cx:pt idx="59847">1</cx:pt>
          <cx:pt idx="59848">0</cx:pt>
          <cx:pt idx="59849">1</cx:pt>
          <cx:pt idx="59850">1</cx:pt>
          <cx:pt idx="59851">1</cx:pt>
          <cx:pt idx="59852">0</cx:pt>
          <cx:pt idx="59853">0</cx:pt>
          <cx:pt idx="59854">1</cx:pt>
          <cx:pt idx="59855">0</cx:pt>
          <cx:pt idx="59856">0</cx:pt>
          <cx:pt idx="59857">1</cx:pt>
          <cx:pt idx="59858">0</cx:pt>
          <cx:pt idx="59859">0</cx:pt>
          <cx:pt idx="59860">1</cx:pt>
          <cx:pt idx="59861">0</cx:pt>
          <cx:pt idx="59862">1</cx:pt>
          <cx:pt idx="59863">0</cx:pt>
          <cx:pt idx="59864">1</cx:pt>
          <cx:pt idx="59865">1</cx:pt>
          <cx:pt idx="59866">0</cx:pt>
          <cx:pt idx="59867">1</cx:pt>
          <cx:pt idx="59868">0</cx:pt>
          <cx:pt idx="59869">0</cx:pt>
          <cx:pt idx="59870">0</cx:pt>
          <cx:pt idx="59871">0</cx:pt>
          <cx:pt idx="59872">0</cx:pt>
          <cx:pt idx="59873">0</cx:pt>
          <cx:pt idx="59874">0</cx:pt>
          <cx:pt idx="59875">1</cx:pt>
          <cx:pt idx="59876">1</cx:pt>
          <cx:pt idx="59877">0</cx:pt>
          <cx:pt idx="59878">1</cx:pt>
          <cx:pt idx="59879">0</cx:pt>
          <cx:pt idx="59880">0</cx:pt>
          <cx:pt idx="59881">0</cx:pt>
          <cx:pt idx="59882">0</cx:pt>
          <cx:pt idx="59883">0</cx:pt>
          <cx:pt idx="59884">0</cx:pt>
          <cx:pt idx="59885">1</cx:pt>
          <cx:pt idx="59886">0</cx:pt>
          <cx:pt idx="59887">1</cx:pt>
          <cx:pt idx="59888">0</cx:pt>
          <cx:pt idx="59889">0</cx:pt>
          <cx:pt idx="59890">1</cx:pt>
          <cx:pt idx="59891">1</cx:pt>
          <cx:pt idx="59892">0</cx:pt>
          <cx:pt idx="59893">0</cx:pt>
          <cx:pt idx="59894">0</cx:pt>
          <cx:pt idx="59895">0</cx:pt>
          <cx:pt idx="59896">0</cx:pt>
          <cx:pt idx="59897">1</cx:pt>
          <cx:pt idx="59898">1</cx:pt>
          <cx:pt idx="59899">0</cx:pt>
          <cx:pt idx="59900">1</cx:pt>
          <cx:pt idx="59901">0</cx:pt>
          <cx:pt idx="59902">1</cx:pt>
          <cx:pt idx="59903">0</cx:pt>
          <cx:pt idx="59904">1</cx:pt>
          <cx:pt idx="59905">0</cx:pt>
          <cx:pt idx="59906">1</cx:pt>
          <cx:pt idx="59907">1</cx:pt>
          <cx:pt idx="59908">1</cx:pt>
          <cx:pt idx="59909">1</cx:pt>
          <cx:pt idx="59910">1</cx:pt>
          <cx:pt idx="59911">1</cx:pt>
          <cx:pt idx="59912">0</cx:pt>
          <cx:pt idx="59913">1</cx:pt>
          <cx:pt idx="59914">1</cx:pt>
          <cx:pt idx="59915">0</cx:pt>
          <cx:pt idx="59916">0</cx:pt>
          <cx:pt idx="59917">0</cx:pt>
          <cx:pt idx="59918">0</cx:pt>
          <cx:pt idx="59919">0</cx:pt>
          <cx:pt idx="59920">1</cx:pt>
          <cx:pt idx="59921">0</cx:pt>
          <cx:pt idx="59922">0</cx:pt>
          <cx:pt idx="59923">0</cx:pt>
          <cx:pt idx="59924">1</cx:pt>
          <cx:pt idx="59925">1</cx:pt>
          <cx:pt idx="59926">1</cx:pt>
          <cx:pt idx="59927">0</cx:pt>
          <cx:pt idx="59928">1</cx:pt>
          <cx:pt idx="59929">0</cx:pt>
          <cx:pt idx="59930">0</cx:pt>
          <cx:pt idx="59931">0</cx:pt>
          <cx:pt idx="59932">0</cx:pt>
          <cx:pt idx="59933">0</cx:pt>
          <cx:pt idx="59934">1</cx:pt>
          <cx:pt idx="59935">1</cx:pt>
          <cx:pt idx="59936">0</cx:pt>
          <cx:pt idx="59937">0</cx:pt>
          <cx:pt idx="59938">1</cx:pt>
          <cx:pt idx="59939">0</cx:pt>
          <cx:pt idx="59940">1</cx:pt>
          <cx:pt idx="59941">1</cx:pt>
          <cx:pt idx="59942">0</cx:pt>
          <cx:pt idx="59943">1</cx:pt>
          <cx:pt idx="59944">1</cx:pt>
          <cx:pt idx="59945">1</cx:pt>
          <cx:pt idx="59946">1</cx:pt>
          <cx:pt idx="59947">1</cx:pt>
          <cx:pt idx="59948">1</cx:pt>
          <cx:pt idx="59949">1</cx:pt>
          <cx:pt idx="59950">0</cx:pt>
          <cx:pt idx="59951">0</cx:pt>
          <cx:pt idx="59952">1</cx:pt>
          <cx:pt idx="59953">0</cx:pt>
          <cx:pt idx="59954">1</cx:pt>
          <cx:pt idx="59955">1</cx:pt>
          <cx:pt idx="59956">0</cx:pt>
          <cx:pt idx="59957">0</cx:pt>
          <cx:pt idx="59958">0</cx:pt>
          <cx:pt idx="59959">0</cx:pt>
          <cx:pt idx="59960">1</cx:pt>
          <cx:pt idx="59961">0</cx:pt>
          <cx:pt idx="59962">0</cx:pt>
          <cx:pt idx="59963">0</cx:pt>
          <cx:pt idx="59964">1</cx:pt>
          <cx:pt idx="59965">0</cx:pt>
          <cx:pt idx="59966">0</cx:pt>
          <cx:pt idx="59967">1</cx:pt>
          <cx:pt idx="59968">1</cx:pt>
          <cx:pt idx="59969">1</cx:pt>
          <cx:pt idx="59970">0</cx:pt>
          <cx:pt idx="59971">0</cx:pt>
          <cx:pt idx="59972">1</cx:pt>
          <cx:pt idx="59973">1</cx:pt>
          <cx:pt idx="59974">1</cx:pt>
          <cx:pt idx="59975">1</cx:pt>
          <cx:pt idx="59976">0</cx:pt>
          <cx:pt idx="59977">0</cx:pt>
          <cx:pt idx="59978">0</cx:pt>
          <cx:pt idx="59979">1</cx:pt>
          <cx:pt idx="59980">1</cx:pt>
          <cx:pt idx="59981">0</cx:pt>
          <cx:pt idx="59982">1</cx:pt>
          <cx:pt idx="59983">1</cx:pt>
          <cx:pt idx="59984">0</cx:pt>
          <cx:pt idx="59985">0</cx:pt>
          <cx:pt idx="59986">1</cx:pt>
          <cx:pt idx="59987">0</cx:pt>
          <cx:pt idx="59988">1</cx:pt>
          <cx:pt idx="59989">0</cx:pt>
          <cx:pt idx="59990">1</cx:pt>
          <cx:pt idx="59991">0</cx:pt>
          <cx:pt idx="59992">0</cx:pt>
          <cx:pt idx="59993">0</cx:pt>
          <cx:pt idx="59994">0</cx:pt>
          <cx:pt idx="59995">0</cx:pt>
          <cx:pt idx="59996">0</cx:pt>
          <cx:pt idx="59997">0</cx:pt>
          <cx:pt idx="59998">1</cx:pt>
          <cx:pt idx="59999">1</cx:pt>
          <cx:pt idx="60000">1</cx:pt>
          <cx:pt idx="60001">1</cx:pt>
          <cx:pt idx="60002">0</cx:pt>
          <cx:pt idx="60003">1</cx:pt>
          <cx:pt idx="60004">1</cx:pt>
          <cx:pt idx="60005">1</cx:pt>
          <cx:pt idx="60006">1</cx:pt>
          <cx:pt idx="60007">1</cx:pt>
          <cx:pt idx="60008">1</cx:pt>
          <cx:pt idx="60009">1</cx:pt>
          <cx:pt idx="60010">1</cx:pt>
          <cx:pt idx="60011">1</cx:pt>
          <cx:pt idx="60012">1</cx:pt>
          <cx:pt idx="60013">1</cx:pt>
          <cx:pt idx="60014">1</cx:pt>
          <cx:pt idx="60015">1</cx:pt>
          <cx:pt idx="60016">0</cx:pt>
          <cx:pt idx="60017">0</cx:pt>
          <cx:pt idx="60018">0</cx:pt>
          <cx:pt idx="60019">0</cx:pt>
          <cx:pt idx="60020">0</cx:pt>
          <cx:pt idx="60021">0</cx:pt>
          <cx:pt idx="60022">1</cx:pt>
          <cx:pt idx="60023">0</cx:pt>
          <cx:pt idx="60024">1</cx:pt>
          <cx:pt idx="60025">1</cx:pt>
          <cx:pt idx="60026">1</cx:pt>
          <cx:pt idx="60027">0</cx:pt>
          <cx:pt idx="60028">0</cx:pt>
          <cx:pt idx="60029">1</cx:pt>
          <cx:pt idx="60030">1</cx:pt>
          <cx:pt idx="60031">1</cx:pt>
          <cx:pt idx="60032">1</cx:pt>
          <cx:pt idx="60033">0</cx:pt>
          <cx:pt idx="60034">1</cx:pt>
          <cx:pt idx="60035">0</cx:pt>
          <cx:pt idx="60036">0</cx:pt>
          <cx:pt idx="60037">0</cx:pt>
          <cx:pt idx="60038">0</cx:pt>
          <cx:pt idx="60039">0</cx:pt>
          <cx:pt idx="60040">0</cx:pt>
          <cx:pt idx="60041">1</cx:pt>
          <cx:pt idx="60042">1</cx:pt>
          <cx:pt idx="60043">0</cx:pt>
          <cx:pt idx="60044">0</cx:pt>
          <cx:pt idx="60045">0</cx:pt>
          <cx:pt idx="60046">1</cx:pt>
          <cx:pt idx="60047">0</cx:pt>
          <cx:pt idx="60048">1</cx:pt>
          <cx:pt idx="60049">0</cx:pt>
          <cx:pt idx="60050">0</cx:pt>
          <cx:pt idx="60051">0</cx:pt>
          <cx:pt idx="60052">0</cx:pt>
          <cx:pt idx="60053">0</cx:pt>
          <cx:pt idx="60054">1</cx:pt>
          <cx:pt idx="60055">0</cx:pt>
          <cx:pt idx="60056">0</cx:pt>
          <cx:pt idx="60057">0</cx:pt>
          <cx:pt idx="60058">0</cx:pt>
          <cx:pt idx="60059">1</cx:pt>
          <cx:pt idx="60060">0</cx:pt>
          <cx:pt idx="60061">1</cx:pt>
          <cx:pt idx="60062">1</cx:pt>
          <cx:pt idx="60063">1</cx:pt>
          <cx:pt idx="60064">0</cx:pt>
          <cx:pt idx="60065">0</cx:pt>
          <cx:pt idx="60066">0</cx:pt>
          <cx:pt idx="60067">1</cx:pt>
          <cx:pt idx="60068">1</cx:pt>
          <cx:pt idx="60069">1</cx:pt>
          <cx:pt idx="60070">0</cx:pt>
          <cx:pt idx="60071">0</cx:pt>
          <cx:pt idx="60072">0</cx:pt>
          <cx:pt idx="60073">1</cx:pt>
          <cx:pt idx="60074">0</cx:pt>
          <cx:pt idx="60075">0</cx:pt>
          <cx:pt idx="60076">1</cx:pt>
          <cx:pt idx="60077">1</cx:pt>
          <cx:pt idx="60078">1</cx:pt>
          <cx:pt idx="60079">1</cx:pt>
          <cx:pt idx="60080">1</cx:pt>
          <cx:pt idx="60081">0</cx:pt>
          <cx:pt idx="60082">0</cx:pt>
          <cx:pt idx="60083">0</cx:pt>
          <cx:pt idx="60084">1</cx:pt>
          <cx:pt idx="60085">1</cx:pt>
          <cx:pt idx="60086">0</cx:pt>
          <cx:pt idx="60087">0</cx:pt>
          <cx:pt idx="60088">0</cx:pt>
          <cx:pt idx="60089">0</cx:pt>
          <cx:pt idx="60090">0</cx:pt>
          <cx:pt idx="60091">0</cx:pt>
          <cx:pt idx="60092">0</cx:pt>
          <cx:pt idx="60093">0</cx:pt>
          <cx:pt idx="60094">1</cx:pt>
          <cx:pt idx="60095">1</cx:pt>
          <cx:pt idx="60096">1</cx:pt>
          <cx:pt idx="60097">0</cx:pt>
          <cx:pt idx="60098">1</cx:pt>
          <cx:pt idx="60099">0</cx:pt>
          <cx:pt idx="60100">0</cx:pt>
          <cx:pt idx="60101">1</cx:pt>
          <cx:pt idx="60102">1</cx:pt>
          <cx:pt idx="60103">0</cx:pt>
          <cx:pt idx="60104">1</cx:pt>
          <cx:pt idx="60105">0</cx:pt>
          <cx:pt idx="60106">0</cx:pt>
          <cx:pt idx="60107">1</cx:pt>
          <cx:pt idx="60108">0</cx:pt>
          <cx:pt idx="60109">0</cx:pt>
          <cx:pt idx="60110">0</cx:pt>
          <cx:pt idx="60111">0</cx:pt>
          <cx:pt idx="60112">1</cx:pt>
          <cx:pt idx="60113">1</cx:pt>
          <cx:pt idx="60114">0</cx:pt>
          <cx:pt idx="60115">0</cx:pt>
          <cx:pt idx="60116">1</cx:pt>
          <cx:pt idx="60117">0</cx:pt>
          <cx:pt idx="60118">0</cx:pt>
          <cx:pt idx="60119">1</cx:pt>
          <cx:pt idx="60120">0</cx:pt>
          <cx:pt idx="60121">1</cx:pt>
          <cx:pt idx="60122">0</cx:pt>
          <cx:pt idx="60123">0</cx:pt>
          <cx:pt idx="60124">1</cx:pt>
          <cx:pt idx="60125">1</cx:pt>
          <cx:pt idx="60126">0</cx:pt>
          <cx:pt idx="60127">1</cx:pt>
          <cx:pt idx="60128">1</cx:pt>
          <cx:pt idx="60129">0</cx:pt>
          <cx:pt idx="60130">1</cx:pt>
          <cx:pt idx="60131">0</cx:pt>
          <cx:pt idx="60132">0</cx:pt>
          <cx:pt idx="60133">0</cx:pt>
          <cx:pt idx="60134">0</cx:pt>
          <cx:pt idx="60135">0</cx:pt>
          <cx:pt idx="60136">1</cx:pt>
          <cx:pt idx="60137">1</cx:pt>
          <cx:pt idx="60138">1</cx:pt>
          <cx:pt idx="60139">0</cx:pt>
          <cx:pt idx="60140">1</cx:pt>
          <cx:pt idx="60141">1</cx:pt>
          <cx:pt idx="60142">0</cx:pt>
          <cx:pt idx="60143">1</cx:pt>
          <cx:pt idx="60144">0</cx:pt>
          <cx:pt idx="60145">1</cx:pt>
          <cx:pt idx="60146">0</cx:pt>
          <cx:pt idx="60147">0</cx:pt>
          <cx:pt idx="60148">0</cx:pt>
          <cx:pt idx="60149">1</cx:pt>
          <cx:pt idx="60150">0</cx:pt>
          <cx:pt idx="60151">1</cx:pt>
          <cx:pt idx="60152">0</cx:pt>
          <cx:pt idx="60153">1</cx:pt>
          <cx:pt idx="60154">1</cx:pt>
          <cx:pt idx="60155">1</cx:pt>
          <cx:pt idx="60156">1</cx:pt>
          <cx:pt idx="60157">0</cx:pt>
          <cx:pt idx="60158">0</cx:pt>
          <cx:pt idx="60159">0</cx:pt>
          <cx:pt idx="60160">1</cx:pt>
          <cx:pt idx="60161">0</cx:pt>
          <cx:pt idx="60162">0</cx:pt>
          <cx:pt idx="60163">0</cx:pt>
          <cx:pt idx="60164">0</cx:pt>
          <cx:pt idx="60165">1</cx:pt>
          <cx:pt idx="60166">1</cx:pt>
          <cx:pt idx="60167">0</cx:pt>
          <cx:pt idx="60168">0</cx:pt>
          <cx:pt idx="60169">0</cx:pt>
          <cx:pt idx="60170">1</cx:pt>
          <cx:pt idx="60171">0</cx:pt>
          <cx:pt idx="60172">0</cx:pt>
          <cx:pt idx="60173">0</cx:pt>
          <cx:pt idx="60174">1</cx:pt>
          <cx:pt idx="60175">0</cx:pt>
          <cx:pt idx="60176">1</cx:pt>
          <cx:pt idx="60177">0</cx:pt>
          <cx:pt idx="60178">0</cx:pt>
          <cx:pt idx="60179">0</cx:pt>
          <cx:pt idx="60180">0</cx:pt>
          <cx:pt idx="60181">0</cx:pt>
          <cx:pt idx="60182">1</cx:pt>
          <cx:pt idx="60183">0</cx:pt>
          <cx:pt idx="60184">1</cx:pt>
          <cx:pt idx="60185">1</cx:pt>
          <cx:pt idx="60186">0</cx:pt>
          <cx:pt idx="60187">0</cx:pt>
          <cx:pt idx="60188">1</cx:pt>
          <cx:pt idx="60189">1</cx:pt>
          <cx:pt idx="60190">0</cx:pt>
          <cx:pt idx="60191">1</cx:pt>
          <cx:pt idx="60192">0</cx:pt>
          <cx:pt idx="60193">0</cx:pt>
          <cx:pt idx="60194">1</cx:pt>
          <cx:pt idx="60195">1</cx:pt>
          <cx:pt idx="60196">0</cx:pt>
          <cx:pt idx="60197">1</cx:pt>
          <cx:pt idx="60198">0</cx:pt>
          <cx:pt idx="60199">1</cx:pt>
          <cx:pt idx="60200">0</cx:pt>
          <cx:pt idx="60201">0</cx:pt>
          <cx:pt idx="60202">0</cx:pt>
          <cx:pt idx="60203">1</cx:pt>
          <cx:pt idx="60204">1</cx:pt>
          <cx:pt idx="60205">0</cx:pt>
          <cx:pt idx="60206">0</cx:pt>
          <cx:pt idx="60207">1</cx:pt>
          <cx:pt idx="60208">0</cx:pt>
          <cx:pt idx="60209">0</cx:pt>
          <cx:pt idx="60210">1</cx:pt>
          <cx:pt idx="60211">0</cx:pt>
          <cx:pt idx="60212">1</cx:pt>
          <cx:pt idx="60213">0</cx:pt>
          <cx:pt idx="60214">0</cx:pt>
          <cx:pt idx="60215">0</cx:pt>
          <cx:pt idx="60216">0</cx:pt>
          <cx:pt idx="60217">1</cx:pt>
          <cx:pt idx="60218">1</cx:pt>
          <cx:pt idx="60219">1</cx:pt>
          <cx:pt idx="60220">1</cx:pt>
          <cx:pt idx="60221">0</cx:pt>
          <cx:pt idx="60222">0</cx:pt>
          <cx:pt idx="60223">0</cx:pt>
          <cx:pt idx="60224">1</cx:pt>
          <cx:pt idx="60225">0</cx:pt>
          <cx:pt idx="60226">1</cx:pt>
          <cx:pt idx="60227">1</cx:pt>
          <cx:pt idx="60228">0</cx:pt>
          <cx:pt idx="60229">1</cx:pt>
          <cx:pt idx="60230">1</cx:pt>
          <cx:pt idx="60231">0</cx:pt>
          <cx:pt idx="60232">0</cx:pt>
          <cx:pt idx="60233">1</cx:pt>
          <cx:pt idx="60234">0</cx:pt>
          <cx:pt idx="60235">1</cx:pt>
          <cx:pt idx="60236">1</cx:pt>
          <cx:pt idx="60237">1</cx:pt>
          <cx:pt idx="60238">0</cx:pt>
          <cx:pt idx="60239">0</cx:pt>
          <cx:pt idx="60240">1</cx:pt>
          <cx:pt idx="60241">1</cx:pt>
          <cx:pt idx="60242">1</cx:pt>
          <cx:pt idx="60243">0</cx:pt>
          <cx:pt idx="60244">0</cx:pt>
          <cx:pt idx="60245">1</cx:pt>
          <cx:pt idx="60246">1</cx:pt>
          <cx:pt idx="60247">1</cx:pt>
          <cx:pt idx="60248">1</cx:pt>
          <cx:pt idx="60249">1</cx:pt>
          <cx:pt idx="60250">1</cx:pt>
          <cx:pt idx="60251">0</cx:pt>
          <cx:pt idx="60252">1</cx:pt>
          <cx:pt idx="60253">0</cx:pt>
          <cx:pt idx="60254">0</cx:pt>
          <cx:pt idx="60255">1</cx:pt>
          <cx:pt idx="60256">0</cx:pt>
          <cx:pt idx="60257">0</cx:pt>
          <cx:pt idx="60258">0</cx:pt>
          <cx:pt idx="60259">1</cx:pt>
          <cx:pt idx="60260">0</cx:pt>
          <cx:pt idx="60261">1</cx:pt>
          <cx:pt idx="60262">0</cx:pt>
          <cx:pt idx="60263">0</cx:pt>
          <cx:pt idx="60264">0</cx:pt>
          <cx:pt idx="60265">1</cx:pt>
          <cx:pt idx="60266">1</cx:pt>
          <cx:pt idx="60267">0</cx:pt>
          <cx:pt idx="60268">0</cx:pt>
          <cx:pt idx="60269">0</cx:pt>
          <cx:pt idx="60270">1</cx:pt>
          <cx:pt idx="60271">0</cx:pt>
          <cx:pt idx="60272">1</cx:pt>
          <cx:pt idx="60273">0</cx:pt>
          <cx:pt idx="60274">1</cx:pt>
          <cx:pt idx="60275">1</cx:pt>
          <cx:pt idx="60276">1</cx:pt>
          <cx:pt idx="60277">0</cx:pt>
          <cx:pt idx="60278">1</cx:pt>
          <cx:pt idx="60279">1</cx:pt>
          <cx:pt idx="60280">0</cx:pt>
          <cx:pt idx="60281">0</cx:pt>
          <cx:pt idx="60282">0</cx:pt>
          <cx:pt idx="60283">0</cx:pt>
          <cx:pt idx="60284">0</cx:pt>
          <cx:pt idx="60285">1</cx:pt>
          <cx:pt idx="60286">0</cx:pt>
          <cx:pt idx="60287">0</cx:pt>
          <cx:pt idx="60288">0</cx:pt>
          <cx:pt idx="60289">0</cx:pt>
          <cx:pt idx="60290">1</cx:pt>
          <cx:pt idx="60291">0</cx:pt>
          <cx:pt idx="60292">0</cx:pt>
          <cx:pt idx="60293">1</cx:pt>
          <cx:pt idx="60294">0</cx:pt>
          <cx:pt idx="60295">1</cx:pt>
          <cx:pt idx="60296">1</cx:pt>
          <cx:pt idx="60297">0</cx:pt>
          <cx:pt idx="60298">1</cx:pt>
          <cx:pt idx="60299">0</cx:pt>
          <cx:pt idx="60300">0</cx:pt>
          <cx:pt idx="60301">1</cx:pt>
          <cx:pt idx="60302">0</cx:pt>
          <cx:pt idx="60303">1</cx:pt>
          <cx:pt idx="60304">0</cx:pt>
          <cx:pt idx="60305">0</cx:pt>
          <cx:pt idx="60306">0</cx:pt>
          <cx:pt idx="60307">0</cx:pt>
          <cx:pt idx="60308">0</cx:pt>
          <cx:pt idx="60309">0</cx:pt>
          <cx:pt idx="60310">0</cx:pt>
          <cx:pt idx="60311">0</cx:pt>
          <cx:pt idx="60312">0</cx:pt>
          <cx:pt idx="60313">0</cx:pt>
          <cx:pt idx="60314">0</cx:pt>
          <cx:pt idx="60315">1</cx:pt>
          <cx:pt idx="60316">0</cx:pt>
          <cx:pt idx="60317">0</cx:pt>
          <cx:pt idx="60318">0</cx:pt>
          <cx:pt idx="60319">1</cx:pt>
          <cx:pt idx="60320">0</cx:pt>
          <cx:pt idx="60321">0</cx:pt>
          <cx:pt idx="60322">0</cx:pt>
          <cx:pt idx="60323">1</cx:pt>
          <cx:pt idx="60324">1</cx:pt>
          <cx:pt idx="60325">1</cx:pt>
          <cx:pt idx="60326">0</cx:pt>
          <cx:pt idx="60327">0</cx:pt>
          <cx:pt idx="60328">0</cx:pt>
          <cx:pt idx="60329">0</cx:pt>
          <cx:pt idx="60330">0</cx:pt>
          <cx:pt idx="60331">1</cx:pt>
          <cx:pt idx="60332">1</cx:pt>
          <cx:pt idx="60333">0</cx:pt>
          <cx:pt idx="60334">1</cx:pt>
          <cx:pt idx="60335">0</cx:pt>
          <cx:pt idx="60336">0</cx:pt>
          <cx:pt idx="60337">0</cx:pt>
          <cx:pt idx="60338">0</cx:pt>
          <cx:pt idx="60339">1</cx:pt>
          <cx:pt idx="60340">1</cx:pt>
          <cx:pt idx="60341">1</cx:pt>
          <cx:pt idx="60342">0</cx:pt>
          <cx:pt idx="60343">0</cx:pt>
          <cx:pt idx="60344">0</cx:pt>
          <cx:pt idx="60345">0</cx:pt>
          <cx:pt idx="60346">0</cx:pt>
          <cx:pt idx="60347">1</cx:pt>
          <cx:pt idx="60348">0</cx:pt>
          <cx:pt idx="60349">0</cx:pt>
          <cx:pt idx="60350">0</cx:pt>
          <cx:pt idx="60351">1</cx:pt>
          <cx:pt idx="60352">1</cx:pt>
          <cx:pt idx="60353">0</cx:pt>
          <cx:pt idx="60354">1</cx:pt>
          <cx:pt idx="60355">0</cx:pt>
          <cx:pt idx="60356">0</cx:pt>
          <cx:pt idx="60357">0</cx:pt>
          <cx:pt idx="60358">0</cx:pt>
          <cx:pt idx="60359">1</cx:pt>
          <cx:pt idx="60360">0</cx:pt>
          <cx:pt idx="60361">0</cx:pt>
          <cx:pt idx="60362">1</cx:pt>
          <cx:pt idx="60363">0</cx:pt>
          <cx:pt idx="60364">0</cx:pt>
          <cx:pt idx="60365">0</cx:pt>
          <cx:pt idx="60366">1</cx:pt>
          <cx:pt idx="60367">0</cx:pt>
          <cx:pt idx="60368">1</cx:pt>
          <cx:pt idx="60369">1</cx:pt>
          <cx:pt idx="60370">0</cx:pt>
          <cx:pt idx="60371">1</cx:pt>
          <cx:pt idx="60372">1</cx:pt>
          <cx:pt idx="60373">0</cx:pt>
          <cx:pt idx="60374">0</cx:pt>
          <cx:pt idx="60375">0</cx:pt>
          <cx:pt idx="60376">0</cx:pt>
          <cx:pt idx="60377">0</cx:pt>
          <cx:pt idx="60378">0</cx:pt>
          <cx:pt idx="60379">0</cx:pt>
          <cx:pt idx="60380">1</cx:pt>
          <cx:pt idx="60381">0</cx:pt>
          <cx:pt idx="60382">0</cx:pt>
          <cx:pt idx="60383">0</cx:pt>
          <cx:pt idx="60384">1</cx:pt>
          <cx:pt idx="60385">0</cx:pt>
          <cx:pt idx="60386">1</cx:pt>
          <cx:pt idx="60387">0</cx:pt>
          <cx:pt idx="60388">1</cx:pt>
          <cx:pt idx="60389">1</cx:pt>
          <cx:pt idx="60390">0</cx:pt>
          <cx:pt idx="60391">0</cx:pt>
          <cx:pt idx="60392">0</cx:pt>
          <cx:pt idx="60393">0</cx:pt>
          <cx:pt idx="60394">0</cx:pt>
          <cx:pt idx="60395">1</cx:pt>
          <cx:pt idx="60396">0</cx:pt>
          <cx:pt idx="60397">0</cx:pt>
          <cx:pt idx="60398">0</cx:pt>
          <cx:pt idx="60399">1</cx:pt>
          <cx:pt idx="60400">1</cx:pt>
          <cx:pt idx="60401">0</cx:pt>
          <cx:pt idx="60402">0</cx:pt>
          <cx:pt idx="60403">0</cx:pt>
          <cx:pt idx="60404">0</cx:pt>
          <cx:pt idx="60405">1</cx:pt>
          <cx:pt idx="60406">0</cx:pt>
          <cx:pt idx="60407">1</cx:pt>
          <cx:pt idx="60408">0</cx:pt>
          <cx:pt idx="60409">0</cx:pt>
          <cx:pt idx="60410">1</cx:pt>
          <cx:pt idx="60411">1</cx:pt>
          <cx:pt idx="60412">0</cx:pt>
          <cx:pt idx="60413">0</cx:pt>
          <cx:pt idx="60414">0</cx:pt>
          <cx:pt idx="60415">0</cx:pt>
          <cx:pt idx="60416">1</cx:pt>
          <cx:pt idx="60417">0</cx:pt>
          <cx:pt idx="60418">1</cx:pt>
          <cx:pt idx="60419">1</cx:pt>
          <cx:pt idx="60420">0</cx:pt>
          <cx:pt idx="60421">1</cx:pt>
          <cx:pt idx="60422">1</cx:pt>
          <cx:pt idx="60423">0</cx:pt>
          <cx:pt idx="60424">1</cx:pt>
          <cx:pt idx="60425">0</cx:pt>
          <cx:pt idx="60426">0</cx:pt>
          <cx:pt idx="60427">0</cx:pt>
          <cx:pt idx="60428">0</cx:pt>
          <cx:pt idx="60429">0</cx:pt>
          <cx:pt idx="60430">1</cx:pt>
          <cx:pt idx="60431">0</cx:pt>
          <cx:pt idx="60432">0</cx:pt>
          <cx:pt idx="60433">0</cx:pt>
          <cx:pt idx="60434">1</cx:pt>
          <cx:pt idx="60435">1</cx:pt>
          <cx:pt idx="60436">0</cx:pt>
          <cx:pt idx="60437">0</cx:pt>
          <cx:pt idx="60438">0</cx:pt>
          <cx:pt idx="60439">1</cx:pt>
          <cx:pt idx="60440">1</cx:pt>
          <cx:pt idx="60441">0</cx:pt>
          <cx:pt idx="60442">0</cx:pt>
          <cx:pt idx="60443">0</cx:pt>
          <cx:pt idx="60444">0</cx:pt>
          <cx:pt idx="60445">1</cx:pt>
          <cx:pt idx="60446">1</cx:pt>
          <cx:pt idx="60447">1</cx:pt>
          <cx:pt idx="60448">0</cx:pt>
          <cx:pt idx="60449">1</cx:pt>
          <cx:pt idx="60450">1</cx:pt>
          <cx:pt idx="60451">1</cx:pt>
          <cx:pt idx="60452">0</cx:pt>
          <cx:pt idx="60453">0</cx:pt>
          <cx:pt idx="60454">0</cx:pt>
          <cx:pt idx="60455">1</cx:pt>
          <cx:pt idx="60456">0</cx:pt>
          <cx:pt idx="60457">1</cx:pt>
          <cx:pt idx="60458">0</cx:pt>
          <cx:pt idx="60459">1</cx:pt>
          <cx:pt idx="60460">0</cx:pt>
          <cx:pt idx="60461">0</cx:pt>
          <cx:pt idx="60462">0</cx:pt>
          <cx:pt idx="60463">1</cx:pt>
          <cx:pt idx="60464">0</cx:pt>
          <cx:pt idx="60465">0</cx:pt>
          <cx:pt idx="60466">1</cx:pt>
          <cx:pt idx="60467">1</cx:pt>
          <cx:pt idx="60468">1</cx:pt>
          <cx:pt idx="60469">1</cx:pt>
          <cx:pt idx="60470">0</cx:pt>
          <cx:pt idx="60471">1</cx:pt>
          <cx:pt idx="60472">0</cx:pt>
          <cx:pt idx="60473">1</cx:pt>
          <cx:pt idx="60474">1</cx:pt>
          <cx:pt idx="60475">0</cx:pt>
          <cx:pt idx="60476">1</cx:pt>
          <cx:pt idx="60477">0</cx:pt>
          <cx:pt idx="60478">1</cx:pt>
          <cx:pt idx="60479">0</cx:pt>
          <cx:pt idx="60480">0</cx:pt>
          <cx:pt idx="60481">0</cx:pt>
          <cx:pt idx="60482">1</cx:pt>
          <cx:pt idx="60483">1</cx:pt>
          <cx:pt idx="60484">0</cx:pt>
          <cx:pt idx="60485">0</cx:pt>
          <cx:pt idx="60486">0</cx:pt>
          <cx:pt idx="60487">0</cx:pt>
          <cx:pt idx="60488">0</cx:pt>
          <cx:pt idx="60489">1</cx:pt>
          <cx:pt idx="60490">1</cx:pt>
          <cx:pt idx="60491">1</cx:pt>
          <cx:pt idx="60492">1</cx:pt>
          <cx:pt idx="60493">0</cx:pt>
          <cx:pt idx="60494">1</cx:pt>
          <cx:pt idx="60495">0</cx:pt>
          <cx:pt idx="60496">0</cx:pt>
          <cx:pt idx="60497">0</cx:pt>
          <cx:pt idx="60498">0</cx:pt>
          <cx:pt idx="60499">0</cx:pt>
          <cx:pt idx="60500">0</cx:pt>
          <cx:pt idx="60501">1</cx:pt>
          <cx:pt idx="60502">1</cx:pt>
          <cx:pt idx="60503">0</cx:pt>
          <cx:pt idx="60504">1</cx:pt>
          <cx:pt idx="60505">1</cx:pt>
          <cx:pt idx="60506">1</cx:pt>
          <cx:pt idx="60507">0</cx:pt>
          <cx:pt idx="60508">0</cx:pt>
          <cx:pt idx="60509">1</cx:pt>
          <cx:pt idx="60510">0</cx:pt>
          <cx:pt idx="60511">0</cx:pt>
          <cx:pt idx="60512">0</cx:pt>
          <cx:pt idx="60513">0</cx:pt>
          <cx:pt idx="60514">1</cx:pt>
          <cx:pt idx="60515">0</cx:pt>
          <cx:pt idx="60516">0</cx:pt>
          <cx:pt idx="60517">1</cx:pt>
          <cx:pt idx="60518">1</cx:pt>
          <cx:pt idx="60519">1</cx:pt>
          <cx:pt idx="60520">0</cx:pt>
          <cx:pt idx="60521">0</cx:pt>
          <cx:pt idx="60522">1</cx:pt>
          <cx:pt idx="60523">0</cx:pt>
          <cx:pt idx="60524">1</cx:pt>
          <cx:pt idx="60525">1</cx:pt>
          <cx:pt idx="60526">0</cx:pt>
          <cx:pt idx="60527">1</cx:pt>
          <cx:pt idx="60528">1</cx:pt>
          <cx:pt idx="60529">0</cx:pt>
          <cx:pt idx="60530">1</cx:pt>
          <cx:pt idx="60531">1</cx:pt>
          <cx:pt idx="60532">1</cx:pt>
          <cx:pt idx="60533">0</cx:pt>
          <cx:pt idx="60534">0</cx:pt>
          <cx:pt idx="60535">1</cx:pt>
          <cx:pt idx="60536">0</cx:pt>
          <cx:pt idx="60537">1</cx:pt>
          <cx:pt idx="60538">0</cx:pt>
          <cx:pt idx="60539">1</cx:pt>
          <cx:pt idx="60540">0</cx:pt>
          <cx:pt idx="60541">1</cx:pt>
          <cx:pt idx="60542">1</cx:pt>
          <cx:pt idx="60543">0</cx:pt>
          <cx:pt idx="60544">1</cx:pt>
          <cx:pt idx="60545">1</cx:pt>
          <cx:pt idx="60546">0</cx:pt>
          <cx:pt idx="60547">0</cx:pt>
          <cx:pt idx="60548">0</cx:pt>
          <cx:pt idx="60549">0</cx:pt>
          <cx:pt idx="60550">0</cx:pt>
          <cx:pt idx="60551">0</cx:pt>
          <cx:pt idx="60552">1</cx:pt>
          <cx:pt idx="60553">0</cx:pt>
          <cx:pt idx="60554">0</cx:pt>
          <cx:pt idx="60555">0</cx:pt>
          <cx:pt idx="60556">0</cx:pt>
          <cx:pt idx="60557">1</cx:pt>
          <cx:pt idx="60558">0</cx:pt>
          <cx:pt idx="60559">0</cx:pt>
          <cx:pt idx="60560">0</cx:pt>
          <cx:pt idx="60561">1</cx:pt>
          <cx:pt idx="60562">0</cx:pt>
          <cx:pt idx="60563">0</cx:pt>
          <cx:pt idx="60564">1</cx:pt>
          <cx:pt idx="60565">0</cx:pt>
          <cx:pt idx="60566">0</cx:pt>
          <cx:pt idx="60567">1</cx:pt>
          <cx:pt idx="60568">0</cx:pt>
          <cx:pt idx="60569">1</cx:pt>
          <cx:pt idx="60570">0</cx:pt>
          <cx:pt idx="60571">1</cx:pt>
          <cx:pt idx="60572">1</cx:pt>
          <cx:pt idx="60573">0</cx:pt>
          <cx:pt idx="60574">1</cx:pt>
          <cx:pt idx="60575">0</cx:pt>
          <cx:pt idx="60576">0</cx:pt>
          <cx:pt idx="60577">0</cx:pt>
          <cx:pt idx="60578">1</cx:pt>
          <cx:pt idx="60579">0</cx:pt>
          <cx:pt idx="60580">0</cx:pt>
          <cx:pt idx="60581">0</cx:pt>
          <cx:pt idx="60582">0</cx:pt>
          <cx:pt idx="60583">0</cx:pt>
          <cx:pt idx="60584">0</cx:pt>
          <cx:pt idx="60585">0</cx:pt>
          <cx:pt idx="60586">0</cx:pt>
          <cx:pt idx="60587">0</cx:pt>
          <cx:pt idx="60588">0</cx:pt>
          <cx:pt idx="60589">0</cx:pt>
          <cx:pt idx="60590">1</cx:pt>
          <cx:pt idx="60591">0</cx:pt>
          <cx:pt idx="60592">1</cx:pt>
          <cx:pt idx="60593">1</cx:pt>
          <cx:pt idx="60594">0</cx:pt>
          <cx:pt idx="60595">0</cx:pt>
          <cx:pt idx="60596">1</cx:pt>
          <cx:pt idx="60597">1</cx:pt>
          <cx:pt idx="60598">0</cx:pt>
          <cx:pt idx="60599">1</cx:pt>
          <cx:pt idx="60600">0</cx:pt>
          <cx:pt idx="60601">0</cx:pt>
          <cx:pt idx="60602">1</cx:pt>
          <cx:pt idx="60603">0</cx:pt>
          <cx:pt idx="60604">0</cx:pt>
          <cx:pt idx="60605">0</cx:pt>
          <cx:pt idx="60606">0</cx:pt>
          <cx:pt idx="60607">0</cx:pt>
          <cx:pt idx="60608">0</cx:pt>
          <cx:pt idx="60609">1</cx:pt>
          <cx:pt idx="60610">0</cx:pt>
          <cx:pt idx="60611">1</cx:pt>
          <cx:pt idx="60612">1</cx:pt>
          <cx:pt idx="60613">0</cx:pt>
          <cx:pt idx="60614">1</cx:pt>
          <cx:pt idx="60615">1</cx:pt>
          <cx:pt idx="60616">0</cx:pt>
          <cx:pt idx="60617">0</cx:pt>
          <cx:pt idx="60618">0</cx:pt>
          <cx:pt idx="60619">0</cx:pt>
          <cx:pt idx="60620">0</cx:pt>
          <cx:pt idx="60621">1</cx:pt>
          <cx:pt idx="60622">1</cx:pt>
          <cx:pt idx="60623">0</cx:pt>
          <cx:pt idx="60624">0</cx:pt>
          <cx:pt idx="60625">0</cx:pt>
          <cx:pt idx="60626">0</cx:pt>
          <cx:pt idx="60627">1</cx:pt>
          <cx:pt idx="60628">0</cx:pt>
          <cx:pt idx="60629">0</cx:pt>
          <cx:pt idx="60630">1</cx:pt>
          <cx:pt idx="60631">0</cx:pt>
          <cx:pt idx="60632">1</cx:pt>
          <cx:pt idx="60633">0</cx:pt>
          <cx:pt idx="60634">0</cx:pt>
          <cx:pt idx="60635">0</cx:pt>
          <cx:pt idx="60636">1</cx:pt>
          <cx:pt idx="60637">0</cx:pt>
          <cx:pt idx="60638">0</cx:pt>
          <cx:pt idx="60639">1</cx:pt>
          <cx:pt idx="60640">0</cx:pt>
          <cx:pt idx="60641">0</cx:pt>
          <cx:pt idx="60642">0</cx:pt>
          <cx:pt idx="60643">0</cx:pt>
          <cx:pt idx="60644">0</cx:pt>
          <cx:pt idx="60645">0</cx:pt>
          <cx:pt idx="60646">1</cx:pt>
          <cx:pt idx="60647">1</cx:pt>
          <cx:pt idx="60648">0</cx:pt>
          <cx:pt idx="60649">1</cx:pt>
          <cx:pt idx="60650">0</cx:pt>
          <cx:pt idx="60651">1</cx:pt>
          <cx:pt idx="60652">1</cx:pt>
          <cx:pt idx="60653">0</cx:pt>
          <cx:pt idx="60654">1</cx:pt>
          <cx:pt idx="60655">1</cx:pt>
          <cx:pt idx="60656">1</cx:pt>
          <cx:pt idx="60657">1</cx:pt>
          <cx:pt idx="60658">0</cx:pt>
          <cx:pt idx="60659">1</cx:pt>
          <cx:pt idx="60660">0</cx:pt>
          <cx:pt idx="60661">1</cx:pt>
          <cx:pt idx="60662">1</cx:pt>
          <cx:pt idx="60663">0</cx:pt>
          <cx:pt idx="60664">0</cx:pt>
          <cx:pt idx="60665">1</cx:pt>
          <cx:pt idx="60666">0</cx:pt>
          <cx:pt idx="60667">0</cx:pt>
          <cx:pt idx="60668">0</cx:pt>
          <cx:pt idx="60669">0</cx:pt>
          <cx:pt idx="60670">0</cx:pt>
          <cx:pt idx="60671">0</cx:pt>
          <cx:pt idx="60672">1</cx:pt>
          <cx:pt idx="60673">1</cx:pt>
          <cx:pt idx="60674">0</cx:pt>
          <cx:pt idx="60675">1</cx:pt>
          <cx:pt idx="60676">1</cx:pt>
          <cx:pt idx="60677">1</cx:pt>
          <cx:pt idx="60678">0</cx:pt>
          <cx:pt idx="60679">1</cx:pt>
          <cx:pt idx="60680">0</cx:pt>
          <cx:pt idx="60681">0</cx:pt>
          <cx:pt idx="60682">0</cx:pt>
          <cx:pt idx="60683">0</cx:pt>
          <cx:pt idx="60684">1</cx:pt>
          <cx:pt idx="60685">0</cx:pt>
          <cx:pt idx="60686">0</cx:pt>
          <cx:pt idx="60687">0</cx:pt>
          <cx:pt idx="60688">0</cx:pt>
          <cx:pt idx="60689">0</cx:pt>
          <cx:pt idx="60690">0</cx:pt>
          <cx:pt idx="60691">0</cx:pt>
          <cx:pt idx="60692">0</cx:pt>
          <cx:pt idx="60693">0</cx:pt>
          <cx:pt idx="60694">0</cx:pt>
          <cx:pt idx="60695">0</cx:pt>
          <cx:pt idx="60696">1</cx:pt>
          <cx:pt idx="60697">0</cx:pt>
          <cx:pt idx="60698">1</cx:pt>
          <cx:pt idx="60699">1</cx:pt>
          <cx:pt idx="60700">0</cx:pt>
          <cx:pt idx="60701">1</cx:pt>
          <cx:pt idx="60702">0</cx:pt>
          <cx:pt idx="60703">1</cx:pt>
          <cx:pt idx="60704">1</cx:pt>
          <cx:pt idx="60705">1</cx:pt>
          <cx:pt idx="60706">0</cx:pt>
          <cx:pt idx="60707">0</cx:pt>
          <cx:pt idx="60708">0</cx:pt>
          <cx:pt idx="60709">1</cx:pt>
          <cx:pt idx="60710">1</cx:pt>
          <cx:pt idx="60711">1</cx:pt>
          <cx:pt idx="60712">1</cx:pt>
          <cx:pt idx="60713">0</cx:pt>
          <cx:pt idx="60714">0</cx:pt>
          <cx:pt idx="60715">0</cx:pt>
          <cx:pt idx="60716">0</cx:pt>
          <cx:pt idx="60717">0</cx:pt>
          <cx:pt idx="60718">0</cx:pt>
          <cx:pt idx="60719">1</cx:pt>
          <cx:pt idx="60720">0</cx:pt>
          <cx:pt idx="60721">1</cx:pt>
          <cx:pt idx="60722">1</cx:pt>
          <cx:pt idx="60723">0</cx:pt>
          <cx:pt idx="60724">1</cx:pt>
          <cx:pt idx="60725">1</cx:pt>
          <cx:pt idx="60726">1</cx:pt>
          <cx:pt idx="60727">1</cx:pt>
          <cx:pt idx="60728">1</cx:pt>
          <cx:pt idx="60729">1</cx:pt>
          <cx:pt idx="60730">0</cx:pt>
          <cx:pt idx="60731">1</cx:pt>
          <cx:pt idx="60732">1</cx:pt>
          <cx:pt idx="60733">0</cx:pt>
          <cx:pt idx="60734">0</cx:pt>
          <cx:pt idx="60735">0</cx:pt>
          <cx:pt idx="60736">0</cx:pt>
          <cx:pt idx="60737">0</cx:pt>
          <cx:pt idx="60738">0</cx:pt>
          <cx:pt idx="60739">0</cx:pt>
          <cx:pt idx="60740">0</cx:pt>
          <cx:pt idx="60741">1</cx:pt>
          <cx:pt idx="60742">1</cx:pt>
          <cx:pt idx="60743">1</cx:pt>
          <cx:pt idx="60744">1</cx:pt>
          <cx:pt idx="60745">1</cx:pt>
          <cx:pt idx="60746">0</cx:pt>
          <cx:pt idx="60747">0</cx:pt>
          <cx:pt idx="60748">0</cx:pt>
          <cx:pt idx="60749">1</cx:pt>
          <cx:pt idx="60750">0</cx:pt>
          <cx:pt idx="60751">1</cx:pt>
          <cx:pt idx="60752">1</cx:pt>
          <cx:pt idx="60753">0</cx:pt>
          <cx:pt idx="60754">0</cx:pt>
          <cx:pt idx="60755">1</cx:pt>
          <cx:pt idx="60756">1</cx:pt>
          <cx:pt idx="60757">1</cx:pt>
          <cx:pt idx="60758">0</cx:pt>
          <cx:pt idx="60759">0</cx:pt>
          <cx:pt idx="60760">1</cx:pt>
          <cx:pt idx="60761">0</cx:pt>
          <cx:pt idx="60762">1</cx:pt>
          <cx:pt idx="60763">1</cx:pt>
          <cx:pt idx="60764">0</cx:pt>
          <cx:pt idx="60765">1</cx:pt>
          <cx:pt idx="60766">0</cx:pt>
          <cx:pt idx="60767">0</cx:pt>
          <cx:pt idx="60768">0</cx:pt>
          <cx:pt idx="60769">1</cx:pt>
          <cx:pt idx="60770">1</cx:pt>
          <cx:pt idx="60771">0</cx:pt>
          <cx:pt idx="60772">1</cx:pt>
          <cx:pt idx="60773">1</cx:pt>
          <cx:pt idx="60774">0</cx:pt>
          <cx:pt idx="60775">0</cx:pt>
          <cx:pt idx="60776">0</cx:pt>
          <cx:pt idx="60777">1</cx:pt>
          <cx:pt idx="60778">0</cx:pt>
          <cx:pt idx="60779">1</cx:pt>
          <cx:pt idx="60780">1</cx:pt>
          <cx:pt idx="60781">0</cx:pt>
          <cx:pt idx="60782">1</cx:pt>
          <cx:pt idx="60783">0</cx:pt>
          <cx:pt idx="60784">0</cx:pt>
          <cx:pt idx="60785">1</cx:pt>
          <cx:pt idx="60786">0</cx:pt>
          <cx:pt idx="60787">0</cx:pt>
          <cx:pt idx="60788">1</cx:pt>
          <cx:pt idx="60789">0</cx:pt>
          <cx:pt idx="60790">1</cx:pt>
          <cx:pt idx="60791">1</cx:pt>
          <cx:pt idx="60792">0</cx:pt>
          <cx:pt idx="60793">1</cx:pt>
          <cx:pt idx="60794">0</cx:pt>
          <cx:pt idx="60795">0</cx:pt>
          <cx:pt idx="60796">1</cx:pt>
          <cx:pt idx="60797">0</cx:pt>
          <cx:pt idx="60798">1</cx:pt>
          <cx:pt idx="60799">0</cx:pt>
          <cx:pt idx="60800">0</cx:pt>
          <cx:pt idx="60801">1</cx:pt>
          <cx:pt idx="60802">0</cx:pt>
          <cx:pt idx="60803">1</cx:pt>
          <cx:pt idx="60804">0</cx:pt>
          <cx:pt idx="60805">1</cx:pt>
          <cx:pt idx="60806">1</cx:pt>
          <cx:pt idx="60807">0</cx:pt>
          <cx:pt idx="60808">0</cx:pt>
          <cx:pt idx="60809">1</cx:pt>
          <cx:pt idx="60810">0</cx:pt>
          <cx:pt idx="60811">0</cx:pt>
          <cx:pt idx="60812">0</cx:pt>
          <cx:pt idx="60813">0</cx:pt>
          <cx:pt idx="60814">1</cx:pt>
          <cx:pt idx="60815">1</cx:pt>
          <cx:pt idx="60816">0</cx:pt>
          <cx:pt idx="60817">1</cx:pt>
          <cx:pt idx="60818">0</cx:pt>
          <cx:pt idx="60819">0</cx:pt>
          <cx:pt idx="60820">0</cx:pt>
          <cx:pt idx="60821">0</cx:pt>
          <cx:pt idx="60822">1</cx:pt>
          <cx:pt idx="60823">1</cx:pt>
          <cx:pt idx="60824">1</cx:pt>
          <cx:pt idx="60825">1</cx:pt>
          <cx:pt idx="60826">1</cx:pt>
          <cx:pt idx="60827">1</cx:pt>
          <cx:pt idx="60828">1</cx:pt>
          <cx:pt idx="60829">0</cx:pt>
          <cx:pt idx="60830">0</cx:pt>
          <cx:pt idx="60831">1</cx:pt>
          <cx:pt idx="60832">0</cx:pt>
          <cx:pt idx="60833">1</cx:pt>
          <cx:pt idx="60834">1</cx:pt>
          <cx:pt idx="60835">1</cx:pt>
          <cx:pt idx="60836">1</cx:pt>
          <cx:pt idx="60837">0</cx:pt>
          <cx:pt idx="60838">0</cx:pt>
          <cx:pt idx="60839">0</cx:pt>
          <cx:pt idx="60840">0</cx:pt>
          <cx:pt idx="60841">0</cx:pt>
          <cx:pt idx="60842">0</cx:pt>
          <cx:pt idx="60843">1</cx:pt>
          <cx:pt idx="60844">0</cx:pt>
          <cx:pt idx="60845">0</cx:pt>
          <cx:pt idx="60846">0</cx:pt>
          <cx:pt idx="60847">1</cx:pt>
          <cx:pt idx="60848">1</cx:pt>
          <cx:pt idx="60849">1</cx:pt>
          <cx:pt idx="60850">1</cx:pt>
          <cx:pt idx="60851">0</cx:pt>
          <cx:pt idx="60852">1</cx:pt>
          <cx:pt idx="60853">1</cx:pt>
          <cx:pt idx="60854">0</cx:pt>
          <cx:pt idx="60855">0</cx:pt>
          <cx:pt idx="60856">0</cx:pt>
          <cx:pt idx="60857">1</cx:pt>
          <cx:pt idx="60858">0</cx:pt>
          <cx:pt idx="60859">0</cx:pt>
          <cx:pt idx="60860">1</cx:pt>
          <cx:pt idx="60861">0</cx:pt>
          <cx:pt idx="60862">0</cx:pt>
          <cx:pt idx="60863">0</cx:pt>
          <cx:pt idx="60864">0</cx:pt>
          <cx:pt idx="60865">0</cx:pt>
          <cx:pt idx="60866">0</cx:pt>
          <cx:pt idx="60867">0</cx:pt>
          <cx:pt idx="60868">1</cx:pt>
          <cx:pt idx="60869">1</cx:pt>
          <cx:pt idx="60870">1</cx:pt>
          <cx:pt idx="60871">0</cx:pt>
          <cx:pt idx="60872">0</cx:pt>
          <cx:pt idx="60873">1</cx:pt>
          <cx:pt idx="60874">1</cx:pt>
          <cx:pt idx="60875">1</cx:pt>
          <cx:pt idx="60876">0</cx:pt>
          <cx:pt idx="60877">0</cx:pt>
          <cx:pt idx="60878">0</cx:pt>
          <cx:pt idx="60879">0</cx:pt>
          <cx:pt idx="60880">1</cx:pt>
          <cx:pt idx="60881">1</cx:pt>
          <cx:pt idx="60882">0</cx:pt>
          <cx:pt idx="60883">1</cx:pt>
          <cx:pt idx="60884">1</cx:pt>
          <cx:pt idx="60885">1</cx:pt>
          <cx:pt idx="60886">1</cx:pt>
          <cx:pt idx="60887">0</cx:pt>
          <cx:pt idx="60888">0</cx:pt>
          <cx:pt idx="60889">0</cx:pt>
          <cx:pt idx="60890">0</cx:pt>
          <cx:pt idx="60891">0</cx:pt>
          <cx:pt idx="60892">0</cx:pt>
          <cx:pt idx="60893">1</cx:pt>
          <cx:pt idx="60894">0</cx:pt>
          <cx:pt idx="60895">1</cx:pt>
          <cx:pt idx="60896">1</cx:pt>
          <cx:pt idx="60897">1</cx:pt>
          <cx:pt idx="60898">0</cx:pt>
          <cx:pt idx="60899">0</cx:pt>
          <cx:pt idx="60900">0</cx:pt>
          <cx:pt idx="60901">0</cx:pt>
          <cx:pt idx="60902">1</cx:pt>
          <cx:pt idx="60903">1</cx:pt>
          <cx:pt idx="60904">0</cx:pt>
          <cx:pt idx="60905">0</cx:pt>
          <cx:pt idx="60906">1</cx:pt>
          <cx:pt idx="60907">1</cx:pt>
          <cx:pt idx="60908">1</cx:pt>
          <cx:pt idx="60909">0</cx:pt>
          <cx:pt idx="60910">1</cx:pt>
          <cx:pt idx="60911">1</cx:pt>
          <cx:pt idx="60912">1</cx:pt>
          <cx:pt idx="60913">1</cx:pt>
          <cx:pt idx="60914">0</cx:pt>
          <cx:pt idx="60915">1</cx:pt>
          <cx:pt idx="60916">0</cx:pt>
          <cx:pt idx="60917">0</cx:pt>
          <cx:pt idx="60918">1</cx:pt>
          <cx:pt idx="60919">1</cx:pt>
          <cx:pt idx="60920">0</cx:pt>
          <cx:pt idx="60921">1</cx:pt>
          <cx:pt idx="60922">0</cx:pt>
          <cx:pt idx="60923">1</cx:pt>
          <cx:pt idx="60924">1</cx:pt>
          <cx:pt idx="60925">0</cx:pt>
          <cx:pt idx="60926">1</cx:pt>
          <cx:pt idx="60927">1</cx:pt>
          <cx:pt idx="60928">0</cx:pt>
          <cx:pt idx="60929">0</cx:pt>
          <cx:pt idx="60930">0</cx:pt>
          <cx:pt idx="60931">1</cx:pt>
          <cx:pt idx="60932">0</cx:pt>
          <cx:pt idx="60933">1</cx:pt>
          <cx:pt idx="60934">1</cx:pt>
          <cx:pt idx="60935">0</cx:pt>
          <cx:pt idx="60936">1</cx:pt>
          <cx:pt idx="60937">1</cx:pt>
          <cx:pt idx="60938">0</cx:pt>
          <cx:pt idx="60939">0</cx:pt>
          <cx:pt idx="60940">0</cx:pt>
          <cx:pt idx="60941">0</cx:pt>
          <cx:pt idx="60942">0</cx:pt>
          <cx:pt idx="60943">1</cx:pt>
          <cx:pt idx="60944">0</cx:pt>
          <cx:pt idx="60945">0</cx:pt>
          <cx:pt idx="60946">1</cx:pt>
          <cx:pt idx="60947">1</cx:pt>
          <cx:pt idx="60948">0</cx:pt>
          <cx:pt idx="60949">0</cx:pt>
          <cx:pt idx="60950">0</cx:pt>
          <cx:pt idx="60951">1</cx:pt>
          <cx:pt idx="60952">1</cx:pt>
          <cx:pt idx="60953">0</cx:pt>
          <cx:pt idx="60954">1</cx:pt>
          <cx:pt idx="60955">0</cx:pt>
          <cx:pt idx="60956">1</cx:pt>
          <cx:pt idx="60957">0</cx:pt>
          <cx:pt idx="60958">0</cx:pt>
          <cx:pt idx="60959">1</cx:pt>
          <cx:pt idx="60960">1</cx:pt>
          <cx:pt idx="60961">0</cx:pt>
          <cx:pt idx="60962">1</cx:pt>
          <cx:pt idx="60963">0</cx:pt>
          <cx:pt idx="60964">0</cx:pt>
          <cx:pt idx="60965">0</cx:pt>
          <cx:pt idx="60966">1</cx:pt>
          <cx:pt idx="60967">0</cx:pt>
          <cx:pt idx="60968">0</cx:pt>
          <cx:pt idx="60969">0</cx:pt>
          <cx:pt idx="60970">1</cx:pt>
          <cx:pt idx="60971">1</cx:pt>
          <cx:pt idx="60972">0</cx:pt>
          <cx:pt idx="60973">0</cx:pt>
          <cx:pt idx="60974">0</cx:pt>
          <cx:pt idx="60975">1</cx:pt>
          <cx:pt idx="60976">0</cx:pt>
          <cx:pt idx="60977">1</cx:pt>
          <cx:pt idx="60978">0</cx:pt>
          <cx:pt idx="60979">1</cx:pt>
          <cx:pt idx="60980">0</cx:pt>
          <cx:pt idx="60981">1</cx:pt>
          <cx:pt idx="60982">0</cx:pt>
          <cx:pt idx="60983">0</cx:pt>
          <cx:pt idx="60984">0</cx:pt>
          <cx:pt idx="60985">1</cx:pt>
          <cx:pt idx="60986">0</cx:pt>
          <cx:pt idx="60987">1</cx:pt>
          <cx:pt idx="60988">0</cx:pt>
          <cx:pt idx="60989">0</cx:pt>
          <cx:pt idx="60990">1</cx:pt>
          <cx:pt idx="60991">0</cx:pt>
          <cx:pt idx="60992">0</cx:pt>
          <cx:pt idx="60993">0</cx:pt>
          <cx:pt idx="60994">1</cx:pt>
          <cx:pt idx="60995">1</cx:pt>
          <cx:pt idx="60996">0</cx:pt>
          <cx:pt idx="60997">0</cx:pt>
          <cx:pt idx="60998">0</cx:pt>
          <cx:pt idx="60999">0</cx:pt>
          <cx:pt idx="61000">0</cx:pt>
          <cx:pt idx="61001">0</cx:pt>
          <cx:pt idx="61002">0</cx:pt>
          <cx:pt idx="61003">1</cx:pt>
          <cx:pt idx="61004">0</cx:pt>
          <cx:pt idx="61005">1</cx:pt>
          <cx:pt idx="61006">1</cx:pt>
          <cx:pt idx="61007">1</cx:pt>
          <cx:pt idx="61008">1</cx:pt>
          <cx:pt idx="61009">1</cx:pt>
          <cx:pt idx="61010">1</cx:pt>
          <cx:pt idx="61011">1</cx:pt>
          <cx:pt idx="61012">0</cx:pt>
          <cx:pt idx="61013">0</cx:pt>
          <cx:pt idx="61014">0</cx:pt>
          <cx:pt idx="61015">1</cx:pt>
          <cx:pt idx="61016">0</cx:pt>
          <cx:pt idx="61017">1</cx:pt>
          <cx:pt idx="61018">1</cx:pt>
          <cx:pt idx="61019">0</cx:pt>
          <cx:pt idx="61020">0</cx:pt>
          <cx:pt idx="61021">0</cx:pt>
          <cx:pt idx="61022">0</cx:pt>
          <cx:pt idx="61023">0</cx:pt>
          <cx:pt idx="61024">0</cx:pt>
          <cx:pt idx="61025">0</cx:pt>
          <cx:pt idx="61026">0</cx:pt>
          <cx:pt idx="61027">0</cx:pt>
          <cx:pt idx="61028">0</cx:pt>
          <cx:pt idx="61029">1</cx:pt>
          <cx:pt idx="61030">1</cx:pt>
          <cx:pt idx="61031">1</cx:pt>
          <cx:pt idx="61032">0</cx:pt>
          <cx:pt idx="61033">1</cx:pt>
          <cx:pt idx="61034">1</cx:pt>
          <cx:pt idx="61035">0</cx:pt>
          <cx:pt idx="61036">0</cx:pt>
          <cx:pt idx="61037">1</cx:pt>
          <cx:pt idx="61038">0</cx:pt>
          <cx:pt idx="61039">0</cx:pt>
          <cx:pt idx="61040">0</cx:pt>
          <cx:pt idx="61041">1</cx:pt>
          <cx:pt idx="61042">0</cx:pt>
          <cx:pt idx="61043">1</cx:pt>
          <cx:pt idx="61044">1</cx:pt>
          <cx:pt idx="61045">1</cx:pt>
          <cx:pt idx="61046">0</cx:pt>
          <cx:pt idx="61047">0</cx:pt>
          <cx:pt idx="61048">0</cx:pt>
          <cx:pt idx="61049">1</cx:pt>
          <cx:pt idx="61050">0</cx:pt>
          <cx:pt idx="61051">1</cx:pt>
          <cx:pt idx="61052">1</cx:pt>
          <cx:pt idx="61053">1</cx:pt>
          <cx:pt idx="61054">0</cx:pt>
          <cx:pt idx="61055">0</cx:pt>
          <cx:pt idx="61056">1</cx:pt>
          <cx:pt idx="61057">1</cx:pt>
          <cx:pt idx="61058">1</cx:pt>
          <cx:pt idx="61059">1</cx:pt>
          <cx:pt idx="61060">1</cx:pt>
          <cx:pt idx="61061">0</cx:pt>
          <cx:pt idx="61062">0</cx:pt>
          <cx:pt idx="61063">0</cx:pt>
          <cx:pt idx="61064">0</cx:pt>
          <cx:pt idx="61065">0</cx:pt>
          <cx:pt idx="61066">0</cx:pt>
          <cx:pt idx="61067">0</cx:pt>
          <cx:pt idx="61068">1</cx:pt>
          <cx:pt idx="61069">0</cx:pt>
          <cx:pt idx="61070">1</cx:pt>
          <cx:pt idx="61071">0</cx:pt>
          <cx:pt idx="61072">1</cx:pt>
          <cx:pt idx="61073">0</cx:pt>
          <cx:pt idx="61074">0</cx:pt>
          <cx:pt idx="61075">0</cx:pt>
          <cx:pt idx="61076">0</cx:pt>
          <cx:pt idx="61077">0</cx:pt>
          <cx:pt idx="61078">0</cx:pt>
          <cx:pt idx="61079">1</cx:pt>
          <cx:pt idx="61080">0</cx:pt>
          <cx:pt idx="61081">0</cx:pt>
          <cx:pt idx="61082">1</cx:pt>
          <cx:pt idx="61083">1</cx:pt>
          <cx:pt idx="61084">1</cx:pt>
          <cx:pt idx="61085">0</cx:pt>
          <cx:pt idx="61086">1</cx:pt>
          <cx:pt idx="61087">1</cx:pt>
          <cx:pt idx="61088">0</cx:pt>
          <cx:pt idx="61089">0</cx:pt>
          <cx:pt idx="61090">1</cx:pt>
          <cx:pt idx="61091">1</cx:pt>
          <cx:pt idx="61092">0</cx:pt>
          <cx:pt idx="61093">0</cx:pt>
          <cx:pt idx="61094">1</cx:pt>
          <cx:pt idx="61095">1</cx:pt>
          <cx:pt idx="61096">1</cx:pt>
          <cx:pt idx="61097">1</cx:pt>
          <cx:pt idx="61098">1</cx:pt>
          <cx:pt idx="61099">0</cx:pt>
          <cx:pt idx="61100">0</cx:pt>
          <cx:pt idx="61101">1</cx:pt>
          <cx:pt idx="61102">1</cx:pt>
          <cx:pt idx="61103">0</cx:pt>
          <cx:pt idx="61104">1</cx:pt>
          <cx:pt idx="61105">0</cx:pt>
          <cx:pt idx="61106">1</cx:pt>
          <cx:pt idx="61107">0</cx:pt>
          <cx:pt idx="61108">0</cx:pt>
          <cx:pt idx="61109">1</cx:pt>
          <cx:pt idx="61110">0</cx:pt>
          <cx:pt idx="61111">0</cx:pt>
          <cx:pt idx="61112">0</cx:pt>
          <cx:pt idx="61113">1</cx:pt>
          <cx:pt idx="61114">1</cx:pt>
          <cx:pt idx="61115">1</cx:pt>
          <cx:pt idx="61116">0</cx:pt>
          <cx:pt idx="61117">0</cx:pt>
          <cx:pt idx="61118">0</cx:pt>
          <cx:pt idx="61119">0</cx:pt>
          <cx:pt idx="61120">0</cx:pt>
          <cx:pt idx="61121">0</cx:pt>
          <cx:pt idx="61122">0</cx:pt>
          <cx:pt idx="61123">0</cx:pt>
          <cx:pt idx="61124">0</cx:pt>
          <cx:pt idx="61125">0</cx:pt>
          <cx:pt idx="61126">1</cx:pt>
          <cx:pt idx="61127">0</cx:pt>
          <cx:pt idx="61128">0</cx:pt>
          <cx:pt idx="61129">0</cx:pt>
          <cx:pt idx="61130">0</cx:pt>
          <cx:pt idx="61131">0</cx:pt>
          <cx:pt idx="61132">1</cx:pt>
          <cx:pt idx="61133">0</cx:pt>
          <cx:pt idx="61134">1</cx:pt>
          <cx:pt idx="61135">0</cx:pt>
          <cx:pt idx="61136">1</cx:pt>
          <cx:pt idx="61137">0</cx:pt>
          <cx:pt idx="61138">1</cx:pt>
          <cx:pt idx="61139">0</cx:pt>
          <cx:pt idx="61140">0</cx:pt>
          <cx:pt idx="61141">1</cx:pt>
          <cx:pt idx="61142">1</cx:pt>
          <cx:pt idx="61143">0</cx:pt>
          <cx:pt idx="61144">0</cx:pt>
          <cx:pt idx="61145">0</cx:pt>
          <cx:pt idx="61146">1</cx:pt>
          <cx:pt idx="61147">0</cx:pt>
          <cx:pt idx="61148">1</cx:pt>
          <cx:pt idx="61149">0</cx:pt>
          <cx:pt idx="61150">0</cx:pt>
          <cx:pt idx="61151">1</cx:pt>
          <cx:pt idx="61152">1</cx:pt>
          <cx:pt idx="61153">0</cx:pt>
          <cx:pt idx="61154">0</cx:pt>
          <cx:pt idx="61155">0</cx:pt>
          <cx:pt idx="61156">0</cx:pt>
          <cx:pt idx="61157">0</cx:pt>
          <cx:pt idx="61158">0</cx:pt>
          <cx:pt idx="61159">1</cx:pt>
          <cx:pt idx="61160">0</cx:pt>
          <cx:pt idx="61161">0</cx:pt>
          <cx:pt idx="61162">0</cx:pt>
          <cx:pt idx="61163">0</cx:pt>
          <cx:pt idx="61164">1</cx:pt>
          <cx:pt idx="61165">1</cx:pt>
          <cx:pt idx="61166">0</cx:pt>
          <cx:pt idx="61167">1</cx:pt>
          <cx:pt idx="61168">0</cx:pt>
          <cx:pt idx="61169">1</cx:pt>
          <cx:pt idx="61170">1</cx:pt>
          <cx:pt idx="61171">0</cx:pt>
          <cx:pt idx="61172">0</cx:pt>
          <cx:pt idx="61173">0</cx:pt>
          <cx:pt idx="61174">1</cx:pt>
          <cx:pt idx="61175">0</cx:pt>
          <cx:pt idx="61176">0</cx:pt>
          <cx:pt idx="61177">0</cx:pt>
          <cx:pt idx="61178">0</cx:pt>
          <cx:pt idx="61179">0</cx:pt>
          <cx:pt idx="61180">1</cx:pt>
          <cx:pt idx="61181">0</cx:pt>
          <cx:pt idx="61182">0</cx:pt>
          <cx:pt idx="61183">0</cx:pt>
          <cx:pt idx="61184">0</cx:pt>
          <cx:pt idx="61185">0</cx:pt>
          <cx:pt idx="61186">0</cx:pt>
          <cx:pt idx="61187">1</cx:pt>
          <cx:pt idx="61188">0</cx:pt>
          <cx:pt idx="61189">0</cx:pt>
          <cx:pt idx="61190">0</cx:pt>
          <cx:pt idx="61191">0</cx:pt>
          <cx:pt idx="61192">0</cx:pt>
          <cx:pt idx="61193">0</cx:pt>
          <cx:pt idx="61194">0</cx:pt>
          <cx:pt idx="61195">0</cx:pt>
          <cx:pt idx="61196">0</cx:pt>
          <cx:pt idx="61197">0</cx:pt>
          <cx:pt idx="61198">1</cx:pt>
          <cx:pt idx="61199">1</cx:pt>
          <cx:pt idx="61200">0</cx:pt>
          <cx:pt idx="61201">0</cx:pt>
          <cx:pt idx="61202">1</cx:pt>
          <cx:pt idx="61203">1</cx:pt>
          <cx:pt idx="61204">1</cx:pt>
          <cx:pt idx="61205">1</cx:pt>
          <cx:pt idx="61206">0</cx:pt>
          <cx:pt idx="61207">0</cx:pt>
          <cx:pt idx="61208">1</cx:pt>
          <cx:pt idx="61209">0</cx:pt>
          <cx:pt idx="61210">0</cx:pt>
          <cx:pt idx="61211">1</cx:pt>
          <cx:pt idx="61212">1</cx:pt>
          <cx:pt idx="61213">1</cx:pt>
          <cx:pt idx="61214">0</cx:pt>
          <cx:pt idx="61215">1</cx:pt>
          <cx:pt idx="61216">0</cx:pt>
          <cx:pt idx="61217">0</cx:pt>
          <cx:pt idx="61218">1</cx:pt>
          <cx:pt idx="61219">0</cx:pt>
          <cx:pt idx="61220">0</cx:pt>
          <cx:pt idx="61221">1</cx:pt>
          <cx:pt idx="61222">1</cx:pt>
          <cx:pt idx="61223">1</cx:pt>
          <cx:pt idx="61224">0</cx:pt>
          <cx:pt idx="61225">0</cx:pt>
          <cx:pt idx="61226">0</cx:pt>
          <cx:pt idx="61227">0</cx:pt>
          <cx:pt idx="61228">1</cx:pt>
          <cx:pt idx="61229">0</cx:pt>
          <cx:pt idx="61230">1</cx:pt>
          <cx:pt idx="61231">1</cx:pt>
          <cx:pt idx="61232">1</cx:pt>
          <cx:pt idx="61233">1</cx:pt>
          <cx:pt idx="61234">1</cx:pt>
          <cx:pt idx="61235">1</cx:pt>
          <cx:pt idx="61236">0</cx:pt>
          <cx:pt idx="61237">1</cx:pt>
          <cx:pt idx="61238">0</cx:pt>
          <cx:pt idx="61239">1</cx:pt>
          <cx:pt idx="61240">0</cx:pt>
          <cx:pt idx="61241">1</cx:pt>
          <cx:pt idx="61242">0</cx:pt>
          <cx:pt idx="61243">0</cx:pt>
          <cx:pt idx="61244">0</cx:pt>
          <cx:pt idx="61245">0</cx:pt>
          <cx:pt idx="61246">0</cx:pt>
          <cx:pt idx="61247">0</cx:pt>
          <cx:pt idx="61248">1</cx:pt>
          <cx:pt idx="61249">1</cx:pt>
          <cx:pt idx="61250">0</cx:pt>
          <cx:pt idx="61251">0</cx:pt>
          <cx:pt idx="61252">0</cx:pt>
          <cx:pt idx="61253">0</cx:pt>
          <cx:pt idx="61254">1</cx:pt>
          <cx:pt idx="61255">0</cx:pt>
          <cx:pt idx="61256">0</cx:pt>
          <cx:pt idx="61257">1</cx:pt>
          <cx:pt idx="61258">0</cx:pt>
          <cx:pt idx="61259">0</cx:pt>
          <cx:pt idx="61260">0</cx:pt>
          <cx:pt idx="61261">0</cx:pt>
          <cx:pt idx="61262">0</cx:pt>
          <cx:pt idx="61263">0</cx:pt>
          <cx:pt idx="61264">0</cx:pt>
          <cx:pt idx="61265">0</cx:pt>
          <cx:pt idx="61266">0</cx:pt>
          <cx:pt idx="61267">1</cx:pt>
          <cx:pt idx="61268">1</cx:pt>
          <cx:pt idx="61269">0</cx:pt>
          <cx:pt idx="61270">0</cx:pt>
          <cx:pt idx="61271">0</cx:pt>
          <cx:pt idx="61272">1</cx:pt>
          <cx:pt idx="61273">0</cx:pt>
          <cx:pt idx="61274">0</cx:pt>
          <cx:pt idx="61275">1</cx:pt>
          <cx:pt idx="61276">1</cx:pt>
          <cx:pt idx="61277">0</cx:pt>
          <cx:pt idx="61278">0</cx:pt>
          <cx:pt idx="61279">1</cx:pt>
          <cx:pt idx="61280">1</cx:pt>
          <cx:pt idx="61281">1</cx:pt>
          <cx:pt idx="61282">0</cx:pt>
          <cx:pt idx="61283">1</cx:pt>
          <cx:pt idx="61284">0</cx:pt>
          <cx:pt idx="61285">1</cx:pt>
          <cx:pt idx="61286">1</cx:pt>
          <cx:pt idx="61287">0</cx:pt>
          <cx:pt idx="61288">0</cx:pt>
          <cx:pt idx="61289">0</cx:pt>
          <cx:pt idx="61290">0</cx:pt>
          <cx:pt idx="61291">1</cx:pt>
          <cx:pt idx="61292">0</cx:pt>
          <cx:pt idx="61293">1</cx:pt>
          <cx:pt idx="61294">1</cx:pt>
          <cx:pt idx="61295">1</cx:pt>
          <cx:pt idx="61296">1</cx:pt>
          <cx:pt idx="61297">0</cx:pt>
          <cx:pt idx="61298">0</cx:pt>
          <cx:pt idx="61299">1</cx:pt>
          <cx:pt idx="61300">1</cx:pt>
          <cx:pt idx="61301">0</cx:pt>
          <cx:pt idx="61302">0</cx:pt>
          <cx:pt idx="61303">0</cx:pt>
          <cx:pt idx="61304">0</cx:pt>
          <cx:pt idx="61305">0</cx:pt>
          <cx:pt idx="61306">1</cx:pt>
          <cx:pt idx="61307">1</cx:pt>
          <cx:pt idx="61308">1</cx:pt>
          <cx:pt idx="61309">0</cx:pt>
          <cx:pt idx="61310">1</cx:pt>
          <cx:pt idx="61311">0</cx:pt>
          <cx:pt idx="61312">0</cx:pt>
          <cx:pt idx="61313">0</cx:pt>
          <cx:pt idx="61314">0</cx:pt>
          <cx:pt idx="61315">1</cx:pt>
          <cx:pt idx="61316">1</cx:pt>
          <cx:pt idx="61317">0</cx:pt>
          <cx:pt idx="61318">0</cx:pt>
          <cx:pt idx="61319">1</cx:pt>
          <cx:pt idx="61320">0</cx:pt>
          <cx:pt idx="61321">0</cx:pt>
          <cx:pt idx="61322">1</cx:pt>
          <cx:pt idx="61323">0</cx:pt>
          <cx:pt idx="61324">1</cx:pt>
          <cx:pt idx="61325">0</cx:pt>
          <cx:pt idx="61326">1</cx:pt>
          <cx:pt idx="61327">0</cx:pt>
          <cx:pt idx="61328">0</cx:pt>
          <cx:pt idx="61329">1</cx:pt>
          <cx:pt idx="61330">1</cx:pt>
          <cx:pt idx="61331">1</cx:pt>
          <cx:pt idx="61332">1</cx:pt>
          <cx:pt idx="61333">1</cx:pt>
          <cx:pt idx="61334">1</cx:pt>
          <cx:pt idx="61335">1</cx:pt>
          <cx:pt idx="61336">0</cx:pt>
          <cx:pt idx="61337">1</cx:pt>
          <cx:pt idx="61338">0</cx:pt>
          <cx:pt idx="61339">0</cx:pt>
          <cx:pt idx="61340">1</cx:pt>
          <cx:pt idx="61341">1</cx:pt>
          <cx:pt idx="61342">1</cx:pt>
          <cx:pt idx="61343">1</cx:pt>
          <cx:pt idx="61344">0</cx:pt>
          <cx:pt idx="61345">1</cx:pt>
          <cx:pt idx="61346">1</cx:pt>
          <cx:pt idx="61347">0</cx:pt>
          <cx:pt idx="61348">1</cx:pt>
          <cx:pt idx="61349">0</cx:pt>
          <cx:pt idx="61350">0</cx:pt>
          <cx:pt idx="61351">0</cx:pt>
          <cx:pt idx="61352">1</cx:pt>
          <cx:pt idx="61353">1</cx:pt>
          <cx:pt idx="61354">0</cx:pt>
          <cx:pt idx="61355">1</cx:pt>
          <cx:pt idx="61356">1</cx:pt>
          <cx:pt idx="61357">1</cx:pt>
          <cx:pt idx="61358">0</cx:pt>
          <cx:pt idx="61359">1</cx:pt>
          <cx:pt idx="61360">1</cx:pt>
          <cx:pt idx="61361">0</cx:pt>
          <cx:pt idx="61362">1</cx:pt>
          <cx:pt idx="61363">1</cx:pt>
          <cx:pt idx="61364">0</cx:pt>
          <cx:pt idx="61365">1</cx:pt>
          <cx:pt idx="61366">0</cx:pt>
          <cx:pt idx="61367">0</cx:pt>
          <cx:pt idx="61368">0</cx:pt>
          <cx:pt idx="61369">1</cx:pt>
          <cx:pt idx="61370">0</cx:pt>
          <cx:pt idx="61371">1</cx:pt>
          <cx:pt idx="61372">1</cx:pt>
          <cx:pt idx="61373">0</cx:pt>
          <cx:pt idx="61374">0</cx:pt>
          <cx:pt idx="61375">0</cx:pt>
          <cx:pt idx="61376">1</cx:pt>
          <cx:pt idx="61377">0</cx:pt>
          <cx:pt idx="61378">0</cx:pt>
          <cx:pt idx="61379">1</cx:pt>
          <cx:pt idx="61380">0</cx:pt>
          <cx:pt idx="61381">1</cx:pt>
          <cx:pt idx="61382">0</cx:pt>
          <cx:pt idx="61383">0</cx:pt>
          <cx:pt idx="61384">0</cx:pt>
          <cx:pt idx="61385">0</cx:pt>
          <cx:pt idx="61386">0</cx:pt>
          <cx:pt idx="61387">1</cx:pt>
          <cx:pt idx="61388">0</cx:pt>
          <cx:pt idx="61389">1</cx:pt>
          <cx:pt idx="61390">0</cx:pt>
          <cx:pt idx="61391">1</cx:pt>
          <cx:pt idx="61392">1</cx:pt>
          <cx:pt idx="61393">0</cx:pt>
          <cx:pt idx="61394">1</cx:pt>
          <cx:pt idx="61395">1</cx:pt>
          <cx:pt idx="61396">1</cx:pt>
          <cx:pt idx="61397">1</cx:pt>
          <cx:pt idx="61398">0</cx:pt>
          <cx:pt idx="61399">0</cx:pt>
          <cx:pt idx="61400">0</cx:pt>
          <cx:pt idx="61401">0</cx:pt>
          <cx:pt idx="61402">1</cx:pt>
          <cx:pt idx="61403">0</cx:pt>
          <cx:pt idx="61404">1</cx:pt>
          <cx:pt idx="61405">1</cx:pt>
          <cx:pt idx="61406">1</cx:pt>
          <cx:pt idx="61407">0</cx:pt>
          <cx:pt idx="61408">0</cx:pt>
          <cx:pt idx="61409">0</cx:pt>
          <cx:pt idx="61410">0</cx:pt>
          <cx:pt idx="61411">0</cx:pt>
          <cx:pt idx="61412">1</cx:pt>
          <cx:pt idx="61413">1</cx:pt>
          <cx:pt idx="61414">0</cx:pt>
          <cx:pt idx="61415">0</cx:pt>
          <cx:pt idx="61416">0</cx:pt>
          <cx:pt idx="61417">1</cx:pt>
          <cx:pt idx="61418">0</cx:pt>
          <cx:pt idx="61419">1</cx:pt>
          <cx:pt idx="61420">1</cx:pt>
          <cx:pt idx="61421">0</cx:pt>
          <cx:pt idx="61422">1</cx:pt>
          <cx:pt idx="61423">1</cx:pt>
          <cx:pt idx="61424">0</cx:pt>
          <cx:pt idx="61425">0</cx:pt>
          <cx:pt idx="61426">0</cx:pt>
          <cx:pt idx="61427">0</cx:pt>
          <cx:pt idx="61428">0</cx:pt>
          <cx:pt idx="61429">0</cx:pt>
          <cx:pt idx="61430">1</cx:pt>
          <cx:pt idx="61431">1</cx:pt>
          <cx:pt idx="61432">0</cx:pt>
          <cx:pt idx="61433">0</cx:pt>
          <cx:pt idx="61434">0</cx:pt>
          <cx:pt idx="61435">1</cx:pt>
          <cx:pt idx="61436">1</cx:pt>
          <cx:pt idx="61437">0</cx:pt>
          <cx:pt idx="61438">0</cx:pt>
          <cx:pt idx="61439">1</cx:pt>
          <cx:pt idx="61440">1</cx:pt>
          <cx:pt idx="61441">1</cx:pt>
          <cx:pt idx="61442">1</cx:pt>
          <cx:pt idx="61443">1</cx:pt>
          <cx:pt idx="61444">0</cx:pt>
          <cx:pt idx="61445">0</cx:pt>
          <cx:pt idx="61446">0</cx:pt>
          <cx:pt idx="61447">0</cx:pt>
          <cx:pt idx="61448">0</cx:pt>
          <cx:pt idx="61449">0</cx:pt>
          <cx:pt idx="61450">0</cx:pt>
          <cx:pt idx="61451">0</cx:pt>
          <cx:pt idx="61452">0</cx:pt>
          <cx:pt idx="61453">1</cx:pt>
          <cx:pt idx="61454">1</cx:pt>
          <cx:pt idx="61455">0</cx:pt>
          <cx:pt idx="61456">0</cx:pt>
          <cx:pt idx="61457">1</cx:pt>
          <cx:pt idx="61458">1</cx:pt>
          <cx:pt idx="61459">0</cx:pt>
          <cx:pt idx="61460">0</cx:pt>
          <cx:pt idx="61461">1</cx:pt>
          <cx:pt idx="61462">0</cx:pt>
          <cx:pt idx="61463">1</cx:pt>
          <cx:pt idx="61464">0</cx:pt>
          <cx:pt idx="61465">0</cx:pt>
          <cx:pt idx="61466">0</cx:pt>
          <cx:pt idx="61467">0</cx:pt>
          <cx:pt idx="61468">0</cx:pt>
          <cx:pt idx="61469">1</cx:pt>
          <cx:pt idx="61470">1</cx:pt>
          <cx:pt idx="61471">0</cx:pt>
          <cx:pt idx="61472">0</cx:pt>
          <cx:pt idx="61473">0</cx:pt>
          <cx:pt idx="61474">0</cx:pt>
          <cx:pt idx="61475">0</cx:pt>
          <cx:pt idx="61476">1</cx:pt>
          <cx:pt idx="61477">0</cx:pt>
          <cx:pt idx="61478">1</cx:pt>
          <cx:pt idx="61479">1</cx:pt>
          <cx:pt idx="61480">0</cx:pt>
          <cx:pt idx="61481">0</cx:pt>
          <cx:pt idx="61482">0</cx:pt>
          <cx:pt idx="61483">0</cx:pt>
          <cx:pt idx="61484">0</cx:pt>
          <cx:pt idx="61485">0</cx:pt>
          <cx:pt idx="61486">0</cx:pt>
          <cx:pt idx="61487">0</cx:pt>
          <cx:pt idx="61488">0</cx:pt>
          <cx:pt idx="61489">1</cx:pt>
          <cx:pt idx="61490">1</cx:pt>
          <cx:pt idx="61491">1</cx:pt>
          <cx:pt idx="61492">0</cx:pt>
          <cx:pt idx="61493">1</cx:pt>
          <cx:pt idx="61494">0</cx:pt>
          <cx:pt idx="61495">0</cx:pt>
          <cx:pt idx="61496">1</cx:pt>
          <cx:pt idx="61497">0</cx:pt>
          <cx:pt idx="61498">1</cx:pt>
          <cx:pt idx="61499">0</cx:pt>
          <cx:pt idx="61500">0</cx:pt>
          <cx:pt idx="61501">0</cx:pt>
          <cx:pt idx="61502">0</cx:pt>
          <cx:pt idx="61503">0</cx:pt>
          <cx:pt idx="61504">0</cx:pt>
          <cx:pt idx="61505">0</cx:pt>
          <cx:pt idx="61506">0</cx:pt>
          <cx:pt idx="61507">0</cx:pt>
          <cx:pt idx="61508">0</cx:pt>
          <cx:pt idx="61509">1</cx:pt>
          <cx:pt idx="61510">1</cx:pt>
          <cx:pt idx="61511">1</cx:pt>
          <cx:pt idx="61512">0</cx:pt>
          <cx:pt idx="61513">1</cx:pt>
          <cx:pt idx="61514">1</cx:pt>
          <cx:pt idx="61515">1</cx:pt>
          <cx:pt idx="61516">0</cx:pt>
          <cx:pt idx="61517">1</cx:pt>
          <cx:pt idx="61518">0</cx:pt>
          <cx:pt idx="61519">0</cx:pt>
          <cx:pt idx="61520">0</cx:pt>
          <cx:pt idx="61521">0</cx:pt>
          <cx:pt idx="61522">1</cx:pt>
          <cx:pt idx="61523">0</cx:pt>
          <cx:pt idx="61524">1</cx:pt>
          <cx:pt idx="61525">1</cx:pt>
          <cx:pt idx="61526">0</cx:pt>
          <cx:pt idx="61527">0</cx:pt>
          <cx:pt idx="61528">0</cx:pt>
          <cx:pt idx="61529">0</cx:pt>
          <cx:pt idx="61530">1</cx:pt>
          <cx:pt idx="61531">0</cx:pt>
          <cx:pt idx="61532">0</cx:pt>
          <cx:pt idx="61533">1</cx:pt>
          <cx:pt idx="61534">0</cx:pt>
          <cx:pt idx="61535">1</cx:pt>
          <cx:pt idx="61536">1</cx:pt>
          <cx:pt idx="61537">1</cx:pt>
          <cx:pt idx="61538">0</cx:pt>
          <cx:pt idx="61539">0</cx:pt>
          <cx:pt idx="61540">0</cx:pt>
          <cx:pt idx="61541">0</cx:pt>
          <cx:pt idx="61542">0</cx:pt>
          <cx:pt idx="61543">1</cx:pt>
          <cx:pt idx="61544">1</cx:pt>
          <cx:pt idx="61545">1</cx:pt>
          <cx:pt idx="61546">1</cx:pt>
          <cx:pt idx="61547">1</cx:pt>
          <cx:pt idx="61548">0</cx:pt>
          <cx:pt idx="61549">1</cx:pt>
          <cx:pt idx="61550">1</cx:pt>
          <cx:pt idx="61551">1</cx:pt>
          <cx:pt idx="61552">0</cx:pt>
          <cx:pt idx="61553">1</cx:pt>
          <cx:pt idx="61554">0</cx:pt>
          <cx:pt idx="61555">0</cx:pt>
          <cx:pt idx="61556">0</cx:pt>
          <cx:pt idx="61557">1</cx:pt>
          <cx:pt idx="61558">0</cx:pt>
          <cx:pt idx="61559">0</cx:pt>
          <cx:pt idx="61560">0</cx:pt>
          <cx:pt idx="61561">0</cx:pt>
          <cx:pt idx="61562">0</cx:pt>
          <cx:pt idx="61563">1</cx:pt>
          <cx:pt idx="61564">0</cx:pt>
          <cx:pt idx="61565">0</cx:pt>
          <cx:pt idx="61566">1</cx:pt>
          <cx:pt idx="61567">0</cx:pt>
          <cx:pt idx="61568">0</cx:pt>
          <cx:pt idx="61569">0</cx:pt>
          <cx:pt idx="61570">1</cx:pt>
          <cx:pt idx="61571">0</cx:pt>
          <cx:pt idx="61572">0</cx:pt>
          <cx:pt idx="61573">1</cx:pt>
          <cx:pt idx="61574">1</cx:pt>
          <cx:pt idx="61575">1</cx:pt>
          <cx:pt idx="61576">1</cx:pt>
          <cx:pt idx="61577">1</cx:pt>
          <cx:pt idx="61578">1</cx:pt>
          <cx:pt idx="61579">0</cx:pt>
          <cx:pt idx="61580">0</cx:pt>
          <cx:pt idx="61581">0</cx:pt>
          <cx:pt idx="61582">1</cx:pt>
          <cx:pt idx="61583">1</cx:pt>
          <cx:pt idx="61584">0</cx:pt>
          <cx:pt idx="61585">0</cx:pt>
          <cx:pt idx="61586">0</cx:pt>
          <cx:pt idx="61587">0</cx:pt>
          <cx:pt idx="61588">0</cx:pt>
          <cx:pt idx="61589">0</cx:pt>
          <cx:pt idx="61590">1</cx:pt>
          <cx:pt idx="61591">1</cx:pt>
          <cx:pt idx="61592">0</cx:pt>
          <cx:pt idx="61593">1</cx:pt>
          <cx:pt idx="61594">0</cx:pt>
          <cx:pt idx="61595">0</cx:pt>
          <cx:pt idx="61596">0</cx:pt>
          <cx:pt idx="61597">1</cx:pt>
          <cx:pt idx="61598">1</cx:pt>
          <cx:pt idx="61599">0</cx:pt>
          <cx:pt idx="61600">1</cx:pt>
          <cx:pt idx="61601">1</cx:pt>
          <cx:pt idx="61602">0</cx:pt>
          <cx:pt idx="61603">0</cx:pt>
          <cx:pt idx="61604">1</cx:pt>
          <cx:pt idx="61605">0</cx:pt>
          <cx:pt idx="61606">1</cx:pt>
          <cx:pt idx="61607">0</cx:pt>
          <cx:pt idx="61608">1</cx:pt>
          <cx:pt idx="61609">0</cx:pt>
          <cx:pt idx="61610">1</cx:pt>
          <cx:pt idx="61611">1</cx:pt>
          <cx:pt idx="61612">1</cx:pt>
          <cx:pt idx="61613">0</cx:pt>
          <cx:pt idx="61614">0</cx:pt>
          <cx:pt idx="61615">1</cx:pt>
          <cx:pt idx="61616">1</cx:pt>
          <cx:pt idx="61617">0</cx:pt>
          <cx:pt idx="61618">1</cx:pt>
          <cx:pt idx="61619">0</cx:pt>
          <cx:pt idx="61620">0</cx:pt>
          <cx:pt idx="61621">1</cx:pt>
          <cx:pt idx="61622">1</cx:pt>
          <cx:pt idx="61623">1</cx:pt>
          <cx:pt idx="61624">1</cx:pt>
          <cx:pt idx="61625">0</cx:pt>
          <cx:pt idx="61626">0</cx:pt>
          <cx:pt idx="61627">0</cx:pt>
          <cx:pt idx="61628">0</cx:pt>
          <cx:pt idx="61629">0</cx:pt>
          <cx:pt idx="61630">0</cx:pt>
          <cx:pt idx="61631">1</cx:pt>
          <cx:pt idx="61632">0</cx:pt>
          <cx:pt idx="61633">1</cx:pt>
          <cx:pt idx="61634">0</cx:pt>
          <cx:pt idx="61635">1</cx:pt>
          <cx:pt idx="61636">0</cx:pt>
          <cx:pt idx="61637">0</cx:pt>
          <cx:pt idx="61638">0</cx:pt>
          <cx:pt idx="61639">0</cx:pt>
          <cx:pt idx="61640">0</cx:pt>
          <cx:pt idx="61641">1</cx:pt>
          <cx:pt idx="61642">0</cx:pt>
          <cx:pt idx="61643">1</cx:pt>
          <cx:pt idx="61644">0</cx:pt>
          <cx:pt idx="61645">0</cx:pt>
          <cx:pt idx="61646">0</cx:pt>
          <cx:pt idx="61647">1</cx:pt>
          <cx:pt idx="61648">1</cx:pt>
          <cx:pt idx="61649">0</cx:pt>
          <cx:pt idx="61650">1</cx:pt>
          <cx:pt idx="61651">0</cx:pt>
          <cx:pt idx="61652">0</cx:pt>
          <cx:pt idx="61653">1</cx:pt>
          <cx:pt idx="61654">1</cx:pt>
          <cx:pt idx="61655">0</cx:pt>
          <cx:pt idx="61656">1</cx:pt>
          <cx:pt idx="61657">1</cx:pt>
          <cx:pt idx="61658">1</cx:pt>
          <cx:pt idx="61659">0</cx:pt>
          <cx:pt idx="61660">0</cx:pt>
          <cx:pt idx="61661">1</cx:pt>
          <cx:pt idx="61662">1</cx:pt>
          <cx:pt idx="61663">1</cx:pt>
          <cx:pt idx="61664">1</cx:pt>
          <cx:pt idx="61665">0</cx:pt>
          <cx:pt idx="61666">1</cx:pt>
          <cx:pt idx="61667">1</cx:pt>
          <cx:pt idx="61668">0</cx:pt>
          <cx:pt idx="61669">1</cx:pt>
          <cx:pt idx="61670">0</cx:pt>
          <cx:pt idx="61671">0</cx:pt>
          <cx:pt idx="61672">1</cx:pt>
          <cx:pt idx="61673">1</cx:pt>
          <cx:pt idx="61674">0</cx:pt>
          <cx:pt idx="61675">0</cx:pt>
          <cx:pt idx="61676">0</cx:pt>
          <cx:pt idx="61677">1</cx:pt>
          <cx:pt idx="61678">0</cx:pt>
          <cx:pt idx="61679">0</cx:pt>
          <cx:pt idx="61680">0</cx:pt>
          <cx:pt idx="61681">0</cx:pt>
          <cx:pt idx="61682">1</cx:pt>
          <cx:pt idx="61683">0</cx:pt>
          <cx:pt idx="61684">0</cx:pt>
          <cx:pt idx="61685">1</cx:pt>
          <cx:pt idx="61686">1</cx:pt>
          <cx:pt idx="61687">1</cx:pt>
          <cx:pt idx="61688">0</cx:pt>
          <cx:pt idx="61689">0</cx:pt>
          <cx:pt idx="61690">0</cx:pt>
          <cx:pt idx="61691">0</cx:pt>
          <cx:pt idx="61692">1</cx:pt>
          <cx:pt idx="61693">0</cx:pt>
          <cx:pt idx="61694">1</cx:pt>
          <cx:pt idx="61695">1</cx:pt>
          <cx:pt idx="61696">0</cx:pt>
          <cx:pt idx="61697">1</cx:pt>
          <cx:pt idx="61698">0</cx:pt>
          <cx:pt idx="61699">0</cx:pt>
          <cx:pt idx="61700">0</cx:pt>
          <cx:pt idx="61701">0</cx:pt>
          <cx:pt idx="61702">1</cx:pt>
          <cx:pt idx="61703">0</cx:pt>
          <cx:pt idx="61704">0</cx:pt>
          <cx:pt idx="61705">0</cx:pt>
          <cx:pt idx="61706">0</cx:pt>
          <cx:pt idx="61707">0</cx:pt>
          <cx:pt idx="61708">1</cx:pt>
          <cx:pt idx="61709">0</cx:pt>
          <cx:pt idx="61710">0</cx:pt>
          <cx:pt idx="61711">0</cx:pt>
          <cx:pt idx="61712">1</cx:pt>
          <cx:pt idx="61713">1</cx:pt>
          <cx:pt idx="61714">1</cx:pt>
          <cx:pt idx="61715">0</cx:pt>
          <cx:pt idx="61716">1</cx:pt>
          <cx:pt idx="61717">0</cx:pt>
          <cx:pt idx="61718">1</cx:pt>
          <cx:pt idx="61719">1</cx:pt>
          <cx:pt idx="61720">0</cx:pt>
          <cx:pt idx="61721">0</cx:pt>
          <cx:pt idx="61722">1</cx:pt>
          <cx:pt idx="61723">1</cx:pt>
          <cx:pt idx="61724">0</cx:pt>
          <cx:pt idx="61725">0</cx:pt>
          <cx:pt idx="61726">0</cx:pt>
          <cx:pt idx="61727">1</cx:pt>
          <cx:pt idx="61728">0</cx:pt>
          <cx:pt idx="61729">1</cx:pt>
          <cx:pt idx="61730">0</cx:pt>
          <cx:pt idx="61731">0</cx:pt>
          <cx:pt idx="61732">0</cx:pt>
          <cx:pt idx="61733">0</cx:pt>
          <cx:pt idx="61734">1</cx:pt>
          <cx:pt idx="61735">1</cx:pt>
          <cx:pt idx="61736">0</cx:pt>
          <cx:pt idx="61737">1</cx:pt>
          <cx:pt idx="61738">0</cx:pt>
          <cx:pt idx="61739">0</cx:pt>
          <cx:pt idx="61740">0</cx:pt>
          <cx:pt idx="61741">0</cx:pt>
          <cx:pt idx="61742">1</cx:pt>
          <cx:pt idx="61743">1</cx:pt>
          <cx:pt idx="61744">0</cx:pt>
          <cx:pt idx="61745">0</cx:pt>
          <cx:pt idx="61746">0</cx:pt>
          <cx:pt idx="61747">1</cx:pt>
          <cx:pt idx="61748">0</cx:pt>
          <cx:pt idx="61749">0</cx:pt>
          <cx:pt idx="61750">0</cx:pt>
          <cx:pt idx="61751">0</cx:pt>
          <cx:pt idx="61752">0</cx:pt>
          <cx:pt idx="61753">0</cx:pt>
          <cx:pt idx="61754">0</cx:pt>
          <cx:pt idx="61755">0</cx:pt>
          <cx:pt idx="61756">0</cx:pt>
          <cx:pt idx="61757">0</cx:pt>
          <cx:pt idx="61758">0</cx:pt>
          <cx:pt idx="61759">0</cx:pt>
          <cx:pt idx="61760">1</cx:pt>
          <cx:pt idx="61761">1</cx:pt>
          <cx:pt idx="61762">0</cx:pt>
          <cx:pt idx="61763">0</cx:pt>
          <cx:pt idx="61764">1</cx:pt>
          <cx:pt idx="61765">1</cx:pt>
          <cx:pt idx="61766">1</cx:pt>
          <cx:pt idx="61767">1</cx:pt>
          <cx:pt idx="61768">1</cx:pt>
          <cx:pt idx="61769">1</cx:pt>
          <cx:pt idx="61770">0</cx:pt>
          <cx:pt idx="61771">0</cx:pt>
          <cx:pt idx="61772">1</cx:pt>
          <cx:pt idx="61773">1</cx:pt>
          <cx:pt idx="61774">1</cx:pt>
          <cx:pt idx="61775">1</cx:pt>
          <cx:pt idx="61776">1</cx:pt>
          <cx:pt idx="61777">0</cx:pt>
          <cx:pt idx="61778">0</cx:pt>
          <cx:pt idx="61779">1</cx:pt>
          <cx:pt idx="61780">0</cx:pt>
          <cx:pt idx="61781">0</cx:pt>
          <cx:pt idx="61782">1</cx:pt>
          <cx:pt idx="61783">1</cx:pt>
          <cx:pt idx="61784">0</cx:pt>
          <cx:pt idx="61785">1</cx:pt>
          <cx:pt idx="61786">1</cx:pt>
          <cx:pt idx="61787">1</cx:pt>
          <cx:pt idx="61788">0</cx:pt>
          <cx:pt idx="61789">0</cx:pt>
          <cx:pt idx="61790">0</cx:pt>
          <cx:pt idx="61791">1</cx:pt>
          <cx:pt idx="61792">0</cx:pt>
          <cx:pt idx="61793">1</cx:pt>
          <cx:pt idx="61794">1</cx:pt>
          <cx:pt idx="61795">1</cx:pt>
          <cx:pt idx="61796">1</cx:pt>
          <cx:pt idx="61797">0</cx:pt>
          <cx:pt idx="61798">1</cx:pt>
          <cx:pt idx="61799">1</cx:pt>
          <cx:pt idx="61800">0</cx:pt>
          <cx:pt idx="61801">0</cx:pt>
          <cx:pt idx="61802">1</cx:pt>
          <cx:pt idx="61803">1</cx:pt>
          <cx:pt idx="61804">0</cx:pt>
          <cx:pt idx="61805">0</cx:pt>
          <cx:pt idx="61806">1</cx:pt>
          <cx:pt idx="61807">0</cx:pt>
          <cx:pt idx="61808">0</cx:pt>
          <cx:pt idx="61809">0</cx:pt>
          <cx:pt idx="61810">0</cx:pt>
          <cx:pt idx="61811">0</cx:pt>
          <cx:pt idx="61812">1</cx:pt>
          <cx:pt idx="61813">1</cx:pt>
          <cx:pt idx="61814">0</cx:pt>
          <cx:pt idx="61815">1</cx:pt>
          <cx:pt idx="61816">1</cx:pt>
          <cx:pt idx="61817">1</cx:pt>
          <cx:pt idx="61818">1</cx:pt>
          <cx:pt idx="61819">1</cx:pt>
          <cx:pt idx="61820">0</cx:pt>
          <cx:pt idx="61821">0</cx:pt>
          <cx:pt idx="61822">0</cx:pt>
          <cx:pt idx="61823">1</cx:pt>
          <cx:pt idx="61824">0</cx:pt>
          <cx:pt idx="61825">0</cx:pt>
          <cx:pt idx="61826">1</cx:pt>
          <cx:pt idx="61827">1</cx:pt>
          <cx:pt idx="61828">1</cx:pt>
          <cx:pt idx="61829">0</cx:pt>
          <cx:pt idx="61830">0</cx:pt>
          <cx:pt idx="61831">1</cx:pt>
          <cx:pt idx="61832">1</cx:pt>
          <cx:pt idx="61833">0</cx:pt>
          <cx:pt idx="61834">0</cx:pt>
          <cx:pt idx="61835">1</cx:pt>
          <cx:pt idx="61836">0</cx:pt>
          <cx:pt idx="61837">0</cx:pt>
          <cx:pt idx="61838">0</cx:pt>
          <cx:pt idx="61839">0</cx:pt>
          <cx:pt idx="61840">1</cx:pt>
          <cx:pt idx="61841">1</cx:pt>
          <cx:pt idx="61842">0</cx:pt>
          <cx:pt idx="61843">0</cx:pt>
          <cx:pt idx="61844">0</cx:pt>
          <cx:pt idx="61845">0</cx:pt>
          <cx:pt idx="61846">0</cx:pt>
          <cx:pt idx="61847">0</cx:pt>
          <cx:pt idx="61848">0</cx:pt>
          <cx:pt idx="61849">0</cx:pt>
          <cx:pt idx="61850">0</cx:pt>
          <cx:pt idx="61851">1</cx:pt>
          <cx:pt idx="61852">0</cx:pt>
          <cx:pt idx="61853">0</cx:pt>
          <cx:pt idx="61854">1</cx:pt>
          <cx:pt idx="61855">0</cx:pt>
          <cx:pt idx="61856">1</cx:pt>
          <cx:pt idx="61857">0</cx:pt>
          <cx:pt idx="61858">0</cx:pt>
          <cx:pt idx="61859">0</cx:pt>
          <cx:pt idx="61860">0</cx:pt>
          <cx:pt idx="61861">1</cx:pt>
          <cx:pt idx="61862">0</cx:pt>
          <cx:pt idx="61863">0</cx:pt>
          <cx:pt idx="61864">1</cx:pt>
          <cx:pt idx="61865">1</cx:pt>
          <cx:pt idx="61866">0</cx:pt>
          <cx:pt idx="61867">0</cx:pt>
          <cx:pt idx="61868">0</cx:pt>
          <cx:pt idx="61869">0</cx:pt>
          <cx:pt idx="61870">0</cx:pt>
          <cx:pt idx="61871">0</cx:pt>
          <cx:pt idx="61872">0</cx:pt>
          <cx:pt idx="61873">0</cx:pt>
          <cx:pt idx="61874">1</cx:pt>
          <cx:pt idx="61875">0</cx:pt>
          <cx:pt idx="61876">0</cx:pt>
          <cx:pt idx="61877">0</cx:pt>
          <cx:pt idx="61878">1</cx:pt>
          <cx:pt idx="61879">1</cx:pt>
          <cx:pt idx="61880">1</cx:pt>
          <cx:pt idx="61881">1</cx:pt>
          <cx:pt idx="61882">0</cx:pt>
          <cx:pt idx="61883">0</cx:pt>
          <cx:pt idx="61884">1</cx:pt>
          <cx:pt idx="61885">0</cx:pt>
          <cx:pt idx="61886">0</cx:pt>
          <cx:pt idx="61887">0</cx:pt>
          <cx:pt idx="61888">1</cx:pt>
          <cx:pt idx="61889">0</cx:pt>
          <cx:pt idx="61890">1</cx:pt>
          <cx:pt idx="61891">1</cx:pt>
          <cx:pt idx="61892">0</cx:pt>
          <cx:pt idx="61893">1</cx:pt>
          <cx:pt idx="61894">0</cx:pt>
          <cx:pt idx="61895">1</cx:pt>
          <cx:pt idx="61896">1</cx:pt>
          <cx:pt idx="61897">1</cx:pt>
          <cx:pt idx="61898">0</cx:pt>
          <cx:pt idx="61899">0</cx:pt>
          <cx:pt idx="61900">1</cx:pt>
          <cx:pt idx="61901">1</cx:pt>
          <cx:pt idx="61902">0</cx:pt>
          <cx:pt idx="61903">0</cx:pt>
          <cx:pt idx="61904">1</cx:pt>
          <cx:pt idx="61905">1</cx:pt>
          <cx:pt idx="61906">0</cx:pt>
          <cx:pt idx="61907">0</cx:pt>
          <cx:pt idx="61908">1</cx:pt>
          <cx:pt idx="61909">0</cx:pt>
          <cx:pt idx="61910">1</cx:pt>
          <cx:pt idx="61911">0</cx:pt>
          <cx:pt idx="61912">0</cx:pt>
          <cx:pt idx="61913">0</cx:pt>
          <cx:pt idx="61914">1</cx:pt>
          <cx:pt idx="61915">1</cx:pt>
          <cx:pt idx="61916">0</cx:pt>
          <cx:pt idx="61917">1</cx:pt>
          <cx:pt idx="61918">0</cx:pt>
          <cx:pt idx="61919">0</cx:pt>
          <cx:pt idx="61920">0</cx:pt>
          <cx:pt idx="61921">1</cx:pt>
          <cx:pt idx="61922">0</cx:pt>
          <cx:pt idx="61923">1</cx:pt>
          <cx:pt idx="61924">1</cx:pt>
          <cx:pt idx="61925">1</cx:pt>
          <cx:pt idx="61926">0</cx:pt>
          <cx:pt idx="61927">1</cx:pt>
          <cx:pt idx="61928">0</cx:pt>
          <cx:pt idx="61929">1</cx:pt>
          <cx:pt idx="61930">1</cx:pt>
          <cx:pt idx="61931">0</cx:pt>
          <cx:pt idx="61932">0</cx:pt>
          <cx:pt idx="61933">0</cx:pt>
          <cx:pt idx="61934">0</cx:pt>
          <cx:pt idx="61935">1</cx:pt>
          <cx:pt idx="61936">1</cx:pt>
          <cx:pt idx="61937">0</cx:pt>
          <cx:pt idx="61938">0</cx:pt>
          <cx:pt idx="61939">0</cx:pt>
          <cx:pt idx="61940">1</cx:pt>
          <cx:pt idx="61941">0</cx:pt>
          <cx:pt idx="61942">0</cx:pt>
          <cx:pt idx="61943">1</cx:pt>
          <cx:pt idx="61944">0</cx:pt>
          <cx:pt idx="61945">0</cx:pt>
          <cx:pt idx="61946">0</cx:pt>
          <cx:pt idx="61947">0</cx:pt>
          <cx:pt idx="61948">0</cx:pt>
          <cx:pt idx="61949">0</cx:pt>
          <cx:pt idx="61950">0</cx:pt>
          <cx:pt idx="61951">0</cx:pt>
          <cx:pt idx="61952">0</cx:pt>
          <cx:pt idx="61953">1</cx:pt>
          <cx:pt idx="61954">0</cx:pt>
          <cx:pt idx="61955">0</cx:pt>
          <cx:pt idx="61956">1</cx:pt>
          <cx:pt idx="61957">1</cx:pt>
          <cx:pt idx="61958">0</cx:pt>
          <cx:pt idx="61959">0</cx:pt>
          <cx:pt idx="61960">0</cx:pt>
          <cx:pt idx="61961">0</cx:pt>
          <cx:pt idx="61962">0</cx:pt>
          <cx:pt idx="61963">0</cx:pt>
          <cx:pt idx="61964">0</cx:pt>
          <cx:pt idx="61965">0</cx:pt>
          <cx:pt idx="61966">1</cx:pt>
          <cx:pt idx="61967">0</cx:pt>
          <cx:pt idx="61968">0</cx:pt>
          <cx:pt idx="61969">1</cx:pt>
          <cx:pt idx="61970">1</cx:pt>
          <cx:pt idx="61971">0</cx:pt>
          <cx:pt idx="61972">1</cx:pt>
          <cx:pt idx="61973">0</cx:pt>
          <cx:pt idx="61974">0</cx:pt>
          <cx:pt idx="61975">1</cx:pt>
          <cx:pt idx="61976">0</cx:pt>
          <cx:pt idx="61977">0</cx:pt>
          <cx:pt idx="61978">0</cx:pt>
          <cx:pt idx="61979">1</cx:pt>
          <cx:pt idx="61980">0</cx:pt>
          <cx:pt idx="61981">1</cx:pt>
          <cx:pt idx="61982">0</cx:pt>
          <cx:pt idx="61983">1</cx:pt>
          <cx:pt idx="61984">0</cx:pt>
          <cx:pt idx="61985">1</cx:pt>
          <cx:pt idx="61986">0</cx:pt>
          <cx:pt idx="61987">1</cx:pt>
          <cx:pt idx="61988">0</cx:pt>
          <cx:pt idx="61989">0</cx:pt>
          <cx:pt idx="61990">0</cx:pt>
          <cx:pt idx="61991">1</cx:pt>
          <cx:pt idx="61992">1</cx:pt>
          <cx:pt idx="61993">1</cx:pt>
          <cx:pt idx="61994">1</cx:pt>
          <cx:pt idx="61995">0</cx:pt>
          <cx:pt idx="61996">1</cx:pt>
          <cx:pt idx="61997">1</cx:pt>
          <cx:pt idx="61998">1</cx:pt>
          <cx:pt idx="61999">1</cx:pt>
          <cx:pt idx="62000">0</cx:pt>
          <cx:pt idx="62001">0</cx:pt>
          <cx:pt idx="62002">0</cx:pt>
          <cx:pt idx="62003">1</cx:pt>
          <cx:pt idx="62004">0</cx:pt>
          <cx:pt idx="62005">1</cx:pt>
          <cx:pt idx="62006">0</cx:pt>
          <cx:pt idx="62007">1</cx:pt>
          <cx:pt idx="62008">1</cx:pt>
          <cx:pt idx="62009">0</cx:pt>
          <cx:pt idx="62010">1</cx:pt>
          <cx:pt idx="62011">1</cx:pt>
          <cx:pt idx="62012">0</cx:pt>
          <cx:pt idx="62013">0</cx:pt>
          <cx:pt idx="62014">0</cx:pt>
          <cx:pt idx="62015">0</cx:pt>
          <cx:pt idx="62016">0</cx:pt>
          <cx:pt idx="62017">1</cx:pt>
          <cx:pt idx="62018">0</cx:pt>
          <cx:pt idx="62019">0</cx:pt>
          <cx:pt idx="62020">0</cx:pt>
          <cx:pt idx="62021">1</cx:pt>
          <cx:pt idx="62022">0</cx:pt>
          <cx:pt idx="62023">1</cx:pt>
          <cx:pt idx="62024">0</cx:pt>
          <cx:pt idx="62025">0</cx:pt>
          <cx:pt idx="62026">0</cx:pt>
          <cx:pt idx="62027">0</cx:pt>
          <cx:pt idx="62028">0</cx:pt>
          <cx:pt idx="62029">0</cx:pt>
          <cx:pt idx="62030">0</cx:pt>
          <cx:pt idx="62031">0</cx:pt>
          <cx:pt idx="62032">0</cx:pt>
          <cx:pt idx="62033">0</cx:pt>
          <cx:pt idx="62034">1</cx:pt>
          <cx:pt idx="62035">0</cx:pt>
          <cx:pt idx="62036">0</cx:pt>
          <cx:pt idx="62037">0</cx:pt>
          <cx:pt idx="62038">1</cx:pt>
          <cx:pt idx="62039">0</cx:pt>
          <cx:pt idx="62040">0</cx:pt>
          <cx:pt idx="62041">1</cx:pt>
          <cx:pt idx="62042">0</cx:pt>
          <cx:pt idx="62043">1</cx:pt>
          <cx:pt idx="62044">0</cx:pt>
          <cx:pt idx="62045">0</cx:pt>
          <cx:pt idx="62046">0</cx:pt>
          <cx:pt idx="62047">0</cx:pt>
          <cx:pt idx="62048">1</cx:pt>
          <cx:pt idx="62049">0</cx:pt>
          <cx:pt idx="62050">1</cx:pt>
          <cx:pt idx="62051">0</cx:pt>
          <cx:pt idx="62052">0</cx:pt>
          <cx:pt idx="62053">1</cx:pt>
          <cx:pt idx="62054">1</cx:pt>
          <cx:pt idx="62055">0</cx:pt>
          <cx:pt idx="62056">1</cx:pt>
          <cx:pt idx="62057">0</cx:pt>
          <cx:pt idx="62058">0</cx:pt>
          <cx:pt idx="62059">1</cx:pt>
          <cx:pt idx="62060">1</cx:pt>
          <cx:pt idx="62061">0</cx:pt>
          <cx:pt idx="62062">1</cx:pt>
          <cx:pt idx="62063">0</cx:pt>
          <cx:pt idx="62064">1</cx:pt>
          <cx:pt idx="62065">0</cx:pt>
          <cx:pt idx="62066">1</cx:pt>
          <cx:pt idx="62067">1</cx:pt>
          <cx:pt idx="62068">1</cx:pt>
          <cx:pt idx="62069">0</cx:pt>
          <cx:pt idx="62070">1</cx:pt>
          <cx:pt idx="62071">0</cx:pt>
          <cx:pt idx="62072">0</cx:pt>
          <cx:pt idx="62073">0</cx:pt>
          <cx:pt idx="62074">0</cx:pt>
          <cx:pt idx="62075">0</cx:pt>
          <cx:pt idx="62076">0</cx:pt>
          <cx:pt idx="62077">0</cx:pt>
          <cx:pt idx="62078">1</cx:pt>
          <cx:pt idx="62079">0</cx:pt>
          <cx:pt idx="62080">1</cx:pt>
          <cx:pt idx="62081">0</cx:pt>
          <cx:pt idx="62082">0</cx:pt>
          <cx:pt idx="62083">0</cx:pt>
          <cx:pt idx="62084">0</cx:pt>
          <cx:pt idx="62085">0</cx:pt>
          <cx:pt idx="62086">1</cx:pt>
          <cx:pt idx="62087">1</cx:pt>
          <cx:pt idx="62088">1</cx:pt>
          <cx:pt idx="62089">0</cx:pt>
          <cx:pt idx="62090">1</cx:pt>
          <cx:pt idx="62091">1</cx:pt>
          <cx:pt idx="62092">1</cx:pt>
          <cx:pt idx="62093">0</cx:pt>
          <cx:pt idx="62094">0</cx:pt>
          <cx:pt idx="62095">1</cx:pt>
          <cx:pt idx="62096">0</cx:pt>
          <cx:pt idx="62097">1</cx:pt>
          <cx:pt idx="62098">0</cx:pt>
          <cx:pt idx="62099">1</cx:pt>
          <cx:pt idx="62100">0</cx:pt>
          <cx:pt idx="62101">1</cx:pt>
          <cx:pt idx="62102">0</cx:pt>
          <cx:pt idx="62103">0</cx:pt>
          <cx:pt idx="62104">0</cx:pt>
          <cx:pt idx="62105">1</cx:pt>
          <cx:pt idx="62106">0</cx:pt>
          <cx:pt idx="62107">1</cx:pt>
          <cx:pt idx="62108">0</cx:pt>
          <cx:pt idx="62109">0</cx:pt>
          <cx:pt idx="62110">1</cx:pt>
          <cx:pt idx="62111">1</cx:pt>
          <cx:pt idx="62112">1</cx:pt>
          <cx:pt idx="62113">1</cx:pt>
          <cx:pt idx="62114">1</cx:pt>
          <cx:pt idx="62115">1</cx:pt>
          <cx:pt idx="62116">0</cx:pt>
          <cx:pt idx="62117">0</cx:pt>
          <cx:pt idx="62118">0</cx:pt>
          <cx:pt idx="62119">0</cx:pt>
          <cx:pt idx="62120">1</cx:pt>
          <cx:pt idx="62121">1</cx:pt>
          <cx:pt idx="62122">1</cx:pt>
          <cx:pt idx="62123">1</cx:pt>
          <cx:pt idx="62124">1</cx:pt>
          <cx:pt idx="62125">1</cx:pt>
          <cx:pt idx="62126">0</cx:pt>
          <cx:pt idx="62127">0</cx:pt>
          <cx:pt idx="62128">0</cx:pt>
          <cx:pt idx="62129">1</cx:pt>
          <cx:pt idx="62130">1</cx:pt>
          <cx:pt idx="62131">0</cx:pt>
          <cx:pt idx="62132">0</cx:pt>
          <cx:pt idx="62133">1</cx:pt>
          <cx:pt idx="62134">0</cx:pt>
          <cx:pt idx="62135">0</cx:pt>
          <cx:pt idx="62136">0</cx:pt>
          <cx:pt idx="62137">0</cx:pt>
          <cx:pt idx="62138">0</cx:pt>
          <cx:pt idx="62139">1</cx:pt>
          <cx:pt idx="62140">0</cx:pt>
          <cx:pt idx="62141">1</cx:pt>
          <cx:pt idx="62142">1</cx:pt>
          <cx:pt idx="62143">1</cx:pt>
          <cx:pt idx="62144">1</cx:pt>
          <cx:pt idx="62145">0</cx:pt>
          <cx:pt idx="62146">1</cx:pt>
          <cx:pt idx="62147">0</cx:pt>
          <cx:pt idx="62148">1</cx:pt>
          <cx:pt idx="62149">0</cx:pt>
          <cx:pt idx="62150">0</cx:pt>
          <cx:pt idx="62151">0</cx:pt>
          <cx:pt idx="62152">0</cx:pt>
          <cx:pt idx="62153">0</cx:pt>
          <cx:pt idx="62154">0</cx:pt>
          <cx:pt idx="62155">0</cx:pt>
          <cx:pt idx="62156">0</cx:pt>
          <cx:pt idx="62157">0</cx:pt>
          <cx:pt idx="62158">0</cx:pt>
          <cx:pt idx="62159">0</cx:pt>
          <cx:pt idx="62160">1</cx:pt>
          <cx:pt idx="62161">1</cx:pt>
          <cx:pt idx="62162">1</cx:pt>
          <cx:pt idx="62163">0</cx:pt>
          <cx:pt idx="62164">1</cx:pt>
          <cx:pt idx="62165">0</cx:pt>
          <cx:pt idx="62166">1</cx:pt>
          <cx:pt idx="62167">1</cx:pt>
          <cx:pt idx="62168">1</cx:pt>
          <cx:pt idx="62169">1</cx:pt>
          <cx:pt idx="62170">1</cx:pt>
          <cx:pt idx="62171">1</cx:pt>
          <cx:pt idx="62172">0</cx:pt>
          <cx:pt idx="62173">1</cx:pt>
          <cx:pt idx="62174">0</cx:pt>
          <cx:pt idx="62175">1</cx:pt>
          <cx:pt idx="62176">0</cx:pt>
          <cx:pt idx="62177">0</cx:pt>
          <cx:pt idx="62178">1</cx:pt>
          <cx:pt idx="62179">0</cx:pt>
          <cx:pt idx="62180">0</cx:pt>
          <cx:pt idx="62181">1</cx:pt>
          <cx:pt idx="62182">1</cx:pt>
          <cx:pt idx="62183">0</cx:pt>
          <cx:pt idx="62184">1</cx:pt>
          <cx:pt idx="62185">0</cx:pt>
          <cx:pt idx="62186">0</cx:pt>
          <cx:pt idx="62187">0</cx:pt>
          <cx:pt idx="62188">0</cx:pt>
          <cx:pt idx="62189">1</cx:pt>
          <cx:pt idx="62190">0</cx:pt>
          <cx:pt idx="62191">0</cx:pt>
          <cx:pt idx="62192">1</cx:pt>
          <cx:pt idx="62193">1</cx:pt>
          <cx:pt idx="62194">0</cx:pt>
          <cx:pt idx="62195">0</cx:pt>
          <cx:pt idx="62196">1</cx:pt>
          <cx:pt idx="62197">0</cx:pt>
          <cx:pt idx="62198">1</cx:pt>
          <cx:pt idx="62199">0</cx:pt>
          <cx:pt idx="62200">0</cx:pt>
          <cx:pt idx="62201">1</cx:pt>
          <cx:pt idx="62202">0</cx:pt>
          <cx:pt idx="62203">0</cx:pt>
          <cx:pt idx="62204">0</cx:pt>
          <cx:pt idx="62205">1</cx:pt>
          <cx:pt idx="62206">0</cx:pt>
          <cx:pt idx="62207">1</cx:pt>
          <cx:pt idx="62208">1</cx:pt>
          <cx:pt idx="62209">0</cx:pt>
          <cx:pt idx="62210">0</cx:pt>
          <cx:pt idx="62211">0</cx:pt>
          <cx:pt idx="62212">1</cx:pt>
          <cx:pt idx="62213">0</cx:pt>
          <cx:pt idx="62214">0</cx:pt>
          <cx:pt idx="62215">0</cx:pt>
          <cx:pt idx="62216">1</cx:pt>
          <cx:pt idx="62217">1</cx:pt>
          <cx:pt idx="62218">1</cx:pt>
          <cx:pt idx="62219">0</cx:pt>
          <cx:pt idx="62220">0</cx:pt>
          <cx:pt idx="62221">0</cx:pt>
          <cx:pt idx="62222">0</cx:pt>
          <cx:pt idx="62223">0</cx:pt>
          <cx:pt idx="62224">0</cx:pt>
          <cx:pt idx="62225">0</cx:pt>
          <cx:pt idx="62226">0</cx:pt>
          <cx:pt idx="62227">1</cx:pt>
          <cx:pt idx="62228">0</cx:pt>
          <cx:pt idx="62229">1</cx:pt>
          <cx:pt idx="62230">0</cx:pt>
          <cx:pt idx="62231">1</cx:pt>
          <cx:pt idx="62232">0</cx:pt>
          <cx:pt idx="62233">1</cx:pt>
          <cx:pt idx="62234">0</cx:pt>
          <cx:pt idx="62235">0</cx:pt>
          <cx:pt idx="62236">1</cx:pt>
          <cx:pt idx="62237">0</cx:pt>
          <cx:pt idx="62238">1</cx:pt>
          <cx:pt idx="62239">1</cx:pt>
          <cx:pt idx="62240">0</cx:pt>
          <cx:pt idx="62241">0</cx:pt>
          <cx:pt idx="62242">0</cx:pt>
          <cx:pt idx="62243">1</cx:pt>
          <cx:pt idx="62244">1</cx:pt>
          <cx:pt idx="62245">0</cx:pt>
          <cx:pt idx="62246">0</cx:pt>
          <cx:pt idx="62247">0</cx:pt>
          <cx:pt idx="62248">0</cx:pt>
          <cx:pt idx="62249">0</cx:pt>
          <cx:pt idx="62250">0</cx:pt>
          <cx:pt idx="62251">0</cx:pt>
          <cx:pt idx="62252">0</cx:pt>
          <cx:pt idx="62253">0</cx:pt>
          <cx:pt idx="62254">0</cx:pt>
          <cx:pt idx="62255">0</cx:pt>
          <cx:pt idx="62256">0</cx:pt>
          <cx:pt idx="62257">0</cx:pt>
          <cx:pt idx="62258">0</cx:pt>
          <cx:pt idx="62259">0</cx:pt>
          <cx:pt idx="62260">0</cx:pt>
          <cx:pt idx="62261">1</cx:pt>
          <cx:pt idx="62262">0</cx:pt>
          <cx:pt idx="62263">0</cx:pt>
          <cx:pt idx="62264">1</cx:pt>
          <cx:pt idx="62265">1</cx:pt>
          <cx:pt idx="62266">0</cx:pt>
          <cx:pt idx="62267">1</cx:pt>
          <cx:pt idx="62268">0</cx:pt>
          <cx:pt idx="62269">1</cx:pt>
          <cx:pt idx="62270">1</cx:pt>
          <cx:pt idx="62271">1</cx:pt>
          <cx:pt idx="62272">1</cx:pt>
          <cx:pt idx="62273">0</cx:pt>
          <cx:pt idx="62274">1</cx:pt>
          <cx:pt idx="62275">0</cx:pt>
          <cx:pt idx="62276">0</cx:pt>
          <cx:pt idx="62277">0</cx:pt>
          <cx:pt idx="62278">1</cx:pt>
          <cx:pt idx="62279">1</cx:pt>
          <cx:pt idx="62280">1</cx:pt>
          <cx:pt idx="62281">1</cx:pt>
          <cx:pt idx="62282">0</cx:pt>
          <cx:pt idx="62283">0</cx:pt>
          <cx:pt idx="62284">0</cx:pt>
          <cx:pt idx="62285">1</cx:pt>
          <cx:pt idx="62286">1</cx:pt>
          <cx:pt idx="62287">0</cx:pt>
          <cx:pt idx="62288">1</cx:pt>
          <cx:pt idx="62289">0</cx:pt>
          <cx:pt idx="62290">0</cx:pt>
          <cx:pt idx="62291">0</cx:pt>
          <cx:pt idx="62292">0</cx:pt>
          <cx:pt idx="62293">0</cx:pt>
          <cx:pt idx="62294">1</cx:pt>
          <cx:pt idx="62295">0</cx:pt>
          <cx:pt idx="62296">1</cx:pt>
          <cx:pt idx="62297">0</cx:pt>
          <cx:pt idx="62298">0</cx:pt>
          <cx:pt idx="62299">0</cx:pt>
          <cx:pt idx="62300">1</cx:pt>
          <cx:pt idx="62301">0</cx:pt>
          <cx:pt idx="62302">0</cx:pt>
          <cx:pt idx="62303">0</cx:pt>
          <cx:pt idx="62304">1</cx:pt>
          <cx:pt idx="62305">1</cx:pt>
          <cx:pt idx="62306">0</cx:pt>
          <cx:pt idx="62307">0</cx:pt>
          <cx:pt idx="62308">1</cx:pt>
          <cx:pt idx="62309">0</cx:pt>
          <cx:pt idx="62310">1</cx:pt>
          <cx:pt idx="62311">0</cx:pt>
          <cx:pt idx="62312">0</cx:pt>
          <cx:pt idx="62313">0</cx:pt>
          <cx:pt idx="62314">0</cx:pt>
          <cx:pt idx="62315">1</cx:pt>
          <cx:pt idx="62316">1</cx:pt>
          <cx:pt idx="62317">0</cx:pt>
          <cx:pt idx="62318">1</cx:pt>
          <cx:pt idx="62319">0</cx:pt>
          <cx:pt idx="62320">1</cx:pt>
          <cx:pt idx="62321">0</cx:pt>
          <cx:pt idx="62322">1</cx:pt>
          <cx:pt idx="62323">1</cx:pt>
          <cx:pt idx="62324">1</cx:pt>
          <cx:pt idx="62325">0</cx:pt>
          <cx:pt idx="62326">0</cx:pt>
          <cx:pt idx="62327">1</cx:pt>
          <cx:pt idx="62328">0</cx:pt>
          <cx:pt idx="62329">0</cx:pt>
          <cx:pt idx="62330">0</cx:pt>
          <cx:pt idx="62331">0</cx:pt>
          <cx:pt idx="62332">0</cx:pt>
          <cx:pt idx="62333">1</cx:pt>
          <cx:pt idx="62334">1</cx:pt>
          <cx:pt idx="62335">1</cx:pt>
          <cx:pt idx="62336">1</cx:pt>
          <cx:pt idx="62337">0</cx:pt>
          <cx:pt idx="62338">0</cx:pt>
          <cx:pt idx="62339">0</cx:pt>
          <cx:pt idx="62340">0</cx:pt>
          <cx:pt idx="62341">0</cx:pt>
          <cx:pt idx="62342">0</cx:pt>
          <cx:pt idx="62343">0</cx:pt>
          <cx:pt idx="62344">0</cx:pt>
          <cx:pt idx="62345">0</cx:pt>
          <cx:pt idx="62346">0</cx:pt>
          <cx:pt idx="62347">1</cx:pt>
          <cx:pt idx="62348">0</cx:pt>
          <cx:pt idx="62349">0</cx:pt>
          <cx:pt idx="62350">1</cx:pt>
          <cx:pt idx="62351">1</cx:pt>
          <cx:pt idx="62352">1</cx:pt>
          <cx:pt idx="62353">0</cx:pt>
          <cx:pt idx="62354">0</cx:pt>
          <cx:pt idx="62355">1</cx:pt>
          <cx:pt idx="62356">1</cx:pt>
          <cx:pt idx="62357">1</cx:pt>
          <cx:pt idx="62358">0</cx:pt>
          <cx:pt idx="62359">0</cx:pt>
          <cx:pt idx="62360">1</cx:pt>
          <cx:pt idx="62361">1</cx:pt>
          <cx:pt idx="62362">1</cx:pt>
          <cx:pt idx="62363">0</cx:pt>
          <cx:pt idx="62364">1</cx:pt>
          <cx:pt idx="62365">0</cx:pt>
          <cx:pt idx="62366">0</cx:pt>
          <cx:pt idx="62367">0</cx:pt>
          <cx:pt idx="62368">1</cx:pt>
          <cx:pt idx="62369">1</cx:pt>
          <cx:pt idx="62370">0</cx:pt>
          <cx:pt idx="62371">0</cx:pt>
          <cx:pt idx="62372">1</cx:pt>
          <cx:pt idx="62373">1</cx:pt>
          <cx:pt idx="62374">0</cx:pt>
          <cx:pt idx="62375">0</cx:pt>
          <cx:pt idx="62376">0</cx:pt>
          <cx:pt idx="62377">0</cx:pt>
          <cx:pt idx="62378">1</cx:pt>
          <cx:pt idx="62379">1</cx:pt>
          <cx:pt idx="62380">0</cx:pt>
          <cx:pt idx="62381">0</cx:pt>
          <cx:pt idx="62382">0</cx:pt>
          <cx:pt idx="62383">1</cx:pt>
          <cx:pt idx="62384">1</cx:pt>
          <cx:pt idx="62385">1</cx:pt>
          <cx:pt idx="62386">1</cx:pt>
          <cx:pt idx="62387">0</cx:pt>
          <cx:pt idx="62388">0</cx:pt>
          <cx:pt idx="62389">0</cx:pt>
          <cx:pt idx="62390">0</cx:pt>
          <cx:pt idx="62391">1</cx:pt>
          <cx:pt idx="62392">0</cx:pt>
          <cx:pt idx="62393">1</cx:pt>
          <cx:pt idx="62394">0</cx:pt>
          <cx:pt idx="62395">1</cx:pt>
          <cx:pt idx="62396">0</cx:pt>
          <cx:pt idx="62397">1</cx:pt>
          <cx:pt idx="62398">0</cx:pt>
          <cx:pt idx="62399">1</cx:pt>
          <cx:pt idx="62400">1</cx:pt>
          <cx:pt idx="62401">0</cx:pt>
          <cx:pt idx="62402">0</cx:pt>
          <cx:pt idx="62403">1</cx:pt>
          <cx:pt idx="62404">1</cx:pt>
          <cx:pt idx="62405">1</cx:pt>
          <cx:pt idx="62406">0</cx:pt>
          <cx:pt idx="62407">0</cx:pt>
          <cx:pt idx="62408">0</cx:pt>
          <cx:pt idx="62409">0</cx:pt>
          <cx:pt idx="62410">1</cx:pt>
          <cx:pt idx="62411">1</cx:pt>
          <cx:pt idx="62412">1</cx:pt>
          <cx:pt idx="62413">0</cx:pt>
          <cx:pt idx="62414">1</cx:pt>
          <cx:pt idx="62415">0</cx:pt>
          <cx:pt idx="62416">0</cx:pt>
          <cx:pt idx="62417">0</cx:pt>
          <cx:pt idx="62418">1</cx:pt>
          <cx:pt idx="62419">0</cx:pt>
          <cx:pt idx="62420">0</cx:pt>
          <cx:pt idx="62421">0</cx:pt>
          <cx:pt idx="62422">1</cx:pt>
          <cx:pt idx="62423">1</cx:pt>
          <cx:pt idx="62424">1</cx:pt>
          <cx:pt idx="62425">0</cx:pt>
          <cx:pt idx="62426">0</cx:pt>
          <cx:pt idx="62427">0</cx:pt>
          <cx:pt idx="62428">0</cx:pt>
          <cx:pt idx="62429">1</cx:pt>
          <cx:pt idx="62430">1</cx:pt>
          <cx:pt idx="62431">0</cx:pt>
          <cx:pt idx="62432">0</cx:pt>
          <cx:pt idx="62433">1</cx:pt>
          <cx:pt idx="62434">0</cx:pt>
          <cx:pt idx="62435">1</cx:pt>
          <cx:pt idx="62436">0</cx:pt>
          <cx:pt idx="62437">0</cx:pt>
          <cx:pt idx="62438">0</cx:pt>
          <cx:pt idx="62439">1</cx:pt>
          <cx:pt idx="62440">0</cx:pt>
          <cx:pt idx="62441">1</cx:pt>
          <cx:pt idx="62442">0</cx:pt>
          <cx:pt idx="62443">0</cx:pt>
          <cx:pt idx="62444">0</cx:pt>
          <cx:pt idx="62445">0</cx:pt>
          <cx:pt idx="62446">1</cx:pt>
          <cx:pt idx="62447">0</cx:pt>
          <cx:pt idx="62448">1</cx:pt>
          <cx:pt idx="62449">0</cx:pt>
          <cx:pt idx="62450">1</cx:pt>
          <cx:pt idx="62451">1</cx:pt>
          <cx:pt idx="62452">0</cx:pt>
          <cx:pt idx="62453">1</cx:pt>
          <cx:pt idx="62454">0</cx:pt>
          <cx:pt idx="62455">0</cx:pt>
          <cx:pt idx="62456">1</cx:pt>
          <cx:pt idx="62457">1</cx:pt>
          <cx:pt idx="62458">0</cx:pt>
          <cx:pt idx="62459">1</cx:pt>
          <cx:pt idx="62460">0</cx:pt>
          <cx:pt idx="62461">0</cx:pt>
          <cx:pt idx="62462">0</cx:pt>
          <cx:pt idx="62463">1</cx:pt>
          <cx:pt idx="62464">0</cx:pt>
          <cx:pt idx="62465">0</cx:pt>
          <cx:pt idx="62466">0</cx:pt>
          <cx:pt idx="62467">0</cx:pt>
          <cx:pt idx="62468">0</cx:pt>
          <cx:pt idx="62469">0</cx:pt>
          <cx:pt idx="62470">1</cx:pt>
          <cx:pt idx="62471">0</cx:pt>
          <cx:pt idx="62472">1</cx:pt>
          <cx:pt idx="62473">0</cx:pt>
          <cx:pt idx="62474">0</cx:pt>
          <cx:pt idx="62475">0</cx:pt>
          <cx:pt idx="62476">1</cx:pt>
          <cx:pt idx="62477">1</cx:pt>
          <cx:pt idx="62478">0</cx:pt>
          <cx:pt idx="62479">0</cx:pt>
          <cx:pt idx="62480">0</cx:pt>
          <cx:pt idx="62481">0</cx:pt>
          <cx:pt idx="62482">1</cx:pt>
          <cx:pt idx="62483">0</cx:pt>
          <cx:pt idx="62484">1</cx:pt>
          <cx:pt idx="62485">1</cx:pt>
          <cx:pt idx="62486">0</cx:pt>
          <cx:pt idx="62487">1</cx:pt>
          <cx:pt idx="62488">0</cx:pt>
          <cx:pt idx="62489">1</cx:pt>
          <cx:pt idx="62490">0</cx:pt>
          <cx:pt idx="62491">0</cx:pt>
          <cx:pt idx="62492">0</cx:pt>
          <cx:pt idx="62493">0</cx:pt>
          <cx:pt idx="62494">0</cx:pt>
          <cx:pt idx="62495">0</cx:pt>
          <cx:pt idx="62496">1</cx:pt>
          <cx:pt idx="62497">0</cx:pt>
          <cx:pt idx="62498">1</cx:pt>
          <cx:pt idx="62499">1</cx:pt>
          <cx:pt idx="62500">1</cx:pt>
          <cx:pt idx="62501">0</cx:pt>
          <cx:pt idx="62502">0</cx:pt>
          <cx:pt idx="62503">0</cx:pt>
          <cx:pt idx="62504">1</cx:pt>
          <cx:pt idx="62505">0</cx:pt>
          <cx:pt idx="62506">1</cx:pt>
          <cx:pt idx="62507">0</cx:pt>
          <cx:pt idx="62508">0</cx:pt>
          <cx:pt idx="62509">1</cx:pt>
          <cx:pt idx="62510">0</cx:pt>
          <cx:pt idx="62511">0</cx:pt>
          <cx:pt idx="62512">0</cx:pt>
          <cx:pt idx="62513">1</cx:pt>
          <cx:pt idx="62514">0</cx:pt>
          <cx:pt idx="62515">1</cx:pt>
          <cx:pt idx="62516">0</cx:pt>
          <cx:pt idx="62517">0</cx:pt>
          <cx:pt idx="62518">1</cx:pt>
          <cx:pt idx="62519">1</cx:pt>
          <cx:pt idx="62520">0</cx:pt>
          <cx:pt idx="62521">1</cx:pt>
          <cx:pt idx="62522">1</cx:pt>
          <cx:pt idx="62523">1</cx:pt>
          <cx:pt idx="62524">1</cx:pt>
          <cx:pt idx="62525">1</cx:pt>
          <cx:pt idx="62526">0</cx:pt>
          <cx:pt idx="62527">1</cx:pt>
          <cx:pt idx="62528">0</cx:pt>
          <cx:pt idx="62529">0</cx:pt>
          <cx:pt idx="62530">0</cx:pt>
          <cx:pt idx="62531">0</cx:pt>
          <cx:pt idx="62532">0</cx:pt>
          <cx:pt idx="62533">1</cx:pt>
          <cx:pt idx="62534">1</cx:pt>
          <cx:pt idx="62535">0</cx:pt>
          <cx:pt idx="62536">1</cx:pt>
          <cx:pt idx="62537">1</cx:pt>
          <cx:pt idx="62538">1</cx:pt>
          <cx:pt idx="62539">0</cx:pt>
          <cx:pt idx="62540">0</cx:pt>
          <cx:pt idx="62541">0</cx:pt>
          <cx:pt idx="62542">1</cx:pt>
          <cx:pt idx="62543">1</cx:pt>
          <cx:pt idx="62544">0</cx:pt>
          <cx:pt idx="62545">0</cx:pt>
          <cx:pt idx="62546">0</cx:pt>
          <cx:pt idx="62547">0</cx:pt>
          <cx:pt idx="62548">0</cx:pt>
          <cx:pt idx="62549">0</cx:pt>
          <cx:pt idx="62550">0</cx:pt>
          <cx:pt idx="62551">0</cx:pt>
          <cx:pt idx="62552">0</cx:pt>
          <cx:pt idx="62553">1</cx:pt>
          <cx:pt idx="62554">1</cx:pt>
          <cx:pt idx="62555">1</cx:pt>
          <cx:pt idx="62556">1</cx:pt>
          <cx:pt idx="62557">0</cx:pt>
          <cx:pt idx="62558">0</cx:pt>
          <cx:pt idx="62559">0</cx:pt>
          <cx:pt idx="62560">0</cx:pt>
          <cx:pt idx="62561">0</cx:pt>
          <cx:pt idx="62562">0</cx:pt>
          <cx:pt idx="62563">1</cx:pt>
          <cx:pt idx="62564">0</cx:pt>
          <cx:pt idx="62565">0</cx:pt>
          <cx:pt idx="62566">0</cx:pt>
          <cx:pt idx="62567">0</cx:pt>
          <cx:pt idx="62568">0</cx:pt>
          <cx:pt idx="62569">1</cx:pt>
          <cx:pt idx="62570">0</cx:pt>
          <cx:pt idx="62571">1</cx:pt>
          <cx:pt idx="62572">1</cx:pt>
          <cx:pt idx="62573">0</cx:pt>
          <cx:pt idx="62574">0</cx:pt>
          <cx:pt idx="62575">0</cx:pt>
          <cx:pt idx="62576">0</cx:pt>
          <cx:pt idx="62577">0</cx:pt>
          <cx:pt idx="62578">0</cx:pt>
          <cx:pt idx="62579">1</cx:pt>
          <cx:pt idx="62580">1</cx:pt>
          <cx:pt idx="62581">1</cx:pt>
          <cx:pt idx="62582">1</cx:pt>
          <cx:pt idx="62583">1</cx:pt>
          <cx:pt idx="62584">0</cx:pt>
          <cx:pt idx="62585">0</cx:pt>
          <cx:pt idx="62586">0</cx:pt>
          <cx:pt idx="62587">1</cx:pt>
          <cx:pt idx="62588">0</cx:pt>
          <cx:pt idx="62589">0</cx:pt>
          <cx:pt idx="62590">0</cx:pt>
          <cx:pt idx="62591">0</cx:pt>
          <cx:pt idx="62592">0</cx:pt>
          <cx:pt idx="62593">0</cx:pt>
          <cx:pt idx="62594">0</cx:pt>
          <cx:pt idx="62595">1</cx:pt>
          <cx:pt idx="62596">0</cx:pt>
          <cx:pt idx="62597">1</cx:pt>
          <cx:pt idx="62598">1</cx:pt>
          <cx:pt idx="62599">0</cx:pt>
          <cx:pt idx="62600">0</cx:pt>
          <cx:pt idx="62601">1</cx:pt>
          <cx:pt idx="62602">0</cx:pt>
          <cx:pt idx="62603">1</cx:pt>
          <cx:pt idx="62604">1</cx:pt>
          <cx:pt idx="62605">0</cx:pt>
          <cx:pt idx="62606">0</cx:pt>
          <cx:pt idx="62607">1</cx:pt>
          <cx:pt idx="62608">1</cx:pt>
          <cx:pt idx="62609">0</cx:pt>
          <cx:pt idx="62610">0</cx:pt>
          <cx:pt idx="62611">0</cx:pt>
          <cx:pt idx="62612">1</cx:pt>
          <cx:pt idx="62613">0</cx:pt>
          <cx:pt idx="62614">1</cx:pt>
          <cx:pt idx="62615">1</cx:pt>
          <cx:pt idx="62616">1</cx:pt>
          <cx:pt idx="62617">0</cx:pt>
          <cx:pt idx="62618">1</cx:pt>
          <cx:pt idx="62619">1</cx:pt>
          <cx:pt idx="62620">0</cx:pt>
          <cx:pt idx="62621">0</cx:pt>
          <cx:pt idx="62622">0</cx:pt>
          <cx:pt idx="62623">1</cx:pt>
          <cx:pt idx="62624">0</cx:pt>
          <cx:pt idx="62625">1</cx:pt>
          <cx:pt idx="62626">1</cx:pt>
          <cx:pt idx="62627">0</cx:pt>
          <cx:pt idx="62628">1</cx:pt>
          <cx:pt idx="62629">0</cx:pt>
          <cx:pt idx="62630">1</cx:pt>
          <cx:pt idx="62631">0</cx:pt>
          <cx:pt idx="62632">0</cx:pt>
          <cx:pt idx="62633">1</cx:pt>
          <cx:pt idx="62634">1</cx:pt>
          <cx:pt idx="62635">1</cx:pt>
          <cx:pt idx="62636">0</cx:pt>
          <cx:pt idx="62637">0</cx:pt>
          <cx:pt idx="62638">0</cx:pt>
          <cx:pt idx="62639">1</cx:pt>
          <cx:pt idx="62640">0</cx:pt>
          <cx:pt idx="62641">0</cx:pt>
          <cx:pt idx="62642">0</cx:pt>
          <cx:pt idx="62643">0</cx:pt>
          <cx:pt idx="62644">1</cx:pt>
          <cx:pt idx="62645">0</cx:pt>
          <cx:pt idx="62646">0</cx:pt>
          <cx:pt idx="62647">0</cx:pt>
          <cx:pt idx="62648">1</cx:pt>
          <cx:pt idx="62649">0</cx:pt>
          <cx:pt idx="62650">0</cx:pt>
          <cx:pt idx="62651">1</cx:pt>
          <cx:pt idx="62652">1</cx:pt>
          <cx:pt idx="62653">0</cx:pt>
          <cx:pt idx="62654">1</cx:pt>
          <cx:pt idx="62655">1</cx:pt>
          <cx:pt idx="62656">1</cx:pt>
          <cx:pt idx="62657">1</cx:pt>
          <cx:pt idx="62658">0</cx:pt>
          <cx:pt idx="62659">0</cx:pt>
          <cx:pt idx="62660">1</cx:pt>
          <cx:pt idx="62661">0</cx:pt>
          <cx:pt idx="62662">1</cx:pt>
          <cx:pt idx="62663">1</cx:pt>
          <cx:pt idx="62664">0</cx:pt>
          <cx:pt idx="62665">0</cx:pt>
          <cx:pt idx="62666">1</cx:pt>
          <cx:pt idx="62667">0</cx:pt>
          <cx:pt idx="62668">1</cx:pt>
          <cx:pt idx="62669">0</cx:pt>
          <cx:pt idx="62670">0</cx:pt>
          <cx:pt idx="62671">0</cx:pt>
          <cx:pt idx="62672">0</cx:pt>
          <cx:pt idx="62673">1</cx:pt>
          <cx:pt idx="62674">1</cx:pt>
          <cx:pt idx="62675">1</cx:pt>
          <cx:pt idx="62676">0</cx:pt>
          <cx:pt idx="62677">0</cx:pt>
          <cx:pt idx="62678">0</cx:pt>
          <cx:pt idx="62679">0</cx:pt>
          <cx:pt idx="62680">1</cx:pt>
          <cx:pt idx="62681">1</cx:pt>
          <cx:pt idx="62682">0</cx:pt>
          <cx:pt idx="62683">0</cx:pt>
          <cx:pt idx="62684">0</cx:pt>
          <cx:pt idx="62685">1</cx:pt>
          <cx:pt idx="62686">1</cx:pt>
          <cx:pt idx="62687">0</cx:pt>
          <cx:pt idx="62688">1</cx:pt>
          <cx:pt idx="62689">1</cx:pt>
          <cx:pt idx="62690">0</cx:pt>
          <cx:pt idx="62691">1</cx:pt>
          <cx:pt idx="62692">0</cx:pt>
          <cx:pt idx="62693">0</cx:pt>
          <cx:pt idx="62694">0</cx:pt>
          <cx:pt idx="62695">1</cx:pt>
          <cx:pt idx="62696">0</cx:pt>
          <cx:pt idx="62697">1</cx:pt>
          <cx:pt idx="62698">0</cx:pt>
          <cx:pt idx="62699">0</cx:pt>
          <cx:pt idx="62700">0</cx:pt>
          <cx:pt idx="62701">0</cx:pt>
          <cx:pt idx="62702">1</cx:pt>
          <cx:pt idx="62703">1</cx:pt>
          <cx:pt idx="62704">1</cx:pt>
          <cx:pt idx="62705">0</cx:pt>
          <cx:pt idx="62706">1</cx:pt>
          <cx:pt idx="62707">1</cx:pt>
          <cx:pt idx="62708">0</cx:pt>
          <cx:pt idx="62709">1</cx:pt>
          <cx:pt idx="62710">0</cx:pt>
          <cx:pt idx="62711">1</cx:pt>
          <cx:pt idx="62712">1</cx:pt>
          <cx:pt idx="62713">1</cx:pt>
          <cx:pt idx="62714">0</cx:pt>
          <cx:pt idx="62715">1</cx:pt>
          <cx:pt idx="62716">0</cx:pt>
          <cx:pt idx="62717">1</cx:pt>
          <cx:pt idx="62718">0</cx:pt>
          <cx:pt idx="62719">0</cx:pt>
          <cx:pt idx="62720">1</cx:pt>
          <cx:pt idx="62721">1</cx:pt>
          <cx:pt idx="62722">0</cx:pt>
          <cx:pt idx="62723">1</cx:pt>
          <cx:pt idx="62724">1</cx:pt>
          <cx:pt idx="62725">1</cx:pt>
          <cx:pt idx="62726">1</cx:pt>
          <cx:pt idx="62727">0</cx:pt>
          <cx:pt idx="62728">0</cx:pt>
          <cx:pt idx="62729">1</cx:pt>
          <cx:pt idx="62730">0</cx:pt>
          <cx:pt idx="62731">1</cx:pt>
          <cx:pt idx="62732">1</cx:pt>
          <cx:pt idx="62733">1</cx:pt>
          <cx:pt idx="62734">1</cx:pt>
          <cx:pt idx="62735">0</cx:pt>
          <cx:pt idx="62736">1</cx:pt>
          <cx:pt idx="62737">0</cx:pt>
          <cx:pt idx="62738">0</cx:pt>
          <cx:pt idx="62739">1</cx:pt>
          <cx:pt idx="62740">1</cx:pt>
          <cx:pt idx="62741">1</cx:pt>
          <cx:pt idx="62742">0</cx:pt>
          <cx:pt idx="62743">1</cx:pt>
          <cx:pt idx="62744">1</cx:pt>
          <cx:pt idx="62745">0</cx:pt>
          <cx:pt idx="62746">1</cx:pt>
          <cx:pt idx="62747">0</cx:pt>
          <cx:pt idx="62748">1</cx:pt>
          <cx:pt idx="62749">0</cx:pt>
          <cx:pt idx="62750">1</cx:pt>
          <cx:pt idx="62751">0</cx:pt>
          <cx:pt idx="62752">0</cx:pt>
          <cx:pt idx="62753">0</cx:pt>
          <cx:pt idx="62754">0</cx:pt>
          <cx:pt idx="62755">0</cx:pt>
          <cx:pt idx="62756">1</cx:pt>
          <cx:pt idx="62757">1</cx:pt>
          <cx:pt idx="62758">1</cx:pt>
          <cx:pt idx="62759">1</cx:pt>
          <cx:pt idx="62760">1</cx:pt>
          <cx:pt idx="62761">1</cx:pt>
          <cx:pt idx="62762">0</cx:pt>
          <cx:pt idx="62763">1</cx:pt>
          <cx:pt idx="62764">0</cx:pt>
          <cx:pt idx="62765">1</cx:pt>
          <cx:pt idx="62766">0</cx:pt>
          <cx:pt idx="62767">1</cx:pt>
          <cx:pt idx="62768">0</cx:pt>
          <cx:pt idx="62769">1</cx:pt>
          <cx:pt idx="62770">1</cx:pt>
          <cx:pt idx="62771">0</cx:pt>
          <cx:pt idx="62772">1</cx:pt>
          <cx:pt idx="62773">0</cx:pt>
          <cx:pt idx="62774">1</cx:pt>
          <cx:pt idx="62775">0</cx:pt>
          <cx:pt idx="62776">1</cx:pt>
          <cx:pt idx="62777">0</cx:pt>
          <cx:pt idx="62778">0</cx:pt>
          <cx:pt idx="62779">0</cx:pt>
          <cx:pt idx="62780">0</cx:pt>
          <cx:pt idx="62781">1</cx:pt>
          <cx:pt idx="62782">1</cx:pt>
          <cx:pt idx="62783">1</cx:pt>
          <cx:pt idx="62784">0</cx:pt>
          <cx:pt idx="62785">0</cx:pt>
          <cx:pt idx="62786">1</cx:pt>
          <cx:pt idx="62787">0</cx:pt>
          <cx:pt idx="62788">0</cx:pt>
          <cx:pt idx="62789">1</cx:pt>
          <cx:pt idx="62790">0</cx:pt>
          <cx:pt idx="62791">0</cx:pt>
          <cx:pt idx="62792">0</cx:pt>
          <cx:pt idx="62793">0</cx:pt>
          <cx:pt idx="62794">1</cx:pt>
          <cx:pt idx="62795">0</cx:pt>
          <cx:pt idx="62796">0</cx:pt>
          <cx:pt idx="62797">0</cx:pt>
          <cx:pt idx="62798">1</cx:pt>
          <cx:pt idx="62799">0</cx:pt>
          <cx:pt idx="62800">0</cx:pt>
          <cx:pt idx="62801">1</cx:pt>
          <cx:pt idx="62802">0</cx:pt>
          <cx:pt idx="62803">1</cx:pt>
          <cx:pt idx="62804">0</cx:pt>
          <cx:pt idx="62805">0</cx:pt>
          <cx:pt idx="62806">0</cx:pt>
          <cx:pt idx="62807">0</cx:pt>
          <cx:pt idx="62808">1</cx:pt>
          <cx:pt idx="62809">1</cx:pt>
          <cx:pt idx="62810">0</cx:pt>
          <cx:pt idx="62811">0</cx:pt>
          <cx:pt idx="62812">0</cx:pt>
          <cx:pt idx="62813">0</cx:pt>
          <cx:pt idx="62814">1</cx:pt>
          <cx:pt idx="62815">0</cx:pt>
          <cx:pt idx="62816">1</cx:pt>
          <cx:pt idx="62817">1</cx:pt>
          <cx:pt idx="62818">1</cx:pt>
          <cx:pt idx="62819">1</cx:pt>
          <cx:pt idx="62820">1</cx:pt>
          <cx:pt idx="62821">1</cx:pt>
          <cx:pt idx="62822">0</cx:pt>
          <cx:pt idx="62823">0</cx:pt>
          <cx:pt idx="62824">1</cx:pt>
          <cx:pt idx="62825">0</cx:pt>
          <cx:pt idx="62826">1</cx:pt>
          <cx:pt idx="62827">0</cx:pt>
          <cx:pt idx="62828">1</cx:pt>
          <cx:pt idx="62829">0</cx:pt>
          <cx:pt idx="62830">0</cx:pt>
          <cx:pt idx="62831">1</cx:pt>
          <cx:pt idx="62832">0</cx:pt>
          <cx:pt idx="62833">1</cx:pt>
          <cx:pt idx="62834">1</cx:pt>
          <cx:pt idx="62835">1</cx:pt>
          <cx:pt idx="62836">0</cx:pt>
          <cx:pt idx="62837">0</cx:pt>
          <cx:pt idx="62838">0</cx:pt>
          <cx:pt idx="62839">0</cx:pt>
          <cx:pt idx="62840">1</cx:pt>
          <cx:pt idx="62841">1</cx:pt>
          <cx:pt idx="62842">0</cx:pt>
          <cx:pt idx="62843">0</cx:pt>
          <cx:pt idx="62844">0</cx:pt>
          <cx:pt idx="62845">0</cx:pt>
          <cx:pt idx="62846">0</cx:pt>
          <cx:pt idx="62847">0</cx:pt>
          <cx:pt idx="62848">0</cx:pt>
          <cx:pt idx="62849">0</cx:pt>
          <cx:pt idx="62850">0</cx:pt>
          <cx:pt idx="62851">1</cx:pt>
          <cx:pt idx="62852">0</cx:pt>
          <cx:pt idx="62853">1</cx:pt>
          <cx:pt idx="62854">0</cx:pt>
          <cx:pt idx="62855">0</cx:pt>
          <cx:pt idx="62856">0</cx:pt>
          <cx:pt idx="62857">0</cx:pt>
          <cx:pt idx="62858">0</cx:pt>
          <cx:pt idx="62859">0</cx:pt>
          <cx:pt idx="62860">0</cx:pt>
          <cx:pt idx="62861">0</cx:pt>
          <cx:pt idx="62862">1</cx:pt>
          <cx:pt idx="62863">0</cx:pt>
          <cx:pt idx="62864">1</cx:pt>
          <cx:pt idx="62865">1</cx:pt>
          <cx:pt idx="62866">1</cx:pt>
          <cx:pt idx="62867">0</cx:pt>
          <cx:pt idx="62868">1</cx:pt>
          <cx:pt idx="62869">1</cx:pt>
          <cx:pt idx="62870">0</cx:pt>
          <cx:pt idx="62871">0</cx:pt>
          <cx:pt idx="62872">1</cx:pt>
          <cx:pt idx="62873">0</cx:pt>
          <cx:pt idx="62874">0</cx:pt>
          <cx:pt idx="62875">0</cx:pt>
          <cx:pt idx="62876">1</cx:pt>
          <cx:pt idx="62877">0</cx:pt>
          <cx:pt idx="62878">1</cx:pt>
          <cx:pt idx="62879">0</cx:pt>
          <cx:pt idx="62880">1</cx:pt>
          <cx:pt idx="62881">0</cx:pt>
          <cx:pt idx="62882">0</cx:pt>
          <cx:pt idx="62883">0</cx:pt>
          <cx:pt idx="62884">0</cx:pt>
          <cx:pt idx="62885">0</cx:pt>
          <cx:pt idx="62886">0</cx:pt>
          <cx:pt idx="62887">1</cx:pt>
          <cx:pt idx="62888">1</cx:pt>
          <cx:pt idx="62889">0</cx:pt>
          <cx:pt idx="62890">0</cx:pt>
          <cx:pt idx="62891">0</cx:pt>
          <cx:pt idx="62892">1</cx:pt>
          <cx:pt idx="62893">0</cx:pt>
          <cx:pt idx="62894">1</cx:pt>
          <cx:pt idx="62895">0</cx:pt>
          <cx:pt idx="62896">0</cx:pt>
          <cx:pt idx="62897">0</cx:pt>
          <cx:pt idx="62898">0</cx:pt>
          <cx:pt idx="62899">0</cx:pt>
          <cx:pt idx="62900">0</cx:pt>
          <cx:pt idx="62901">0</cx:pt>
          <cx:pt idx="62902">0</cx:pt>
          <cx:pt idx="62903">0</cx:pt>
          <cx:pt idx="62904">0</cx:pt>
          <cx:pt idx="62905">1</cx:pt>
          <cx:pt idx="62906">1</cx:pt>
          <cx:pt idx="62907">0</cx:pt>
          <cx:pt idx="62908">0</cx:pt>
          <cx:pt idx="62909">0</cx:pt>
          <cx:pt idx="62910">1</cx:pt>
          <cx:pt idx="62911">1</cx:pt>
          <cx:pt idx="62912">1</cx:pt>
          <cx:pt idx="62913">1</cx:pt>
          <cx:pt idx="62914">1</cx:pt>
          <cx:pt idx="62915">0</cx:pt>
          <cx:pt idx="62916">1</cx:pt>
          <cx:pt idx="62917">0</cx:pt>
          <cx:pt idx="62918">0</cx:pt>
          <cx:pt idx="62919">0</cx:pt>
          <cx:pt idx="62920">0</cx:pt>
          <cx:pt idx="62921">0</cx:pt>
          <cx:pt idx="62922">1</cx:pt>
          <cx:pt idx="62923">0</cx:pt>
          <cx:pt idx="62924">1</cx:pt>
          <cx:pt idx="62925">1</cx:pt>
          <cx:pt idx="62926">0</cx:pt>
          <cx:pt idx="62927">0</cx:pt>
          <cx:pt idx="62928">0</cx:pt>
          <cx:pt idx="62929">0</cx:pt>
          <cx:pt idx="62930">1</cx:pt>
          <cx:pt idx="62931">0</cx:pt>
          <cx:pt idx="62932">1</cx:pt>
          <cx:pt idx="62933">0</cx:pt>
          <cx:pt idx="62934">0</cx:pt>
          <cx:pt idx="62935">0</cx:pt>
          <cx:pt idx="62936">0</cx:pt>
          <cx:pt idx="62937">1</cx:pt>
          <cx:pt idx="62938">0</cx:pt>
          <cx:pt idx="62939">0</cx:pt>
          <cx:pt idx="62940">0</cx:pt>
          <cx:pt idx="62941">0</cx:pt>
          <cx:pt idx="62942">1</cx:pt>
          <cx:pt idx="62943">1</cx:pt>
          <cx:pt idx="62944">1</cx:pt>
          <cx:pt idx="62945">0</cx:pt>
          <cx:pt idx="62946">0</cx:pt>
          <cx:pt idx="62947">1</cx:pt>
          <cx:pt idx="62948">0</cx:pt>
          <cx:pt idx="62949">0</cx:pt>
          <cx:pt idx="62950">0</cx:pt>
          <cx:pt idx="62951">1</cx:pt>
          <cx:pt idx="62952">0</cx:pt>
          <cx:pt idx="62953">0</cx:pt>
          <cx:pt idx="62954">0</cx:pt>
          <cx:pt idx="62955">0</cx:pt>
          <cx:pt idx="62956">1</cx:pt>
          <cx:pt idx="62957">0</cx:pt>
          <cx:pt idx="62958">1</cx:pt>
          <cx:pt idx="62959">1</cx:pt>
          <cx:pt idx="62960">0</cx:pt>
          <cx:pt idx="62961">0</cx:pt>
          <cx:pt idx="62962">1</cx:pt>
          <cx:pt idx="62963">1</cx:pt>
          <cx:pt idx="62964">0</cx:pt>
          <cx:pt idx="62965">0</cx:pt>
          <cx:pt idx="62966">0</cx:pt>
          <cx:pt idx="62967">1</cx:pt>
          <cx:pt idx="62968">1</cx:pt>
          <cx:pt idx="62969">0</cx:pt>
          <cx:pt idx="62970">1</cx:pt>
          <cx:pt idx="62971">1</cx:pt>
          <cx:pt idx="62972">0</cx:pt>
          <cx:pt idx="62973">0</cx:pt>
          <cx:pt idx="62974">0</cx:pt>
          <cx:pt idx="62975">1</cx:pt>
          <cx:pt idx="62976">1</cx:pt>
          <cx:pt idx="62977">0</cx:pt>
          <cx:pt idx="62978">0</cx:pt>
          <cx:pt idx="62979">0</cx:pt>
          <cx:pt idx="62980">1</cx:pt>
          <cx:pt idx="62981">0</cx:pt>
          <cx:pt idx="62982">1</cx:pt>
          <cx:pt idx="62983">0</cx:pt>
          <cx:pt idx="62984">1</cx:pt>
          <cx:pt idx="62985">0</cx:pt>
          <cx:pt idx="62986">0</cx:pt>
          <cx:pt idx="62987">0</cx:pt>
          <cx:pt idx="62988">0</cx:pt>
          <cx:pt idx="62989">0</cx:pt>
          <cx:pt idx="62990">0</cx:pt>
          <cx:pt idx="62991">0</cx:pt>
          <cx:pt idx="62992">1</cx:pt>
          <cx:pt idx="62993">1</cx:pt>
          <cx:pt idx="62994">1</cx:pt>
          <cx:pt idx="62995">0</cx:pt>
          <cx:pt idx="62996">1</cx:pt>
          <cx:pt idx="62997">1</cx:pt>
          <cx:pt idx="62998">1</cx:pt>
          <cx:pt idx="62999">0</cx:pt>
          <cx:pt idx="63000">0</cx:pt>
          <cx:pt idx="63001">0</cx:pt>
          <cx:pt idx="63002">1</cx:pt>
          <cx:pt idx="63003">1</cx:pt>
          <cx:pt idx="63004">0</cx:pt>
          <cx:pt idx="63005">0</cx:pt>
          <cx:pt idx="63006">0</cx:pt>
          <cx:pt idx="63007">0</cx:pt>
          <cx:pt idx="63008">0</cx:pt>
          <cx:pt idx="63009">1</cx:pt>
          <cx:pt idx="63010">1</cx:pt>
          <cx:pt idx="63011">0</cx:pt>
          <cx:pt idx="63012">1</cx:pt>
          <cx:pt idx="63013">0</cx:pt>
          <cx:pt idx="63014">1</cx:pt>
          <cx:pt idx="63015">0</cx:pt>
          <cx:pt idx="63016">0</cx:pt>
          <cx:pt idx="63017">0</cx:pt>
          <cx:pt idx="63018">1</cx:pt>
          <cx:pt idx="63019">0</cx:pt>
          <cx:pt idx="63020">1</cx:pt>
          <cx:pt idx="63021">0</cx:pt>
          <cx:pt idx="63022">0</cx:pt>
          <cx:pt idx="63023">0</cx:pt>
          <cx:pt idx="63024">0</cx:pt>
          <cx:pt idx="63025">0</cx:pt>
          <cx:pt idx="63026">0</cx:pt>
          <cx:pt idx="63027">0</cx:pt>
          <cx:pt idx="63028">1</cx:pt>
          <cx:pt idx="63029">0</cx:pt>
          <cx:pt idx="63030">1</cx:pt>
          <cx:pt idx="63031">0</cx:pt>
          <cx:pt idx="63032">0</cx:pt>
          <cx:pt idx="63033">1</cx:pt>
          <cx:pt idx="63034">1</cx:pt>
          <cx:pt idx="63035">0</cx:pt>
          <cx:pt idx="63036">1</cx:pt>
          <cx:pt idx="63037">1</cx:pt>
          <cx:pt idx="63038">1</cx:pt>
          <cx:pt idx="63039">1</cx:pt>
          <cx:pt idx="63040">0</cx:pt>
          <cx:pt idx="63041">0</cx:pt>
          <cx:pt idx="63042">0</cx:pt>
          <cx:pt idx="63043">1</cx:pt>
          <cx:pt idx="63044">1</cx:pt>
          <cx:pt idx="63045">0</cx:pt>
          <cx:pt idx="63046">0</cx:pt>
          <cx:pt idx="63047">0</cx:pt>
          <cx:pt idx="63048">0</cx:pt>
          <cx:pt idx="63049">0</cx:pt>
          <cx:pt idx="63050">1</cx:pt>
          <cx:pt idx="63051">1</cx:pt>
          <cx:pt idx="63052">1</cx:pt>
          <cx:pt idx="63053">1</cx:pt>
          <cx:pt idx="63054">1</cx:pt>
          <cx:pt idx="63055">0</cx:pt>
          <cx:pt idx="63056">0</cx:pt>
          <cx:pt idx="63057">1</cx:pt>
          <cx:pt idx="63058">0</cx:pt>
          <cx:pt idx="63059">0</cx:pt>
          <cx:pt idx="63060">1</cx:pt>
          <cx:pt idx="63061">0</cx:pt>
          <cx:pt idx="63062">1</cx:pt>
          <cx:pt idx="63063">0</cx:pt>
          <cx:pt idx="63064">1</cx:pt>
          <cx:pt idx="63065">1</cx:pt>
          <cx:pt idx="63066">1</cx:pt>
          <cx:pt idx="63067">1</cx:pt>
          <cx:pt idx="63068">0</cx:pt>
          <cx:pt idx="63069">0</cx:pt>
          <cx:pt idx="63070">1</cx:pt>
          <cx:pt idx="63071">0</cx:pt>
          <cx:pt idx="63072">1</cx:pt>
          <cx:pt idx="63073">1</cx:pt>
          <cx:pt idx="63074">0</cx:pt>
          <cx:pt idx="63075">1</cx:pt>
          <cx:pt idx="63076">1</cx:pt>
          <cx:pt idx="63077">1</cx:pt>
          <cx:pt idx="63078">1</cx:pt>
          <cx:pt idx="63079">0</cx:pt>
          <cx:pt idx="63080">1</cx:pt>
          <cx:pt idx="63081">0</cx:pt>
          <cx:pt idx="63082">1</cx:pt>
          <cx:pt idx="63083">0</cx:pt>
          <cx:pt idx="63084">1</cx:pt>
          <cx:pt idx="63085">0</cx:pt>
          <cx:pt idx="63086">0</cx:pt>
          <cx:pt idx="63087">0</cx:pt>
          <cx:pt idx="63088">0</cx:pt>
          <cx:pt idx="63089">0</cx:pt>
          <cx:pt idx="63090">1</cx:pt>
          <cx:pt idx="63091">1</cx:pt>
          <cx:pt idx="63092">1</cx:pt>
          <cx:pt idx="63093">1</cx:pt>
          <cx:pt idx="63094">0</cx:pt>
          <cx:pt idx="63095">1</cx:pt>
          <cx:pt idx="63096">1</cx:pt>
          <cx:pt idx="63097">0</cx:pt>
          <cx:pt idx="63098">0</cx:pt>
          <cx:pt idx="63099">1</cx:pt>
          <cx:pt idx="63100">0</cx:pt>
          <cx:pt idx="63101">0</cx:pt>
          <cx:pt idx="63102">0</cx:pt>
          <cx:pt idx="63103">1</cx:pt>
          <cx:pt idx="63104">1</cx:pt>
          <cx:pt idx="63105">0</cx:pt>
          <cx:pt idx="63106">0</cx:pt>
          <cx:pt idx="63107">0</cx:pt>
          <cx:pt idx="63108">0</cx:pt>
          <cx:pt idx="63109">1</cx:pt>
          <cx:pt idx="63110">1</cx:pt>
          <cx:pt idx="63111">0</cx:pt>
          <cx:pt idx="63112">0</cx:pt>
          <cx:pt idx="63113">0</cx:pt>
          <cx:pt idx="63114">0</cx:pt>
          <cx:pt idx="63115">0</cx:pt>
          <cx:pt idx="63116">1</cx:pt>
          <cx:pt idx="63117">1</cx:pt>
          <cx:pt idx="63118">0</cx:pt>
          <cx:pt idx="63119">0</cx:pt>
          <cx:pt idx="63120">0</cx:pt>
          <cx:pt idx="63121">0</cx:pt>
          <cx:pt idx="63122">0</cx:pt>
          <cx:pt idx="63123">1</cx:pt>
          <cx:pt idx="63124">0</cx:pt>
          <cx:pt idx="63125">0</cx:pt>
          <cx:pt idx="63126">0</cx:pt>
          <cx:pt idx="63127">0</cx:pt>
          <cx:pt idx="63128">1</cx:pt>
          <cx:pt idx="63129">0</cx:pt>
          <cx:pt idx="63130">1</cx:pt>
          <cx:pt idx="63131">1</cx:pt>
          <cx:pt idx="63132">0</cx:pt>
          <cx:pt idx="63133">1</cx:pt>
          <cx:pt idx="63134">0</cx:pt>
          <cx:pt idx="63135">1</cx:pt>
          <cx:pt idx="63136">1</cx:pt>
          <cx:pt idx="63137">1</cx:pt>
          <cx:pt idx="63138">1</cx:pt>
          <cx:pt idx="63139">0</cx:pt>
          <cx:pt idx="63140">1</cx:pt>
          <cx:pt idx="63141">1</cx:pt>
          <cx:pt idx="63142">0</cx:pt>
          <cx:pt idx="63143">0</cx:pt>
          <cx:pt idx="63144">1</cx:pt>
          <cx:pt idx="63145">1</cx:pt>
          <cx:pt idx="63146">0</cx:pt>
          <cx:pt idx="63147">0</cx:pt>
          <cx:pt idx="63148">1</cx:pt>
          <cx:pt idx="63149">0</cx:pt>
          <cx:pt idx="63150">0</cx:pt>
          <cx:pt idx="63151">1</cx:pt>
          <cx:pt idx="63152">0</cx:pt>
          <cx:pt idx="63153">0</cx:pt>
          <cx:pt idx="63154">1</cx:pt>
          <cx:pt idx="63155">1</cx:pt>
          <cx:pt idx="63156">1</cx:pt>
          <cx:pt idx="63157">1</cx:pt>
          <cx:pt idx="63158">0</cx:pt>
          <cx:pt idx="63159">0</cx:pt>
          <cx:pt idx="63160">0</cx:pt>
          <cx:pt idx="63161">0</cx:pt>
          <cx:pt idx="63162">1</cx:pt>
          <cx:pt idx="63163">0</cx:pt>
          <cx:pt idx="63164">1</cx:pt>
          <cx:pt idx="63165">1</cx:pt>
          <cx:pt idx="63166">1</cx:pt>
          <cx:pt idx="63167">0</cx:pt>
          <cx:pt idx="63168">1</cx:pt>
          <cx:pt idx="63169">0</cx:pt>
          <cx:pt idx="63170">0</cx:pt>
          <cx:pt idx="63171">0</cx:pt>
          <cx:pt idx="63172">1</cx:pt>
          <cx:pt idx="63173">1</cx:pt>
          <cx:pt idx="63174">0</cx:pt>
          <cx:pt idx="63175">1</cx:pt>
          <cx:pt idx="63176">0</cx:pt>
          <cx:pt idx="63177">1</cx:pt>
          <cx:pt idx="63178">1</cx:pt>
          <cx:pt idx="63179">0</cx:pt>
          <cx:pt idx="63180">0</cx:pt>
          <cx:pt idx="63181">1</cx:pt>
          <cx:pt idx="63182">0</cx:pt>
          <cx:pt idx="63183">0</cx:pt>
          <cx:pt idx="63184">1</cx:pt>
          <cx:pt idx="63185">0</cx:pt>
          <cx:pt idx="63186">0</cx:pt>
          <cx:pt idx="63187">0</cx:pt>
          <cx:pt idx="63188">0</cx:pt>
          <cx:pt idx="63189">1</cx:pt>
          <cx:pt idx="63190">1</cx:pt>
          <cx:pt idx="63191">0</cx:pt>
          <cx:pt idx="63192">0</cx:pt>
          <cx:pt idx="63193">0</cx:pt>
          <cx:pt idx="63194">1</cx:pt>
          <cx:pt idx="63195">1</cx:pt>
          <cx:pt idx="63196">0</cx:pt>
          <cx:pt idx="63197">0</cx:pt>
          <cx:pt idx="63198">0</cx:pt>
          <cx:pt idx="63199">0</cx:pt>
          <cx:pt idx="63200">1</cx:pt>
          <cx:pt idx="63201">0</cx:pt>
          <cx:pt idx="63202">0</cx:pt>
          <cx:pt idx="63203">0</cx:pt>
          <cx:pt idx="63204">0</cx:pt>
          <cx:pt idx="63205">1</cx:pt>
          <cx:pt idx="63206">1</cx:pt>
          <cx:pt idx="63207">1</cx:pt>
          <cx:pt idx="63208">0</cx:pt>
          <cx:pt idx="63209">0</cx:pt>
          <cx:pt idx="63210">0</cx:pt>
          <cx:pt idx="63211">0</cx:pt>
          <cx:pt idx="63212">1</cx:pt>
          <cx:pt idx="63213">1</cx:pt>
          <cx:pt idx="63214">1</cx:pt>
          <cx:pt idx="63215">0</cx:pt>
          <cx:pt idx="63216">0</cx:pt>
          <cx:pt idx="63217">0</cx:pt>
          <cx:pt idx="63218">0</cx:pt>
          <cx:pt idx="63219">0</cx:pt>
          <cx:pt idx="63220">0</cx:pt>
          <cx:pt idx="63221">0</cx:pt>
          <cx:pt idx="63222">1</cx:pt>
          <cx:pt idx="63223">0</cx:pt>
          <cx:pt idx="63224">0</cx:pt>
          <cx:pt idx="63225">1</cx:pt>
          <cx:pt idx="63226">0</cx:pt>
          <cx:pt idx="63227">0</cx:pt>
          <cx:pt idx="63228">0</cx:pt>
          <cx:pt idx="63229">0</cx:pt>
          <cx:pt idx="63230">0</cx:pt>
          <cx:pt idx="63231">0</cx:pt>
          <cx:pt idx="63232">0</cx:pt>
          <cx:pt idx="63233">0</cx:pt>
          <cx:pt idx="63234">0</cx:pt>
          <cx:pt idx="63235">0</cx:pt>
          <cx:pt idx="63236">1</cx:pt>
          <cx:pt idx="63237">1</cx:pt>
          <cx:pt idx="63238">0</cx:pt>
          <cx:pt idx="63239">0</cx:pt>
          <cx:pt idx="63240">1</cx:pt>
          <cx:pt idx="63241">0</cx:pt>
          <cx:pt idx="63242">1</cx:pt>
          <cx:pt idx="63243">0</cx:pt>
          <cx:pt idx="63244">0</cx:pt>
          <cx:pt idx="63245">0</cx:pt>
          <cx:pt idx="63246">0</cx:pt>
          <cx:pt idx="63247">0</cx:pt>
          <cx:pt idx="63248">0</cx:pt>
          <cx:pt idx="63249">1</cx:pt>
          <cx:pt idx="63250">1</cx:pt>
          <cx:pt idx="63251">0</cx:pt>
          <cx:pt idx="63252">1</cx:pt>
          <cx:pt idx="63253">0</cx:pt>
          <cx:pt idx="63254">1</cx:pt>
          <cx:pt idx="63255">0</cx:pt>
          <cx:pt idx="63256">0</cx:pt>
          <cx:pt idx="63257">0</cx:pt>
          <cx:pt idx="63258">0</cx:pt>
          <cx:pt idx="63259">1</cx:pt>
          <cx:pt idx="63260">0</cx:pt>
          <cx:pt idx="63261">0</cx:pt>
          <cx:pt idx="63262">0</cx:pt>
          <cx:pt idx="63263">0</cx:pt>
          <cx:pt idx="63264">1</cx:pt>
          <cx:pt idx="63265">1</cx:pt>
          <cx:pt idx="63266">0</cx:pt>
          <cx:pt idx="63267">0</cx:pt>
          <cx:pt idx="63268">0</cx:pt>
          <cx:pt idx="63269">1</cx:pt>
          <cx:pt idx="63270">0</cx:pt>
          <cx:pt idx="63271">0</cx:pt>
          <cx:pt idx="63272">0</cx:pt>
          <cx:pt idx="63273">1</cx:pt>
          <cx:pt idx="63274">1</cx:pt>
          <cx:pt idx="63275">1</cx:pt>
          <cx:pt idx="63276">1</cx:pt>
          <cx:pt idx="63277">1</cx:pt>
          <cx:pt idx="63278">0</cx:pt>
          <cx:pt idx="63279">0</cx:pt>
          <cx:pt idx="63280">0</cx:pt>
          <cx:pt idx="63281">0</cx:pt>
          <cx:pt idx="63282">1</cx:pt>
          <cx:pt idx="63283">1</cx:pt>
          <cx:pt idx="63284">1</cx:pt>
          <cx:pt idx="63285">1</cx:pt>
          <cx:pt idx="63286">0</cx:pt>
          <cx:pt idx="63287">0</cx:pt>
          <cx:pt idx="63288">0</cx:pt>
          <cx:pt idx="63289">1</cx:pt>
          <cx:pt idx="63290">0</cx:pt>
          <cx:pt idx="63291">0</cx:pt>
          <cx:pt idx="63292">1</cx:pt>
          <cx:pt idx="63293">0</cx:pt>
          <cx:pt idx="63294">0</cx:pt>
          <cx:pt idx="63295">1</cx:pt>
          <cx:pt idx="63296">1</cx:pt>
          <cx:pt idx="63297">1</cx:pt>
          <cx:pt idx="63298">0</cx:pt>
          <cx:pt idx="63299">1</cx:pt>
          <cx:pt idx="63300">1</cx:pt>
          <cx:pt idx="63301">0</cx:pt>
          <cx:pt idx="63302">0</cx:pt>
          <cx:pt idx="63303">1</cx:pt>
          <cx:pt idx="63304">0</cx:pt>
          <cx:pt idx="63305">0</cx:pt>
          <cx:pt idx="63306">0</cx:pt>
          <cx:pt idx="63307">1</cx:pt>
          <cx:pt idx="63308">0</cx:pt>
          <cx:pt idx="63309">0</cx:pt>
          <cx:pt idx="63310">0</cx:pt>
          <cx:pt idx="63311">1</cx:pt>
          <cx:pt idx="63312">0</cx:pt>
          <cx:pt idx="63313">1</cx:pt>
          <cx:pt idx="63314">1</cx:pt>
          <cx:pt idx="63315">1</cx:pt>
          <cx:pt idx="63316">0</cx:pt>
          <cx:pt idx="63317">0</cx:pt>
          <cx:pt idx="63318">0</cx:pt>
          <cx:pt idx="63319">1</cx:pt>
          <cx:pt idx="63320">1</cx:pt>
          <cx:pt idx="63321">1</cx:pt>
          <cx:pt idx="63322">1</cx:pt>
          <cx:pt idx="63323">0</cx:pt>
          <cx:pt idx="63324">1</cx:pt>
          <cx:pt idx="63325">1</cx:pt>
          <cx:pt idx="63326">1</cx:pt>
          <cx:pt idx="63327">0</cx:pt>
          <cx:pt idx="63328">0</cx:pt>
          <cx:pt idx="63329">0</cx:pt>
          <cx:pt idx="63330">1</cx:pt>
          <cx:pt idx="63331">1</cx:pt>
          <cx:pt idx="63332">0</cx:pt>
          <cx:pt idx="63333">0</cx:pt>
          <cx:pt idx="63334">0</cx:pt>
          <cx:pt idx="63335">0</cx:pt>
          <cx:pt idx="63336">0</cx:pt>
          <cx:pt idx="63337">0</cx:pt>
          <cx:pt idx="63338">1</cx:pt>
          <cx:pt idx="63339">1</cx:pt>
          <cx:pt idx="63340">0</cx:pt>
          <cx:pt idx="63341">1</cx:pt>
          <cx:pt idx="63342">1</cx:pt>
          <cx:pt idx="63343">0</cx:pt>
          <cx:pt idx="63344">0</cx:pt>
          <cx:pt idx="63345">0</cx:pt>
          <cx:pt idx="63346">0</cx:pt>
          <cx:pt idx="63347">0</cx:pt>
          <cx:pt idx="63348">0</cx:pt>
          <cx:pt idx="63349">0</cx:pt>
          <cx:pt idx="63350">1</cx:pt>
          <cx:pt idx="63351">1</cx:pt>
          <cx:pt idx="63352">0</cx:pt>
          <cx:pt idx="63353">0</cx:pt>
          <cx:pt idx="63354">1</cx:pt>
          <cx:pt idx="63355">1</cx:pt>
          <cx:pt idx="63356">0</cx:pt>
          <cx:pt idx="63357">0</cx:pt>
          <cx:pt idx="63358">0</cx:pt>
          <cx:pt idx="63359">1</cx:pt>
          <cx:pt idx="63360">1</cx:pt>
          <cx:pt idx="63361">1</cx:pt>
          <cx:pt idx="63362">1</cx:pt>
          <cx:pt idx="63363">0</cx:pt>
          <cx:pt idx="63364">1</cx:pt>
          <cx:pt idx="63365">0</cx:pt>
          <cx:pt idx="63366">1</cx:pt>
          <cx:pt idx="63367">1</cx:pt>
          <cx:pt idx="63368">0</cx:pt>
          <cx:pt idx="63369">0</cx:pt>
          <cx:pt idx="63370">1</cx:pt>
          <cx:pt idx="63371">0</cx:pt>
          <cx:pt idx="63372">1</cx:pt>
          <cx:pt idx="63373">0</cx:pt>
          <cx:pt idx="63374">0</cx:pt>
          <cx:pt idx="63375">0</cx:pt>
          <cx:pt idx="63376">0</cx:pt>
          <cx:pt idx="63377">1</cx:pt>
          <cx:pt idx="63378">0</cx:pt>
          <cx:pt idx="63379">1</cx:pt>
          <cx:pt idx="63380">0</cx:pt>
          <cx:pt idx="63381">1</cx:pt>
          <cx:pt idx="63382">0</cx:pt>
          <cx:pt idx="63383">1</cx:pt>
          <cx:pt idx="63384">1</cx:pt>
          <cx:pt idx="63385">0</cx:pt>
          <cx:pt idx="63386">0</cx:pt>
          <cx:pt idx="63387">1</cx:pt>
          <cx:pt idx="63388">0</cx:pt>
          <cx:pt idx="63389">1</cx:pt>
          <cx:pt idx="63390">1</cx:pt>
          <cx:pt idx="63391">1</cx:pt>
          <cx:pt idx="63392">1</cx:pt>
          <cx:pt idx="63393">0</cx:pt>
          <cx:pt idx="63394">0</cx:pt>
          <cx:pt idx="63395">0</cx:pt>
          <cx:pt idx="63396">0</cx:pt>
          <cx:pt idx="63397">1</cx:pt>
          <cx:pt idx="63398">0</cx:pt>
          <cx:pt idx="63399">1</cx:pt>
          <cx:pt idx="63400">0</cx:pt>
          <cx:pt idx="63401">1</cx:pt>
          <cx:pt idx="63402">0</cx:pt>
          <cx:pt idx="63403">1</cx:pt>
          <cx:pt idx="63404">1</cx:pt>
          <cx:pt idx="63405">0</cx:pt>
          <cx:pt idx="63406">1</cx:pt>
          <cx:pt idx="63407">1</cx:pt>
          <cx:pt idx="63408">1</cx:pt>
          <cx:pt idx="63409">0</cx:pt>
          <cx:pt idx="63410">0</cx:pt>
          <cx:pt idx="63411">0</cx:pt>
          <cx:pt idx="63412">1</cx:pt>
          <cx:pt idx="63413">1</cx:pt>
          <cx:pt idx="63414">0</cx:pt>
          <cx:pt idx="63415">1</cx:pt>
          <cx:pt idx="63416">1</cx:pt>
          <cx:pt idx="63417">1</cx:pt>
          <cx:pt idx="63418">0</cx:pt>
          <cx:pt idx="63419">0</cx:pt>
          <cx:pt idx="63420">1</cx:pt>
          <cx:pt idx="63421">0</cx:pt>
          <cx:pt idx="63422">1</cx:pt>
          <cx:pt idx="63423">0</cx:pt>
          <cx:pt idx="63424">0</cx:pt>
          <cx:pt idx="63425">0</cx:pt>
          <cx:pt idx="63426">1</cx:pt>
          <cx:pt idx="63427">0</cx:pt>
          <cx:pt idx="63428">0</cx:pt>
          <cx:pt idx="63429">0</cx:pt>
          <cx:pt idx="63430">1</cx:pt>
          <cx:pt idx="63431">1</cx:pt>
          <cx:pt idx="63432">0</cx:pt>
          <cx:pt idx="63433">1</cx:pt>
          <cx:pt idx="63434">0</cx:pt>
          <cx:pt idx="63435">0</cx:pt>
          <cx:pt idx="63436">0</cx:pt>
          <cx:pt idx="63437">0</cx:pt>
          <cx:pt idx="63438">0</cx:pt>
          <cx:pt idx="63439">0</cx:pt>
          <cx:pt idx="63440">1</cx:pt>
          <cx:pt idx="63441">1</cx:pt>
          <cx:pt idx="63442">1</cx:pt>
          <cx:pt idx="63443">1</cx:pt>
          <cx:pt idx="63444">0</cx:pt>
          <cx:pt idx="63445">1</cx:pt>
          <cx:pt idx="63446">0</cx:pt>
          <cx:pt idx="63447">0</cx:pt>
          <cx:pt idx="63448">1</cx:pt>
          <cx:pt idx="63449">0</cx:pt>
          <cx:pt idx="63450">1</cx:pt>
          <cx:pt idx="63451">0</cx:pt>
          <cx:pt idx="63452">0</cx:pt>
          <cx:pt idx="63453">0</cx:pt>
          <cx:pt idx="63454">0</cx:pt>
          <cx:pt idx="63455">0</cx:pt>
          <cx:pt idx="63456">0</cx:pt>
          <cx:pt idx="63457">0</cx:pt>
          <cx:pt idx="63458">0</cx:pt>
          <cx:pt idx="63459">0</cx:pt>
          <cx:pt idx="63460">1</cx:pt>
          <cx:pt idx="63461">1</cx:pt>
          <cx:pt idx="63462">1</cx:pt>
          <cx:pt idx="63463">1</cx:pt>
          <cx:pt idx="63464">0</cx:pt>
          <cx:pt idx="63465">1</cx:pt>
          <cx:pt idx="63466">0</cx:pt>
          <cx:pt idx="63467">1</cx:pt>
          <cx:pt idx="63468">0</cx:pt>
          <cx:pt idx="63469">1</cx:pt>
          <cx:pt idx="63470">1</cx:pt>
          <cx:pt idx="63471">1</cx:pt>
          <cx:pt idx="63472">1</cx:pt>
          <cx:pt idx="63473">1</cx:pt>
          <cx:pt idx="63474">0</cx:pt>
          <cx:pt idx="63475">0</cx:pt>
          <cx:pt idx="63476">0</cx:pt>
          <cx:pt idx="63477">0</cx:pt>
          <cx:pt idx="63478">0</cx:pt>
          <cx:pt idx="63479">1</cx:pt>
          <cx:pt idx="63480">0</cx:pt>
          <cx:pt idx="63481">1</cx:pt>
          <cx:pt idx="63482">1</cx:pt>
          <cx:pt idx="63483">0</cx:pt>
          <cx:pt idx="63484">0</cx:pt>
          <cx:pt idx="63485">0</cx:pt>
          <cx:pt idx="63486">1</cx:pt>
          <cx:pt idx="63487">1</cx:pt>
          <cx:pt idx="63488">1</cx:pt>
          <cx:pt idx="63489">0</cx:pt>
          <cx:pt idx="63490">1</cx:pt>
          <cx:pt idx="63491">0</cx:pt>
          <cx:pt idx="63492">0</cx:pt>
          <cx:pt idx="63493">1</cx:pt>
          <cx:pt idx="63494">1</cx:pt>
          <cx:pt idx="63495">1</cx:pt>
          <cx:pt idx="63496">1</cx:pt>
          <cx:pt idx="63497">0</cx:pt>
          <cx:pt idx="63498">1</cx:pt>
          <cx:pt idx="63499">0</cx:pt>
          <cx:pt idx="63500">1</cx:pt>
          <cx:pt idx="63501">0</cx:pt>
          <cx:pt idx="63502">0</cx:pt>
          <cx:pt idx="63503">1</cx:pt>
          <cx:pt idx="63504">0</cx:pt>
          <cx:pt idx="63505">0</cx:pt>
          <cx:pt idx="63506">0</cx:pt>
          <cx:pt idx="63507">1</cx:pt>
          <cx:pt idx="63508">0</cx:pt>
          <cx:pt idx="63509">0</cx:pt>
          <cx:pt idx="63510">0</cx:pt>
          <cx:pt idx="63511">0</cx:pt>
          <cx:pt idx="63512">0</cx:pt>
          <cx:pt idx="63513">0</cx:pt>
          <cx:pt idx="63514">0</cx:pt>
          <cx:pt idx="63515">0</cx:pt>
          <cx:pt idx="63516">0</cx:pt>
          <cx:pt idx="63517">0</cx:pt>
          <cx:pt idx="63518">1</cx:pt>
          <cx:pt idx="63519">0</cx:pt>
          <cx:pt idx="63520">0</cx:pt>
          <cx:pt idx="63521">0</cx:pt>
          <cx:pt idx="63522">0</cx:pt>
          <cx:pt idx="63523">0</cx:pt>
          <cx:pt idx="63524">0</cx:pt>
          <cx:pt idx="63525">1</cx:pt>
          <cx:pt idx="63526">0</cx:pt>
          <cx:pt idx="63527">0</cx:pt>
          <cx:pt idx="63528">0</cx:pt>
          <cx:pt idx="63529">1</cx:pt>
          <cx:pt idx="63530">0</cx:pt>
          <cx:pt idx="63531">1</cx:pt>
          <cx:pt idx="63532">1</cx:pt>
          <cx:pt idx="63533">0</cx:pt>
          <cx:pt idx="63534">0</cx:pt>
          <cx:pt idx="63535">1</cx:pt>
          <cx:pt idx="63536">1</cx:pt>
          <cx:pt idx="63537">0</cx:pt>
          <cx:pt idx="63538">1</cx:pt>
          <cx:pt idx="63539">1</cx:pt>
          <cx:pt idx="63540">0</cx:pt>
          <cx:pt idx="63541">0</cx:pt>
          <cx:pt idx="63542">0</cx:pt>
          <cx:pt idx="63543">1</cx:pt>
          <cx:pt idx="63544">0</cx:pt>
          <cx:pt idx="63545">1</cx:pt>
          <cx:pt idx="63546">0</cx:pt>
          <cx:pt idx="63547">0</cx:pt>
          <cx:pt idx="63548">0</cx:pt>
          <cx:pt idx="63549">1</cx:pt>
          <cx:pt idx="63550">0</cx:pt>
          <cx:pt idx="63551">0</cx:pt>
          <cx:pt idx="63552">0</cx:pt>
          <cx:pt idx="63553">0</cx:pt>
          <cx:pt idx="63554">0</cx:pt>
          <cx:pt idx="63555">0</cx:pt>
          <cx:pt idx="63556">1</cx:pt>
          <cx:pt idx="63557">0</cx:pt>
          <cx:pt idx="63558">1</cx:pt>
          <cx:pt idx="63559">1</cx:pt>
          <cx:pt idx="63560">0</cx:pt>
          <cx:pt idx="63561">0</cx:pt>
          <cx:pt idx="63562">1</cx:pt>
          <cx:pt idx="63563">0</cx:pt>
          <cx:pt idx="63564">0</cx:pt>
          <cx:pt idx="63565">1</cx:pt>
          <cx:pt idx="63566">1</cx:pt>
          <cx:pt idx="63567">1</cx:pt>
          <cx:pt idx="63568">0</cx:pt>
          <cx:pt idx="63569">0</cx:pt>
          <cx:pt idx="63570">0</cx:pt>
          <cx:pt idx="63571">0</cx:pt>
          <cx:pt idx="63572">1</cx:pt>
          <cx:pt idx="63573">0</cx:pt>
          <cx:pt idx="63574">0</cx:pt>
          <cx:pt idx="63575">0</cx:pt>
          <cx:pt idx="63576">1</cx:pt>
          <cx:pt idx="63577">0</cx:pt>
          <cx:pt idx="63578">1</cx:pt>
          <cx:pt idx="63579">0</cx:pt>
          <cx:pt idx="63580">1</cx:pt>
          <cx:pt idx="63581">0</cx:pt>
          <cx:pt idx="63582">1</cx:pt>
          <cx:pt idx="63583">0</cx:pt>
          <cx:pt idx="63584">0</cx:pt>
          <cx:pt idx="63585">0</cx:pt>
          <cx:pt idx="63586">0</cx:pt>
          <cx:pt idx="63587">0</cx:pt>
          <cx:pt idx="63588">1</cx:pt>
          <cx:pt idx="63589">1</cx:pt>
          <cx:pt idx="63590">1</cx:pt>
          <cx:pt idx="63591">1</cx:pt>
          <cx:pt idx="63592">0</cx:pt>
          <cx:pt idx="63593">0</cx:pt>
          <cx:pt idx="63594">1</cx:pt>
          <cx:pt idx="63595">0</cx:pt>
          <cx:pt idx="63596">0</cx:pt>
          <cx:pt idx="63597">0</cx:pt>
          <cx:pt idx="63598">1</cx:pt>
          <cx:pt idx="63599">0</cx:pt>
          <cx:pt idx="63600">0</cx:pt>
          <cx:pt idx="63601">0</cx:pt>
          <cx:pt idx="63602">0</cx:pt>
          <cx:pt idx="63603">0</cx:pt>
          <cx:pt idx="63604">1</cx:pt>
          <cx:pt idx="63605">0</cx:pt>
          <cx:pt idx="63606">1</cx:pt>
          <cx:pt idx="63607">1</cx:pt>
          <cx:pt idx="63608">0</cx:pt>
          <cx:pt idx="63609">0</cx:pt>
          <cx:pt idx="63610">1</cx:pt>
          <cx:pt idx="63611">0</cx:pt>
          <cx:pt idx="63612">0</cx:pt>
          <cx:pt idx="63613">0</cx:pt>
          <cx:pt idx="63614">0</cx:pt>
          <cx:pt idx="63615">1</cx:pt>
          <cx:pt idx="63616">0</cx:pt>
          <cx:pt idx="63617">0</cx:pt>
          <cx:pt idx="63618">1</cx:pt>
          <cx:pt idx="63619">0</cx:pt>
          <cx:pt idx="63620">0</cx:pt>
          <cx:pt idx="63621">1</cx:pt>
          <cx:pt idx="63622">0</cx:pt>
          <cx:pt idx="63623">0</cx:pt>
          <cx:pt idx="63624">1</cx:pt>
          <cx:pt idx="63625">0</cx:pt>
          <cx:pt idx="63626">1</cx:pt>
          <cx:pt idx="63627">0</cx:pt>
          <cx:pt idx="63628">0</cx:pt>
          <cx:pt idx="63629">1</cx:pt>
          <cx:pt idx="63630">0</cx:pt>
          <cx:pt idx="63631">1</cx:pt>
          <cx:pt idx="63632">0</cx:pt>
          <cx:pt idx="63633">0</cx:pt>
          <cx:pt idx="63634">1</cx:pt>
          <cx:pt idx="63635">0</cx:pt>
          <cx:pt idx="63636">0</cx:pt>
          <cx:pt idx="63637">1</cx:pt>
          <cx:pt idx="63638">1</cx:pt>
          <cx:pt idx="63639">0</cx:pt>
          <cx:pt idx="63640">0</cx:pt>
          <cx:pt idx="63641">0</cx:pt>
          <cx:pt idx="63642">0</cx:pt>
          <cx:pt idx="63643">0</cx:pt>
          <cx:pt idx="63644">0</cx:pt>
          <cx:pt idx="63645">0</cx:pt>
          <cx:pt idx="63646">1</cx:pt>
          <cx:pt idx="63647">0</cx:pt>
          <cx:pt idx="63648">0</cx:pt>
          <cx:pt idx="63649">0</cx:pt>
          <cx:pt idx="63650">0</cx:pt>
          <cx:pt idx="63651">1</cx:pt>
          <cx:pt idx="63652">1</cx:pt>
          <cx:pt idx="63653">1</cx:pt>
          <cx:pt idx="63654">0</cx:pt>
          <cx:pt idx="63655">0</cx:pt>
          <cx:pt idx="63656">0</cx:pt>
          <cx:pt idx="63657">1</cx:pt>
          <cx:pt idx="63658">0</cx:pt>
          <cx:pt idx="63659">0</cx:pt>
          <cx:pt idx="63660">1</cx:pt>
          <cx:pt idx="63661">1</cx:pt>
          <cx:pt idx="63662">0</cx:pt>
          <cx:pt idx="63663">1</cx:pt>
          <cx:pt idx="63664">1</cx:pt>
          <cx:pt idx="63665">0</cx:pt>
          <cx:pt idx="63666">1</cx:pt>
          <cx:pt idx="63667">0</cx:pt>
          <cx:pt idx="63668">0</cx:pt>
          <cx:pt idx="63669">1</cx:pt>
          <cx:pt idx="63670">1</cx:pt>
          <cx:pt idx="63671">1</cx:pt>
          <cx:pt idx="63672">1</cx:pt>
          <cx:pt idx="63673">0</cx:pt>
          <cx:pt idx="63674">0</cx:pt>
          <cx:pt idx="63675">0</cx:pt>
          <cx:pt idx="63676">1</cx:pt>
          <cx:pt idx="63677">0</cx:pt>
          <cx:pt idx="63678">0</cx:pt>
          <cx:pt idx="63679">1</cx:pt>
          <cx:pt idx="63680">0</cx:pt>
          <cx:pt idx="63681">0</cx:pt>
          <cx:pt idx="63682">1</cx:pt>
          <cx:pt idx="63683">1</cx:pt>
          <cx:pt idx="63684">0</cx:pt>
          <cx:pt idx="63685">1</cx:pt>
          <cx:pt idx="63686">1</cx:pt>
          <cx:pt idx="63687">1</cx:pt>
          <cx:pt idx="63688">1</cx:pt>
          <cx:pt idx="63689">1</cx:pt>
          <cx:pt idx="63690">0</cx:pt>
          <cx:pt idx="63691">0</cx:pt>
          <cx:pt idx="63692">0</cx:pt>
          <cx:pt idx="63693">0</cx:pt>
          <cx:pt idx="63694">1</cx:pt>
          <cx:pt idx="63695">0</cx:pt>
          <cx:pt idx="63696">0</cx:pt>
          <cx:pt idx="63697">0</cx:pt>
          <cx:pt idx="63698">1</cx:pt>
          <cx:pt idx="63699">0</cx:pt>
          <cx:pt idx="63700">1</cx:pt>
          <cx:pt idx="63701">1</cx:pt>
          <cx:pt idx="63702">1</cx:pt>
          <cx:pt idx="63703">0</cx:pt>
          <cx:pt idx="63704">0</cx:pt>
          <cx:pt idx="63705">1</cx:pt>
          <cx:pt idx="63706">0</cx:pt>
          <cx:pt idx="63707">0</cx:pt>
          <cx:pt idx="63708">1</cx:pt>
          <cx:pt idx="63709">0</cx:pt>
          <cx:pt idx="63710">1</cx:pt>
          <cx:pt idx="63711">1</cx:pt>
          <cx:pt idx="63712">1</cx:pt>
          <cx:pt idx="63713">1</cx:pt>
          <cx:pt idx="63714">0</cx:pt>
          <cx:pt idx="63715">1</cx:pt>
          <cx:pt idx="63716">1</cx:pt>
          <cx:pt idx="63717">0</cx:pt>
          <cx:pt idx="63718">0</cx:pt>
          <cx:pt idx="63719">0</cx:pt>
          <cx:pt idx="63720">0</cx:pt>
          <cx:pt idx="63721">0</cx:pt>
          <cx:pt idx="63722">1</cx:pt>
          <cx:pt idx="63723">0</cx:pt>
          <cx:pt idx="63724">1</cx:pt>
          <cx:pt idx="63725">0</cx:pt>
          <cx:pt idx="63726">0</cx:pt>
          <cx:pt idx="63727">1</cx:pt>
          <cx:pt idx="63728">1</cx:pt>
          <cx:pt idx="63729">1</cx:pt>
          <cx:pt idx="63730">0</cx:pt>
          <cx:pt idx="63731">1</cx:pt>
          <cx:pt idx="63732">0</cx:pt>
          <cx:pt idx="63733">1</cx:pt>
          <cx:pt idx="63734">0</cx:pt>
          <cx:pt idx="63735">0</cx:pt>
          <cx:pt idx="63736">0</cx:pt>
          <cx:pt idx="63737">0</cx:pt>
          <cx:pt idx="63738">0</cx:pt>
          <cx:pt idx="63739">1</cx:pt>
          <cx:pt idx="63740">0</cx:pt>
          <cx:pt idx="63741">1</cx:pt>
          <cx:pt idx="63742">1</cx:pt>
          <cx:pt idx="63743">1</cx:pt>
          <cx:pt idx="63744">0</cx:pt>
          <cx:pt idx="63745">1</cx:pt>
          <cx:pt idx="63746">1</cx:pt>
          <cx:pt idx="63747">0</cx:pt>
          <cx:pt idx="63748">1</cx:pt>
          <cx:pt idx="63749">1</cx:pt>
          <cx:pt idx="63750">0</cx:pt>
          <cx:pt idx="63751">0</cx:pt>
          <cx:pt idx="63752">1</cx:pt>
          <cx:pt idx="63753">0</cx:pt>
          <cx:pt idx="63754">0</cx:pt>
          <cx:pt idx="63755">0</cx:pt>
          <cx:pt idx="63756">1</cx:pt>
          <cx:pt idx="63757">1</cx:pt>
          <cx:pt idx="63758">0</cx:pt>
          <cx:pt idx="63759">0</cx:pt>
          <cx:pt idx="63760">1</cx:pt>
          <cx:pt idx="63761">0</cx:pt>
          <cx:pt idx="63762">1</cx:pt>
          <cx:pt idx="63763">0</cx:pt>
          <cx:pt idx="63764">1</cx:pt>
          <cx:pt idx="63765">0</cx:pt>
          <cx:pt idx="63766">1</cx:pt>
          <cx:pt idx="63767">1</cx:pt>
          <cx:pt idx="63768">0</cx:pt>
          <cx:pt idx="63769">0</cx:pt>
          <cx:pt idx="63770">0</cx:pt>
          <cx:pt idx="63771">1</cx:pt>
          <cx:pt idx="63772">0</cx:pt>
          <cx:pt idx="63773">0</cx:pt>
          <cx:pt idx="63774">1</cx:pt>
          <cx:pt idx="63775">0</cx:pt>
          <cx:pt idx="63776">0</cx:pt>
          <cx:pt idx="63777">0</cx:pt>
          <cx:pt idx="63778">0</cx:pt>
          <cx:pt idx="63779">0</cx:pt>
          <cx:pt idx="63780">0</cx:pt>
          <cx:pt idx="63781">0</cx:pt>
          <cx:pt idx="63782">1</cx:pt>
          <cx:pt idx="63783">0</cx:pt>
          <cx:pt idx="63784">0</cx:pt>
          <cx:pt idx="63785">0</cx:pt>
          <cx:pt idx="63786">0</cx:pt>
          <cx:pt idx="63787">0</cx:pt>
          <cx:pt idx="63788">1</cx:pt>
          <cx:pt idx="63789">1</cx:pt>
          <cx:pt idx="63790">0</cx:pt>
          <cx:pt idx="63791">0</cx:pt>
          <cx:pt idx="63792">0</cx:pt>
          <cx:pt idx="63793">0</cx:pt>
          <cx:pt idx="63794">1</cx:pt>
          <cx:pt idx="63795">1</cx:pt>
          <cx:pt idx="63796">0</cx:pt>
          <cx:pt idx="63797">1</cx:pt>
          <cx:pt idx="63798">1</cx:pt>
          <cx:pt idx="63799">1</cx:pt>
          <cx:pt idx="63800">0</cx:pt>
          <cx:pt idx="63801">0</cx:pt>
          <cx:pt idx="63802">1</cx:pt>
          <cx:pt idx="63803">0</cx:pt>
          <cx:pt idx="63804">1</cx:pt>
          <cx:pt idx="63805">1</cx:pt>
          <cx:pt idx="63806">1</cx:pt>
          <cx:pt idx="63807">1</cx:pt>
          <cx:pt idx="63808">1</cx:pt>
          <cx:pt idx="63809">0</cx:pt>
          <cx:pt idx="63810">1</cx:pt>
          <cx:pt idx="63811">0</cx:pt>
          <cx:pt idx="63812">0</cx:pt>
          <cx:pt idx="63813">0</cx:pt>
          <cx:pt idx="63814">0</cx:pt>
          <cx:pt idx="63815">1</cx:pt>
          <cx:pt idx="63816">0</cx:pt>
          <cx:pt idx="63817">0</cx:pt>
          <cx:pt idx="63818">1</cx:pt>
          <cx:pt idx="63819">0</cx:pt>
          <cx:pt idx="63820">0</cx:pt>
          <cx:pt idx="63821">1</cx:pt>
          <cx:pt idx="63822">1</cx:pt>
          <cx:pt idx="63823">0</cx:pt>
          <cx:pt idx="63824">0</cx:pt>
          <cx:pt idx="63825">0</cx:pt>
          <cx:pt idx="63826">1</cx:pt>
          <cx:pt idx="63827">0</cx:pt>
          <cx:pt idx="63828">1</cx:pt>
          <cx:pt idx="63829">1</cx:pt>
          <cx:pt idx="63830">1</cx:pt>
          <cx:pt idx="63831">1</cx:pt>
          <cx:pt idx="63832">0</cx:pt>
          <cx:pt idx="63833">1</cx:pt>
          <cx:pt idx="63834">0</cx:pt>
          <cx:pt idx="63835">1</cx:pt>
          <cx:pt idx="63836">1</cx:pt>
          <cx:pt idx="63837">0</cx:pt>
          <cx:pt idx="63838">1</cx:pt>
          <cx:pt idx="63839">0</cx:pt>
          <cx:pt idx="63840">0</cx:pt>
          <cx:pt idx="63841">0</cx:pt>
          <cx:pt idx="63842">1</cx:pt>
          <cx:pt idx="63843">1</cx:pt>
          <cx:pt idx="63844">0</cx:pt>
          <cx:pt idx="63845">0</cx:pt>
          <cx:pt idx="63846">1</cx:pt>
          <cx:pt idx="63847">0</cx:pt>
          <cx:pt idx="63848">1</cx:pt>
          <cx:pt idx="63849">0</cx:pt>
          <cx:pt idx="63850">1</cx:pt>
          <cx:pt idx="63851">1</cx:pt>
          <cx:pt idx="63852">0</cx:pt>
          <cx:pt idx="63853">0</cx:pt>
          <cx:pt idx="63854">0</cx:pt>
          <cx:pt idx="63855">1</cx:pt>
          <cx:pt idx="63856">0</cx:pt>
          <cx:pt idx="63857">1</cx:pt>
          <cx:pt idx="63858">1</cx:pt>
          <cx:pt idx="63859">0</cx:pt>
          <cx:pt idx="63860">0</cx:pt>
          <cx:pt idx="63861">1</cx:pt>
          <cx:pt idx="63862">0</cx:pt>
          <cx:pt idx="63863">1</cx:pt>
          <cx:pt idx="63864">0</cx:pt>
          <cx:pt idx="63865">1</cx:pt>
          <cx:pt idx="63866">0</cx:pt>
          <cx:pt idx="63867">0</cx:pt>
          <cx:pt idx="63868">1</cx:pt>
          <cx:pt idx="63869">0</cx:pt>
          <cx:pt idx="63870">0</cx:pt>
          <cx:pt idx="63871">0</cx:pt>
          <cx:pt idx="63872">0</cx:pt>
          <cx:pt idx="63873">0</cx:pt>
          <cx:pt idx="63874">1</cx:pt>
          <cx:pt idx="63875">1</cx:pt>
          <cx:pt idx="63876">1</cx:pt>
          <cx:pt idx="63877">0</cx:pt>
          <cx:pt idx="63878">0</cx:pt>
          <cx:pt idx="63879">0</cx:pt>
          <cx:pt idx="63880">1</cx:pt>
          <cx:pt idx="63881">1</cx:pt>
          <cx:pt idx="63882">0</cx:pt>
          <cx:pt idx="63883">1</cx:pt>
          <cx:pt idx="63884">1</cx:pt>
          <cx:pt idx="63885">1</cx:pt>
          <cx:pt idx="63886">1</cx:pt>
          <cx:pt idx="63887">0</cx:pt>
          <cx:pt idx="63888">1</cx:pt>
          <cx:pt idx="63889">1</cx:pt>
          <cx:pt idx="63890">0</cx:pt>
          <cx:pt idx="63891">1</cx:pt>
          <cx:pt idx="63892">0</cx:pt>
          <cx:pt idx="63893">0</cx:pt>
          <cx:pt idx="63894">1</cx:pt>
          <cx:pt idx="63895">0</cx:pt>
          <cx:pt idx="63896">0</cx:pt>
          <cx:pt idx="63897">1</cx:pt>
          <cx:pt idx="63898">0</cx:pt>
          <cx:pt idx="63899">0</cx:pt>
          <cx:pt idx="63900">1</cx:pt>
          <cx:pt idx="63901">0</cx:pt>
          <cx:pt idx="63902">0</cx:pt>
          <cx:pt idx="63903">0</cx:pt>
          <cx:pt idx="63904">0</cx:pt>
          <cx:pt idx="63905">0</cx:pt>
          <cx:pt idx="63906">1</cx:pt>
          <cx:pt idx="63907">0</cx:pt>
          <cx:pt idx="63908">1</cx:pt>
          <cx:pt idx="63909">1</cx:pt>
          <cx:pt idx="63910">0</cx:pt>
          <cx:pt idx="63911">1</cx:pt>
          <cx:pt idx="63912">1</cx:pt>
          <cx:pt idx="63913">0</cx:pt>
          <cx:pt idx="63914">0</cx:pt>
          <cx:pt idx="63915">1</cx:pt>
          <cx:pt idx="63916">1</cx:pt>
          <cx:pt idx="63917">1</cx:pt>
          <cx:pt idx="63918">0</cx:pt>
          <cx:pt idx="63919">0</cx:pt>
          <cx:pt idx="63920">1</cx:pt>
          <cx:pt idx="63921">1</cx:pt>
          <cx:pt idx="63922">1</cx:pt>
          <cx:pt idx="63923">0</cx:pt>
          <cx:pt idx="63924">0</cx:pt>
          <cx:pt idx="63925">0</cx:pt>
          <cx:pt idx="63926">1</cx:pt>
          <cx:pt idx="63927">1</cx:pt>
          <cx:pt idx="63928">1</cx:pt>
          <cx:pt idx="63929">0</cx:pt>
          <cx:pt idx="63930">1</cx:pt>
          <cx:pt idx="63931">0</cx:pt>
          <cx:pt idx="63932">0</cx:pt>
          <cx:pt idx="63933">0</cx:pt>
          <cx:pt idx="63934">0</cx:pt>
          <cx:pt idx="63935">1</cx:pt>
          <cx:pt idx="63936">1</cx:pt>
          <cx:pt idx="63937">1</cx:pt>
          <cx:pt idx="63938">1</cx:pt>
          <cx:pt idx="63939">0</cx:pt>
          <cx:pt idx="63940">1</cx:pt>
          <cx:pt idx="63941">0</cx:pt>
          <cx:pt idx="63942">0</cx:pt>
          <cx:pt idx="63943">1</cx:pt>
          <cx:pt idx="63944">1</cx:pt>
          <cx:pt idx="63945">1</cx:pt>
          <cx:pt idx="63946">0</cx:pt>
          <cx:pt idx="63947">0</cx:pt>
          <cx:pt idx="63948">1</cx:pt>
          <cx:pt idx="63949">0</cx:pt>
          <cx:pt idx="63950">0</cx:pt>
          <cx:pt idx="63951">1</cx:pt>
          <cx:pt idx="63952">0</cx:pt>
          <cx:pt idx="63953">0</cx:pt>
          <cx:pt idx="63954">1</cx:pt>
          <cx:pt idx="63955">1</cx:pt>
          <cx:pt idx="63956">1</cx:pt>
          <cx:pt idx="63957">0</cx:pt>
          <cx:pt idx="63958">0</cx:pt>
          <cx:pt idx="63959">0</cx:pt>
          <cx:pt idx="63960">1</cx:pt>
          <cx:pt idx="63961">1</cx:pt>
          <cx:pt idx="63962">0</cx:pt>
          <cx:pt idx="63963">0</cx:pt>
          <cx:pt idx="63964">0</cx:pt>
          <cx:pt idx="63965">1</cx:pt>
          <cx:pt idx="63966">1</cx:pt>
          <cx:pt idx="63967">0</cx:pt>
          <cx:pt idx="63968">1</cx:pt>
          <cx:pt idx="63969">1</cx:pt>
          <cx:pt idx="63970">1</cx:pt>
          <cx:pt idx="63971">0</cx:pt>
          <cx:pt idx="63972">0</cx:pt>
          <cx:pt idx="63973">0</cx:pt>
          <cx:pt idx="63974">0</cx:pt>
          <cx:pt idx="63975">1</cx:pt>
          <cx:pt idx="63976">1</cx:pt>
          <cx:pt idx="63977">0</cx:pt>
          <cx:pt idx="63978">0</cx:pt>
          <cx:pt idx="63979">0</cx:pt>
          <cx:pt idx="63980">1</cx:pt>
          <cx:pt idx="63981">1</cx:pt>
          <cx:pt idx="63982">0</cx:pt>
          <cx:pt idx="63983">1</cx:pt>
          <cx:pt idx="63984">0</cx:pt>
          <cx:pt idx="63985">0</cx:pt>
          <cx:pt idx="63986">0</cx:pt>
          <cx:pt idx="63987">1</cx:pt>
          <cx:pt idx="63988">1</cx:pt>
          <cx:pt idx="63989">0</cx:pt>
          <cx:pt idx="63990">1</cx:pt>
          <cx:pt idx="63991">0</cx:pt>
          <cx:pt idx="63992">1</cx:pt>
          <cx:pt idx="63993">0</cx:pt>
          <cx:pt idx="63994">1</cx:pt>
          <cx:pt idx="63995">1</cx:pt>
          <cx:pt idx="63996">0</cx:pt>
          <cx:pt idx="63997">1</cx:pt>
          <cx:pt idx="63998">0</cx:pt>
          <cx:pt idx="63999">0</cx:pt>
          <cx:pt idx="64000">1</cx:pt>
          <cx:pt idx="64001">1</cx:pt>
          <cx:pt idx="64002">0</cx:pt>
          <cx:pt idx="64003">0</cx:pt>
          <cx:pt idx="64004">0</cx:pt>
          <cx:pt idx="64005">0</cx:pt>
          <cx:pt idx="64006">0</cx:pt>
          <cx:pt idx="64007">1</cx:pt>
          <cx:pt idx="64008">0</cx:pt>
          <cx:pt idx="64009">0</cx:pt>
          <cx:pt idx="64010">0</cx:pt>
          <cx:pt idx="64011">0</cx:pt>
          <cx:pt idx="64012">1</cx:pt>
          <cx:pt idx="64013">1</cx:pt>
          <cx:pt idx="64014">0</cx:pt>
          <cx:pt idx="64015">0</cx:pt>
          <cx:pt idx="64016">0</cx:pt>
          <cx:pt idx="64017">0</cx:pt>
          <cx:pt idx="64018">1</cx:pt>
          <cx:pt idx="64019">0</cx:pt>
          <cx:pt idx="64020">0</cx:pt>
          <cx:pt idx="64021">0</cx:pt>
          <cx:pt idx="64022">1</cx:pt>
          <cx:pt idx="64023">1</cx:pt>
          <cx:pt idx="64024">0</cx:pt>
          <cx:pt idx="64025">1</cx:pt>
          <cx:pt idx="64026">1</cx:pt>
          <cx:pt idx="64027">1</cx:pt>
          <cx:pt idx="64028">1</cx:pt>
          <cx:pt idx="64029">0</cx:pt>
          <cx:pt idx="64030">0</cx:pt>
          <cx:pt idx="64031">1</cx:pt>
          <cx:pt idx="64032">0</cx:pt>
          <cx:pt idx="64033">0</cx:pt>
          <cx:pt idx="64034">1</cx:pt>
          <cx:pt idx="64035">0</cx:pt>
          <cx:pt idx="64036">1</cx:pt>
          <cx:pt idx="64037">0</cx:pt>
          <cx:pt idx="64038">1</cx:pt>
          <cx:pt idx="64039">0</cx:pt>
          <cx:pt idx="64040">0</cx:pt>
          <cx:pt idx="64041">0</cx:pt>
          <cx:pt idx="64042">0</cx:pt>
          <cx:pt idx="64043">1</cx:pt>
          <cx:pt idx="64044">1</cx:pt>
          <cx:pt idx="64045">0</cx:pt>
          <cx:pt idx="64046">0</cx:pt>
          <cx:pt idx="64047">1</cx:pt>
          <cx:pt idx="64048">0</cx:pt>
          <cx:pt idx="64049">0</cx:pt>
          <cx:pt idx="64050">1</cx:pt>
          <cx:pt idx="64051">1</cx:pt>
          <cx:pt idx="64052">1</cx:pt>
          <cx:pt idx="64053">1</cx:pt>
          <cx:pt idx="64054">0</cx:pt>
          <cx:pt idx="64055">1</cx:pt>
          <cx:pt idx="64056">0</cx:pt>
          <cx:pt idx="64057">0</cx:pt>
          <cx:pt idx="64058">1</cx:pt>
          <cx:pt idx="64059">1</cx:pt>
          <cx:pt idx="64060">1</cx:pt>
          <cx:pt idx="64061">0</cx:pt>
          <cx:pt idx="64062">0</cx:pt>
          <cx:pt idx="64063">1</cx:pt>
          <cx:pt idx="64064">0</cx:pt>
          <cx:pt idx="64065">1</cx:pt>
          <cx:pt idx="64066">1</cx:pt>
          <cx:pt idx="64067">0</cx:pt>
          <cx:pt idx="64068">1</cx:pt>
          <cx:pt idx="64069">0</cx:pt>
          <cx:pt idx="64070">1</cx:pt>
          <cx:pt idx="64071">0</cx:pt>
          <cx:pt idx="64072">1</cx:pt>
          <cx:pt idx="64073">1</cx:pt>
          <cx:pt idx="64074">1</cx:pt>
          <cx:pt idx="64075">1</cx:pt>
          <cx:pt idx="64076">1</cx:pt>
          <cx:pt idx="64077">1</cx:pt>
          <cx:pt idx="64078">1</cx:pt>
          <cx:pt idx="64079">0</cx:pt>
          <cx:pt idx="64080">1</cx:pt>
          <cx:pt idx="64081">1</cx:pt>
          <cx:pt idx="64082">1</cx:pt>
          <cx:pt idx="64083">1</cx:pt>
          <cx:pt idx="64084">1</cx:pt>
          <cx:pt idx="64085">1</cx:pt>
          <cx:pt idx="64086">1</cx:pt>
          <cx:pt idx="64087">1</cx:pt>
          <cx:pt idx="64088">0</cx:pt>
          <cx:pt idx="64089">1</cx:pt>
          <cx:pt idx="64090">1</cx:pt>
          <cx:pt idx="64091">0</cx:pt>
          <cx:pt idx="64092">0</cx:pt>
          <cx:pt idx="64093">0</cx:pt>
          <cx:pt idx="64094">0</cx:pt>
          <cx:pt idx="64095">0</cx:pt>
          <cx:pt idx="64096">0</cx:pt>
          <cx:pt idx="64097">0</cx:pt>
          <cx:pt idx="64098">1</cx:pt>
          <cx:pt idx="64099">1</cx:pt>
          <cx:pt idx="64100">0</cx:pt>
          <cx:pt idx="64101">1</cx:pt>
          <cx:pt idx="64102">0</cx:pt>
          <cx:pt idx="64103">0</cx:pt>
          <cx:pt idx="64104">0</cx:pt>
          <cx:pt idx="64105">1</cx:pt>
          <cx:pt idx="64106">0</cx:pt>
          <cx:pt idx="64107">0</cx:pt>
          <cx:pt idx="64108">1</cx:pt>
          <cx:pt idx="64109">0</cx:pt>
          <cx:pt idx="64110">0</cx:pt>
          <cx:pt idx="64111">0</cx:pt>
          <cx:pt idx="64112">0</cx:pt>
          <cx:pt idx="64113">0</cx:pt>
          <cx:pt idx="64114">0</cx:pt>
          <cx:pt idx="64115">0</cx:pt>
          <cx:pt idx="64116">0</cx:pt>
          <cx:pt idx="64117">0</cx:pt>
          <cx:pt idx="64118">1</cx:pt>
          <cx:pt idx="64119">0</cx:pt>
          <cx:pt idx="64120">0</cx:pt>
          <cx:pt idx="64121">0</cx:pt>
          <cx:pt idx="64122">1</cx:pt>
          <cx:pt idx="64123">1</cx:pt>
          <cx:pt idx="64124">0</cx:pt>
          <cx:pt idx="64125">0</cx:pt>
          <cx:pt idx="64126">1</cx:pt>
          <cx:pt idx="64127">1</cx:pt>
          <cx:pt idx="64128">1</cx:pt>
          <cx:pt idx="64129">0</cx:pt>
          <cx:pt idx="64130">1</cx:pt>
          <cx:pt idx="64131">1</cx:pt>
          <cx:pt idx="64132">0</cx:pt>
          <cx:pt idx="64133">0</cx:pt>
          <cx:pt idx="64134">1</cx:pt>
          <cx:pt idx="64135">1</cx:pt>
          <cx:pt idx="64136">0</cx:pt>
          <cx:pt idx="64137">1</cx:pt>
          <cx:pt idx="64138">0</cx:pt>
          <cx:pt idx="64139">1</cx:pt>
          <cx:pt idx="64140">0</cx:pt>
          <cx:pt idx="64141">0</cx:pt>
          <cx:pt idx="64142">0</cx:pt>
          <cx:pt idx="64143">0</cx:pt>
          <cx:pt idx="64144">1</cx:pt>
          <cx:pt idx="64145">0</cx:pt>
          <cx:pt idx="64146">0</cx:pt>
          <cx:pt idx="64147">0</cx:pt>
          <cx:pt idx="64148">0</cx:pt>
          <cx:pt idx="64149">0</cx:pt>
          <cx:pt idx="64150">0</cx:pt>
          <cx:pt idx="64151">0</cx:pt>
          <cx:pt idx="64152">0</cx:pt>
          <cx:pt idx="64153">1</cx:pt>
          <cx:pt idx="64154">0</cx:pt>
          <cx:pt idx="64155">0</cx:pt>
          <cx:pt idx="64156">1</cx:pt>
          <cx:pt idx="64157">0</cx:pt>
          <cx:pt idx="64158">0</cx:pt>
          <cx:pt idx="64159">0</cx:pt>
          <cx:pt idx="64160">0</cx:pt>
          <cx:pt idx="64161">0</cx:pt>
          <cx:pt idx="64162">1</cx:pt>
          <cx:pt idx="64163">0</cx:pt>
          <cx:pt idx="64164">0</cx:pt>
          <cx:pt idx="64165">0</cx:pt>
          <cx:pt idx="64166">1</cx:pt>
          <cx:pt idx="64167">0</cx:pt>
          <cx:pt idx="64168">0</cx:pt>
          <cx:pt idx="64169">1</cx:pt>
          <cx:pt idx="64170">0</cx:pt>
          <cx:pt idx="64171">0</cx:pt>
          <cx:pt idx="64172">0</cx:pt>
          <cx:pt idx="64173">0</cx:pt>
          <cx:pt idx="64174">1</cx:pt>
          <cx:pt idx="64175">0</cx:pt>
          <cx:pt idx="64176">0</cx:pt>
          <cx:pt idx="64177">0</cx:pt>
          <cx:pt idx="64178">1</cx:pt>
          <cx:pt idx="64179">0</cx:pt>
          <cx:pt idx="64180">1</cx:pt>
          <cx:pt idx="64181">0</cx:pt>
          <cx:pt idx="64182">0</cx:pt>
          <cx:pt idx="64183">1</cx:pt>
          <cx:pt idx="64184">1</cx:pt>
          <cx:pt idx="64185">0</cx:pt>
          <cx:pt idx="64186">0</cx:pt>
          <cx:pt idx="64187">0</cx:pt>
          <cx:pt idx="64188">1</cx:pt>
          <cx:pt idx="64189">0</cx:pt>
          <cx:pt idx="64190">0</cx:pt>
          <cx:pt idx="64191">0</cx:pt>
          <cx:pt idx="64192">1</cx:pt>
          <cx:pt idx="64193">1</cx:pt>
          <cx:pt idx="64194">1</cx:pt>
          <cx:pt idx="64195">1</cx:pt>
          <cx:pt idx="64196">0</cx:pt>
          <cx:pt idx="64197">1</cx:pt>
          <cx:pt idx="64198">1</cx:pt>
          <cx:pt idx="64199">0</cx:pt>
          <cx:pt idx="64200">0</cx:pt>
          <cx:pt idx="64201">1</cx:pt>
          <cx:pt idx="64202">1</cx:pt>
          <cx:pt idx="64203">1</cx:pt>
          <cx:pt idx="64204">1</cx:pt>
          <cx:pt idx="64205">0</cx:pt>
          <cx:pt idx="64206">1</cx:pt>
          <cx:pt idx="64207">1</cx:pt>
          <cx:pt idx="64208">1</cx:pt>
          <cx:pt idx="64209">0</cx:pt>
          <cx:pt idx="64210">1</cx:pt>
          <cx:pt idx="64211">1</cx:pt>
          <cx:pt idx="64212">0</cx:pt>
          <cx:pt idx="64213">1</cx:pt>
          <cx:pt idx="64214">0</cx:pt>
          <cx:pt idx="64215">1</cx:pt>
          <cx:pt idx="64216">1</cx:pt>
          <cx:pt idx="64217">0</cx:pt>
          <cx:pt idx="64218">1</cx:pt>
          <cx:pt idx="64219">0</cx:pt>
          <cx:pt idx="64220">1</cx:pt>
          <cx:pt idx="64221">1</cx:pt>
          <cx:pt idx="64222">1</cx:pt>
          <cx:pt idx="64223">0</cx:pt>
          <cx:pt idx="64224">1</cx:pt>
          <cx:pt idx="64225">0</cx:pt>
          <cx:pt idx="64226">0</cx:pt>
          <cx:pt idx="64227">0</cx:pt>
          <cx:pt idx="64228">0</cx:pt>
          <cx:pt idx="64229">0</cx:pt>
          <cx:pt idx="64230">1</cx:pt>
          <cx:pt idx="64231">0</cx:pt>
          <cx:pt idx="64232">1</cx:pt>
          <cx:pt idx="64233">0</cx:pt>
          <cx:pt idx="64234">0</cx:pt>
          <cx:pt idx="64235">1</cx:pt>
          <cx:pt idx="64236">0</cx:pt>
          <cx:pt idx="64237">0</cx:pt>
          <cx:pt idx="64238">0</cx:pt>
          <cx:pt idx="64239">1</cx:pt>
          <cx:pt idx="64240">1</cx:pt>
          <cx:pt idx="64241">1</cx:pt>
          <cx:pt idx="64242">1</cx:pt>
          <cx:pt idx="64243">1</cx:pt>
          <cx:pt idx="64244">1</cx:pt>
          <cx:pt idx="64245">1</cx:pt>
          <cx:pt idx="64246">1</cx:pt>
          <cx:pt idx="64247">0</cx:pt>
          <cx:pt idx="64248">1</cx:pt>
          <cx:pt idx="64249">0</cx:pt>
          <cx:pt idx="64250">1</cx:pt>
          <cx:pt idx="64251">0</cx:pt>
          <cx:pt idx="64252">0</cx:pt>
          <cx:pt idx="64253">0</cx:pt>
          <cx:pt idx="64254">1</cx:pt>
          <cx:pt idx="64255">1</cx:pt>
          <cx:pt idx="64256">1</cx:pt>
          <cx:pt idx="64257">0</cx:pt>
          <cx:pt idx="64258">1</cx:pt>
          <cx:pt idx="64259">1</cx:pt>
          <cx:pt idx="64260">1</cx:pt>
          <cx:pt idx="64261">0</cx:pt>
          <cx:pt idx="64262">0</cx:pt>
          <cx:pt idx="64263">0</cx:pt>
          <cx:pt idx="64264">1</cx:pt>
          <cx:pt idx="64265">1</cx:pt>
          <cx:pt idx="64266">0</cx:pt>
          <cx:pt idx="64267">1</cx:pt>
          <cx:pt idx="64268">1</cx:pt>
          <cx:pt idx="64269">0</cx:pt>
          <cx:pt idx="64270">0</cx:pt>
          <cx:pt idx="64271">1</cx:pt>
          <cx:pt idx="64272">1</cx:pt>
          <cx:pt idx="64273">0</cx:pt>
          <cx:pt idx="64274">0</cx:pt>
          <cx:pt idx="64275">0</cx:pt>
          <cx:pt idx="64276">0</cx:pt>
          <cx:pt idx="64277">0</cx:pt>
          <cx:pt idx="64278">0</cx:pt>
          <cx:pt idx="64279">0</cx:pt>
          <cx:pt idx="64280">0</cx:pt>
          <cx:pt idx="64281">1</cx:pt>
          <cx:pt idx="64282">1</cx:pt>
          <cx:pt idx="64283">0</cx:pt>
          <cx:pt idx="64284">1</cx:pt>
          <cx:pt idx="64285">1</cx:pt>
          <cx:pt idx="64286">0</cx:pt>
          <cx:pt idx="64287">0</cx:pt>
          <cx:pt idx="64288">1</cx:pt>
          <cx:pt idx="64289">1</cx:pt>
          <cx:pt idx="64290">0</cx:pt>
          <cx:pt idx="64291">0</cx:pt>
          <cx:pt idx="64292">1</cx:pt>
          <cx:pt idx="64293">0</cx:pt>
          <cx:pt idx="64294">0</cx:pt>
          <cx:pt idx="64295">1</cx:pt>
          <cx:pt idx="64296">1</cx:pt>
          <cx:pt idx="64297">0</cx:pt>
          <cx:pt idx="64298">0</cx:pt>
          <cx:pt idx="64299">1</cx:pt>
          <cx:pt idx="64300">1</cx:pt>
          <cx:pt idx="64301">1</cx:pt>
          <cx:pt idx="64302">0</cx:pt>
          <cx:pt idx="64303">0</cx:pt>
          <cx:pt idx="64304">0</cx:pt>
          <cx:pt idx="64305">0</cx:pt>
          <cx:pt idx="64306">0</cx:pt>
          <cx:pt idx="64307">0</cx:pt>
          <cx:pt idx="64308">1</cx:pt>
          <cx:pt idx="64309">0</cx:pt>
          <cx:pt idx="64310">1</cx:pt>
          <cx:pt idx="64311">0</cx:pt>
          <cx:pt idx="64312">0</cx:pt>
          <cx:pt idx="64313">1</cx:pt>
          <cx:pt idx="64314">0</cx:pt>
          <cx:pt idx="64315">1</cx:pt>
          <cx:pt idx="64316">0</cx:pt>
          <cx:pt idx="64317">0</cx:pt>
          <cx:pt idx="64318">0</cx:pt>
          <cx:pt idx="64319">1</cx:pt>
          <cx:pt idx="64320">1</cx:pt>
          <cx:pt idx="64321">0</cx:pt>
          <cx:pt idx="64322">0</cx:pt>
          <cx:pt idx="64323">1</cx:pt>
          <cx:pt idx="64324">1</cx:pt>
          <cx:pt idx="64325">0</cx:pt>
          <cx:pt idx="64326">0</cx:pt>
          <cx:pt idx="64327">1</cx:pt>
          <cx:pt idx="64328">0</cx:pt>
          <cx:pt idx="64329">1</cx:pt>
          <cx:pt idx="64330">1</cx:pt>
          <cx:pt idx="64331">0</cx:pt>
          <cx:pt idx="64332">1</cx:pt>
          <cx:pt idx="64333">0</cx:pt>
          <cx:pt idx="64334">1</cx:pt>
          <cx:pt idx="64335">1</cx:pt>
          <cx:pt idx="64336">0</cx:pt>
          <cx:pt idx="64337">1</cx:pt>
          <cx:pt idx="64338">1</cx:pt>
          <cx:pt idx="64339">0</cx:pt>
          <cx:pt idx="64340">1</cx:pt>
          <cx:pt idx="64341">0</cx:pt>
          <cx:pt idx="64342">1</cx:pt>
          <cx:pt idx="64343">1</cx:pt>
          <cx:pt idx="64344">1</cx:pt>
          <cx:pt idx="64345">1</cx:pt>
          <cx:pt idx="64346">1</cx:pt>
          <cx:pt idx="64347">1</cx:pt>
          <cx:pt idx="64348">0</cx:pt>
          <cx:pt idx="64349">0</cx:pt>
          <cx:pt idx="64350">0</cx:pt>
          <cx:pt idx="64351">1</cx:pt>
          <cx:pt idx="64352">0</cx:pt>
          <cx:pt idx="64353">0</cx:pt>
          <cx:pt idx="64354">0</cx:pt>
          <cx:pt idx="64355">1</cx:pt>
          <cx:pt idx="64356">1</cx:pt>
          <cx:pt idx="64357">1</cx:pt>
          <cx:pt idx="64358">0</cx:pt>
          <cx:pt idx="64359">1</cx:pt>
          <cx:pt idx="64360">0</cx:pt>
          <cx:pt idx="64361">1</cx:pt>
          <cx:pt idx="64362">0</cx:pt>
          <cx:pt idx="64363">0</cx:pt>
          <cx:pt idx="64364">0</cx:pt>
          <cx:pt idx="64365">1</cx:pt>
          <cx:pt idx="64366">1</cx:pt>
          <cx:pt idx="64367">0</cx:pt>
          <cx:pt idx="64368">1</cx:pt>
          <cx:pt idx="64369">1</cx:pt>
          <cx:pt idx="64370">0</cx:pt>
          <cx:pt idx="64371">1</cx:pt>
          <cx:pt idx="64372">1</cx:pt>
          <cx:pt idx="64373">1</cx:pt>
          <cx:pt idx="64374">0</cx:pt>
          <cx:pt idx="64375">1</cx:pt>
          <cx:pt idx="64376">0</cx:pt>
          <cx:pt idx="64377">1</cx:pt>
          <cx:pt idx="64378">1</cx:pt>
          <cx:pt idx="64379">0</cx:pt>
          <cx:pt idx="64380">0</cx:pt>
          <cx:pt idx="64381">0</cx:pt>
          <cx:pt idx="64382">0</cx:pt>
          <cx:pt idx="64383">0</cx:pt>
          <cx:pt idx="64384">0</cx:pt>
          <cx:pt idx="64385">1</cx:pt>
          <cx:pt idx="64386">0</cx:pt>
          <cx:pt idx="64387">1</cx:pt>
          <cx:pt idx="64388">1</cx:pt>
          <cx:pt idx="64389">0</cx:pt>
          <cx:pt idx="64390">1</cx:pt>
          <cx:pt idx="64391">1</cx:pt>
          <cx:pt idx="64392">0</cx:pt>
          <cx:pt idx="64393">1</cx:pt>
          <cx:pt idx="64394">0</cx:pt>
          <cx:pt idx="64395">0</cx:pt>
          <cx:pt idx="64396">0</cx:pt>
          <cx:pt idx="64397">0</cx:pt>
          <cx:pt idx="64398">0</cx:pt>
          <cx:pt idx="64399">1</cx:pt>
          <cx:pt idx="64400">0</cx:pt>
          <cx:pt idx="64401">0</cx:pt>
          <cx:pt idx="64402">0</cx:pt>
          <cx:pt idx="64403">0</cx:pt>
          <cx:pt idx="64404">0</cx:pt>
          <cx:pt idx="64405">0</cx:pt>
          <cx:pt idx="64406">0</cx:pt>
          <cx:pt idx="64407">1</cx:pt>
          <cx:pt idx="64408">0</cx:pt>
          <cx:pt idx="64409">1</cx:pt>
          <cx:pt idx="64410">0</cx:pt>
          <cx:pt idx="64411">1</cx:pt>
          <cx:pt idx="64412">1</cx:pt>
          <cx:pt idx="64413">1</cx:pt>
          <cx:pt idx="64414">0</cx:pt>
          <cx:pt idx="64415">1</cx:pt>
          <cx:pt idx="64416">1</cx:pt>
          <cx:pt idx="64417">0</cx:pt>
          <cx:pt idx="64418">0</cx:pt>
          <cx:pt idx="64419">1</cx:pt>
          <cx:pt idx="64420">1</cx:pt>
          <cx:pt idx="64421">0</cx:pt>
          <cx:pt idx="64422">0</cx:pt>
          <cx:pt idx="64423">1</cx:pt>
          <cx:pt idx="64424">0</cx:pt>
          <cx:pt idx="64425">0</cx:pt>
          <cx:pt idx="64426">0</cx:pt>
          <cx:pt idx="64427">1</cx:pt>
          <cx:pt idx="64428">1</cx:pt>
          <cx:pt idx="64429">1</cx:pt>
          <cx:pt idx="64430">0</cx:pt>
          <cx:pt idx="64431">1</cx:pt>
          <cx:pt idx="64432">0</cx:pt>
          <cx:pt idx="64433">0</cx:pt>
          <cx:pt idx="64434">1</cx:pt>
          <cx:pt idx="64435">0</cx:pt>
          <cx:pt idx="64436">0</cx:pt>
          <cx:pt idx="64437">1</cx:pt>
          <cx:pt idx="64438">1</cx:pt>
          <cx:pt idx="64439">0</cx:pt>
          <cx:pt idx="64440">0</cx:pt>
          <cx:pt idx="64441">0</cx:pt>
          <cx:pt idx="64442">0</cx:pt>
          <cx:pt idx="64443">1</cx:pt>
          <cx:pt idx="64444">1</cx:pt>
          <cx:pt idx="64445">0</cx:pt>
          <cx:pt idx="64446">0</cx:pt>
          <cx:pt idx="64447">0</cx:pt>
          <cx:pt idx="64448">1</cx:pt>
          <cx:pt idx="64449">0</cx:pt>
          <cx:pt idx="64450">1</cx:pt>
          <cx:pt idx="64451">1</cx:pt>
          <cx:pt idx="64452">1</cx:pt>
          <cx:pt idx="64453">1</cx:pt>
          <cx:pt idx="64454">0</cx:pt>
          <cx:pt idx="64455">0</cx:pt>
          <cx:pt idx="64456">0</cx:pt>
          <cx:pt idx="64457">1</cx:pt>
          <cx:pt idx="64458">1</cx:pt>
          <cx:pt idx="64459">1</cx:pt>
          <cx:pt idx="64460">1</cx:pt>
          <cx:pt idx="64461">0</cx:pt>
          <cx:pt idx="64462">1</cx:pt>
          <cx:pt idx="64463">1</cx:pt>
          <cx:pt idx="64464">0</cx:pt>
          <cx:pt idx="64465">0</cx:pt>
          <cx:pt idx="64466">0</cx:pt>
          <cx:pt idx="64467">0</cx:pt>
          <cx:pt idx="64468">1</cx:pt>
          <cx:pt idx="64469">1</cx:pt>
          <cx:pt idx="64470">0</cx:pt>
          <cx:pt idx="64471">1</cx:pt>
          <cx:pt idx="64472">1</cx:pt>
          <cx:pt idx="64473">1</cx:pt>
          <cx:pt idx="64474">0</cx:pt>
          <cx:pt idx="64475">1</cx:pt>
          <cx:pt idx="64476">0</cx:pt>
          <cx:pt idx="64477">0</cx:pt>
          <cx:pt idx="64478">0</cx:pt>
          <cx:pt idx="64479">1</cx:pt>
          <cx:pt idx="64480">1</cx:pt>
          <cx:pt idx="64481">0</cx:pt>
          <cx:pt idx="64482">0</cx:pt>
          <cx:pt idx="64483">1</cx:pt>
          <cx:pt idx="64484">1</cx:pt>
          <cx:pt idx="64485">1</cx:pt>
          <cx:pt idx="64486">1</cx:pt>
          <cx:pt idx="64487">1</cx:pt>
          <cx:pt idx="64488">1</cx:pt>
          <cx:pt idx="64489">0</cx:pt>
          <cx:pt idx="64490">0</cx:pt>
          <cx:pt idx="64491">1</cx:pt>
          <cx:pt idx="64492">1</cx:pt>
          <cx:pt idx="64493">0</cx:pt>
          <cx:pt idx="64494">1</cx:pt>
          <cx:pt idx="64495">0</cx:pt>
          <cx:pt idx="64496">0</cx:pt>
          <cx:pt idx="64497">1</cx:pt>
          <cx:pt idx="64498">0</cx:pt>
          <cx:pt idx="64499">1</cx:pt>
          <cx:pt idx="64500">1</cx:pt>
          <cx:pt idx="64501">0</cx:pt>
          <cx:pt idx="64502">0</cx:pt>
          <cx:pt idx="64503">0</cx:pt>
          <cx:pt idx="64504">1</cx:pt>
          <cx:pt idx="64505">0</cx:pt>
          <cx:pt idx="64506">0</cx:pt>
          <cx:pt idx="64507">1</cx:pt>
          <cx:pt idx="64508">0</cx:pt>
          <cx:pt idx="64509">1</cx:pt>
          <cx:pt idx="64510">0</cx:pt>
          <cx:pt idx="64511">0</cx:pt>
          <cx:pt idx="64512">1</cx:pt>
          <cx:pt idx="64513">1</cx:pt>
          <cx:pt idx="64514">0</cx:pt>
          <cx:pt idx="64515">1</cx:pt>
          <cx:pt idx="64516">0</cx:pt>
          <cx:pt idx="64517">1</cx:pt>
          <cx:pt idx="64518">0</cx:pt>
          <cx:pt idx="64519">1</cx:pt>
          <cx:pt idx="64520">1</cx:pt>
          <cx:pt idx="64521">0</cx:pt>
          <cx:pt idx="64522">0</cx:pt>
          <cx:pt idx="64523">1</cx:pt>
          <cx:pt idx="64524">0</cx:pt>
          <cx:pt idx="64525">1</cx:pt>
          <cx:pt idx="64526">1</cx:pt>
          <cx:pt idx="64527">0</cx:pt>
          <cx:pt idx="64528">1</cx:pt>
          <cx:pt idx="64529">1</cx:pt>
          <cx:pt idx="64530">1</cx:pt>
          <cx:pt idx="64531">0</cx:pt>
          <cx:pt idx="64532">0</cx:pt>
          <cx:pt idx="64533">0</cx:pt>
          <cx:pt idx="64534">1</cx:pt>
          <cx:pt idx="64535">0</cx:pt>
          <cx:pt idx="64536">0</cx:pt>
          <cx:pt idx="64537">0</cx:pt>
          <cx:pt idx="64538">1</cx:pt>
          <cx:pt idx="64539">1</cx:pt>
          <cx:pt idx="64540">1</cx:pt>
          <cx:pt idx="64541">1</cx:pt>
          <cx:pt idx="64542">0</cx:pt>
          <cx:pt idx="64543">0</cx:pt>
          <cx:pt idx="64544">1</cx:pt>
          <cx:pt idx="64545">1</cx:pt>
          <cx:pt idx="64546">0</cx:pt>
          <cx:pt idx="64547">0</cx:pt>
          <cx:pt idx="64548">1</cx:pt>
          <cx:pt idx="64549">1</cx:pt>
          <cx:pt idx="64550">1</cx:pt>
          <cx:pt idx="64551">0</cx:pt>
          <cx:pt idx="64552">0</cx:pt>
          <cx:pt idx="64553">1</cx:pt>
          <cx:pt idx="64554">1</cx:pt>
          <cx:pt idx="64555">0</cx:pt>
          <cx:pt idx="64556">0</cx:pt>
          <cx:pt idx="64557">0</cx:pt>
          <cx:pt idx="64558">0</cx:pt>
          <cx:pt idx="64559">0</cx:pt>
          <cx:pt idx="64560">0</cx:pt>
          <cx:pt idx="64561">1</cx:pt>
          <cx:pt idx="64562">0</cx:pt>
          <cx:pt idx="64563">1</cx:pt>
          <cx:pt idx="64564">1</cx:pt>
          <cx:pt idx="64565">1</cx:pt>
          <cx:pt idx="64566">0</cx:pt>
          <cx:pt idx="64567">1</cx:pt>
          <cx:pt idx="64568">0</cx:pt>
          <cx:pt idx="64569">0</cx:pt>
          <cx:pt idx="64570">1</cx:pt>
          <cx:pt idx="64571">1</cx:pt>
          <cx:pt idx="64572">0</cx:pt>
          <cx:pt idx="64573">0</cx:pt>
          <cx:pt idx="64574">1</cx:pt>
          <cx:pt idx="64575">1</cx:pt>
          <cx:pt idx="64576">0</cx:pt>
          <cx:pt idx="64577">0</cx:pt>
          <cx:pt idx="64578">0</cx:pt>
          <cx:pt idx="64579">0</cx:pt>
          <cx:pt idx="64580">0</cx:pt>
          <cx:pt idx="64581">0</cx:pt>
          <cx:pt idx="64582">0</cx:pt>
          <cx:pt idx="64583">1</cx:pt>
          <cx:pt idx="64584">0</cx:pt>
          <cx:pt idx="64585">0</cx:pt>
          <cx:pt idx="64586">0</cx:pt>
          <cx:pt idx="64587">0</cx:pt>
          <cx:pt idx="64588">0</cx:pt>
          <cx:pt idx="64589">0</cx:pt>
          <cx:pt idx="64590">0</cx:pt>
          <cx:pt idx="64591">1</cx:pt>
          <cx:pt idx="64592">0</cx:pt>
          <cx:pt idx="64593">0</cx:pt>
          <cx:pt idx="64594">1</cx:pt>
          <cx:pt idx="64595">1</cx:pt>
          <cx:pt idx="64596">1</cx:pt>
          <cx:pt idx="64597">1</cx:pt>
          <cx:pt idx="64598">1</cx:pt>
          <cx:pt idx="64599">0</cx:pt>
          <cx:pt idx="64600">1</cx:pt>
          <cx:pt idx="64601">0</cx:pt>
          <cx:pt idx="64602">0</cx:pt>
          <cx:pt idx="64603">1</cx:pt>
          <cx:pt idx="64604">0</cx:pt>
          <cx:pt idx="64605">0</cx:pt>
          <cx:pt idx="64606">1</cx:pt>
          <cx:pt idx="64607">1</cx:pt>
          <cx:pt idx="64608">0</cx:pt>
          <cx:pt idx="64609">0</cx:pt>
          <cx:pt idx="64610">1</cx:pt>
          <cx:pt idx="64611">0</cx:pt>
          <cx:pt idx="64612">0</cx:pt>
          <cx:pt idx="64613">1</cx:pt>
          <cx:pt idx="64614">1</cx:pt>
          <cx:pt idx="64615">0</cx:pt>
          <cx:pt idx="64616">0</cx:pt>
          <cx:pt idx="64617">1</cx:pt>
          <cx:pt idx="64618">0</cx:pt>
          <cx:pt idx="64619">0</cx:pt>
          <cx:pt idx="64620">0</cx:pt>
          <cx:pt idx="64621">0</cx:pt>
          <cx:pt idx="64622">0</cx:pt>
          <cx:pt idx="64623">1</cx:pt>
          <cx:pt idx="64624">1</cx:pt>
          <cx:pt idx="64625">0</cx:pt>
          <cx:pt idx="64626">1</cx:pt>
          <cx:pt idx="64627">0</cx:pt>
          <cx:pt idx="64628">1</cx:pt>
          <cx:pt idx="64629">1</cx:pt>
          <cx:pt idx="64630">1</cx:pt>
          <cx:pt idx="64631">1</cx:pt>
          <cx:pt idx="64632">0</cx:pt>
          <cx:pt idx="64633">0</cx:pt>
          <cx:pt idx="64634">0</cx:pt>
          <cx:pt idx="64635">1</cx:pt>
          <cx:pt idx="64636">0</cx:pt>
          <cx:pt idx="64637">1</cx:pt>
          <cx:pt idx="64638">1</cx:pt>
          <cx:pt idx="64639">1</cx:pt>
          <cx:pt idx="64640">1</cx:pt>
          <cx:pt idx="64641">0</cx:pt>
          <cx:pt idx="64642">1</cx:pt>
          <cx:pt idx="64643">0</cx:pt>
          <cx:pt idx="64644">1</cx:pt>
          <cx:pt idx="64645">0</cx:pt>
          <cx:pt idx="64646">0</cx:pt>
          <cx:pt idx="64647">0</cx:pt>
          <cx:pt idx="64648">0</cx:pt>
          <cx:pt idx="64649">1</cx:pt>
          <cx:pt idx="64650">0</cx:pt>
          <cx:pt idx="64651">0</cx:pt>
          <cx:pt idx="64652">1</cx:pt>
          <cx:pt idx="64653">1</cx:pt>
          <cx:pt idx="64654">0</cx:pt>
          <cx:pt idx="64655">0</cx:pt>
          <cx:pt idx="64656">1</cx:pt>
          <cx:pt idx="64657">0</cx:pt>
          <cx:pt idx="64658">1</cx:pt>
          <cx:pt idx="64659">1</cx:pt>
          <cx:pt idx="64660">1</cx:pt>
          <cx:pt idx="64661">0</cx:pt>
          <cx:pt idx="64662">1</cx:pt>
          <cx:pt idx="64663">1</cx:pt>
          <cx:pt idx="64664">0</cx:pt>
          <cx:pt idx="64665">1</cx:pt>
          <cx:pt idx="64666">0</cx:pt>
          <cx:pt idx="64667">1</cx:pt>
          <cx:pt idx="64668">1</cx:pt>
          <cx:pt idx="64669">0</cx:pt>
          <cx:pt idx="64670">0</cx:pt>
          <cx:pt idx="64671">1</cx:pt>
          <cx:pt idx="64672">0</cx:pt>
          <cx:pt idx="64673">1</cx:pt>
          <cx:pt idx="64674">0</cx:pt>
          <cx:pt idx="64675">1</cx:pt>
          <cx:pt idx="64676">0</cx:pt>
          <cx:pt idx="64677">0</cx:pt>
          <cx:pt idx="64678">0</cx:pt>
          <cx:pt idx="64679">0</cx:pt>
          <cx:pt idx="64680">0</cx:pt>
          <cx:pt idx="64681">1</cx:pt>
          <cx:pt idx="64682">0</cx:pt>
          <cx:pt idx="64683">1</cx:pt>
          <cx:pt idx="64684">1</cx:pt>
          <cx:pt idx="64685">1</cx:pt>
          <cx:pt idx="64686">0</cx:pt>
          <cx:pt idx="64687">1</cx:pt>
          <cx:pt idx="64688">0</cx:pt>
          <cx:pt idx="64689">0</cx:pt>
          <cx:pt idx="64690">1</cx:pt>
          <cx:pt idx="64691">0</cx:pt>
          <cx:pt idx="64692">1</cx:pt>
          <cx:pt idx="64693">1</cx:pt>
          <cx:pt idx="64694">1</cx:pt>
          <cx:pt idx="64695">1</cx:pt>
          <cx:pt idx="64696">1</cx:pt>
          <cx:pt idx="64697">0</cx:pt>
          <cx:pt idx="64698">1</cx:pt>
          <cx:pt idx="64699">1</cx:pt>
          <cx:pt idx="64700">0</cx:pt>
          <cx:pt idx="64701">0</cx:pt>
          <cx:pt idx="64702">0</cx:pt>
          <cx:pt idx="64703">1</cx:pt>
          <cx:pt idx="64704">1</cx:pt>
          <cx:pt idx="64705">0</cx:pt>
          <cx:pt idx="64706">1</cx:pt>
          <cx:pt idx="64707">0</cx:pt>
          <cx:pt idx="64708">0</cx:pt>
          <cx:pt idx="64709">1</cx:pt>
          <cx:pt idx="64710">1</cx:pt>
          <cx:pt idx="64711">1</cx:pt>
          <cx:pt idx="64712">1</cx:pt>
          <cx:pt idx="64713">0</cx:pt>
          <cx:pt idx="64714">1</cx:pt>
          <cx:pt idx="64715">0</cx:pt>
          <cx:pt idx="64716">1</cx:pt>
          <cx:pt idx="64717">0</cx:pt>
          <cx:pt idx="64718">0</cx:pt>
          <cx:pt idx="64719">1</cx:pt>
          <cx:pt idx="64720">0</cx:pt>
          <cx:pt idx="64721">1</cx:pt>
          <cx:pt idx="64722">1</cx:pt>
          <cx:pt idx="64723">1</cx:pt>
          <cx:pt idx="64724">1</cx:pt>
          <cx:pt idx="64725">0</cx:pt>
          <cx:pt idx="64726">0</cx:pt>
          <cx:pt idx="64727">1</cx:pt>
          <cx:pt idx="64728">1</cx:pt>
          <cx:pt idx="64729">1</cx:pt>
          <cx:pt idx="64730">0</cx:pt>
          <cx:pt idx="64731">1</cx:pt>
          <cx:pt idx="64732">0</cx:pt>
          <cx:pt idx="64733">0</cx:pt>
          <cx:pt idx="64734">0</cx:pt>
          <cx:pt idx="64735">1</cx:pt>
          <cx:pt idx="64736">0</cx:pt>
          <cx:pt idx="64737">1</cx:pt>
          <cx:pt idx="64738">1</cx:pt>
          <cx:pt idx="64739">1</cx:pt>
          <cx:pt idx="64740">1</cx:pt>
          <cx:pt idx="64741">1</cx:pt>
          <cx:pt idx="64742">1</cx:pt>
          <cx:pt idx="64743">0</cx:pt>
          <cx:pt idx="64744">1</cx:pt>
          <cx:pt idx="64745">0</cx:pt>
          <cx:pt idx="64746">1</cx:pt>
          <cx:pt idx="64747">1</cx:pt>
          <cx:pt idx="64748">1</cx:pt>
          <cx:pt idx="64749">0</cx:pt>
          <cx:pt idx="64750">1</cx:pt>
          <cx:pt idx="64751">1</cx:pt>
          <cx:pt idx="64752">0</cx:pt>
          <cx:pt idx="64753">1</cx:pt>
          <cx:pt idx="64754">1</cx:pt>
          <cx:pt idx="64755">0</cx:pt>
          <cx:pt idx="64756">0</cx:pt>
          <cx:pt idx="64757">1</cx:pt>
          <cx:pt idx="64758">0</cx:pt>
          <cx:pt idx="64759">1</cx:pt>
          <cx:pt idx="64760">0</cx:pt>
          <cx:pt idx="64761">1</cx:pt>
          <cx:pt idx="64762">1</cx:pt>
          <cx:pt idx="64763">0</cx:pt>
          <cx:pt idx="64764">1</cx:pt>
          <cx:pt idx="64765">0</cx:pt>
          <cx:pt idx="64766">0</cx:pt>
          <cx:pt idx="64767">1</cx:pt>
          <cx:pt idx="64768">1</cx:pt>
          <cx:pt idx="64769">0</cx:pt>
          <cx:pt idx="64770">0</cx:pt>
          <cx:pt idx="64771">0</cx:pt>
          <cx:pt idx="64772">0</cx:pt>
          <cx:pt idx="64773">1</cx:pt>
          <cx:pt idx="64774">1</cx:pt>
          <cx:pt idx="64775">0</cx:pt>
          <cx:pt idx="64776">1</cx:pt>
          <cx:pt idx="64777">1</cx:pt>
          <cx:pt idx="64778">0</cx:pt>
          <cx:pt idx="64779">1</cx:pt>
          <cx:pt idx="64780">0</cx:pt>
          <cx:pt idx="64781">1</cx:pt>
          <cx:pt idx="64782">0</cx:pt>
          <cx:pt idx="64783">1</cx:pt>
          <cx:pt idx="64784">0</cx:pt>
          <cx:pt idx="64785">0</cx:pt>
          <cx:pt idx="64786">0</cx:pt>
          <cx:pt idx="64787">0</cx:pt>
          <cx:pt idx="64788">0</cx:pt>
          <cx:pt idx="64789">1</cx:pt>
          <cx:pt idx="64790">0</cx:pt>
          <cx:pt idx="64791">1</cx:pt>
          <cx:pt idx="64792">0</cx:pt>
          <cx:pt idx="64793">0</cx:pt>
          <cx:pt idx="64794">1</cx:pt>
          <cx:pt idx="64795">1</cx:pt>
          <cx:pt idx="64796">1</cx:pt>
          <cx:pt idx="64797">1</cx:pt>
          <cx:pt idx="64798">1</cx:pt>
          <cx:pt idx="64799">1</cx:pt>
          <cx:pt idx="64800">0</cx:pt>
          <cx:pt idx="64801">0</cx:pt>
          <cx:pt idx="64802">0</cx:pt>
          <cx:pt idx="64803">1</cx:pt>
          <cx:pt idx="64804">1</cx:pt>
          <cx:pt idx="64805">1</cx:pt>
          <cx:pt idx="64806">0</cx:pt>
          <cx:pt idx="64807">0</cx:pt>
          <cx:pt idx="64808">0</cx:pt>
          <cx:pt idx="64809">0</cx:pt>
          <cx:pt idx="64810">0</cx:pt>
          <cx:pt idx="64811">1</cx:pt>
          <cx:pt idx="64812">0</cx:pt>
          <cx:pt idx="64813">0</cx:pt>
          <cx:pt idx="64814">1</cx:pt>
          <cx:pt idx="64815">0</cx:pt>
          <cx:pt idx="64816">0</cx:pt>
          <cx:pt idx="64817">0</cx:pt>
          <cx:pt idx="64818">0</cx:pt>
          <cx:pt idx="64819">0</cx:pt>
          <cx:pt idx="64820">0</cx:pt>
          <cx:pt idx="64821">1</cx:pt>
          <cx:pt idx="64822">1</cx:pt>
          <cx:pt idx="64823">0</cx:pt>
          <cx:pt idx="64824">1</cx:pt>
          <cx:pt idx="64825">0</cx:pt>
          <cx:pt idx="64826">0</cx:pt>
          <cx:pt idx="64827">0</cx:pt>
          <cx:pt idx="64828">1</cx:pt>
          <cx:pt idx="64829">0</cx:pt>
          <cx:pt idx="64830">1</cx:pt>
          <cx:pt idx="64831">0</cx:pt>
          <cx:pt idx="64832">0</cx:pt>
          <cx:pt idx="64833">0</cx:pt>
          <cx:pt idx="64834">0</cx:pt>
          <cx:pt idx="64835">1</cx:pt>
          <cx:pt idx="64836">1</cx:pt>
          <cx:pt idx="64837">0</cx:pt>
          <cx:pt idx="64838">0</cx:pt>
          <cx:pt idx="64839">0</cx:pt>
          <cx:pt idx="64840">1</cx:pt>
          <cx:pt idx="64841">1</cx:pt>
          <cx:pt idx="64842">1</cx:pt>
          <cx:pt idx="64843">0</cx:pt>
          <cx:pt idx="64844">0</cx:pt>
          <cx:pt idx="64845">1</cx:pt>
          <cx:pt idx="64846">0</cx:pt>
          <cx:pt idx="64847">1</cx:pt>
          <cx:pt idx="64848">0</cx:pt>
          <cx:pt idx="64849">0</cx:pt>
          <cx:pt idx="64850">0</cx:pt>
          <cx:pt idx="64851">0</cx:pt>
          <cx:pt idx="64852">0</cx:pt>
          <cx:pt idx="64853">1</cx:pt>
          <cx:pt idx="64854">0</cx:pt>
          <cx:pt idx="64855">1</cx:pt>
          <cx:pt idx="64856">1</cx:pt>
          <cx:pt idx="64857">0</cx:pt>
          <cx:pt idx="64858">1</cx:pt>
          <cx:pt idx="64859">0</cx:pt>
          <cx:pt idx="64860">1</cx:pt>
          <cx:pt idx="64861">1</cx:pt>
          <cx:pt idx="64862">1</cx:pt>
          <cx:pt idx="64863">1</cx:pt>
          <cx:pt idx="64864">1</cx:pt>
          <cx:pt idx="64865">1</cx:pt>
          <cx:pt idx="64866">0</cx:pt>
          <cx:pt idx="64867">0</cx:pt>
          <cx:pt idx="64868">1</cx:pt>
          <cx:pt idx="64869">1</cx:pt>
          <cx:pt idx="64870">1</cx:pt>
          <cx:pt idx="64871">0</cx:pt>
          <cx:pt idx="64872">1</cx:pt>
          <cx:pt idx="64873">0</cx:pt>
          <cx:pt idx="64874">0</cx:pt>
          <cx:pt idx="64875">1</cx:pt>
          <cx:pt idx="64876">0</cx:pt>
          <cx:pt idx="64877">0</cx:pt>
          <cx:pt idx="64878">0</cx:pt>
          <cx:pt idx="64879">1</cx:pt>
          <cx:pt idx="64880">1</cx:pt>
          <cx:pt idx="64881">0</cx:pt>
          <cx:pt idx="64882">0</cx:pt>
          <cx:pt idx="64883">0</cx:pt>
          <cx:pt idx="64884">0</cx:pt>
          <cx:pt idx="64885">1</cx:pt>
          <cx:pt idx="64886">0</cx:pt>
          <cx:pt idx="64887">0</cx:pt>
          <cx:pt idx="64888">0</cx:pt>
          <cx:pt idx="64889">1</cx:pt>
          <cx:pt idx="64890">0</cx:pt>
          <cx:pt idx="64891">0</cx:pt>
          <cx:pt idx="64892">0</cx:pt>
          <cx:pt idx="64893">1</cx:pt>
          <cx:pt idx="64894">0</cx:pt>
          <cx:pt idx="64895">0</cx:pt>
          <cx:pt idx="64896">0</cx:pt>
          <cx:pt idx="64897">1</cx:pt>
          <cx:pt idx="64898">1</cx:pt>
          <cx:pt idx="64899">1</cx:pt>
          <cx:pt idx="64900">1</cx:pt>
          <cx:pt idx="64901">1</cx:pt>
          <cx:pt idx="64902">1</cx:pt>
          <cx:pt idx="64903">0</cx:pt>
          <cx:pt idx="64904">0</cx:pt>
          <cx:pt idx="64905">1</cx:pt>
          <cx:pt idx="64906">1</cx:pt>
          <cx:pt idx="64907">1</cx:pt>
          <cx:pt idx="64908">1</cx:pt>
          <cx:pt idx="64909">1</cx:pt>
          <cx:pt idx="64910">1</cx:pt>
          <cx:pt idx="64911">0</cx:pt>
          <cx:pt idx="64912">1</cx:pt>
          <cx:pt idx="64913">0</cx:pt>
          <cx:pt idx="64914">0</cx:pt>
          <cx:pt idx="64915">0</cx:pt>
          <cx:pt idx="64916">1</cx:pt>
          <cx:pt idx="64917">1</cx:pt>
          <cx:pt idx="64918">0</cx:pt>
          <cx:pt idx="64919">0</cx:pt>
          <cx:pt idx="64920">0</cx:pt>
          <cx:pt idx="64921">0</cx:pt>
          <cx:pt idx="64922">1</cx:pt>
          <cx:pt idx="64923">0</cx:pt>
          <cx:pt idx="64924">0</cx:pt>
          <cx:pt idx="64925">0</cx:pt>
          <cx:pt idx="64926">1</cx:pt>
          <cx:pt idx="64927">1</cx:pt>
          <cx:pt idx="64928">0</cx:pt>
          <cx:pt idx="64929">1</cx:pt>
          <cx:pt idx="64930">0</cx:pt>
          <cx:pt idx="64931">1</cx:pt>
          <cx:pt idx="64932">1</cx:pt>
          <cx:pt idx="64933">1</cx:pt>
          <cx:pt idx="64934">1</cx:pt>
          <cx:pt idx="64935">1</cx:pt>
          <cx:pt idx="64936">0</cx:pt>
          <cx:pt idx="64937">0</cx:pt>
          <cx:pt idx="64938">0</cx:pt>
          <cx:pt idx="64939">0</cx:pt>
          <cx:pt idx="64940">1</cx:pt>
          <cx:pt idx="64941">1</cx:pt>
          <cx:pt idx="64942">0</cx:pt>
          <cx:pt idx="64943">1</cx:pt>
          <cx:pt idx="64944">0</cx:pt>
          <cx:pt idx="64945">1</cx:pt>
          <cx:pt idx="64946">1</cx:pt>
          <cx:pt idx="64947">0</cx:pt>
          <cx:pt idx="64948">0</cx:pt>
          <cx:pt idx="64949">0</cx:pt>
          <cx:pt idx="64950">1</cx:pt>
          <cx:pt idx="64951">0</cx:pt>
          <cx:pt idx="64952">0</cx:pt>
          <cx:pt idx="64953">1</cx:pt>
          <cx:pt idx="64954">1</cx:pt>
          <cx:pt idx="64955">0</cx:pt>
          <cx:pt idx="64956">1</cx:pt>
          <cx:pt idx="64957">1</cx:pt>
          <cx:pt idx="64958">1</cx:pt>
          <cx:pt idx="64959">0</cx:pt>
          <cx:pt idx="64960">0</cx:pt>
          <cx:pt idx="64961">0</cx:pt>
          <cx:pt idx="64962">0</cx:pt>
          <cx:pt idx="64963">0</cx:pt>
          <cx:pt idx="64964">1</cx:pt>
          <cx:pt idx="64965">0</cx:pt>
          <cx:pt idx="64966">1</cx:pt>
          <cx:pt idx="64967">0</cx:pt>
          <cx:pt idx="64968">1</cx:pt>
          <cx:pt idx="64969">0</cx:pt>
          <cx:pt idx="64970">0</cx:pt>
          <cx:pt idx="64971">0</cx:pt>
          <cx:pt idx="64972">1</cx:pt>
          <cx:pt idx="64973">0</cx:pt>
          <cx:pt idx="64974">1</cx:pt>
          <cx:pt idx="64975">1</cx:pt>
          <cx:pt idx="64976">1</cx:pt>
          <cx:pt idx="64977">1</cx:pt>
          <cx:pt idx="64978">0</cx:pt>
          <cx:pt idx="64979">0</cx:pt>
          <cx:pt idx="64980">0</cx:pt>
          <cx:pt idx="64981">1</cx:pt>
          <cx:pt idx="64982">1</cx:pt>
          <cx:pt idx="64983">0</cx:pt>
          <cx:pt idx="64984">1</cx:pt>
          <cx:pt idx="64985">0</cx:pt>
          <cx:pt idx="64986">0</cx:pt>
          <cx:pt idx="64987">0</cx:pt>
          <cx:pt idx="64988">0</cx:pt>
          <cx:pt idx="64989">0</cx:pt>
          <cx:pt idx="64990">0</cx:pt>
          <cx:pt idx="64991">1</cx:pt>
          <cx:pt idx="64992">0</cx:pt>
          <cx:pt idx="64993">0</cx:pt>
          <cx:pt idx="64994">1</cx:pt>
          <cx:pt idx="64995">0</cx:pt>
          <cx:pt idx="64996">0</cx:pt>
          <cx:pt idx="64997">0</cx:pt>
          <cx:pt idx="64998">0</cx:pt>
          <cx:pt idx="64999">0</cx:pt>
          <cx:pt idx="65000">0</cx:pt>
          <cx:pt idx="65001">0</cx:pt>
          <cx:pt idx="65002">0</cx:pt>
          <cx:pt idx="65003">0</cx:pt>
          <cx:pt idx="65004">0</cx:pt>
          <cx:pt idx="65005">0</cx:pt>
          <cx:pt idx="65006">0</cx:pt>
          <cx:pt idx="65007">1</cx:pt>
          <cx:pt idx="65008">1</cx:pt>
          <cx:pt idx="65009">1</cx:pt>
          <cx:pt idx="65010">0</cx:pt>
          <cx:pt idx="65011">1</cx:pt>
          <cx:pt idx="65012">0</cx:pt>
          <cx:pt idx="65013">0</cx:pt>
          <cx:pt idx="65014">1</cx:pt>
          <cx:pt idx="65015">1</cx:pt>
          <cx:pt idx="65016">0</cx:pt>
          <cx:pt idx="65017">0</cx:pt>
          <cx:pt idx="65018">0</cx:pt>
          <cx:pt idx="65019">0</cx:pt>
          <cx:pt idx="65020">0</cx:pt>
          <cx:pt idx="65021">0</cx:pt>
          <cx:pt idx="65022">0</cx:pt>
          <cx:pt idx="65023">0</cx:pt>
          <cx:pt idx="65024">0</cx:pt>
          <cx:pt idx="65025">0</cx:pt>
          <cx:pt idx="65026">0</cx:pt>
          <cx:pt idx="65027">0</cx:pt>
          <cx:pt idx="65028">0</cx:pt>
          <cx:pt idx="65029">1</cx:pt>
          <cx:pt idx="65030">1</cx:pt>
          <cx:pt idx="65031">1</cx:pt>
          <cx:pt idx="65032">0</cx:pt>
          <cx:pt idx="65033">0</cx:pt>
          <cx:pt idx="65034">0</cx:pt>
          <cx:pt idx="65035">0</cx:pt>
          <cx:pt idx="65036">0</cx:pt>
          <cx:pt idx="65037">1</cx:pt>
          <cx:pt idx="65038">0</cx:pt>
          <cx:pt idx="65039">0</cx:pt>
          <cx:pt idx="65040">0</cx:pt>
          <cx:pt idx="65041">1</cx:pt>
          <cx:pt idx="65042">1</cx:pt>
          <cx:pt idx="65043">0</cx:pt>
          <cx:pt idx="65044">1</cx:pt>
          <cx:pt idx="65045">0</cx:pt>
          <cx:pt idx="65046">1</cx:pt>
          <cx:pt idx="65047">1</cx:pt>
          <cx:pt idx="65048">0</cx:pt>
          <cx:pt idx="65049">1</cx:pt>
          <cx:pt idx="65050">1</cx:pt>
          <cx:pt idx="65051">0</cx:pt>
          <cx:pt idx="65052">1</cx:pt>
          <cx:pt idx="65053">0</cx:pt>
          <cx:pt idx="65054">1</cx:pt>
          <cx:pt idx="65055">0</cx:pt>
          <cx:pt idx="65056">1</cx:pt>
          <cx:pt idx="65057">0</cx:pt>
          <cx:pt idx="65058">1</cx:pt>
          <cx:pt idx="65059">0</cx:pt>
          <cx:pt idx="65060">0</cx:pt>
          <cx:pt idx="65061">0</cx:pt>
          <cx:pt idx="65062">1</cx:pt>
          <cx:pt idx="65063">1</cx:pt>
          <cx:pt idx="65064">0</cx:pt>
          <cx:pt idx="65065">0</cx:pt>
          <cx:pt idx="65066">0</cx:pt>
          <cx:pt idx="65067">0</cx:pt>
          <cx:pt idx="65068">1</cx:pt>
          <cx:pt idx="65069">1</cx:pt>
          <cx:pt idx="65070">0</cx:pt>
          <cx:pt idx="65071">1</cx:pt>
          <cx:pt idx="65072">0</cx:pt>
          <cx:pt idx="65073">1</cx:pt>
          <cx:pt idx="65074">1</cx:pt>
          <cx:pt idx="65075">1</cx:pt>
          <cx:pt idx="65076">1</cx:pt>
          <cx:pt idx="65077">0</cx:pt>
          <cx:pt idx="65078">0</cx:pt>
          <cx:pt idx="65079">0</cx:pt>
          <cx:pt idx="65080">1</cx:pt>
          <cx:pt idx="65081">0</cx:pt>
          <cx:pt idx="65082">0</cx:pt>
          <cx:pt idx="65083">0</cx:pt>
          <cx:pt idx="65084">0</cx:pt>
          <cx:pt idx="65085">1</cx:pt>
          <cx:pt idx="65086">0</cx:pt>
          <cx:pt idx="65087">0</cx:pt>
          <cx:pt idx="65088">0</cx:pt>
          <cx:pt idx="65089">1</cx:pt>
          <cx:pt idx="65090">1</cx:pt>
          <cx:pt idx="65091">0</cx:pt>
          <cx:pt idx="65092">0</cx:pt>
          <cx:pt idx="65093">1</cx:pt>
          <cx:pt idx="65094">1</cx:pt>
          <cx:pt idx="65095">1</cx:pt>
          <cx:pt idx="65096">0</cx:pt>
          <cx:pt idx="65097">1</cx:pt>
          <cx:pt idx="65098">0</cx:pt>
          <cx:pt idx="65099">1</cx:pt>
          <cx:pt idx="65100">0</cx:pt>
          <cx:pt idx="65101">0</cx:pt>
          <cx:pt idx="65102">0</cx:pt>
          <cx:pt idx="65103">0</cx:pt>
          <cx:pt idx="65104">0</cx:pt>
          <cx:pt idx="65105">1</cx:pt>
          <cx:pt idx="65106">1</cx:pt>
          <cx:pt idx="65107">1</cx:pt>
          <cx:pt idx="65108">0</cx:pt>
          <cx:pt idx="65109">0</cx:pt>
          <cx:pt idx="65110">0</cx:pt>
          <cx:pt idx="65111">0</cx:pt>
          <cx:pt idx="65112">1</cx:pt>
          <cx:pt idx="65113">1</cx:pt>
          <cx:pt idx="65114">1</cx:pt>
          <cx:pt idx="65115">0</cx:pt>
          <cx:pt idx="65116">1</cx:pt>
          <cx:pt idx="65117">1</cx:pt>
          <cx:pt idx="65118">0</cx:pt>
          <cx:pt idx="65119">1</cx:pt>
          <cx:pt idx="65120">0</cx:pt>
          <cx:pt idx="65121">0</cx:pt>
          <cx:pt idx="65122">0</cx:pt>
          <cx:pt idx="65123">1</cx:pt>
          <cx:pt idx="65124">1</cx:pt>
          <cx:pt idx="65125">0</cx:pt>
          <cx:pt idx="65126">0</cx:pt>
          <cx:pt idx="65127">1</cx:pt>
          <cx:pt idx="65128">0</cx:pt>
          <cx:pt idx="65129">0</cx:pt>
          <cx:pt idx="65130">1</cx:pt>
          <cx:pt idx="65131">1</cx:pt>
          <cx:pt idx="65132">0</cx:pt>
          <cx:pt idx="65133">1</cx:pt>
          <cx:pt idx="65134">0</cx:pt>
          <cx:pt idx="65135">0</cx:pt>
          <cx:pt idx="65136">1</cx:pt>
          <cx:pt idx="65137">1</cx:pt>
          <cx:pt idx="65138">0</cx:pt>
          <cx:pt idx="65139">0</cx:pt>
          <cx:pt idx="65140">0</cx:pt>
          <cx:pt idx="65141">1</cx:pt>
          <cx:pt idx="65142">0</cx:pt>
          <cx:pt idx="65143">0</cx:pt>
          <cx:pt idx="65144">1</cx:pt>
          <cx:pt idx="65145">0</cx:pt>
          <cx:pt idx="65146">1</cx:pt>
          <cx:pt idx="65147">0</cx:pt>
          <cx:pt idx="65148">0</cx:pt>
          <cx:pt idx="65149">0</cx:pt>
          <cx:pt idx="65150">0</cx:pt>
          <cx:pt idx="65151">1</cx:pt>
          <cx:pt idx="65152">0</cx:pt>
          <cx:pt idx="65153">1</cx:pt>
          <cx:pt idx="65154">1</cx:pt>
          <cx:pt idx="65155">1</cx:pt>
          <cx:pt idx="65156">1</cx:pt>
          <cx:pt idx="65157">0</cx:pt>
          <cx:pt idx="65158">0</cx:pt>
          <cx:pt idx="65159">1</cx:pt>
          <cx:pt idx="65160">0</cx:pt>
          <cx:pt idx="65161">1</cx:pt>
          <cx:pt idx="65162">0</cx:pt>
          <cx:pt idx="65163">1</cx:pt>
          <cx:pt idx="65164">1</cx:pt>
          <cx:pt idx="65165">0</cx:pt>
          <cx:pt idx="65166">1</cx:pt>
          <cx:pt idx="65167">0</cx:pt>
          <cx:pt idx="65168">0</cx:pt>
          <cx:pt idx="65169">1</cx:pt>
          <cx:pt idx="65170">1</cx:pt>
          <cx:pt idx="65171">0</cx:pt>
          <cx:pt idx="65172">0</cx:pt>
          <cx:pt idx="65173">0</cx:pt>
          <cx:pt idx="65174">1</cx:pt>
          <cx:pt idx="65175">0</cx:pt>
          <cx:pt idx="65176">0</cx:pt>
          <cx:pt idx="65177">0</cx:pt>
          <cx:pt idx="65178">1</cx:pt>
          <cx:pt idx="65179">0</cx:pt>
          <cx:pt idx="65180">1</cx:pt>
          <cx:pt idx="65181">1</cx:pt>
          <cx:pt idx="65182">1</cx:pt>
          <cx:pt idx="65183">0</cx:pt>
          <cx:pt idx="65184">1</cx:pt>
          <cx:pt idx="65185">0</cx:pt>
          <cx:pt idx="65186">1</cx:pt>
          <cx:pt idx="65187">0</cx:pt>
          <cx:pt idx="65188">1</cx:pt>
          <cx:pt idx="65189">0</cx:pt>
          <cx:pt idx="65190">0</cx:pt>
          <cx:pt idx="65191">0</cx:pt>
          <cx:pt idx="65192">0</cx:pt>
          <cx:pt idx="65193">0</cx:pt>
          <cx:pt idx="65194">1</cx:pt>
          <cx:pt idx="65195">0</cx:pt>
          <cx:pt idx="65196">1</cx:pt>
          <cx:pt idx="65197">1</cx:pt>
          <cx:pt idx="65198">1</cx:pt>
          <cx:pt idx="65199">0</cx:pt>
          <cx:pt idx="65200">0</cx:pt>
          <cx:pt idx="65201">0</cx:pt>
          <cx:pt idx="65202">0</cx:pt>
          <cx:pt idx="65203">1</cx:pt>
          <cx:pt idx="65204">0</cx:pt>
          <cx:pt idx="65205">1</cx:pt>
          <cx:pt idx="65206">1</cx:pt>
          <cx:pt idx="65207">1</cx:pt>
          <cx:pt idx="65208">1</cx:pt>
          <cx:pt idx="65209">0</cx:pt>
          <cx:pt idx="65210">0</cx:pt>
          <cx:pt idx="65211">0</cx:pt>
          <cx:pt idx="65212">1</cx:pt>
          <cx:pt idx="65213">0</cx:pt>
          <cx:pt idx="65214">0</cx:pt>
          <cx:pt idx="65215">0</cx:pt>
          <cx:pt idx="65216">1</cx:pt>
          <cx:pt idx="65217">1</cx:pt>
          <cx:pt idx="65218">0</cx:pt>
          <cx:pt idx="65219">1</cx:pt>
          <cx:pt idx="65220">0</cx:pt>
          <cx:pt idx="65221">1</cx:pt>
          <cx:pt idx="65222">0</cx:pt>
          <cx:pt idx="65223">0</cx:pt>
          <cx:pt idx="65224">1</cx:pt>
          <cx:pt idx="65225">1</cx:pt>
          <cx:pt idx="65226">1</cx:pt>
          <cx:pt idx="65227">1</cx:pt>
          <cx:pt idx="65228">1</cx:pt>
          <cx:pt idx="65229">1</cx:pt>
          <cx:pt idx="65230">0</cx:pt>
          <cx:pt idx="65231">0</cx:pt>
          <cx:pt idx="65232">1</cx:pt>
          <cx:pt idx="65233">1</cx:pt>
          <cx:pt idx="65234">0</cx:pt>
          <cx:pt idx="65235">0</cx:pt>
          <cx:pt idx="65236">1</cx:pt>
          <cx:pt idx="65237">0</cx:pt>
          <cx:pt idx="65238">1</cx:pt>
          <cx:pt idx="65239">0</cx:pt>
          <cx:pt idx="65240">0</cx:pt>
          <cx:pt idx="65241">0</cx:pt>
          <cx:pt idx="65242">1</cx:pt>
          <cx:pt idx="65243">0</cx:pt>
          <cx:pt idx="65244">0</cx:pt>
          <cx:pt idx="65245">0</cx:pt>
          <cx:pt idx="65246">1</cx:pt>
          <cx:pt idx="65247">1</cx:pt>
          <cx:pt idx="65248">0</cx:pt>
          <cx:pt idx="65249">1</cx:pt>
          <cx:pt idx="65250">0</cx:pt>
          <cx:pt idx="65251">1</cx:pt>
          <cx:pt idx="65252">1</cx:pt>
          <cx:pt idx="65253">1</cx:pt>
          <cx:pt idx="65254">0</cx:pt>
          <cx:pt idx="65255">1</cx:pt>
          <cx:pt idx="65256">0</cx:pt>
          <cx:pt idx="65257">0</cx:pt>
          <cx:pt idx="65258">0</cx:pt>
          <cx:pt idx="65259">0</cx:pt>
          <cx:pt idx="65260">0</cx:pt>
          <cx:pt idx="65261">0</cx:pt>
          <cx:pt idx="65262">0</cx:pt>
          <cx:pt idx="65263">0</cx:pt>
          <cx:pt idx="65264">0</cx:pt>
          <cx:pt idx="65265">0</cx:pt>
          <cx:pt idx="65266">1</cx:pt>
          <cx:pt idx="65267">1</cx:pt>
          <cx:pt idx="65268">0</cx:pt>
          <cx:pt idx="65269">0</cx:pt>
          <cx:pt idx="65270">0</cx:pt>
          <cx:pt idx="65271">0</cx:pt>
          <cx:pt idx="65272">0</cx:pt>
          <cx:pt idx="65273">1</cx:pt>
          <cx:pt idx="65274">0</cx:pt>
          <cx:pt idx="65275">0</cx:pt>
          <cx:pt idx="65276">1</cx:pt>
          <cx:pt idx="65277">1</cx:pt>
          <cx:pt idx="65278">1</cx:pt>
          <cx:pt idx="65279">1</cx:pt>
          <cx:pt idx="65280">0</cx:pt>
          <cx:pt idx="65281">1</cx:pt>
          <cx:pt idx="65282">0</cx:pt>
          <cx:pt idx="65283">0</cx:pt>
          <cx:pt idx="65284">0</cx:pt>
          <cx:pt idx="65285">1</cx:pt>
          <cx:pt idx="65286">1</cx:pt>
          <cx:pt idx="65287">0</cx:pt>
          <cx:pt idx="65288">0</cx:pt>
          <cx:pt idx="65289">0</cx:pt>
          <cx:pt idx="65290">1</cx:pt>
          <cx:pt idx="65291">0</cx:pt>
          <cx:pt idx="65292">1</cx:pt>
          <cx:pt idx="65293">1</cx:pt>
          <cx:pt idx="65294">1</cx:pt>
          <cx:pt idx="65295">1</cx:pt>
          <cx:pt idx="65296">0</cx:pt>
          <cx:pt idx="65297">1</cx:pt>
          <cx:pt idx="65298">0</cx:pt>
          <cx:pt idx="65299">1</cx:pt>
          <cx:pt idx="65300">0</cx:pt>
          <cx:pt idx="65301">1</cx:pt>
          <cx:pt idx="65302">1</cx:pt>
          <cx:pt idx="65303">1</cx:pt>
          <cx:pt idx="65304">1</cx:pt>
          <cx:pt idx="65305">1</cx:pt>
          <cx:pt idx="65306">0</cx:pt>
          <cx:pt idx="65307">0</cx:pt>
          <cx:pt idx="65308">0</cx:pt>
          <cx:pt idx="65309">0</cx:pt>
          <cx:pt idx="65310">1</cx:pt>
          <cx:pt idx="65311">1</cx:pt>
          <cx:pt idx="65312">0</cx:pt>
          <cx:pt idx="65313">0</cx:pt>
          <cx:pt idx="65314">0</cx:pt>
          <cx:pt idx="65315">1</cx:pt>
          <cx:pt idx="65316">0</cx:pt>
          <cx:pt idx="65317">1</cx:pt>
          <cx:pt idx="65318">1</cx:pt>
          <cx:pt idx="65319">0</cx:pt>
          <cx:pt idx="65320">0</cx:pt>
          <cx:pt idx="65321">1</cx:pt>
          <cx:pt idx="65322">1</cx:pt>
          <cx:pt idx="65323">0</cx:pt>
          <cx:pt idx="65324">0</cx:pt>
          <cx:pt idx="65325">1</cx:pt>
          <cx:pt idx="65326">0</cx:pt>
          <cx:pt idx="65327">1</cx:pt>
          <cx:pt idx="65328">0</cx:pt>
          <cx:pt idx="65329">1</cx:pt>
          <cx:pt idx="65330">0</cx:pt>
          <cx:pt idx="65331">1</cx:pt>
          <cx:pt idx="65332">1</cx:pt>
          <cx:pt idx="65333">0</cx:pt>
          <cx:pt idx="65334">0</cx:pt>
          <cx:pt idx="65335">0</cx:pt>
          <cx:pt idx="65336">1</cx:pt>
          <cx:pt idx="65337">1</cx:pt>
          <cx:pt idx="65338">1</cx:pt>
          <cx:pt idx="65339">0</cx:pt>
          <cx:pt idx="65340">1</cx:pt>
          <cx:pt idx="65341">1</cx:pt>
          <cx:pt idx="65342">0</cx:pt>
          <cx:pt idx="65343">1</cx:pt>
          <cx:pt idx="65344">0</cx:pt>
          <cx:pt idx="65345">1</cx:pt>
          <cx:pt idx="65346">1</cx:pt>
          <cx:pt idx="65347">0</cx:pt>
          <cx:pt idx="65348">1</cx:pt>
          <cx:pt idx="65349">1</cx:pt>
          <cx:pt idx="65350">1</cx:pt>
          <cx:pt idx="65351">1</cx:pt>
          <cx:pt idx="65352">1</cx:pt>
          <cx:pt idx="65353">0</cx:pt>
          <cx:pt idx="65354">0</cx:pt>
          <cx:pt idx="65355">0</cx:pt>
          <cx:pt idx="65356">0</cx:pt>
          <cx:pt idx="65357">0</cx:pt>
          <cx:pt idx="65358">0</cx:pt>
          <cx:pt idx="65359">1</cx:pt>
          <cx:pt idx="65360">1</cx:pt>
          <cx:pt idx="65361">1</cx:pt>
          <cx:pt idx="65362">1</cx:pt>
          <cx:pt idx="65363">1</cx:pt>
          <cx:pt idx="65364">0</cx:pt>
          <cx:pt idx="65365">0</cx:pt>
          <cx:pt idx="65366">1</cx:pt>
          <cx:pt idx="65367">0</cx:pt>
          <cx:pt idx="65368">1</cx:pt>
          <cx:pt idx="65369">1</cx:pt>
          <cx:pt idx="65370">0</cx:pt>
          <cx:pt idx="65371">1</cx:pt>
          <cx:pt idx="65372">1</cx:pt>
          <cx:pt idx="65373">0</cx:pt>
          <cx:pt idx="65374">1</cx:pt>
          <cx:pt idx="65375">1</cx:pt>
          <cx:pt idx="65376">0</cx:pt>
          <cx:pt idx="65377">1</cx:pt>
          <cx:pt idx="65378">0</cx:pt>
          <cx:pt idx="65379">0</cx:pt>
          <cx:pt idx="65380">0</cx:pt>
          <cx:pt idx="65381">0</cx:pt>
          <cx:pt idx="65382">0</cx:pt>
          <cx:pt idx="65383">0</cx:pt>
          <cx:pt idx="65384">0</cx:pt>
          <cx:pt idx="65385">1</cx:pt>
          <cx:pt idx="65386">0</cx:pt>
          <cx:pt idx="65387">0</cx:pt>
          <cx:pt idx="65388">1</cx:pt>
          <cx:pt idx="65389">1</cx:pt>
          <cx:pt idx="65390">0</cx:pt>
          <cx:pt idx="65391">1</cx:pt>
          <cx:pt idx="65392">0</cx:pt>
          <cx:pt idx="65393">0</cx:pt>
          <cx:pt idx="65394">0</cx:pt>
          <cx:pt idx="65395">1</cx:pt>
          <cx:pt idx="65396">1</cx:pt>
          <cx:pt idx="65397">1</cx:pt>
          <cx:pt idx="65398">0</cx:pt>
          <cx:pt idx="65399">1</cx:pt>
          <cx:pt idx="65400">1</cx:pt>
          <cx:pt idx="65401">0</cx:pt>
          <cx:pt idx="65402">0</cx:pt>
          <cx:pt idx="65403">0</cx:pt>
          <cx:pt idx="65404">0</cx:pt>
          <cx:pt idx="65405">1</cx:pt>
          <cx:pt idx="65406">0</cx:pt>
          <cx:pt idx="65407">0</cx:pt>
          <cx:pt idx="65408">1</cx:pt>
          <cx:pt idx="65409">1</cx:pt>
          <cx:pt idx="65410">1</cx:pt>
          <cx:pt idx="65411">1</cx:pt>
          <cx:pt idx="65412">1</cx:pt>
          <cx:pt idx="65413">0</cx:pt>
          <cx:pt idx="65414">1</cx:pt>
          <cx:pt idx="65415">0</cx:pt>
          <cx:pt idx="65416">1</cx:pt>
          <cx:pt idx="65417">0</cx:pt>
          <cx:pt idx="65418">0</cx:pt>
          <cx:pt idx="65419">0</cx:pt>
          <cx:pt idx="65420">0</cx:pt>
          <cx:pt idx="65421">1</cx:pt>
          <cx:pt idx="65422">0</cx:pt>
          <cx:pt idx="65423">1</cx:pt>
          <cx:pt idx="65424">0</cx:pt>
          <cx:pt idx="65425">0</cx:pt>
          <cx:pt idx="65426">0</cx:pt>
          <cx:pt idx="65427">1</cx:pt>
          <cx:pt idx="65428">0</cx:pt>
          <cx:pt idx="65429">1</cx:pt>
          <cx:pt idx="65430">0</cx:pt>
          <cx:pt idx="65431">1</cx:pt>
          <cx:pt idx="65432">1</cx:pt>
          <cx:pt idx="65433">1</cx:pt>
          <cx:pt idx="65434">0</cx:pt>
          <cx:pt idx="65435">0</cx:pt>
          <cx:pt idx="65436">1</cx:pt>
          <cx:pt idx="65437">0</cx:pt>
          <cx:pt idx="65438">0</cx:pt>
          <cx:pt idx="65439">1</cx:pt>
          <cx:pt idx="65440">0</cx:pt>
          <cx:pt idx="65441">1</cx:pt>
          <cx:pt idx="65442">1</cx:pt>
          <cx:pt idx="65443">1</cx:pt>
          <cx:pt idx="65444">0</cx:pt>
          <cx:pt idx="65445">0</cx:pt>
          <cx:pt idx="65446">1</cx:pt>
          <cx:pt idx="65447">1</cx:pt>
          <cx:pt idx="65448">0</cx:pt>
          <cx:pt idx="65449">0</cx:pt>
          <cx:pt idx="65450">1</cx:pt>
          <cx:pt idx="65451">1</cx:pt>
          <cx:pt idx="65452">0</cx:pt>
          <cx:pt idx="65453">1</cx:pt>
          <cx:pt idx="65454">1</cx:pt>
          <cx:pt idx="65455">0</cx:pt>
          <cx:pt idx="65456">1</cx:pt>
          <cx:pt idx="65457">1</cx:pt>
          <cx:pt idx="65458">1</cx:pt>
          <cx:pt idx="65459">0</cx:pt>
          <cx:pt idx="65460">0</cx:pt>
          <cx:pt idx="65461">1</cx:pt>
          <cx:pt idx="65462">1</cx:pt>
          <cx:pt idx="65463">0</cx:pt>
          <cx:pt idx="65464">0</cx:pt>
          <cx:pt idx="65465">1</cx:pt>
          <cx:pt idx="65466">1</cx:pt>
          <cx:pt idx="65467">0</cx:pt>
          <cx:pt idx="65468">0</cx:pt>
          <cx:pt idx="65469">0</cx:pt>
          <cx:pt idx="65470">1</cx:pt>
          <cx:pt idx="65471">1</cx:pt>
          <cx:pt idx="65472">0</cx:pt>
          <cx:pt idx="65473">1</cx:pt>
          <cx:pt idx="65474">1</cx:pt>
          <cx:pt idx="65475">1</cx:pt>
          <cx:pt idx="65476">0</cx:pt>
          <cx:pt idx="65477">0</cx:pt>
          <cx:pt idx="65478">1</cx:pt>
          <cx:pt idx="65479">1</cx:pt>
          <cx:pt idx="65480">0</cx:pt>
          <cx:pt idx="65481">0</cx:pt>
          <cx:pt idx="65482">1</cx:pt>
          <cx:pt idx="65483">1</cx:pt>
          <cx:pt idx="65484">1</cx:pt>
          <cx:pt idx="65485">0</cx:pt>
          <cx:pt idx="65486">0</cx:pt>
          <cx:pt idx="65487">1</cx:pt>
          <cx:pt idx="65488">1</cx:pt>
          <cx:pt idx="65489">1</cx:pt>
          <cx:pt idx="65490">0</cx:pt>
          <cx:pt idx="65491">0</cx:pt>
          <cx:pt idx="65492">1</cx:pt>
          <cx:pt idx="65493">1</cx:pt>
          <cx:pt idx="65494">0</cx:pt>
          <cx:pt idx="65495">0</cx:pt>
          <cx:pt idx="65496">0</cx:pt>
          <cx:pt idx="65497">1</cx:pt>
          <cx:pt idx="65498">0</cx:pt>
          <cx:pt idx="65499">1</cx:pt>
          <cx:pt idx="65500">0</cx:pt>
          <cx:pt idx="65501">0</cx:pt>
          <cx:pt idx="65502">1</cx:pt>
          <cx:pt idx="65503">1</cx:pt>
          <cx:pt idx="65504">1</cx:pt>
          <cx:pt idx="65505">0</cx:pt>
          <cx:pt idx="65506">0</cx:pt>
          <cx:pt idx="65507">0</cx:pt>
          <cx:pt idx="65508">1</cx:pt>
          <cx:pt idx="65509">0</cx:pt>
          <cx:pt idx="65510">1</cx:pt>
          <cx:pt idx="65511">0</cx:pt>
          <cx:pt idx="65512">1</cx:pt>
          <cx:pt idx="65513">0</cx:pt>
          <cx:pt idx="65514">1</cx:pt>
          <cx:pt idx="65515">1</cx:pt>
          <cx:pt idx="65516">0</cx:pt>
          <cx:pt idx="65517">0</cx:pt>
          <cx:pt idx="65518">0</cx:pt>
          <cx:pt idx="65519">0</cx:pt>
          <cx:pt idx="65520">1</cx:pt>
          <cx:pt idx="65521">0</cx:pt>
          <cx:pt idx="65522">0</cx:pt>
          <cx:pt idx="65523">1</cx:pt>
          <cx:pt idx="65524">1</cx:pt>
          <cx:pt idx="65525">0</cx:pt>
          <cx:pt idx="65526">1</cx:pt>
          <cx:pt idx="65527">0</cx:pt>
          <cx:pt idx="65528">0</cx:pt>
          <cx:pt idx="65529">0</cx:pt>
          <cx:pt idx="65530">0</cx:pt>
          <cx:pt idx="65531">1</cx:pt>
          <cx:pt idx="65532">0</cx:pt>
          <cx:pt idx="65533">1</cx:pt>
          <cx:pt idx="65534">0</cx:pt>
          <cx:pt idx="65535">1</cx:pt>
          <cx:pt idx="65536">1</cx:pt>
          <cx:pt idx="65537">1</cx:pt>
          <cx:pt idx="65538">1</cx:pt>
          <cx:pt idx="65539">1</cx:pt>
          <cx:pt idx="65540">0</cx:pt>
          <cx:pt idx="65541">0</cx:pt>
          <cx:pt idx="65542">0</cx:pt>
          <cx:pt idx="65543">0</cx:pt>
          <cx:pt idx="65544">0</cx:pt>
          <cx:pt idx="65545">1</cx:pt>
          <cx:pt idx="65546">0</cx:pt>
          <cx:pt idx="65547">0</cx:pt>
          <cx:pt idx="65548">0</cx:pt>
          <cx:pt idx="65549">0</cx:pt>
          <cx:pt idx="65550">0</cx:pt>
          <cx:pt idx="65551">1</cx:pt>
          <cx:pt idx="65552">1</cx:pt>
          <cx:pt idx="65553">0</cx:pt>
          <cx:pt idx="65554">0</cx:pt>
          <cx:pt idx="65555">0</cx:pt>
          <cx:pt idx="65556">0</cx:pt>
          <cx:pt idx="65557">1</cx:pt>
          <cx:pt idx="65558">0</cx:pt>
          <cx:pt idx="65559">1</cx:pt>
          <cx:pt idx="65560">1</cx:pt>
          <cx:pt idx="65561">0</cx:pt>
          <cx:pt idx="65562">0</cx:pt>
          <cx:pt idx="65563">0</cx:pt>
          <cx:pt idx="65564">1</cx:pt>
          <cx:pt idx="65565">0</cx:pt>
          <cx:pt idx="65566">1</cx:pt>
          <cx:pt idx="65567">0</cx:pt>
          <cx:pt idx="65568">0</cx:pt>
          <cx:pt idx="65569">1</cx:pt>
          <cx:pt idx="65570">1</cx:pt>
          <cx:pt idx="65571">0</cx:pt>
          <cx:pt idx="65572">0</cx:pt>
          <cx:pt idx="65573">0</cx:pt>
          <cx:pt idx="65574">1</cx:pt>
          <cx:pt idx="65575">1</cx:pt>
          <cx:pt idx="65576">1</cx:pt>
          <cx:pt idx="65577">1</cx:pt>
          <cx:pt idx="65578">1</cx:pt>
          <cx:pt idx="65579">0</cx:pt>
          <cx:pt idx="65580">1</cx:pt>
          <cx:pt idx="65581">0</cx:pt>
          <cx:pt idx="65582">0</cx:pt>
          <cx:pt idx="65583">1</cx:pt>
          <cx:pt idx="65584">0</cx:pt>
          <cx:pt idx="65585">0</cx:pt>
          <cx:pt idx="65586">0</cx:pt>
          <cx:pt idx="65587">0</cx:pt>
          <cx:pt idx="65588">0</cx:pt>
          <cx:pt idx="65589">0</cx:pt>
          <cx:pt idx="65590">0</cx:pt>
          <cx:pt idx="65591">0</cx:pt>
          <cx:pt idx="65592">0</cx:pt>
          <cx:pt idx="65593">1</cx:pt>
          <cx:pt idx="65594">1</cx:pt>
          <cx:pt idx="65595">1</cx:pt>
          <cx:pt idx="65596">0</cx:pt>
          <cx:pt idx="65597">0</cx:pt>
          <cx:pt idx="65598">1</cx:pt>
          <cx:pt idx="65599">0</cx:pt>
          <cx:pt idx="65600">1</cx:pt>
          <cx:pt idx="65601">0</cx:pt>
          <cx:pt idx="65602">1</cx:pt>
          <cx:pt idx="65603">0</cx:pt>
          <cx:pt idx="65604">1</cx:pt>
          <cx:pt idx="65605">1</cx:pt>
          <cx:pt idx="65606">1</cx:pt>
          <cx:pt idx="65607">0</cx:pt>
          <cx:pt idx="65608">0</cx:pt>
          <cx:pt idx="65609">0</cx:pt>
          <cx:pt idx="65610">0</cx:pt>
          <cx:pt idx="65611">1</cx:pt>
          <cx:pt idx="65612">1</cx:pt>
          <cx:pt idx="65613">0</cx:pt>
          <cx:pt idx="65614">1</cx:pt>
          <cx:pt idx="65615">1</cx:pt>
          <cx:pt idx="65616">1</cx:pt>
          <cx:pt idx="65617">1</cx:pt>
          <cx:pt idx="65618">0</cx:pt>
          <cx:pt idx="65619">1</cx:pt>
          <cx:pt idx="65620">1</cx:pt>
          <cx:pt idx="65621">0</cx:pt>
          <cx:pt idx="65622">0</cx:pt>
          <cx:pt idx="65623">1</cx:pt>
          <cx:pt idx="65624">0</cx:pt>
          <cx:pt idx="65625">0</cx:pt>
          <cx:pt idx="65626">0</cx:pt>
          <cx:pt idx="65627">0</cx:pt>
          <cx:pt idx="65628">0</cx:pt>
          <cx:pt idx="65629">0</cx:pt>
          <cx:pt idx="65630">0</cx:pt>
          <cx:pt idx="65631">1</cx:pt>
          <cx:pt idx="65632">0</cx:pt>
          <cx:pt idx="65633">0</cx:pt>
          <cx:pt idx="65634">0</cx:pt>
          <cx:pt idx="65635">1</cx:pt>
          <cx:pt idx="65636">0</cx:pt>
          <cx:pt idx="65637">0</cx:pt>
          <cx:pt idx="65638">1</cx:pt>
          <cx:pt idx="65639">0</cx:pt>
          <cx:pt idx="65640">1</cx:pt>
          <cx:pt idx="65641">1</cx:pt>
          <cx:pt idx="65642">0</cx:pt>
          <cx:pt idx="65643">1</cx:pt>
          <cx:pt idx="65644">0</cx:pt>
          <cx:pt idx="65645">0</cx:pt>
          <cx:pt idx="65646">1</cx:pt>
          <cx:pt idx="65647">1</cx:pt>
          <cx:pt idx="65648">0</cx:pt>
          <cx:pt idx="65649">1</cx:pt>
          <cx:pt idx="65650">0</cx:pt>
          <cx:pt idx="65651">1</cx:pt>
          <cx:pt idx="65652">1</cx:pt>
          <cx:pt idx="65653">1</cx:pt>
          <cx:pt idx="65654">1</cx:pt>
          <cx:pt idx="65655">1</cx:pt>
          <cx:pt idx="65656">1</cx:pt>
          <cx:pt idx="65657">1</cx:pt>
          <cx:pt idx="65658">0</cx:pt>
          <cx:pt idx="65659">0</cx:pt>
          <cx:pt idx="65660">0</cx:pt>
          <cx:pt idx="65661">1</cx:pt>
          <cx:pt idx="65662">0</cx:pt>
          <cx:pt idx="65663">0</cx:pt>
          <cx:pt idx="65664">0</cx:pt>
          <cx:pt idx="65665">0</cx:pt>
          <cx:pt idx="65666">1</cx:pt>
          <cx:pt idx="65667">1</cx:pt>
          <cx:pt idx="65668">0</cx:pt>
          <cx:pt idx="65669">1</cx:pt>
          <cx:pt idx="65670">1</cx:pt>
          <cx:pt idx="65671">0</cx:pt>
          <cx:pt idx="65672">0</cx:pt>
          <cx:pt idx="65673">0</cx:pt>
          <cx:pt idx="65674">0</cx:pt>
          <cx:pt idx="65675">1</cx:pt>
          <cx:pt idx="65676">0</cx:pt>
          <cx:pt idx="65677">0</cx:pt>
          <cx:pt idx="65678">1</cx:pt>
          <cx:pt idx="65679">1</cx:pt>
          <cx:pt idx="65680">0</cx:pt>
          <cx:pt idx="65681">0</cx:pt>
          <cx:pt idx="65682">0</cx:pt>
          <cx:pt idx="65683">1</cx:pt>
          <cx:pt idx="65684">1</cx:pt>
          <cx:pt idx="65685">0</cx:pt>
          <cx:pt idx="65686">1</cx:pt>
          <cx:pt idx="65687">1</cx:pt>
          <cx:pt idx="65688">0</cx:pt>
          <cx:pt idx="65689">1</cx:pt>
          <cx:pt idx="65690">1</cx:pt>
          <cx:pt idx="65691">0</cx:pt>
          <cx:pt idx="65692">1</cx:pt>
          <cx:pt idx="65693">0</cx:pt>
          <cx:pt idx="65694">1</cx:pt>
          <cx:pt idx="65695">0</cx:pt>
          <cx:pt idx="65696">0</cx:pt>
          <cx:pt idx="65697">1</cx:pt>
          <cx:pt idx="65698">0</cx:pt>
          <cx:pt idx="65699">0</cx:pt>
          <cx:pt idx="65700">1</cx:pt>
          <cx:pt idx="65701">1</cx:pt>
          <cx:pt idx="65702">0</cx:pt>
          <cx:pt idx="65703">0</cx:pt>
          <cx:pt idx="65704">0</cx:pt>
          <cx:pt idx="65705">1</cx:pt>
          <cx:pt idx="65706">0</cx:pt>
          <cx:pt idx="65707">1</cx:pt>
          <cx:pt idx="65708">1</cx:pt>
          <cx:pt idx="65709">1</cx:pt>
          <cx:pt idx="65710">0</cx:pt>
          <cx:pt idx="65711">0</cx:pt>
          <cx:pt idx="65712">0</cx:pt>
          <cx:pt idx="65713">1</cx:pt>
          <cx:pt idx="65714">0</cx:pt>
          <cx:pt idx="65715">1</cx:pt>
          <cx:pt idx="65716">1</cx:pt>
          <cx:pt idx="65717">1</cx:pt>
          <cx:pt idx="65718">0</cx:pt>
          <cx:pt idx="65719">0</cx:pt>
          <cx:pt idx="65720">1</cx:pt>
          <cx:pt idx="65721">1</cx:pt>
          <cx:pt idx="65722">1</cx:pt>
          <cx:pt idx="65723">1</cx:pt>
          <cx:pt idx="65724">0</cx:pt>
          <cx:pt idx="65725">0</cx:pt>
          <cx:pt idx="65726">0</cx:pt>
          <cx:pt idx="65727">0</cx:pt>
          <cx:pt idx="65728">1</cx:pt>
          <cx:pt idx="65729">0</cx:pt>
          <cx:pt idx="65730">0</cx:pt>
          <cx:pt idx="65731">0</cx:pt>
          <cx:pt idx="65732">1</cx:pt>
          <cx:pt idx="65733">0</cx:pt>
          <cx:pt idx="65734">0</cx:pt>
          <cx:pt idx="65735">1</cx:pt>
          <cx:pt idx="65736">0</cx:pt>
          <cx:pt idx="65737">0</cx:pt>
          <cx:pt idx="65738">1</cx:pt>
          <cx:pt idx="65739">0</cx:pt>
          <cx:pt idx="65740">0</cx:pt>
          <cx:pt idx="65741">0</cx:pt>
          <cx:pt idx="65742">1</cx:pt>
          <cx:pt idx="65743">0</cx:pt>
          <cx:pt idx="65744">0</cx:pt>
          <cx:pt idx="65745">1</cx:pt>
          <cx:pt idx="65746">0</cx:pt>
          <cx:pt idx="65747">1</cx:pt>
          <cx:pt idx="65748">1</cx:pt>
          <cx:pt idx="65749">1</cx:pt>
          <cx:pt idx="65750">1</cx:pt>
          <cx:pt idx="65751">0</cx:pt>
          <cx:pt idx="65752">0</cx:pt>
          <cx:pt idx="65753">0</cx:pt>
          <cx:pt idx="65754">1</cx:pt>
          <cx:pt idx="65755">0</cx:pt>
          <cx:pt idx="65756">1</cx:pt>
          <cx:pt idx="65757">1</cx:pt>
          <cx:pt idx="65758">0</cx:pt>
          <cx:pt idx="65759">1</cx:pt>
          <cx:pt idx="65760">1</cx:pt>
          <cx:pt idx="65761">1</cx:pt>
          <cx:pt idx="65762">0</cx:pt>
          <cx:pt idx="65763">1</cx:pt>
          <cx:pt idx="65764">0</cx:pt>
          <cx:pt idx="65765">1</cx:pt>
          <cx:pt idx="65766">0</cx:pt>
          <cx:pt idx="65767">1</cx:pt>
          <cx:pt idx="65768">0</cx:pt>
          <cx:pt idx="65769">0</cx:pt>
          <cx:pt idx="65770">0</cx:pt>
          <cx:pt idx="65771">1</cx:pt>
          <cx:pt idx="65772">0</cx:pt>
          <cx:pt idx="65773">1</cx:pt>
          <cx:pt idx="65774">0</cx:pt>
          <cx:pt idx="65775">0</cx:pt>
          <cx:pt idx="65776">0</cx:pt>
          <cx:pt idx="65777">1</cx:pt>
          <cx:pt idx="65778">0</cx:pt>
          <cx:pt idx="65779">0</cx:pt>
          <cx:pt idx="65780">0</cx:pt>
          <cx:pt idx="65781">1</cx:pt>
          <cx:pt idx="65782">1</cx:pt>
          <cx:pt idx="65783">0</cx:pt>
          <cx:pt idx="65784">1</cx:pt>
          <cx:pt idx="65785">0</cx:pt>
          <cx:pt idx="65786">1</cx:pt>
          <cx:pt idx="65787">1</cx:pt>
          <cx:pt idx="65788">0</cx:pt>
          <cx:pt idx="65789">1</cx:pt>
          <cx:pt idx="65790">1</cx:pt>
          <cx:pt idx="65791">0</cx:pt>
          <cx:pt idx="65792">1</cx:pt>
          <cx:pt idx="65793">0</cx:pt>
          <cx:pt idx="65794">0</cx:pt>
          <cx:pt idx="65795">0</cx:pt>
          <cx:pt idx="65796">0</cx:pt>
          <cx:pt idx="65797">1</cx:pt>
          <cx:pt idx="65798">0</cx:pt>
          <cx:pt idx="65799">0</cx:pt>
          <cx:pt idx="65800">1</cx:pt>
          <cx:pt idx="65801">0</cx:pt>
          <cx:pt idx="65802">0</cx:pt>
          <cx:pt idx="65803">0</cx:pt>
          <cx:pt idx="65804">0</cx:pt>
          <cx:pt idx="65805">0</cx:pt>
          <cx:pt idx="65806">0</cx:pt>
          <cx:pt idx="65807">1</cx:pt>
          <cx:pt idx="65808">0</cx:pt>
          <cx:pt idx="65809">0</cx:pt>
          <cx:pt idx="65810">1</cx:pt>
          <cx:pt idx="65811">0</cx:pt>
          <cx:pt idx="65812">0</cx:pt>
          <cx:pt idx="65813">0</cx:pt>
          <cx:pt idx="65814">0</cx:pt>
          <cx:pt idx="65815">1</cx:pt>
          <cx:pt idx="65816">1</cx:pt>
          <cx:pt idx="65817">1</cx:pt>
          <cx:pt idx="65818">0</cx:pt>
          <cx:pt idx="65819">1</cx:pt>
          <cx:pt idx="65820">1</cx:pt>
          <cx:pt idx="65821">0</cx:pt>
          <cx:pt idx="65822">1</cx:pt>
          <cx:pt idx="65823">1</cx:pt>
          <cx:pt idx="65824">1</cx:pt>
          <cx:pt idx="65825">1</cx:pt>
          <cx:pt idx="65826">0</cx:pt>
          <cx:pt idx="65827">1</cx:pt>
          <cx:pt idx="65828">1</cx:pt>
          <cx:pt idx="65829">1</cx:pt>
          <cx:pt idx="65830">1</cx:pt>
          <cx:pt idx="65831">0</cx:pt>
          <cx:pt idx="65832">1</cx:pt>
          <cx:pt idx="65833">0</cx:pt>
          <cx:pt idx="65834">1</cx:pt>
          <cx:pt idx="65835">0</cx:pt>
          <cx:pt idx="65836">0</cx:pt>
          <cx:pt idx="65837">1</cx:pt>
          <cx:pt idx="65838">0</cx:pt>
          <cx:pt idx="65839">1</cx:pt>
          <cx:pt idx="65840">0</cx:pt>
          <cx:pt idx="65841">0</cx:pt>
          <cx:pt idx="65842">1</cx:pt>
          <cx:pt idx="65843">1</cx:pt>
          <cx:pt idx="65844">1</cx:pt>
          <cx:pt idx="65845">0</cx:pt>
          <cx:pt idx="65846">0</cx:pt>
          <cx:pt idx="65847">1</cx:pt>
          <cx:pt idx="65848">1</cx:pt>
          <cx:pt idx="65849">1</cx:pt>
          <cx:pt idx="65850">1</cx:pt>
          <cx:pt idx="65851">1</cx:pt>
          <cx:pt idx="65852">0</cx:pt>
          <cx:pt idx="65853">0</cx:pt>
          <cx:pt idx="65854">0</cx:pt>
          <cx:pt idx="65855">0</cx:pt>
          <cx:pt idx="65856">1</cx:pt>
          <cx:pt idx="65857">0</cx:pt>
          <cx:pt idx="65858">0</cx:pt>
          <cx:pt idx="65859">0</cx:pt>
          <cx:pt idx="65860">0</cx:pt>
          <cx:pt idx="65861">0</cx:pt>
          <cx:pt idx="65862">0</cx:pt>
          <cx:pt idx="65863">1</cx:pt>
          <cx:pt idx="65864">1</cx:pt>
          <cx:pt idx="65865">0</cx:pt>
          <cx:pt idx="65866">0</cx:pt>
          <cx:pt idx="65867">0</cx:pt>
          <cx:pt idx="65868">0</cx:pt>
          <cx:pt idx="65869">0</cx:pt>
          <cx:pt idx="65870">1</cx:pt>
          <cx:pt idx="65871">0</cx:pt>
          <cx:pt idx="65872">1</cx:pt>
          <cx:pt idx="65873">0</cx:pt>
          <cx:pt idx="65874">0</cx:pt>
          <cx:pt idx="65875">1</cx:pt>
          <cx:pt idx="65876">0</cx:pt>
          <cx:pt idx="65877">0</cx:pt>
          <cx:pt idx="65878">1</cx:pt>
          <cx:pt idx="65879">1</cx:pt>
          <cx:pt idx="65880">0</cx:pt>
          <cx:pt idx="65881">1</cx:pt>
          <cx:pt idx="65882">0</cx:pt>
          <cx:pt idx="65883">1</cx:pt>
          <cx:pt idx="65884">0</cx:pt>
          <cx:pt idx="65885">0</cx:pt>
          <cx:pt idx="65886">1</cx:pt>
          <cx:pt idx="65887">1</cx:pt>
          <cx:pt idx="65888">1</cx:pt>
          <cx:pt idx="65889">1</cx:pt>
          <cx:pt idx="65890">0</cx:pt>
          <cx:pt idx="65891">0</cx:pt>
          <cx:pt idx="65892">0</cx:pt>
          <cx:pt idx="65893">1</cx:pt>
          <cx:pt idx="65894">0</cx:pt>
          <cx:pt idx="65895">1</cx:pt>
          <cx:pt idx="65896">0</cx:pt>
          <cx:pt idx="65897">0</cx:pt>
          <cx:pt idx="65898">0</cx:pt>
          <cx:pt idx="65899">1</cx:pt>
          <cx:pt idx="65900">1</cx:pt>
          <cx:pt idx="65901">1</cx:pt>
          <cx:pt idx="65902">1</cx:pt>
          <cx:pt idx="65903">1</cx:pt>
          <cx:pt idx="65904">1</cx:pt>
          <cx:pt idx="65905">0</cx:pt>
          <cx:pt idx="65906">0</cx:pt>
          <cx:pt idx="65907">0</cx:pt>
          <cx:pt idx="65908">1</cx:pt>
          <cx:pt idx="65909">0</cx:pt>
          <cx:pt idx="65910">1</cx:pt>
          <cx:pt idx="65911">0</cx:pt>
          <cx:pt idx="65912">0</cx:pt>
          <cx:pt idx="65913">0</cx:pt>
          <cx:pt idx="65914">0</cx:pt>
          <cx:pt idx="65915">0</cx:pt>
          <cx:pt idx="65916">1</cx:pt>
          <cx:pt idx="65917">1</cx:pt>
          <cx:pt idx="65918">1</cx:pt>
          <cx:pt idx="65919">0</cx:pt>
          <cx:pt idx="65920">0</cx:pt>
          <cx:pt idx="65921">0</cx:pt>
          <cx:pt idx="65922">1</cx:pt>
          <cx:pt idx="65923">1</cx:pt>
          <cx:pt idx="65924">0</cx:pt>
          <cx:pt idx="65925">1</cx:pt>
          <cx:pt idx="65926">0</cx:pt>
          <cx:pt idx="65927">1</cx:pt>
          <cx:pt idx="65928">0</cx:pt>
          <cx:pt idx="65929">0</cx:pt>
          <cx:pt idx="65930">1</cx:pt>
          <cx:pt idx="65931">1</cx:pt>
          <cx:pt idx="65932">0</cx:pt>
          <cx:pt idx="65933">1</cx:pt>
          <cx:pt idx="65934">1</cx:pt>
          <cx:pt idx="65935">0</cx:pt>
          <cx:pt idx="65936">1</cx:pt>
          <cx:pt idx="65937">0</cx:pt>
          <cx:pt idx="65938">0</cx:pt>
          <cx:pt idx="65939">1</cx:pt>
          <cx:pt idx="65940">1</cx:pt>
          <cx:pt idx="65941">1</cx:pt>
          <cx:pt idx="65942">0</cx:pt>
          <cx:pt idx="65943">1</cx:pt>
          <cx:pt idx="65944">0</cx:pt>
          <cx:pt idx="65945">1</cx:pt>
          <cx:pt idx="65946">0</cx:pt>
          <cx:pt idx="65947">1</cx:pt>
          <cx:pt idx="65948">0</cx:pt>
          <cx:pt idx="65949">1</cx:pt>
          <cx:pt idx="65950">1</cx:pt>
          <cx:pt idx="65951">0</cx:pt>
          <cx:pt idx="65952">0</cx:pt>
          <cx:pt idx="65953">0</cx:pt>
          <cx:pt idx="65954">1</cx:pt>
          <cx:pt idx="65955">0</cx:pt>
          <cx:pt idx="65956">0</cx:pt>
          <cx:pt idx="65957">1</cx:pt>
          <cx:pt idx="65958">1</cx:pt>
          <cx:pt idx="65959">1</cx:pt>
          <cx:pt idx="65960">0</cx:pt>
          <cx:pt idx="65961">0</cx:pt>
          <cx:pt idx="65962">0</cx:pt>
          <cx:pt idx="65963">0</cx:pt>
          <cx:pt idx="65964">0</cx:pt>
          <cx:pt idx="65965">1</cx:pt>
          <cx:pt idx="65966">1</cx:pt>
          <cx:pt idx="65967">1</cx:pt>
          <cx:pt idx="65968">1</cx:pt>
          <cx:pt idx="65969">0</cx:pt>
          <cx:pt idx="65970">0</cx:pt>
          <cx:pt idx="65971">1</cx:pt>
          <cx:pt idx="65972">0</cx:pt>
          <cx:pt idx="65973">0</cx:pt>
          <cx:pt idx="65974">1</cx:pt>
          <cx:pt idx="65975">0</cx:pt>
          <cx:pt idx="65976">1</cx:pt>
          <cx:pt idx="65977">1</cx:pt>
          <cx:pt idx="65978">1</cx:pt>
          <cx:pt idx="65979">1</cx:pt>
          <cx:pt idx="65980">0</cx:pt>
          <cx:pt idx="65981">0</cx:pt>
          <cx:pt idx="65982">1</cx:pt>
          <cx:pt idx="65983">1</cx:pt>
          <cx:pt idx="65984">1</cx:pt>
          <cx:pt idx="65985">0</cx:pt>
          <cx:pt idx="65986">1</cx:pt>
          <cx:pt idx="65987">1</cx:pt>
          <cx:pt idx="65988">1</cx:pt>
          <cx:pt idx="65989">1</cx:pt>
          <cx:pt idx="65990">0</cx:pt>
          <cx:pt idx="65991">1</cx:pt>
          <cx:pt idx="65992">0</cx:pt>
          <cx:pt idx="65993">0</cx:pt>
          <cx:pt idx="65994">0</cx:pt>
          <cx:pt idx="65995">0</cx:pt>
          <cx:pt idx="65996">0</cx:pt>
          <cx:pt idx="65997">1</cx:pt>
          <cx:pt idx="65998">0</cx:pt>
          <cx:pt idx="65999">1</cx:pt>
          <cx:pt idx="66000">0</cx:pt>
          <cx:pt idx="66001">0</cx:pt>
          <cx:pt idx="66002">0</cx:pt>
          <cx:pt idx="66003">0</cx:pt>
          <cx:pt idx="66004">0</cx:pt>
          <cx:pt idx="66005">1</cx:pt>
          <cx:pt idx="66006">0</cx:pt>
          <cx:pt idx="66007">0</cx:pt>
          <cx:pt idx="66008">1</cx:pt>
          <cx:pt idx="66009">0</cx:pt>
          <cx:pt idx="66010">1</cx:pt>
          <cx:pt idx="66011">1</cx:pt>
          <cx:pt idx="66012">1</cx:pt>
          <cx:pt idx="66013">1</cx:pt>
          <cx:pt idx="66014">0</cx:pt>
          <cx:pt idx="66015">0</cx:pt>
          <cx:pt idx="66016">1</cx:pt>
          <cx:pt idx="66017">1</cx:pt>
          <cx:pt idx="66018">0</cx:pt>
          <cx:pt idx="66019">0</cx:pt>
          <cx:pt idx="66020">1</cx:pt>
          <cx:pt idx="66021">1</cx:pt>
          <cx:pt idx="66022">1</cx:pt>
          <cx:pt idx="66023">1</cx:pt>
          <cx:pt idx="66024">0</cx:pt>
          <cx:pt idx="66025">0</cx:pt>
          <cx:pt idx="66026">1</cx:pt>
          <cx:pt idx="66027">0</cx:pt>
          <cx:pt idx="66028">0</cx:pt>
          <cx:pt idx="66029">0</cx:pt>
          <cx:pt idx="66030">0</cx:pt>
          <cx:pt idx="66031">0</cx:pt>
          <cx:pt idx="66032">1</cx:pt>
          <cx:pt idx="66033">1</cx:pt>
          <cx:pt idx="66034">1</cx:pt>
          <cx:pt idx="66035">1</cx:pt>
          <cx:pt idx="66036">0</cx:pt>
          <cx:pt idx="66037">0</cx:pt>
          <cx:pt idx="66038">0</cx:pt>
          <cx:pt idx="66039">1</cx:pt>
          <cx:pt idx="66040">0</cx:pt>
          <cx:pt idx="66041">0</cx:pt>
          <cx:pt idx="66042">1</cx:pt>
          <cx:pt idx="66043">0</cx:pt>
          <cx:pt idx="66044">1</cx:pt>
          <cx:pt idx="66045">0</cx:pt>
          <cx:pt idx="66046">0</cx:pt>
          <cx:pt idx="66047">1</cx:pt>
          <cx:pt idx="66048">0</cx:pt>
          <cx:pt idx="66049">0</cx:pt>
          <cx:pt idx="66050">1</cx:pt>
          <cx:pt idx="66051">0</cx:pt>
          <cx:pt idx="66052">1</cx:pt>
          <cx:pt idx="66053">0</cx:pt>
          <cx:pt idx="66054">1</cx:pt>
          <cx:pt idx="66055">0</cx:pt>
          <cx:pt idx="66056">0</cx:pt>
          <cx:pt idx="66057">0</cx:pt>
          <cx:pt idx="66058">0</cx:pt>
          <cx:pt idx="66059">0</cx:pt>
          <cx:pt idx="66060">0</cx:pt>
          <cx:pt idx="66061">1</cx:pt>
          <cx:pt idx="66062">1</cx:pt>
          <cx:pt idx="66063">0</cx:pt>
          <cx:pt idx="66064">0</cx:pt>
          <cx:pt idx="66065">1</cx:pt>
          <cx:pt idx="66066">0</cx:pt>
          <cx:pt idx="66067">1</cx:pt>
          <cx:pt idx="66068">0</cx:pt>
          <cx:pt idx="66069">0</cx:pt>
          <cx:pt idx="66070">1</cx:pt>
          <cx:pt idx="66071">0</cx:pt>
          <cx:pt idx="66072">0</cx:pt>
          <cx:pt idx="66073">0</cx:pt>
          <cx:pt idx="66074">0</cx:pt>
          <cx:pt idx="66075">1</cx:pt>
          <cx:pt idx="66076">0</cx:pt>
          <cx:pt idx="66077">0</cx:pt>
          <cx:pt idx="66078">1</cx:pt>
          <cx:pt idx="66079">0</cx:pt>
          <cx:pt idx="66080">0</cx:pt>
          <cx:pt idx="66081">1</cx:pt>
          <cx:pt idx="66082">1</cx:pt>
          <cx:pt idx="66083">1</cx:pt>
          <cx:pt idx="66084">0</cx:pt>
          <cx:pt idx="66085">0</cx:pt>
          <cx:pt idx="66086">0</cx:pt>
          <cx:pt idx="66087">1</cx:pt>
          <cx:pt idx="66088">1</cx:pt>
          <cx:pt idx="66089">1</cx:pt>
          <cx:pt idx="66090">1</cx:pt>
          <cx:pt idx="66091">0</cx:pt>
          <cx:pt idx="66092">1</cx:pt>
          <cx:pt idx="66093">0</cx:pt>
          <cx:pt idx="66094">0</cx:pt>
          <cx:pt idx="66095">1</cx:pt>
          <cx:pt idx="66096">0</cx:pt>
          <cx:pt idx="66097">0</cx:pt>
          <cx:pt idx="66098">1</cx:pt>
          <cx:pt idx="66099">0</cx:pt>
          <cx:pt idx="66100">0</cx:pt>
          <cx:pt idx="66101">1</cx:pt>
          <cx:pt idx="66102">0</cx:pt>
          <cx:pt idx="66103">1</cx:pt>
          <cx:pt idx="66104">0</cx:pt>
          <cx:pt idx="66105">0</cx:pt>
          <cx:pt idx="66106">1</cx:pt>
          <cx:pt idx="66107">1</cx:pt>
          <cx:pt idx="66108">0</cx:pt>
          <cx:pt idx="66109">1</cx:pt>
          <cx:pt idx="66110">1</cx:pt>
          <cx:pt idx="66111">0</cx:pt>
          <cx:pt idx="66112">1</cx:pt>
          <cx:pt idx="66113">0</cx:pt>
          <cx:pt idx="66114">1</cx:pt>
          <cx:pt idx="66115">0</cx:pt>
          <cx:pt idx="66116">0</cx:pt>
          <cx:pt idx="66117">1</cx:pt>
          <cx:pt idx="66118">1</cx:pt>
          <cx:pt idx="66119">0</cx:pt>
          <cx:pt idx="66120">1</cx:pt>
          <cx:pt idx="66121">0</cx:pt>
          <cx:pt idx="66122">1</cx:pt>
          <cx:pt idx="66123">1</cx:pt>
          <cx:pt idx="66124">1</cx:pt>
          <cx:pt idx="66125">1</cx:pt>
          <cx:pt idx="66126">1</cx:pt>
          <cx:pt idx="66127">1</cx:pt>
          <cx:pt idx="66128">1</cx:pt>
          <cx:pt idx="66129">1</cx:pt>
          <cx:pt idx="66130">1</cx:pt>
          <cx:pt idx="66131">0</cx:pt>
          <cx:pt idx="66132">1</cx:pt>
          <cx:pt idx="66133">1</cx:pt>
          <cx:pt idx="66134">1</cx:pt>
          <cx:pt idx="66135">1</cx:pt>
          <cx:pt idx="66136">1</cx:pt>
          <cx:pt idx="66137">1</cx:pt>
          <cx:pt idx="66138">1</cx:pt>
          <cx:pt idx="66139">0</cx:pt>
          <cx:pt idx="66140">0</cx:pt>
          <cx:pt idx="66141">1</cx:pt>
          <cx:pt idx="66142">0</cx:pt>
          <cx:pt idx="66143">1</cx:pt>
          <cx:pt idx="66144">1</cx:pt>
          <cx:pt idx="66145">1</cx:pt>
          <cx:pt idx="66146">0</cx:pt>
          <cx:pt idx="66147">0</cx:pt>
          <cx:pt idx="66148">1</cx:pt>
          <cx:pt idx="66149">1</cx:pt>
          <cx:pt idx="66150">1</cx:pt>
          <cx:pt idx="66151">0</cx:pt>
          <cx:pt idx="66152">0</cx:pt>
          <cx:pt idx="66153">1</cx:pt>
          <cx:pt idx="66154">1</cx:pt>
          <cx:pt idx="66155">1</cx:pt>
          <cx:pt idx="66156">0</cx:pt>
          <cx:pt idx="66157">0</cx:pt>
          <cx:pt idx="66158">1</cx:pt>
          <cx:pt idx="66159">0</cx:pt>
          <cx:pt idx="66160">1</cx:pt>
          <cx:pt idx="66161">0</cx:pt>
          <cx:pt idx="66162">1</cx:pt>
          <cx:pt idx="66163">1</cx:pt>
          <cx:pt idx="66164">0</cx:pt>
          <cx:pt idx="66165">0</cx:pt>
          <cx:pt idx="66166">0</cx:pt>
          <cx:pt idx="66167">0</cx:pt>
          <cx:pt idx="66168">1</cx:pt>
          <cx:pt idx="66169">0</cx:pt>
          <cx:pt idx="66170">0</cx:pt>
          <cx:pt idx="66171">0</cx:pt>
          <cx:pt idx="66172">1</cx:pt>
          <cx:pt idx="66173">0</cx:pt>
          <cx:pt idx="66174">1</cx:pt>
          <cx:pt idx="66175">0</cx:pt>
          <cx:pt idx="66176">0</cx:pt>
          <cx:pt idx="66177">1</cx:pt>
          <cx:pt idx="66178">0</cx:pt>
          <cx:pt idx="66179">1</cx:pt>
          <cx:pt idx="66180">0</cx:pt>
          <cx:pt idx="66181">0</cx:pt>
          <cx:pt idx="66182">0</cx:pt>
          <cx:pt idx="66183">1</cx:pt>
          <cx:pt idx="66184">1</cx:pt>
          <cx:pt idx="66185">0</cx:pt>
          <cx:pt idx="66186">1</cx:pt>
          <cx:pt idx="66187">1</cx:pt>
          <cx:pt idx="66188">1</cx:pt>
          <cx:pt idx="66189">0</cx:pt>
          <cx:pt idx="66190">0</cx:pt>
          <cx:pt idx="66191">1</cx:pt>
          <cx:pt idx="66192">0</cx:pt>
          <cx:pt idx="66193">1</cx:pt>
          <cx:pt idx="66194">0</cx:pt>
          <cx:pt idx="66195">0</cx:pt>
          <cx:pt idx="66196">0</cx:pt>
          <cx:pt idx="66197">0</cx:pt>
          <cx:pt idx="66198">0</cx:pt>
          <cx:pt idx="66199">1</cx:pt>
          <cx:pt idx="66200">1</cx:pt>
          <cx:pt idx="66201">1</cx:pt>
          <cx:pt idx="66202">1</cx:pt>
          <cx:pt idx="66203">0</cx:pt>
          <cx:pt idx="66204">1</cx:pt>
          <cx:pt idx="66205">0</cx:pt>
          <cx:pt idx="66206">1</cx:pt>
          <cx:pt idx="66207">0</cx:pt>
          <cx:pt idx="66208">1</cx:pt>
          <cx:pt idx="66209">0</cx:pt>
          <cx:pt idx="66210">1</cx:pt>
          <cx:pt idx="66211">0</cx:pt>
          <cx:pt idx="66212">1</cx:pt>
          <cx:pt idx="66213">0</cx:pt>
          <cx:pt idx="66214">0</cx:pt>
          <cx:pt idx="66215">0</cx:pt>
          <cx:pt idx="66216">0</cx:pt>
          <cx:pt idx="66217">1</cx:pt>
          <cx:pt idx="66218">1</cx:pt>
          <cx:pt idx="66219">1</cx:pt>
          <cx:pt idx="66220">0</cx:pt>
          <cx:pt idx="66221">1</cx:pt>
          <cx:pt idx="66222">0</cx:pt>
          <cx:pt idx="66223">0</cx:pt>
          <cx:pt idx="66224">1</cx:pt>
          <cx:pt idx="66225">0</cx:pt>
          <cx:pt idx="66226">0</cx:pt>
          <cx:pt idx="66227">0</cx:pt>
          <cx:pt idx="66228">0</cx:pt>
          <cx:pt idx="66229">1</cx:pt>
          <cx:pt idx="66230">1</cx:pt>
          <cx:pt idx="66231">1</cx:pt>
          <cx:pt idx="66232">0</cx:pt>
          <cx:pt idx="66233">1</cx:pt>
          <cx:pt idx="66234">1</cx:pt>
          <cx:pt idx="66235">1</cx:pt>
          <cx:pt idx="66236">0</cx:pt>
          <cx:pt idx="66237">0</cx:pt>
          <cx:pt idx="66238">1</cx:pt>
          <cx:pt idx="66239">1</cx:pt>
          <cx:pt idx="66240">0</cx:pt>
          <cx:pt idx="66241">1</cx:pt>
          <cx:pt idx="66242">1</cx:pt>
          <cx:pt idx="66243">0</cx:pt>
          <cx:pt idx="66244">0</cx:pt>
          <cx:pt idx="66245">1</cx:pt>
          <cx:pt idx="66246">1</cx:pt>
          <cx:pt idx="66247">1</cx:pt>
          <cx:pt idx="66248">1</cx:pt>
          <cx:pt idx="66249">1</cx:pt>
          <cx:pt idx="66250">1</cx:pt>
          <cx:pt idx="66251">0</cx:pt>
          <cx:pt idx="66252">1</cx:pt>
          <cx:pt idx="66253">0</cx:pt>
          <cx:pt idx="66254">0</cx:pt>
          <cx:pt idx="66255">0</cx:pt>
          <cx:pt idx="66256">0</cx:pt>
          <cx:pt idx="66257">1</cx:pt>
          <cx:pt idx="66258">0</cx:pt>
          <cx:pt idx="66259">0</cx:pt>
          <cx:pt idx="66260">0</cx:pt>
          <cx:pt idx="66261">1</cx:pt>
          <cx:pt idx="66262">0</cx:pt>
          <cx:pt idx="66263">0</cx:pt>
          <cx:pt idx="66264">1</cx:pt>
          <cx:pt idx="66265">0</cx:pt>
          <cx:pt idx="66266">0</cx:pt>
          <cx:pt idx="66267">0</cx:pt>
          <cx:pt idx="66268">0</cx:pt>
          <cx:pt idx="66269">1</cx:pt>
          <cx:pt idx="66270">0</cx:pt>
          <cx:pt idx="66271">0</cx:pt>
          <cx:pt idx="66272">0</cx:pt>
          <cx:pt idx="66273">1</cx:pt>
          <cx:pt idx="66274">0</cx:pt>
          <cx:pt idx="66275">1</cx:pt>
          <cx:pt idx="66276">0</cx:pt>
          <cx:pt idx="66277">0</cx:pt>
          <cx:pt idx="66278">1</cx:pt>
          <cx:pt idx="66279">1</cx:pt>
          <cx:pt idx="66280">1</cx:pt>
          <cx:pt idx="66281">1</cx:pt>
          <cx:pt idx="66282">1</cx:pt>
          <cx:pt idx="66283">0</cx:pt>
          <cx:pt idx="66284">0</cx:pt>
          <cx:pt idx="66285">1</cx:pt>
          <cx:pt idx="66286">1</cx:pt>
          <cx:pt idx="66287">0</cx:pt>
          <cx:pt idx="66288">0</cx:pt>
          <cx:pt idx="66289">1</cx:pt>
          <cx:pt idx="66290">1</cx:pt>
          <cx:pt idx="66291">0</cx:pt>
          <cx:pt idx="66292">0</cx:pt>
          <cx:pt idx="66293">1</cx:pt>
          <cx:pt idx="66294">1</cx:pt>
          <cx:pt idx="66295">0</cx:pt>
          <cx:pt idx="66296">0</cx:pt>
          <cx:pt idx="66297">1</cx:pt>
          <cx:pt idx="66298">1</cx:pt>
          <cx:pt idx="66299">1</cx:pt>
          <cx:pt idx="66300">0</cx:pt>
          <cx:pt idx="66301">0</cx:pt>
          <cx:pt idx="66302">0</cx:pt>
          <cx:pt idx="66303">1</cx:pt>
          <cx:pt idx="66304">1</cx:pt>
          <cx:pt idx="66305">1</cx:pt>
          <cx:pt idx="66306">0</cx:pt>
          <cx:pt idx="66307">1</cx:pt>
          <cx:pt idx="66308">1</cx:pt>
          <cx:pt idx="66309">1</cx:pt>
          <cx:pt idx="66310">0</cx:pt>
          <cx:pt idx="66311">1</cx:pt>
          <cx:pt idx="66312">0</cx:pt>
          <cx:pt idx="66313">0</cx:pt>
          <cx:pt idx="66314">0</cx:pt>
          <cx:pt idx="66315">0</cx:pt>
          <cx:pt idx="66316">0</cx:pt>
          <cx:pt idx="66317">0</cx:pt>
          <cx:pt idx="66318">1</cx:pt>
          <cx:pt idx="66319">0</cx:pt>
          <cx:pt idx="66320">0</cx:pt>
          <cx:pt idx="66321">0</cx:pt>
          <cx:pt idx="66322">0</cx:pt>
          <cx:pt idx="66323">1</cx:pt>
          <cx:pt idx="66324">0</cx:pt>
          <cx:pt idx="66325">0</cx:pt>
          <cx:pt idx="66326">1</cx:pt>
          <cx:pt idx="66327">0</cx:pt>
          <cx:pt idx="66328">1</cx:pt>
          <cx:pt idx="66329">0</cx:pt>
          <cx:pt idx="66330">0</cx:pt>
          <cx:pt idx="66331">1</cx:pt>
          <cx:pt idx="66332">0</cx:pt>
          <cx:pt idx="66333">0</cx:pt>
          <cx:pt idx="66334">1</cx:pt>
          <cx:pt idx="66335">1</cx:pt>
          <cx:pt idx="66336">0</cx:pt>
          <cx:pt idx="66337">0</cx:pt>
          <cx:pt idx="66338">0</cx:pt>
          <cx:pt idx="66339">0</cx:pt>
          <cx:pt idx="66340">0</cx:pt>
          <cx:pt idx="66341">0</cx:pt>
          <cx:pt idx="66342">1</cx:pt>
          <cx:pt idx="66343">0</cx:pt>
          <cx:pt idx="66344">1</cx:pt>
          <cx:pt idx="66345">0</cx:pt>
          <cx:pt idx="66346">0</cx:pt>
          <cx:pt idx="66347">0</cx:pt>
          <cx:pt idx="66348">1</cx:pt>
          <cx:pt idx="66349">0</cx:pt>
          <cx:pt idx="66350">0</cx:pt>
          <cx:pt idx="66351">1</cx:pt>
          <cx:pt idx="66352">0</cx:pt>
          <cx:pt idx="66353">1</cx:pt>
          <cx:pt idx="66354">1</cx:pt>
          <cx:pt idx="66355">0</cx:pt>
          <cx:pt idx="66356">0</cx:pt>
          <cx:pt idx="66357">0</cx:pt>
          <cx:pt idx="66358">0</cx:pt>
          <cx:pt idx="66359">0</cx:pt>
          <cx:pt idx="66360">0</cx:pt>
          <cx:pt idx="66361">1</cx:pt>
          <cx:pt idx="66362">0</cx:pt>
          <cx:pt idx="66363">0</cx:pt>
          <cx:pt idx="66364">0</cx:pt>
          <cx:pt idx="66365">0</cx:pt>
          <cx:pt idx="66366">0</cx:pt>
          <cx:pt idx="66367">1</cx:pt>
          <cx:pt idx="66368">1</cx:pt>
          <cx:pt idx="66369">1</cx:pt>
          <cx:pt idx="66370">1</cx:pt>
          <cx:pt idx="66371">1</cx:pt>
          <cx:pt idx="66372">0</cx:pt>
          <cx:pt idx="66373">0</cx:pt>
          <cx:pt idx="66374">1</cx:pt>
          <cx:pt idx="66375">1</cx:pt>
          <cx:pt idx="66376">1</cx:pt>
          <cx:pt idx="66377">1</cx:pt>
          <cx:pt idx="66378">0</cx:pt>
          <cx:pt idx="66379">1</cx:pt>
          <cx:pt idx="66380">1</cx:pt>
          <cx:pt idx="66381">1</cx:pt>
          <cx:pt idx="66382">1</cx:pt>
          <cx:pt idx="66383">1</cx:pt>
          <cx:pt idx="66384">0</cx:pt>
          <cx:pt idx="66385">1</cx:pt>
          <cx:pt idx="66386">0</cx:pt>
          <cx:pt idx="66387">0</cx:pt>
          <cx:pt idx="66388">0</cx:pt>
          <cx:pt idx="66389">0</cx:pt>
          <cx:pt idx="66390">1</cx:pt>
          <cx:pt idx="66391">1</cx:pt>
          <cx:pt idx="66392">0</cx:pt>
          <cx:pt idx="66393">0</cx:pt>
          <cx:pt idx="66394">0</cx:pt>
          <cx:pt idx="66395">0</cx:pt>
          <cx:pt idx="66396">1</cx:pt>
          <cx:pt idx="66397">0</cx:pt>
          <cx:pt idx="66398">1</cx:pt>
          <cx:pt idx="66399">0</cx:pt>
          <cx:pt idx="66400">0</cx:pt>
          <cx:pt idx="66401">1</cx:pt>
          <cx:pt idx="66402">1</cx:pt>
          <cx:pt idx="66403">0</cx:pt>
          <cx:pt idx="66404">0</cx:pt>
          <cx:pt idx="66405">0</cx:pt>
          <cx:pt idx="66406">0</cx:pt>
          <cx:pt idx="66407">1</cx:pt>
          <cx:pt idx="66408">1</cx:pt>
          <cx:pt idx="66409">0</cx:pt>
          <cx:pt idx="66410">0</cx:pt>
          <cx:pt idx="66411">1</cx:pt>
          <cx:pt idx="66412">1</cx:pt>
          <cx:pt idx="66413">0</cx:pt>
          <cx:pt idx="66414">0</cx:pt>
          <cx:pt idx="66415">1</cx:pt>
          <cx:pt idx="66416">0</cx:pt>
          <cx:pt idx="66417">1</cx:pt>
          <cx:pt idx="66418">0</cx:pt>
          <cx:pt idx="66419">0</cx:pt>
          <cx:pt idx="66420">1</cx:pt>
          <cx:pt idx="66421">0</cx:pt>
          <cx:pt idx="66422">1</cx:pt>
          <cx:pt idx="66423">1</cx:pt>
          <cx:pt idx="66424">0</cx:pt>
          <cx:pt idx="66425">0</cx:pt>
          <cx:pt idx="66426">1</cx:pt>
          <cx:pt idx="66427">0</cx:pt>
          <cx:pt idx="66428">0</cx:pt>
          <cx:pt idx="66429">0</cx:pt>
          <cx:pt idx="66430">1</cx:pt>
          <cx:pt idx="66431">1</cx:pt>
          <cx:pt idx="66432">0</cx:pt>
          <cx:pt idx="66433">1</cx:pt>
          <cx:pt idx="66434">0</cx:pt>
          <cx:pt idx="66435">1</cx:pt>
          <cx:pt idx="66436">0</cx:pt>
          <cx:pt idx="66437">0</cx:pt>
          <cx:pt idx="66438">1</cx:pt>
          <cx:pt idx="66439">1</cx:pt>
          <cx:pt idx="66440">0</cx:pt>
          <cx:pt idx="66441">0</cx:pt>
          <cx:pt idx="66442">0</cx:pt>
          <cx:pt idx="66443">1</cx:pt>
          <cx:pt idx="66444">1</cx:pt>
          <cx:pt idx="66445">0</cx:pt>
          <cx:pt idx="66446">1</cx:pt>
          <cx:pt idx="66447">0</cx:pt>
          <cx:pt idx="66448">0</cx:pt>
          <cx:pt idx="66449">0</cx:pt>
          <cx:pt idx="66450">0</cx:pt>
          <cx:pt idx="66451">0</cx:pt>
          <cx:pt idx="66452">0</cx:pt>
          <cx:pt idx="66453">0</cx:pt>
          <cx:pt idx="66454">0</cx:pt>
          <cx:pt idx="66455">0</cx:pt>
          <cx:pt idx="66456">0</cx:pt>
          <cx:pt idx="66457">1</cx:pt>
          <cx:pt idx="66458">1</cx:pt>
          <cx:pt idx="66459">0</cx:pt>
          <cx:pt idx="66460">0</cx:pt>
          <cx:pt idx="66461">1</cx:pt>
          <cx:pt idx="66462">0</cx:pt>
          <cx:pt idx="66463">0</cx:pt>
          <cx:pt idx="66464">0</cx:pt>
          <cx:pt idx="66465">1</cx:pt>
          <cx:pt idx="66466">1</cx:pt>
          <cx:pt idx="66467">0</cx:pt>
          <cx:pt idx="66468">0</cx:pt>
          <cx:pt idx="66469">0</cx:pt>
          <cx:pt idx="66470">1</cx:pt>
          <cx:pt idx="66471">1</cx:pt>
          <cx:pt idx="66472">1</cx:pt>
          <cx:pt idx="66473">1</cx:pt>
          <cx:pt idx="66474">1</cx:pt>
          <cx:pt idx="66475">0</cx:pt>
          <cx:pt idx="66476">1</cx:pt>
          <cx:pt idx="66477">0</cx:pt>
          <cx:pt idx="66478">1</cx:pt>
          <cx:pt idx="66479">0</cx:pt>
          <cx:pt idx="66480">1</cx:pt>
          <cx:pt idx="66481">0</cx:pt>
          <cx:pt idx="66482">0</cx:pt>
          <cx:pt idx="66483">1</cx:pt>
          <cx:pt idx="66484">0</cx:pt>
          <cx:pt idx="66485">0</cx:pt>
          <cx:pt idx="66486">1</cx:pt>
          <cx:pt idx="66487">1</cx:pt>
          <cx:pt idx="66488">0</cx:pt>
          <cx:pt idx="66489">0</cx:pt>
          <cx:pt idx="66490">1</cx:pt>
          <cx:pt idx="66491">0</cx:pt>
          <cx:pt idx="66492">0</cx:pt>
          <cx:pt idx="66493">1</cx:pt>
          <cx:pt idx="66494">1</cx:pt>
          <cx:pt idx="66495">0</cx:pt>
          <cx:pt idx="66496">0</cx:pt>
          <cx:pt idx="66497">0</cx:pt>
          <cx:pt idx="66498">0</cx:pt>
          <cx:pt idx="66499">1</cx:pt>
          <cx:pt idx="66500">0</cx:pt>
          <cx:pt idx="66501">0</cx:pt>
          <cx:pt idx="66502">0</cx:pt>
          <cx:pt idx="66503">1</cx:pt>
          <cx:pt idx="66504">1</cx:pt>
          <cx:pt idx="66505">0</cx:pt>
          <cx:pt idx="66506">1</cx:pt>
          <cx:pt idx="66507">1</cx:pt>
          <cx:pt idx="66508">1</cx:pt>
          <cx:pt idx="66509">0</cx:pt>
          <cx:pt idx="66510">1</cx:pt>
          <cx:pt idx="66511">1</cx:pt>
          <cx:pt idx="66512">1</cx:pt>
          <cx:pt idx="66513">1</cx:pt>
          <cx:pt idx="66514">0</cx:pt>
          <cx:pt idx="66515">0</cx:pt>
          <cx:pt idx="66516">0</cx:pt>
          <cx:pt idx="66517">0</cx:pt>
          <cx:pt idx="66518">0</cx:pt>
          <cx:pt idx="66519">1</cx:pt>
          <cx:pt idx="66520">0</cx:pt>
          <cx:pt idx="66521">1</cx:pt>
          <cx:pt idx="66522">1</cx:pt>
          <cx:pt idx="66523">0</cx:pt>
          <cx:pt idx="66524">1</cx:pt>
          <cx:pt idx="66525">0</cx:pt>
          <cx:pt idx="66526">0</cx:pt>
          <cx:pt idx="66527">1</cx:pt>
          <cx:pt idx="66528">0</cx:pt>
          <cx:pt idx="66529">0</cx:pt>
          <cx:pt idx="66530">1</cx:pt>
          <cx:pt idx="66531">0</cx:pt>
          <cx:pt idx="66532">1</cx:pt>
          <cx:pt idx="66533">1</cx:pt>
          <cx:pt idx="66534">1</cx:pt>
          <cx:pt idx="66535">1</cx:pt>
          <cx:pt idx="66536">1</cx:pt>
          <cx:pt idx="66537">0</cx:pt>
          <cx:pt idx="66538">0</cx:pt>
          <cx:pt idx="66539">1</cx:pt>
          <cx:pt idx="66540">0</cx:pt>
          <cx:pt idx="66541">0</cx:pt>
          <cx:pt idx="66542">1</cx:pt>
          <cx:pt idx="66543">1</cx:pt>
          <cx:pt idx="66544">1</cx:pt>
          <cx:pt idx="66545">1</cx:pt>
          <cx:pt idx="66546">1</cx:pt>
          <cx:pt idx="66547">1</cx:pt>
          <cx:pt idx="66548">1</cx:pt>
          <cx:pt idx="66549">0</cx:pt>
          <cx:pt idx="66550">1</cx:pt>
          <cx:pt idx="66551">0</cx:pt>
          <cx:pt idx="66552">1</cx:pt>
          <cx:pt idx="66553">0</cx:pt>
          <cx:pt idx="66554">0</cx:pt>
          <cx:pt idx="66555">1</cx:pt>
          <cx:pt idx="66556">0</cx:pt>
          <cx:pt idx="66557">0</cx:pt>
          <cx:pt idx="66558">1</cx:pt>
          <cx:pt idx="66559">0</cx:pt>
          <cx:pt idx="66560">1</cx:pt>
          <cx:pt idx="66561">0</cx:pt>
          <cx:pt idx="66562">1</cx:pt>
          <cx:pt idx="66563">1</cx:pt>
          <cx:pt idx="66564">0</cx:pt>
          <cx:pt idx="66565">0</cx:pt>
          <cx:pt idx="66566">0</cx:pt>
          <cx:pt idx="66567">1</cx:pt>
          <cx:pt idx="66568">0</cx:pt>
          <cx:pt idx="66569">0</cx:pt>
          <cx:pt idx="66570">0</cx:pt>
          <cx:pt idx="66571">0</cx:pt>
          <cx:pt idx="66572">1</cx:pt>
          <cx:pt idx="66573">0</cx:pt>
          <cx:pt idx="66574">1</cx:pt>
          <cx:pt idx="66575">1</cx:pt>
          <cx:pt idx="66576">1</cx:pt>
          <cx:pt idx="66577">0</cx:pt>
          <cx:pt idx="66578">0</cx:pt>
          <cx:pt idx="66579">1</cx:pt>
          <cx:pt idx="66580">1</cx:pt>
          <cx:pt idx="66581">0</cx:pt>
          <cx:pt idx="66582">0</cx:pt>
          <cx:pt idx="66583">1</cx:pt>
          <cx:pt idx="66584">1</cx:pt>
          <cx:pt idx="66585">1</cx:pt>
          <cx:pt idx="66586">0</cx:pt>
          <cx:pt idx="66587">1</cx:pt>
          <cx:pt idx="66588">1</cx:pt>
          <cx:pt idx="66589">0</cx:pt>
          <cx:pt idx="66590">1</cx:pt>
          <cx:pt idx="66591">0</cx:pt>
          <cx:pt idx="66592">1</cx:pt>
          <cx:pt idx="66593">1</cx:pt>
          <cx:pt idx="66594">0</cx:pt>
          <cx:pt idx="66595">1</cx:pt>
          <cx:pt idx="66596">1</cx:pt>
          <cx:pt idx="66597">0</cx:pt>
          <cx:pt idx="66598">0</cx:pt>
          <cx:pt idx="66599">0</cx:pt>
          <cx:pt idx="66600">1</cx:pt>
          <cx:pt idx="66601">0</cx:pt>
          <cx:pt idx="66602">0</cx:pt>
          <cx:pt idx="66603">1</cx:pt>
          <cx:pt idx="66604">0</cx:pt>
          <cx:pt idx="66605">1</cx:pt>
          <cx:pt idx="66606">0</cx:pt>
          <cx:pt idx="66607">1</cx:pt>
          <cx:pt idx="66608">1</cx:pt>
          <cx:pt idx="66609">1</cx:pt>
          <cx:pt idx="66610">0</cx:pt>
          <cx:pt idx="66611">1</cx:pt>
          <cx:pt idx="66612">0</cx:pt>
          <cx:pt idx="66613">0</cx:pt>
          <cx:pt idx="66614">1</cx:pt>
          <cx:pt idx="66615">0</cx:pt>
          <cx:pt idx="66616">1</cx:pt>
          <cx:pt idx="66617">0</cx:pt>
          <cx:pt idx="66618">1</cx:pt>
          <cx:pt idx="66619">0</cx:pt>
          <cx:pt idx="66620">0</cx:pt>
          <cx:pt idx="66621">1</cx:pt>
          <cx:pt idx="66622">1</cx:pt>
          <cx:pt idx="66623">0</cx:pt>
          <cx:pt idx="66624">1</cx:pt>
          <cx:pt idx="66625">1</cx:pt>
          <cx:pt idx="66626">0</cx:pt>
          <cx:pt idx="66627">0</cx:pt>
          <cx:pt idx="66628">0</cx:pt>
          <cx:pt idx="66629">1</cx:pt>
          <cx:pt idx="66630">0</cx:pt>
          <cx:pt idx="66631">1</cx:pt>
          <cx:pt idx="66632">0</cx:pt>
          <cx:pt idx="66633">0</cx:pt>
          <cx:pt idx="66634">0</cx:pt>
          <cx:pt idx="66635">1</cx:pt>
          <cx:pt idx="66636">0</cx:pt>
          <cx:pt idx="66637">0</cx:pt>
          <cx:pt idx="66638">1</cx:pt>
          <cx:pt idx="66639">1</cx:pt>
          <cx:pt idx="66640">1</cx:pt>
          <cx:pt idx="66641">0</cx:pt>
          <cx:pt idx="66642">0</cx:pt>
          <cx:pt idx="66643">1</cx:pt>
          <cx:pt idx="66644">0</cx:pt>
          <cx:pt idx="66645">0</cx:pt>
          <cx:pt idx="66646">1</cx:pt>
          <cx:pt idx="66647">1</cx:pt>
          <cx:pt idx="66648">0</cx:pt>
          <cx:pt idx="66649">1</cx:pt>
          <cx:pt idx="66650">0</cx:pt>
          <cx:pt idx="66651">1</cx:pt>
          <cx:pt idx="66652">0</cx:pt>
          <cx:pt idx="66653">0</cx:pt>
          <cx:pt idx="66654">0</cx:pt>
          <cx:pt idx="66655">0</cx:pt>
          <cx:pt idx="66656">0</cx:pt>
          <cx:pt idx="66657">1</cx:pt>
          <cx:pt idx="66658">0</cx:pt>
          <cx:pt idx="66659">0</cx:pt>
          <cx:pt idx="66660">1</cx:pt>
          <cx:pt idx="66661">0</cx:pt>
          <cx:pt idx="66662">0</cx:pt>
          <cx:pt idx="66663">0</cx:pt>
          <cx:pt idx="66664">0</cx:pt>
          <cx:pt idx="66665">1</cx:pt>
          <cx:pt idx="66666">0</cx:pt>
          <cx:pt idx="66667">1</cx:pt>
          <cx:pt idx="66668">0</cx:pt>
          <cx:pt idx="66669">1</cx:pt>
          <cx:pt idx="66670">1</cx:pt>
          <cx:pt idx="66671">1</cx:pt>
          <cx:pt idx="66672">1</cx:pt>
          <cx:pt idx="66673">1</cx:pt>
          <cx:pt idx="66674">0</cx:pt>
          <cx:pt idx="66675">0</cx:pt>
          <cx:pt idx="66676">0</cx:pt>
          <cx:pt idx="66677">0</cx:pt>
          <cx:pt idx="66678">1</cx:pt>
          <cx:pt idx="66679">1</cx:pt>
          <cx:pt idx="66680">1</cx:pt>
          <cx:pt idx="66681">0</cx:pt>
          <cx:pt idx="66682">0</cx:pt>
          <cx:pt idx="66683">0</cx:pt>
          <cx:pt idx="66684">1</cx:pt>
          <cx:pt idx="66685">0</cx:pt>
          <cx:pt idx="66686">0</cx:pt>
          <cx:pt idx="66687">0</cx:pt>
          <cx:pt idx="66688">1</cx:pt>
          <cx:pt idx="66689">1</cx:pt>
          <cx:pt idx="66690">0</cx:pt>
          <cx:pt idx="66691">0</cx:pt>
          <cx:pt idx="66692">1</cx:pt>
          <cx:pt idx="66693">1</cx:pt>
          <cx:pt idx="66694">0</cx:pt>
          <cx:pt idx="66695">1</cx:pt>
          <cx:pt idx="66696">1</cx:pt>
          <cx:pt idx="66697">1</cx:pt>
          <cx:pt idx="66698">1</cx:pt>
          <cx:pt idx="66699">1</cx:pt>
          <cx:pt idx="66700">0</cx:pt>
          <cx:pt idx="66701">0</cx:pt>
          <cx:pt idx="66702">0</cx:pt>
          <cx:pt idx="66703">1</cx:pt>
          <cx:pt idx="66704">0</cx:pt>
          <cx:pt idx="66705">0</cx:pt>
          <cx:pt idx="66706">0</cx:pt>
          <cx:pt idx="66707">0</cx:pt>
          <cx:pt idx="66708">1</cx:pt>
          <cx:pt idx="66709">0</cx:pt>
          <cx:pt idx="66710">0</cx:pt>
          <cx:pt idx="66711">0</cx:pt>
          <cx:pt idx="66712">0</cx:pt>
          <cx:pt idx="66713">0</cx:pt>
          <cx:pt idx="66714">1</cx:pt>
          <cx:pt idx="66715">1</cx:pt>
          <cx:pt idx="66716">0</cx:pt>
          <cx:pt idx="66717">0</cx:pt>
          <cx:pt idx="66718">1</cx:pt>
          <cx:pt idx="66719">1</cx:pt>
          <cx:pt idx="66720">0</cx:pt>
          <cx:pt idx="66721">0</cx:pt>
          <cx:pt idx="66722">0</cx:pt>
          <cx:pt idx="66723">0</cx:pt>
          <cx:pt idx="66724">1</cx:pt>
          <cx:pt idx="66725">1</cx:pt>
          <cx:pt idx="66726">0</cx:pt>
          <cx:pt idx="66727">1</cx:pt>
          <cx:pt idx="66728">0</cx:pt>
          <cx:pt idx="66729">1</cx:pt>
          <cx:pt idx="66730">0</cx:pt>
          <cx:pt idx="66731">0</cx:pt>
          <cx:pt idx="66732">0</cx:pt>
          <cx:pt idx="66733">0</cx:pt>
          <cx:pt idx="66734">1</cx:pt>
          <cx:pt idx="66735">0</cx:pt>
          <cx:pt idx="66736">0</cx:pt>
          <cx:pt idx="66737">0</cx:pt>
          <cx:pt idx="66738">0</cx:pt>
          <cx:pt idx="66739">0</cx:pt>
          <cx:pt idx="66740">0</cx:pt>
          <cx:pt idx="66741">1</cx:pt>
          <cx:pt idx="66742">0</cx:pt>
          <cx:pt idx="66743">0</cx:pt>
          <cx:pt idx="66744">0</cx:pt>
          <cx:pt idx="66745">1</cx:pt>
          <cx:pt idx="66746">0</cx:pt>
          <cx:pt idx="66747">0</cx:pt>
          <cx:pt idx="66748">1</cx:pt>
          <cx:pt idx="66749">1</cx:pt>
          <cx:pt idx="66750">0</cx:pt>
          <cx:pt idx="66751">0</cx:pt>
          <cx:pt idx="66752">0</cx:pt>
          <cx:pt idx="66753">1</cx:pt>
          <cx:pt idx="66754">1</cx:pt>
          <cx:pt idx="66755">0</cx:pt>
          <cx:pt idx="66756">0</cx:pt>
          <cx:pt idx="66757">1</cx:pt>
          <cx:pt idx="66758">1</cx:pt>
          <cx:pt idx="66759">0</cx:pt>
          <cx:pt idx="66760">0</cx:pt>
          <cx:pt idx="66761">1</cx:pt>
          <cx:pt idx="66762">0</cx:pt>
          <cx:pt idx="66763">1</cx:pt>
          <cx:pt idx="66764">0</cx:pt>
          <cx:pt idx="66765">0</cx:pt>
          <cx:pt idx="66766">0</cx:pt>
          <cx:pt idx="66767">0</cx:pt>
          <cx:pt idx="66768">1</cx:pt>
          <cx:pt idx="66769">0</cx:pt>
          <cx:pt idx="66770">0</cx:pt>
          <cx:pt idx="66771">0</cx:pt>
          <cx:pt idx="66772">0</cx:pt>
          <cx:pt idx="66773">0</cx:pt>
          <cx:pt idx="66774">0</cx:pt>
          <cx:pt idx="66775">1</cx:pt>
          <cx:pt idx="66776">1</cx:pt>
          <cx:pt idx="66777">1</cx:pt>
          <cx:pt idx="66778">0</cx:pt>
          <cx:pt idx="66779">1</cx:pt>
          <cx:pt idx="66780">1</cx:pt>
          <cx:pt idx="66781">1</cx:pt>
          <cx:pt idx="66782">1</cx:pt>
          <cx:pt idx="66783">0</cx:pt>
          <cx:pt idx="66784">0</cx:pt>
          <cx:pt idx="66785">0</cx:pt>
          <cx:pt idx="66786">1</cx:pt>
          <cx:pt idx="66787">0</cx:pt>
          <cx:pt idx="66788">0</cx:pt>
          <cx:pt idx="66789">0</cx:pt>
          <cx:pt idx="66790">0</cx:pt>
          <cx:pt idx="66791">0</cx:pt>
          <cx:pt idx="66792">0</cx:pt>
          <cx:pt idx="66793">0</cx:pt>
          <cx:pt idx="66794">1</cx:pt>
          <cx:pt idx="66795">0</cx:pt>
          <cx:pt idx="66796">0</cx:pt>
          <cx:pt idx="66797">1</cx:pt>
          <cx:pt idx="66798">1</cx:pt>
          <cx:pt idx="66799">0</cx:pt>
          <cx:pt idx="66800">0</cx:pt>
          <cx:pt idx="66801">1</cx:pt>
          <cx:pt idx="66802">1</cx:pt>
          <cx:pt idx="66803">1</cx:pt>
          <cx:pt idx="66804">1</cx:pt>
          <cx:pt idx="66805">0</cx:pt>
          <cx:pt idx="66806">0</cx:pt>
          <cx:pt idx="66807">0</cx:pt>
          <cx:pt idx="66808">1</cx:pt>
          <cx:pt idx="66809">1</cx:pt>
          <cx:pt idx="66810">0</cx:pt>
          <cx:pt idx="66811">1</cx:pt>
          <cx:pt idx="66812">0</cx:pt>
          <cx:pt idx="66813">0</cx:pt>
          <cx:pt idx="66814">1</cx:pt>
          <cx:pt idx="66815">1</cx:pt>
          <cx:pt idx="66816">1</cx:pt>
          <cx:pt idx="66817">0</cx:pt>
          <cx:pt idx="66818">0</cx:pt>
          <cx:pt idx="66819">0</cx:pt>
          <cx:pt idx="66820">0</cx:pt>
          <cx:pt idx="66821">1</cx:pt>
          <cx:pt idx="66822">0</cx:pt>
          <cx:pt idx="66823">0</cx:pt>
          <cx:pt idx="66824">1</cx:pt>
          <cx:pt idx="66825">0</cx:pt>
          <cx:pt idx="66826">0</cx:pt>
          <cx:pt idx="66827">0</cx:pt>
          <cx:pt idx="66828">0</cx:pt>
          <cx:pt idx="66829">1</cx:pt>
          <cx:pt idx="66830">1</cx:pt>
          <cx:pt idx="66831">0</cx:pt>
          <cx:pt idx="66832">1</cx:pt>
          <cx:pt idx="66833">0</cx:pt>
          <cx:pt idx="66834">1</cx:pt>
          <cx:pt idx="66835">1</cx:pt>
          <cx:pt idx="66836">0</cx:pt>
          <cx:pt idx="66837">0</cx:pt>
          <cx:pt idx="66838">1</cx:pt>
          <cx:pt idx="66839">0</cx:pt>
          <cx:pt idx="66840">0</cx:pt>
          <cx:pt idx="66841">1</cx:pt>
          <cx:pt idx="66842">1</cx:pt>
          <cx:pt idx="66843">0</cx:pt>
          <cx:pt idx="66844">0</cx:pt>
          <cx:pt idx="66845">1</cx:pt>
          <cx:pt idx="66846">1</cx:pt>
          <cx:pt idx="66847">1</cx:pt>
          <cx:pt idx="66848">1</cx:pt>
          <cx:pt idx="66849">0</cx:pt>
          <cx:pt idx="66850">1</cx:pt>
          <cx:pt idx="66851">0</cx:pt>
          <cx:pt idx="66852">1</cx:pt>
          <cx:pt idx="66853">1</cx:pt>
          <cx:pt idx="66854">0</cx:pt>
          <cx:pt idx="66855">1</cx:pt>
          <cx:pt idx="66856">0</cx:pt>
          <cx:pt idx="66857">1</cx:pt>
          <cx:pt idx="66858">0</cx:pt>
          <cx:pt idx="66859">1</cx:pt>
          <cx:pt idx="66860">0</cx:pt>
          <cx:pt idx="66861">1</cx:pt>
          <cx:pt idx="66862">0</cx:pt>
          <cx:pt idx="66863">1</cx:pt>
          <cx:pt idx="66864">1</cx:pt>
          <cx:pt idx="66865">0</cx:pt>
          <cx:pt idx="66866">1</cx:pt>
          <cx:pt idx="66867">0</cx:pt>
          <cx:pt idx="66868">0</cx:pt>
          <cx:pt idx="66869">0</cx:pt>
          <cx:pt idx="66870">0</cx:pt>
          <cx:pt idx="66871">0</cx:pt>
          <cx:pt idx="66872">1</cx:pt>
          <cx:pt idx="66873">0</cx:pt>
          <cx:pt idx="66874">1</cx:pt>
          <cx:pt idx="66875">0</cx:pt>
          <cx:pt idx="66876">1</cx:pt>
          <cx:pt idx="66877">0</cx:pt>
          <cx:pt idx="66878">1</cx:pt>
          <cx:pt idx="66879">0</cx:pt>
          <cx:pt idx="66880">0</cx:pt>
          <cx:pt idx="66881">0</cx:pt>
          <cx:pt idx="66882">0</cx:pt>
          <cx:pt idx="66883">0</cx:pt>
          <cx:pt idx="66884">1</cx:pt>
          <cx:pt idx="66885">1</cx:pt>
          <cx:pt idx="66886">0</cx:pt>
          <cx:pt idx="66887">1</cx:pt>
          <cx:pt idx="66888">0</cx:pt>
          <cx:pt idx="66889">1</cx:pt>
          <cx:pt idx="66890">0</cx:pt>
          <cx:pt idx="66891">0</cx:pt>
          <cx:pt idx="66892">1</cx:pt>
          <cx:pt idx="66893">0</cx:pt>
          <cx:pt idx="66894">0</cx:pt>
          <cx:pt idx="66895">0</cx:pt>
          <cx:pt idx="66896">1</cx:pt>
          <cx:pt idx="66897">0</cx:pt>
          <cx:pt idx="66898">0</cx:pt>
          <cx:pt idx="66899">1</cx:pt>
          <cx:pt idx="66900">0</cx:pt>
          <cx:pt idx="66901">1</cx:pt>
          <cx:pt idx="66902">1</cx:pt>
          <cx:pt idx="66903">0</cx:pt>
          <cx:pt idx="66904">0</cx:pt>
          <cx:pt idx="66905">1</cx:pt>
          <cx:pt idx="66906">0</cx:pt>
          <cx:pt idx="66907">0</cx:pt>
          <cx:pt idx="66908">1</cx:pt>
          <cx:pt idx="66909">1</cx:pt>
          <cx:pt idx="66910">1</cx:pt>
          <cx:pt idx="66911">0</cx:pt>
          <cx:pt idx="66912">0</cx:pt>
          <cx:pt idx="66913">0</cx:pt>
          <cx:pt idx="66914">1</cx:pt>
          <cx:pt idx="66915">0</cx:pt>
          <cx:pt idx="66916">1</cx:pt>
          <cx:pt idx="66917">0</cx:pt>
          <cx:pt idx="66918">0</cx:pt>
          <cx:pt idx="66919">0</cx:pt>
          <cx:pt idx="66920">1</cx:pt>
          <cx:pt idx="66921">1</cx:pt>
          <cx:pt idx="66922">1</cx:pt>
          <cx:pt idx="66923">1</cx:pt>
          <cx:pt idx="66924">0</cx:pt>
          <cx:pt idx="66925">1</cx:pt>
          <cx:pt idx="66926">0</cx:pt>
          <cx:pt idx="66927">1</cx:pt>
          <cx:pt idx="66928">0</cx:pt>
          <cx:pt idx="66929">1</cx:pt>
          <cx:pt idx="66930">0</cx:pt>
          <cx:pt idx="66931">1</cx:pt>
          <cx:pt idx="66932">0</cx:pt>
          <cx:pt idx="66933">1</cx:pt>
          <cx:pt idx="66934">0</cx:pt>
          <cx:pt idx="66935">0</cx:pt>
          <cx:pt idx="66936">0</cx:pt>
          <cx:pt idx="66937">0</cx:pt>
          <cx:pt idx="66938">1</cx:pt>
          <cx:pt idx="66939">1</cx:pt>
          <cx:pt idx="66940">1</cx:pt>
          <cx:pt idx="66941">1</cx:pt>
          <cx:pt idx="66942">0</cx:pt>
          <cx:pt idx="66943">0</cx:pt>
          <cx:pt idx="66944">1</cx:pt>
          <cx:pt idx="66945">0</cx:pt>
          <cx:pt idx="66946">0</cx:pt>
          <cx:pt idx="66947">1</cx:pt>
          <cx:pt idx="66948">0</cx:pt>
          <cx:pt idx="66949">1</cx:pt>
          <cx:pt idx="66950">0</cx:pt>
          <cx:pt idx="66951">0</cx:pt>
          <cx:pt idx="66952">0</cx:pt>
          <cx:pt idx="66953">0</cx:pt>
          <cx:pt idx="66954">1</cx:pt>
          <cx:pt idx="66955">0</cx:pt>
          <cx:pt idx="66956">1</cx:pt>
          <cx:pt idx="66957">1</cx:pt>
          <cx:pt idx="66958">1</cx:pt>
          <cx:pt idx="66959">1</cx:pt>
          <cx:pt idx="66960">1</cx:pt>
          <cx:pt idx="66961">0</cx:pt>
          <cx:pt idx="66962">0</cx:pt>
          <cx:pt idx="66963">0</cx:pt>
          <cx:pt idx="66964">1</cx:pt>
          <cx:pt idx="66965">1</cx:pt>
          <cx:pt idx="66966">1</cx:pt>
          <cx:pt idx="66967">1</cx:pt>
          <cx:pt idx="66968">0</cx:pt>
          <cx:pt idx="66969">0</cx:pt>
          <cx:pt idx="66970">0</cx:pt>
          <cx:pt idx="66971">1</cx:pt>
          <cx:pt idx="66972">0</cx:pt>
          <cx:pt idx="66973">1</cx:pt>
          <cx:pt idx="66974">1</cx:pt>
          <cx:pt idx="66975">0</cx:pt>
          <cx:pt idx="66976">0</cx:pt>
          <cx:pt idx="66977">1</cx:pt>
          <cx:pt idx="66978">1</cx:pt>
          <cx:pt idx="66979">0</cx:pt>
          <cx:pt idx="66980">1</cx:pt>
          <cx:pt idx="66981">0</cx:pt>
          <cx:pt idx="66982">0</cx:pt>
          <cx:pt idx="66983">1</cx:pt>
          <cx:pt idx="66984">1</cx:pt>
          <cx:pt idx="66985">0</cx:pt>
          <cx:pt idx="66986">0</cx:pt>
          <cx:pt idx="66987">1</cx:pt>
          <cx:pt idx="66988">0</cx:pt>
          <cx:pt idx="66989">0</cx:pt>
          <cx:pt idx="66990">1</cx:pt>
          <cx:pt idx="66991">1</cx:pt>
          <cx:pt idx="66992">1</cx:pt>
          <cx:pt idx="66993">1</cx:pt>
          <cx:pt idx="66994">0</cx:pt>
          <cx:pt idx="66995">1</cx:pt>
          <cx:pt idx="66996">0</cx:pt>
          <cx:pt idx="66997">0</cx:pt>
          <cx:pt idx="66998">0</cx:pt>
          <cx:pt idx="66999">1</cx:pt>
          <cx:pt idx="67000">0</cx:pt>
          <cx:pt idx="67001">0</cx:pt>
          <cx:pt idx="67002">0</cx:pt>
          <cx:pt idx="67003">1</cx:pt>
          <cx:pt idx="67004">0</cx:pt>
          <cx:pt idx="67005">0</cx:pt>
          <cx:pt idx="67006">0</cx:pt>
          <cx:pt idx="67007">0</cx:pt>
          <cx:pt idx="67008">0</cx:pt>
          <cx:pt idx="67009">1</cx:pt>
          <cx:pt idx="67010">1</cx:pt>
          <cx:pt idx="67011">0</cx:pt>
          <cx:pt idx="67012">0</cx:pt>
          <cx:pt idx="67013">1</cx:pt>
          <cx:pt idx="67014">1</cx:pt>
          <cx:pt idx="67015">0</cx:pt>
          <cx:pt idx="67016">1</cx:pt>
          <cx:pt idx="67017">0</cx:pt>
          <cx:pt idx="67018">0</cx:pt>
          <cx:pt idx="67019">1</cx:pt>
          <cx:pt idx="67020">0</cx:pt>
          <cx:pt idx="67021">1</cx:pt>
          <cx:pt idx="67022">0</cx:pt>
          <cx:pt idx="67023">1</cx:pt>
          <cx:pt idx="67024">0</cx:pt>
          <cx:pt idx="67025">1</cx:pt>
          <cx:pt idx="67026">1</cx:pt>
          <cx:pt idx="67027">0</cx:pt>
          <cx:pt idx="67028">0</cx:pt>
          <cx:pt idx="67029">1</cx:pt>
          <cx:pt idx="67030">1</cx:pt>
          <cx:pt idx="67031">1</cx:pt>
          <cx:pt idx="67032">0</cx:pt>
          <cx:pt idx="67033">0</cx:pt>
          <cx:pt idx="67034">0</cx:pt>
          <cx:pt idx="67035">1</cx:pt>
          <cx:pt idx="67036">0</cx:pt>
          <cx:pt idx="67037">0</cx:pt>
          <cx:pt idx="67038">1</cx:pt>
          <cx:pt idx="67039">1</cx:pt>
          <cx:pt idx="67040">1</cx:pt>
          <cx:pt idx="67041">0</cx:pt>
          <cx:pt idx="67042">1</cx:pt>
          <cx:pt idx="67043">0</cx:pt>
          <cx:pt idx="67044">1</cx:pt>
          <cx:pt idx="67045">0</cx:pt>
          <cx:pt idx="67046">0</cx:pt>
          <cx:pt idx="67047">1</cx:pt>
          <cx:pt idx="67048">0</cx:pt>
          <cx:pt idx="67049">1</cx:pt>
          <cx:pt idx="67050">0</cx:pt>
          <cx:pt idx="67051">0</cx:pt>
          <cx:pt idx="67052">0</cx:pt>
          <cx:pt idx="67053">0</cx:pt>
          <cx:pt idx="67054">1</cx:pt>
          <cx:pt idx="67055">0</cx:pt>
          <cx:pt idx="67056">0</cx:pt>
          <cx:pt idx="67057">0</cx:pt>
          <cx:pt idx="67058">0</cx:pt>
          <cx:pt idx="67059">0</cx:pt>
          <cx:pt idx="67060">1</cx:pt>
          <cx:pt idx="67061">1</cx:pt>
          <cx:pt idx="67062">1</cx:pt>
          <cx:pt idx="67063">1</cx:pt>
          <cx:pt idx="67064">0</cx:pt>
          <cx:pt idx="67065">1</cx:pt>
          <cx:pt idx="67066">1</cx:pt>
          <cx:pt idx="67067">1</cx:pt>
          <cx:pt idx="67068">0</cx:pt>
          <cx:pt idx="67069">0</cx:pt>
          <cx:pt idx="67070">1</cx:pt>
          <cx:pt idx="67071">0</cx:pt>
          <cx:pt idx="67072">0</cx:pt>
          <cx:pt idx="67073">1</cx:pt>
          <cx:pt idx="67074">0</cx:pt>
          <cx:pt idx="67075">1</cx:pt>
          <cx:pt idx="67076">1</cx:pt>
          <cx:pt idx="67077">1</cx:pt>
          <cx:pt idx="67078">0</cx:pt>
          <cx:pt idx="67079">1</cx:pt>
          <cx:pt idx="67080">0</cx:pt>
          <cx:pt idx="67081">0</cx:pt>
          <cx:pt idx="67082">0</cx:pt>
          <cx:pt idx="67083">1</cx:pt>
          <cx:pt idx="67084">1</cx:pt>
          <cx:pt idx="67085">1</cx:pt>
          <cx:pt idx="67086">1</cx:pt>
          <cx:pt idx="67087">1</cx:pt>
          <cx:pt idx="67088">1</cx:pt>
          <cx:pt idx="67089">0</cx:pt>
          <cx:pt idx="67090">1</cx:pt>
          <cx:pt idx="67091">0</cx:pt>
          <cx:pt idx="67092">0</cx:pt>
          <cx:pt idx="67093">0</cx:pt>
          <cx:pt idx="67094">1</cx:pt>
          <cx:pt idx="67095">0</cx:pt>
          <cx:pt idx="67096">1</cx:pt>
          <cx:pt idx="67097">0</cx:pt>
          <cx:pt idx="67098">1</cx:pt>
          <cx:pt idx="67099">0</cx:pt>
          <cx:pt idx="67100">0</cx:pt>
          <cx:pt idx="67101">0</cx:pt>
          <cx:pt idx="67102">0</cx:pt>
          <cx:pt idx="67103">0</cx:pt>
          <cx:pt idx="67104">1</cx:pt>
          <cx:pt idx="67105">1</cx:pt>
          <cx:pt idx="67106">1</cx:pt>
          <cx:pt idx="67107">1</cx:pt>
          <cx:pt idx="67108">0</cx:pt>
          <cx:pt idx="67109">0</cx:pt>
          <cx:pt idx="67110">1</cx:pt>
          <cx:pt idx="67111">1</cx:pt>
          <cx:pt idx="67112">0</cx:pt>
          <cx:pt idx="67113">0</cx:pt>
          <cx:pt idx="67114">0</cx:pt>
          <cx:pt idx="67115">1</cx:pt>
          <cx:pt idx="67116">1</cx:pt>
          <cx:pt idx="67117">0</cx:pt>
          <cx:pt idx="67118">0</cx:pt>
          <cx:pt idx="67119">1</cx:pt>
          <cx:pt idx="67120">0</cx:pt>
          <cx:pt idx="67121">1</cx:pt>
          <cx:pt idx="67122">0</cx:pt>
          <cx:pt idx="67123">1</cx:pt>
          <cx:pt idx="67124">0</cx:pt>
          <cx:pt idx="67125">0</cx:pt>
          <cx:pt idx="67126">0</cx:pt>
          <cx:pt idx="67127">0</cx:pt>
          <cx:pt idx="67128">0</cx:pt>
          <cx:pt idx="67129">0</cx:pt>
          <cx:pt idx="67130">1</cx:pt>
          <cx:pt idx="67131">0</cx:pt>
          <cx:pt idx="67132">0</cx:pt>
          <cx:pt idx="67133">0</cx:pt>
          <cx:pt idx="67134">1</cx:pt>
          <cx:pt idx="67135">0</cx:pt>
          <cx:pt idx="67136">1</cx:pt>
          <cx:pt idx="67137">0</cx:pt>
          <cx:pt idx="67138">1</cx:pt>
          <cx:pt idx="67139">1</cx:pt>
          <cx:pt idx="67140">1</cx:pt>
          <cx:pt idx="67141">0</cx:pt>
          <cx:pt idx="67142">0</cx:pt>
          <cx:pt idx="67143">0</cx:pt>
          <cx:pt idx="67144">1</cx:pt>
          <cx:pt idx="67145">0</cx:pt>
          <cx:pt idx="67146">0</cx:pt>
          <cx:pt idx="67147">0</cx:pt>
          <cx:pt idx="67148">1</cx:pt>
          <cx:pt idx="67149">1</cx:pt>
          <cx:pt idx="67150">0</cx:pt>
          <cx:pt idx="67151">0</cx:pt>
          <cx:pt idx="67152">0</cx:pt>
          <cx:pt idx="67153">1</cx:pt>
          <cx:pt idx="67154">1</cx:pt>
          <cx:pt idx="67155">1</cx:pt>
          <cx:pt idx="67156">1</cx:pt>
          <cx:pt idx="67157">1</cx:pt>
          <cx:pt idx="67158">0</cx:pt>
          <cx:pt idx="67159">1</cx:pt>
          <cx:pt idx="67160">0</cx:pt>
          <cx:pt idx="67161">0</cx:pt>
          <cx:pt idx="67162">0</cx:pt>
          <cx:pt idx="67163">1</cx:pt>
          <cx:pt idx="67164">1</cx:pt>
          <cx:pt idx="67165">0</cx:pt>
          <cx:pt idx="67166">1</cx:pt>
          <cx:pt idx="67167">1</cx:pt>
          <cx:pt idx="67168">1</cx:pt>
          <cx:pt idx="67169">1</cx:pt>
          <cx:pt idx="67170">0</cx:pt>
          <cx:pt idx="67171">1</cx:pt>
          <cx:pt idx="67172">0</cx:pt>
          <cx:pt idx="67173">0</cx:pt>
          <cx:pt idx="67174">1</cx:pt>
          <cx:pt idx="67175">0</cx:pt>
          <cx:pt idx="67176">1</cx:pt>
          <cx:pt idx="67177">0</cx:pt>
          <cx:pt idx="67178">0</cx:pt>
          <cx:pt idx="67179">0</cx:pt>
          <cx:pt idx="67180">0</cx:pt>
          <cx:pt idx="67181">0</cx:pt>
          <cx:pt idx="67182">0</cx:pt>
          <cx:pt idx="67183">1</cx:pt>
          <cx:pt idx="67184">0</cx:pt>
          <cx:pt idx="67185">0</cx:pt>
          <cx:pt idx="67186">0</cx:pt>
          <cx:pt idx="67187">1</cx:pt>
          <cx:pt idx="67188">0</cx:pt>
          <cx:pt idx="67189">0</cx:pt>
          <cx:pt idx="67190">0</cx:pt>
          <cx:pt idx="67191">1</cx:pt>
          <cx:pt idx="67192">0</cx:pt>
          <cx:pt idx="67193">1</cx:pt>
          <cx:pt idx="67194">0</cx:pt>
          <cx:pt idx="67195">0</cx:pt>
          <cx:pt idx="67196">0</cx:pt>
          <cx:pt idx="67197">0</cx:pt>
          <cx:pt idx="67198">1</cx:pt>
          <cx:pt idx="67199">0</cx:pt>
          <cx:pt idx="67200">1</cx:pt>
          <cx:pt idx="67201">0</cx:pt>
          <cx:pt idx="67202">0</cx:pt>
          <cx:pt idx="67203">0</cx:pt>
          <cx:pt idx="67204">0</cx:pt>
          <cx:pt idx="67205">0</cx:pt>
          <cx:pt idx="67206">1</cx:pt>
          <cx:pt idx="67207">0</cx:pt>
          <cx:pt idx="67208">1</cx:pt>
          <cx:pt idx="67209">0</cx:pt>
          <cx:pt idx="67210">0</cx:pt>
          <cx:pt idx="67211">1</cx:pt>
          <cx:pt idx="67212">0</cx:pt>
          <cx:pt idx="67213">0</cx:pt>
          <cx:pt idx="67214">1</cx:pt>
          <cx:pt idx="67215">0</cx:pt>
          <cx:pt idx="67216">0</cx:pt>
          <cx:pt idx="67217">1</cx:pt>
          <cx:pt idx="67218">1</cx:pt>
          <cx:pt idx="67219">0</cx:pt>
          <cx:pt idx="67220">0</cx:pt>
          <cx:pt idx="67221">0</cx:pt>
          <cx:pt idx="67222">1</cx:pt>
          <cx:pt idx="67223">0</cx:pt>
          <cx:pt idx="67224">1</cx:pt>
          <cx:pt idx="67225">1</cx:pt>
          <cx:pt idx="67226">0</cx:pt>
          <cx:pt idx="67227">0</cx:pt>
          <cx:pt idx="67228">1</cx:pt>
          <cx:pt idx="67229">0</cx:pt>
          <cx:pt idx="67230">1</cx:pt>
          <cx:pt idx="67231">0</cx:pt>
          <cx:pt idx="67232">1</cx:pt>
          <cx:pt idx="67233">0</cx:pt>
          <cx:pt idx="67234">0</cx:pt>
          <cx:pt idx="67235">1</cx:pt>
          <cx:pt idx="67236">1</cx:pt>
          <cx:pt idx="67237">0</cx:pt>
          <cx:pt idx="67238">0</cx:pt>
          <cx:pt idx="67239">0</cx:pt>
          <cx:pt idx="67240">1</cx:pt>
          <cx:pt idx="67241">0</cx:pt>
          <cx:pt idx="67242">1</cx:pt>
          <cx:pt idx="67243">1</cx:pt>
          <cx:pt idx="67244">0</cx:pt>
          <cx:pt idx="67245">1</cx:pt>
          <cx:pt idx="67246">0</cx:pt>
          <cx:pt idx="67247">0</cx:pt>
          <cx:pt idx="67248">0</cx:pt>
          <cx:pt idx="67249">0</cx:pt>
          <cx:pt idx="67250">0</cx:pt>
          <cx:pt idx="67251">0</cx:pt>
          <cx:pt idx="67252">0</cx:pt>
          <cx:pt idx="67253">0</cx:pt>
          <cx:pt idx="67254">1</cx:pt>
          <cx:pt idx="67255">1</cx:pt>
          <cx:pt idx="67256">0</cx:pt>
          <cx:pt idx="67257">1</cx:pt>
          <cx:pt idx="67258">0</cx:pt>
          <cx:pt idx="67259">1</cx:pt>
          <cx:pt idx="67260">1</cx:pt>
          <cx:pt idx="67261">0</cx:pt>
          <cx:pt idx="67262">0</cx:pt>
          <cx:pt idx="67263">0</cx:pt>
          <cx:pt idx="67264">0</cx:pt>
          <cx:pt idx="67265">0</cx:pt>
          <cx:pt idx="67266">1</cx:pt>
          <cx:pt idx="67267">0</cx:pt>
          <cx:pt idx="67268">1</cx:pt>
          <cx:pt idx="67269">0</cx:pt>
          <cx:pt idx="67270">1</cx:pt>
          <cx:pt idx="67271">0</cx:pt>
          <cx:pt idx="67272">1</cx:pt>
          <cx:pt idx="67273">0</cx:pt>
          <cx:pt idx="67274">0</cx:pt>
          <cx:pt idx="67275">0</cx:pt>
          <cx:pt idx="67276">1</cx:pt>
          <cx:pt idx="67277">0</cx:pt>
          <cx:pt idx="67278">0</cx:pt>
          <cx:pt idx="67279">1</cx:pt>
          <cx:pt idx="67280">0</cx:pt>
          <cx:pt idx="67281">1</cx:pt>
          <cx:pt idx="67282">0</cx:pt>
          <cx:pt idx="67283">0</cx:pt>
          <cx:pt idx="67284">0</cx:pt>
          <cx:pt idx="67285">0</cx:pt>
          <cx:pt idx="67286">1</cx:pt>
          <cx:pt idx="67287">0</cx:pt>
          <cx:pt idx="67288">1</cx:pt>
          <cx:pt idx="67289">1</cx:pt>
          <cx:pt idx="67290">0</cx:pt>
          <cx:pt idx="67291">0</cx:pt>
          <cx:pt idx="67292">1</cx:pt>
          <cx:pt idx="67293">0</cx:pt>
          <cx:pt idx="67294">0</cx:pt>
          <cx:pt idx="67295">0</cx:pt>
          <cx:pt idx="67296">0</cx:pt>
          <cx:pt idx="67297">0</cx:pt>
          <cx:pt idx="67298">1</cx:pt>
          <cx:pt idx="67299">1</cx:pt>
          <cx:pt idx="67300">0</cx:pt>
          <cx:pt idx="67301">0</cx:pt>
          <cx:pt idx="67302">1</cx:pt>
          <cx:pt idx="67303">1</cx:pt>
          <cx:pt idx="67304">0</cx:pt>
          <cx:pt idx="67305">0</cx:pt>
          <cx:pt idx="67306">1</cx:pt>
          <cx:pt idx="67307">1</cx:pt>
          <cx:pt idx="67308">1</cx:pt>
          <cx:pt idx="67309">1</cx:pt>
          <cx:pt idx="67310">0</cx:pt>
          <cx:pt idx="67311">0</cx:pt>
          <cx:pt idx="67312">1</cx:pt>
          <cx:pt idx="67313">1</cx:pt>
          <cx:pt idx="67314">1</cx:pt>
          <cx:pt idx="67315">0</cx:pt>
          <cx:pt idx="67316">0</cx:pt>
          <cx:pt idx="67317">0</cx:pt>
          <cx:pt idx="67318">0</cx:pt>
          <cx:pt idx="67319">0</cx:pt>
          <cx:pt idx="67320">0</cx:pt>
          <cx:pt idx="67321">0</cx:pt>
          <cx:pt idx="67322">0</cx:pt>
          <cx:pt idx="67323">1</cx:pt>
          <cx:pt idx="67324">0</cx:pt>
          <cx:pt idx="67325">0</cx:pt>
          <cx:pt idx="67326">1</cx:pt>
          <cx:pt idx="67327">1</cx:pt>
          <cx:pt idx="67328">1</cx:pt>
          <cx:pt idx="67329">0</cx:pt>
          <cx:pt idx="67330">1</cx:pt>
          <cx:pt idx="67331">1</cx:pt>
          <cx:pt idx="67332">0</cx:pt>
          <cx:pt idx="67333">1</cx:pt>
          <cx:pt idx="67334">1</cx:pt>
          <cx:pt idx="67335">0</cx:pt>
          <cx:pt idx="67336">1</cx:pt>
          <cx:pt idx="67337">0</cx:pt>
          <cx:pt idx="67338">1</cx:pt>
          <cx:pt idx="67339">1</cx:pt>
          <cx:pt idx="67340">0</cx:pt>
          <cx:pt idx="67341">0</cx:pt>
          <cx:pt idx="67342">0</cx:pt>
          <cx:pt idx="67343">0</cx:pt>
          <cx:pt idx="67344">1</cx:pt>
          <cx:pt idx="67345">0</cx:pt>
          <cx:pt idx="67346">1</cx:pt>
          <cx:pt idx="67347">1</cx:pt>
          <cx:pt idx="67348">1</cx:pt>
          <cx:pt idx="67349">0</cx:pt>
          <cx:pt idx="67350">1</cx:pt>
          <cx:pt idx="67351">0</cx:pt>
          <cx:pt idx="67352">1</cx:pt>
          <cx:pt idx="67353">1</cx:pt>
          <cx:pt idx="67354">1</cx:pt>
          <cx:pt idx="67355">1</cx:pt>
          <cx:pt idx="67356">0</cx:pt>
          <cx:pt idx="67357">0</cx:pt>
          <cx:pt idx="67358">1</cx:pt>
          <cx:pt idx="67359">0</cx:pt>
          <cx:pt idx="67360">0</cx:pt>
          <cx:pt idx="67361">0</cx:pt>
          <cx:pt idx="67362">0</cx:pt>
          <cx:pt idx="67363">0</cx:pt>
          <cx:pt idx="67364">0</cx:pt>
          <cx:pt idx="67365">1</cx:pt>
          <cx:pt idx="67366">1</cx:pt>
          <cx:pt idx="67367">0</cx:pt>
          <cx:pt idx="67368">0</cx:pt>
          <cx:pt idx="67369">0</cx:pt>
          <cx:pt idx="67370">1</cx:pt>
          <cx:pt idx="67371">0</cx:pt>
          <cx:pt idx="67372">0</cx:pt>
          <cx:pt idx="67373">0</cx:pt>
          <cx:pt idx="67374">0</cx:pt>
          <cx:pt idx="67375">1</cx:pt>
          <cx:pt idx="67376">0</cx:pt>
          <cx:pt idx="67377">0</cx:pt>
          <cx:pt idx="67378">0</cx:pt>
          <cx:pt idx="67379">1</cx:pt>
          <cx:pt idx="67380">1</cx:pt>
          <cx:pt idx="67381">1</cx:pt>
          <cx:pt idx="67382">0</cx:pt>
          <cx:pt idx="67383">0</cx:pt>
          <cx:pt idx="67384">0</cx:pt>
          <cx:pt idx="67385">1</cx:pt>
          <cx:pt idx="67386">0</cx:pt>
          <cx:pt idx="67387">0</cx:pt>
          <cx:pt idx="67388">0</cx:pt>
          <cx:pt idx="67389">0</cx:pt>
          <cx:pt idx="67390">0</cx:pt>
          <cx:pt idx="67391">0</cx:pt>
          <cx:pt idx="67392">1</cx:pt>
          <cx:pt idx="67393">0</cx:pt>
          <cx:pt idx="67394">0</cx:pt>
          <cx:pt idx="67395">0</cx:pt>
          <cx:pt idx="67396">1</cx:pt>
          <cx:pt idx="67397">1</cx:pt>
          <cx:pt idx="67398">0</cx:pt>
          <cx:pt idx="67399">0</cx:pt>
          <cx:pt idx="67400">0</cx:pt>
          <cx:pt idx="67401">0</cx:pt>
          <cx:pt idx="67402">1</cx:pt>
          <cx:pt idx="67403">1</cx:pt>
          <cx:pt idx="67404">0</cx:pt>
          <cx:pt idx="67405">0</cx:pt>
          <cx:pt idx="67406">0</cx:pt>
          <cx:pt idx="67407">0</cx:pt>
          <cx:pt idx="67408">1</cx:pt>
          <cx:pt idx="67409">1</cx:pt>
          <cx:pt idx="67410">1</cx:pt>
          <cx:pt idx="67411">0</cx:pt>
          <cx:pt idx="67412">0</cx:pt>
          <cx:pt idx="67413">1</cx:pt>
          <cx:pt idx="67414">0</cx:pt>
          <cx:pt idx="67415">0</cx:pt>
          <cx:pt idx="67416">0</cx:pt>
          <cx:pt idx="67417">0</cx:pt>
          <cx:pt idx="67418">1</cx:pt>
          <cx:pt idx="67419">0</cx:pt>
          <cx:pt idx="67420">1</cx:pt>
          <cx:pt idx="67421">0</cx:pt>
          <cx:pt idx="67422">0</cx:pt>
          <cx:pt idx="67423">1</cx:pt>
          <cx:pt idx="67424">1</cx:pt>
          <cx:pt idx="67425">0</cx:pt>
          <cx:pt idx="67426">0</cx:pt>
          <cx:pt idx="67427">1</cx:pt>
          <cx:pt idx="67428">0</cx:pt>
          <cx:pt idx="67429">0</cx:pt>
          <cx:pt idx="67430">1</cx:pt>
          <cx:pt idx="67431">0</cx:pt>
          <cx:pt idx="67432">0</cx:pt>
          <cx:pt idx="67433">0</cx:pt>
          <cx:pt idx="67434">1</cx:pt>
          <cx:pt idx="67435">1</cx:pt>
          <cx:pt idx="67436">0</cx:pt>
          <cx:pt idx="67437">1</cx:pt>
          <cx:pt idx="67438">1</cx:pt>
          <cx:pt idx="67439">1</cx:pt>
          <cx:pt idx="67440">1</cx:pt>
          <cx:pt idx="67441">1</cx:pt>
          <cx:pt idx="67442">0</cx:pt>
          <cx:pt idx="67443">1</cx:pt>
          <cx:pt idx="67444">0</cx:pt>
          <cx:pt idx="67445">1</cx:pt>
          <cx:pt idx="67446">0</cx:pt>
          <cx:pt idx="67447">1</cx:pt>
          <cx:pt idx="67448">1</cx:pt>
          <cx:pt idx="67449">1</cx:pt>
          <cx:pt idx="67450">1</cx:pt>
          <cx:pt idx="67451">0</cx:pt>
          <cx:pt idx="67452">0</cx:pt>
          <cx:pt idx="67453">0</cx:pt>
          <cx:pt idx="67454">0</cx:pt>
          <cx:pt idx="67455">0</cx:pt>
          <cx:pt idx="67456">0</cx:pt>
          <cx:pt idx="67457">1</cx:pt>
          <cx:pt idx="67458">0</cx:pt>
          <cx:pt idx="67459">1</cx:pt>
          <cx:pt idx="67460">1</cx:pt>
          <cx:pt idx="67461">0</cx:pt>
          <cx:pt idx="67462">1</cx:pt>
          <cx:pt idx="67463">0</cx:pt>
          <cx:pt idx="67464">0</cx:pt>
          <cx:pt idx="67465">0</cx:pt>
          <cx:pt idx="67466">1</cx:pt>
          <cx:pt idx="67467">1</cx:pt>
          <cx:pt idx="67468">0</cx:pt>
          <cx:pt idx="67469">0</cx:pt>
          <cx:pt idx="67470">0</cx:pt>
          <cx:pt idx="67471">0</cx:pt>
          <cx:pt idx="67472">1</cx:pt>
          <cx:pt idx="67473">0</cx:pt>
          <cx:pt idx="67474">1</cx:pt>
          <cx:pt idx="67475">0</cx:pt>
          <cx:pt idx="67476">1</cx:pt>
          <cx:pt idx="67477">1</cx:pt>
          <cx:pt idx="67478">0</cx:pt>
          <cx:pt idx="67479">1</cx:pt>
          <cx:pt idx="67480">1</cx:pt>
          <cx:pt idx="67481">0</cx:pt>
          <cx:pt idx="67482">0</cx:pt>
          <cx:pt idx="67483">0</cx:pt>
          <cx:pt idx="67484">1</cx:pt>
          <cx:pt idx="67485">1</cx:pt>
          <cx:pt idx="67486">0</cx:pt>
          <cx:pt idx="67487">0</cx:pt>
          <cx:pt idx="67488">1</cx:pt>
          <cx:pt idx="67489">1</cx:pt>
          <cx:pt idx="67490">0</cx:pt>
          <cx:pt idx="67491">0</cx:pt>
          <cx:pt idx="67492">0</cx:pt>
          <cx:pt idx="67493">0</cx:pt>
          <cx:pt idx="67494">0</cx:pt>
          <cx:pt idx="67495">1</cx:pt>
          <cx:pt idx="67496">1</cx:pt>
          <cx:pt idx="67497">1</cx:pt>
          <cx:pt idx="67498">0</cx:pt>
          <cx:pt idx="67499">0</cx:pt>
          <cx:pt idx="67500">0</cx:pt>
          <cx:pt idx="67501">1</cx:pt>
          <cx:pt idx="67502">1</cx:pt>
          <cx:pt idx="67503">1</cx:pt>
          <cx:pt idx="67504">1</cx:pt>
          <cx:pt idx="67505">1</cx:pt>
          <cx:pt idx="67506">1</cx:pt>
          <cx:pt idx="67507">0</cx:pt>
          <cx:pt idx="67508">1</cx:pt>
          <cx:pt idx="67509">1</cx:pt>
          <cx:pt idx="67510">1</cx:pt>
          <cx:pt idx="67511">0</cx:pt>
          <cx:pt idx="67512">1</cx:pt>
          <cx:pt idx="67513">0</cx:pt>
          <cx:pt idx="67514">0</cx:pt>
          <cx:pt idx="67515">0</cx:pt>
          <cx:pt idx="67516">0</cx:pt>
          <cx:pt idx="67517">1</cx:pt>
          <cx:pt idx="67518">0</cx:pt>
          <cx:pt idx="67519">1</cx:pt>
          <cx:pt idx="67520">0</cx:pt>
          <cx:pt idx="67521">0</cx:pt>
          <cx:pt idx="67522">0</cx:pt>
          <cx:pt idx="67523">0</cx:pt>
          <cx:pt idx="67524">0</cx:pt>
          <cx:pt idx="67525">0</cx:pt>
          <cx:pt idx="67526">0</cx:pt>
          <cx:pt idx="67527">0</cx:pt>
          <cx:pt idx="67528">0</cx:pt>
          <cx:pt idx="67529">0</cx:pt>
          <cx:pt idx="67530">0</cx:pt>
          <cx:pt idx="67531">1</cx:pt>
          <cx:pt idx="67532">0</cx:pt>
          <cx:pt idx="67533">1</cx:pt>
          <cx:pt idx="67534">0</cx:pt>
          <cx:pt idx="67535">1</cx:pt>
          <cx:pt idx="67536">1</cx:pt>
          <cx:pt idx="67537">0</cx:pt>
          <cx:pt idx="67538">0</cx:pt>
          <cx:pt idx="67539">0</cx:pt>
          <cx:pt idx="67540">0</cx:pt>
          <cx:pt idx="67541">1</cx:pt>
          <cx:pt idx="67542">0</cx:pt>
          <cx:pt idx="67543">0</cx:pt>
          <cx:pt idx="67544">1</cx:pt>
          <cx:pt idx="67545">0</cx:pt>
          <cx:pt idx="67546">0</cx:pt>
          <cx:pt idx="67547">0</cx:pt>
          <cx:pt idx="67548">0</cx:pt>
          <cx:pt idx="67549">0</cx:pt>
          <cx:pt idx="67550">0</cx:pt>
          <cx:pt idx="67551">0</cx:pt>
          <cx:pt idx="67552">0</cx:pt>
          <cx:pt idx="67553">0</cx:pt>
          <cx:pt idx="67554">1</cx:pt>
          <cx:pt idx="67555">1</cx:pt>
          <cx:pt idx="67556">1</cx:pt>
          <cx:pt idx="67557">0</cx:pt>
          <cx:pt idx="67558">0</cx:pt>
          <cx:pt idx="67559">1</cx:pt>
          <cx:pt idx="67560">1</cx:pt>
          <cx:pt idx="67561">1</cx:pt>
          <cx:pt idx="67562">0</cx:pt>
          <cx:pt idx="67563">0</cx:pt>
          <cx:pt idx="67564">0</cx:pt>
          <cx:pt idx="67565">1</cx:pt>
          <cx:pt idx="67566">1</cx:pt>
          <cx:pt idx="67567">0</cx:pt>
          <cx:pt idx="67568">0</cx:pt>
          <cx:pt idx="67569">1</cx:pt>
          <cx:pt idx="67570">0</cx:pt>
          <cx:pt idx="67571">0</cx:pt>
          <cx:pt idx="67572">1</cx:pt>
          <cx:pt idx="67573">0</cx:pt>
          <cx:pt idx="67574">1</cx:pt>
          <cx:pt idx="67575">1</cx:pt>
          <cx:pt idx="67576">0</cx:pt>
          <cx:pt idx="67577">0</cx:pt>
          <cx:pt idx="67578">1</cx:pt>
          <cx:pt idx="67579">1</cx:pt>
          <cx:pt idx="67580">0</cx:pt>
          <cx:pt idx="67581">1</cx:pt>
          <cx:pt idx="67582">0</cx:pt>
          <cx:pt idx="67583">0</cx:pt>
          <cx:pt idx="67584">0</cx:pt>
          <cx:pt idx="67585">1</cx:pt>
          <cx:pt idx="67586">0</cx:pt>
          <cx:pt idx="67587">0</cx:pt>
          <cx:pt idx="67588">1</cx:pt>
          <cx:pt idx="67589">0</cx:pt>
          <cx:pt idx="67590">0</cx:pt>
          <cx:pt idx="67591">1</cx:pt>
          <cx:pt idx="67592">0</cx:pt>
          <cx:pt idx="67593">0</cx:pt>
          <cx:pt idx="67594">1</cx:pt>
          <cx:pt idx="67595">1</cx:pt>
          <cx:pt idx="67596">1</cx:pt>
          <cx:pt idx="67597">0</cx:pt>
          <cx:pt idx="67598">0</cx:pt>
          <cx:pt idx="67599">0</cx:pt>
          <cx:pt idx="67600">1</cx:pt>
          <cx:pt idx="67601">0</cx:pt>
          <cx:pt idx="67602">1</cx:pt>
          <cx:pt idx="67603">0</cx:pt>
          <cx:pt idx="67604">1</cx:pt>
          <cx:pt idx="67605">1</cx:pt>
          <cx:pt idx="67606">0</cx:pt>
          <cx:pt idx="67607">0</cx:pt>
          <cx:pt idx="67608">1</cx:pt>
          <cx:pt idx="67609">0</cx:pt>
          <cx:pt idx="67610">0</cx:pt>
          <cx:pt idx="67611">1</cx:pt>
          <cx:pt idx="67612">0</cx:pt>
          <cx:pt idx="67613">1</cx:pt>
          <cx:pt idx="67614">0</cx:pt>
          <cx:pt idx="67615">0</cx:pt>
          <cx:pt idx="67616">0</cx:pt>
          <cx:pt idx="67617">1</cx:pt>
          <cx:pt idx="67618">1</cx:pt>
          <cx:pt idx="67619">0</cx:pt>
          <cx:pt idx="67620">0</cx:pt>
          <cx:pt idx="67621">1</cx:pt>
          <cx:pt idx="67622">1</cx:pt>
          <cx:pt idx="67623">1</cx:pt>
          <cx:pt idx="67624">1</cx:pt>
          <cx:pt idx="67625">0</cx:pt>
          <cx:pt idx="67626">0</cx:pt>
          <cx:pt idx="67627">0</cx:pt>
          <cx:pt idx="67628">0</cx:pt>
          <cx:pt idx="67629">0</cx:pt>
          <cx:pt idx="67630">0</cx:pt>
          <cx:pt idx="67631">1</cx:pt>
          <cx:pt idx="67632">0</cx:pt>
          <cx:pt idx="67633">0</cx:pt>
          <cx:pt idx="67634">0</cx:pt>
          <cx:pt idx="67635">0</cx:pt>
          <cx:pt idx="67636">0</cx:pt>
          <cx:pt idx="67637">1</cx:pt>
          <cx:pt idx="67638">0</cx:pt>
          <cx:pt idx="67639">0</cx:pt>
          <cx:pt idx="67640">0</cx:pt>
          <cx:pt idx="67641">0</cx:pt>
          <cx:pt idx="67642">1</cx:pt>
          <cx:pt idx="67643">0</cx:pt>
          <cx:pt idx="67644">1</cx:pt>
          <cx:pt idx="67645">0</cx:pt>
          <cx:pt idx="67646">0</cx:pt>
          <cx:pt idx="67647">0</cx:pt>
          <cx:pt idx="67648">1</cx:pt>
          <cx:pt idx="67649">0</cx:pt>
          <cx:pt idx="67650">1</cx:pt>
          <cx:pt idx="67651">0</cx:pt>
          <cx:pt idx="67652">0</cx:pt>
          <cx:pt idx="67653">0</cx:pt>
          <cx:pt idx="67654">1</cx:pt>
          <cx:pt idx="67655">1</cx:pt>
          <cx:pt idx="67656">1</cx:pt>
          <cx:pt idx="67657">0</cx:pt>
          <cx:pt idx="67658">0</cx:pt>
          <cx:pt idx="67659">1</cx:pt>
          <cx:pt idx="67660">1</cx:pt>
          <cx:pt idx="67661">0</cx:pt>
          <cx:pt idx="67662">0</cx:pt>
          <cx:pt idx="67663">1</cx:pt>
          <cx:pt idx="67664">1</cx:pt>
          <cx:pt idx="67665">0</cx:pt>
          <cx:pt idx="67666">0</cx:pt>
          <cx:pt idx="67667">1</cx:pt>
          <cx:pt idx="67668">1</cx:pt>
          <cx:pt idx="67669">0</cx:pt>
          <cx:pt idx="67670">1</cx:pt>
          <cx:pt idx="67671">1</cx:pt>
          <cx:pt idx="67672">0</cx:pt>
          <cx:pt idx="67673">0</cx:pt>
          <cx:pt idx="67674">1</cx:pt>
          <cx:pt idx="67675">1</cx:pt>
          <cx:pt idx="67676">1</cx:pt>
          <cx:pt idx="67677">1</cx:pt>
          <cx:pt idx="67678">0</cx:pt>
          <cx:pt idx="67679">1</cx:pt>
          <cx:pt idx="67680">1</cx:pt>
          <cx:pt idx="67681">0</cx:pt>
          <cx:pt idx="67682">0</cx:pt>
          <cx:pt idx="67683">1</cx:pt>
          <cx:pt idx="67684">0</cx:pt>
          <cx:pt idx="67685">0</cx:pt>
          <cx:pt idx="67686">0</cx:pt>
          <cx:pt idx="67687">0</cx:pt>
          <cx:pt idx="67688">0</cx:pt>
          <cx:pt idx="67689">0</cx:pt>
          <cx:pt idx="67690">0</cx:pt>
          <cx:pt idx="67691">0</cx:pt>
          <cx:pt idx="67692">0</cx:pt>
          <cx:pt idx="67693">0</cx:pt>
          <cx:pt idx="67694">0</cx:pt>
          <cx:pt idx="67695">0</cx:pt>
          <cx:pt idx="67696">1</cx:pt>
          <cx:pt idx="67697">0</cx:pt>
          <cx:pt idx="67698">1</cx:pt>
          <cx:pt idx="67699">1</cx:pt>
          <cx:pt idx="67700">0</cx:pt>
          <cx:pt idx="67701">1</cx:pt>
          <cx:pt idx="67702">0</cx:pt>
          <cx:pt idx="67703">1</cx:pt>
          <cx:pt idx="67704">0</cx:pt>
          <cx:pt idx="67705">0</cx:pt>
          <cx:pt idx="67706">0</cx:pt>
          <cx:pt idx="67707">0</cx:pt>
          <cx:pt idx="67708">0</cx:pt>
          <cx:pt idx="67709">0</cx:pt>
          <cx:pt idx="67710">0</cx:pt>
          <cx:pt idx="67711">0</cx:pt>
          <cx:pt idx="67712">1</cx:pt>
          <cx:pt idx="67713">0</cx:pt>
          <cx:pt idx="67714">0</cx:pt>
          <cx:pt idx="67715">0</cx:pt>
          <cx:pt idx="67716">0</cx:pt>
          <cx:pt idx="67717">1</cx:pt>
          <cx:pt idx="67718">1</cx:pt>
          <cx:pt idx="67719">1</cx:pt>
          <cx:pt idx="67720">0</cx:pt>
          <cx:pt idx="67721">0</cx:pt>
          <cx:pt idx="67722">0</cx:pt>
          <cx:pt idx="67723">1</cx:pt>
          <cx:pt idx="67724">1</cx:pt>
          <cx:pt idx="67725">1</cx:pt>
          <cx:pt idx="67726">0</cx:pt>
          <cx:pt idx="67727">0</cx:pt>
          <cx:pt idx="67728">0</cx:pt>
          <cx:pt idx="67729">0</cx:pt>
          <cx:pt idx="67730">1</cx:pt>
          <cx:pt idx="67731">1</cx:pt>
          <cx:pt idx="67732">0</cx:pt>
          <cx:pt idx="67733">1</cx:pt>
          <cx:pt idx="67734">1</cx:pt>
          <cx:pt idx="67735">0</cx:pt>
          <cx:pt idx="67736">1</cx:pt>
          <cx:pt idx="67737">0</cx:pt>
          <cx:pt idx="67738">0</cx:pt>
          <cx:pt idx="67739">1</cx:pt>
          <cx:pt idx="67740">0</cx:pt>
          <cx:pt idx="67741">1</cx:pt>
          <cx:pt idx="67742">1</cx:pt>
          <cx:pt idx="67743">0</cx:pt>
          <cx:pt idx="67744">1</cx:pt>
          <cx:pt idx="67745">1</cx:pt>
          <cx:pt idx="67746">0</cx:pt>
          <cx:pt idx="67747">0</cx:pt>
          <cx:pt idx="67748">0</cx:pt>
          <cx:pt idx="67749">1</cx:pt>
          <cx:pt idx="67750">1</cx:pt>
          <cx:pt idx="67751">1</cx:pt>
          <cx:pt idx="67752">0</cx:pt>
          <cx:pt idx="67753">0</cx:pt>
          <cx:pt idx="67754">1</cx:pt>
          <cx:pt idx="67755">0</cx:pt>
          <cx:pt idx="67756">0</cx:pt>
          <cx:pt idx="67757">1</cx:pt>
          <cx:pt idx="67758">0</cx:pt>
          <cx:pt idx="67759">1</cx:pt>
          <cx:pt idx="67760">0</cx:pt>
          <cx:pt idx="67761">0</cx:pt>
          <cx:pt idx="67762">0</cx:pt>
          <cx:pt idx="67763">0</cx:pt>
          <cx:pt idx="67764">0</cx:pt>
          <cx:pt idx="67765">0</cx:pt>
          <cx:pt idx="67766">0</cx:pt>
          <cx:pt idx="67767">1</cx:pt>
          <cx:pt idx="67768">1</cx:pt>
          <cx:pt idx="67769">1</cx:pt>
          <cx:pt idx="67770">0</cx:pt>
          <cx:pt idx="67771">0</cx:pt>
          <cx:pt idx="67772">0</cx:pt>
          <cx:pt idx="67773">0</cx:pt>
          <cx:pt idx="67774">1</cx:pt>
          <cx:pt idx="67775">1</cx:pt>
          <cx:pt idx="67776">1</cx:pt>
          <cx:pt idx="67777">1</cx:pt>
          <cx:pt idx="67778">1</cx:pt>
          <cx:pt idx="67779">0</cx:pt>
          <cx:pt idx="67780">1</cx:pt>
          <cx:pt idx="67781">0</cx:pt>
          <cx:pt idx="67782">0</cx:pt>
          <cx:pt idx="67783">0</cx:pt>
          <cx:pt idx="67784">1</cx:pt>
          <cx:pt idx="67785">0</cx:pt>
          <cx:pt idx="67786">0</cx:pt>
          <cx:pt idx="67787">1</cx:pt>
          <cx:pt idx="67788">1</cx:pt>
          <cx:pt idx="67789">0</cx:pt>
          <cx:pt idx="67790">0</cx:pt>
          <cx:pt idx="67791">0</cx:pt>
          <cx:pt idx="67792">0</cx:pt>
          <cx:pt idx="67793">0</cx:pt>
          <cx:pt idx="67794">0</cx:pt>
          <cx:pt idx="67795">1</cx:pt>
          <cx:pt idx="67796">0</cx:pt>
          <cx:pt idx="67797">0</cx:pt>
          <cx:pt idx="67798">1</cx:pt>
          <cx:pt idx="67799">1</cx:pt>
          <cx:pt idx="67800">0</cx:pt>
          <cx:pt idx="67801">1</cx:pt>
          <cx:pt idx="67802">1</cx:pt>
          <cx:pt idx="67803">1</cx:pt>
          <cx:pt idx="67804">0</cx:pt>
          <cx:pt idx="67805">0</cx:pt>
          <cx:pt idx="67806">1</cx:pt>
          <cx:pt idx="67807">0</cx:pt>
          <cx:pt idx="67808">1</cx:pt>
          <cx:pt idx="67809">1</cx:pt>
          <cx:pt idx="67810">1</cx:pt>
          <cx:pt idx="67811">1</cx:pt>
          <cx:pt idx="67812">1</cx:pt>
          <cx:pt idx="67813">1</cx:pt>
          <cx:pt idx="67814">1</cx:pt>
          <cx:pt idx="67815">0</cx:pt>
          <cx:pt idx="67816">0</cx:pt>
          <cx:pt idx="67817">0</cx:pt>
          <cx:pt idx="67818">1</cx:pt>
          <cx:pt idx="67819">0</cx:pt>
          <cx:pt idx="67820">0</cx:pt>
          <cx:pt idx="67821">0</cx:pt>
          <cx:pt idx="67822">0</cx:pt>
          <cx:pt idx="67823">0</cx:pt>
          <cx:pt idx="67824">1</cx:pt>
          <cx:pt idx="67825">0</cx:pt>
          <cx:pt idx="67826">1</cx:pt>
          <cx:pt idx="67827">0</cx:pt>
          <cx:pt idx="67828">1</cx:pt>
          <cx:pt idx="67829">0</cx:pt>
          <cx:pt idx="67830">0</cx:pt>
          <cx:pt idx="67831">1</cx:pt>
          <cx:pt idx="67832">0</cx:pt>
          <cx:pt idx="67833">0</cx:pt>
          <cx:pt idx="67834">1</cx:pt>
          <cx:pt idx="67835">1</cx:pt>
          <cx:pt idx="67836">1</cx:pt>
          <cx:pt idx="67837">0</cx:pt>
          <cx:pt idx="67838">0</cx:pt>
          <cx:pt idx="67839">0</cx:pt>
          <cx:pt idx="67840">0</cx:pt>
          <cx:pt idx="67841">0</cx:pt>
          <cx:pt idx="67842">1</cx:pt>
          <cx:pt idx="67843">0</cx:pt>
          <cx:pt idx="67844">0</cx:pt>
          <cx:pt idx="67845">1</cx:pt>
          <cx:pt idx="67846">1</cx:pt>
          <cx:pt idx="67847">0</cx:pt>
          <cx:pt idx="67848">0</cx:pt>
          <cx:pt idx="67849">0</cx:pt>
          <cx:pt idx="67850">0</cx:pt>
          <cx:pt idx="67851">0</cx:pt>
          <cx:pt idx="67852">1</cx:pt>
          <cx:pt idx="67853">1</cx:pt>
          <cx:pt idx="67854">1</cx:pt>
          <cx:pt idx="67855">1</cx:pt>
          <cx:pt idx="67856">0</cx:pt>
          <cx:pt idx="67857">0</cx:pt>
          <cx:pt idx="67858">0</cx:pt>
          <cx:pt idx="67859">1</cx:pt>
          <cx:pt idx="67860">1</cx:pt>
          <cx:pt idx="67861">0</cx:pt>
          <cx:pt idx="67862">0</cx:pt>
          <cx:pt idx="67863">0</cx:pt>
          <cx:pt idx="67864">0</cx:pt>
          <cx:pt idx="67865">1</cx:pt>
          <cx:pt idx="67866">0</cx:pt>
          <cx:pt idx="67867">0</cx:pt>
          <cx:pt idx="67868">1</cx:pt>
          <cx:pt idx="67869">1</cx:pt>
          <cx:pt idx="67870">0</cx:pt>
          <cx:pt idx="67871">0</cx:pt>
          <cx:pt idx="67872">1</cx:pt>
          <cx:pt idx="67873">1</cx:pt>
          <cx:pt idx="67874">0</cx:pt>
          <cx:pt idx="67875">0</cx:pt>
          <cx:pt idx="67876">0</cx:pt>
          <cx:pt idx="67877">1</cx:pt>
          <cx:pt idx="67878">0</cx:pt>
          <cx:pt idx="67879">0</cx:pt>
          <cx:pt idx="67880">1</cx:pt>
          <cx:pt idx="67881">1</cx:pt>
          <cx:pt idx="67882">0</cx:pt>
          <cx:pt idx="67883">1</cx:pt>
          <cx:pt idx="67884">0</cx:pt>
          <cx:pt idx="67885">1</cx:pt>
          <cx:pt idx="67886">0</cx:pt>
          <cx:pt idx="67887">1</cx:pt>
          <cx:pt idx="67888">0</cx:pt>
          <cx:pt idx="67889">0</cx:pt>
          <cx:pt idx="67890">0</cx:pt>
          <cx:pt idx="67891">1</cx:pt>
          <cx:pt idx="67892">0</cx:pt>
          <cx:pt idx="67893">1</cx:pt>
          <cx:pt idx="67894">0</cx:pt>
          <cx:pt idx="67895">0</cx:pt>
          <cx:pt idx="67896">1</cx:pt>
          <cx:pt idx="67897">1</cx:pt>
          <cx:pt idx="67898">1</cx:pt>
          <cx:pt idx="67899">0</cx:pt>
          <cx:pt idx="67900">0</cx:pt>
          <cx:pt idx="67901">0</cx:pt>
          <cx:pt idx="67902">0</cx:pt>
          <cx:pt idx="67903">0</cx:pt>
          <cx:pt idx="67904">0</cx:pt>
          <cx:pt idx="67905">1</cx:pt>
          <cx:pt idx="67906">0</cx:pt>
          <cx:pt idx="67907">0</cx:pt>
          <cx:pt idx="67908">0</cx:pt>
          <cx:pt idx="67909">0</cx:pt>
          <cx:pt idx="67910">1</cx:pt>
          <cx:pt idx="67911">1</cx:pt>
          <cx:pt idx="67912">1</cx:pt>
          <cx:pt idx="67913">0</cx:pt>
          <cx:pt idx="67914">0</cx:pt>
          <cx:pt idx="67915">0</cx:pt>
          <cx:pt idx="67916">1</cx:pt>
          <cx:pt idx="67917">1</cx:pt>
          <cx:pt idx="67918">0</cx:pt>
          <cx:pt idx="67919">1</cx:pt>
          <cx:pt idx="67920">0</cx:pt>
          <cx:pt idx="67921">0</cx:pt>
          <cx:pt idx="67922">0</cx:pt>
          <cx:pt idx="67923">1</cx:pt>
          <cx:pt idx="67924">1</cx:pt>
          <cx:pt idx="67925">0</cx:pt>
          <cx:pt idx="67926">1</cx:pt>
          <cx:pt idx="67927">0</cx:pt>
          <cx:pt idx="67928">1</cx:pt>
          <cx:pt idx="67929">1</cx:pt>
          <cx:pt idx="67930">1</cx:pt>
          <cx:pt idx="67931">1</cx:pt>
          <cx:pt idx="67932">1</cx:pt>
          <cx:pt idx="67933">0</cx:pt>
          <cx:pt idx="67934">0</cx:pt>
          <cx:pt idx="67935">1</cx:pt>
          <cx:pt idx="67936">0</cx:pt>
          <cx:pt idx="67937">0</cx:pt>
          <cx:pt idx="67938">0</cx:pt>
          <cx:pt idx="67939">1</cx:pt>
          <cx:pt idx="67940">0</cx:pt>
          <cx:pt idx="67941">0</cx:pt>
          <cx:pt idx="67942">1</cx:pt>
          <cx:pt idx="67943">1</cx:pt>
          <cx:pt idx="67944">0</cx:pt>
          <cx:pt idx="67945">0</cx:pt>
          <cx:pt idx="67946">0</cx:pt>
          <cx:pt idx="67947">1</cx:pt>
          <cx:pt idx="67948">0</cx:pt>
          <cx:pt idx="67949">1</cx:pt>
          <cx:pt idx="67950">0</cx:pt>
          <cx:pt idx="67951">0</cx:pt>
          <cx:pt idx="67952">0</cx:pt>
          <cx:pt idx="67953">0</cx:pt>
          <cx:pt idx="67954">1</cx:pt>
          <cx:pt idx="67955">1</cx:pt>
          <cx:pt idx="67956">0</cx:pt>
          <cx:pt idx="67957">0</cx:pt>
          <cx:pt idx="67958">0</cx:pt>
          <cx:pt idx="67959">1</cx:pt>
          <cx:pt idx="67960">0</cx:pt>
          <cx:pt idx="67961">0</cx:pt>
          <cx:pt idx="67962">1</cx:pt>
          <cx:pt idx="67963">1</cx:pt>
          <cx:pt idx="67964">0</cx:pt>
          <cx:pt idx="67965">1</cx:pt>
          <cx:pt idx="67966">0</cx:pt>
          <cx:pt idx="67967">0</cx:pt>
          <cx:pt idx="67968">0</cx:pt>
          <cx:pt idx="67969">0</cx:pt>
          <cx:pt idx="67970">1</cx:pt>
          <cx:pt idx="67971">0</cx:pt>
          <cx:pt idx="67972">1</cx:pt>
          <cx:pt idx="67973">0</cx:pt>
          <cx:pt idx="67974">0</cx:pt>
          <cx:pt idx="67975">1</cx:pt>
          <cx:pt idx="67976">0</cx:pt>
          <cx:pt idx="67977">0</cx:pt>
          <cx:pt idx="67978">0</cx:pt>
          <cx:pt idx="67979">1</cx:pt>
          <cx:pt idx="67980">0</cx:pt>
          <cx:pt idx="67981">0</cx:pt>
          <cx:pt idx="67982">0</cx:pt>
          <cx:pt idx="67983">1</cx:pt>
          <cx:pt idx="67984">1</cx:pt>
          <cx:pt idx="67985">1</cx:pt>
          <cx:pt idx="67986">0</cx:pt>
          <cx:pt idx="67987">1</cx:pt>
          <cx:pt idx="67988">0</cx:pt>
          <cx:pt idx="67989">0</cx:pt>
          <cx:pt idx="67990">0</cx:pt>
          <cx:pt idx="67991">1</cx:pt>
          <cx:pt idx="67992">0</cx:pt>
          <cx:pt idx="67993">0</cx:pt>
          <cx:pt idx="67994">0</cx:pt>
          <cx:pt idx="67995">0</cx:pt>
          <cx:pt idx="67996">0</cx:pt>
          <cx:pt idx="67997">0</cx:pt>
          <cx:pt idx="67998">0</cx:pt>
          <cx:pt idx="67999">0</cx:pt>
          <cx:pt idx="68000">1</cx:pt>
          <cx:pt idx="68001">0</cx:pt>
          <cx:pt idx="68002">1</cx:pt>
          <cx:pt idx="68003">0</cx:pt>
          <cx:pt idx="68004">1</cx:pt>
          <cx:pt idx="68005">1</cx:pt>
          <cx:pt idx="68006">1</cx:pt>
          <cx:pt idx="68007">1</cx:pt>
          <cx:pt idx="68008">0</cx:pt>
          <cx:pt idx="68009">0</cx:pt>
          <cx:pt idx="68010">1</cx:pt>
          <cx:pt idx="68011">1</cx:pt>
          <cx:pt idx="68012">0</cx:pt>
          <cx:pt idx="68013">0</cx:pt>
          <cx:pt idx="68014">1</cx:pt>
          <cx:pt idx="68015">1</cx:pt>
          <cx:pt idx="68016">0</cx:pt>
          <cx:pt idx="68017">1</cx:pt>
          <cx:pt idx="68018">0</cx:pt>
          <cx:pt idx="68019">0</cx:pt>
          <cx:pt idx="68020">0</cx:pt>
          <cx:pt idx="68021">1</cx:pt>
          <cx:pt idx="68022">1</cx:pt>
          <cx:pt idx="68023">0</cx:pt>
          <cx:pt idx="68024">1</cx:pt>
          <cx:pt idx="68025">1</cx:pt>
          <cx:pt idx="68026">1</cx:pt>
          <cx:pt idx="68027">1</cx:pt>
          <cx:pt idx="68028">0</cx:pt>
          <cx:pt idx="68029">0</cx:pt>
          <cx:pt idx="68030">0</cx:pt>
          <cx:pt idx="68031">1</cx:pt>
          <cx:pt idx="68032">1</cx:pt>
          <cx:pt idx="68033">1</cx:pt>
          <cx:pt idx="68034">0</cx:pt>
          <cx:pt idx="68035">0</cx:pt>
          <cx:pt idx="68036">1</cx:pt>
          <cx:pt idx="68037">1</cx:pt>
          <cx:pt idx="68038">1</cx:pt>
          <cx:pt idx="68039">1</cx:pt>
          <cx:pt idx="68040">0</cx:pt>
          <cx:pt idx="68041">1</cx:pt>
          <cx:pt idx="68042">0</cx:pt>
          <cx:pt idx="68043">1</cx:pt>
          <cx:pt idx="68044">1</cx:pt>
          <cx:pt idx="68045">0</cx:pt>
          <cx:pt idx="68046">0</cx:pt>
          <cx:pt idx="68047">0</cx:pt>
          <cx:pt idx="68048">1</cx:pt>
          <cx:pt idx="68049">1</cx:pt>
          <cx:pt idx="68050">1</cx:pt>
          <cx:pt idx="68051">0</cx:pt>
          <cx:pt idx="68052">0</cx:pt>
          <cx:pt idx="68053">1</cx:pt>
          <cx:pt idx="68054">0</cx:pt>
          <cx:pt idx="68055">0</cx:pt>
          <cx:pt idx="68056">0</cx:pt>
          <cx:pt idx="68057">1</cx:pt>
          <cx:pt idx="68058">1</cx:pt>
          <cx:pt idx="68059">1</cx:pt>
          <cx:pt idx="68060">0</cx:pt>
          <cx:pt idx="68061">1</cx:pt>
          <cx:pt idx="68062">1</cx:pt>
          <cx:pt idx="68063">1</cx:pt>
          <cx:pt idx="68064">0</cx:pt>
          <cx:pt idx="68065">0</cx:pt>
          <cx:pt idx="68066">0</cx:pt>
          <cx:pt idx="68067">1</cx:pt>
          <cx:pt idx="68068">1</cx:pt>
          <cx:pt idx="68069">0</cx:pt>
          <cx:pt idx="68070">1</cx:pt>
          <cx:pt idx="68071">0</cx:pt>
          <cx:pt idx="68072">0</cx:pt>
          <cx:pt idx="68073">0</cx:pt>
          <cx:pt idx="68074">0</cx:pt>
          <cx:pt idx="68075">1</cx:pt>
          <cx:pt idx="68076">0</cx:pt>
          <cx:pt idx="68077">1</cx:pt>
          <cx:pt idx="68078">1</cx:pt>
          <cx:pt idx="68079">0</cx:pt>
          <cx:pt idx="68080">1</cx:pt>
          <cx:pt idx="68081">0</cx:pt>
          <cx:pt idx="68082">1</cx:pt>
          <cx:pt idx="68083">0</cx:pt>
          <cx:pt idx="68084">0</cx:pt>
          <cx:pt idx="68085">0</cx:pt>
          <cx:pt idx="68086">0</cx:pt>
          <cx:pt idx="68087">1</cx:pt>
          <cx:pt idx="68088">0</cx:pt>
          <cx:pt idx="68089">1</cx:pt>
          <cx:pt idx="68090">1</cx:pt>
          <cx:pt idx="68091">0</cx:pt>
          <cx:pt idx="68092">1</cx:pt>
          <cx:pt idx="68093">0</cx:pt>
          <cx:pt idx="68094">1</cx:pt>
          <cx:pt idx="68095">0</cx:pt>
          <cx:pt idx="68096">0</cx:pt>
          <cx:pt idx="68097">0</cx:pt>
          <cx:pt idx="68098">0</cx:pt>
          <cx:pt idx="68099">0</cx:pt>
          <cx:pt idx="68100">0</cx:pt>
          <cx:pt idx="68101">1</cx:pt>
          <cx:pt idx="68102">0</cx:pt>
          <cx:pt idx="68103">0</cx:pt>
          <cx:pt idx="68104">0</cx:pt>
          <cx:pt idx="68105">1</cx:pt>
          <cx:pt idx="68106">1</cx:pt>
          <cx:pt idx="68107">0</cx:pt>
          <cx:pt idx="68108">0</cx:pt>
          <cx:pt idx="68109">1</cx:pt>
          <cx:pt idx="68110">0</cx:pt>
          <cx:pt idx="68111">1</cx:pt>
          <cx:pt idx="68112">1</cx:pt>
          <cx:pt idx="68113">0</cx:pt>
          <cx:pt idx="68114">1</cx:pt>
          <cx:pt idx="68115">1</cx:pt>
          <cx:pt idx="68116">0</cx:pt>
          <cx:pt idx="68117">1</cx:pt>
          <cx:pt idx="68118">0</cx:pt>
          <cx:pt idx="68119">1</cx:pt>
          <cx:pt idx="68120">0</cx:pt>
          <cx:pt idx="68121">0</cx:pt>
          <cx:pt idx="68122">1</cx:pt>
          <cx:pt idx="68123">0</cx:pt>
          <cx:pt idx="68124">0</cx:pt>
          <cx:pt idx="68125">0</cx:pt>
          <cx:pt idx="68126">1</cx:pt>
          <cx:pt idx="68127">0</cx:pt>
          <cx:pt idx="68128">0</cx:pt>
          <cx:pt idx="68129">0</cx:pt>
          <cx:pt idx="68130">1</cx:pt>
          <cx:pt idx="68131">0</cx:pt>
          <cx:pt idx="68132">0</cx:pt>
          <cx:pt idx="68133">1</cx:pt>
          <cx:pt idx="68134">0</cx:pt>
          <cx:pt idx="68135">0</cx:pt>
          <cx:pt idx="68136">0</cx:pt>
          <cx:pt idx="68137">0</cx:pt>
          <cx:pt idx="68138">0</cx:pt>
          <cx:pt idx="68139">0</cx:pt>
          <cx:pt idx="68140">0</cx:pt>
          <cx:pt idx="68141">0</cx:pt>
          <cx:pt idx="68142">0</cx:pt>
          <cx:pt idx="68143">0</cx:pt>
          <cx:pt idx="68144">0</cx:pt>
          <cx:pt idx="68145">0</cx:pt>
          <cx:pt idx="68146">0</cx:pt>
          <cx:pt idx="68147">0</cx:pt>
          <cx:pt idx="68148">0</cx:pt>
          <cx:pt idx="68149">0</cx:pt>
          <cx:pt idx="68150">1</cx:pt>
          <cx:pt idx="68151">1</cx:pt>
          <cx:pt idx="68152">1</cx:pt>
          <cx:pt idx="68153">1</cx:pt>
          <cx:pt idx="68154">0</cx:pt>
          <cx:pt idx="68155">1</cx:pt>
          <cx:pt idx="68156">0</cx:pt>
          <cx:pt idx="68157">0</cx:pt>
          <cx:pt idx="68158">0</cx:pt>
          <cx:pt idx="68159">0</cx:pt>
          <cx:pt idx="68160">1</cx:pt>
          <cx:pt idx="68161">1</cx:pt>
          <cx:pt idx="68162">1</cx:pt>
          <cx:pt idx="68163">1</cx:pt>
          <cx:pt idx="68164">1</cx:pt>
          <cx:pt idx="68165">0</cx:pt>
          <cx:pt idx="68166">0</cx:pt>
          <cx:pt idx="68167">1</cx:pt>
          <cx:pt idx="68168">1</cx:pt>
          <cx:pt idx="68169">0</cx:pt>
          <cx:pt idx="68170">0</cx:pt>
          <cx:pt idx="68171">1</cx:pt>
          <cx:pt idx="68172">1</cx:pt>
          <cx:pt idx="68173">0</cx:pt>
          <cx:pt idx="68174">0</cx:pt>
          <cx:pt idx="68175">1</cx:pt>
          <cx:pt idx="68176">1</cx:pt>
          <cx:pt idx="68177">0</cx:pt>
          <cx:pt idx="68178">0</cx:pt>
          <cx:pt idx="68179">1</cx:pt>
          <cx:pt idx="68180">0</cx:pt>
          <cx:pt idx="68181">1</cx:pt>
          <cx:pt idx="68182">0</cx:pt>
          <cx:pt idx="68183">0</cx:pt>
          <cx:pt idx="68184">1</cx:pt>
          <cx:pt idx="68185">1</cx:pt>
          <cx:pt idx="68186">1</cx:pt>
          <cx:pt idx="68187">0</cx:pt>
          <cx:pt idx="68188">0</cx:pt>
          <cx:pt idx="68189">1</cx:pt>
          <cx:pt idx="68190">0</cx:pt>
          <cx:pt idx="68191">1</cx:pt>
          <cx:pt idx="68192">1</cx:pt>
          <cx:pt idx="68193">0</cx:pt>
          <cx:pt idx="68194">0</cx:pt>
          <cx:pt idx="68195">0</cx:pt>
          <cx:pt idx="68196">1</cx:pt>
          <cx:pt idx="68197">0</cx:pt>
          <cx:pt idx="68198">0</cx:pt>
          <cx:pt idx="68199">1</cx:pt>
          <cx:pt idx="68200">0</cx:pt>
          <cx:pt idx="68201">0</cx:pt>
          <cx:pt idx="68202">0</cx:pt>
          <cx:pt idx="68203">1</cx:pt>
          <cx:pt idx="68204">0</cx:pt>
          <cx:pt idx="68205">0</cx:pt>
          <cx:pt idx="68206">0</cx:pt>
          <cx:pt idx="68207">0</cx:pt>
          <cx:pt idx="68208">1</cx:pt>
          <cx:pt idx="68209">1</cx:pt>
          <cx:pt idx="68210">1</cx:pt>
          <cx:pt idx="68211">0</cx:pt>
          <cx:pt idx="68212">0</cx:pt>
          <cx:pt idx="68213">0</cx:pt>
          <cx:pt idx="68214">1</cx:pt>
          <cx:pt idx="68215">0</cx:pt>
          <cx:pt idx="68216">0</cx:pt>
          <cx:pt idx="68217">0</cx:pt>
          <cx:pt idx="68218">0</cx:pt>
          <cx:pt idx="68219">1</cx:pt>
          <cx:pt idx="68220">0</cx:pt>
          <cx:pt idx="68221">1</cx:pt>
          <cx:pt idx="68222">0</cx:pt>
          <cx:pt idx="68223">0</cx:pt>
          <cx:pt idx="68224">0</cx:pt>
          <cx:pt idx="68225">1</cx:pt>
          <cx:pt idx="68226">1</cx:pt>
          <cx:pt idx="68227">1</cx:pt>
          <cx:pt idx="68228">0</cx:pt>
          <cx:pt idx="68229">1</cx:pt>
          <cx:pt idx="68230">0</cx:pt>
          <cx:pt idx="68231">0</cx:pt>
          <cx:pt idx="68232">1</cx:pt>
          <cx:pt idx="68233">1</cx:pt>
          <cx:pt idx="68234">1</cx:pt>
          <cx:pt idx="68235">0</cx:pt>
          <cx:pt idx="68236">0</cx:pt>
          <cx:pt idx="68237">1</cx:pt>
          <cx:pt idx="68238">1</cx:pt>
          <cx:pt idx="68239">0</cx:pt>
          <cx:pt idx="68240">1</cx:pt>
          <cx:pt idx="68241">0</cx:pt>
          <cx:pt idx="68242">1</cx:pt>
          <cx:pt idx="68243">0</cx:pt>
          <cx:pt idx="68244">1</cx:pt>
          <cx:pt idx="68245">0</cx:pt>
          <cx:pt idx="68246">1</cx:pt>
          <cx:pt idx="68247">1</cx:pt>
          <cx:pt idx="68248">0</cx:pt>
          <cx:pt idx="68249">0</cx:pt>
          <cx:pt idx="68250">0</cx:pt>
          <cx:pt idx="68251">0</cx:pt>
          <cx:pt idx="68252">0</cx:pt>
          <cx:pt idx="68253">1</cx:pt>
          <cx:pt idx="68254">1</cx:pt>
          <cx:pt idx="68255">0</cx:pt>
          <cx:pt idx="68256">1</cx:pt>
          <cx:pt idx="68257">1</cx:pt>
          <cx:pt idx="68258">0</cx:pt>
          <cx:pt idx="68259">1</cx:pt>
          <cx:pt idx="68260">0</cx:pt>
          <cx:pt idx="68261">1</cx:pt>
          <cx:pt idx="68262">0</cx:pt>
          <cx:pt idx="68263">1</cx:pt>
          <cx:pt idx="68264">0</cx:pt>
          <cx:pt idx="68265">0</cx:pt>
          <cx:pt idx="68266">0</cx:pt>
          <cx:pt idx="68267">0</cx:pt>
          <cx:pt idx="68268">0</cx:pt>
          <cx:pt idx="68269">1</cx:pt>
          <cx:pt idx="68270">0</cx:pt>
          <cx:pt idx="68271">0</cx:pt>
          <cx:pt idx="68272">0</cx:pt>
          <cx:pt idx="68273">1</cx:pt>
          <cx:pt idx="68274">0</cx:pt>
          <cx:pt idx="68275">1</cx:pt>
          <cx:pt idx="68276">0</cx:pt>
          <cx:pt idx="68277">1</cx:pt>
          <cx:pt idx="68278">0</cx:pt>
          <cx:pt idx="68279">0</cx:pt>
          <cx:pt idx="68280">0</cx:pt>
          <cx:pt idx="68281">1</cx:pt>
          <cx:pt idx="68282">0</cx:pt>
          <cx:pt idx="68283">0</cx:pt>
          <cx:pt idx="68284">1</cx:pt>
          <cx:pt idx="68285">1</cx:pt>
          <cx:pt idx="68286">1</cx:pt>
          <cx:pt idx="68287">0</cx:pt>
          <cx:pt idx="68288">0</cx:pt>
          <cx:pt idx="68289">0</cx:pt>
          <cx:pt idx="68290">1</cx:pt>
          <cx:pt idx="68291">1</cx:pt>
          <cx:pt idx="68292">0</cx:pt>
          <cx:pt idx="68293">0</cx:pt>
          <cx:pt idx="68294">0</cx:pt>
          <cx:pt idx="68295">0</cx:pt>
          <cx:pt idx="68296">0</cx:pt>
          <cx:pt idx="68297">0</cx:pt>
          <cx:pt idx="68298">1</cx:pt>
          <cx:pt idx="68299">0</cx:pt>
          <cx:pt idx="68300">0</cx:pt>
          <cx:pt idx="68301">0</cx:pt>
          <cx:pt idx="68302">0</cx:pt>
          <cx:pt idx="68303">1</cx:pt>
          <cx:pt idx="68304">0</cx:pt>
          <cx:pt idx="68305">1</cx:pt>
          <cx:pt idx="68306">1</cx:pt>
          <cx:pt idx="68307">1</cx:pt>
          <cx:pt idx="68308">1</cx:pt>
          <cx:pt idx="68309">1</cx:pt>
          <cx:pt idx="68310">0</cx:pt>
          <cx:pt idx="68311">0</cx:pt>
          <cx:pt idx="68312">0</cx:pt>
          <cx:pt idx="68313">1</cx:pt>
          <cx:pt idx="68314">1</cx:pt>
          <cx:pt idx="68315">0</cx:pt>
          <cx:pt idx="68316">0</cx:pt>
          <cx:pt idx="68317">1</cx:pt>
          <cx:pt idx="68318">0</cx:pt>
          <cx:pt idx="68319">0</cx:pt>
          <cx:pt idx="68320">1</cx:pt>
          <cx:pt idx="68321">1</cx:pt>
          <cx:pt idx="68322">1</cx:pt>
          <cx:pt idx="68323">1</cx:pt>
          <cx:pt idx="68324">1</cx:pt>
          <cx:pt idx="68325">1</cx:pt>
          <cx:pt idx="68326">0</cx:pt>
          <cx:pt idx="68327">0</cx:pt>
          <cx:pt idx="68328">1</cx:pt>
          <cx:pt idx="68329">0</cx:pt>
          <cx:pt idx="68330">0</cx:pt>
          <cx:pt idx="68331">0</cx:pt>
          <cx:pt idx="68332">0</cx:pt>
          <cx:pt idx="68333">0</cx:pt>
          <cx:pt idx="68334">0</cx:pt>
          <cx:pt idx="68335">0</cx:pt>
          <cx:pt idx="68336">0</cx:pt>
          <cx:pt idx="68337">1</cx:pt>
          <cx:pt idx="68338">0</cx:pt>
          <cx:pt idx="68339">0</cx:pt>
          <cx:pt idx="68340">0</cx:pt>
          <cx:pt idx="68341">0</cx:pt>
          <cx:pt idx="68342">1</cx:pt>
          <cx:pt idx="68343">1</cx:pt>
          <cx:pt idx="68344">0</cx:pt>
          <cx:pt idx="68345">0</cx:pt>
          <cx:pt idx="68346">1</cx:pt>
          <cx:pt idx="68347">0</cx:pt>
          <cx:pt idx="68348">1</cx:pt>
          <cx:pt idx="68349">0</cx:pt>
          <cx:pt idx="68350">0</cx:pt>
          <cx:pt idx="68351">0</cx:pt>
          <cx:pt idx="68352">0</cx:pt>
          <cx:pt idx="68353">0</cx:pt>
          <cx:pt idx="68354">0</cx:pt>
          <cx:pt idx="68355">0</cx:pt>
          <cx:pt idx="68356">0</cx:pt>
          <cx:pt idx="68357">1</cx:pt>
          <cx:pt idx="68358">0</cx:pt>
          <cx:pt idx="68359">1</cx:pt>
          <cx:pt idx="68360">1</cx:pt>
          <cx:pt idx="68361">0</cx:pt>
          <cx:pt idx="68362">1</cx:pt>
          <cx:pt idx="68363">0</cx:pt>
          <cx:pt idx="68364">1</cx:pt>
          <cx:pt idx="68365">1</cx:pt>
          <cx:pt idx="68366">1</cx:pt>
          <cx:pt idx="68367">1</cx:pt>
          <cx:pt idx="68368">0</cx:pt>
          <cx:pt idx="68369">1</cx:pt>
          <cx:pt idx="68370">0</cx:pt>
          <cx:pt idx="68371">0</cx:pt>
          <cx:pt idx="68372">0</cx:pt>
          <cx:pt idx="68373">0</cx:pt>
          <cx:pt idx="68374">1</cx:pt>
          <cx:pt idx="68375">0</cx:pt>
          <cx:pt idx="68376">0</cx:pt>
          <cx:pt idx="68377">1</cx:pt>
          <cx:pt idx="68378">1</cx:pt>
          <cx:pt idx="68379">0</cx:pt>
          <cx:pt idx="68380">1</cx:pt>
          <cx:pt idx="68381">0</cx:pt>
          <cx:pt idx="68382">0</cx:pt>
          <cx:pt idx="68383">0</cx:pt>
          <cx:pt idx="68384">0</cx:pt>
          <cx:pt idx="68385">0</cx:pt>
          <cx:pt idx="68386">0</cx:pt>
          <cx:pt idx="68387">1</cx:pt>
          <cx:pt idx="68388">0</cx:pt>
          <cx:pt idx="68389">0</cx:pt>
          <cx:pt idx="68390">0</cx:pt>
          <cx:pt idx="68391">0</cx:pt>
          <cx:pt idx="68392">1</cx:pt>
          <cx:pt idx="68393">1</cx:pt>
          <cx:pt idx="68394">1</cx:pt>
          <cx:pt idx="68395">1</cx:pt>
          <cx:pt idx="68396">0</cx:pt>
          <cx:pt idx="68397">0</cx:pt>
          <cx:pt idx="68398">0</cx:pt>
          <cx:pt idx="68399">0</cx:pt>
          <cx:pt idx="68400">1</cx:pt>
          <cx:pt idx="68401">0</cx:pt>
          <cx:pt idx="68402">0</cx:pt>
          <cx:pt idx="68403">1</cx:pt>
          <cx:pt idx="68404">1</cx:pt>
          <cx:pt idx="68405">1</cx:pt>
          <cx:pt idx="68406">0</cx:pt>
          <cx:pt idx="68407">1</cx:pt>
          <cx:pt idx="68408">0</cx:pt>
          <cx:pt idx="68409">1</cx:pt>
          <cx:pt idx="68410">0</cx:pt>
          <cx:pt idx="68411">0</cx:pt>
          <cx:pt idx="68412">1</cx:pt>
          <cx:pt idx="68413">0</cx:pt>
          <cx:pt idx="68414">1</cx:pt>
          <cx:pt idx="68415">0</cx:pt>
          <cx:pt idx="68416">1</cx:pt>
          <cx:pt idx="68417">0</cx:pt>
          <cx:pt idx="68418">1</cx:pt>
          <cx:pt idx="68419">1</cx:pt>
          <cx:pt idx="68420">0</cx:pt>
          <cx:pt idx="68421">1</cx:pt>
          <cx:pt idx="68422">1</cx:pt>
          <cx:pt idx="68423">1</cx:pt>
          <cx:pt idx="68424">0</cx:pt>
          <cx:pt idx="68425">1</cx:pt>
          <cx:pt idx="68426">0</cx:pt>
          <cx:pt idx="68427">0</cx:pt>
          <cx:pt idx="68428">0</cx:pt>
          <cx:pt idx="68429">0</cx:pt>
          <cx:pt idx="68430">0</cx:pt>
          <cx:pt idx="68431">0</cx:pt>
          <cx:pt idx="68432">1</cx:pt>
          <cx:pt idx="68433">1</cx:pt>
          <cx:pt idx="68434">0</cx:pt>
          <cx:pt idx="68435">0</cx:pt>
          <cx:pt idx="68436">0</cx:pt>
          <cx:pt idx="68437">1</cx:pt>
          <cx:pt idx="68438">0</cx:pt>
          <cx:pt idx="68439">0</cx:pt>
          <cx:pt idx="68440">0</cx:pt>
          <cx:pt idx="68441">0</cx:pt>
          <cx:pt idx="68442">1</cx:pt>
          <cx:pt idx="68443">0</cx:pt>
          <cx:pt idx="68444">1</cx:pt>
          <cx:pt idx="68445">1</cx:pt>
          <cx:pt idx="68446">0</cx:pt>
          <cx:pt idx="68447">0</cx:pt>
          <cx:pt idx="68448">0</cx:pt>
          <cx:pt idx="68449">1</cx:pt>
          <cx:pt idx="68450">0</cx:pt>
          <cx:pt idx="68451">1</cx:pt>
          <cx:pt idx="68452">0</cx:pt>
          <cx:pt idx="68453">0</cx:pt>
          <cx:pt idx="68454">0</cx:pt>
          <cx:pt idx="68455">1</cx:pt>
          <cx:pt idx="68456">1</cx:pt>
          <cx:pt idx="68457">1</cx:pt>
          <cx:pt idx="68458">0</cx:pt>
          <cx:pt idx="68459">1</cx:pt>
          <cx:pt idx="68460">0</cx:pt>
          <cx:pt idx="68461">0</cx:pt>
          <cx:pt idx="68462">1</cx:pt>
          <cx:pt idx="68463">0</cx:pt>
          <cx:pt idx="68464">0</cx:pt>
          <cx:pt idx="68465">0</cx:pt>
          <cx:pt idx="68466">0</cx:pt>
          <cx:pt idx="68467">1</cx:pt>
          <cx:pt idx="68468">1</cx:pt>
          <cx:pt idx="68469">0</cx:pt>
          <cx:pt idx="68470">1</cx:pt>
          <cx:pt idx="68471">1</cx:pt>
          <cx:pt idx="68472">0</cx:pt>
          <cx:pt idx="68473">0</cx:pt>
          <cx:pt idx="68474">1</cx:pt>
          <cx:pt idx="68475">1</cx:pt>
          <cx:pt idx="68476">0</cx:pt>
          <cx:pt idx="68477">0</cx:pt>
          <cx:pt idx="68478">1</cx:pt>
          <cx:pt idx="68479">1</cx:pt>
          <cx:pt idx="68480">0</cx:pt>
          <cx:pt idx="68481">0</cx:pt>
          <cx:pt idx="68482">0</cx:pt>
          <cx:pt idx="68483">1</cx:pt>
          <cx:pt idx="68484">1</cx:pt>
          <cx:pt idx="68485">0</cx:pt>
          <cx:pt idx="68486">1</cx:pt>
          <cx:pt idx="68487">1</cx:pt>
          <cx:pt idx="68488">0</cx:pt>
          <cx:pt idx="68489">0</cx:pt>
          <cx:pt idx="68490">1</cx:pt>
          <cx:pt idx="68491">1</cx:pt>
          <cx:pt idx="68492">1</cx:pt>
          <cx:pt idx="68493">1</cx:pt>
          <cx:pt idx="68494">0</cx:pt>
          <cx:pt idx="68495">0</cx:pt>
          <cx:pt idx="68496">1</cx:pt>
          <cx:pt idx="68497">0</cx:pt>
          <cx:pt idx="68498">1</cx:pt>
          <cx:pt idx="68499">0</cx:pt>
          <cx:pt idx="68500">0</cx:pt>
          <cx:pt idx="68501">0</cx:pt>
          <cx:pt idx="68502">0</cx:pt>
          <cx:pt idx="68503">0</cx:pt>
          <cx:pt idx="68504">0</cx:pt>
          <cx:pt idx="68505">1</cx:pt>
          <cx:pt idx="68506">1</cx:pt>
          <cx:pt idx="68507">0</cx:pt>
          <cx:pt idx="68508">1</cx:pt>
          <cx:pt idx="68509">1</cx:pt>
          <cx:pt idx="68510">0</cx:pt>
          <cx:pt idx="68511">1</cx:pt>
          <cx:pt idx="68512">0</cx:pt>
          <cx:pt idx="68513">0</cx:pt>
          <cx:pt idx="68514">0</cx:pt>
          <cx:pt idx="68515">1</cx:pt>
          <cx:pt idx="68516">0</cx:pt>
          <cx:pt idx="68517">0</cx:pt>
          <cx:pt idx="68518">0</cx:pt>
          <cx:pt idx="68519">0</cx:pt>
          <cx:pt idx="68520">1</cx:pt>
          <cx:pt idx="68521">1</cx:pt>
          <cx:pt idx="68522">1</cx:pt>
          <cx:pt idx="68523">0</cx:pt>
          <cx:pt idx="68524">1</cx:pt>
          <cx:pt idx="68525">0</cx:pt>
          <cx:pt idx="68526">1</cx:pt>
          <cx:pt idx="68527">0</cx:pt>
          <cx:pt idx="68528">0</cx:pt>
          <cx:pt idx="68529">0</cx:pt>
          <cx:pt idx="68530">0</cx:pt>
          <cx:pt idx="68531">0</cx:pt>
          <cx:pt idx="68532">1</cx:pt>
          <cx:pt idx="68533">1</cx:pt>
          <cx:pt idx="68534">1</cx:pt>
          <cx:pt idx="68535">1</cx:pt>
          <cx:pt idx="68536">0</cx:pt>
          <cx:pt idx="68537">1</cx:pt>
          <cx:pt idx="68538">0</cx:pt>
          <cx:pt idx="68539">0</cx:pt>
          <cx:pt idx="68540">0</cx:pt>
          <cx:pt idx="68541">1</cx:pt>
          <cx:pt idx="68542">0</cx:pt>
          <cx:pt idx="68543">0</cx:pt>
          <cx:pt idx="68544">0</cx:pt>
          <cx:pt idx="68545">1</cx:pt>
          <cx:pt idx="68546">0</cx:pt>
          <cx:pt idx="68547">1</cx:pt>
          <cx:pt idx="68548">1</cx:pt>
          <cx:pt idx="68549">1</cx:pt>
          <cx:pt idx="68550">1</cx:pt>
          <cx:pt idx="68551">0</cx:pt>
          <cx:pt idx="68552">1</cx:pt>
          <cx:pt idx="68553">0</cx:pt>
          <cx:pt idx="68554">1</cx:pt>
          <cx:pt idx="68555">0</cx:pt>
          <cx:pt idx="68556">0</cx:pt>
          <cx:pt idx="68557">0</cx:pt>
          <cx:pt idx="68558">0</cx:pt>
          <cx:pt idx="68559">0</cx:pt>
          <cx:pt idx="68560">1</cx:pt>
          <cx:pt idx="68561">0</cx:pt>
          <cx:pt idx="68562">0</cx:pt>
          <cx:pt idx="68563">0</cx:pt>
          <cx:pt idx="68564">1</cx:pt>
          <cx:pt idx="68565">0</cx:pt>
          <cx:pt idx="68566">0</cx:pt>
          <cx:pt idx="68567">0</cx:pt>
          <cx:pt idx="68568">0</cx:pt>
          <cx:pt idx="68569">0</cx:pt>
          <cx:pt idx="68570">0</cx:pt>
          <cx:pt idx="68571">1</cx:pt>
          <cx:pt idx="68572">1</cx:pt>
          <cx:pt idx="68573">0</cx:pt>
          <cx:pt idx="68574">0</cx:pt>
          <cx:pt idx="68575">1</cx:pt>
          <cx:pt idx="68576">0</cx:pt>
          <cx:pt idx="68577">1</cx:pt>
          <cx:pt idx="68578">1</cx:pt>
          <cx:pt idx="68579">1</cx:pt>
          <cx:pt idx="68580">0</cx:pt>
          <cx:pt idx="68581">1</cx:pt>
          <cx:pt idx="68582">0</cx:pt>
          <cx:pt idx="68583">1</cx:pt>
          <cx:pt idx="68584">0</cx:pt>
          <cx:pt idx="68585">0</cx:pt>
          <cx:pt idx="68586">0</cx:pt>
          <cx:pt idx="68587">0</cx:pt>
          <cx:pt idx="68588">1</cx:pt>
          <cx:pt idx="68589">1</cx:pt>
          <cx:pt idx="68590">1</cx:pt>
          <cx:pt idx="68591">1</cx:pt>
          <cx:pt idx="68592">0</cx:pt>
          <cx:pt idx="68593">0</cx:pt>
          <cx:pt idx="68594">1</cx:pt>
          <cx:pt idx="68595">1</cx:pt>
          <cx:pt idx="68596">0</cx:pt>
          <cx:pt idx="68597">0</cx:pt>
          <cx:pt idx="68598">1</cx:pt>
          <cx:pt idx="68599">1</cx:pt>
          <cx:pt idx="68600">0</cx:pt>
          <cx:pt idx="68601">1</cx:pt>
          <cx:pt idx="68602">0</cx:pt>
          <cx:pt idx="68603">0</cx:pt>
          <cx:pt idx="68604">0</cx:pt>
          <cx:pt idx="68605">1</cx:pt>
          <cx:pt idx="68606">0</cx:pt>
          <cx:pt idx="68607">0</cx:pt>
          <cx:pt idx="68608">1</cx:pt>
          <cx:pt idx="68609">0</cx:pt>
          <cx:pt idx="68610">1</cx:pt>
          <cx:pt idx="68611">0</cx:pt>
          <cx:pt idx="68612">1</cx:pt>
          <cx:pt idx="68613">0</cx:pt>
          <cx:pt idx="68614">0</cx:pt>
          <cx:pt idx="68615">0</cx:pt>
          <cx:pt idx="68616">0</cx:pt>
          <cx:pt idx="68617">0</cx:pt>
          <cx:pt idx="68618">0</cx:pt>
          <cx:pt idx="68619">0</cx:pt>
          <cx:pt idx="68620">1</cx:pt>
          <cx:pt idx="68621">1</cx:pt>
          <cx:pt idx="68622">1</cx:pt>
          <cx:pt idx="68623">1</cx:pt>
          <cx:pt idx="68624">1</cx:pt>
          <cx:pt idx="68625">1</cx:pt>
          <cx:pt idx="68626">0</cx:pt>
          <cx:pt idx="68627">0</cx:pt>
          <cx:pt idx="68628">0</cx:pt>
          <cx:pt idx="68629">1</cx:pt>
          <cx:pt idx="68630">1</cx:pt>
          <cx:pt idx="68631">0</cx:pt>
          <cx:pt idx="68632">0</cx:pt>
          <cx:pt idx="68633">0</cx:pt>
          <cx:pt idx="68634">0</cx:pt>
          <cx:pt idx="68635">0</cx:pt>
          <cx:pt idx="68636">0</cx:pt>
          <cx:pt idx="68637">0</cx:pt>
          <cx:pt idx="68638">0</cx:pt>
          <cx:pt idx="68639">1</cx:pt>
          <cx:pt idx="68640">0</cx:pt>
          <cx:pt idx="68641">0</cx:pt>
          <cx:pt idx="68642">0</cx:pt>
          <cx:pt idx="68643">0</cx:pt>
          <cx:pt idx="68644">1</cx:pt>
          <cx:pt idx="68645">1</cx:pt>
          <cx:pt idx="68646">0</cx:pt>
          <cx:pt idx="68647">0</cx:pt>
          <cx:pt idx="68648">1</cx:pt>
          <cx:pt idx="68649">0</cx:pt>
          <cx:pt idx="68650">0</cx:pt>
          <cx:pt idx="68651">0</cx:pt>
          <cx:pt idx="68652">1</cx:pt>
          <cx:pt idx="68653">0</cx:pt>
          <cx:pt idx="68654">0</cx:pt>
          <cx:pt idx="68655">1</cx:pt>
          <cx:pt idx="68656">0</cx:pt>
          <cx:pt idx="68657">0</cx:pt>
          <cx:pt idx="68658">1</cx:pt>
          <cx:pt idx="68659">1</cx:pt>
          <cx:pt idx="68660">0</cx:pt>
          <cx:pt idx="68661">0</cx:pt>
          <cx:pt idx="68662">0</cx:pt>
          <cx:pt idx="68663">1</cx:pt>
          <cx:pt idx="68664">1</cx:pt>
          <cx:pt idx="68665">1</cx:pt>
          <cx:pt idx="68666">1</cx:pt>
          <cx:pt idx="68667">1</cx:pt>
          <cx:pt idx="68668">1</cx:pt>
          <cx:pt idx="68669">1</cx:pt>
          <cx:pt idx="68670">1</cx:pt>
          <cx:pt idx="68671">0</cx:pt>
          <cx:pt idx="68672">0</cx:pt>
          <cx:pt idx="68673">0</cx:pt>
          <cx:pt idx="68674">0</cx:pt>
          <cx:pt idx="68675">1</cx:pt>
          <cx:pt idx="68676">1</cx:pt>
          <cx:pt idx="68677">0</cx:pt>
          <cx:pt idx="68678">1</cx:pt>
          <cx:pt idx="68679">0</cx:pt>
          <cx:pt idx="68680">0</cx:pt>
          <cx:pt idx="68681">1</cx:pt>
          <cx:pt idx="68682">1</cx:pt>
          <cx:pt idx="68683">0</cx:pt>
          <cx:pt idx="68684">0</cx:pt>
          <cx:pt idx="68685">1</cx:pt>
          <cx:pt idx="68686">1</cx:pt>
          <cx:pt idx="68687">1</cx:pt>
          <cx:pt idx="68688">1</cx:pt>
          <cx:pt idx="68689">1</cx:pt>
          <cx:pt idx="68690">0</cx:pt>
          <cx:pt idx="68691">0</cx:pt>
          <cx:pt idx="68692">0</cx:pt>
          <cx:pt idx="68693">0</cx:pt>
          <cx:pt idx="68694">1</cx:pt>
          <cx:pt idx="68695">0</cx:pt>
          <cx:pt idx="68696">0</cx:pt>
          <cx:pt idx="68697">1</cx:pt>
          <cx:pt idx="68698">1</cx:pt>
          <cx:pt idx="68699">0</cx:pt>
          <cx:pt idx="68700">0</cx:pt>
          <cx:pt idx="68701">0</cx:pt>
          <cx:pt idx="68702">0</cx:pt>
          <cx:pt idx="68703">1</cx:pt>
          <cx:pt idx="68704">1</cx:pt>
          <cx:pt idx="68705">0</cx:pt>
          <cx:pt idx="68706">0</cx:pt>
          <cx:pt idx="68707">0</cx:pt>
          <cx:pt idx="68708">1</cx:pt>
          <cx:pt idx="68709">0</cx:pt>
          <cx:pt idx="68710">1</cx:pt>
          <cx:pt idx="68711">0</cx:pt>
          <cx:pt idx="68712">1</cx:pt>
          <cx:pt idx="68713">0</cx:pt>
          <cx:pt idx="68714">0</cx:pt>
          <cx:pt idx="68715">0</cx:pt>
          <cx:pt idx="68716">1</cx:pt>
          <cx:pt idx="68717">0</cx:pt>
          <cx:pt idx="68718">0</cx:pt>
          <cx:pt idx="68719">0</cx:pt>
          <cx:pt idx="68720">0</cx:pt>
          <cx:pt idx="68721">0</cx:pt>
          <cx:pt idx="68722">1</cx:pt>
          <cx:pt idx="68723">1</cx:pt>
          <cx:pt idx="68724">0</cx:pt>
          <cx:pt idx="68725">0</cx:pt>
          <cx:pt idx="68726">1</cx:pt>
          <cx:pt idx="68727">1</cx:pt>
          <cx:pt idx="68728">0</cx:pt>
          <cx:pt idx="68729">1</cx:pt>
          <cx:pt idx="68730">1</cx:pt>
          <cx:pt idx="68731">0</cx:pt>
          <cx:pt idx="68732">0</cx:pt>
          <cx:pt idx="68733">0</cx:pt>
          <cx:pt idx="68734">0</cx:pt>
          <cx:pt idx="68735">1</cx:pt>
          <cx:pt idx="68736">1</cx:pt>
          <cx:pt idx="68737">0</cx:pt>
          <cx:pt idx="68738">1</cx:pt>
          <cx:pt idx="68739">0</cx:pt>
          <cx:pt idx="68740">0</cx:pt>
          <cx:pt idx="68741">0</cx:pt>
          <cx:pt idx="68742">1</cx:pt>
          <cx:pt idx="68743">0</cx:pt>
          <cx:pt idx="68744">1</cx:pt>
          <cx:pt idx="68745">0</cx:pt>
          <cx:pt idx="68746">1</cx:pt>
          <cx:pt idx="68747">0</cx:pt>
          <cx:pt idx="68748">0</cx:pt>
          <cx:pt idx="68749">0</cx:pt>
          <cx:pt idx="68750">0</cx:pt>
          <cx:pt idx="68751">0</cx:pt>
          <cx:pt idx="68752">0</cx:pt>
          <cx:pt idx="68753">0</cx:pt>
          <cx:pt idx="68754">1</cx:pt>
          <cx:pt idx="68755">1</cx:pt>
          <cx:pt idx="68756">0</cx:pt>
          <cx:pt idx="68757">0</cx:pt>
          <cx:pt idx="68758">1</cx:pt>
          <cx:pt idx="68759">0</cx:pt>
          <cx:pt idx="68760">0</cx:pt>
          <cx:pt idx="68761">1</cx:pt>
          <cx:pt idx="68762">1</cx:pt>
          <cx:pt idx="68763">1</cx:pt>
          <cx:pt idx="68764">1</cx:pt>
          <cx:pt idx="68765">0</cx:pt>
          <cx:pt idx="68766">0</cx:pt>
          <cx:pt idx="68767">0</cx:pt>
          <cx:pt idx="68768">1</cx:pt>
          <cx:pt idx="68769">0</cx:pt>
          <cx:pt idx="68770">1</cx:pt>
          <cx:pt idx="68771">1</cx:pt>
          <cx:pt idx="68772">1</cx:pt>
          <cx:pt idx="68773">0</cx:pt>
          <cx:pt idx="68774">1</cx:pt>
          <cx:pt idx="68775">0</cx:pt>
          <cx:pt idx="68776">0</cx:pt>
          <cx:pt idx="68777">0</cx:pt>
          <cx:pt idx="68778">1</cx:pt>
          <cx:pt idx="68779">0</cx:pt>
          <cx:pt idx="68780">1</cx:pt>
          <cx:pt idx="68781">0</cx:pt>
          <cx:pt idx="68782">0</cx:pt>
          <cx:pt idx="68783">0</cx:pt>
          <cx:pt idx="68784">0</cx:pt>
          <cx:pt idx="68785">1</cx:pt>
          <cx:pt idx="68786">0</cx:pt>
          <cx:pt idx="68787">0</cx:pt>
          <cx:pt idx="68788">1</cx:pt>
          <cx:pt idx="68789">1</cx:pt>
          <cx:pt idx="68790">1</cx:pt>
          <cx:pt idx="68791">0</cx:pt>
          <cx:pt idx="68792">0</cx:pt>
          <cx:pt idx="68793">0</cx:pt>
          <cx:pt idx="68794">1</cx:pt>
          <cx:pt idx="68795">1</cx:pt>
          <cx:pt idx="68796">0</cx:pt>
          <cx:pt idx="68797">1</cx:pt>
          <cx:pt idx="68798">1</cx:pt>
          <cx:pt idx="68799">0</cx:pt>
          <cx:pt idx="68800">1</cx:pt>
          <cx:pt idx="68801">1</cx:pt>
          <cx:pt idx="68802">0</cx:pt>
          <cx:pt idx="68803">1</cx:pt>
          <cx:pt idx="68804">1</cx:pt>
          <cx:pt idx="68805">1</cx:pt>
          <cx:pt idx="68806">0</cx:pt>
          <cx:pt idx="68807">0</cx:pt>
          <cx:pt idx="68808">1</cx:pt>
          <cx:pt idx="68809">0</cx:pt>
          <cx:pt idx="68810">0</cx:pt>
          <cx:pt idx="68811">1</cx:pt>
          <cx:pt idx="68812">1</cx:pt>
          <cx:pt idx="68813">0</cx:pt>
          <cx:pt idx="68814">0</cx:pt>
          <cx:pt idx="68815">1</cx:pt>
          <cx:pt idx="68816">1</cx:pt>
          <cx:pt idx="68817">0</cx:pt>
          <cx:pt idx="68818">1</cx:pt>
          <cx:pt idx="68819">1</cx:pt>
          <cx:pt idx="68820">0</cx:pt>
          <cx:pt idx="68821">0</cx:pt>
          <cx:pt idx="68822">0</cx:pt>
          <cx:pt idx="68823">0</cx:pt>
          <cx:pt idx="68824">0</cx:pt>
          <cx:pt idx="68825">1</cx:pt>
          <cx:pt idx="68826">1</cx:pt>
          <cx:pt idx="68827">0</cx:pt>
          <cx:pt idx="68828">1</cx:pt>
          <cx:pt idx="68829">0</cx:pt>
          <cx:pt idx="68830">1</cx:pt>
          <cx:pt idx="68831">1</cx:pt>
          <cx:pt idx="68832">1</cx:pt>
          <cx:pt idx="68833">0</cx:pt>
          <cx:pt idx="68834">0</cx:pt>
          <cx:pt idx="68835">0</cx:pt>
          <cx:pt idx="68836">1</cx:pt>
          <cx:pt idx="68837">1</cx:pt>
          <cx:pt idx="68838">1</cx:pt>
          <cx:pt idx="68839">1</cx:pt>
          <cx:pt idx="68840">1</cx:pt>
          <cx:pt idx="68841">0</cx:pt>
          <cx:pt idx="68842">1</cx:pt>
          <cx:pt idx="68843">1</cx:pt>
          <cx:pt idx="68844">0</cx:pt>
          <cx:pt idx="68845">0</cx:pt>
          <cx:pt idx="68846">1</cx:pt>
          <cx:pt idx="68847">1</cx:pt>
          <cx:pt idx="68848">0</cx:pt>
          <cx:pt idx="68849">0</cx:pt>
          <cx:pt idx="68850">1</cx:pt>
          <cx:pt idx="68851">1</cx:pt>
          <cx:pt idx="68852">0</cx:pt>
          <cx:pt idx="68853">1</cx:pt>
          <cx:pt idx="68854">0</cx:pt>
          <cx:pt idx="68855">0</cx:pt>
          <cx:pt idx="68856">0</cx:pt>
          <cx:pt idx="68857">1</cx:pt>
          <cx:pt idx="68858">0</cx:pt>
          <cx:pt idx="68859">0</cx:pt>
          <cx:pt idx="68860">0</cx:pt>
          <cx:pt idx="68861">0</cx:pt>
          <cx:pt idx="68862">0</cx:pt>
          <cx:pt idx="68863">0</cx:pt>
          <cx:pt idx="68864">0</cx:pt>
          <cx:pt idx="68865">0</cx:pt>
          <cx:pt idx="68866">1</cx:pt>
          <cx:pt idx="68867">1</cx:pt>
          <cx:pt idx="68868">0</cx:pt>
          <cx:pt idx="68869">0</cx:pt>
          <cx:pt idx="68870">0</cx:pt>
          <cx:pt idx="68871">1</cx:pt>
          <cx:pt idx="68872">1</cx:pt>
          <cx:pt idx="68873">0</cx:pt>
          <cx:pt idx="68874">0</cx:pt>
          <cx:pt idx="68875">1</cx:pt>
          <cx:pt idx="68876">0</cx:pt>
          <cx:pt idx="68877">0</cx:pt>
          <cx:pt idx="68878">1</cx:pt>
          <cx:pt idx="68879">0</cx:pt>
          <cx:pt idx="68880">1</cx:pt>
          <cx:pt idx="68881">1</cx:pt>
          <cx:pt idx="68882">0</cx:pt>
          <cx:pt idx="68883">0</cx:pt>
          <cx:pt idx="68884">1</cx:pt>
          <cx:pt idx="68885">1</cx:pt>
          <cx:pt idx="68886">0</cx:pt>
          <cx:pt idx="68887">1</cx:pt>
          <cx:pt idx="68888">1</cx:pt>
          <cx:pt idx="68889">1</cx:pt>
          <cx:pt idx="68890">1</cx:pt>
          <cx:pt idx="68891">1</cx:pt>
          <cx:pt idx="68892">1</cx:pt>
          <cx:pt idx="68893">0</cx:pt>
          <cx:pt idx="68894">1</cx:pt>
          <cx:pt idx="68895">0</cx:pt>
          <cx:pt idx="68896">1</cx:pt>
          <cx:pt idx="68897">0</cx:pt>
          <cx:pt idx="68898">0</cx:pt>
          <cx:pt idx="68899">0</cx:pt>
          <cx:pt idx="68900">0</cx:pt>
          <cx:pt idx="68901">1</cx:pt>
          <cx:pt idx="68902">0</cx:pt>
          <cx:pt idx="68903">1</cx:pt>
          <cx:pt idx="68904">0</cx:pt>
          <cx:pt idx="68905">1</cx:pt>
          <cx:pt idx="68906">0</cx:pt>
          <cx:pt idx="68907">0</cx:pt>
          <cx:pt idx="68908">0</cx:pt>
          <cx:pt idx="68909">0</cx:pt>
          <cx:pt idx="68910">0</cx:pt>
          <cx:pt idx="68911">1</cx:pt>
          <cx:pt idx="68912">1</cx:pt>
          <cx:pt idx="68913">0</cx:pt>
          <cx:pt idx="68914">1</cx:pt>
          <cx:pt idx="68915">1</cx:pt>
          <cx:pt idx="68916">0</cx:pt>
          <cx:pt idx="68917">0</cx:pt>
          <cx:pt idx="68918">1</cx:pt>
          <cx:pt idx="68919">0</cx:pt>
          <cx:pt idx="68920">1</cx:pt>
          <cx:pt idx="68921">0</cx:pt>
          <cx:pt idx="68922">1</cx:pt>
          <cx:pt idx="68923">1</cx:pt>
          <cx:pt idx="68924">0</cx:pt>
          <cx:pt idx="68925">1</cx:pt>
          <cx:pt idx="68926">0</cx:pt>
          <cx:pt idx="68927">0</cx:pt>
          <cx:pt idx="68928">0</cx:pt>
          <cx:pt idx="68929">1</cx:pt>
          <cx:pt idx="68930">0</cx:pt>
          <cx:pt idx="68931">1</cx:pt>
          <cx:pt idx="68932">1</cx:pt>
          <cx:pt idx="68933">1</cx:pt>
          <cx:pt idx="68934">1</cx:pt>
          <cx:pt idx="68935">0</cx:pt>
          <cx:pt idx="68936">1</cx:pt>
          <cx:pt idx="68937">1</cx:pt>
          <cx:pt idx="68938">1</cx:pt>
          <cx:pt idx="68939">1</cx:pt>
          <cx:pt idx="68940">0</cx:pt>
          <cx:pt idx="68941">1</cx:pt>
          <cx:pt idx="68942">1</cx:pt>
          <cx:pt idx="68943">1</cx:pt>
          <cx:pt idx="68944">0</cx:pt>
          <cx:pt idx="68945">1</cx:pt>
          <cx:pt idx="68946">0</cx:pt>
          <cx:pt idx="68947">0</cx:pt>
          <cx:pt idx="68948">1</cx:pt>
          <cx:pt idx="68949">0</cx:pt>
          <cx:pt idx="68950">0</cx:pt>
          <cx:pt idx="68951">1</cx:pt>
          <cx:pt idx="68952">0</cx:pt>
          <cx:pt idx="68953">0</cx:pt>
          <cx:pt idx="68954">0</cx:pt>
          <cx:pt idx="68955">0</cx:pt>
          <cx:pt idx="68956">0</cx:pt>
          <cx:pt idx="68957">1</cx:pt>
          <cx:pt idx="68958">0</cx:pt>
          <cx:pt idx="68959">1</cx:pt>
          <cx:pt idx="68960">1</cx:pt>
          <cx:pt idx="68961">1</cx:pt>
          <cx:pt idx="68962">1</cx:pt>
          <cx:pt idx="68963">1</cx:pt>
          <cx:pt idx="68964">1</cx:pt>
          <cx:pt idx="68965">0</cx:pt>
          <cx:pt idx="68966">0</cx:pt>
          <cx:pt idx="68967">1</cx:pt>
          <cx:pt idx="68968">0</cx:pt>
          <cx:pt idx="68969">1</cx:pt>
          <cx:pt idx="68970">1</cx:pt>
          <cx:pt idx="68971">0</cx:pt>
          <cx:pt idx="68972">0</cx:pt>
          <cx:pt idx="68973">1</cx:pt>
          <cx:pt idx="68974">0</cx:pt>
          <cx:pt idx="68975">1</cx:pt>
          <cx:pt idx="68976">1</cx:pt>
          <cx:pt idx="68977">1</cx:pt>
          <cx:pt idx="68978">1</cx:pt>
          <cx:pt idx="68979">0</cx:pt>
          <cx:pt idx="68980">0</cx:pt>
          <cx:pt idx="68981">0</cx:pt>
          <cx:pt idx="68982">0</cx:pt>
          <cx:pt idx="68983">1</cx:pt>
          <cx:pt idx="68984">0</cx:pt>
          <cx:pt idx="68985">1</cx:pt>
          <cx:pt idx="68986">0</cx:pt>
          <cx:pt idx="68987">1</cx:pt>
          <cx:pt idx="68988">1</cx:pt>
          <cx:pt idx="68989">0</cx:pt>
          <cx:pt idx="68990">1</cx:pt>
          <cx:pt idx="68991">1</cx:pt>
          <cx:pt idx="68992">1</cx:pt>
          <cx:pt idx="68993">0</cx:pt>
          <cx:pt idx="68994">0</cx:pt>
          <cx:pt idx="68995">1</cx:pt>
          <cx:pt idx="68996">0</cx:pt>
          <cx:pt idx="68997">0</cx:pt>
          <cx:pt idx="68998">1</cx:pt>
          <cx:pt idx="68999">0</cx:pt>
          <cx:pt idx="69000">1</cx:pt>
          <cx:pt idx="69001">1</cx:pt>
          <cx:pt idx="69002">0</cx:pt>
          <cx:pt idx="69003">0</cx:pt>
          <cx:pt idx="69004">1</cx:pt>
          <cx:pt idx="69005">0</cx:pt>
          <cx:pt idx="69006">1</cx:pt>
          <cx:pt idx="69007">0</cx:pt>
          <cx:pt idx="69008">0</cx:pt>
          <cx:pt idx="69009">0</cx:pt>
          <cx:pt idx="69010">1</cx:pt>
          <cx:pt idx="69011">0</cx:pt>
          <cx:pt idx="69012">1</cx:pt>
          <cx:pt idx="69013">1</cx:pt>
          <cx:pt idx="69014">0</cx:pt>
          <cx:pt idx="69015">0</cx:pt>
          <cx:pt idx="69016">0</cx:pt>
          <cx:pt idx="69017">1</cx:pt>
          <cx:pt idx="69018">1</cx:pt>
          <cx:pt idx="69019">1</cx:pt>
          <cx:pt idx="69020">0</cx:pt>
          <cx:pt idx="69021">1</cx:pt>
          <cx:pt idx="69022">0</cx:pt>
          <cx:pt idx="69023">1</cx:pt>
          <cx:pt idx="69024">0</cx:pt>
          <cx:pt idx="69025">0</cx:pt>
          <cx:pt idx="69026">0</cx:pt>
          <cx:pt idx="69027">0</cx:pt>
          <cx:pt idx="69028">0</cx:pt>
          <cx:pt idx="69029">1</cx:pt>
          <cx:pt idx="69030">1</cx:pt>
          <cx:pt idx="69031">0</cx:pt>
          <cx:pt idx="69032">0</cx:pt>
          <cx:pt idx="69033">1</cx:pt>
          <cx:pt idx="69034">0</cx:pt>
          <cx:pt idx="69035">1</cx:pt>
          <cx:pt idx="69036">0</cx:pt>
          <cx:pt idx="69037">1</cx:pt>
          <cx:pt idx="69038">0</cx:pt>
          <cx:pt idx="69039">0</cx:pt>
          <cx:pt idx="69040">0</cx:pt>
          <cx:pt idx="69041">1</cx:pt>
          <cx:pt idx="69042">1</cx:pt>
          <cx:pt idx="69043">0</cx:pt>
          <cx:pt idx="69044">1</cx:pt>
          <cx:pt idx="69045">1</cx:pt>
          <cx:pt idx="69046">0</cx:pt>
          <cx:pt idx="69047">1</cx:pt>
          <cx:pt idx="69048">0</cx:pt>
          <cx:pt idx="69049">1</cx:pt>
          <cx:pt idx="69050">1</cx:pt>
          <cx:pt idx="69051">1</cx:pt>
          <cx:pt idx="69052">0</cx:pt>
          <cx:pt idx="69053">1</cx:pt>
          <cx:pt idx="69054">1</cx:pt>
          <cx:pt idx="69055">0</cx:pt>
          <cx:pt idx="69056">0</cx:pt>
          <cx:pt idx="69057">0</cx:pt>
          <cx:pt idx="69058">0</cx:pt>
          <cx:pt idx="69059">0</cx:pt>
          <cx:pt idx="69060">0</cx:pt>
          <cx:pt idx="69061">1</cx:pt>
          <cx:pt idx="69062">1</cx:pt>
          <cx:pt idx="69063">1</cx:pt>
          <cx:pt idx="69064">1</cx:pt>
          <cx:pt idx="69065">1</cx:pt>
          <cx:pt idx="69066">0</cx:pt>
          <cx:pt idx="69067">0</cx:pt>
          <cx:pt idx="69068">0</cx:pt>
          <cx:pt idx="69069">0</cx:pt>
          <cx:pt idx="69070">0</cx:pt>
          <cx:pt idx="69071">1</cx:pt>
          <cx:pt idx="69072">1</cx:pt>
          <cx:pt idx="69073">1</cx:pt>
          <cx:pt idx="69074">0</cx:pt>
          <cx:pt idx="69075">1</cx:pt>
          <cx:pt idx="69076">0</cx:pt>
          <cx:pt idx="69077">1</cx:pt>
          <cx:pt idx="69078">1</cx:pt>
          <cx:pt idx="69079">0</cx:pt>
          <cx:pt idx="69080">1</cx:pt>
          <cx:pt idx="69081">1</cx:pt>
          <cx:pt idx="69082">1</cx:pt>
          <cx:pt idx="69083">0</cx:pt>
          <cx:pt idx="69084">0</cx:pt>
          <cx:pt idx="69085">0</cx:pt>
          <cx:pt idx="69086">0</cx:pt>
          <cx:pt idx="69087">1</cx:pt>
          <cx:pt idx="69088">0</cx:pt>
          <cx:pt idx="69089">0</cx:pt>
          <cx:pt idx="69090">0</cx:pt>
          <cx:pt idx="69091">1</cx:pt>
          <cx:pt idx="69092">0</cx:pt>
          <cx:pt idx="69093">0</cx:pt>
          <cx:pt idx="69094">1</cx:pt>
          <cx:pt idx="69095">1</cx:pt>
          <cx:pt idx="69096">0</cx:pt>
          <cx:pt idx="69097">1</cx:pt>
          <cx:pt idx="69098">0</cx:pt>
          <cx:pt idx="69099">0</cx:pt>
          <cx:pt idx="69100">1</cx:pt>
          <cx:pt idx="69101">0</cx:pt>
          <cx:pt idx="69102">0</cx:pt>
          <cx:pt idx="69103">0</cx:pt>
          <cx:pt idx="69104">1</cx:pt>
          <cx:pt idx="69105">1</cx:pt>
          <cx:pt idx="69106">0</cx:pt>
          <cx:pt idx="69107">0</cx:pt>
          <cx:pt idx="69108">1</cx:pt>
          <cx:pt idx="69109">1</cx:pt>
          <cx:pt idx="69110">1</cx:pt>
          <cx:pt idx="69111">1</cx:pt>
          <cx:pt idx="69112">0</cx:pt>
          <cx:pt idx="69113">0</cx:pt>
          <cx:pt idx="69114">1</cx:pt>
          <cx:pt idx="69115">0</cx:pt>
          <cx:pt idx="69116">0</cx:pt>
          <cx:pt idx="69117">0</cx:pt>
          <cx:pt idx="69118">1</cx:pt>
          <cx:pt idx="69119">1</cx:pt>
          <cx:pt idx="69120">1</cx:pt>
          <cx:pt idx="69121">0</cx:pt>
          <cx:pt idx="69122">1</cx:pt>
          <cx:pt idx="69123">0</cx:pt>
          <cx:pt idx="69124">1</cx:pt>
          <cx:pt idx="69125">1</cx:pt>
          <cx:pt idx="69126">1</cx:pt>
          <cx:pt idx="69127">1</cx:pt>
          <cx:pt idx="69128">1</cx:pt>
          <cx:pt idx="69129">1</cx:pt>
          <cx:pt idx="69130">0</cx:pt>
          <cx:pt idx="69131">1</cx:pt>
          <cx:pt idx="69132">1</cx:pt>
          <cx:pt idx="69133">1</cx:pt>
          <cx:pt idx="69134">1</cx:pt>
          <cx:pt idx="69135">0</cx:pt>
          <cx:pt idx="69136">0</cx:pt>
          <cx:pt idx="69137">0</cx:pt>
          <cx:pt idx="69138">1</cx:pt>
          <cx:pt idx="69139">1</cx:pt>
          <cx:pt idx="69140">0</cx:pt>
          <cx:pt idx="69141">1</cx:pt>
          <cx:pt idx="69142">1</cx:pt>
          <cx:pt idx="69143">1</cx:pt>
          <cx:pt idx="69144">1</cx:pt>
          <cx:pt idx="69145">0</cx:pt>
          <cx:pt idx="69146">0</cx:pt>
          <cx:pt idx="69147">0</cx:pt>
          <cx:pt idx="69148">0</cx:pt>
          <cx:pt idx="69149">0</cx:pt>
          <cx:pt idx="69150">0</cx:pt>
          <cx:pt idx="69151">1</cx:pt>
          <cx:pt idx="69152">1</cx:pt>
          <cx:pt idx="69153">1</cx:pt>
          <cx:pt idx="69154">1</cx:pt>
          <cx:pt idx="69155">1</cx:pt>
          <cx:pt idx="69156">1</cx:pt>
          <cx:pt idx="69157">1</cx:pt>
          <cx:pt idx="69158">1</cx:pt>
          <cx:pt idx="69159">0</cx:pt>
          <cx:pt idx="69160">0</cx:pt>
          <cx:pt idx="69161">1</cx:pt>
          <cx:pt idx="69162">1</cx:pt>
          <cx:pt idx="69163">1</cx:pt>
          <cx:pt idx="69164">0</cx:pt>
          <cx:pt idx="69165">1</cx:pt>
          <cx:pt idx="69166">0</cx:pt>
          <cx:pt idx="69167">0</cx:pt>
          <cx:pt idx="69168">0</cx:pt>
          <cx:pt idx="69169">0</cx:pt>
          <cx:pt idx="69170">1</cx:pt>
          <cx:pt idx="69171">0</cx:pt>
          <cx:pt idx="69172">0</cx:pt>
          <cx:pt idx="69173">0</cx:pt>
          <cx:pt idx="69174">1</cx:pt>
          <cx:pt idx="69175">1</cx:pt>
          <cx:pt idx="69176">0</cx:pt>
          <cx:pt idx="69177">1</cx:pt>
          <cx:pt idx="69178">1</cx:pt>
          <cx:pt idx="69179">1</cx:pt>
          <cx:pt idx="69180">0</cx:pt>
          <cx:pt idx="69181">0</cx:pt>
          <cx:pt idx="69182">0</cx:pt>
          <cx:pt idx="69183">0</cx:pt>
          <cx:pt idx="69184">0</cx:pt>
          <cx:pt idx="69185">1</cx:pt>
          <cx:pt idx="69186">0</cx:pt>
          <cx:pt idx="69187">0</cx:pt>
          <cx:pt idx="69188">0</cx:pt>
          <cx:pt idx="69189">1</cx:pt>
          <cx:pt idx="69190">1</cx:pt>
          <cx:pt idx="69191">0</cx:pt>
          <cx:pt idx="69192">0</cx:pt>
          <cx:pt idx="69193">1</cx:pt>
          <cx:pt idx="69194">1</cx:pt>
          <cx:pt idx="69195">1</cx:pt>
          <cx:pt idx="69196">0</cx:pt>
          <cx:pt idx="69197">0</cx:pt>
          <cx:pt idx="69198">1</cx:pt>
          <cx:pt idx="69199">1</cx:pt>
          <cx:pt idx="69200">0</cx:pt>
          <cx:pt idx="69201">1</cx:pt>
          <cx:pt idx="69202">0</cx:pt>
          <cx:pt idx="69203">0</cx:pt>
          <cx:pt idx="69204">0</cx:pt>
          <cx:pt idx="69205">1</cx:pt>
          <cx:pt idx="69206">0</cx:pt>
          <cx:pt idx="69207">1</cx:pt>
          <cx:pt idx="69208">0</cx:pt>
          <cx:pt idx="69209">1</cx:pt>
          <cx:pt idx="69210">1</cx:pt>
          <cx:pt idx="69211">0</cx:pt>
          <cx:pt idx="69212">0</cx:pt>
          <cx:pt idx="69213">1</cx:pt>
          <cx:pt idx="69214">1</cx:pt>
          <cx:pt idx="69215">1</cx:pt>
          <cx:pt idx="69216">0</cx:pt>
          <cx:pt idx="69217">0</cx:pt>
          <cx:pt idx="69218">0</cx:pt>
          <cx:pt idx="69219">1</cx:pt>
          <cx:pt idx="69220">1</cx:pt>
          <cx:pt idx="69221">0</cx:pt>
          <cx:pt idx="69222">1</cx:pt>
          <cx:pt idx="69223">0</cx:pt>
          <cx:pt idx="69224">1</cx:pt>
          <cx:pt idx="69225">1</cx:pt>
          <cx:pt idx="69226">0</cx:pt>
          <cx:pt idx="69227">1</cx:pt>
          <cx:pt idx="69228">1</cx:pt>
          <cx:pt idx="69229">1</cx:pt>
          <cx:pt idx="69230">0</cx:pt>
          <cx:pt idx="69231">1</cx:pt>
          <cx:pt idx="69232">1</cx:pt>
          <cx:pt idx="69233">0</cx:pt>
          <cx:pt idx="69234">1</cx:pt>
          <cx:pt idx="69235">0</cx:pt>
          <cx:pt idx="69236">0</cx:pt>
          <cx:pt idx="69237">0</cx:pt>
          <cx:pt idx="69238">1</cx:pt>
          <cx:pt idx="69239">1</cx:pt>
          <cx:pt idx="69240">0</cx:pt>
          <cx:pt idx="69241">1</cx:pt>
          <cx:pt idx="69242">1</cx:pt>
          <cx:pt idx="69243">0</cx:pt>
          <cx:pt idx="69244">0</cx:pt>
          <cx:pt idx="69245">1</cx:pt>
          <cx:pt idx="69246">0</cx:pt>
          <cx:pt idx="69247">1</cx:pt>
          <cx:pt idx="69248">0</cx:pt>
          <cx:pt idx="69249">0</cx:pt>
          <cx:pt idx="69250">1</cx:pt>
          <cx:pt idx="69251">0</cx:pt>
          <cx:pt idx="69252">0</cx:pt>
          <cx:pt idx="69253">0</cx:pt>
          <cx:pt idx="69254">0</cx:pt>
          <cx:pt idx="69255">0</cx:pt>
          <cx:pt idx="69256">1</cx:pt>
          <cx:pt idx="69257">1</cx:pt>
          <cx:pt idx="69258">1</cx:pt>
          <cx:pt idx="69259">1</cx:pt>
          <cx:pt idx="69260">0</cx:pt>
          <cx:pt idx="69261">0</cx:pt>
          <cx:pt idx="69262">1</cx:pt>
          <cx:pt idx="69263">0</cx:pt>
          <cx:pt idx="69264">0</cx:pt>
          <cx:pt idx="69265">1</cx:pt>
          <cx:pt idx="69266">1</cx:pt>
          <cx:pt idx="69267">0</cx:pt>
          <cx:pt idx="69268">1</cx:pt>
          <cx:pt idx="69269">1</cx:pt>
          <cx:pt idx="69270">0</cx:pt>
          <cx:pt idx="69271">0</cx:pt>
          <cx:pt idx="69272">0</cx:pt>
          <cx:pt idx="69273">1</cx:pt>
          <cx:pt idx="69274">0</cx:pt>
          <cx:pt idx="69275">0</cx:pt>
          <cx:pt idx="69276">1</cx:pt>
          <cx:pt idx="69277">0</cx:pt>
          <cx:pt idx="69278">0</cx:pt>
          <cx:pt idx="69279">0</cx:pt>
          <cx:pt idx="69280">1</cx:pt>
          <cx:pt idx="69281">0</cx:pt>
          <cx:pt idx="69282">1</cx:pt>
          <cx:pt idx="69283">1</cx:pt>
          <cx:pt idx="69284">1</cx:pt>
          <cx:pt idx="69285">0</cx:pt>
          <cx:pt idx="69286">0</cx:pt>
          <cx:pt idx="69287">0</cx:pt>
          <cx:pt idx="69288">1</cx:pt>
          <cx:pt idx="69289">1</cx:pt>
          <cx:pt idx="69290">0</cx:pt>
          <cx:pt idx="69291">0</cx:pt>
          <cx:pt idx="69292">0</cx:pt>
          <cx:pt idx="69293">1</cx:pt>
          <cx:pt idx="69294">1</cx:pt>
          <cx:pt idx="69295">0</cx:pt>
          <cx:pt idx="69296">0</cx:pt>
          <cx:pt idx="69297">1</cx:pt>
          <cx:pt idx="69298">1</cx:pt>
          <cx:pt idx="69299">0</cx:pt>
          <cx:pt idx="69300">1</cx:pt>
          <cx:pt idx="69301">0</cx:pt>
          <cx:pt idx="69302">0</cx:pt>
          <cx:pt idx="69303">1</cx:pt>
          <cx:pt idx="69304">1</cx:pt>
          <cx:pt idx="69305">1</cx:pt>
          <cx:pt idx="69306">0</cx:pt>
          <cx:pt idx="69307">0</cx:pt>
          <cx:pt idx="69308">1</cx:pt>
          <cx:pt idx="69309">1</cx:pt>
          <cx:pt idx="69310">0</cx:pt>
          <cx:pt idx="69311">0</cx:pt>
          <cx:pt idx="69312">1</cx:pt>
          <cx:pt idx="69313">0</cx:pt>
          <cx:pt idx="69314">1</cx:pt>
          <cx:pt idx="69315">0</cx:pt>
          <cx:pt idx="69316">1</cx:pt>
          <cx:pt idx="69317">1</cx:pt>
          <cx:pt idx="69318">0</cx:pt>
          <cx:pt idx="69319">1</cx:pt>
          <cx:pt idx="69320">0</cx:pt>
          <cx:pt idx="69321">0</cx:pt>
          <cx:pt idx="69322">1</cx:pt>
          <cx:pt idx="69323">1</cx:pt>
          <cx:pt idx="69324">1</cx:pt>
          <cx:pt idx="69325">0</cx:pt>
          <cx:pt idx="69326">0</cx:pt>
          <cx:pt idx="69327">1</cx:pt>
          <cx:pt idx="69328">0</cx:pt>
          <cx:pt idx="69329">1</cx:pt>
          <cx:pt idx="69330">0</cx:pt>
          <cx:pt idx="69331">0</cx:pt>
          <cx:pt idx="69332">1</cx:pt>
          <cx:pt idx="69333">1</cx:pt>
          <cx:pt idx="69334">1</cx:pt>
          <cx:pt idx="69335">1</cx:pt>
          <cx:pt idx="69336">0</cx:pt>
          <cx:pt idx="69337">1</cx:pt>
          <cx:pt idx="69338">1</cx:pt>
          <cx:pt idx="69339">1</cx:pt>
          <cx:pt idx="69340">0</cx:pt>
          <cx:pt idx="69341">1</cx:pt>
          <cx:pt idx="69342">0</cx:pt>
          <cx:pt idx="69343">0</cx:pt>
          <cx:pt idx="69344">0</cx:pt>
          <cx:pt idx="69345">0</cx:pt>
          <cx:pt idx="69346">1</cx:pt>
          <cx:pt idx="69347">0</cx:pt>
          <cx:pt idx="69348">1</cx:pt>
          <cx:pt idx="69349">0</cx:pt>
          <cx:pt idx="69350">0</cx:pt>
          <cx:pt idx="69351">1</cx:pt>
          <cx:pt idx="69352">0</cx:pt>
          <cx:pt idx="69353">0</cx:pt>
          <cx:pt idx="69354">0</cx:pt>
          <cx:pt idx="69355">1</cx:pt>
          <cx:pt idx="69356">0</cx:pt>
          <cx:pt idx="69357">1</cx:pt>
          <cx:pt idx="69358">0</cx:pt>
          <cx:pt idx="69359">0</cx:pt>
          <cx:pt idx="69360">0</cx:pt>
          <cx:pt idx="69361">0</cx:pt>
          <cx:pt idx="69362">0</cx:pt>
          <cx:pt idx="69363">1</cx:pt>
          <cx:pt idx="69364">0</cx:pt>
          <cx:pt idx="69365">0</cx:pt>
          <cx:pt idx="69366">1</cx:pt>
          <cx:pt idx="69367">0</cx:pt>
          <cx:pt idx="69368">1</cx:pt>
          <cx:pt idx="69369">1</cx:pt>
          <cx:pt idx="69370">1</cx:pt>
          <cx:pt idx="69371">1</cx:pt>
          <cx:pt idx="69372">0</cx:pt>
          <cx:pt idx="69373">1</cx:pt>
          <cx:pt idx="69374">1</cx:pt>
          <cx:pt idx="69375">1</cx:pt>
          <cx:pt idx="69376">0</cx:pt>
          <cx:pt idx="69377">0</cx:pt>
          <cx:pt idx="69378">0</cx:pt>
          <cx:pt idx="69379">1</cx:pt>
          <cx:pt idx="69380">0</cx:pt>
          <cx:pt idx="69381">1</cx:pt>
          <cx:pt idx="69382">0</cx:pt>
          <cx:pt idx="69383">0</cx:pt>
          <cx:pt idx="69384">1</cx:pt>
          <cx:pt idx="69385">1</cx:pt>
          <cx:pt idx="69386">1</cx:pt>
          <cx:pt idx="69387">0</cx:pt>
          <cx:pt idx="69388">0</cx:pt>
          <cx:pt idx="69389">0</cx:pt>
          <cx:pt idx="69390">1</cx:pt>
          <cx:pt idx="69391">1</cx:pt>
          <cx:pt idx="69392">0</cx:pt>
          <cx:pt idx="69393">0</cx:pt>
          <cx:pt idx="69394">1</cx:pt>
          <cx:pt idx="69395">0</cx:pt>
          <cx:pt idx="69396">1</cx:pt>
          <cx:pt idx="69397">0</cx:pt>
          <cx:pt idx="69398">1</cx:pt>
          <cx:pt idx="69399">1</cx:pt>
          <cx:pt idx="69400">0</cx:pt>
          <cx:pt idx="69401">0</cx:pt>
          <cx:pt idx="69402">0</cx:pt>
          <cx:pt idx="69403">0</cx:pt>
          <cx:pt idx="69404">0</cx:pt>
          <cx:pt idx="69405">1</cx:pt>
          <cx:pt idx="69406">1</cx:pt>
          <cx:pt idx="69407">0</cx:pt>
          <cx:pt idx="69408">1</cx:pt>
          <cx:pt idx="69409">0</cx:pt>
          <cx:pt idx="69410">1</cx:pt>
          <cx:pt idx="69411">1</cx:pt>
          <cx:pt idx="69412">0</cx:pt>
          <cx:pt idx="69413">1</cx:pt>
          <cx:pt idx="69414">0</cx:pt>
          <cx:pt idx="69415">0</cx:pt>
          <cx:pt idx="69416">0</cx:pt>
          <cx:pt idx="69417">0</cx:pt>
          <cx:pt idx="69418">1</cx:pt>
          <cx:pt idx="69419">1</cx:pt>
          <cx:pt idx="69420">0</cx:pt>
          <cx:pt idx="69421">1</cx:pt>
          <cx:pt idx="69422">0</cx:pt>
          <cx:pt idx="69423">0</cx:pt>
          <cx:pt idx="69424">1</cx:pt>
          <cx:pt idx="69425">1</cx:pt>
          <cx:pt idx="69426">0</cx:pt>
          <cx:pt idx="69427">0</cx:pt>
          <cx:pt idx="69428">1</cx:pt>
          <cx:pt idx="69429">0</cx:pt>
          <cx:pt idx="69430">0</cx:pt>
          <cx:pt idx="69431">0</cx:pt>
          <cx:pt idx="69432">1</cx:pt>
          <cx:pt idx="69433">1</cx:pt>
          <cx:pt idx="69434">0</cx:pt>
          <cx:pt idx="69435">1</cx:pt>
          <cx:pt idx="69436">0</cx:pt>
          <cx:pt idx="69437">1</cx:pt>
          <cx:pt idx="69438">1</cx:pt>
          <cx:pt idx="69439">1</cx:pt>
          <cx:pt idx="69440">1</cx:pt>
          <cx:pt idx="69441">0</cx:pt>
          <cx:pt idx="69442">1</cx:pt>
          <cx:pt idx="69443">0</cx:pt>
          <cx:pt idx="69444">1</cx:pt>
          <cx:pt idx="69445">0</cx:pt>
          <cx:pt idx="69446">0</cx:pt>
          <cx:pt idx="69447">1</cx:pt>
          <cx:pt idx="69448">0</cx:pt>
          <cx:pt idx="69449">1</cx:pt>
          <cx:pt idx="69450">0</cx:pt>
          <cx:pt idx="69451">0</cx:pt>
          <cx:pt idx="69452">0</cx:pt>
          <cx:pt idx="69453">0</cx:pt>
          <cx:pt idx="69454">0</cx:pt>
          <cx:pt idx="69455">1</cx:pt>
          <cx:pt idx="69456">0</cx:pt>
          <cx:pt idx="69457">0</cx:pt>
          <cx:pt idx="69458">1</cx:pt>
          <cx:pt idx="69459">1</cx:pt>
          <cx:pt idx="69460">0</cx:pt>
          <cx:pt idx="69461">0</cx:pt>
          <cx:pt idx="69462">1</cx:pt>
          <cx:pt idx="69463">1</cx:pt>
          <cx:pt idx="69464">1</cx:pt>
          <cx:pt idx="69465">0</cx:pt>
          <cx:pt idx="69466">1</cx:pt>
          <cx:pt idx="69467">1</cx:pt>
          <cx:pt idx="69468">0</cx:pt>
          <cx:pt idx="69469">0</cx:pt>
          <cx:pt idx="69470">0</cx:pt>
          <cx:pt idx="69471">0</cx:pt>
          <cx:pt idx="69472">1</cx:pt>
          <cx:pt idx="69473">0</cx:pt>
          <cx:pt idx="69474">1</cx:pt>
          <cx:pt idx="69475">1</cx:pt>
          <cx:pt idx="69476">0</cx:pt>
          <cx:pt idx="69477">1</cx:pt>
          <cx:pt idx="69478">1</cx:pt>
          <cx:pt idx="69479">0</cx:pt>
          <cx:pt idx="69480">1</cx:pt>
          <cx:pt idx="69481">1</cx:pt>
          <cx:pt idx="69482">0</cx:pt>
          <cx:pt idx="69483">0</cx:pt>
          <cx:pt idx="69484">0</cx:pt>
          <cx:pt idx="69485">0</cx:pt>
          <cx:pt idx="69486">0</cx:pt>
          <cx:pt idx="69487">1</cx:pt>
          <cx:pt idx="69488">1</cx:pt>
          <cx:pt idx="69489">0</cx:pt>
          <cx:pt idx="69490">0</cx:pt>
          <cx:pt idx="69491">0</cx:pt>
          <cx:pt idx="69492">1</cx:pt>
          <cx:pt idx="69493">1</cx:pt>
          <cx:pt idx="69494">1</cx:pt>
          <cx:pt idx="69495">0</cx:pt>
          <cx:pt idx="69496">1</cx:pt>
          <cx:pt idx="69497">0</cx:pt>
          <cx:pt idx="69498">0</cx:pt>
          <cx:pt idx="69499">1</cx:pt>
          <cx:pt idx="69500">0</cx:pt>
          <cx:pt idx="69501">1</cx:pt>
          <cx:pt idx="69502">1</cx:pt>
          <cx:pt idx="69503">1</cx:pt>
          <cx:pt idx="69504">0</cx:pt>
          <cx:pt idx="69505">1</cx:pt>
          <cx:pt idx="69506">0</cx:pt>
          <cx:pt idx="69507">0</cx:pt>
          <cx:pt idx="69508">0</cx:pt>
          <cx:pt idx="69509">1</cx:pt>
          <cx:pt idx="69510">0</cx:pt>
          <cx:pt idx="69511">1</cx:pt>
          <cx:pt idx="69512">0</cx:pt>
          <cx:pt idx="69513">0</cx:pt>
          <cx:pt idx="69514">0</cx:pt>
          <cx:pt idx="69515">0</cx:pt>
          <cx:pt idx="69516">0</cx:pt>
          <cx:pt idx="69517">0</cx:pt>
          <cx:pt idx="69518">0</cx:pt>
          <cx:pt idx="69519">0</cx:pt>
          <cx:pt idx="69520">1</cx:pt>
          <cx:pt idx="69521">0</cx:pt>
          <cx:pt idx="69522">0</cx:pt>
          <cx:pt idx="69523">1</cx:pt>
          <cx:pt idx="69524">0</cx:pt>
          <cx:pt idx="69525">0</cx:pt>
          <cx:pt idx="69526">0</cx:pt>
          <cx:pt idx="69527">0</cx:pt>
          <cx:pt idx="69528">0</cx:pt>
          <cx:pt idx="69529">1</cx:pt>
          <cx:pt idx="69530">1</cx:pt>
          <cx:pt idx="69531">0</cx:pt>
          <cx:pt idx="69532">0</cx:pt>
          <cx:pt idx="69533">0</cx:pt>
          <cx:pt idx="69534">0</cx:pt>
          <cx:pt idx="69535">0</cx:pt>
          <cx:pt idx="69536">1</cx:pt>
          <cx:pt idx="69537">0</cx:pt>
          <cx:pt idx="69538">1</cx:pt>
          <cx:pt idx="69539">1</cx:pt>
          <cx:pt idx="69540">0</cx:pt>
          <cx:pt idx="69541">0</cx:pt>
          <cx:pt idx="69542">0</cx:pt>
          <cx:pt idx="69543">1</cx:pt>
          <cx:pt idx="69544">1</cx:pt>
          <cx:pt idx="69545">0</cx:pt>
          <cx:pt idx="69546">0</cx:pt>
          <cx:pt idx="69547">1</cx:pt>
          <cx:pt idx="69548">0</cx:pt>
          <cx:pt idx="69549">0</cx:pt>
          <cx:pt idx="69550">0</cx:pt>
          <cx:pt idx="69551">0</cx:pt>
          <cx:pt idx="69552">1</cx:pt>
          <cx:pt idx="69553">0</cx:pt>
          <cx:pt idx="69554">0</cx:pt>
          <cx:pt idx="69555">0</cx:pt>
          <cx:pt idx="69556">0</cx:pt>
          <cx:pt idx="69557">0</cx:pt>
          <cx:pt idx="69558">0</cx:pt>
          <cx:pt idx="69559">0</cx:pt>
          <cx:pt idx="69560">1</cx:pt>
          <cx:pt idx="69561">0</cx:pt>
          <cx:pt idx="69562">0</cx:pt>
          <cx:pt idx="69563">0</cx:pt>
          <cx:pt idx="69564">0</cx:pt>
          <cx:pt idx="69565">1</cx:pt>
          <cx:pt idx="69566">0</cx:pt>
          <cx:pt idx="69567">0</cx:pt>
          <cx:pt idx="69568">0</cx:pt>
          <cx:pt idx="69569">1</cx:pt>
          <cx:pt idx="69570">0</cx:pt>
          <cx:pt idx="69571">1</cx:pt>
          <cx:pt idx="69572">0</cx:pt>
          <cx:pt idx="69573">0</cx:pt>
          <cx:pt idx="69574">0</cx:pt>
          <cx:pt idx="69575">0</cx:pt>
          <cx:pt idx="69576">0</cx:pt>
          <cx:pt idx="69577">0</cx:pt>
          <cx:pt idx="69578">1</cx:pt>
          <cx:pt idx="69579">0</cx:pt>
          <cx:pt idx="69580">0</cx:pt>
          <cx:pt idx="69581">0</cx:pt>
          <cx:pt idx="69582">1</cx:pt>
          <cx:pt idx="69583">0</cx:pt>
          <cx:pt idx="69584">1</cx:pt>
          <cx:pt idx="69585">0</cx:pt>
          <cx:pt idx="69586">1</cx:pt>
          <cx:pt idx="69587">0</cx:pt>
          <cx:pt idx="69588">0</cx:pt>
          <cx:pt idx="69589">1</cx:pt>
          <cx:pt idx="69590">1</cx:pt>
          <cx:pt idx="69591">1</cx:pt>
          <cx:pt idx="69592">1</cx:pt>
          <cx:pt idx="69593">1</cx:pt>
          <cx:pt idx="69594">0</cx:pt>
          <cx:pt idx="69595">1</cx:pt>
          <cx:pt idx="69596">0</cx:pt>
          <cx:pt idx="69597">0</cx:pt>
          <cx:pt idx="69598">1</cx:pt>
          <cx:pt idx="69599">0</cx:pt>
          <cx:pt idx="69600">0</cx:pt>
          <cx:pt idx="69601">0</cx:pt>
          <cx:pt idx="69602">0</cx:pt>
          <cx:pt idx="69603">1</cx:pt>
          <cx:pt idx="69604">1</cx:pt>
          <cx:pt idx="69605">0</cx:pt>
          <cx:pt idx="69606">0</cx:pt>
          <cx:pt idx="69607">0</cx:pt>
          <cx:pt idx="69608">1</cx:pt>
          <cx:pt idx="69609">0</cx:pt>
          <cx:pt idx="69610">1</cx:pt>
          <cx:pt idx="69611">0</cx:pt>
          <cx:pt idx="69612">1</cx:pt>
          <cx:pt idx="69613">1</cx:pt>
          <cx:pt idx="69614">0</cx:pt>
          <cx:pt idx="69615">1</cx:pt>
          <cx:pt idx="69616">1</cx:pt>
          <cx:pt idx="69617">0</cx:pt>
          <cx:pt idx="69618">1</cx:pt>
          <cx:pt idx="69619">0</cx:pt>
          <cx:pt idx="69620">1</cx:pt>
          <cx:pt idx="69621">1</cx:pt>
          <cx:pt idx="69622">0</cx:pt>
          <cx:pt idx="69623">0</cx:pt>
          <cx:pt idx="69624">1</cx:pt>
          <cx:pt idx="69625">1</cx:pt>
          <cx:pt idx="69626">0</cx:pt>
          <cx:pt idx="69627">1</cx:pt>
          <cx:pt idx="69628">0</cx:pt>
          <cx:pt idx="69629">0</cx:pt>
          <cx:pt idx="69630">0</cx:pt>
          <cx:pt idx="69631">1</cx:pt>
          <cx:pt idx="69632">0</cx:pt>
          <cx:pt idx="69633">0</cx:pt>
          <cx:pt idx="69634">0</cx:pt>
          <cx:pt idx="69635">0</cx:pt>
          <cx:pt idx="69636">0</cx:pt>
          <cx:pt idx="69637">0</cx:pt>
          <cx:pt idx="69638">1</cx:pt>
          <cx:pt idx="69639">1</cx:pt>
          <cx:pt idx="69640">1</cx:pt>
          <cx:pt idx="69641">0</cx:pt>
          <cx:pt idx="69642">1</cx:pt>
          <cx:pt idx="69643">1</cx:pt>
          <cx:pt idx="69644">1</cx:pt>
          <cx:pt idx="69645">0</cx:pt>
          <cx:pt idx="69646">1</cx:pt>
          <cx:pt idx="69647">1</cx:pt>
          <cx:pt idx="69648">0</cx:pt>
          <cx:pt idx="69649">1</cx:pt>
          <cx:pt idx="69650">0</cx:pt>
          <cx:pt idx="69651">0</cx:pt>
          <cx:pt idx="69652">0</cx:pt>
          <cx:pt idx="69653">1</cx:pt>
          <cx:pt idx="69654">0</cx:pt>
          <cx:pt idx="69655">0</cx:pt>
          <cx:pt idx="69656">1</cx:pt>
          <cx:pt idx="69657">0</cx:pt>
          <cx:pt idx="69658">0</cx:pt>
          <cx:pt idx="69659">1</cx:pt>
          <cx:pt idx="69660">0</cx:pt>
          <cx:pt idx="69661">0</cx:pt>
          <cx:pt idx="69662">0</cx:pt>
          <cx:pt idx="69663">1</cx:pt>
          <cx:pt idx="69664">0</cx:pt>
          <cx:pt idx="69665">1</cx:pt>
          <cx:pt idx="69666">0</cx:pt>
          <cx:pt idx="69667">1</cx:pt>
          <cx:pt idx="69668">1</cx:pt>
          <cx:pt idx="69669">0</cx:pt>
          <cx:pt idx="69670">0</cx:pt>
          <cx:pt idx="69671">0</cx:pt>
          <cx:pt idx="69672">0</cx:pt>
          <cx:pt idx="69673">0</cx:pt>
          <cx:pt idx="69674">0</cx:pt>
          <cx:pt idx="69675">1</cx:pt>
          <cx:pt idx="69676">0</cx:pt>
          <cx:pt idx="69677">0</cx:pt>
          <cx:pt idx="69678">0</cx:pt>
          <cx:pt idx="69679">0</cx:pt>
          <cx:pt idx="69680">0</cx:pt>
          <cx:pt idx="69681">0</cx:pt>
          <cx:pt idx="69682">0</cx:pt>
          <cx:pt idx="69683">1</cx:pt>
          <cx:pt idx="69684">0</cx:pt>
          <cx:pt idx="69685">1</cx:pt>
          <cx:pt idx="69686">0</cx:pt>
          <cx:pt idx="69687">1</cx:pt>
          <cx:pt idx="69688">1</cx:pt>
          <cx:pt idx="69689">0</cx:pt>
          <cx:pt idx="69690">1</cx:pt>
          <cx:pt idx="69691">0</cx:pt>
          <cx:pt idx="69692">0</cx:pt>
          <cx:pt idx="69693">0</cx:pt>
          <cx:pt idx="69694">1</cx:pt>
          <cx:pt idx="69695">0</cx:pt>
          <cx:pt idx="69696">0</cx:pt>
          <cx:pt idx="69697">1</cx:pt>
          <cx:pt idx="69698">1</cx:pt>
          <cx:pt idx="69699">1</cx:pt>
          <cx:pt idx="69700">0</cx:pt>
          <cx:pt idx="69701">1</cx:pt>
          <cx:pt idx="69702">0</cx:pt>
          <cx:pt idx="69703">0</cx:pt>
          <cx:pt idx="69704">1</cx:pt>
          <cx:pt idx="69705">1</cx:pt>
          <cx:pt idx="69706">1</cx:pt>
          <cx:pt idx="69707">1</cx:pt>
          <cx:pt idx="69708">1</cx:pt>
          <cx:pt idx="69709">0</cx:pt>
          <cx:pt idx="69710">0</cx:pt>
          <cx:pt idx="69711">1</cx:pt>
          <cx:pt idx="69712">0</cx:pt>
          <cx:pt idx="69713">1</cx:pt>
          <cx:pt idx="69714">0</cx:pt>
          <cx:pt idx="69715">1</cx:pt>
          <cx:pt idx="69716">1</cx:pt>
          <cx:pt idx="69717">0</cx:pt>
          <cx:pt idx="69718">0</cx:pt>
          <cx:pt idx="69719">1</cx:pt>
          <cx:pt idx="69720">1</cx:pt>
          <cx:pt idx="69721">1</cx:pt>
          <cx:pt idx="69722">1</cx:pt>
          <cx:pt idx="69723">0</cx:pt>
          <cx:pt idx="69724">0</cx:pt>
          <cx:pt idx="69725">1</cx:pt>
          <cx:pt idx="69726">0</cx:pt>
          <cx:pt idx="69727">0</cx:pt>
          <cx:pt idx="69728">1</cx:pt>
          <cx:pt idx="69729">1</cx:pt>
          <cx:pt idx="69730">0</cx:pt>
          <cx:pt idx="69731">1</cx:pt>
          <cx:pt idx="69732">1</cx:pt>
          <cx:pt idx="69733">0</cx:pt>
          <cx:pt idx="69734">0</cx:pt>
          <cx:pt idx="69735">0</cx:pt>
          <cx:pt idx="69736">0</cx:pt>
          <cx:pt idx="69737">0</cx:pt>
          <cx:pt idx="69738">1</cx:pt>
          <cx:pt idx="69739">1</cx:pt>
          <cx:pt idx="69740">1</cx:pt>
          <cx:pt idx="69741">1</cx:pt>
          <cx:pt idx="69742">0</cx:pt>
          <cx:pt idx="69743">0</cx:pt>
          <cx:pt idx="69744">0</cx:pt>
          <cx:pt idx="69745">0</cx:pt>
          <cx:pt idx="69746">0</cx:pt>
          <cx:pt idx="69747">0</cx:pt>
          <cx:pt idx="69748">0</cx:pt>
          <cx:pt idx="69749">0</cx:pt>
          <cx:pt idx="69750">1</cx:pt>
          <cx:pt idx="69751">1</cx:pt>
          <cx:pt idx="69752">0</cx:pt>
          <cx:pt idx="69753">0</cx:pt>
          <cx:pt idx="69754">1</cx:pt>
          <cx:pt idx="69755">1</cx:pt>
          <cx:pt idx="69756">1</cx:pt>
          <cx:pt idx="69757">1</cx:pt>
          <cx:pt idx="69758">1</cx:pt>
          <cx:pt idx="69759">0</cx:pt>
          <cx:pt idx="69760">0</cx:pt>
          <cx:pt idx="69761">1</cx:pt>
          <cx:pt idx="69762">1</cx:pt>
          <cx:pt idx="69763">1</cx:pt>
          <cx:pt idx="69764">1</cx:pt>
          <cx:pt idx="69765">0</cx:pt>
          <cx:pt idx="69766">1</cx:pt>
          <cx:pt idx="69767">0</cx:pt>
          <cx:pt idx="69768">1</cx:pt>
          <cx:pt idx="69769">0</cx:pt>
          <cx:pt idx="69770">1</cx:pt>
          <cx:pt idx="69771">1</cx:pt>
          <cx:pt idx="69772">0</cx:pt>
          <cx:pt idx="69773">0</cx:pt>
          <cx:pt idx="69774">1</cx:pt>
          <cx:pt idx="69775">1</cx:pt>
          <cx:pt idx="69776">0</cx:pt>
          <cx:pt idx="69777">0</cx:pt>
          <cx:pt idx="69778">1</cx:pt>
          <cx:pt idx="69779">1</cx:pt>
          <cx:pt idx="69780">1</cx:pt>
          <cx:pt idx="69781">1</cx:pt>
          <cx:pt idx="69782">0</cx:pt>
          <cx:pt idx="69783">1</cx:pt>
          <cx:pt idx="69784">1</cx:pt>
          <cx:pt idx="69785">1</cx:pt>
          <cx:pt idx="69786">1</cx:pt>
          <cx:pt idx="69787">1</cx:pt>
          <cx:pt idx="69788">1</cx:pt>
          <cx:pt idx="69789">0</cx:pt>
          <cx:pt idx="69790">1</cx:pt>
          <cx:pt idx="69791">1</cx:pt>
          <cx:pt idx="69792">0</cx:pt>
          <cx:pt idx="69793">0</cx:pt>
          <cx:pt idx="69794">0</cx:pt>
          <cx:pt idx="69795">0</cx:pt>
          <cx:pt idx="69796">1</cx:pt>
          <cx:pt idx="69797">0</cx:pt>
          <cx:pt idx="69798">0</cx:pt>
          <cx:pt idx="69799">1</cx:pt>
          <cx:pt idx="69800">0</cx:pt>
          <cx:pt idx="69801">0</cx:pt>
          <cx:pt idx="69802">0</cx:pt>
          <cx:pt idx="69803">1</cx:pt>
          <cx:pt idx="69804">0</cx:pt>
          <cx:pt idx="69805">1</cx:pt>
          <cx:pt idx="69806">0</cx:pt>
          <cx:pt idx="69807">1</cx:pt>
          <cx:pt idx="69808">1</cx:pt>
          <cx:pt idx="69809">0</cx:pt>
          <cx:pt idx="69810">0</cx:pt>
          <cx:pt idx="69811">0</cx:pt>
          <cx:pt idx="69812">0</cx:pt>
          <cx:pt idx="69813">0</cx:pt>
          <cx:pt idx="69814">0</cx:pt>
          <cx:pt idx="69815">1</cx:pt>
          <cx:pt idx="69816">0</cx:pt>
          <cx:pt idx="69817">1</cx:pt>
          <cx:pt idx="69818">1</cx:pt>
          <cx:pt idx="69819">1</cx:pt>
          <cx:pt idx="69820">0</cx:pt>
          <cx:pt idx="69821">1</cx:pt>
          <cx:pt idx="69822">1</cx:pt>
          <cx:pt idx="69823">0</cx:pt>
          <cx:pt idx="69824">0</cx:pt>
          <cx:pt idx="69825">0</cx:pt>
          <cx:pt idx="69826">0</cx:pt>
          <cx:pt idx="69827">1</cx:pt>
          <cx:pt idx="69828">0</cx:pt>
          <cx:pt idx="69829">1</cx:pt>
          <cx:pt idx="69830">0</cx:pt>
          <cx:pt idx="69831">0</cx:pt>
          <cx:pt idx="69832">0</cx:pt>
          <cx:pt idx="69833">1</cx:pt>
          <cx:pt idx="69834">0</cx:pt>
          <cx:pt idx="69835">0</cx:pt>
          <cx:pt idx="69836">0</cx:pt>
          <cx:pt idx="69837">0</cx:pt>
          <cx:pt idx="69838">1</cx:pt>
          <cx:pt idx="69839">1</cx:pt>
          <cx:pt idx="69840">1</cx:pt>
          <cx:pt idx="69841">1</cx:pt>
          <cx:pt idx="69842">1</cx:pt>
          <cx:pt idx="69843">0</cx:pt>
          <cx:pt idx="69844">1</cx:pt>
          <cx:pt idx="69845">1</cx:pt>
          <cx:pt idx="69846">1</cx:pt>
          <cx:pt idx="69847">0</cx:pt>
          <cx:pt idx="69848">0</cx:pt>
          <cx:pt idx="69849">0</cx:pt>
          <cx:pt idx="69850">0</cx:pt>
          <cx:pt idx="69851">0</cx:pt>
          <cx:pt idx="69852">1</cx:pt>
          <cx:pt idx="69853">1</cx:pt>
          <cx:pt idx="69854">1</cx:pt>
          <cx:pt idx="69855">1</cx:pt>
          <cx:pt idx="69856">1</cx:pt>
          <cx:pt idx="69857">1</cx:pt>
          <cx:pt idx="69858">1</cx:pt>
          <cx:pt idx="69859">1</cx:pt>
          <cx:pt idx="69860">0</cx:pt>
          <cx:pt idx="69861">1</cx:pt>
          <cx:pt idx="69862">0</cx:pt>
          <cx:pt idx="69863">0</cx:pt>
          <cx:pt idx="69864">0</cx:pt>
          <cx:pt idx="69865">1</cx:pt>
          <cx:pt idx="69866">0</cx:pt>
          <cx:pt idx="69867">1</cx:pt>
          <cx:pt idx="69868">1</cx:pt>
          <cx:pt idx="69869">0</cx:pt>
          <cx:pt idx="69870">0</cx:pt>
          <cx:pt idx="69871">1</cx:pt>
          <cx:pt idx="69872">0</cx:pt>
          <cx:pt idx="69873">0</cx:pt>
          <cx:pt idx="69874">0</cx:pt>
          <cx:pt idx="69875">0</cx:pt>
          <cx:pt idx="69876">1</cx:pt>
          <cx:pt idx="69877">0</cx:pt>
          <cx:pt idx="69878">1</cx:pt>
          <cx:pt idx="69879">1</cx:pt>
          <cx:pt idx="69880">1</cx:pt>
          <cx:pt idx="69881">1</cx:pt>
          <cx:pt idx="69882">0</cx:pt>
          <cx:pt idx="69883">1</cx:pt>
          <cx:pt idx="69884">0</cx:pt>
          <cx:pt idx="69885">0</cx:pt>
          <cx:pt idx="69886">0</cx:pt>
          <cx:pt idx="69887">1</cx:pt>
          <cx:pt idx="69888">0</cx:pt>
          <cx:pt idx="69889">0</cx:pt>
          <cx:pt idx="69890">1</cx:pt>
          <cx:pt idx="69891">0</cx:pt>
          <cx:pt idx="69892">0</cx:pt>
          <cx:pt idx="69893">1</cx:pt>
          <cx:pt idx="69894">0</cx:pt>
          <cx:pt idx="69895">0</cx:pt>
          <cx:pt idx="69896">1</cx:pt>
          <cx:pt idx="69897">0</cx:pt>
          <cx:pt idx="69898">0</cx:pt>
          <cx:pt idx="69899">0</cx:pt>
          <cx:pt idx="69900">0</cx:pt>
          <cx:pt idx="69901">1</cx:pt>
          <cx:pt idx="69902">1</cx:pt>
          <cx:pt idx="69903">1</cx:pt>
          <cx:pt idx="69904">0</cx:pt>
          <cx:pt idx="69905">0</cx:pt>
          <cx:pt idx="69906">1</cx:pt>
          <cx:pt idx="69907">0</cx:pt>
          <cx:pt idx="69908">0</cx:pt>
          <cx:pt idx="69909">0</cx:pt>
          <cx:pt idx="69910">1</cx:pt>
          <cx:pt idx="69911">0</cx:pt>
          <cx:pt idx="69912">0</cx:pt>
          <cx:pt idx="69913">0</cx:pt>
          <cx:pt idx="69914">1</cx:pt>
          <cx:pt idx="69915">1</cx:pt>
          <cx:pt idx="69916">0</cx:pt>
          <cx:pt idx="69917">1</cx:pt>
          <cx:pt idx="69918">1</cx:pt>
          <cx:pt idx="69919">1</cx:pt>
          <cx:pt idx="69920">0</cx:pt>
          <cx:pt idx="69921">1</cx:pt>
          <cx:pt idx="69922">1</cx:pt>
          <cx:pt idx="69923">1</cx:pt>
          <cx:pt idx="69924">1</cx:pt>
          <cx:pt idx="69925">1</cx:pt>
          <cx:pt idx="69926">1</cx:pt>
          <cx:pt idx="69927">0</cx:pt>
          <cx:pt idx="69928">0</cx:pt>
          <cx:pt idx="69929">1</cx:pt>
          <cx:pt idx="69930">0</cx:pt>
          <cx:pt idx="69931">1</cx:pt>
          <cx:pt idx="69932">0</cx:pt>
          <cx:pt idx="69933">1</cx:pt>
          <cx:pt idx="69934">0</cx:pt>
          <cx:pt idx="69935">1</cx:pt>
          <cx:pt idx="69936">1</cx:pt>
          <cx:pt idx="69937">1</cx:pt>
          <cx:pt idx="69938">0</cx:pt>
          <cx:pt idx="69939">0</cx:pt>
          <cx:pt idx="69940">0</cx:pt>
          <cx:pt idx="69941">0</cx:pt>
          <cx:pt idx="69942">0</cx:pt>
          <cx:pt idx="69943">1</cx:pt>
          <cx:pt idx="69944">0</cx:pt>
          <cx:pt idx="69945">0</cx:pt>
          <cx:pt idx="69946">1</cx:pt>
          <cx:pt idx="69947">1</cx:pt>
          <cx:pt idx="69948">1</cx:pt>
          <cx:pt idx="69949">1</cx:pt>
          <cx:pt idx="69950">0</cx:pt>
          <cx:pt idx="69951">1</cx:pt>
          <cx:pt idx="69952">0</cx:pt>
          <cx:pt idx="69953">0</cx:pt>
          <cx:pt idx="69954">0</cx:pt>
          <cx:pt idx="69955">0</cx:pt>
          <cx:pt idx="69956">1</cx:pt>
          <cx:pt idx="69957">0</cx:pt>
          <cx:pt idx="69958">0</cx:pt>
          <cx:pt idx="69959">1</cx:pt>
          <cx:pt idx="69960">0</cx:pt>
          <cx:pt idx="69961">0</cx:pt>
          <cx:pt idx="69962">0</cx:pt>
          <cx:pt idx="69963">0</cx:pt>
          <cx:pt idx="69964">1</cx:pt>
          <cx:pt idx="69965">0</cx:pt>
          <cx:pt idx="69966">0</cx:pt>
          <cx:pt idx="69967">1</cx:pt>
          <cx:pt idx="69968">0</cx:pt>
          <cx:pt idx="69969">1</cx:pt>
          <cx:pt idx="69970">0</cx:pt>
          <cx:pt idx="69971">1</cx:pt>
          <cx:pt idx="69972">0</cx:pt>
          <cx:pt idx="69973">0</cx:pt>
          <cx:pt idx="69974">0</cx:pt>
          <cx:pt idx="69975">1</cx:pt>
          <cx:pt idx="69976">0</cx:pt>
          <cx:pt idx="69977">0</cx:pt>
          <cx:pt idx="69978">0</cx:pt>
          <cx:pt idx="69979">0</cx:pt>
          <cx:pt idx="69980">0</cx:pt>
          <cx:pt idx="69981">1</cx:pt>
          <cx:pt idx="69982">0</cx:pt>
          <cx:pt idx="69983">1</cx:pt>
          <cx:pt idx="69984">0</cx:pt>
          <cx:pt idx="69985">1</cx:pt>
          <cx:pt idx="69986">1</cx:pt>
          <cx:pt idx="69987">0</cx:pt>
          <cx:pt idx="69988">0</cx:pt>
          <cx:pt idx="69989">1</cx:pt>
          <cx:pt idx="69990">1</cx:pt>
          <cx:pt idx="69991">0</cx:pt>
          <cx:pt idx="69992">0</cx:pt>
          <cx:pt idx="69993">0</cx:pt>
          <cx:pt idx="69994">1</cx:pt>
          <cx:pt idx="69995">0</cx:pt>
          <cx:pt idx="69996">1</cx:pt>
          <cx:pt idx="69997">0</cx:pt>
          <cx:pt idx="69998">0</cx:pt>
          <cx:pt idx="69999">1</cx:pt>
          <cx:pt idx="70000">0</cx:pt>
          <cx:pt idx="70001">0</cx:pt>
          <cx:pt idx="70002">1</cx:pt>
          <cx:pt idx="70003">1</cx:pt>
          <cx:pt idx="70004">1</cx:pt>
          <cx:pt idx="70005">0</cx:pt>
          <cx:pt idx="70006">0</cx:pt>
          <cx:pt idx="70007">0</cx:pt>
          <cx:pt idx="70008">1</cx:pt>
          <cx:pt idx="70009">0</cx:pt>
          <cx:pt idx="70010">0</cx:pt>
          <cx:pt idx="70011">1</cx:pt>
          <cx:pt idx="70012">0</cx:pt>
          <cx:pt idx="70013">1</cx:pt>
          <cx:pt idx="70014">1</cx:pt>
          <cx:pt idx="70015">0</cx:pt>
          <cx:pt idx="70016">0</cx:pt>
          <cx:pt idx="70017">0</cx:pt>
          <cx:pt idx="70018">0</cx:pt>
          <cx:pt idx="70019">1</cx:pt>
          <cx:pt idx="70020">0</cx:pt>
          <cx:pt idx="70021">0</cx:pt>
          <cx:pt idx="70022">0</cx:pt>
          <cx:pt idx="70023">1</cx:pt>
          <cx:pt idx="70024">1</cx:pt>
          <cx:pt idx="70025">1</cx:pt>
          <cx:pt idx="70026">1</cx:pt>
          <cx:pt idx="70027">1</cx:pt>
          <cx:pt idx="70028">0</cx:pt>
          <cx:pt idx="70029">1</cx:pt>
          <cx:pt idx="70030">0</cx:pt>
          <cx:pt idx="70031">0</cx:pt>
          <cx:pt idx="70032">0</cx:pt>
          <cx:pt idx="70033">1</cx:pt>
          <cx:pt idx="70034">0</cx:pt>
          <cx:pt idx="70035">0</cx:pt>
          <cx:pt idx="70036">0</cx:pt>
          <cx:pt idx="70037">0</cx:pt>
          <cx:pt idx="70038">1</cx:pt>
          <cx:pt idx="70039">0</cx:pt>
          <cx:pt idx="70040">0</cx:pt>
          <cx:pt idx="70041">0</cx:pt>
          <cx:pt idx="70042">0</cx:pt>
          <cx:pt idx="70043">1</cx:pt>
          <cx:pt idx="70044">0</cx:pt>
          <cx:pt idx="70045">0</cx:pt>
          <cx:pt idx="70046">0</cx:pt>
          <cx:pt idx="70047">0</cx:pt>
          <cx:pt idx="70048">0</cx:pt>
          <cx:pt idx="70049">0</cx:pt>
          <cx:pt idx="70050">1</cx:pt>
          <cx:pt idx="70051">1</cx:pt>
          <cx:pt idx="70052">1</cx:pt>
          <cx:pt idx="70053">0</cx:pt>
          <cx:pt idx="70054">1</cx:pt>
          <cx:pt idx="70055">1</cx:pt>
          <cx:pt idx="70056">1</cx:pt>
          <cx:pt idx="70057">0</cx:pt>
          <cx:pt idx="70058">0</cx:pt>
          <cx:pt idx="70059">0</cx:pt>
          <cx:pt idx="70060">1</cx:pt>
          <cx:pt idx="70061">0</cx:pt>
          <cx:pt idx="70062">1</cx:pt>
          <cx:pt idx="70063">1</cx:pt>
          <cx:pt idx="70064">0</cx:pt>
          <cx:pt idx="70065">0</cx:pt>
          <cx:pt idx="70066">1</cx:pt>
          <cx:pt idx="70067">0</cx:pt>
          <cx:pt idx="70068">0</cx:pt>
          <cx:pt idx="70069">1</cx:pt>
          <cx:pt idx="70070">1</cx:pt>
          <cx:pt idx="70071">1</cx:pt>
          <cx:pt idx="70072">1</cx:pt>
          <cx:pt idx="70073">1</cx:pt>
          <cx:pt idx="70074">0</cx:pt>
          <cx:pt idx="70075">0</cx:pt>
          <cx:pt idx="70076">0</cx:pt>
          <cx:pt idx="70077">0</cx:pt>
          <cx:pt idx="70078">1</cx:pt>
          <cx:pt idx="70079">0</cx:pt>
          <cx:pt idx="70080">1</cx:pt>
          <cx:pt idx="70081">1</cx:pt>
          <cx:pt idx="70082">1</cx:pt>
          <cx:pt idx="70083">1</cx:pt>
          <cx:pt idx="70084">0</cx:pt>
          <cx:pt idx="70085">1</cx:pt>
          <cx:pt idx="70086">1</cx:pt>
          <cx:pt idx="70087">1</cx:pt>
          <cx:pt idx="70088">0</cx:pt>
          <cx:pt idx="70089">0</cx:pt>
          <cx:pt idx="70090">0</cx:pt>
          <cx:pt idx="70091">0</cx:pt>
          <cx:pt idx="70092">0</cx:pt>
          <cx:pt idx="70093">1</cx:pt>
          <cx:pt idx="70094">1</cx:pt>
          <cx:pt idx="70095">0</cx:pt>
          <cx:pt idx="70096">0</cx:pt>
          <cx:pt idx="70097">0</cx:pt>
          <cx:pt idx="70098">0</cx:pt>
          <cx:pt idx="70099">0</cx:pt>
          <cx:pt idx="70100">1</cx:pt>
          <cx:pt idx="70101">0</cx:pt>
          <cx:pt idx="70102">1</cx:pt>
          <cx:pt idx="70103">0</cx:pt>
          <cx:pt idx="70104">0</cx:pt>
          <cx:pt idx="70105">1</cx:pt>
          <cx:pt idx="70106">1</cx:pt>
          <cx:pt idx="70107">0</cx:pt>
          <cx:pt idx="70108">0</cx:pt>
          <cx:pt idx="70109">1</cx:pt>
          <cx:pt idx="70110">0</cx:pt>
          <cx:pt idx="70111">0</cx:pt>
          <cx:pt idx="70112">0</cx:pt>
          <cx:pt idx="70113">0</cx:pt>
          <cx:pt idx="70114">1</cx:pt>
          <cx:pt idx="70115">0</cx:pt>
          <cx:pt idx="70116">0</cx:pt>
          <cx:pt idx="70117">0</cx:pt>
          <cx:pt idx="70118">0</cx:pt>
          <cx:pt idx="70119">1</cx:pt>
          <cx:pt idx="70120">0</cx:pt>
          <cx:pt idx="70121">0</cx:pt>
          <cx:pt idx="70122">1</cx:pt>
          <cx:pt idx="70123">1</cx:pt>
          <cx:pt idx="70124">0</cx:pt>
          <cx:pt idx="70125">1</cx:pt>
          <cx:pt idx="70126">1</cx:pt>
          <cx:pt idx="70127">1</cx:pt>
          <cx:pt idx="70128">0</cx:pt>
          <cx:pt idx="70129">0</cx:pt>
          <cx:pt idx="70130">0</cx:pt>
          <cx:pt idx="70131">1</cx:pt>
          <cx:pt idx="70132">1</cx:pt>
          <cx:pt idx="70133">0</cx:pt>
          <cx:pt idx="70134">0</cx:pt>
          <cx:pt idx="70135">1</cx:pt>
          <cx:pt idx="70136">1</cx:pt>
          <cx:pt idx="70137">0</cx:pt>
          <cx:pt idx="70138">0</cx:pt>
          <cx:pt idx="70139">0</cx:pt>
          <cx:pt idx="70140">0</cx:pt>
          <cx:pt idx="70141">0</cx:pt>
          <cx:pt idx="70142">0</cx:pt>
          <cx:pt idx="70143">1</cx:pt>
          <cx:pt idx="70144">1</cx:pt>
          <cx:pt idx="70145">0</cx:pt>
          <cx:pt idx="70146">1</cx:pt>
          <cx:pt idx="70147">1</cx:pt>
          <cx:pt idx="70148">1</cx:pt>
          <cx:pt idx="70149">1</cx:pt>
          <cx:pt idx="70150">0</cx:pt>
          <cx:pt idx="70151">0</cx:pt>
          <cx:pt idx="70152">0</cx:pt>
          <cx:pt idx="70153">1</cx:pt>
          <cx:pt idx="70154">0</cx:pt>
          <cx:pt idx="70155">1</cx:pt>
          <cx:pt idx="70156">1</cx:pt>
          <cx:pt idx="70157">0</cx:pt>
          <cx:pt idx="70158">0</cx:pt>
          <cx:pt idx="70159">1</cx:pt>
          <cx:pt idx="70160">1</cx:pt>
          <cx:pt idx="70161">0</cx:pt>
          <cx:pt idx="70162">0</cx:pt>
          <cx:pt idx="70163">1</cx:pt>
          <cx:pt idx="70164">1</cx:pt>
          <cx:pt idx="70165">1</cx:pt>
          <cx:pt idx="70166">1</cx:pt>
          <cx:pt idx="70167">0</cx:pt>
          <cx:pt idx="70168">0</cx:pt>
          <cx:pt idx="70169">1</cx:pt>
          <cx:pt idx="70170">0</cx:pt>
          <cx:pt idx="70171">0</cx:pt>
          <cx:pt idx="70172">0</cx:pt>
          <cx:pt idx="70173">1</cx:pt>
          <cx:pt idx="70174">0</cx:pt>
          <cx:pt idx="70175">1</cx:pt>
          <cx:pt idx="70176">1</cx:pt>
          <cx:pt idx="70177">0</cx:pt>
          <cx:pt idx="70178">0</cx:pt>
          <cx:pt idx="70179">0</cx:pt>
          <cx:pt idx="70180">0</cx:pt>
          <cx:pt idx="70181">0</cx:pt>
          <cx:pt idx="70182">1</cx:pt>
          <cx:pt idx="70183">0</cx:pt>
          <cx:pt idx="70184">1</cx:pt>
          <cx:pt idx="70185">1</cx:pt>
          <cx:pt idx="70186">0</cx:pt>
          <cx:pt idx="70187">0</cx:pt>
          <cx:pt idx="70188">0</cx:pt>
          <cx:pt idx="70189">1</cx:pt>
          <cx:pt idx="70190">0</cx:pt>
          <cx:pt idx="70191">1</cx:pt>
          <cx:pt idx="70192">0</cx:pt>
          <cx:pt idx="70193">1</cx:pt>
          <cx:pt idx="70194">0</cx:pt>
          <cx:pt idx="70195">1</cx:pt>
          <cx:pt idx="70196">0</cx:pt>
          <cx:pt idx="70197">1</cx:pt>
          <cx:pt idx="70198">0</cx:pt>
          <cx:pt idx="70199">1</cx:pt>
          <cx:pt idx="70200">0</cx:pt>
          <cx:pt idx="70201">0</cx:pt>
          <cx:pt idx="70202">1</cx:pt>
          <cx:pt idx="70203">1</cx:pt>
          <cx:pt idx="70204">1</cx:pt>
          <cx:pt idx="70205">0</cx:pt>
          <cx:pt idx="70206">1</cx:pt>
          <cx:pt idx="70207">0</cx:pt>
          <cx:pt idx="70208">1</cx:pt>
          <cx:pt idx="70209">0</cx:pt>
          <cx:pt idx="70210">1</cx:pt>
          <cx:pt idx="70211">0</cx:pt>
          <cx:pt idx="70212">0</cx:pt>
          <cx:pt idx="70213">0</cx:pt>
          <cx:pt idx="70214">0</cx:pt>
          <cx:pt idx="70215">1</cx:pt>
          <cx:pt idx="70216">0</cx:pt>
          <cx:pt idx="70217">1</cx:pt>
          <cx:pt idx="70218">0</cx:pt>
          <cx:pt idx="70219">0</cx:pt>
          <cx:pt idx="70220">0</cx:pt>
          <cx:pt idx="70221">0</cx:pt>
          <cx:pt idx="70222">0</cx:pt>
          <cx:pt idx="70223">0</cx:pt>
          <cx:pt idx="70224">1</cx:pt>
          <cx:pt idx="70225">0</cx:pt>
          <cx:pt idx="70226">0</cx:pt>
          <cx:pt idx="70227">1</cx:pt>
          <cx:pt idx="70228">0</cx:pt>
          <cx:pt idx="70229">0</cx:pt>
          <cx:pt idx="70230">1</cx:pt>
          <cx:pt idx="70231">0</cx:pt>
          <cx:pt idx="70232">0</cx:pt>
          <cx:pt idx="70233">1</cx:pt>
          <cx:pt idx="70234">0</cx:pt>
          <cx:pt idx="70235">0</cx:pt>
          <cx:pt idx="70236">0</cx:pt>
          <cx:pt idx="70237">1</cx:pt>
          <cx:pt idx="70238">1</cx:pt>
          <cx:pt idx="70239">1</cx:pt>
          <cx:pt idx="70240">1</cx:pt>
          <cx:pt idx="70241">0</cx:pt>
          <cx:pt idx="70242">0</cx:pt>
          <cx:pt idx="70243">0</cx:pt>
          <cx:pt idx="70244">1</cx:pt>
          <cx:pt idx="70245">0</cx:pt>
          <cx:pt idx="70246">1</cx:pt>
          <cx:pt idx="70247">1</cx:pt>
          <cx:pt idx="70248">1</cx:pt>
          <cx:pt idx="70249">1</cx:pt>
          <cx:pt idx="70250">1</cx:pt>
          <cx:pt idx="70251">1</cx:pt>
          <cx:pt idx="70252">0</cx:pt>
          <cx:pt idx="70253">1</cx:pt>
          <cx:pt idx="70254">1</cx:pt>
          <cx:pt idx="70255">1</cx:pt>
          <cx:pt idx="70256">1</cx:pt>
          <cx:pt idx="70257">0</cx:pt>
          <cx:pt idx="70258">0</cx:pt>
          <cx:pt idx="70259">0</cx:pt>
          <cx:pt idx="70260">0</cx:pt>
          <cx:pt idx="70261">1</cx:pt>
          <cx:pt idx="70262">0</cx:pt>
          <cx:pt idx="70263">0</cx:pt>
          <cx:pt idx="70264">1</cx:pt>
          <cx:pt idx="70265">1</cx:pt>
          <cx:pt idx="70266">1</cx:pt>
          <cx:pt idx="70267">0</cx:pt>
          <cx:pt idx="70268">1</cx:pt>
          <cx:pt idx="70269">1</cx:pt>
          <cx:pt idx="70270">0</cx:pt>
          <cx:pt idx="70271">1</cx:pt>
          <cx:pt idx="70272">0</cx:pt>
          <cx:pt idx="70273">0</cx:pt>
          <cx:pt idx="70274">0</cx:pt>
          <cx:pt idx="70275">1</cx:pt>
          <cx:pt idx="70276">0</cx:pt>
          <cx:pt idx="70277">0</cx:pt>
          <cx:pt idx="70278">1</cx:pt>
          <cx:pt idx="70279">0</cx:pt>
          <cx:pt idx="70280">1</cx:pt>
          <cx:pt idx="70281">1</cx:pt>
          <cx:pt idx="70282">1</cx:pt>
          <cx:pt idx="70283">0</cx:pt>
          <cx:pt idx="70284">0</cx:pt>
          <cx:pt idx="70285">1</cx:pt>
          <cx:pt idx="70286">1</cx:pt>
          <cx:pt idx="70287">1</cx:pt>
          <cx:pt idx="70288">1</cx:pt>
          <cx:pt idx="70289">0</cx:pt>
          <cx:pt idx="70290">1</cx:pt>
          <cx:pt idx="70291">1</cx:pt>
          <cx:pt idx="70292">0</cx:pt>
          <cx:pt idx="70293">0</cx:pt>
          <cx:pt idx="70294">1</cx:pt>
          <cx:pt idx="70295">0</cx:pt>
          <cx:pt idx="70296">1</cx:pt>
          <cx:pt idx="70297">1</cx:pt>
          <cx:pt idx="70298">0</cx:pt>
          <cx:pt idx="70299">1</cx:pt>
          <cx:pt idx="70300">0</cx:pt>
          <cx:pt idx="70301">0</cx:pt>
          <cx:pt idx="70302">1</cx:pt>
          <cx:pt idx="70303">0</cx:pt>
          <cx:pt idx="70304">0</cx:pt>
          <cx:pt idx="70305">0</cx:pt>
          <cx:pt idx="70306">0</cx:pt>
          <cx:pt idx="70307">0</cx:pt>
          <cx:pt idx="70308">0</cx:pt>
          <cx:pt idx="70309">1</cx:pt>
          <cx:pt idx="70310">0</cx:pt>
          <cx:pt idx="70311">0</cx:pt>
          <cx:pt idx="70312">0</cx:pt>
          <cx:pt idx="70313">1</cx:pt>
          <cx:pt idx="70314">1</cx:pt>
          <cx:pt idx="70315">0</cx:pt>
          <cx:pt idx="70316">0</cx:pt>
          <cx:pt idx="70317">1</cx:pt>
          <cx:pt idx="70318">0</cx:pt>
          <cx:pt idx="70319">1</cx:pt>
          <cx:pt idx="70320">1</cx:pt>
          <cx:pt idx="70321">1</cx:pt>
          <cx:pt idx="70322">1</cx:pt>
          <cx:pt idx="70323">1</cx:pt>
          <cx:pt idx="70324">1</cx:pt>
          <cx:pt idx="70325">0</cx:pt>
          <cx:pt idx="70326">1</cx:pt>
          <cx:pt idx="70327">1</cx:pt>
          <cx:pt idx="70328">0</cx:pt>
          <cx:pt idx="70329">0</cx:pt>
          <cx:pt idx="70330">0</cx:pt>
          <cx:pt idx="70331">0</cx:pt>
          <cx:pt idx="70332">1</cx:pt>
          <cx:pt idx="70333">0</cx:pt>
          <cx:pt idx="70334">1</cx:pt>
          <cx:pt idx="70335">1</cx:pt>
          <cx:pt idx="70336">0</cx:pt>
          <cx:pt idx="70337">0</cx:pt>
          <cx:pt idx="70338">1</cx:pt>
          <cx:pt idx="70339">1</cx:pt>
          <cx:pt idx="70340">0</cx:pt>
          <cx:pt idx="70341">1</cx:pt>
          <cx:pt idx="70342">0</cx:pt>
          <cx:pt idx="70343">1</cx:pt>
          <cx:pt idx="70344">1</cx:pt>
          <cx:pt idx="70345">1</cx:pt>
          <cx:pt idx="70346">1</cx:pt>
          <cx:pt idx="70347">0</cx:pt>
          <cx:pt idx="70348">0</cx:pt>
          <cx:pt idx="70349">1</cx:pt>
          <cx:pt idx="70350">0</cx:pt>
          <cx:pt idx="70351">1</cx:pt>
          <cx:pt idx="70352">0</cx:pt>
          <cx:pt idx="70353">0</cx:pt>
          <cx:pt idx="70354">1</cx:pt>
          <cx:pt idx="70355">1</cx:pt>
          <cx:pt idx="70356">0</cx:pt>
          <cx:pt idx="70357">0</cx:pt>
          <cx:pt idx="70358">1</cx:pt>
          <cx:pt idx="70359">1</cx:pt>
          <cx:pt idx="70360">1</cx:pt>
          <cx:pt idx="70361">1</cx:pt>
          <cx:pt idx="70362">0</cx:pt>
          <cx:pt idx="70363">1</cx:pt>
          <cx:pt idx="70364">0</cx:pt>
          <cx:pt idx="70365">0</cx:pt>
          <cx:pt idx="70366">1</cx:pt>
          <cx:pt idx="70367">0</cx:pt>
          <cx:pt idx="70368">0</cx:pt>
          <cx:pt idx="70369">1</cx:pt>
          <cx:pt idx="70370">1</cx:pt>
          <cx:pt idx="70371">1</cx:pt>
          <cx:pt idx="70372">0</cx:pt>
          <cx:pt idx="70373">1</cx:pt>
          <cx:pt idx="70374">0</cx:pt>
          <cx:pt idx="70375">0</cx:pt>
          <cx:pt idx="70376">0</cx:pt>
          <cx:pt idx="70377">0</cx:pt>
          <cx:pt idx="70378">0</cx:pt>
          <cx:pt idx="70379">0</cx:pt>
          <cx:pt idx="70380">1</cx:pt>
          <cx:pt idx="70381">0</cx:pt>
          <cx:pt idx="70382">0</cx:pt>
          <cx:pt idx="70383">0</cx:pt>
          <cx:pt idx="70384">1</cx:pt>
          <cx:pt idx="70385">0</cx:pt>
          <cx:pt idx="70386">0</cx:pt>
          <cx:pt idx="70387">0</cx:pt>
          <cx:pt idx="70388">1</cx:pt>
          <cx:pt idx="70389">0</cx:pt>
          <cx:pt idx="70390">1</cx:pt>
          <cx:pt idx="70391">0</cx:pt>
          <cx:pt idx="70392">1</cx:pt>
          <cx:pt idx="70393">0</cx:pt>
          <cx:pt idx="70394">0</cx:pt>
          <cx:pt idx="70395">0</cx:pt>
          <cx:pt idx="70396">0</cx:pt>
          <cx:pt idx="70397">0</cx:pt>
          <cx:pt idx="70398">0</cx:pt>
          <cx:pt idx="70399">0</cx:pt>
          <cx:pt idx="70400">0</cx:pt>
          <cx:pt idx="70401">1</cx:pt>
          <cx:pt idx="70402">0</cx:pt>
          <cx:pt idx="70403">0</cx:pt>
          <cx:pt idx="70404">0</cx:pt>
          <cx:pt idx="70405">0</cx:pt>
          <cx:pt idx="70406">0</cx:pt>
          <cx:pt idx="70407">1</cx:pt>
          <cx:pt idx="70408">1</cx:pt>
          <cx:pt idx="70409">0</cx:pt>
          <cx:pt idx="70410">0</cx:pt>
          <cx:pt idx="70411">1</cx:pt>
          <cx:pt idx="70412">0</cx:pt>
          <cx:pt idx="70413">0</cx:pt>
          <cx:pt idx="70414">0</cx:pt>
          <cx:pt idx="70415">1</cx:pt>
          <cx:pt idx="70416">1</cx:pt>
          <cx:pt idx="70417">0</cx:pt>
          <cx:pt idx="70418">1</cx:pt>
          <cx:pt idx="70419">0</cx:pt>
          <cx:pt idx="70420">0</cx:pt>
          <cx:pt idx="70421">1</cx:pt>
          <cx:pt idx="70422">0</cx:pt>
          <cx:pt idx="70423">0</cx:pt>
          <cx:pt idx="70424">0</cx:pt>
          <cx:pt idx="70425">0</cx:pt>
          <cx:pt idx="70426">1</cx:pt>
          <cx:pt idx="70427">1</cx:pt>
          <cx:pt idx="70428">0</cx:pt>
          <cx:pt idx="70429">1</cx:pt>
          <cx:pt idx="70430">1</cx:pt>
          <cx:pt idx="70431">0</cx:pt>
          <cx:pt idx="70432">0</cx:pt>
          <cx:pt idx="70433">1</cx:pt>
          <cx:pt idx="70434">0</cx:pt>
          <cx:pt idx="70435">0</cx:pt>
          <cx:pt idx="70436">1</cx:pt>
          <cx:pt idx="70437">1</cx:pt>
          <cx:pt idx="70438">1</cx:pt>
          <cx:pt idx="70439">0</cx:pt>
          <cx:pt idx="70440">1</cx:pt>
          <cx:pt idx="70441">1</cx:pt>
          <cx:pt idx="70442">0</cx:pt>
          <cx:pt idx="70443">0</cx:pt>
          <cx:pt idx="70444">0</cx:pt>
          <cx:pt idx="70445">1</cx:pt>
          <cx:pt idx="70446">0</cx:pt>
          <cx:pt idx="70447">1</cx:pt>
          <cx:pt idx="70448">1</cx:pt>
          <cx:pt idx="70449">0</cx:pt>
          <cx:pt idx="70450">0</cx:pt>
          <cx:pt idx="70451">1</cx:pt>
          <cx:pt idx="70452">1</cx:pt>
          <cx:pt idx="70453">0</cx:pt>
          <cx:pt idx="70454">0</cx:pt>
          <cx:pt idx="70455">1</cx:pt>
          <cx:pt idx="70456">1</cx:pt>
          <cx:pt idx="70457">0</cx:pt>
          <cx:pt idx="70458">0</cx:pt>
          <cx:pt idx="70459">1</cx:pt>
          <cx:pt idx="70460">0</cx:pt>
          <cx:pt idx="70461">1</cx:pt>
          <cx:pt idx="70462">1</cx:pt>
          <cx:pt idx="70463">0</cx:pt>
          <cx:pt idx="70464">1</cx:pt>
          <cx:pt idx="70465">0</cx:pt>
          <cx:pt idx="70466">1</cx:pt>
          <cx:pt idx="70467">1</cx:pt>
          <cx:pt idx="70468">1</cx:pt>
          <cx:pt idx="70469">0</cx:pt>
          <cx:pt idx="70470">0</cx:pt>
          <cx:pt idx="70471">0</cx:pt>
          <cx:pt idx="70472">0</cx:pt>
          <cx:pt idx="70473">1</cx:pt>
          <cx:pt idx="70474">0</cx:pt>
          <cx:pt idx="70475">1</cx:pt>
          <cx:pt idx="70476">0</cx:pt>
          <cx:pt idx="70477">0</cx:pt>
          <cx:pt idx="70478">1</cx:pt>
          <cx:pt idx="70479">1</cx:pt>
          <cx:pt idx="70480">0</cx:pt>
          <cx:pt idx="70481">1</cx:pt>
          <cx:pt idx="70482">1</cx:pt>
          <cx:pt idx="70483">0</cx:pt>
          <cx:pt idx="70484">0</cx:pt>
          <cx:pt idx="70485">0</cx:pt>
          <cx:pt idx="70486">0</cx:pt>
          <cx:pt idx="70487">1</cx:pt>
          <cx:pt idx="70488">1</cx:pt>
          <cx:pt idx="70489">0</cx:pt>
          <cx:pt idx="70490">1</cx:pt>
          <cx:pt idx="70491">1</cx:pt>
          <cx:pt idx="70492">1</cx:pt>
          <cx:pt idx="70493">1</cx:pt>
          <cx:pt idx="70494">0</cx:pt>
          <cx:pt idx="70495">0</cx:pt>
          <cx:pt idx="70496">1</cx:pt>
          <cx:pt idx="70497">0</cx:pt>
          <cx:pt idx="70498">0</cx:pt>
          <cx:pt idx="70499">0</cx:pt>
          <cx:pt idx="70500">1</cx:pt>
          <cx:pt idx="70501">0</cx:pt>
          <cx:pt idx="70502">1</cx:pt>
          <cx:pt idx="70503">0</cx:pt>
          <cx:pt idx="70504">1</cx:pt>
          <cx:pt idx="70505">0</cx:pt>
          <cx:pt idx="70506">1</cx:pt>
          <cx:pt idx="70507">0</cx:pt>
          <cx:pt idx="70508">0</cx:pt>
          <cx:pt idx="70509">1</cx:pt>
          <cx:pt idx="70510">0</cx:pt>
          <cx:pt idx="70511">0</cx:pt>
          <cx:pt idx="70512">0</cx:pt>
          <cx:pt idx="70513">0</cx:pt>
          <cx:pt idx="70514">0</cx:pt>
          <cx:pt idx="70515">0</cx:pt>
          <cx:pt idx="70516">1</cx:pt>
          <cx:pt idx="70517">0</cx:pt>
          <cx:pt idx="70518">0</cx:pt>
          <cx:pt idx="70519">1</cx:pt>
          <cx:pt idx="70520">0</cx:pt>
          <cx:pt idx="70521">0</cx:pt>
          <cx:pt idx="70522">0</cx:pt>
          <cx:pt idx="70523">1</cx:pt>
          <cx:pt idx="70524">1</cx:pt>
          <cx:pt idx="70525">0</cx:pt>
          <cx:pt idx="70526">0</cx:pt>
          <cx:pt idx="70527">0</cx:pt>
          <cx:pt idx="70528">0</cx:pt>
          <cx:pt idx="70529">1</cx:pt>
          <cx:pt idx="70530">1</cx:pt>
          <cx:pt idx="70531">0</cx:pt>
          <cx:pt idx="70532">0</cx:pt>
          <cx:pt idx="70533">1</cx:pt>
          <cx:pt idx="70534">0</cx:pt>
          <cx:pt idx="70535">1</cx:pt>
          <cx:pt idx="70536">0</cx:pt>
          <cx:pt idx="70537">1</cx:pt>
          <cx:pt idx="70538">0</cx:pt>
          <cx:pt idx="70539">1</cx:pt>
          <cx:pt idx="70540">1</cx:pt>
          <cx:pt idx="70541">1</cx:pt>
          <cx:pt idx="70542">1</cx:pt>
          <cx:pt idx="70543">1</cx:pt>
          <cx:pt idx="70544">0</cx:pt>
          <cx:pt idx="70545">0</cx:pt>
          <cx:pt idx="70546">0</cx:pt>
          <cx:pt idx="70547">0</cx:pt>
          <cx:pt idx="70548">1</cx:pt>
          <cx:pt idx="70549">1</cx:pt>
          <cx:pt idx="70550">1</cx:pt>
          <cx:pt idx="70551">0</cx:pt>
          <cx:pt idx="70552">0</cx:pt>
          <cx:pt idx="70553">1</cx:pt>
          <cx:pt idx="70554">1</cx:pt>
          <cx:pt idx="70555">0</cx:pt>
          <cx:pt idx="70556">0</cx:pt>
          <cx:pt idx="70557">0</cx:pt>
          <cx:pt idx="70558">1</cx:pt>
          <cx:pt idx="70559">0</cx:pt>
          <cx:pt idx="70560">1</cx:pt>
          <cx:pt idx="70561">0</cx:pt>
          <cx:pt idx="70562">0</cx:pt>
          <cx:pt idx="70563">0</cx:pt>
          <cx:pt idx="70564">0</cx:pt>
          <cx:pt idx="70565">0</cx:pt>
          <cx:pt idx="70566">0</cx:pt>
          <cx:pt idx="70567">1</cx:pt>
          <cx:pt idx="70568">1</cx:pt>
          <cx:pt idx="70569">0</cx:pt>
          <cx:pt idx="70570">0</cx:pt>
          <cx:pt idx="70571">0</cx:pt>
          <cx:pt idx="70572">1</cx:pt>
          <cx:pt idx="70573">1</cx:pt>
          <cx:pt idx="70574">0</cx:pt>
          <cx:pt idx="70575">1</cx:pt>
          <cx:pt idx="70576">1</cx:pt>
          <cx:pt idx="70577">1</cx:pt>
          <cx:pt idx="70578">0</cx:pt>
          <cx:pt idx="70579">0</cx:pt>
          <cx:pt idx="70580">1</cx:pt>
          <cx:pt idx="70581">0</cx:pt>
          <cx:pt idx="70582">0</cx:pt>
          <cx:pt idx="70583">1</cx:pt>
          <cx:pt idx="70584">1</cx:pt>
          <cx:pt idx="70585">0</cx:pt>
          <cx:pt idx="70586">0</cx:pt>
          <cx:pt idx="70587">0</cx:pt>
          <cx:pt idx="70588">0</cx:pt>
          <cx:pt idx="70589">1</cx:pt>
          <cx:pt idx="70590">0</cx:pt>
          <cx:pt idx="70591">0</cx:pt>
          <cx:pt idx="70592">1</cx:pt>
          <cx:pt idx="70593">1</cx:pt>
          <cx:pt idx="70594">1</cx:pt>
          <cx:pt idx="70595">1</cx:pt>
          <cx:pt idx="70596">0</cx:pt>
          <cx:pt idx="70597">0</cx:pt>
          <cx:pt idx="70598">0</cx:pt>
          <cx:pt idx="70599">1</cx:pt>
          <cx:pt idx="70600">0</cx:pt>
          <cx:pt idx="70601">1</cx:pt>
          <cx:pt idx="70602">1</cx:pt>
          <cx:pt idx="70603">1</cx:pt>
          <cx:pt idx="70604">0</cx:pt>
          <cx:pt idx="70605">1</cx:pt>
          <cx:pt idx="70606">0</cx:pt>
          <cx:pt idx="70607">1</cx:pt>
          <cx:pt idx="70608">0</cx:pt>
          <cx:pt idx="70609">0</cx:pt>
          <cx:pt idx="70610">1</cx:pt>
          <cx:pt idx="70611">1</cx:pt>
          <cx:pt idx="70612">1</cx:pt>
          <cx:pt idx="70613">0</cx:pt>
          <cx:pt idx="70614">0</cx:pt>
          <cx:pt idx="70615">0</cx:pt>
          <cx:pt idx="70616">0</cx:pt>
          <cx:pt idx="70617">1</cx:pt>
          <cx:pt idx="70618">1</cx:pt>
          <cx:pt idx="70619">0</cx:pt>
          <cx:pt idx="70620">1</cx:pt>
          <cx:pt idx="70621">0</cx:pt>
          <cx:pt idx="70622">0</cx:pt>
          <cx:pt idx="70623">1</cx:pt>
          <cx:pt idx="70624">0</cx:pt>
          <cx:pt idx="70625">0</cx:pt>
          <cx:pt idx="70626">1</cx:pt>
          <cx:pt idx="70627">1</cx:pt>
          <cx:pt idx="70628">0</cx:pt>
          <cx:pt idx="70629">0</cx:pt>
          <cx:pt idx="70630">1</cx:pt>
          <cx:pt idx="70631">1</cx:pt>
          <cx:pt idx="70632">1</cx:pt>
          <cx:pt idx="70633">0</cx:pt>
          <cx:pt idx="70634">0</cx:pt>
          <cx:pt idx="70635">1</cx:pt>
          <cx:pt idx="70636">0</cx:pt>
          <cx:pt idx="70637">1</cx:pt>
          <cx:pt idx="70638">0</cx:pt>
          <cx:pt idx="70639">0</cx:pt>
          <cx:pt idx="70640">0</cx:pt>
          <cx:pt idx="70641">1</cx:pt>
          <cx:pt idx="70642">1</cx:pt>
          <cx:pt idx="70643">1</cx:pt>
          <cx:pt idx="70644">1</cx:pt>
          <cx:pt idx="70645">0</cx:pt>
          <cx:pt idx="70646">1</cx:pt>
          <cx:pt idx="70647">0</cx:pt>
          <cx:pt idx="70648">1</cx:pt>
          <cx:pt idx="70649">0</cx:pt>
          <cx:pt idx="70650">0</cx:pt>
          <cx:pt idx="70651">0</cx:pt>
          <cx:pt idx="70652">0</cx:pt>
          <cx:pt idx="70653">1</cx:pt>
          <cx:pt idx="70654">0</cx:pt>
          <cx:pt idx="70655">1</cx:pt>
          <cx:pt idx="70656">1</cx:pt>
          <cx:pt idx="70657">0</cx:pt>
          <cx:pt idx="70658">0</cx:pt>
          <cx:pt idx="70659">1</cx:pt>
          <cx:pt idx="70660">0</cx:pt>
          <cx:pt idx="70661">1</cx:pt>
          <cx:pt idx="70662">0</cx:pt>
          <cx:pt idx="70663">1</cx:pt>
          <cx:pt idx="70664">1</cx:pt>
          <cx:pt idx="70665">0</cx:pt>
          <cx:pt idx="70666">1</cx:pt>
          <cx:pt idx="70667">1</cx:pt>
          <cx:pt idx="70668">1</cx:pt>
          <cx:pt idx="70669">0</cx:pt>
          <cx:pt idx="70670">0</cx:pt>
          <cx:pt idx="70671">0</cx:pt>
          <cx:pt idx="70672">0</cx:pt>
          <cx:pt idx="70673">1</cx:pt>
          <cx:pt idx="70674">1</cx:pt>
          <cx:pt idx="70675">0</cx:pt>
          <cx:pt idx="70676">1</cx:pt>
          <cx:pt idx="70677">0</cx:pt>
          <cx:pt idx="70678">0</cx:pt>
          <cx:pt idx="70679">0</cx:pt>
          <cx:pt idx="70680">1</cx:pt>
          <cx:pt idx="70681">1</cx:pt>
          <cx:pt idx="70682">0</cx:pt>
          <cx:pt idx="70683">0</cx:pt>
          <cx:pt idx="70684">0</cx:pt>
          <cx:pt idx="70685">1</cx:pt>
          <cx:pt idx="70686">0</cx:pt>
          <cx:pt idx="70687">0</cx:pt>
          <cx:pt idx="70688">1</cx:pt>
          <cx:pt idx="70689">1</cx:pt>
          <cx:pt idx="70690">0</cx:pt>
          <cx:pt idx="70691">1</cx:pt>
          <cx:pt idx="70692">0</cx:pt>
          <cx:pt idx="70693">1</cx:pt>
          <cx:pt idx="70694">0</cx:pt>
          <cx:pt idx="70695">0</cx:pt>
          <cx:pt idx="70696">1</cx:pt>
          <cx:pt idx="70697">0</cx:pt>
          <cx:pt idx="70698">0</cx:pt>
          <cx:pt idx="70699">0</cx:pt>
          <cx:pt idx="70700">1</cx:pt>
          <cx:pt idx="70701">1</cx:pt>
          <cx:pt idx="70702">0</cx:pt>
          <cx:pt idx="70703">0</cx:pt>
          <cx:pt idx="70704">0</cx:pt>
          <cx:pt idx="70705">0</cx:pt>
          <cx:pt idx="70706">0</cx:pt>
          <cx:pt idx="70707">1</cx:pt>
          <cx:pt idx="70708">1</cx:pt>
          <cx:pt idx="70709">1</cx:pt>
          <cx:pt idx="70710">1</cx:pt>
          <cx:pt idx="70711">0</cx:pt>
          <cx:pt idx="70712">1</cx:pt>
          <cx:pt idx="70713">0</cx:pt>
          <cx:pt idx="70714">0</cx:pt>
          <cx:pt idx="70715">1</cx:pt>
          <cx:pt idx="70716">0</cx:pt>
          <cx:pt idx="70717">0</cx:pt>
          <cx:pt idx="70718">0</cx:pt>
          <cx:pt idx="70719">1</cx:pt>
          <cx:pt idx="70720">0</cx:pt>
          <cx:pt idx="70721">0</cx:pt>
          <cx:pt idx="70722">0</cx:pt>
          <cx:pt idx="70723">1</cx:pt>
          <cx:pt idx="70724">1</cx:pt>
          <cx:pt idx="70725">0</cx:pt>
          <cx:pt idx="70726">0</cx:pt>
          <cx:pt idx="70727">1</cx:pt>
          <cx:pt idx="70728">0</cx:pt>
          <cx:pt idx="70729">0</cx:pt>
          <cx:pt idx="70730">0</cx:pt>
          <cx:pt idx="70731">1</cx:pt>
          <cx:pt idx="70732">0</cx:pt>
          <cx:pt idx="70733">1</cx:pt>
          <cx:pt idx="70734">0</cx:pt>
          <cx:pt idx="70735">1</cx:pt>
          <cx:pt idx="70736">0</cx:pt>
          <cx:pt idx="70737">1</cx:pt>
          <cx:pt idx="70738">0</cx:pt>
          <cx:pt idx="70739">0</cx:pt>
          <cx:pt idx="70740">0</cx:pt>
          <cx:pt idx="70741">0</cx:pt>
          <cx:pt idx="70742">0</cx:pt>
          <cx:pt idx="70743">1</cx:pt>
          <cx:pt idx="70744">1</cx:pt>
          <cx:pt idx="70745">1</cx:pt>
          <cx:pt idx="70746">1</cx:pt>
          <cx:pt idx="70747">0</cx:pt>
          <cx:pt idx="70748">0</cx:pt>
          <cx:pt idx="70749">0</cx:pt>
          <cx:pt idx="70750">0</cx:pt>
          <cx:pt idx="70751">1</cx:pt>
          <cx:pt idx="70752">0</cx:pt>
          <cx:pt idx="70753">1</cx:pt>
          <cx:pt idx="70754">1</cx:pt>
          <cx:pt idx="70755">0</cx:pt>
          <cx:pt idx="70756">1</cx:pt>
          <cx:pt idx="70757">0</cx:pt>
          <cx:pt idx="70758">1</cx:pt>
          <cx:pt idx="70759">1</cx:pt>
          <cx:pt idx="70760">0</cx:pt>
          <cx:pt idx="70761">0</cx:pt>
          <cx:pt idx="70762">0</cx:pt>
          <cx:pt idx="70763">1</cx:pt>
          <cx:pt idx="70764">1</cx:pt>
          <cx:pt idx="70765">1</cx:pt>
          <cx:pt idx="70766">1</cx:pt>
          <cx:pt idx="70767">1</cx:pt>
          <cx:pt idx="70768">0</cx:pt>
          <cx:pt idx="70769">1</cx:pt>
          <cx:pt idx="70770">0</cx:pt>
          <cx:pt idx="70771">0</cx:pt>
          <cx:pt idx="70772">0</cx:pt>
          <cx:pt idx="70773">0</cx:pt>
          <cx:pt idx="70774">1</cx:pt>
          <cx:pt idx="70775">0</cx:pt>
          <cx:pt idx="70776">1</cx:pt>
          <cx:pt idx="70777">0</cx:pt>
          <cx:pt idx="70778">0</cx:pt>
          <cx:pt idx="70779">1</cx:pt>
          <cx:pt idx="70780">1</cx:pt>
          <cx:pt idx="70781">0</cx:pt>
          <cx:pt idx="70782">1</cx:pt>
          <cx:pt idx="70783">0</cx:pt>
          <cx:pt idx="70784">1</cx:pt>
          <cx:pt idx="70785">0</cx:pt>
          <cx:pt idx="70786">1</cx:pt>
          <cx:pt idx="70787">0</cx:pt>
          <cx:pt idx="70788">1</cx:pt>
          <cx:pt idx="70789">0</cx:pt>
          <cx:pt idx="70790">1</cx:pt>
          <cx:pt idx="70791">0</cx:pt>
          <cx:pt idx="70792">0</cx:pt>
          <cx:pt idx="70793">1</cx:pt>
          <cx:pt idx="70794">0</cx:pt>
          <cx:pt idx="70795">1</cx:pt>
          <cx:pt idx="70796">0</cx:pt>
          <cx:pt idx="70797">0</cx:pt>
          <cx:pt idx="70798">0</cx:pt>
          <cx:pt idx="70799">0</cx:pt>
          <cx:pt idx="70800">1</cx:pt>
          <cx:pt idx="70801">1</cx:pt>
          <cx:pt idx="70802">0</cx:pt>
          <cx:pt idx="70803">0</cx:pt>
          <cx:pt idx="70804">0</cx:pt>
          <cx:pt idx="70805">0</cx:pt>
          <cx:pt idx="70806">0</cx:pt>
          <cx:pt idx="70807">0</cx:pt>
          <cx:pt idx="70808">0</cx:pt>
          <cx:pt idx="70809">1</cx:pt>
          <cx:pt idx="70810">0</cx:pt>
          <cx:pt idx="70811">1</cx:pt>
          <cx:pt idx="70812">0</cx:pt>
          <cx:pt idx="70813">1</cx:pt>
          <cx:pt idx="70814">1</cx:pt>
          <cx:pt idx="70815">1</cx:pt>
          <cx:pt idx="70816">0</cx:pt>
          <cx:pt idx="70817">0</cx:pt>
          <cx:pt idx="70818">1</cx:pt>
          <cx:pt idx="70819">1</cx:pt>
          <cx:pt idx="70820">0</cx:pt>
          <cx:pt idx="70821">0</cx:pt>
          <cx:pt idx="70822">1</cx:pt>
          <cx:pt idx="70823">0</cx:pt>
          <cx:pt idx="70824">1</cx:pt>
          <cx:pt idx="70825">1</cx:pt>
          <cx:pt idx="70826">0</cx:pt>
          <cx:pt idx="70827">0</cx:pt>
          <cx:pt idx="70828">0</cx:pt>
          <cx:pt idx="70829">0</cx:pt>
          <cx:pt idx="70830">1</cx:pt>
          <cx:pt idx="70831">0</cx:pt>
          <cx:pt idx="70832">0</cx:pt>
          <cx:pt idx="70833">1</cx:pt>
          <cx:pt idx="70834">1</cx:pt>
          <cx:pt idx="70835">1</cx:pt>
          <cx:pt idx="70836">0</cx:pt>
          <cx:pt idx="70837">0</cx:pt>
          <cx:pt idx="70838">0</cx:pt>
          <cx:pt idx="70839">0</cx:pt>
          <cx:pt idx="70840">0</cx:pt>
          <cx:pt idx="70841">1</cx:pt>
          <cx:pt idx="70842">1</cx:pt>
          <cx:pt idx="70843">1</cx:pt>
          <cx:pt idx="70844">0</cx:pt>
          <cx:pt idx="70845">0</cx:pt>
          <cx:pt idx="70846">1</cx:pt>
          <cx:pt idx="70847">0</cx:pt>
          <cx:pt idx="70848">1</cx:pt>
          <cx:pt idx="70849">0</cx:pt>
          <cx:pt idx="70850">1</cx:pt>
          <cx:pt idx="70851">0</cx:pt>
          <cx:pt idx="70852">0</cx:pt>
          <cx:pt idx="70853">1</cx:pt>
          <cx:pt idx="70854">0</cx:pt>
          <cx:pt idx="70855">0</cx:pt>
          <cx:pt idx="70856">0</cx:pt>
          <cx:pt idx="70857">0</cx:pt>
          <cx:pt idx="70858">0</cx:pt>
          <cx:pt idx="70859">1</cx:pt>
          <cx:pt idx="70860">0</cx:pt>
          <cx:pt idx="70861">0</cx:pt>
          <cx:pt idx="70862">0</cx:pt>
          <cx:pt idx="70863">1</cx:pt>
          <cx:pt idx="70864">0</cx:pt>
          <cx:pt idx="70865">0</cx:pt>
          <cx:pt idx="70866">1</cx:pt>
          <cx:pt idx="70867">1</cx:pt>
          <cx:pt idx="70868">1</cx:pt>
          <cx:pt idx="70869">0</cx:pt>
          <cx:pt idx="70870">1</cx:pt>
          <cx:pt idx="70871">1</cx:pt>
          <cx:pt idx="70872">1</cx:pt>
          <cx:pt idx="70873">0</cx:pt>
          <cx:pt idx="70874">0</cx:pt>
          <cx:pt idx="70875">0</cx:pt>
          <cx:pt idx="70876">0</cx:pt>
          <cx:pt idx="70877">0</cx:pt>
          <cx:pt idx="70878">1</cx:pt>
          <cx:pt idx="70879">1</cx:pt>
          <cx:pt idx="70880">0</cx:pt>
          <cx:pt idx="70881">0</cx:pt>
          <cx:pt idx="70882">0</cx:pt>
          <cx:pt idx="70883">1</cx:pt>
          <cx:pt idx="70884">1</cx:pt>
          <cx:pt idx="70885">1</cx:pt>
          <cx:pt idx="70886">0</cx:pt>
          <cx:pt idx="70887">1</cx:pt>
          <cx:pt idx="70888">0</cx:pt>
          <cx:pt idx="70889">1</cx:pt>
          <cx:pt idx="70890">1</cx:pt>
          <cx:pt idx="70891">0</cx:pt>
          <cx:pt idx="70892">0</cx:pt>
          <cx:pt idx="70893">1</cx:pt>
          <cx:pt idx="70894">0</cx:pt>
          <cx:pt idx="70895">0</cx:pt>
          <cx:pt idx="70896">0</cx:pt>
          <cx:pt idx="70897">1</cx:pt>
          <cx:pt idx="70898">0</cx:pt>
          <cx:pt idx="70899">0</cx:pt>
          <cx:pt idx="70900">0</cx:pt>
          <cx:pt idx="70901">1</cx:pt>
          <cx:pt idx="70902">0</cx:pt>
          <cx:pt idx="70903">1</cx:pt>
          <cx:pt idx="70904">1</cx:pt>
          <cx:pt idx="70905">0</cx:pt>
          <cx:pt idx="70906">0</cx:pt>
          <cx:pt idx="70907">1</cx:pt>
          <cx:pt idx="70908">0</cx:pt>
          <cx:pt idx="70909">0</cx:pt>
          <cx:pt idx="70910">0</cx:pt>
          <cx:pt idx="70911">0</cx:pt>
          <cx:pt idx="70912">0</cx:pt>
          <cx:pt idx="70913">0</cx:pt>
          <cx:pt idx="70914">0</cx:pt>
          <cx:pt idx="70915">0</cx:pt>
          <cx:pt idx="70916">0</cx:pt>
          <cx:pt idx="70917">0</cx:pt>
          <cx:pt idx="70918">0</cx:pt>
          <cx:pt idx="70919">0</cx:pt>
          <cx:pt idx="70920">0</cx:pt>
          <cx:pt idx="70921">0</cx:pt>
          <cx:pt idx="70922">0</cx:pt>
          <cx:pt idx="70923">0</cx:pt>
          <cx:pt idx="70924">1</cx:pt>
          <cx:pt idx="70925">0</cx:pt>
          <cx:pt idx="70926">1</cx:pt>
          <cx:pt idx="70927">0</cx:pt>
          <cx:pt idx="70928">1</cx:pt>
          <cx:pt idx="70929">0</cx:pt>
          <cx:pt idx="70930">0</cx:pt>
          <cx:pt idx="70931">1</cx:pt>
          <cx:pt idx="70932">0</cx:pt>
          <cx:pt idx="70933">1</cx:pt>
          <cx:pt idx="70934">1</cx:pt>
          <cx:pt idx="70935">0</cx:pt>
          <cx:pt idx="70936">0</cx:pt>
          <cx:pt idx="70937">1</cx:pt>
          <cx:pt idx="70938">1</cx:pt>
          <cx:pt idx="70939">1</cx:pt>
          <cx:pt idx="70940">1</cx:pt>
          <cx:pt idx="70941">1</cx:pt>
          <cx:pt idx="70942">0</cx:pt>
          <cx:pt idx="70943">0</cx:pt>
          <cx:pt idx="70944">1</cx:pt>
          <cx:pt idx="70945">0</cx:pt>
          <cx:pt idx="70946">0</cx:pt>
          <cx:pt idx="70947">1</cx:pt>
          <cx:pt idx="70948">0</cx:pt>
          <cx:pt idx="70949">1</cx:pt>
          <cx:pt idx="70950">0</cx:pt>
          <cx:pt idx="70951">1</cx:pt>
          <cx:pt idx="70952">0</cx:pt>
          <cx:pt idx="70953">0</cx:pt>
          <cx:pt idx="70954">0</cx:pt>
          <cx:pt idx="70955">0</cx:pt>
          <cx:pt idx="70956">1</cx:pt>
          <cx:pt idx="70957">0</cx:pt>
          <cx:pt idx="70958">0</cx:pt>
          <cx:pt idx="70959">0</cx:pt>
          <cx:pt idx="70960">1</cx:pt>
          <cx:pt idx="70961">1</cx:pt>
          <cx:pt idx="70962">1</cx:pt>
          <cx:pt idx="70963">1</cx:pt>
          <cx:pt idx="70964">1</cx:pt>
          <cx:pt idx="70965">1</cx:pt>
          <cx:pt idx="70966">1</cx:pt>
          <cx:pt idx="70967">0</cx:pt>
          <cx:pt idx="70968">1</cx:pt>
          <cx:pt idx="70969">0</cx:pt>
          <cx:pt idx="70970">1</cx:pt>
          <cx:pt idx="70971">0</cx:pt>
          <cx:pt idx="70972">1</cx:pt>
          <cx:pt idx="70973">1</cx:pt>
          <cx:pt idx="70974">0</cx:pt>
          <cx:pt idx="70975">0</cx:pt>
          <cx:pt idx="70976">0</cx:pt>
          <cx:pt idx="70977">0</cx:pt>
          <cx:pt idx="70978">1</cx:pt>
          <cx:pt idx="70979">1</cx:pt>
          <cx:pt idx="70980">0</cx:pt>
          <cx:pt idx="70981">1</cx:pt>
          <cx:pt idx="70982">1</cx:pt>
          <cx:pt idx="70983">0</cx:pt>
          <cx:pt idx="70984">1</cx:pt>
          <cx:pt idx="70985">0</cx:pt>
          <cx:pt idx="70986">0</cx:pt>
          <cx:pt idx="70987">0</cx:pt>
          <cx:pt idx="70988">0</cx:pt>
          <cx:pt idx="70989">0</cx:pt>
          <cx:pt idx="70990">1</cx:pt>
          <cx:pt idx="70991">1</cx:pt>
          <cx:pt idx="70992">0</cx:pt>
          <cx:pt idx="70993">1</cx:pt>
          <cx:pt idx="70994">0</cx:pt>
          <cx:pt idx="70995">0</cx:pt>
          <cx:pt idx="70996">0</cx:pt>
          <cx:pt idx="70997">1</cx:pt>
          <cx:pt idx="70998">1</cx:pt>
          <cx:pt idx="70999">0</cx:pt>
          <cx:pt idx="71000">1</cx:pt>
          <cx:pt idx="71001">1</cx:pt>
          <cx:pt idx="71002">0</cx:pt>
          <cx:pt idx="71003">1</cx:pt>
          <cx:pt idx="71004">1</cx:pt>
          <cx:pt idx="71005">1</cx:pt>
          <cx:pt idx="71006">1</cx:pt>
          <cx:pt idx="71007">1</cx:pt>
          <cx:pt idx="71008">0</cx:pt>
          <cx:pt idx="71009">1</cx:pt>
          <cx:pt idx="71010">0</cx:pt>
          <cx:pt idx="71011">1</cx:pt>
          <cx:pt idx="71012">1</cx:pt>
          <cx:pt idx="71013">1</cx:pt>
          <cx:pt idx="71014">0</cx:pt>
          <cx:pt idx="71015">0</cx:pt>
          <cx:pt idx="71016">0</cx:pt>
          <cx:pt idx="71017">1</cx:pt>
          <cx:pt idx="71018">0</cx:pt>
          <cx:pt idx="71019">0</cx:pt>
          <cx:pt idx="71020">1</cx:pt>
          <cx:pt idx="71021">0</cx:pt>
          <cx:pt idx="71022">1</cx:pt>
          <cx:pt idx="71023">1</cx:pt>
          <cx:pt idx="71024">0</cx:pt>
          <cx:pt idx="71025">1</cx:pt>
          <cx:pt idx="71026">1</cx:pt>
          <cx:pt idx="71027">1</cx:pt>
          <cx:pt idx="71028">1</cx:pt>
          <cx:pt idx="71029">0</cx:pt>
          <cx:pt idx="71030">1</cx:pt>
          <cx:pt idx="71031">0</cx:pt>
          <cx:pt idx="71032">1</cx:pt>
          <cx:pt idx="71033">0</cx:pt>
          <cx:pt idx="71034">1</cx:pt>
          <cx:pt idx="71035">0</cx:pt>
          <cx:pt idx="71036">0</cx:pt>
          <cx:pt idx="71037">0</cx:pt>
          <cx:pt idx="71038">0</cx:pt>
          <cx:pt idx="71039">1</cx:pt>
          <cx:pt idx="71040">0</cx:pt>
          <cx:pt idx="71041">1</cx:pt>
          <cx:pt idx="71042">1</cx:pt>
          <cx:pt idx="71043">0</cx:pt>
          <cx:pt idx="71044">0</cx:pt>
          <cx:pt idx="71045">1</cx:pt>
          <cx:pt idx="71046">0</cx:pt>
          <cx:pt idx="71047">1</cx:pt>
          <cx:pt idx="71048">1</cx:pt>
          <cx:pt idx="71049">0</cx:pt>
          <cx:pt idx="71050">1</cx:pt>
          <cx:pt idx="71051">1</cx:pt>
          <cx:pt idx="71052">1</cx:pt>
          <cx:pt idx="71053">1</cx:pt>
          <cx:pt idx="71054">0</cx:pt>
          <cx:pt idx="71055">0</cx:pt>
          <cx:pt idx="71056">0</cx:pt>
          <cx:pt idx="71057">0</cx:pt>
          <cx:pt idx="71058">0</cx:pt>
          <cx:pt idx="71059">0</cx:pt>
          <cx:pt idx="71060">0</cx:pt>
          <cx:pt idx="71061">1</cx:pt>
          <cx:pt idx="71062">1</cx:pt>
          <cx:pt idx="71063">0</cx:pt>
          <cx:pt idx="71064">0</cx:pt>
          <cx:pt idx="71065">1</cx:pt>
          <cx:pt idx="71066">0</cx:pt>
          <cx:pt idx="71067">0</cx:pt>
          <cx:pt idx="71068">1</cx:pt>
          <cx:pt idx="71069">0</cx:pt>
          <cx:pt idx="71070">0</cx:pt>
          <cx:pt idx="71071">1</cx:pt>
          <cx:pt idx="71072">1</cx:pt>
          <cx:pt idx="71073">1</cx:pt>
          <cx:pt idx="71074">0</cx:pt>
          <cx:pt idx="71075">0</cx:pt>
          <cx:pt idx="71076">1</cx:pt>
          <cx:pt idx="71077">0</cx:pt>
          <cx:pt idx="71078">0</cx:pt>
          <cx:pt idx="71079">1</cx:pt>
          <cx:pt idx="71080">0</cx:pt>
          <cx:pt idx="71081">0</cx:pt>
          <cx:pt idx="71082">1</cx:pt>
          <cx:pt idx="71083">1</cx:pt>
          <cx:pt idx="71084">0</cx:pt>
          <cx:pt idx="71085">1</cx:pt>
          <cx:pt idx="71086">1</cx:pt>
          <cx:pt idx="71087">0</cx:pt>
          <cx:pt idx="71088">0</cx:pt>
          <cx:pt idx="71089">0</cx:pt>
          <cx:pt idx="71090">0</cx:pt>
          <cx:pt idx="71091">1</cx:pt>
          <cx:pt idx="71092">0</cx:pt>
          <cx:pt idx="71093">1</cx:pt>
          <cx:pt idx="71094">1</cx:pt>
          <cx:pt idx="71095">1</cx:pt>
          <cx:pt idx="71096">1</cx:pt>
          <cx:pt idx="71097">0</cx:pt>
          <cx:pt idx="71098">0</cx:pt>
          <cx:pt idx="71099">1</cx:pt>
          <cx:pt idx="71100">0</cx:pt>
          <cx:pt idx="71101">0</cx:pt>
          <cx:pt idx="71102">0</cx:pt>
          <cx:pt idx="71103">0</cx:pt>
          <cx:pt idx="71104">1</cx:pt>
          <cx:pt idx="71105">0</cx:pt>
          <cx:pt idx="71106">1</cx:pt>
          <cx:pt idx="71107">0</cx:pt>
          <cx:pt idx="71108">1</cx:pt>
          <cx:pt idx="71109">0</cx:pt>
          <cx:pt idx="71110">1</cx:pt>
          <cx:pt idx="71111">1</cx:pt>
          <cx:pt idx="71112">0</cx:pt>
          <cx:pt idx="71113">1</cx:pt>
          <cx:pt idx="71114">0</cx:pt>
          <cx:pt idx="71115">1</cx:pt>
          <cx:pt idx="71116">0</cx:pt>
          <cx:pt idx="71117">1</cx:pt>
          <cx:pt idx="71118">1</cx:pt>
          <cx:pt idx="71119">0</cx:pt>
          <cx:pt idx="71120">1</cx:pt>
          <cx:pt idx="71121">1</cx:pt>
          <cx:pt idx="71122">0</cx:pt>
          <cx:pt idx="71123">1</cx:pt>
          <cx:pt idx="71124">1</cx:pt>
          <cx:pt idx="71125">0</cx:pt>
          <cx:pt idx="71126">1</cx:pt>
          <cx:pt idx="71127">1</cx:pt>
          <cx:pt idx="71128">1</cx:pt>
          <cx:pt idx="71129">0</cx:pt>
          <cx:pt idx="71130">1</cx:pt>
          <cx:pt idx="71131">0</cx:pt>
          <cx:pt idx="71132">1</cx:pt>
          <cx:pt idx="71133">1</cx:pt>
          <cx:pt idx="71134">0</cx:pt>
          <cx:pt idx="71135">1</cx:pt>
          <cx:pt idx="71136">1</cx:pt>
          <cx:pt idx="71137">1</cx:pt>
          <cx:pt idx="71138">0</cx:pt>
          <cx:pt idx="71139">1</cx:pt>
          <cx:pt idx="71140">1</cx:pt>
          <cx:pt idx="71141">1</cx:pt>
          <cx:pt idx="71142">1</cx:pt>
          <cx:pt idx="71143">1</cx:pt>
          <cx:pt idx="71144">1</cx:pt>
          <cx:pt idx="71145">1</cx:pt>
          <cx:pt idx="71146">0</cx:pt>
          <cx:pt idx="71147">0</cx:pt>
          <cx:pt idx="71148">1</cx:pt>
          <cx:pt idx="71149">0</cx:pt>
          <cx:pt idx="71150">1</cx:pt>
          <cx:pt idx="71151">1</cx:pt>
          <cx:pt idx="71152">0</cx:pt>
          <cx:pt idx="71153">0</cx:pt>
          <cx:pt idx="71154">1</cx:pt>
          <cx:pt idx="71155">1</cx:pt>
          <cx:pt idx="71156">1</cx:pt>
          <cx:pt idx="71157">0</cx:pt>
          <cx:pt idx="71158">0</cx:pt>
          <cx:pt idx="71159">0</cx:pt>
          <cx:pt idx="71160">1</cx:pt>
          <cx:pt idx="71161">1</cx:pt>
          <cx:pt idx="71162">1</cx:pt>
          <cx:pt idx="71163">0</cx:pt>
          <cx:pt idx="71164">1</cx:pt>
          <cx:pt idx="71165">0</cx:pt>
          <cx:pt idx="71166">0</cx:pt>
          <cx:pt idx="71167">0</cx:pt>
          <cx:pt idx="71168">1</cx:pt>
          <cx:pt idx="71169">1</cx:pt>
          <cx:pt idx="71170">0</cx:pt>
          <cx:pt idx="71171">1</cx:pt>
          <cx:pt idx="71172">1</cx:pt>
          <cx:pt idx="71173">0</cx:pt>
          <cx:pt idx="71174">1</cx:pt>
          <cx:pt idx="71175">0</cx:pt>
          <cx:pt idx="71176">0</cx:pt>
          <cx:pt idx="71177">1</cx:pt>
          <cx:pt idx="71178">1</cx:pt>
          <cx:pt idx="71179">0</cx:pt>
          <cx:pt idx="71180">0</cx:pt>
          <cx:pt idx="71181">1</cx:pt>
          <cx:pt idx="71182">0</cx:pt>
          <cx:pt idx="71183">1</cx:pt>
          <cx:pt idx="71184">1</cx:pt>
          <cx:pt idx="71185">0</cx:pt>
          <cx:pt idx="71186">1</cx:pt>
          <cx:pt idx="71187">1</cx:pt>
          <cx:pt idx="71188">1</cx:pt>
          <cx:pt idx="71189">1</cx:pt>
          <cx:pt idx="71190">1</cx:pt>
          <cx:pt idx="71191">0</cx:pt>
          <cx:pt idx="71192">0</cx:pt>
          <cx:pt idx="71193">0</cx:pt>
          <cx:pt idx="71194">1</cx:pt>
          <cx:pt idx="71195">1</cx:pt>
          <cx:pt idx="71196">1</cx:pt>
          <cx:pt idx="71197">0</cx:pt>
          <cx:pt idx="71198">0</cx:pt>
          <cx:pt idx="71199">0</cx:pt>
          <cx:pt idx="71200">1</cx:pt>
          <cx:pt idx="71201">0</cx:pt>
          <cx:pt idx="71202">0</cx:pt>
          <cx:pt idx="71203">1</cx:pt>
          <cx:pt idx="71204">1</cx:pt>
          <cx:pt idx="71205">0</cx:pt>
          <cx:pt idx="71206">1</cx:pt>
          <cx:pt idx="71207">1</cx:pt>
          <cx:pt idx="71208">1</cx:pt>
          <cx:pt idx="71209">1</cx:pt>
          <cx:pt idx="71210">0</cx:pt>
          <cx:pt idx="71211">1</cx:pt>
          <cx:pt idx="71212">0</cx:pt>
          <cx:pt idx="71213">1</cx:pt>
          <cx:pt idx="71214">0</cx:pt>
          <cx:pt idx="71215">0</cx:pt>
          <cx:pt idx="71216">0</cx:pt>
          <cx:pt idx="71217">0</cx:pt>
          <cx:pt idx="71218">1</cx:pt>
          <cx:pt idx="71219">1</cx:pt>
          <cx:pt idx="71220">1</cx:pt>
          <cx:pt idx="71221">1</cx:pt>
          <cx:pt idx="71222">0</cx:pt>
          <cx:pt idx="71223">1</cx:pt>
          <cx:pt idx="71224">1</cx:pt>
          <cx:pt idx="71225">0</cx:pt>
          <cx:pt idx="71226">0</cx:pt>
          <cx:pt idx="71227">1</cx:pt>
          <cx:pt idx="71228">0</cx:pt>
          <cx:pt idx="71229">1</cx:pt>
          <cx:pt idx="71230">0</cx:pt>
          <cx:pt idx="71231">0</cx:pt>
          <cx:pt idx="71232">0</cx:pt>
          <cx:pt idx="71233">1</cx:pt>
          <cx:pt idx="71234">1</cx:pt>
          <cx:pt idx="71235">0</cx:pt>
          <cx:pt idx="71236">0</cx:pt>
          <cx:pt idx="71237">1</cx:pt>
          <cx:pt idx="71238">1</cx:pt>
          <cx:pt idx="71239">1</cx:pt>
          <cx:pt idx="71240">1</cx:pt>
          <cx:pt idx="71241">0</cx:pt>
          <cx:pt idx="71242">0</cx:pt>
          <cx:pt idx="71243">1</cx:pt>
          <cx:pt idx="71244">0</cx:pt>
          <cx:pt idx="71245">1</cx:pt>
          <cx:pt idx="71246">1</cx:pt>
          <cx:pt idx="71247">1</cx:pt>
          <cx:pt idx="71248">1</cx:pt>
          <cx:pt idx="71249">0</cx:pt>
          <cx:pt idx="71250">1</cx:pt>
          <cx:pt idx="71251">1</cx:pt>
          <cx:pt idx="71252">0</cx:pt>
          <cx:pt idx="71253">0</cx:pt>
          <cx:pt idx="71254">1</cx:pt>
          <cx:pt idx="71255">1</cx:pt>
          <cx:pt idx="71256">0</cx:pt>
          <cx:pt idx="71257">1</cx:pt>
          <cx:pt idx="71258">1</cx:pt>
          <cx:pt idx="71259">1</cx:pt>
          <cx:pt idx="71260">1</cx:pt>
          <cx:pt idx="71261">0</cx:pt>
          <cx:pt idx="71262">1</cx:pt>
          <cx:pt idx="71263">0</cx:pt>
          <cx:pt idx="71264">0</cx:pt>
          <cx:pt idx="71265">1</cx:pt>
          <cx:pt idx="71266">1</cx:pt>
          <cx:pt idx="71267">0</cx:pt>
          <cx:pt idx="71268">1</cx:pt>
          <cx:pt idx="71269">0</cx:pt>
          <cx:pt idx="71270">0</cx:pt>
          <cx:pt idx="71271">0</cx:pt>
          <cx:pt idx="71272">0</cx:pt>
          <cx:pt idx="71273">0</cx:pt>
          <cx:pt idx="71274">1</cx:pt>
          <cx:pt idx="71275">1</cx:pt>
          <cx:pt idx="71276">0</cx:pt>
          <cx:pt idx="71277">0</cx:pt>
          <cx:pt idx="71278">1</cx:pt>
          <cx:pt idx="71279">1</cx:pt>
          <cx:pt idx="71280">1</cx:pt>
          <cx:pt idx="71281">0</cx:pt>
          <cx:pt idx="71282">0</cx:pt>
          <cx:pt idx="71283">0</cx:pt>
          <cx:pt idx="71284">0</cx:pt>
          <cx:pt idx="71285">0</cx:pt>
          <cx:pt idx="71286">1</cx:pt>
          <cx:pt idx="71287">0</cx:pt>
          <cx:pt idx="71288">0</cx:pt>
          <cx:pt idx="71289">0</cx:pt>
          <cx:pt idx="71290">1</cx:pt>
          <cx:pt idx="71291">0</cx:pt>
          <cx:pt idx="71292">1</cx:pt>
          <cx:pt idx="71293">0</cx:pt>
          <cx:pt idx="71294">1</cx:pt>
          <cx:pt idx="71295">0</cx:pt>
          <cx:pt idx="71296">1</cx:pt>
          <cx:pt idx="71297">1</cx:pt>
          <cx:pt idx="71298">0</cx:pt>
          <cx:pt idx="71299">0</cx:pt>
          <cx:pt idx="71300">0</cx:pt>
          <cx:pt idx="71301">1</cx:pt>
          <cx:pt idx="71302">0</cx:pt>
          <cx:pt idx="71303">0</cx:pt>
          <cx:pt idx="71304">0</cx:pt>
          <cx:pt idx="71305">1</cx:pt>
          <cx:pt idx="71306">1</cx:pt>
          <cx:pt idx="71307">1</cx:pt>
          <cx:pt idx="71308">1</cx:pt>
          <cx:pt idx="71309">1</cx:pt>
          <cx:pt idx="71310">0</cx:pt>
          <cx:pt idx="71311">0</cx:pt>
          <cx:pt idx="71312">0</cx:pt>
          <cx:pt idx="71313">0</cx:pt>
          <cx:pt idx="71314">1</cx:pt>
          <cx:pt idx="71315">0</cx:pt>
          <cx:pt idx="71316">0</cx:pt>
          <cx:pt idx="71317">1</cx:pt>
          <cx:pt idx="71318">1</cx:pt>
          <cx:pt idx="71319">0</cx:pt>
          <cx:pt idx="71320">1</cx:pt>
          <cx:pt idx="71321">0</cx:pt>
          <cx:pt idx="71322">1</cx:pt>
          <cx:pt idx="71323">0</cx:pt>
          <cx:pt idx="71324">0</cx:pt>
          <cx:pt idx="71325">1</cx:pt>
          <cx:pt idx="71326">0</cx:pt>
          <cx:pt idx="71327">0</cx:pt>
          <cx:pt idx="71328">0</cx:pt>
          <cx:pt idx="71329">0</cx:pt>
          <cx:pt idx="71330">0</cx:pt>
          <cx:pt idx="71331">1</cx:pt>
          <cx:pt idx="71332">0</cx:pt>
          <cx:pt idx="71333">1</cx:pt>
          <cx:pt idx="71334">1</cx:pt>
          <cx:pt idx="71335">0</cx:pt>
          <cx:pt idx="71336">1</cx:pt>
          <cx:pt idx="71337">1</cx:pt>
          <cx:pt idx="71338">0</cx:pt>
          <cx:pt idx="71339">0</cx:pt>
          <cx:pt idx="71340">0</cx:pt>
          <cx:pt idx="71341">0</cx:pt>
          <cx:pt idx="71342">1</cx:pt>
          <cx:pt idx="71343">0</cx:pt>
          <cx:pt idx="71344">1</cx:pt>
          <cx:pt idx="71345">0</cx:pt>
          <cx:pt idx="71346">0</cx:pt>
          <cx:pt idx="71347">1</cx:pt>
          <cx:pt idx="71348">0</cx:pt>
          <cx:pt idx="71349">0</cx:pt>
          <cx:pt idx="71350">0</cx:pt>
          <cx:pt idx="71351">1</cx:pt>
          <cx:pt idx="71352">0</cx:pt>
          <cx:pt idx="71353">0</cx:pt>
          <cx:pt idx="71354">1</cx:pt>
          <cx:pt idx="71355">1</cx:pt>
          <cx:pt idx="71356">1</cx:pt>
          <cx:pt idx="71357">1</cx:pt>
          <cx:pt idx="71358">1</cx:pt>
          <cx:pt idx="71359">0</cx:pt>
          <cx:pt idx="71360">0</cx:pt>
          <cx:pt idx="71361">1</cx:pt>
          <cx:pt idx="71362">1</cx:pt>
          <cx:pt idx="71363">0</cx:pt>
          <cx:pt idx="71364">0</cx:pt>
          <cx:pt idx="71365">1</cx:pt>
          <cx:pt idx="71366">1</cx:pt>
          <cx:pt idx="71367">1</cx:pt>
          <cx:pt idx="71368">1</cx:pt>
          <cx:pt idx="71369">0</cx:pt>
          <cx:pt idx="71370">0</cx:pt>
          <cx:pt idx="71371">1</cx:pt>
          <cx:pt idx="71372">1</cx:pt>
          <cx:pt idx="71373">0</cx:pt>
          <cx:pt idx="71374">0</cx:pt>
          <cx:pt idx="71375">0</cx:pt>
          <cx:pt idx="71376">0</cx:pt>
          <cx:pt idx="71377">0</cx:pt>
          <cx:pt idx="71378">0</cx:pt>
          <cx:pt idx="71379">1</cx:pt>
          <cx:pt idx="71380">0</cx:pt>
          <cx:pt idx="71381">1</cx:pt>
          <cx:pt idx="71382">1</cx:pt>
          <cx:pt idx="71383">0</cx:pt>
          <cx:pt idx="71384">1</cx:pt>
          <cx:pt idx="71385">0</cx:pt>
          <cx:pt idx="71386">0</cx:pt>
          <cx:pt idx="71387">0</cx:pt>
          <cx:pt idx="71388">1</cx:pt>
          <cx:pt idx="71389">0</cx:pt>
          <cx:pt idx="71390">1</cx:pt>
          <cx:pt idx="71391">1</cx:pt>
          <cx:pt idx="71392">0</cx:pt>
          <cx:pt idx="71393">1</cx:pt>
          <cx:pt idx="71394">0</cx:pt>
          <cx:pt idx="71395">0</cx:pt>
          <cx:pt idx="71396">0</cx:pt>
          <cx:pt idx="71397">0</cx:pt>
          <cx:pt idx="71398">1</cx:pt>
          <cx:pt idx="71399">1</cx:pt>
          <cx:pt idx="71400">1</cx:pt>
          <cx:pt idx="71401">0</cx:pt>
          <cx:pt idx="71402">1</cx:pt>
          <cx:pt idx="71403">1</cx:pt>
          <cx:pt idx="71404">1</cx:pt>
          <cx:pt idx="71405">0</cx:pt>
          <cx:pt idx="71406">0</cx:pt>
          <cx:pt idx="71407">1</cx:pt>
          <cx:pt idx="71408">0</cx:pt>
          <cx:pt idx="71409">0</cx:pt>
          <cx:pt idx="71410">0</cx:pt>
          <cx:pt idx="71411">1</cx:pt>
          <cx:pt idx="71412">1</cx:pt>
          <cx:pt idx="71413">1</cx:pt>
          <cx:pt idx="71414">0</cx:pt>
          <cx:pt idx="71415">1</cx:pt>
          <cx:pt idx="71416">0</cx:pt>
          <cx:pt idx="71417">1</cx:pt>
          <cx:pt idx="71418">1</cx:pt>
          <cx:pt idx="71419">0</cx:pt>
          <cx:pt idx="71420">0</cx:pt>
          <cx:pt idx="71421">0</cx:pt>
          <cx:pt idx="71422">0</cx:pt>
          <cx:pt idx="71423">0</cx:pt>
          <cx:pt idx="71424">1</cx:pt>
          <cx:pt idx="71425">0</cx:pt>
          <cx:pt idx="71426">1</cx:pt>
          <cx:pt idx="71427">0</cx:pt>
          <cx:pt idx="71428">1</cx:pt>
          <cx:pt idx="71429">1</cx:pt>
          <cx:pt idx="71430">1</cx:pt>
          <cx:pt idx="71431">0</cx:pt>
          <cx:pt idx="71432">0</cx:pt>
          <cx:pt idx="71433">1</cx:pt>
          <cx:pt idx="71434">0</cx:pt>
          <cx:pt idx="71435">1</cx:pt>
          <cx:pt idx="71436">0</cx:pt>
          <cx:pt idx="71437">0</cx:pt>
          <cx:pt idx="71438">1</cx:pt>
          <cx:pt idx="71439">1</cx:pt>
          <cx:pt idx="71440">0</cx:pt>
          <cx:pt idx="71441">0</cx:pt>
          <cx:pt idx="71442">0</cx:pt>
          <cx:pt idx="71443">0</cx:pt>
          <cx:pt idx="71444">0</cx:pt>
          <cx:pt idx="71445">0</cx:pt>
          <cx:pt idx="71446">0</cx:pt>
          <cx:pt idx="71447">1</cx:pt>
          <cx:pt idx="71448">1</cx:pt>
          <cx:pt idx="71449">0</cx:pt>
          <cx:pt idx="71450">0</cx:pt>
          <cx:pt idx="71451">0</cx:pt>
          <cx:pt idx="71452">0</cx:pt>
          <cx:pt idx="71453">1</cx:pt>
          <cx:pt idx="71454">1</cx:pt>
          <cx:pt idx="71455">0</cx:pt>
          <cx:pt idx="71456">0</cx:pt>
          <cx:pt idx="71457">1</cx:pt>
          <cx:pt idx="71458">0</cx:pt>
          <cx:pt idx="71459">1</cx:pt>
          <cx:pt idx="71460">0</cx:pt>
          <cx:pt idx="71461">1</cx:pt>
          <cx:pt idx="71462">1</cx:pt>
          <cx:pt idx="71463">0</cx:pt>
          <cx:pt idx="71464">0</cx:pt>
          <cx:pt idx="71465">0</cx:pt>
          <cx:pt idx="71466">1</cx:pt>
          <cx:pt idx="71467">0</cx:pt>
          <cx:pt idx="71468">1</cx:pt>
          <cx:pt idx="71469">1</cx:pt>
          <cx:pt idx="71470">1</cx:pt>
          <cx:pt idx="71471">0</cx:pt>
          <cx:pt idx="71472">1</cx:pt>
          <cx:pt idx="71473">1</cx:pt>
          <cx:pt idx="71474">0</cx:pt>
          <cx:pt idx="71475">0</cx:pt>
          <cx:pt idx="71476">0</cx:pt>
          <cx:pt idx="71477">0</cx:pt>
          <cx:pt idx="71478">1</cx:pt>
          <cx:pt idx="71479">0</cx:pt>
          <cx:pt idx="71480">1</cx:pt>
          <cx:pt idx="71481">1</cx:pt>
          <cx:pt idx="71482">1</cx:pt>
          <cx:pt idx="71483">0</cx:pt>
          <cx:pt idx="71484">1</cx:pt>
          <cx:pt idx="71485">1</cx:pt>
          <cx:pt idx="71486">1</cx:pt>
          <cx:pt idx="71487">0</cx:pt>
          <cx:pt idx="71488">0</cx:pt>
          <cx:pt idx="71489">0</cx:pt>
          <cx:pt idx="71490">1</cx:pt>
          <cx:pt idx="71491">1</cx:pt>
          <cx:pt idx="71492">1</cx:pt>
          <cx:pt idx="71493">0</cx:pt>
          <cx:pt idx="71494">1</cx:pt>
          <cx:pt idx="71495">0</cx:pt>
          <cx:pt idx="71496">1</cx:pt>
          <cx:pt idx="71497">1</cx:pt>
          <cx:pt idx="71498">0</cx:pt>
          <cx:pt idx="71499">0</cx:pt>
          <cx:pt idx="71500">0</cx:pt>
          <cx:pt idx="71501">1</cx:pt>
          <cx:pt idx="71502">0</cx:pt>
          <cx:pt idx="71503">0</cx:pt>
          <cx:pt idx="71504">0</cx:pt>
          <cx:pt idx="71505">0</cx:pt>
          <cx:pt idx="71506">1</cx:pt>
          <cx:pt idx="71507">1</cx:pt>
          <cx:pt idx="71508">1</cx:pt>
          <cx:pt idx="71509">1</cx:pt>
          <cx:pt idx="71510">1</cx:pt>
          <cx:pt idx="71511">0</cx:pt>
          <cx:pt idx="71512">0</cx:pt>
          <cx:pt idx="71513">1</cx:pt>
          <cx:pt idx="71514">0</cx:pt>
          <cx:pt idx="71515">1</cx:pt>
          <cx:pt idx="71516">0</cx:pt>
          <cx:pt idx="71517">0</cx:pt>
          <cx:pt idx="71518">1</cx:pt>
          <cx:pt idx="71519">1</cx:pt>
          <cx:pt idx="71520">0</cx:pt>
          <cx:pt idx="71521">0</cx:pt>
          <cx:pt idx="71522">0</cx:pt>
          <cx:pt idx="71523">1</cx:pt>
          <cx:pt idx="71524">0</cx:pt>
          <cx:pt idx="71525">0</cx:pt>
          <cx:pt idx="71526">0</cx:pt>
          <cx:pt idx="71527">0</cx:pt>
          <cx:pt idx="71528">1</cx:pt>
          <cx:pt idx="71529">0</cx:pt>
          <cx:pt idx="71530">0</cx:pt>
          <cx:pt idx="71531">1</cx:pt>
          <cx:pt idx="71532">0</cx:pt>
          <cx:pt idx="71533">1</cx:pt>
          <cx:pt idx="71534">0</cx:pt>
          <cx:pt idx="71535">1</cx:pt>
          <cx:pt idx="71536">1</cx:pt>
          <cx:pt idx="71537">1</cx:pt>
          <cx:pt idx="71538">0</cx:pt>
          <cx:pt idx="71539">0</cx:pt>
          <cx:pt idx="71540">1</cx:pt>
          <cx:pt idx="71541">0</cx:pt>
          <cx:pt idx="71542">0</cx:pt>
          <cx:pt idx="71543">0</cx:pt>
          <cx:pt idx="71544">1</cx:pt>
          <cx:pt idx="71545">1</cx:pt>
          <cx:pt idx="71546">1</cx:pt>
          <cx:pt idx="71547">1</cx:pt>
          <cx:pt idx="71548">0</cx:pt>
          <cx:pt idx="71549">0</cx:pt>
          <cx:pt idx="71550">0</cx:pt>
          <cx:pt idx="71551">1</cx:pt>
          <cx:pt idx="71552">1</cx:pt>
          <cx:pt idx="71553">1</cx:pt>
          <cx:pt idx="71554">1</cx:pt>
          <cx:pt idx="71555">0</cx:pt>
          <cx:pt idx="71556">1</cx:pt>
          <cx:pt idx="71557">0</cx:pt>
          <cx:pt idx="71558">0</cx:pt>
          <cx:pt idx="71559">1</cx:pt>
          <cx:pt idx="71560">1</cx:pt>
          <cx:pt idx="71561">0</cx:pt>
          <cx:pt idx="71562">0</cx:pt>
          <cx:pt idx="71563">0</cx:pt>
          <cx:pt idx="71564">0</cx:pt>
          <cx:pt idx="71565">1</cx:pt>
          <cx:pt idx="71566">1</cx:pt>
          <cx:pt idx="71567">1</cx:pt>
          <cx:pt idx="71568">0</cx:pt>
          <cx:pt idx="71569">1</cx:pt>
          <cx:pt idx="71570">0</cx:pt>
          <cx:pt idx="71571">1</cx:pt>
          <cx:pt idx="71572">1</cx:pt>
          <cx:pt idx="71573">1</cx:pt>
          <cx:pt idx="71574">1</cx:pt>
          <cx:pt idx="71575">0</cx:pt>
          <cx:pt idx="71576">1</cx:pt>
          <cx:pt idx="71577">0</cx:pt>
          <cx:pt idx="71578">0</cx:pt>
          <cx:pt idx="71579">0</cx:pt>
          <cx:pt idx="71580">0</cx:pt>
          <cx:pt idx="71581">0</cx:pt>
          <cx:pt idx="71582">0</cx:pt>
          <cx:pt idx="71583">0</cx:pt>
          <cx:pt idx="71584">0</cx:pt>
          <cx:pt idx="71585">0</cx:pt>
          <cx:pt idx="71586">0</cx:pt>
          <cx:pt idx="71587">0</cx:pt>
          <cx:pt idx="71588">0</cx:pt>
          <cx:pt idx="71589">0</cx:pt>
          <cx:pt idx="71590">0</cx:pt>
          <cx:pt idx="71591">0</cx:pt>
          <cx:pt idx="71592">0</cx:pt>
          <cx:pt idx="71593">0</cx:pt>
          <cx:pt idx="71594">0</cx:pt>
          <cx:pt idx="71595">1</cx:pt>
          <cx:pt idx="71596">0</cx:pt>
          <cx:pt idx="71597">0</cx:pt>
          <cx:pt idx="71598">0</cx:pt>
          <cx:pt idx="71599">0</cx:pt>
          <cx:pt idx="71600">0</cx:pt>
          <cx:pt idx="71601">0</cx:pt>
          <cx:pt idx="71602">0</cx:pt>
          <cx:pt idx="71603">0</cx:pt>
          <cx:pt idx="71604">0</cx:pt>
          <cx:pt idx="71605">0</cx:pt>
          <cx:pt idx="71606">1</cx:pt>
          <cx:pt idx="71607">1</cx:pt>
          <cx:pt idx="71608">1</cx:pt>
          <cx:pt idx="71609">1</cx:pt>
          <cx:pt idx="71610">0</cx:pt>
          <cx:pt idx="71611">1</cx:pt>
          <cx:pt idx="71612">0</cx:pt>
          <cx:pt idx="71613">0</cx:pt>
          <cx:pt idx="71614">0</cx:pt>
          <cx:pt idx="71615">0</cx:pt>
          <cx:pt idx="71616">1</cx:pt>
          <cx:pt idx="71617">0</cx:pt>
          <cx:pt idx="71618">1</cx:pt>
          <cx:pt idx="71619">0</cx:pt>
          <cx:pt idx="71620">0</cx:pt>
          <cx:pt idx="71621">1</cx:pt>
          <cx:pt idx="71622">0</cx:pt>
          <cx:pt idx="71623">0</cx:pt>
          <cx:pt idx="71624">0</cx:pt>
          <cx:pt idx="71625">1</cx:pt>
          <cx:pt idx="71626">0</cx:pt>
          <cx:pt idx="71627">1</cx:pt>
          <cx:pt idx="71628">0</cx:pt>
          <cx:pt idx="71629">0</cx:pt>
          <cx:pt idx="71630">0</cx:pt>
          <cx:pt idx="71631">0</cx:pt>
          <cx:pt idx="71632">0</cx:pt>
          <cx:pt idx="71633">0</cx:pt>
          <cx:pt idx="71634">0</cx:pt>
          <cx:pt idx="71635">1</cx:pt>
          <cx:pt idx="71636">0</cx:pt>
          <cx:pt idx="71637">0</cx:pt>
          <cx:pt idx="71638">0</cx:pt>
          <cx:pt idx="71639">0</cx:pt>
          <cx:pt idx="71640">1</cx:pt>
          <cx:pt idx="71641">0</cx:pt>
          <cx:pt idx="71642">0</cx:pt>
          <cx:pt idx="71643">1</cx:pt>
          <cx:pt idx="71644">1</cx:pt>
          <cx:pt idx="71645">1</cx:pt>
          <cx:pt idx="71646">0</cx:pt>
          <cx:pt idx="71647">1</cx:pt>
          <cx:pt idx="71648">1</cx:pt>
          <cx:pt idx="71649">0</cx:pt>
          <cx:pt idx="71650">0</cx:pt>
          <cx:pt idx="71651">1</cx:pt>
          <cx:pt idx="71652">1</cx:pt>
          <cx:pt idx="71653">0</cx:pt>
          <cx:pt idx="71654">1</cx:pt>
          <cx:pt idx="71655">0</cx:pt>
          <cx:pt idx="71656">1</cx:pt>
          <cx:pt idx="71657">1</cx:pt>
          <cx:pt idx="71658">0</cx:pt>
          <cx:pt idx="71659">1</cx:pt>
          <cx:pt idx="71660">0</cx:pt>
          <cx:pt idx="71661">0</cx:pt>
          <cx:pt idx="71662">1</cx:pt>
          <cx:pt idx="71663">1</cx:pt>
          <cx:pt idx="71664">1</cx:pt>
          <cx:pt idx="71665">0</cx:pt>
          <cx:pt idx="71666">0</cx:pt>
          <cx:pt idx="71667">0</cx:pt>
          <cx:pt idx="71668">1</cx:pt>
          <cx:pt idx="71669">1</cx:pt>
          <cx:pt idx="71670">0</cx:pt>
          <cx:pt idx="71671">1</cx:pt>
          <cx:pt idx="71672">1</cx:pt>
          <cx:pt idx="71673">1</cx:pt>
          <cx:pt idx="71674">0</cx:pt>
          <cx:pt idx="71675">0</cx:pt>
          <cx:pt idx="71676">1</cx:pt>
          <cx:pt idx="71677">0</cx:pt>
          <cx:pt idx="71678">0</cx:pt>
          <cx:pt idx="71679">1</cx:pt>
          <cx:pt idx="71680">0</cx:pt>
          <cx:pt idx="71681">1</cx:pt>
          <cx:pt idx="71682">1</cx:pt>
          <cx:pt idx="71683">0</cx:pt>
          <cx:pt idx="71684">0</cx:pt>
          <cx:pt idx="71685">0</cx:pt>
          <cx:pt idx="71686">0</cx:pt>
          <cx:pt idx="71687">0</cx:pt>
          <cx:pt idx="71688">0</cx:pt>
          <cx:pt idx="71689">1</cx:pt>
          <cx:pt idx="71690">1</cx:pt>
          <cx:pt idx="71691">1</cx:pt>
          <cx:pt idx="71692">0</cx:pt>
          <cx:pt idx="71693">0</cx:pt>
          <cx:pt idx="71694">0</cx:pt>
          <cx:pt idx="71695">0</cx:pt>
          <cx:pt idx="71696">0</cx:pt>
          <cx:pt idx="71697">0</cx:pt>
          <cx:pt idx="71698">0</cx:pt>
          <cx:pt idx="71699">0</cx:pt>
          <cx:pt idx="71700">0</cx:pt>
          <cx:pt idx="71701">1</cx:pt>
          <cx:pt idx="71702">1</cx:pt>
          <cx:pt idx="71703">1</cx:pt>
          <cx:pt idx="71704">1</cx:pt>
          <cx:pt idx="71705">1</cx:pt>
          <cx:pt idx="71706">1</cx:pt>
          <cx:pt idx="71707">0</cx:pt>
          <cx:pt idx="71708">1</cx:pt>
          <cx:pt idx="71709">0</cx:pt>
          <cx:pt idx="71710">1</cx:pt>
          <cx:pt idx="71711">0</cx:pt>
          <cx:pt idx="71712">1</cx:pt>
          <cx:pt idx="71713">0</cx:pt>
          <cx:pt idx="71714">1</cx:pt>
          <cx:pt idx="71715">0</cx:pt>
          <cx:pt idx="71716">1</cx:pt>
          <cx:pt idx="71717">0</cx:pt>
          <cx:pt idx="71718">0</cx:pt>
          <cx:pt idx="71719">0</cx:pt>
          <cx:pt idx="71720">0</cx:pt>
          <cx:pt idx="71721">0</cx:pt>
          <cx:pt idx="71722">1</cx:pt>
          <cx:pt idx="71723">1</cx:pt>
          <cx:pt idx="71724">1</cx:pt>
          <cx:pt idx="71725">1</cx:pt>
          <cx:pt idx="71726">1</cx:pt>
          <cx:pt idx="71727">1</cx:pt>
          <cx:pt idx="71728">0</cx:pt>
          <cx:pt idx="71729">0</cx:pt>
          <cx:pt idx="71730">0</cx:pt>
          <cx:pt idx="71731">0</cx:pt>
          <cx:pt idx="71732">1</cx:pt>
          <cx:pt idx="71733">0</cx:pt>
          <cx:pt idx="71734">0</cx:pt>
          <cx:pt idx="71735">1</cx:pt>
          <cx:pt idx="71736">1</cx:pt>
          <cx:pt idx="71737">0</cx:pt>
          <cx:pt idx="71738">1</cx:pt>
          <cx:pt idx="71739">1</cx:pt>
          <cx:pt idx="71740">1</cx:pt>
          <cx:pt idx="71741">1</cx:pt>
          <cx:pt idx="71742">1</cx:pt>
          <cx:pt idx="71743">1</cx:pt>
          <cx:pt idx="71744">1</cx:pt>
          <cx:pt idx="71745">1</cx:pt>
          <cx:pt idx="71746">1</cx:pt>
          <cx:pt idx="71747">0</cx:pt>
          <cx:pt idx="71748">0</cx:pt>
          <cx:pt idx="71749">1</cx:pt>
          <cx:pt idx="71750">1</cx:pt>
          <cx:pt idx="71751">0</cx:pt>
          <cx:pt idx="71752">0</cx:pt>
          <cx:pt idx="71753">0</cx:pt>
          <cx:pt idx="71754">0</cx:pt>
          <cx:pt idx="71755">0</cx:pt>
          <cx:pt idx="71756">1</cx:pt>
          <cx:pt idx="71757">0</cx:pt>
          <cx:pt idx="71758">0</cx:pt>
          <cx:pt idx="71759">0</cx:pt>
          <cx:pt idx="71760">1</cx:pt>
          <cx:pt idx="71761">0</cx:pt>
          <cx:pt idx="71762">1</cx:pt>
          <cx:pt idx="71763">1</cx:pt>
          <cx:pt idx="71764">0</cx:pt>
          <cx:pt idx="71765">0</cx:pt>
          <cx:pt idx="71766">1</cx:pt>
          <cx:pt idx="71767">0</cx:pt>
          <cx:pt idx="71768">0</cx:pt>
          <cx:pt idx="71769">0</cx:pt>
          <cx:pt idx="71770">0</cx:pt>
          <cx:pt idx="71771">1</cx:pt>
          <cx:pt idx="71772">0</cx:pt>
          <cx:pt idx="71773">1</cx:pt>
          <cx:pt idx="71774">0</cx:pt>
          <cx:pt idx="71775">0</cx:pt>
          <cx:pt idx="71776">1</cx:pt>
          <cx:pt idx="71777">0</cx:pt>
          <cx:pt idx="71778">0</cx:pt>
          <cx:pt idx="71779">0</cx:pt>
          <cx:pt idx="71780">0</cx:pt>
          <cx:pt idx="71781">0</cx:pt>
          <cx:pt idx="71782">0</cx:pt>
          <cx:pt idx="71783">0</cx:pt>
          <cx:pt idx="71784">0</cx:pt>
          <cx:pt idx="71785">0</cx:pt>
          <cx:pt idx="71786">0</cx:pt>
          <cx:pt idx="71787">0</cx:pt>
          <cx:pt idx="71788">1</cx:pt>
          <cx:pt idx="71789">1</cx:pt>
          <cx:pt idx="71790">0</cx:pt>
          <cx:pt idx="71791">0</cx:pt>
          <cx:pt idx="71792">0</cx:pt>
          <cx:pt idx="71793">0</cx:pt>
          <cx:pt idx="71794">0</cx:pt>
          <cx:pt idx="71795">1</cx:pt>
          <cx:pt idx="71796">0</cx:pt>
          <cx:pt idx="71797">0</cx:pt>
          <cx:pt idx="71798">0</cx:pt>
          <cx:pt idx="71799">0</cx:pt>
          <cx:pt idx="71800">0</cx:pt>
          <cx:pt idx="71801">0</cx:pt>
          <cx:pt idx="71802">1</cx:pt>
          <cx:pt idx="71803">0</cx:pt>
          <cx:pt idx="71804">1</cx:pt>
          <cx:pt idx="71805">1</cx:pt>
          <cx:pt idx="71806">0</cx:pt>
          <cx:pt idx="71807">0</cx:pt>
          <cx:pt idx="71808">1</cx:pt>
          <cx:pt idx="71809">1</cx:pt>
          <cx:pt idx="71810">1</cx:pt>
          <cx:pt idx="71811">0</cx:pt>
          <cx:pt idx="71812">0</cx:pt>
          <cx:pt idx="71813">0</cx:pt>
          <cx:pt idx="71814">0</cx:pt>
          <cx:pt idx="71815">0</cx:pt>
          <cx:pt idx="71816">0</cx:pt>
          <cx:pt idx="71817">0</cx:pt>
          <cx:pt idx="71818">0</cx:pt>
          <cx:pt idx="71819">0</cx:pt>
          <cx:pt idx="71820">1</cx:pt>
          <cx:pt idx="71821">1</cx:pt>
          <cx:pt idx="71822">0</cx:pt>
          <cx:pt idx="71823">0</cx:pt>
          <cx:pt idx="71824">1</cx:pt>
          <cx:pt idx="71825">0</cx:pt>
          <cx:pt idx="71826">0</cx:pt>
          <cx:pt idx="71827">1</cx:pt>
          <cx:pt idx="71828">1</cx:pt>
          <cx:pt idx="71829">0</cx:pt>
          <cx:pt idx="71830">1</cx:pt>
          <cx:pt idx="71831">1</cx:pt>
          <cx:pt idx="71832">0</cx:pt>
          <cx:pt idx="71833">0</cx:pt>
          <cx:pt idx="71834">0</cx:pt>
          <cx:pt idx="71835">0</cx:pt>
          <cx:pt idx="71836">1</cx:pt>
          <cx:pt idx="71837">0</cx:pt>
          <cx:pt idx="71838">1</cx:pt>
          <cx:pt idx="71839">1</cx:pt>
          <cx:pt idx="71840">0</cx:pt>
          <cx:pt idx="71841">0</cx:pt>
          <cx:pt idx="71842">1</cx:pt>
          <cx:pt idx="71843">1</cx:pt>
          <cx:pt idx="71844">1</cx:pt>
          <cx:pt idx="71845">0</cx:pt>
          <cx:pt idx="71846">0</cx:pt>
          <cx:pt idx="71847">0</cx:pt>
          <cx:pt idx="71848">1</cx:pt>
          <cx:pt idx="71849">0</cx:pt>
          <cx:pt idx="71850">1</cx:pt>
          <cx:pt idx="71851">1</cx:pt>
          <cx:pt idx="71852">1</cx:pt>
          <cx:pt idx="71853">0</cx:pt>
          <cx:pt idx="71854">1</cx:pt>
          <cx:pt idx="71855">0</cx:pt>
          <cx:pt idx="71856">0</cx:pt>
          <cx:pt idx="71857">0</cx:pt>
          <cx:pt idx="71858">1</cx:pt>
          <cx:pt idx="71859">0</cx:pt>
          <cx:pt idx="71860">0</cx:pt>
          <cx:pt idx="71861">1</cx:pt>
          <cx:pt idx="71862">1</cx:pt>
          <cx:pt idx="71863">0</cx:pt>
          <cx:pt idx="71864">1</cx:pt>
          <cx:pt idx="71865">0</cx:pt>
          <cx:pt idx="71866">0</cx:pt>
          <cx:pt idx="71867">0</cx:pt>
          <cx:pt idx="71868">0</cx:pt>
          <cx:pt idx="71869">0</cx:pt>
          <cx:pt idx="71870">0</cx:pt>
          <cx:pt idx="71871">1</cx:pt>
          <cx:pt idx="71872">0</cx:pt>
          <cx:pt idx="71873">1</cx:pt>
          <cx:pt idx="71874">1</cx:pt>
          <cx:pt idx="71875">0</cx:pt>
          <cx:pt idx="71876">0</cx:pt>
          <cx:pt idx="71877">0</cx:pt>
          <cx:pt idx="71878">1</cx:pt>
          <cx:pt idx="71879">0</cx:pt>
          <cx:pt idx="71880">1</cx:pt>
          <cx:pt idx="71881">0</cx:pt>
          <cx:pt idx="71882">0</cx:pt>
          <cx:pt idx="71883">0</cx:pt>
          <cx:pt idx="71884">0</cx:pt>
          <cx:pt idx="71885">0</cx:pt>
          <cx:pt idx="71886">0</cx:pt>
          <cx:pt idx="71887">1</cx:pt>
          <cx:pt idx="71888">1</cx:pt>
          <cx:pt idx="71889">0</cx:pt>
          <cx:pt idx="71890">0</cx:pt>
          <cx:pt idx="71891">0</cx:pt>
          <cx:pt idx="71892">0</cx:pt>
          <cx:pt idx="71893">0</cx:pt>
          <cx:pt idx="71894">0</cx:pt>
          <cx:pt idx="71895">1</cx:pt>
          <cx:pt idx="71896">0</cx:pt>
          <cx:pt idx="71897">0</cx:pt>
          <cx:pt idx="71898">1</cx:pt>
          <cx:pt idx="71899">0</cx:pt>
          <cx:pt idx="71900">1</cx:pt>
          <cx:pt idx="71901">0</cx:pt>
          <cx:pt idx="71902">0</cx:pt>
          <cx:pt idx="71903">0</cx:pt>
          <cx:pt idx="71904">0</cx:pt>
          <cx:pt idx="71905">1</cx:pt>
          <cx:pt idx="71906">0</cx:pt>
          <cx:pt idx="71907">0</cx:pt>
          <cx:pt idx="71908">0</cx:pt>
          <cx:pt idx="71909">0</cx:pt>
          <cx:pt idx="71910">0</cx:pt>
          <cx:pt idx="71911">0</cx:pt>
          <cx:pt idx="71912">0</cx:pt>
          <cx:pt idx="71913">1</cx:pt>
          <cx:pt idx="71914">0</cx:pt>
          <cx:pt idx="71915">0</cx:pt>
          <cx:pt idx="71916">0</cx:pt>
          <cx:pt idx="71917">1</cx:pt>
          <cx:pt idx="71918">1</cx:pt>
          <cx:pt idx="71919">0</cx:pt>
          <cx:pt idx="71920">0</cx:pt>
          <cx:pt idx="71921">0</cx:pt>
          <cx:pt idx="71922">0</cx:pt>
          <cx:pt idx="71923">1</cx:pt>
          <cx:pt idx="71924">0</cx:pt>
          <cx:pt idx="71925">1</cx:pt>
          <cx:pt idx="71926">0</cx:pt>
          <cx:pt idx="71927">1</cx:pt>
          <cx:pt idx="71928">0</cx:pt>
          <cx:pt idx="71929">1</cx:pt>
          <cx:pt idx="71930">1</cx:pt>
          <cx:pt idx="71931">0</cx:pt>
          <cx:pt idx="71932">0</cx:pt>
          <cx:pt idx="71933">0</cx:pt>
          <cx:pt idx="71934">0</cx:pt>
          <cx:pt idx="71935">1</cx:pt>
          <cx:pt idx="71936">1</cx:pt>
          <cx:pt idx="71937">0</cx:pt>
          <cx:pt idx="71938">0</cx:pt>
          <cx:pt idx="71939">0</cx:pt>
          <cx:pt idx="71940">0</cx:pt>
          <cx:pt idx="71941">1</cx:pt>
          <cx:pt idx="71942">0</cx:pt>
          <cx:pt idx="71943">1</cx:pt>
          <cx:pt idx="71944">1</cx:pt>
          <cx:pt idx="71945">0</cx:pt>
          <cx:pt idx="71946">0</cx:pt>
          <cx:pt idx="71947">0</cx:pt>
          <cx:pt idx="71948">0</cx:pt>
          <cx:pt idx="71949">0</cx:pt>
          <cx:pt idx="71950">1</cx:pt>
          <cx:pt idx="71951">1</cx:pt>
          <cx:pt idx="71952">1</cx:pt>
          <cx:pt idx="71953">0</cx:pt>
          <cx:pt idx="71954">0</cx:pt>
          <cx:pt idx="71955">0</cx:pt>
          <cx:pt idx="71956">1</cx:pt>
          <cx:pt idx="71957">0</cx:pt>
          <cx:pt idx="71958">0</cx:pt>
          <cx:pt idx="71959">0</cx:pt>
          <cx:pt idx="71960">1</cx:pt>
          <cx:pt idx="71961">1</cx:pt>
          <cx:pt idx="71962">0</cx:pt>
          <cx:pt idx="71963">0</cx:pt>
          <cx:pt idx="71964">0</cx:pt>
          <cx:pt idx="71965">1</cx:pt>
          <cx:pt idx="71966">1</cx:pt>
          <cx:pt idx="71967">0</cx:pt>
          <cx:pt idx="71968">0</cx:pt>
          <cx:pt idx="71969">1</cx:pt>
          <cx:pt idx="71970">0</cx:pt>
          <cx:pt idx="71971">0</cx:pt>
          <cx:pt idx="71972">0</cx:pt>
          <cx:pt idx="71973">0</cx:pt>
          <cx:pt idx="71974">0</cx:pt>
          <cx:pt idx="71975">0</cx:pt>
          <cx:pt idx="71976">0</cx:pt>
          <cx:pt idx="71977">1</cx:pt>
          <cx:pt idx="71978">0</cx:pt>
          <cx:pt idx="71979">0</cx:pt>
          <cx:pt idx="71980">1</cx:pt>
          <cx:pt idx="71981">0</cx:pt>
          <cx:pt idx="71982">1</cx:pt>
          <cx:pt idx="71983">0</cx:pt>
          <cx:pt idx="71984">1</cx:pt>
          <cx:pt idx="71985">0</cx:pt>
          <cx:pt idx="71986">1</cx:pt>
          <cx:pt idx="71987">1</cx:pt>
          <cx:pt idx="71988">1</cx:pt>
          <cx:pt idx="71989">1</cx:pt>
          <cx:pt idx="71990">1</cx:pt>
          <cx:pt idx="71991">0</cx:pt>
          <cx:pt idx="71992">1</cx:pt>
          <cx:pt idx="71993">1</cx:pt>
          <cx:pt idx="71994">1</cx:pt>
          <cx:pt idx="71995">1</cx:pt>
          <cx:pt idx="71996">1</cx:pt>
          <cx:pt idx="71997">1</cx:pt>
          <cx:pt idx="71998">0</cx:pt>
          <cx:pt idx="71999">1</cx:pt>
          <cx:pt idx="72000">0</cx:pt>
          <cx:pt idx="72001">1</cx:pt>
          <cx:pt idx="72002">1</cx:pt>
          <cx:pt idx="72003">1</cx:pt>
          <cx:pt idx="72004">0</cx:pt>
          <cx:pt idx="72005">0</cx:pt>
          <cx:pt idx="72006">1</cx:pt>
          <cx:pt idx="72007">0</cx:pt>
          <cx:pt idx="72008">0</cx:pt>
          <cx:pt idx="72009">1</cx:pt>
          <cx:pt idx="72010">1</cx:pt>
          <cx:pt idx="72011">0</cx:pt>
          <cx:pt idx="72012">1</cx:pt>
          <cx:pt idx="72013">0</cx:pt>
          <cx:pt idx="72014">0</cx:pt>
          <cx:pt idx="72015">1</cx:pt>
          <cx:pt idx="72016">0</cx:pt>
          <cx:pt idx="72017">0</cx:pt>
          <cx:pt idx="72018">0</cx:pt>
          <cx:pt idx="72019">0</cx:pt>
          <cx:pt idx="72020">0</cx:pt>
          <cx:pt idx="72021">0</cx:pt>
          <cx:pt idx="72022">0</cx:pt>
          <cx:pt idx="72023">0</cx:pt>
          <cx:pt idx="72024">0</cx:pt>
          <cx:pt idx="72025">0</cx:pt>
          <cx:pt idx="72026">1</cx:pt>
          <cx:pt idx="72027">0</cx:pt>
          <cx:pt idx="72028">0</cx:pt>
          <cx:pt idx="72029">1</cx:pt>
          <cx:pt idx="72030">1</cx:pt>
          <cx:pt idx="72031">0</cx:pt>
          <cx:pt idx="72032">0</cx:pt>
          <cx:pt idx="72033">1</cx:pt>
          <cx:pt idx="72034">0</cx:pt>
          <cx:pt idx="72035">0</cx:pt>
          <cx:pt idx="72036">0</cx:pt>
          <cx:pt idx="72037">0</cx:pt>
          <cx:pt idx="72038">0</cx:pt>
          <cx:pt idx="72039">0</cx:pt>
          <cx:pt idx="72040">1</cx:pt>
          <cx:pt idx="72041">1</cx:pt>
          <cx:pt idx="72042">1</cx:pt>
          <cx:pt idx="72043">0</cx:pt>
          <cx:pt idx="72044">1</cx:pt>
          <cx:pt idx="72045">1</cx:pt>
          <cx:pt idx="72046">0</cx:pt>
          <cx:pt idx="72047">1</cx:pt>
          <cx:pt idx="72048">0</cx:pt>
          <cx:pt idx="72049">0</cx:pt>
          <cx:pt idx="72050">1</cx:pt>
          <cx:pt idx="72051">0</cx:pt>
          <cx:pt idx="72052">0</cx:pt>
          <cx:pt idx="72053">1</cx:pt>
          <cx:pt idx="72054">1</cx:pt>
          <cx:pt idx="72055">0</cx:pt>
          <cx:pt idx="72056">0</cx:pt>
          <cx:pt idx="72057">0</cx:pt>
          <cx:pt idx="72058">1</cx:pt>
          <cx:pt idx="72059">0</cx:pt>
          <cx:pt idx="72060">1</cx:pt>
          <cx:pt idx="72061">1</cx:pt>
          <cx:pt idx="72062">0</cx:pt>
          <cx:pt idx="72063">1</cx:pt>
          <cx:pt idx="72064">0</cx:pt>
          <cx:pt idx="72065">0</cx:pt>
          <cx:pt idx="72066">0</cx:pt>
          <cx:pt idx="72067">1</cx:pt>
          <cx:pt idx="72068">1</cx:pt>
          <cx:pt idx="72069">0</cx:pt>
          <cx:pt idx="72070">0</cx:pt>
          <cx:pt idx="72071">1</cx:pt>
          <cx:pt idx="72072">0</cx:pt>
          <cx:pt idx="72073">0</cx:pt>
          <cx:pt idx="72074">1</cx:pt>
          <cx:pt idx="72075">0</cx:pt>
          <cx:pt idx="72076">0</cx:pt>
          <cx:pt idx="72077">0</cx:pt>
          <cx:pt idx="72078">1</cx:pt>
          <cx:pt idx="72079">1</cx:pt>
          <cx:pt idx="72080">1</cx:pt>
          <cx:pt idx="72081">0</cx:pt>
          <cx:pt idx="72082">0</cx:pt>
          <cx:pt idx="72083">0</cx:pt>
          <cx:pt idx="72084">0</cx:pt>
          <cx:pt idx="72085">0</cx:pt>
          <cx:pt idx="72086">0</cx:pt>
          <cx:pt idx="72087">1</cx:pt>
          <cx:pt idx="72088">0</cx:pt>
          <cx:pt idx="72089">0</cx:pt>
          <cx:pt idx="72090">1</cx:pt>
          <cx:pt idx="72091">0</cx:pt>
          <cx:pt idx="72092">0</cx:pt>
          <cx:pt idx="72093">0</cx:pt>
          <cx:pt idx="72094">1</cx:pt>
          <cx:pt idx="72095">0</cx:pt>
          <cx:pt idx="72096">0</cx:pt>
          <cx:pt idx="72097">0</cx:pt>
          <cx:pt idx="72098">0</cx:pt>
          <cx:pt idx="72099">0</cx:pt>
          <cx:pt idx="72100">0</cx:pt>
          <cx:pt idx="72101">1</cx:pt>
          <cx:pt idx="72102">1</cx:pt>
          <cx:pt idx="72103">0</cx:pt>
          <cx:pt idx="72104">0</cx:pt>
          <cx:pt idx="72105">0</cx:pt>
          <cx:pt idx="72106">1</cx:pt>
          <cx:pt idx="72107">0</cx:pt>
          <cx:pt idx="72108">1</cx:pt>
          <cx:pt idx="72109">0</cx:pt>
          <cx:pt idx="72110">1</cx:pt>
          <cx:pt idx="72111">1</cx:pt>
          <cx:pt idx="72112">1</cx:pt>
          <cx:pt idx="72113">0</cx:pt>
          <cx:pt idx="72114">1</cx:pt>
          <cx:pt idx="72115">0</cx:pt>
          <cx:pt idx="72116">0</cx:pt>
          <cx:pt idx="72117">0</cx:pt>
          <cx:pt idx="72118">0</cx:pt>
          <cx:pt idx="72119">0</cx:pt>
          <cx:pt idx="72120">0</cx:pt>
          <cx:pt idx="72121">1</cx:pt>
          <cx:pt idx="72122">0</cx:pt>
          <cx:pt idx="72123">0</cx:pt>
          <cx:pt idx="72124">0</cx:pt>
          <cx:pt idx="72125">0</cx:pt>
          <cx:pt idx="72126">1</cx:pt>
          <cx:pt idx="72127">0</cx:pt>
          <cx:pt idx="72128">0</cx:pt>
          <cx:pt idx="72129">0</cx:pt>
          <cx:pt idx="72130">1</cx:pt>
          <cx:pt idx="72131">0</cx:pt>
          <cx:pt idx="72132">1</cx:pt>
          <cx:pt idx="72133">1</cx:pt>
          <cx:pt idx="72134">0</cx:pt>
          <cx:pt idx="72135">0</cx:pt>
          <cx:pt idx="72136">0</cx:pt>
          <cx:pt idx="72137">1</cx:pt>
          <cx:pt idx="72138">1</cx:pt>
          <cx:pt idx="72139">1</cx:pt>
          <cx:pt idx="72140">0</cx:pt>
          <cx:pt idx="72141">0</cx:pt>
          <cx:pt idx="72142">1</cx:pt>
          <cx:pt idx="72143">0</cx:pt>
          <cx:pt idx="72144">0</cx:pt>
          <cx:pt idx="72145">0</cx:pt>
          <cx:pt idx="72146">0</cx:pt>
          <cx:pt idx="72147">0</cx:pt>
          <cx:pt idx="72148">0</cx:pt>
          <cx:pt idx="72149">0</cx:pt>
          <cx:pt idx="72150">1</cx:pt>
          <cx:pt idx="72151">0</cx:pt>
          <cx:pt idx="72152">1</cx:pt>
          <cx:pt idx="72153">1</cx:pt>
          <cx:pt idx="72154">1</cx:pt>
          <cx:pt idx="72155">1</cx:pt>
          <cx:pt idx="72156">0</cx:pt>
          <cx:pt idx="72157">0</cx:pt>
          <cx:pt idx="72158">1</cx:pt>
          <cx:pt idx="72159">0</cx:pt>
          <cx:pt idx="72160">0</cx:pt>
          <cx:pt idx="72161">0</cx:pt>
          <cx:pt idx="72162">0</cx:pt>
          <cx:pt idx="72163">0</cx:pt>
          <cx:pt idx="72164">0</cx:pt>
          <cx:pt idx="72165">1</cx:pt>
          <cx:pt idx="72166">0</cx:pt>
          <cx:pt idx="72167">0</cx:pt>
          <cx:pt idx="72168">0</cx:pt>
          <cx:pt idx="72169">1</cx:pt>
          <cx:pt idx="72170">1</cx:pt>
          <cx:pt idx="72171">0</cx:pt>
          <cx:pt idx="72172">1</cx:pt>
          <cx:pt idx="72173">1</cx:pt>
          <cx:pt idx="72174">1</cx:pt>
          <cx:pt idx="72175">1</cx:pt>
          <cx:pt idx="72176">1</cx:pt>
          <cx:pt idx="72177">0</cx:pt>
          <cx:pt idx="72178">0</cx:pt>
          <cx:pt idx="72179">1</cx:pt>
          <cx:pt idx="72180">0</cx:pt>
          <cx:pt idx="72181">0</cx:pt>
          <cx:pt idx="72182">0</cx:pt>
          <cx:pt idx="72183">1</cx:pt>
          <cx:pt idx="72184">0</cx:pt>
          <cx:pt idx="72185">1</cx:pt>
          <cx:pt idx="72186">0</cx:pt>
          <cx:pt idx="72187">0</cx:pt>
          <cx:pt idx="72188">0</cx:pt>
          <cx:pt idx="72189">0</cx:pt>
          <cx:pt idx="72190">0</cx:pt>
          <cx:pt idx="72191">0</cx:pt>
          <cx:pt idx="72192">1</cx:pt>
          <cx:pt idx="72193">0</cx:pt>
          <cx:pt idx="72194">0</cx:pt>
          <cx:pt idx="72195">0</cx:pt>
          <cx:pt idx="72196">0</cx:pt>
          <cx:pt idx="72197">0</cx:pt>
          <cx:pt idx="72198">0</cx:pt>
          <cx:pt idx="72199">1</cx:pt>
          <cx:pt idx="72200">0</cx:pt>
          <cx:pt idx="72201">0</cx:pt>
          <cx:pt idx="72202">0</cx:pt>
          <cx:pt idx="72203">1</cx:pt>
          <cx:pt idx="72204">0</cx:pt>
          <cx:pt idx="72205">0</cx:pt>
          <cx:pt idx="72206">0</cx:pt>
          <cx:pt idx="72207">0</cx:pt>
          <cx:pt idx="72208">1</cx:pt>
          <cx:pt idx="72209">0</cx:pt>
          <cx:pt idx="72210">1</cx:pt>
          <cx:pt idx="72211">1</cx:pt>
          <cx:pt idx="72212">0</cx:pt>
          <cx:pt idx="72213">0</cx:pt>
          <cx:pt idx="72214">1</cx:pt>
          <cx:pt idx="72215">0</cx:pt>
          <cx:pt idx="72216">1</cx:pt>
          <cx:pt idx="72217">1</cx:pt>
          <cx:pt idx="72218">0</cx:pt>
          <cx:pt idx="72219">0</cx:pt>
          <cx:pt idx="72220">1</cx:pt>
          <cx:pt idx="72221">1</cx:pt>
          <cx:pt idx="72222">0</cx:pt>
          <cx:pt idx="72223">1</cx:pt>
          <cx:pt idx="72224">1</cx:pt>
          <cx:pt idx="72225">1</cx:pt>
          <cx:pt idx="72226">1</cx:pt>
          <cx:pt idx="72227">0</cx:pt>
          <cx:pt idx="72228">1</cx:pt>
          <cx:pt idx="72229">0</cx:pt>
          <cx:pt idx="72230">0</cx:pt>
          <cx:pt idx="72231">1</cx:pt>
          <cx:pt idx="72232">0</cx:pt>
          <cx:pt idx="72233">1</cx:pt>
          <cx:pt idx="72234">0</cx:pt>
          <cx:pt idx="72235">0</cx:pt>
          <cx:pt idx="72236">0</cx:pt>
          <cx:pt idx="72237">0</cx:pt>
          <cx:pt idx="72238">1</cx:pt>
          <cx:pt idx="72239">1</cx:pt>
          <cx:pt idx="72240">1</cx:pt>
          <cx:pt idx="72241">1</cx:pt>
          <cx:pt idx="72242">1</cx:pt>
          <cx:pt idx="72243">1</cx:pt>
          <cx:pt idx="72244">1</cx:pt>
          <cx:pt idx="72245">0</cx:pt>
          <cx:pt idx="72246">0</cx:pt>
          <cx:pt idx="72247">0</cx:pt>
          <cx:pt idx="72248">0</cx:pt>
          <cx:pt idx="72249">0</cx:pt>
          <cx:pt idx="72250">1</cx:pt>
          <cx:pt idx="72251">0</cx:pt>
          <cx:pt idx="72252">1</cx:pt>
          <cx:pt idx="72253">1</cx:pt>
          <cx:pt idx="72254">0</cx:pt>
          <cx:pt idx="72255">0</cx:pt>
          <cx:pt idx="72256">1</cx:pt>
          <cx:pt idx="72257">0</cx:pt>
          <cx:pt idx="72258">0</cx:pt>
          <cx:pt idx="72259">0</cx:pt>
          <cx:pt idx="72260">1</cx:pt>
          <cx:pt idx="72261">0</cx:pt>
          <cx:pt idx="72262">0</cx:pt>
          <cx:pt idx="72263">0</cx:pt>
          <cx:pt idx="72264">1</cx:pt>
          <cx:pt idx="72265">1</cx:pt>
          <cx:pt idx="72266">1</cx:pt>
          <cx:pt idx="72267">0</cx:pt>
          <cx:pt idx="72268">1</cx:pt>
          <cx:pt idx="72269">1</cx:pt>
          <cx:pt idx="72270">1</cx:pt>
          <cx:pt idx="72271">1</cx:pt>
          <cx:pt idx="72272">0</cx:pt>
          <cx:pt idx="72273">0</cx:pt>
          <cx:pt idx="72274">0</cx:pt>
          <cx:pt idx="72275">1</cx:pt>
          <cx:pt idx="72276">0</cx:pt>
          <cx:pt idx="72277">0</cx:pt>
          <cx:pt idx="72278">0</cx:pt>
          <cx:pt idx="72279">1</cx:pt>
          <cx:pt idx="72280">0</cx:pt>
          <cx:pt idx="72281">0</cx:pt>
          <cx:pt idx="72282">1</cx:pt>
          <cx:pt idx="72283">1</cx:pt>
          <cx:pt idx="72284">1</cx:pt>
          <cx:pt idx="72285">1</cx:pt>
          <cx:pt idx="72286">1</cx:pt>
          <cx:pt idx="72287">0</cx:pt>
          <cx:pt idx="72288">0</cx:pt>
          <cx:pt idx="72289">1</cx:pt>
          <cx:pt idx="72290">0</cx:pt>
          <cx:pt idx="72291">1</cx:pt>
          <cx:pt idx="72292">1</cx:pt>
          <cx:pt idx="72293">1</cx:pt>
          <cx:pt idx="72294">0</cx:pt>
          <cx:pt idx="72295">0</cx:pt>
          <cx:pt idx="72296">1</cx:pt>
          <cx:pt idx="72297">0</cx:pt>
          <cx:pt idx="72298">0</cx:pt>
          <cx:pt idx="72299">0</cx:pt>
          <cx:pt idx="72300">1</cx:pt>
          <cx:pt idx="72301">0</cx:pt>
          <cx:pt idx="72302">1</cx:pt>
          <cx:pt idx="72303">1</cx:pt>
          <cx:pt idx="72304">0</cx:pt>
          <cx:pt idx="72305">1</cx:pt>
          <cx:pt idx="72306">0</cx:pt>
          <cx:pt idx="72307">1</cx:pt>
          <cx:pt idx="72308">0</cx:pt>
          <cx:pt idx="72309">1</cx:pt>
          <cx:pt idx="72310">1</cx:pt>
          <cx:pt idx="72311">0</cx:pt>
          <cx:pt idx="72312">0</cx:pt>
          <cx:pt idx="72313">0</cx:pt>
          <cx:pt idx="72314">1</cx:pt>
          <cx:pt idx="72315">0</cx:pt>
          <cx:pt idx="72316">0</cx:pt>
          <cx:pt idx="72317">0</cx:pt>
          <cx:pt idx="72318">0</cx:pt>
          <cx:pt idx="72319">1</cx:pt>
          <cx:pt idx="72320">0</cx:pt>
          <cx:pt idx="72321">0</cx:pt>
          <cx:pt idx="72322">1</cx:pt>
          <cx:pt idx="72323">1</cx:pt>
          <cx:pt idx="72324">0</cx:pt>
          <cx:pt idx="72325">0</cx:pt>
          <cx:pt idx="72326">1</cx:pt>
          <cx:pt idx="72327">0</cx:pt>
          <cx:pt idx="72328">0</cx:pt>
          <cx:pt idx="72329">0</cx:pt>
          <cx:pt idx="72330">0</cx:pt>
          <cx:pt idx="72331">0</cx:pt>
          <cx:pt idx="72332">1</cx:pt>
          <cx:pt idx="72333">1</cx:pt>
          <cx:pt idx="72334">0</cx:pt>
          <cx:pt idx="72335">0</cx:pt>
          <cx:pt idx="72336">0</cx:pt>
          <cx:pt idx="72337">1</cx:pt>
          <cx:pt idx="72338">1</cx:pt>
          <cx:pt idx="72339">1</cx:pt>
          <cx:pt idx="72340">0</cx:pt>
          <cx:pt idx="72341">1</cx:pt>
          <cx:pt idx="72342">1</cx:pt>
          <cx:pt idx="72343">1</cx:pt>
          <cx:pt idx="72344">0</cx:pt>
          <cx:pt idx="72345">0</cx:pt>
          <cx:pt idx="72346">1</cx:pt>
          <cx:pt idx="72347">0</cx:pt>
          <cx:pt idx="72348">0</cx:pt>
          <cx:pt idx="72349">0</cx:pt>
          <cx:pt idx="72350">1</cx:pt>
          <cx:pt idx="72351">0</cx:pt>
          <cx:pt idx="72352">1</cx:pt>
          <cx:pt idx="72353">0</cx:pt>
          <cx:pt idx="72354">0</cx:pt>
          <cx:pt idx="72355">1</cx:pt>
          <cx:pt idx="72356">1</cx:pt>
          <cx:pt idx="72357">0</cx:pt>
          <cx:pt idx="72358">1</cx:pt>
          <cx:pt idx="72359">0</cx:pt>
          <cx:pt idx="72360">0</cx:pt>
          <cx:pt idx="72361">0</cx:pt>
          <cx:pt idx="72362">0</cx:pt>
          <cx:pt idx="72363">0</cx:pt>
          <cx:pt idx="72364">0</cx:pt>
          <cx:pt idx="72365">0</cx:pt>
          <cx:pt idx="72366">1</cx:pt>
          <cx:pt idx="72367">0</cx:pt>
          <cx:pt idx="72368">0</cx:pt>
          <cx:pt idx="72369">0</cx:pt>
          <cx:pt idx="72370">1</cx:pt>
          <cx:pt idx="72371">1</cx:pt>
          <cx:pt idx="72372">1</cx:pt>
          <cx:pt idx="72373">0</cx:pt>
          <cx:pt idx="72374">1</cx:pt>
          <cx:pt idx="72375">0</cx:pt>
          <cx:pt idx="72376">0</cx:pt>
          <cx:pt idx="72377">0</cx:pt>
          <cx:pt idx="72378">0</cx:pt>
          <cx:pt idx="72379">0</cx:pt>
          <cx:pt idx="72380">0</cx:pt>
          <cx:pt idx="72381">0</cx:pt>
          <cx:pt idx="72382">0</cx:pt>
          <cx:pt idx="72383">1</cx:pt>
          <cx:pt idx="72384">1</cx:pt>
          <cx:pt idx="72385">0</cx:pt>
          <cx:pt idx="72386">1</cx:pt>
          <cx:pt idx="72387">1</cx:pt>
          <cx:pt idx="72388">0</cx:pt>
          <cx:pt idx="72389">0</cx:pt>
          <cx:pt idx="72390">1</cx:pt>
          <cx:pt idx="72391">0</cx:pt>
          <cx:pt idx="72392">0</cx:pt>
          <cx:pt idx="72393">0</cx:pt>
          <cx:pt idx="72394">1</cx:pt>
          <cx:pt idx="72395">0</cx:pt>
          <cx:pt idx="72396">0</cx:pt>
          <cx:pt idx="72397">1</cx:pt>
          <cx:pt idx="72398">0</cx:pt>
          <cx:pt idx="72399">0</cx:pt>
          <cx:pt idx="72400">1</cx:pt>
          <cx:pt idx="72401">1</cx:pt>
          <cx:pt idx="72402">0</cx:pt>
          <cx:pt idx="72403">1</cx:pt>
          <cx:pt idx="72404">1</cx:pt>
          <cx:pt idx="72405">0</cx:pt>
          <cx:pt idx="72406">0</cx:pt>
          <cx:pt idx="72407">1</cx:pt>
          <cx:pt idx="72408">1</cx:pt>
          <cx:pt idx="72409">0</cx:pt>
          <cx:pt idx="72410">1</cx:pt>
          <cx:pt idx="72411">1</cx:pt>
          <cx:pt idx="72412">1</cx:pt>
          <cx:pt idx="72413">0</cx:pt>
          <cx:pt idx="72414">1</cx:pt>
          <cx:pt idx="72415">0</cx:pt>
          <cx:pt idx="72416">0</cx:pt>
          <cx:pt idx="72417">1</cx:pt>
          <cx:pt idx="72418">1</cx:pt>
          <cx:pt idx="72419">0</cx:pt>
          <cx:pt idx="72420">0</cx:pt>
          <cx:pt idx="72421">1</cx:pt>
          <cx:pt idx="72422">0</cx:pt>
          <cx:pt idx="72423">0</cx:pt>
          <cx:pt idx="72424">1</cx:pt>
          <cx:pt idx="72425">1</cx:pt>
          <cx:pt idx="72426">1</cx:pt>
          <cx:pt idx="72427">1</cx:pt>
          <cx:pt idx="72428">0</cx:pt>
          <cx:pt idx="72429">0</cx:pt>
          <cx:pt idx="72430">0</cx:pt>
          <cx:pt idx="72431">1</cx:pt>
          <cx:pt idx="72432">0</cx:pt>
          <cx:pt idx="72433">0</cx:pt>
          <cx:pt idx="72434">1</cx:pt>
          <cx:pt idx="72435">1</cx:pt>
          <cx:pt idx="72436">1</cx:pt>
          <cx:pt idx="72437">0</cx:pt>
          <cx:pt idx="72438">1</cx:pt>
          <cx:pt idx="72439">0</cx:pt>
          <cx:pt idx="72440">0</cx:pt>
          <cx:pt idx="72441">0</cx:pt>
          <cx:pt idx="72442">1</cx:pt>
          <cx:pt idx="72443">0</cx:pt>
          <cx:pt idx="72444">1</cx:pt>
          <cx:pt idx="72445">0</cx:pt>
          <cx:pt idx="72446">1</cx:pt>
          <cx:pt idx="72447">0</cx:pt>
          <cx:pt idx="72448">0</cx:pt>
          <cx:pt idx="72449">1</cx:pt>
          <cx:pt idx="72450">0</cx:pt>
          <cx:pt idx="72451">1</cx:pt>
          <cx:pt idx="72452">0</cx:pt>
          <cx:pt idx="72453">0</cx:pt>
          <cx:pt idx="72454">1</cx:pt>
          <cx:pt idx="72455">0</cx:pt>
          <cx:pt idx="72456">0</cx:pt>
          <cx:pt idx="72457">1</cx:pt>
          <cx:pt idx="72458">1</cx:pt>
          <cx:pt idx="72459">0</cx:pt>
          <cx:pt idx="72460">0</cx:pt>
          <cx:pt idx="72461">1</cx:pt>
          <cx:pt idx="72462">0</cx:pt>
          <cx:pt idx="72463">1</cx:pt>
          <cx:pt idx="72464">1</cx:pt>
          <cx:pt idx="72465">0</cx:pt>
          <cx:pt idx="72466">0</cx:pt>
          <cx:pt idx="72467">0</cx:pt>
          <cx:pt idx="72468">1</cx:pt>
          <cx:pt idx="72469">0</cx:pt>
          <cx:pt idx="72470">1</cx:pt>
          <cx:pt idx="72471">0</cx:pt>
          <cx:pt idx="72472">1</cx:pt>
          <cx:pt idx="72473">0</cx:pt>
          <cx:pt idx="72474">0</cx:pt>
          <cx:pt idx="72475">1</cx:pt>
          <cx:pt idx="72476">0</cx:pt>
          <cx:pt idx="72477">0</cx:pt>
          <cx:pt idx="72478">0</cx:pt>
          <cx:pt idx="72479">0</cx:pt>
          <cx:pt idx="72480">1</cx:pt>
          <cx:pt idx="72481">0</cx:pt>
          <cx:pt idx="72482">0</cx:pt>
          <cx:pt idx="72483">1</cx:pt>
          <cx:pt idx="72484">0</cx:pt>
          <cx:pt idx="72485">0</cx:pt>
          <cx:pt idx="72486">1</cx:pt>
          <cx:pt idx="72487">1</cx:pt>
          <cx:pt idx="72488">0</cx:pt>
          <cx:pt idx="72489">0</cx:pt>
          <cx:pt idx="72490">1</cx:pt>
          <cx:pt idx="72491">0</cx:pt>
          <cx:pt idx="72492">0</cx:pt>
          <cx:pt idx="72493">0</cx:pt>
          <cx:pt idx="72494">0</cx:pt>
          <cx:pt idx="72495">0</cx:pt>
          <cx:pt idx="72496">0</cx:pt>
          <cx:pt idx="72497">0</cx:pt>
          <cx:pt idx="72498">0</cx:pt>
          <cx:pt idx="72499">1</cx:pt>
          <cx:pt idx="72500">0</cx:pt>
          <cx:pt idx="72501">0</cx:pt>
          <cx:pt idx="72502">0</cx:pt>
          <cx:pt idx="72503">0</cx:pt>
          <cx:pt idx="72504">0</cx:pt>
          <cx:pt idx="72505">0</cx:pt>
          <cx:pt idx="72506">1</cx:pt>
          <cx:pt idx="72507">1</cx:pt>
          <cx:pt idx="72508">0</cx:pt>
          <cx:pt idx="72509">1</cx:pt>
          <cx:pt idx="72510">0</cx:pt>
          <cx:pt idx="72511">0</cx:pt>
          <cx:pt idx="72512">1</cx:pt>
          <cx:pt idx="72513">1</cx:pt>
          <cx:pt idx="72514">0</cx:pt>
          <cx:pt idx="72515">1</cx:pt>
          <cx:pt idx="72516">0</cx:pt>
          <cx:pt idx="72517">0</cx:pt>
          <cx:pt idx="72518">0</cx:pt>
          <cx:pt idx="72519">0</cx:pt>
          <cx:pt idx="72520">0</cx:pt>
          <cx:pt idx="72521">1</cx:pt>
          <cx:pt idx="72522">0</cx:pt>
          <cx:pt idx="72523">0</cx:pt>
          <cx:pt idx="72524">1</cx:pt>
          <cx:pt idx="72525">0</cx:pt>
          <cx:pt idx="72526">1</cx:pt>
          <cx:pt idx="72527">1</cx:pt>
          <cx:pt idx="72528">0</cx:pt>
          <cx:pt idx="72529">0</cx:pt>
          <cx:pt idx="72530">1</cx:pt>
          <cx:pt idx="72531">1</cx:pt>
          <cx:pt idx="72532">0</cx:pt>
          <cx:pt idx="72533">0</cx:pt>
          <cx:pt idx="72534">1</cx:pt>
          <cx:pt idx="72535">1</cx:pt>
          <cx:pt idx="72536">0</cx:pt>
          <cx:pt idx="72537">1</cx:pt>
          <cx:pt idx="72538">1</cx:pt>
          <cx:pt idx="72539">0</cx:pt>
          <cx:pt idx="72540">0</cx:pt>
          <cx:pt idx="72541">0</cx:pt>
          <cx:pt idx="72542">1</cx:pt>
          <cx:pt idx="72543">1</cx:pt>
          <cx:pt idx="72544">0</cx:pt>
          <cx:pt idx="72545">0</cx:pt>
          <cx:pt idx="72546">1</cx:pt>
          <cx:pt idx="72547">0</cx:pt>
          <cx:pt idx="72548">1</cx:pt>
          <cx:pt idx="72549">0</cx:pt>
          <cx:pt idx="72550">1</cx:pt>
          <cx:pt idx="72551">0</cx:pt>
          <cx:pt idx="72552">1</cx:pt>
          <cx:pt idx="72553">1</cx:pt>
          <cx:pt idx="72554">0</cx:pt>
          <cx:pt idx="72555">1</cx:pt>
          <cx:pt idx="72556">1</cx:pt>
          <cx:pt idx="72557">0</cx:pt>
          <cx:pt idx="72558">1</cx:pt>
          <cx:pt idx="72559">0</cx:pt>
          <cx:pt idx="72560">0</cx:pt>
          <cx:pt idx="72561">1</cx:pt>
          <cx:pt idx="72562">0</cx:pt>
          <cx:pt idx="72563">1</cx:pt>
          <cx:pt idx="72564">1</cx:pt>
          <cx:pt idx="72565">0</cx:pt>
          <cx:pt idx="72566">1</cx:pt>
          <cx:pt idx="72567">0</cx:pt>
          <cx:pt idx="72568">1</cx:pt>
          <cx:pt idx="72569">1</cx:pt>
          <cx:pt idx="72570">0</cx:pt>
          <cx:pt idx="72571">1</cx:pt>
          <cx:pt idx="72572">1</cx:pt>
          <cx:pt idx="72573">0</cx:pt>
          <cx:pt idx="72574">1</cx:pt>
          <cx:pt idx="72575">1</cx:pt>
          <cx:pt idx="72576">0</cx:pt>
          <cx:pt idx="72577">1</cx:pt>
          <cx:pt idx="72578">1</cx:pt>
          <cx:pt idx="72579">0</cx:pt>
          <cx:pt idx="72580">1</cx:pt>
          <cx:pt idx="72581">1</cx:pt>
          <cx:pt idx="72582">1</cx:pt>
          <cx:pt idx="72583">0</cx:pt>
          <cx:pt idx="72584">0</cx:pt>
          <cx:pt idx="72585">1</cx:pt>
          <cx:pt idx="72586">1</cx:pt>
          <cx:pt idx="72587">1</cx:pt>
          <cx:pt idx="72588">1</cx:pt>
          <cx:pt idx="72589">0</cx:pt>
          <cx:pt idx="72590">1</cx:pt>
          <cx:pt idx="72591">0</cx:pt>
          <cx:pt idx="72592">0</cx:pt>
          <cx:pt idx="72593">0</cx:pt>
          <cx:pt idx="72594">0</cx:pt>
          <cx:pt idx="72595">1</cx:pt>
          <cx:pt idx="72596">1</cx:pt>
          <cx:pt idx="72597">0</cx:pt>
          <cx:pt idx="72598">0</cx:pt>
          <cx:pt idx="72599">0</cx:pt>
          <cx:pt idx="72600">0</cx:pt>
          <cx:pt idx="72601">0</cx:pt>
          <cx:pt idx="72602">0</cx:pt>
          <cx:pt idx="72603">0</cx:pt>
          <cx:pt idx="72604">0</cx:pt>
          <cx:pt idx="72605">1</cx:pt>
          <cx:pt idx="72606">0</cx:pt>
          <cx:pt idx="72607">1</cx:pt>
          <cx:pt idx="72608">1</cx:pt>
          <cx:pt idx="72609">1</cx:pt>
          <cx:pt idx="72610">0</cx:pt>
          <cx:pt idx="72611">1</cx:pt>
          <cx:pt idx="72612">1</cx:pt>
          <cx:pt idx="72613">0</cx:pt>
          <cx:pt idx="72614">0</cx:pt>
          <cx:pt idx="72615">0</cx:pt>
          <cx:pt idx="72616">1</cx:pt>
          <cx:pt idx="72617">1</cx:pt>
          <cx:pt idx="72618">1</cx:pt>
          <cx:pt idx="72619">0</cx:pt>
          <cx:pt idx="72620">0</cx:pt>
          <cx:pt idx="72621">1</cx:pt>
          <cx:pt idx="72622">1</cx:pt>
          <cx:pt idx="72623">0</cx:pt>
          <cx:pt idx="72624">1</cx:pt>
          <cx:pt idx="72625">0</cx:pt>
          <cx:pt idx="72626">0</cx:pt>
          <cx:pt idx="72627">0</cx:pt>
          <cx:pt idx="72628">1</cx:pt>
          <cx:pt idx="72629">1</cx:pt>
          <cx:pt idx="72630">1</cx:pt>
          <cx:pt idx="72631">1</cx:pt>
          <cx:pt idx="72632">0</cx:pt>
          <cx:pt idx="72633">1</cx:pt>
          <cx:pt idx="72634">0</cx:pt>
          <cx:pt idx="72635">1</cx:pt>
          <cx:pt idx="72636">0</cx:pt>
          <cx:pt idx="72637">1</cx:pt>
          <cx:pt idx="72638">1</cx:pt>
          <cx:pt idx="72639">0</cx:pt>
          <cx:pt idx="72640">1</cx:pt>
          <cx:pt idx="72641">0</cx:pt>
          <cx:pt idx="72642">0</cx:pt>
          <cx:pt idx="72643">1</cx:pt>
          <cx:pt idx="72644">0</cx:pt>
          <cx:pt idx="72645">1</cx:pt>
          <cx:pt idx="72646">0</cx:pt>
          <cx:pt idx="72647">0</cx:pt>
          <cx:pt idx="72648">1</cx:pt>
          <cx:pt idx="72649">0</cx:pt>
          <cx:pt idx="72650">0</cx:pt>
          <cx:pt idx="72651">1</cx:pt>
          <cx:pt idx="72652">0</cx:pt>
          <cx:pt idx="72653">1</cx:pt>
          <cx:pt idx="72654">0</cx:pt>
          <cx:pt idx="72655">0</cx:pt>
          <cx:pt idx="72656">1</cx:pt>
          <cx:pt idx="72657">0</cx:pt>
          <cx:pt idx="72658">0</cx:pt>
          <cx:pt idx="72659">0</cx:pt>
          <cx:pt idx="72660">0</cx:pt>
          <cx:pt idx="72661">0</cx:pt>
          <cx:pt idx="72662">0</cx:pt>
          <cx:pt idx="72663">1</cx:pt>
          <cx:pt idx="72664">0</cx:pt>
          <cx:pt idx="72665">0</cx:pt>
          <cx:pt idx="72666">1</cx:pt>
          <cx:pt idx="72667">0</cx:pt>
          <cx:pt idx="72668">1</cx:pt>
          <cx:pt idx="72669">0</cx:pt>
          <cx:pt idx="72670">1</cx:pt>
          <cx:pt idx="72671">1</cx:pt>
          <cx:pt idx="72672">1</cx:pt>
          <cx:pt idx="72673">1</cx:pt>
          <cx:pt idx="72674">1</cx:pt>
          <cx:pt idx="72675">0</cx:pt>
          <cx:pt idx="72676">0</cx:pt>
          <cx:pt idx="72677">1</cx:pt>
          <cx:pt idx="72678">0</cx:pt>
          <cx:pt idx="72679">0</cx:pt>
          <cx:pt idx="72680">0</cx:pt>
          <cx:pt idx="72681">0</cx:pt>
          <cx:pt idx="72682">1</cx:pt>
          <cx:pt idx="72683">1</cx:pt>
          <cx:pt idx="72684">0</cx:pt>
          <cx:pt idx="72685">0</cx:pt>
          <cx:pt idx="72686">0</cx:pt>
          <cx:pt idx="72687">0</cx:pt>
          <cx:pt idx="72688">1</cx:pt>
          <cx:pt idx="72689">1</cx:pt>
          <cx:pt idx="72690">1</cx:pt>
          <cx:pt idx="72691">0</cx:pt>
          <cx:pt idx="72692">1</cx:pt>
          <cx:pt idx="72693">0</cx:pt>
          <cx:pt idx="72694">1</cx:pt>
          <cx:pt idx="72695">0</cx:pt>
          <cx:pt idx="72696">0</cx:pt>
          <cx:pt idx="72697">1</cx:pt>
          <cx:pt idx="72698">0</cx:pt>
          <cx:pt idx="72699">1</cx:pt>
          <cx:pt idx="72700">0</cx:pt>
          <cx:pt idx="72701">1</cx:pt>
          <cx:pt idx="72702">1</cx:pt>
          <cx:pt idx="72703">1</cx:pt>
          <cx:pt idx="72704">0</cx:pt>
          <cx:pt idx="72705">0</cx:pt>
          <cx:pt idx="72706">1</cx:pt>
          <cx:pt idx="72707">1</cx:pt>
          <cx:pt idx="72708">1</cx:pt>
          <cx:pt idx="72709">0</cx:pt>
          <cx:pt idx="72710">1</cx:pt>
          <cx:pt idx="72711">0</cx:pt>
          <cx:pt idx="72712">0</cx:pt>
          <cx:pt idx="72713">1</cx:pt>
          <cx:pt idx="72714">1</cx:pt>
          <cx:pt idx="72715">0</cx:pt>
          <cx:pt idx="72716">1</cx:pt>
          <cx:pt idx="72717">0</cx:pt>
          <cx:pt idx="72718">0</cx:pt>
          <cx:pt idx="72719">0</cx:pt>
          <cx:pt idx="72720">1</cx:pt>
          <cx:pt idx="72721">0</cx:pt>
          <cx:pt idx="72722">0</cx:pt>
          <cx:pt idx="72723">1</cx:pt>
          <cx:pt idx="72724">1</cx:pt>
          <cx:pt idx="72725">1</cx:pt>
          <cx:pt idx="72726">1</cx:pt>
          <cx:pt idx="72727">0</cx:pt>
          <cx:pt idx="72728">0</cx:pt>
          <cx:pt idx="72729">0</cx:pt>
          <cx:pt idx="72730">1</cx:pt>
          <cx:pt idx="72731">0</cx:pt>
          <cx:pt idx="72732">0</cx:pt>
          <cx:pt idx="72733">1</cx:pt>
          <cx:pt idx="72734">0</cx:pt>
          <cx:pt idx="72735">0</cx:pt>
          <cx:pt idx="72736">0</cx:pt>
          <cx:pt idx="72737">1</cx:pt>
          <cx:pt idx="72738">0</cx:pt>
          <cx:pt idx="72739">0</cx:pt>
          <cx:pt idx="72740">1</cx:pt>
          <cx:pt idx="72741">0</cx:pt>
          <cx:pt idx="72742">1</cx:pt>
          <cx:pt idx="72743">0</cx:pt>
          <cx:pt idx="72744">0</cx:pt>
          <cx:pt idx="72745">0</cx:pt>
          <cx:pt idx="72746">0</cx:pt>
          <cx:pt idx="72747">1</cx:pt>
          <cx:pt idx="72748">1</cx:pt>
          <cx:pt idx="72749">0</cx:pt>
          <cx:pt idx="72750">1</cx:pt>
          <cx:pt idx="72751">0</cx:pt>
          <cx:pt idx="72752">1</cx:pt>
          <cx:pt idx="72753">1</cx:pt>
          <cx:pt idx="72754">0</cx:pt>
          <cx:pt idx="72755">1</cx:pt>
          <cx:pt idx="72756">0</cx:pt>
          <cx:pt idx="72757">0</cx:pt>
          <cx:pt idx="72758">1</cx:pt>
          <cx:pt idx="72759">0</cx:pt>
          <cx:pt idx="72760">0</cx:pt>
          <cx:pt idx="72761">0</cx:pt>
          <cx:pt idx="72762">0</cx:pt>
          <cx:pt idx="72763">0</cx:pt>
          <cx:pt idx="72764">0</cx:pt>
          <cx:pt idx="72765">1</cx:pt>
          <cx:pt idx="72766">0</cx:pt>
          <cx:pt idx="72767">0</cx:pt>
          <cx:pt idx="72768">0</cx:pt>
          <cx:pt idx="72769">0</cx:pt>
          <cx:pt idx="72770">0</cx:pt>
          <cx:pt idx="72771">1</cx:pt>
          <cx:pt idx="72772">0</cx:pt>
          <cx:pt idx="72773">0</cx:pt>
          <cx:pt idx="72774">0</cx:pt>
          <cx:pt idx="72775">1</cx:pt>
          <cx:pt idx="72776">1</cx:pt>
          <cx:pt idx="72777">1</cx:pt>
          <cx:pt idx="72778">0</cx:pt>
          <cx:pt idx="72779">0</cx:pt>
          <cx:pt idx="72780">0</cx:pt>
          <cx:pt idx="72781">0</cx:pt>
          <cx:pt idx="72782">1</cx:pt>
          <cx:pt idx="72783">0</cx:pt>
          <cx:pt idx="72784">0</cx:pt>
          <cx:pt idx="72785">1</cx:pt>
          <cx:pt idx="72786">0</cx:pt>
          <cx:pt idx="72787">1</cx:pt>
          <cx:pt idx="72788">0</cx:pt>
          <cx:pt idx="72789">1</cx:pt>
          <cx:pt idx="72790">1</cx:pt>
          <cx:pt idx="72791">1</cx:pt>
          <cx:pt idx="72792">1</cx:pt>
          <cx:pt idx="72793">0</cx:pt>
          <cx:pt idx="72794">1</cx:pt>
          <cx:pt idx="72795">0</cx:pt>
          <cx:pt idx="72796">0</cx:pt>
          <cx:pt idx="72797">1</cx:pt>
          <cx:pt idx="72798">1</cx:pt>
          <cx:pt idx="72799">0</cx:pt>
          <cx:pt idx="72800">1</cx:pt>
          <cx:pt idx="72801">0</cx:pt>
          <cx:pt idx="72802">0</cx:pt>
          <cx:pt idx="72803">1</cx:pt>
          <cx:pt idx="72804">0</cx:pt>
          <cx:pt idx="72805">0</cx:pt>
          <cx:pt idx="72806">0</cx:pt>
          <cx:pt idx="72807">0</cx:pt>
          <cx:pt idx="72808">0</cx:pt>
          <cx:pt idx="72809">0</cx:pt>
          <cx:pt idx="72810">0</cx:pt>
          <cx:pt idx="72811">0</cx:pt>
          <cx:pt idx="72812">0</cx:pt>
          <cx:pt idx="72813">0</cx:pt>
          <cx:pt idx="72814">1</cx:pt>
          <cx:pt idx="72815">1</cx:pt>
          <cx:pt idx="72816">1</cx:pt>
          <cx:pt idx="72817">1</cx:pt>
          <cx:pt idx="72818">0</cx:pt>
          <cx:pt idx="72819">0</cx:pt>
          <cx:pt idx="72820">0</cx:pt>
          <cx:pt idx="72821">1</cx:pt>
          <cx:pt idx="72822">0</cx:pt>
          <cx:pt idx="72823">0</cx:pt>
          <cx:pt idx="72824">1</cx:pt>
          <cx:pt idx="72825">0</cx:pt>
          <cx:pt idx="72826">1</cx:pt>
          <cx:pt idx="72827">0</cx:pt>
          <cx:pt idx="72828">0</cx:pt>
          <cx:pt idx="72829">1</cx:pt>
          <cx:pt idx="72830">0</cx:pt>
          <cx:pt idx="72831">1</cx:pt>
          <cx:pt idx="72832">0</cx:pt>
          <cx:pt idx="72833">1</cx:pt>
          <cx:pt idx="72834">1</cx:pt>
          <cx:pt idx="72835">0</cx:pt>
          <cx:pt idx="72836">1</cx:pt>
          <cx:pt idx="72837">1</cx:pt>
          <cx:pt idx="72838">1</cx:pt>
          <cx:pt idx="72839">0</cx:pt>
          <cx:pt idx="72840">1</cx:pt>
          <cx:pt idx="72841">0</cx:pt>
          <cx:pt idx="72842">0</cx:pt>
          <cx:pt idx="72843">0</cx:pt>
          <cx:pt idx="72844">1</cx:pt>
          <cx:pt idx="72845">1</cx:pt>
          <cx:pt idx="72846">1</cx:pt>
          <cx:pt idx="72847">0</cx:pt>
          <cx:pt idx="72848">1</cx:pt>
          <cx:pt idx="72849">1</cx:pt>
          <cx:pt idx="72850">0</cx:pt>
          <cx:pt idx="72851">0</cx:pt>
          <cx:pt idx="72852">0</cx:pt>
          <cx:pt idx="72853">0</cx:pt>
          <cx:pt idx="72854">1</cx:pt>
          <cx:pt idx="72855">0</cx:pt>
          <cx:pt idx="72856">1</cx:pt>
          <cx:pt idx="72857">0</cx:pt>
          <cx:pt idx="72858">0</cx:pt>
          <cx:pt idx="72859">0</cx:pt>
          <cx:pt idx="72860">0</cx:pt>
          <cx:pt idx="72861">1</cx:pt>
          <cx:pt idx="72862">0</cx:pt>
          <cx:pt idx="72863">0</cx:pt>
          <cx:pt idx="72864">1</cx:pt>
          <cx:pt idx="72865">1</cx:pt>
          <cx:pt idx="72866">1</cx:pt>
          <cx:pt idx="72867">0</cx:pt>
          <cx:pt idx="72868">1</cx:pt>
          <cx:pt idx="72869">0</cx:pt>
          <cx:pt idx="72870">1</cx:pt>
          <cx:pt idx="72871">1</cx:pt>
          <cx:pt idx="72872">0</cx:pt>
          <cx:pt idx="72873">1</cx:pt>
          <cx:pt idx="72874">0</cx:pt>
          <cx:pt idx="72875">1</cx:pt>
          <cx:pt idx="72876">0</cx:pt>
          <cx:pt idx="72877">0</cx:pt>
          <cx:pt idx="72878">1</cx:pt>
          <cx:pt idx="72879">1</cx:pt>
          <cx:pt idx="72880">0</cx:pt>
          <cx:pt idx="72881">1</cx:pt>
          <cx:pt idx="72882">1</cx:pt>
          <cx:pt idx="72883">1</cx:pt>
          <cx:pt idx="72884">0</cx:pt>
          <cx:pt idx="72885">1</cx:pt>
          <cx:pt idx="72886">1</cx:pt>
          <cx:pt idx="72887">0</cx:pt>
          <cx:pt idx="72888">0</cx:pt>
          <cx:pt idx="72889">1</cx:pt>
          <cx:pt idx="72890">1</cx:pt>
          <cx:pt idx="72891">1</cx:pt>
          <cx:pt idx="72892">0</cx:pt>
          <cx:pt idx="72893">1</cx:pt>
          <cx:pt idx="72894">0</cx:pt>
          <cx:pt idx="72895">0</cx:pt>
          <cx:pt idx="72896">0</cx:pt>
          <cx:pt idx="72897">0</cx:pt>
          <cx:pt idx="72898">0</cx:pt>
          <cx:pt idx="72899">0</cx:pt>
          <cx:pt idx="72900">1</cx:pt>
          <cx:pt idx="72901">1</cx:pt>
          <cx:pt idx="72902">1</cx:pt>
          <cx:pt idx="72903">1</cx:pt>
          <cx:pt idx="72904">0</cx:pt>
          <cx:pt idx="72905">1</cx:pt>
          <cx:pt idx="72906">1</cx:pt>
          <cx:pt idx="72907">0</cx:pt>
          <cx:pt idx="72908">1</cx:pt>
          <cx:pt idx="72909">0</cx:pt>
          <cx:pt idx="72910">1</cx:pt>
          <cx:pt idx="72911">1</cx:pt>
          <cx:pt idx="72912">0</cx:pt>
          <cx:pt idx="72913">1</cx:pt>
          <cx:pt idx="72914">0</cx:pt>
          <cx:pt idx="72915">1</cx:pt>
          <cx:pt idx="72916">1</cx:pt>
          <cx:pt idx="72917">0</cx:pt>
          <cx:pt idx="72918">1</cx:pt>
          <cx:pt idx="72919">0</cx:pt>
          <cx:pt idx="72920">1</cx:pt>
          <cx:pt idx="72921">1</cx:pt>
          <cx:pt idx="72922">0</cx:pt>
          <cx:pt idx="72923">0</cx:pt>
          <cx:pt idx="72924">0</cx:pt>
          <cx:pt idx="72925">0</cx:pt>
          <cx:pt idx="72926">1</cx:pt>
          <cx:pt idx="72927">1</cx:pt>
          <cx:pt idx="72928">0</cx:pt>
          <cx:pt idx="72929">0</cx:pt>
          <cx:pt idx="72930">1</cx:pt>
          <cx:pt idx="72931">1</cx:pt>
          <cx:pt idx="72932">0</cx:pt>
          <cx:pt idx="72933">1</cx:pt>
          <cx:pt idx="72934">1</cx:pt>
          <cx:pt idx="72935">0</cx:pt>
          <cx:pt idx="72936">0</cx:pt>
          <cx:pt idx="72937">0</cx:pt>
          <cx:pt idx="72938">1</cx:pt>
          <cx:pt idx="72939">0</cx:pt>
          <cx:pt idx="72940">0</cx:pt>
          <cx:pt idx="72941">0</cx:pt>
          <cx:pt idx="72942">0</cx:pt>
          <cx:pt idx="72943">1</cx:pt>
          <cx:pt idx="72944">0</cx:pt>
          <cx:pt idx="72945">0</cx:pt>
          <cx:pt idx="72946">1</cx:pt>
          <cx:pt idx="72947">0</cx:pt>
          <cx:pt idx="72948">0</cx:pt>
          <cx:pt idx="72949">1</cx:pt>
          <cx:pt idx="72950">1</cx:pt>
          <cx:pt idx="72951">0</cx:pt>
          <cx:pt idx="72952">0</cx:pt>
          <cx:pt idx="72953">0</cx:pt>
          <cx:pt idx="72954">1</cx:pt>
          <cx:pt idx="72955">1</cx:pt>
          <cx:pt idx="72956">1</cx:pt>
          <cx:pt idx="72957">1</cx:pt>
          <cx:pt idx="72958">0</cx:pt>
          <cx:pt idx="72959">1</cx:pt>
          <cx:pt idx="72960">0</cx:pt>
          <cx:pt idx="72961">0</cx:pt>
          <cx:pt idx="72962">0</cx:pt>
          <cx:pt idx="72963">1</cx:pt>
          <cx:pt idx="72964">1</cx:pt>
          <cx:pt idx="72965">0</cx:pt>
          <cx:pt idx="72966">1</cx:pt>
          <cx:pt idx="72967">0</cx:pt>
          <cx:pt idx="72968">1</cx:pt>
          <cx:pt idx="72969">1</cx:pt>
          <cx:pt idx="72970">1</cx:pt>
          <cx:pt idx="72971">1</cx:pt>
          <cx:pt idx="72972">1</cx:pt>
          <cx:pt idx="72973">0</cx:pt>
          <cx:pt idx="72974">1</cx:pt>
          <cx:pt idx="72975">0</cx:pt>
          <cx:pt idx="72976">0</cx:pt>
          <cx:pt idx="72977">1</cx:pt>
          <cx:pt idx="72978">0</cx:pt>
          <cx:pt idx="72979">0</cx:pt>
          <cx:pt idx="72980">1</cx:pt>
          <cx:pt idx="72981">0</cx:pt>
          <cx:pt idx="72982">1</cx:pt>
          <cx:pt idx="72983">0</cx:pt>
          <cx:pt idx="72984">1</cx:pt>
          <cx:pt idx="72985">1</cx:pt>
          <cx:pt idx="72986">1</cx:pt>
          <cx:pt idx="72987">0</cx:pt>
          <cx:pt idx="72988">1</cx:pt>
          <cx:pt idx="72989">1</cx:pt>
          <cx:pt idx="72990">0</cx:pt>
          <cx:pt idx="72991">0</cx:pt>
          <cx:pt idx="72992">0</cx:pt>
          <cx:pt idx="72993">0</cx:pt>
          <cx:pt idx="72994">1</cx:pt>
          <cx:pt idx="72995">0</cx:pt>
          <cx:pt idx="72996">1</cx:pt>
          <cx:pt idx="72997">1</cx:pt>
          <cx:pt idx="72998">1</cx:pt>
          <cx:pt idx="72999">1</cx:pt>
          <cx:pt idx="73000">0</cx:pt>
          <cx:pt idx="73001">0</cx:pt>
          <cx:pt idx="73002">0</cx:pt>
          <cx:pt idx="73003">0</cx:pt>
          <cx:pt idx="73004">0</cx:pt>
          <cx:pt idx="73005">0</cx:pt>
          <cx:pt idx="73006">1</cx:pt>
          <cx:pt idx="73007">0</cx:pt>
          <cx:pt idx="73008">1</cx:pt>
          <cx:pt idx="73009">1</cx:pt>
          <cx:pt idx="73010">0</cx:pt>
          <cx:pt idx="73011">1</cx:pt>
          <cx:pt idx="73012">1</cx:pt>
          <cx:pt idx="73013">0</cx:pt>
          <cx:pt idx="73014">1</cx:pt>
          <cx:pt idx="73015">0</cx:pt>
          <cx:pt idx="73016">1</cx:pt>
          <cx:pt idx="73017">1</cx:pt>
          <cx:pt idx="73018">0</cx:pt>
          <cx:pt idx="73019">0</cx:pt>
          <cx:pt idx="73020">1</cx:pt>
          <cx:pt idx="73021">1</cx:pt>
          <cx:pt idx="73022">1</cx:pt>
          <cx:pt idx="73023">0</cx:pt>
          <cx:pt idx="73024">0</cx:pt>
          <cx:pt idx="73025">0</cx:pt>
          <cx:pt idx="73026">1</cx:pt>
          <cx:pt idx="73027">1</cx:pt>
          <cx:pt idx="73028">1</cx:pt>
          <cx:pt idx="73029">0</cx:pt>
          <cx:pt idx="73030">1</cx:pt>
          <cx:pt idx="73031">0</cx:pt>
          <cx:pt idx="73032">1</cx:pt>
          <cx:pt idx="73033">1</cx:pt>
          <cx:pt idx="73034">0</cx:pt>
          <cx:pt idx="73035">0</cx:pt>
          <cx:pt idx="73036">1</cx:pt>
          <cx:pt idx="73037">0</cx:pt>
          <cx:pt idx="73038">0</cx:pt>
          <cx:pt idx="73039">0</cx:pt>
          <cx:pt idx="73040">1</cx:pt>
          <cx:pt idx="73041">0</cx:pt>
          <cx:pt idx="73042">0</cx:pt>
          <cx:pt idx="73043">0</cx:pt>
          <cx:pt idx="73044">1</cx:pt>
          <cx:pt idx="73045">1</cx:pt>
          <cx:pt idx="73046">0</cx:pt>
          <cx:pt idx="73047">0</cx:pt>
          <cx:pt idx="73048">0</cx:pt>
          <cx:pt idx="73049">0</cx:pt>
          <cx:pt idx="73050">1</cx:pt>
          <cx:pt idx="73051">0</cx:pt>
          <cx:pt idx="73052">1</cx:pt>
          <cx:pt idx="73053">0</cx:pt>
          <cx:pt idx="73054">1</cx:pt>
          <cx:pt idx="73055">0</cx:pt>
          <cx:pt idx="73056">0</cx:pt>
          <cx:pt idx="73057">0</cx:pt>
          <cx:pt idx="73058">0</cx:pt>
          <cx:pt idx="73059">0</cx:pt>
          <cx:pt idx="73060">0</cx:pt>
          <cx:pt idx="73061">1</cx:pt>
          <cx:pt idx="73062">0</cx:pt>
          <cx:pt idx="73063">0</cx:pt>
          <cx:pt idx="73064">1</cx:pt>
          <cx:pt idx="73065">1</cx:pt>
          <cx:pt idx="73066">1</cx:pt>
          <cx:pt idx="73067">1</cx:pt>
          <cx:pt idx="73068">0</cx:pt>
          <cx:pt idx="73069">0</cx:pt>
          <cx:pt idx="73070">1</cx:pt>
          <cx:pt idx="73071">0</cx:pt>
          <cx:pt idx="73072">0</cx:pt>
          <cx:pt idx="73073">1</cx:pt>
          <cx:pt idx="73074">1</cx:pt>
          <cx:pt idx="73075">1</cx:pt>
          <cx:pt idx="73076">0</cx:pt>
          <cx:pt idx="73077">0</cx:pt>
          <cx:pt idx="73078">0</cx:pt>
          <cx:pt idx="73079">0</cx:pt>
          <cx:pt idx="73080">1</cx:pt>
          <cx:pt idx="73081">0</cx:pt>
          <cx:pt idx="73082">0</cx:pt>
          <cx:pt idx="73083">1</cx:pt>
          <cx:pt idx="73084">1</cx:pt>
          <cx:pt idx="73085">0</cx:pt>
          <cx:pt idx="73086">1</cx:pt>
          <cx:pt idx="73087">0</cx:pt>
          <cx:pt idx="73088">0</cx:pt>
          <cx:pt idx="73089">0</cx:pt>
          <cx:pt idx="73090">0</cx:pt>
          <cx:pt idx="73091">1</cx:pt>
          <cx:pt idx="73092">1</cx:pt>
          <cx:pt idx="73093">0</cx:pt>
          <cx:pt idx="73094">1</cx:pt>
          <cx:pt idx="73095">0</cx:pt>
          <cx:pt idx="73096">0</cx:pt>
          <cx:pt idx="73097">1</cx:pt>
          <cx:pt idx="73098">0</cx:pt>
          <cx:pt idx="73099">1</cx:pt>
          <cx:pt idx="73100">0</cx:pt>
          <cx:pt idx="73101">1</cx:pt>
          <cx:pt idx="73102">0</cx:pt>
          <cx:pt idx="73103">1</cx:pt>
          <cx:pt idx="73104">1</cx:pt>
          <cx:pt idx="73105">1</cx:pt>
          <cx:pt idx="73106">0</cx:pt>
          <cx:pt idx="73107">0</cx:pt>
          <cx:pt idx="73108">0</cx:pt>
          <cx:pt idx="73109">1</cx:pt>
          <cx:pt idx="73110">1</cx:pt>
          <cx:pt idx="73111">0</cx:pt>
          <cx:pt idx="73112">0</cx:pt>
          <cx:pt idx="73113">0</cx:pt>
          <cx:pt idx="73114">0</cx:pt>
          <cx:pt idx="73115">1</cx:pt>
          <cx:pt idx="73116">1</cx:pt>
          <cx:pt idx="73117">0</cx:pt>
          <cx:pt idx="73118">1</cx:pt>
          <cx:pt idx="73119">0</cx:pt>
          <cx:pt idx="73120">0</cx:pt>
          <cx:pt idx="73121">1</cx:pt>
          <cx:pt idx="73122">1</cx:pt>
          <cx:pt idx="73123">0</cx:pt>
          <cx:pt idx="73124">1</cx:pt>
          <cx:pt idx="73125">1</cx:pt>
          <cx:pt idx="73126">1</cx:pt>
          <cx:pt idx="73127">1</cx:pt>
          <cx:pt idx="73128">0</cx:pt>
          <cx:pt idx="73129">0</cx:pt>
          <cx:pt idx="73130">1</cx:pt>
          <cx:pt idx="73131">1</cx:pt>
          <cx:pt idx="73132">1</cx:pt>
          <cx:pt idx="73133">0</cx:pt>
          <cx:pt idx="73134">0</cx:pt>
          <cx:pt idx="73135">0</cx:pt>
          <cx:pt idx="73136">1</cx:pt>
          <cx:pt idx="73137">1</cx:pt>
          <cx:pt idx="73138">0</cx:pt>
          <cx:pt idx="73139">0</cx:pt>
          <cx:pt idx="73140">0</cx:pt>
          <cx:pt idx="73141">0</cx:pt>
          <cx:pt idx="73142">1</cx:pt>
          <cx:pt idx="73143">0</cx:pt>
          <cx:pt idx="73144">0</cx:pt>
          <cx:pt idx="73145">1</cx:pt>
          <cx:pt idx="73146">1</cx:pt>
          <cx:pt idx="73147">1</cx:pt>
          <cx:pt idx="73148">1</cx:pt>
          <cx:pt idx="73149">0</cx:pt>
          <cx:pt idx="73150">0</cx:pt>
          <cx:pt idx="73151">0</cx:pt>
          <cx:pt idx="73152">1</cx:pt>
          <cx:pt idx="73153">0</cx:pt>
          <cx:pt idx="73154">0</cx:pt>
          <cx:pt idx="73155">0</cx:pt>
          <cx:pt idx="73156">0</cx:pt>
          <cx:pt idx="73157">0</cx:pt>
          <cx:pt idx="73158">0</cx:pt>
          <cx:pt idx="73159">0</cx:pt>
          <cx:pt idx="73160">0</cx:pt>
          <cx:pt idx="73161">0</cx:pt>
          <cx:pt idx="73162">1</cx:pt>
          <cx:pt idx="73163">0</cx:pt>
          <cx:pt idx="73164">1</cx:pt>
          <cx:pt idx="73165">1</cx:pt>
          <cx:pt idx="73166">1</cx:pt>
          <cx:pt idx="73167">1</cx:pt>
          <cx:pt idx="73168">0</cx:pt>
          <cx:pt idx="73169">0</cx:pt>
          <cx:pt idx="73170">0</cx:pt>
          <cx:pt idx="73171">0</cx:pt>
          <cx:pt idx="73172">0</cx:pt>
          <cx:pt idx="73173">1</cx:pt>
          <cx:pt idx="73174">1</cx:pt>
          <cx:pt idx="73175">1</cx:pt>
          <cx:pt idx="73176">0</cx:pt>
          <cx:pt idx="73177">0</cx:pt>
          <cx:pt idx="73178">1</cx:pt>
          <cx:pt idx="73179">1</cx:pt>
          <cx:pt idx="73180">1</cx:pt>
          <cx:pt idx="73181">0</cx:pt>
          <cx:pt idx="73182">0</cx:pt>
          <cx:pt idx="73183">1</cx:pt>
          <cx:pt idx="73184">0</cx:pt>
          <cx:pt idx="73185">1</cx:pt>
          <cx:pt idx="73186">1</cx:pt>
          <cx:pt idx="73187">0</cx:pt>
          <cx:pt idx="73188">0</cx:pt>
          <cx:pt idx="73189">0</cx:pt>
          <cx:pt idx="73190">0</cx:pt>
          <cx:pt idx="73191">1</cx:pt>
          <cx:pt idx="73192">0</cx:pt>
          <cx:pt idx="73193">0</cx:pt>
          <cx:pt idx="73194">0</cx:pt>
          <cx:pt idx="73195">0</cx:pt>
          <cx:pt idx="73196">1</cx:pt>
          <cx:pt idx="73197">1</cx:pt>
          <cx:pt idx="73198">0</cx:pt>
          <cx:pt idx="73199">0</cx:pt>
          <cx:pt idx="73200">0</cx:pt>
          <cx:pt idx="73201">1</cx:pt>
          <cx:pt idx="73202">0</cx:pt>
          <cx:pt idx="73203">0</cx:pt>
          <cx:pt idx="73204">0</cx:pt>
          <cx:pt idx="73205">0</cx:pt>
          <cx:pt idx="73206">0</cx:pt>
          <cx:pt idx="73207">0</cx:pt>
          <cx:pt idx="73208">1</cx:pt>
          <cx:pt idx="73209">0</cx:pt>
          <cx:pt idx="73210">0</cx:pt>
          <cx:pt idx="73211">1</cx:pt>
          <cx:pt idx="73212">1</cx:pt>
          <cx:pt idx="73213">1</cx:pt>
          <cx:pt idx="73214">1</cx:pt>
          <cx:pt idx="73215">0</cx:pt>
          <cx:pt idx="73216">1</cx:pt>
          <cx:pt idx="73217">0</cx:pt>
          <cx:pt idx="73218">1</cx:pt>
          <cx:pt idx="73219">1</cx:pt>
          <cx:pt idx="73220">1</cx:pt>
          <cx:pt idx="73221">1</cx:pt>
          <cx:pt idx="73222">1</cx:pt>
          <cx:pt idx="73223">1</cx:pt>
          <cx:pt idx="73224">0</cx:pt>
          <cx:pt idx="73225">1</cx:pt>
          <cx:pt idx="73226">1</cx:pt>
          <cx:pt idx="73227">0</cx:pt>
          <cx:pt idx="73228">1</cx:pt>
          <cx:pt idx="73229">0</cx:pt>
          <cx:pt idx="73230">0</cx:pt>
          <cx:pt idx="73231">1</cx:pt>
          <cx:pt idx="73232">0</cx:pt>
          <cx:pt idx="73233">1</cx:pt>
          <cx:pt idx="73234">0</cx:pt>
          <cx:pt idx="73235">0</cx:pt>
          <cx:pt idx="73236">1</cx:pt>
          <cx:pt idx="73237">1</cx:pt>
          <cx:pt idx="73238">0</cx:pt>
          <cx:pt idx="73239">0</cx:pt>
          <cx:pt idx="73240">1</cx:pt>
          <cx:pt idx="73241">1</cx:pt>
          <cx:pt idx="73242">0</cx:pt>
          <cx:pt idx="73243">1</cx:pt>
          <cx:pt idx="73244">0</cx:pt>
          <cx:pt idx="73245">0</cx:pt>
          <cx:pt idx="73246">0</cx:pt>
          <cx:pt idx="73247">1</cx:pt>
          <cx:pt idx="73248">0</cx:pt>
          <cx:pt idx="73249">0</cx:pt>
          <cx:pt idx="73250">1</cx:pt>
          <cx:pt idx="73251">0</cx:pt>
          <cx:pt idx="73252">0</cx:pt>
          <cx:pt idx="73253">1</cx:pt>
          <cx:pt idx="73254">1</cx:pt>
          <cx:pt idx="73255">1</cx:pt>
          <cx:pt idx="73256">1</cx:pt>
          <cx:pt idx="73257">0</cx:pt>
          <cx:pt idx="73258">1</cx:pt>
          <cx:pt idx="73259">1</cx:pt>
          <cx:pt idx="73260">0</cx:pt>
          <cx:pt idx="73261">0</cx:pt>
          <cx:pt idx="73262">0</cx:pt>
          <cx:pt idx="73263">0</cx:pt>
          <cx:pt idx="73264">0</cx:pt>
          <cx:pt idx="73265">0</cx:pt>
          <cx:pt idx="73266">0</cx:pt>
          <cx:pt idx="73267">1</cx:pt>
          <cx:pt idx="73268">0</cx:pt>
          <cx:pt idx="73269">0</cx:pt>
          <cx:pt idx="73270">1</cx:pt>
          <cx:pt idx="73271">1</cx:pt>
          <cx:pt idx="73272">0</cx:pt>
          <cx:pt idx="73273">0</cx:pt>
          <cx:pt idx="73274">0</cx:pt>
          <cx:pt idx="73275">0</cx:pt>
          <cx:pt idx="73276">0</cx:pt>
          <cx:pt idx="73277">0</cx:pt>
          <cx:pt idx="73278">1</cx:pt>
          <cx:pt idx="73279">1</cx:pt>
          <cx:pt idx="73280">0</cx:pt>
          <cx:pt idx="73281">1</cx:pt>
          <cx:pt idx="73282">1</cx:pt>
          <cx:pt idx="73283">1</cx:pt>
          <cx:pt idx="73284">1</cx:pt>
          <cx:pt idx="73285">0</cx:pt>
          <cx:pt idx="73286">0</cx:pt>
          <cx:pt idx="73287">1</cx:pt>
          <cx:pt idx="73288">1</cx:pt>
          <cx:pt idx="73289">0</cx:pt>
          <cx:pt idx="73290">1</cx:pt>
          <cx:pt idx="73291">0</cx:pt>
          <cx:pt idx="73292">0</cx:pt>
          <cx:pt idx="73293">1</cx:pt>
          <cx:pt idx="73294">0</cx:pt>
          <cx:pt idx="73295">0</cx:pt>
          <cx:pt idx="73296">0</cx:pt>
          <cx:pt idx="73297">1</cx:pt>
          <cx:pt idx="73298">0</cx:pt>
          <cx:pt idx="73299">1</cx:pt>
          <cx:pt idx="73300">0</cx:pt>
          <cx:pt idx="73301">1</cx:pt>
          <cx:pt idx="73302">0</cx:pt>
          <cx:pt idx="73303">0</cx:pt>
          <cx:pt idx="73304">0</cx:pt>
          <cx:pt idx="73305">0</cx:pt>
          <cx:pt idx="73306">0</cx:pt>
          <cx:pt idx="73307">0</cx:pt>
          <cx:pt idx="73308">0</cx:pt>
          <cx:pt idx="73309">1</cx:pt>
          <cx:pt idx="73310">0</cx:pt>
          <cx:pt idx="73311">1</cx:pt>
          <cx:pt idx="73312">0</cx:pt>
          <cx:pt idx="73313">0</cx:pt>
          <cx:pt idx="73314">0</cx:pt>
          <cx:pt idx="73315">1</cx:pt>
          <cx:pt idx="73316">1</cx:pt>
          <cx:pt idx="73317">1</cx:pt>
          <cx:pt idx="73318">0</cx:pt>
          <cx:pt idx="73319">1</cx:pt>
          <cx:pt idx="73320">0</cx:pt>
          <cx:pt idx="73321">1</cx:pt>
          <cx:pt idx="73322">0</cx:pt>
          <cx:pt idx="73323">1</cx:pt>
          <cx:pt idx="73324">1</cx:pt>
          <cx:pt idx="73325">0</cx:pt>
          <cx:pt idx="73326">0</cx:pt>
          <cx:pt idx="73327">1</cx:pt>
          <cx:pt idx="73328">1</cx:pt>
          <cx:pt idx="73329">0</cx:pt>
          <cx:pt idx="73330">1</cx:pt>
          <cx:pt idx="73331">0</cx:pt>
          <cx:pt idx="73332">1</cx:pt>
          <cx:pt idx="73333">1</cx:pt>
          <cx:pt idx="73334">1</cx:pt>
          <cx:pt idx="73335">0</cx:pt>
          <cx:pt idx="73336">0</cx:pt>
          <cx:pt idx="73337">0</cx:pt>
          <cx:pt idx="73338">0</cx:pt>
          <cx:pt idx="73339">1</cx:pt>
          <cx:pt idx="73340">0</cx:pt>
          <cx:pt idx="73341">1</cx:pt>
          <cx:pt idx="73342">0</cx:pt>
          <cx:pt idx="73343">0</cx:pt>
          <cx:pt idx="73344">1</cx:pt>
          <cx:pt idx="73345">0</cx:pt>
          <cx:pt idx="73346">0</cx:pt>
          <cx:pt idx="73347">0</cx:pt>
          <cx:pt idx="73348">1</cx:pt>
          <cx:pt idx="73349">0</cx:pt>
          <cx:pt idx="73350">1</cx:pt>
          <cx:pt idx="73351">0</cx:pt>
          <cx:pt idx="73352">0</cx:pt>
          <cx:pt idx="73353">0</cx:pt>
          <cx:pt idx="73354">1</cx:pt>
          <cx:pt idx="73355">1</cx:pt>
          <cx:pt idx="73356">0</cx:pt>
          <cx:pt idx="73357">1</cx:pt>
          <cx:pt idx="73358">0</cx:pt>
          <cx:pt idx="73359">0</cx:pt>
          <cx:pt idx="73360">1</cx:pt>
          <cx:pt idx="73361">1</cx:pt>
          <cx:pt idx="73362">0</cx:pt>
          <cx:pt idx="73363">0</cx:pt>
          <cx:pt idx="73364">0</cx:pt>
          <cx:pt idx="73365">0</cx:pt>
          <cx:pt idx="73366">0</cx:pt>
          <cx:pt idx="73367">0</cx:pt>
          <cx:pt idx="73368">0</cx:pt>
          <cx:pt idx="73369">1</cx:pt>
          <cx:pt idx="73370">0</cx:pt>
          <cx:pt idx="73371">1</cx:pt>
          <cx:pt idx="73372">0</cx:pt>
          <cx:pt idx="73373">0</cx:pt>
          <cx:pt idx="73374">1</cx:pt>
          <cx:pt idx="73375">0</cx:pt>
          <cx:pt idx="73376">0</cx:pt>
          <cx:pt idx="73377">0</cx:pt>
          <cx:pt idx="73378">0</cx:pt>
          <cx:pt idx="73379">1</cx:pt>
          <cx:pt idx="73380">1</cx:pt>
          <cx:pt idx="73381">0</cx:pt>
          <cx:pt idx="73382">1</cx:pt>
          <cx:pt idx="73383">1</cx:pt>
          <cx:pt idx="73384">1</cx:pt>
          <cx:pt idx="73385">0</cx:pt>
          <cx:pt idx="73386">0</cx:pt>
          <cx:pt idx="73387">0</cx:pt>
          <cx:pt idx="73388">0</cx:pt>
          <cx:pt idx="73389">0</cx:pt>
          <cx:pt idx="73390">1</cx:pt>
          <cx:pt idx="73391">0</cx:pt>
          <cx:pt idx="73392">1</cx:pt>
          <cx:pt idx="73393">0</cx:pt>
          <cx:pt idx="73394">0</cx:pt>
          <cx:pt idx="73395">0</cx:pt>
          <cx:pt idx="73396">0</cx:pt>
          <cx:pt idx="73397">0</cx:pt>
          <cx:pt idx="73398">1</cx:pt>
          <cx:pt idx="73399">0</cx:pt>
          <cx:pt idx="73400">0</cx:pt>
          <cx:pt idx="73401">1</cx:pt>
          <cx:pt idx="73402">0</cx:pt>
          <cx:pt idx="73403">0</cx:pt>
          <cx:pt idx="73404">0</cx:pt>
          <cx:pt idx="73405">1</cx:pt>
          <cx:pt idx="73406">1</cx:pt>
          <cx:pt idx="73407">1</cx:pt>
          <cx:pt idx="73408">1</cx:pt>
          <cx:pt idx="73409">1</cx:pt>
          <cx:pt idx="73410">0</cx:pt>
          <cx:pt idx="73411">0</cx:pt>
          <cx:pt idx="73412">1</cx:pt>
          <cx:pt idx="73413">0</cx:pt>
          <cx:pt idx="73414">1</cx:pt>
          <cx:pt idx="73415">1</cx:pt>
          <cx:pt idx="73416">1</cx:pt>
          <cx:pt idx="73417">1</cx:pt>
          <cx:pt idx="73418">1</cx:pt>
          <cx:pt idx="73419">1</cx:pt>
          <cx:pt idx="73420">0</cx:pt>
          <cx:pt idx="73421">1</cx:pt>
          <cx:pt idx="73422">1</cx:pt>
          <cx:pt idx="73423">1</cx:pt>
          <cx:pt idx="73424">0</cx:pt>
          <cx:pt idx="73425">1</cx:pt>
          <cx:pt idx="73426">1</cx:pt>
          <cx:pt idx="73427">0</cx:pt>
          <cx:pt idx="73428">0</cx:pt>
          <cx:pt idx="73429">0</cx:pt>
          <cx:pt idx="73430">0</cx:pt>
          <cx:pt idx="73431">1</cx:pt>
          <cx:pt idx="73432">0</cx:pt>
          <cx:pt idx="73433">0</cx:pt>
          <cx:pt idx="73434">0</cx:pt>
          <cx:pt idx="73435">0</cx:pt>
          <cx:pt idx="73436">1</cx:pt>
          <cx:pt idx="73437">0</cx:pt>
          <cx:pt idx="73438">0</cx:pt>
          <cx:pt idx="73439">0</cx:pt>
          <cx:pt idx="73440">1</cx:pt>
          <cx:pt idx="73441">1</cx:pt>
          <cx:pt idx="73442">0</cx:pt>
          <cx:pt idx="73443">0</cx:pt>
          <cx:pt idx="73444">0</cx:pt>
          <cx:pt idx="73445">1</cx:pt>
          <cx:pt idx="73446">0</cx:pt>
          <cx:pt idx="73447">1</cx:pt>
          <cx:pt idx="73448">1</cx:pt>
          <cx:pt idx="73449">1</cx:pt>
          <cx:pt idx="73450">0</cx:pt>
          <cx:pt idx="73451">0</cx:pt>
          <cx:pt idx="73452">1</cx:pt>
          <cx:pt idx="73453">0</cx:pt>
          <cx:pt idx="73454">0</cx:pt>
          <cx:pt idx="73455">0</cx:pt>
          <cx:pt idx="73456">1</cx:pt>
          <cx:pt idx="73457">0</cx:pt>
          <cx:pt idx="73458">1</cx:pt>
          <cx:pt idx="73459">0</cx:pt>
          <cx:pt idx="73460">1</cx:pt>
          <cx:pt idx="73461">0</cx:pt>
          <cx:pt idx="73462">0</cx:pt>
          <cx:pt idx="73463">0</cx:pt>
          <cx:pt idx="73464">0</cx:pt>
          <cx:pt idx="73465">1</cx:pt>
          <cx:pt idx="73466">0</cx:pt>
          <cx:pt idx="73467">1</cx:pt>
          <cx:pt idx="73468">1</cx:pt>
          <cx:pt idx="73469">1</cx:pt>
          <cx:pt idx="73470">1</cx:pt>
          <cx:pt idx="73471">1</cx:pt>
          <cx:pt idx="73472">0</cx:pt>
          <cx:pt idx="73473">0</cx:pt>
          <cx:pt idx="73474">0</cx:pt>
          <cx:pt idx="73475">1</cx:pt>
          <cx:pt idx="73476">1</cx:pt>
          <cx:pt idx="73477">1</cx:pt>
          <cx:pt idx="73478">1</cx:pt>
          <cx:pt idx="73479">0</cx:pt>
          <cx:pt idx="73480">0</cx:pt>
          <cx:pt idx="73481">0</cx:pt>
          <cx:pt idx="73482">0</cx:pt>
          <cx:pt idx="73483">0</cx:pt>
          <cx:pt idx="73484">1</cx:pt>
          <cx:pt idx="73485">0</cx:pt>
          <cx:pt idx="73486">0</cx:pt>
          <cx:pt idx="73487">1</cx:pt>
          <cx:pt idx="73488">1</cx:pt>
          <cx:pt idx="73489">1</cx:pt>
          <cx:pt idx="73490">0</cx:pt>
          <cx:pt idx="73491">1</cx:pt>
          <cx:pt idx="73492">0</cx:pt>
          <cx:pt idx="73493">0</cx:pt>
          <cx:pt idx="73494">0</cx:pt>
          <cx:pt idx="73495">0</cx:pt>
          <cx:pt idx="73496">1</cx:pt>
          <cx:pt idx="73497">1</cx:pt>
          <cx:pt idx="73498">0</cx:pt>
          <cx:pt idx="73499">1</cx:pt>
          <cx:pt idx="73500">1</cx:pt>
          <cx:pt idx="73501">0</cx:pt>
          <cx:pt idx="73502">1</cx:pt>
          <cx:pt idx="73503">0</cx:pt>
          <cx:pt idx="73504">0</cx:pt>
          <cx:pt idx="73505">0</cx:pt>
          <cx:pt idx="73506">1</cx:pt>
          <cx:pt idx="73507">0</cx:pt>
          <cx:pt idx="73508">1</cx:pt>
          <cx:pt idx="73509">1</cx:pt>
          <cx:pt idx="73510">1</cx:pt>
          <cx:pt idx="73511">1</cx:pt>
          <cx:pt idx="73512">0</cx:pt>
          <cx:pt idx="73513">0</cx:pt>
          <cx:pt idx="73514">0</cx:pt>
          <cx:pt idx="73515">1</cx:pt>
          <cx:pt idx="73516">0</cx:pt>
          <cx:pt idx="73517">1</cx:pt>
          <cx:pt idx="73518">0</cx:pt>
          <cx:pt idx="73519">0</cx:pt>
          <cx:pt idx="73520">1</cx:pt>
          <cx:pt idx="73521">0</cx:pt>
          <cx:pt idx="73522">0</cx:pt>
          <cx:pt idx="73523">0</cx:pt>
          <cx:pt idx="73524">0</cx:pt>
          <cx:pt idx="73525">1</cx:pt>
          <cx:pt idx="73526">1</cx:pt>
          <cx:pt idx="73527">0</cx:pt>
          <cx:pt idx="73528">1</cx:pt>
          <cx:pt idx="73529">1</cx:pt>
          <cx:pt idx="73530">1</cx:pt>
          <cx:pt idx="73531">0</cx:pt>
          <cx:pt idx="73532">0</cx:pt>
          <cx:pt idx="73533">0</cx:pt>
          <cx:pt idx="73534">1</cx:pt>
          <cx:pt idx="73535">0</cx:pt>
          <cx:pt idx="73536">0</cx:pt>
          <cx:pt idx="73537">1</cx:pt>
          <cx:pt idx="73538">1</cx:pt>
          <cx:pt idx="73539">0</cx:pt>
          <cx:pt idx="73540">0</cx:pt>
          <cx:pt idx="73541">0</cx:pt>
          <cx:pt idx="73542">1</cx:pt>
          <cx:pt idx="73543">0</cx:pt>
          <cx:pt idx="73544">1</cx:pt>
          <cx:pt idx="73545">1</cx:pt>
          <cx:pt idx="73546">0</cx:pt>
          <cx:pt idx="73547">1</cx:pt>
          <cx:pt idx="73548">1</cx:pt>
          <cx:pt idx="73549">1</cx:pt>
          <cx:pt idx="73550">1</cx:pt>
          <cx:pt idx="73551">1</cx:pt>
          <cx:pt idx="73552">1</cx:pt>
          <cx:pt idx="73553">0</cx:pt>
          <cx:pt idx="73554">1</cx:pt>
          <cx:pt idx="73555">0</cx:pt>
          <cx:pt idx="73556">1</cx:pt>
          <cx:pt idx="73557">1</cx:pt>
          <cx:pt idx="73558">1</cx:pt>
          <cx:pt idx="73559">0</cx:pt>
          <cx:pt idx="73560">1</cx:pt>
          <cx:pt idx="73561">0</cx:pt>
          <cx:pt idx="73562">0</cx:pt>
          <cx:pt idx="73563">1</cx:pt>
          <cx:pt idx="73564">0</cx:pt>
          <cx:pt idx="73565">1</cx:pt>
          <cx:pt idx="73566">0</cx:pt>
          <cx:pt idx="73567">1</cx:pt>
          <cx:pt idx="73568">0</cx:pt>
          <cx:pt idx="73569">0</cx:pt>
          <cx:pt idx="73570">0</cx:pt>
          <cx:pt idx="73571">0</cx:pt>
          <cx:pt idx="73572">0</cx:pt>
          <cx:pt idx="73573">0</cx:pt>
          <cx:pt idx="73574">0</cx:pt>
          <cx:pt idx="73575">1</cx:pt>
          <cx:pt idx="73576">1</cx:pt>
          <cx:pt idx="73577">1</cx:pt>
          <cx:pt idx="73578">0</cx:pt>
          <cx:pt idx="73579">1</cx:pt>
          <cx:pt idx="73580">1</cx:pt>
          <cx:pt idx="73581">1</cx:pt>
          <cx:pt idx="73582">0</cx:pt>
          <cx:pt idx="73583">1</cx:pt>
          <cx:pt idx="73584">0</cx:pt>
          <cx:pt idx="73585">0</cx:pt>
          <cx:pt idx="73586">1</cx:pt>
          <cx:pt idx="73587">1</cx:pt>
          <cx:pt idx="73588">0</cx:pt>
          <cx:pt idx="73589">1</cx:pt>
          <cx:pt idx="73590">1</cx:pt>
          <cx:pt idx="73591">1</cx:pt>
          <cx:pt idx="73592">1</cx:pt>
          <cx:pt idx="73593">1</cx:pt>
          <cx:pt idx="73594">0</cx:pt>
          <cx:pt idx="73595">0</cx:pt>
          <cx:pt idx="73596">0</cx:pt>
          <cx:pt idx="73597">0</cx:pt>
          <cx:pt idx="73598">1</cx:pt>
          <cx:pt idx="73599">1</cx:pt>
          <cx:pt idx="73600">0</cx:pt>
          <cx:pt idx="73601">0</cx:pt>
          <cx:pt idx="73602">0</cx:pt>
          <cx:pt idx="73603">0</cx:pt>
          <cx:pt idx="73604">1</cx:pt>
          <cx:pt idx="73605">0</cx:pt>
          <cx:pt idx="73606">0</cx:pt>
          <cx:pt idx="73607">1</cx:pt>
          <cx:pt idx="73608">0</cx:pt>
          <cx:pt idx="73609">1</cx:pt>
          <cx:pt idx="73610">0</cx:pt>
          <cx:pt idx="73611">0</cx:pt>
          <cx:pt idx="73612">0</cx:pt>
          <cx:pt idx="73613">1</cx:pt>
          <cx:pt idx="73614">1</cx:pt>
          <cx:pt idx="73615">1</cx:pt>
          <cx:pt idx="73616">0</cx:pt>
          <cx:pt idx="73617">0</cx:pt>
          <cx:pt idx="73618">0</cx:pt>
          <cx:pt idx="73619">0</cx:pt>
          <cx:pt idx="73620">0</cx:pt>
          <cx:pt idx="73621">1</cx:pt>
          <cx:pt idx="73622">0</cx:pt>
          <cx:pt idx="73623">0</cx:pt>
          <cx:pt idx="73624">0</cx:pt>
          <cx:pt idx="73625">0</cx:pt>
          <cx:pt idx="73626">0</cx:pt>
          <cx:pt idx="73627">0</cx:pt>
          <cx:pt idx="73628">0</cx:pt>
          <cx:pt idx="73629">0</cx:pt>
          <cx:pt idx="73630">1</cx:pt>
          <cx:pt idx="73631">1</cx:pt>
          <cx:pt idx="73632">1</cx:pt>
          <cx:pt idx="73633">0</cx:pt>
          <cx:pt idx="73634">1</cx:pt>
          <cx:pt idx="73635">0</cx:pt>
          <cx:pt idx="73636">1</cx:pt>
          <cx:pt idx="73637">1</cx:pt>
          <cx:pt idx="73638">0</cx:pt>
          <cx:pt idx="73639">0</cx:pt>
          <cx:pt idx="73640">0</cx:pt>
          <cx:pt idx="73641">1</cx:pt>
          <cx:pt idx="73642">0</cx:pt>
          <cx:pt idx="73643">1</cx:pt>
          <cx:pt idx="73644">1</cx:pt>
          <cx:pt idx="73645">0</cx:pt>
          <cx:pt idx="73646">1</cx:pt>
          <cx:pt idx="73647">0</cx:pt>
          <cx:pt idx="73648">1</cx:pt>
          <cx:pt idx="73649">0</cx:pt>
          <cx:pt idx="73650">1</cx:pt>
          <cx:pt idx="73651">0</cx:pt>
          <cx:pt idx="73652">1</cx:pt>
          <cx:pt idx="73653">1</cx:pt>
          <cx:pt idx="73654">1</cx:pt>
          <cx:pt idx="73655">1</cx:pt>
          <cx:pt idx="73656">0</cx:pt>
          <cx:pt idx="73657">0</cx:pt>
          <cx:pt idx="73658">0</cx:pt>
          <cx:pt idx="73659">0</cx:pt>
          <cx:pt idx="73660">0</cx:pt>
          <cx:pt idx="73661">1</cx:pt>
          <cx:pt idx="73662">1</cx:pt>
          <cx:pt idx="73663">1</cx:pt>
          <cx:pt idx="73664">0</cx:pt>
          <cx:pt idx="73665">0</cx:pt>
          <cx:pt idx="73666">1</cx:pt>
          <cx:pt idx="73667">0</cx:pt>
          <cx:pt idx="73668">1</cx:pt>
          <cx:pt idx="73669">0</cx:pt>
          <cx:pt idx="73670">0</cx:pt>
          <cx:pt idx="73671">1</cx:pt>
          <cx:pt idx="73672">0</cx:pt>
          <cx:pt idx="73673">1</cx:pt>
          <cx:pt idx="73674">0</cx:pt>
          <cx:pt idx="73675">1</cx:pt>
          <cx:pt idx="73676">0</cx:pt>
          <cx:pt idx="73677">0</cx:pt>
          <cx:pt idx="73678">0</cx:pt>
          <cx:pt idx="73679">1</cx:pt>
          <cx:pt idx="73680">1</cx:pt>
          <cx:pt idx="73681">0</cx:pt>
          <cx:pt idx="73682">0</cx:pt>
          <cx:pt idx="73683">0</cx:pt>
          <cx:pt idx="73684">1</cx:pt>
          <cx:pt idx="73685">0</cx:pt>
          <cx:pt idx="73686">0</cx:pt>
          <cx:pt idx="73687">0</cx:pt>
          <cx:pt idx="73688">0</cx:pt>
          <cx:pt idx="73689">0</cx:pt>
          <cx:pt idx="73690">0</cx:pt>
          <cx:pt idx="73691">0</cx:pt>
          <cx:pt idx="73692">0</cx:pt>
          <cx:pt idx="73693">1</cx:pt>
          <cx:pt idx="73694">0</cx:pt>
          <cx:pt idx="73695">0</cx:pt>
          <cx:pt idx="73696">1</cx:pt>
          <cx:pt idx="73697">0</cx:pt>
          <cx:pt idx="73698">0</cx:pt>
          <cx:pt idx="73699">0</cx:pt>
          <cx:pt idx="73700">0</cx:pt>
          <cx:pt idx="73701">1</cx:pt>
          <cx:pt idx="73702">0</cx:pt>
          <cx:pt idx="73703">1</cx:pt>
          <cx:pt idx="73704">0</cx:pt>
          <cx:pt idx="73705">0</cx:pt>
          <cx:pt idx="73706">0</cx:pt>
          <cx:pt idx="73707">1</cx:pt>
          <cx:pt idx="73708">1</cx:pt>
          <cx:pt idx="73709">0</cx:pt>
          <cx:pt idx="73710">1</cx:pt>
          <cx:pt idx="73711">0</cx:pt>
          <cx:pt idx="73712">0</cx:pt>
          <cx:pt idx="73713">1</cx:pt>
          <cx:pt idx="73714">0</cx:pt>
          <cx:pt idx="73715">1</cx:pt>
          <cx:pt idx="73716">0</cx:pt>
          <cx:pt idx="73717">0</cx:pt>
          <cx:pt idx="73718">1</cx:pt>
          <cx:pt idx="73719">1</cx:pt>
          <cx:pt idx="73720">1</cx:pt>
          <cx:pt idx="73721">0</cx:pt>
          <cx:pt idx="73722">0</cx:pt>
          <cx:pt idx="73723">0</cx:pt>
          <cx:pt idx="73724">1</cx:pt>
          <cx:pt idx="73725">0</cx:pt>
          <cx:pt idx="73726">0</cx:pt>
          <cx:pt idx="73727">0</cx:pt>
          <cx:pt idx="73728">1</cx:pt>
          <cx:pt idx="73729">0</cx:pt>
          <cx:pt idx="73730">1</cx:pt>
          <cx:pt idx="73731">1</cx:pt>
          <cx:pt idx="73732">1</cx:pt>
          <cx:pt idx="73733">0</cx:pt>
          <cx:pt idx="73734">0</cx:pt>
          <cx:pt idx="73735">0</cx:pt>
          <cx:pt idx="73736">0</cx:pt>
          <cx:pt idx="73737">0</cx:pt>
          <cx:pt idx="73738">0</cx:pt>
          <cx:pt idx="73739">0</cx:pt>
          <cx:pt idx="73740">1</cx:pt>
          <cx:pt idx="73741">1</cx:pt>
          <cx:pt idx="73742">1</cx:pt>
          <cx:pt idx="73743">0</cx:pt>
          <cx:pt idx="73744">1</cx:pt>
          <cx:pt idx="73745">1</cx:pt>
          <cx:pt idx="73746">0</cx:pt>
          <cx:pt idx="73747">1</cx:pt>
          <cx:pt idx="73748">1</cx:pt>
          <cx:pt idx="73749">1</cx:pt>
          <cx:pt idx="73750">0</cx:pt>
          <cx:pt idx="73751">0</cx:pt>
          <cx:pt idx="73752">1</cx:pt>
          <cx:pt idx="73753">0</cx:pt>
          <cx:pt idx="73754">0</cx:pt>
          <cx:pt idx="73755">0</cx:pt>
          <cx:pt idx="73756">1</cx:pt>
          <cx:pt idx="73757">1</cx:pt>
          <cx:pt idx="73758">1</cx:pt>
          <cx:pt idx="73759">1</cx:pt>
          <cx:pt idx="73760">1</cx:pt>
          <cx:pt idx="73761">0</cx:pt>
          <cx:pt idx="73762">0</cx:pt>
          <cx:pt idx="73763">0</cx:pt>
          <cx:pt idx="73764">0</cx:pt>
          <cx:pt idx="73765">1</cx:pt>
          <cx:pt idx="73766">0</cx:pt>
          <cx:pt idx="73767">0</cx:pt>
          <cx:pt idx="73768">0</cx:pt>
          <cx:pt idx="73769">0</cx:pt>
          <cx:pt idx="73770">0</cx:pt>
          <cx:pt idx="73771">1</cx:pt>
          <cx:pt idx="73772">0</cx:pt>
          <cx:pt idx="73773">1</cx:pt>
          <cx:pt idx="73774">1</cx:pt>
          <cx:pt idx="73775">0</cx:pt>
          <cx:pt idx="73776">1</cx:pt>
          <cx:pt idx="73777">0</cx:pt>
          <cx:pt idx="73778">0</cx:pt>
          <cx:pt idx="73779">1</cx:pt>
          <cx:pt idx="73780">0</cx:pt>
          <cx:pt idx="73781">0</cx:pt>
          <cx:pt idx="73782">0</cx:pt>
          <cx:pt idx="73783">0</cx:pt>
          <cx:pt idx="73784">1</cx:pt>
          <cx:pt idx="73785">1</cx:pt>
          <cx:pt idx="73786">0</cx:pt>
          <cx:pt idx="73787">0</cx:pt>
          <cx:pt idx="73788">0</cx:pt>
          <cx:pt idx="73789">0</cx:pt>
          <cx:pt idx="73790">1</cx:pt>
          <cx:pt idx="73791">1</cx:pt>
          <cx:pt idx="73792">0</cx:pt>
          <cx:pt idx="73793">0</cx:pt>
          <cx:pt idx="73794">1</cx:pt>
          <cx:pt idx="73795">0</cx:pt>
          <cx:pt idx="73796">1</cx:pt>
          <cx:pt idx="73797">0</cx:pt>
          <cx:pt idx="73798">1</cx:pt>
          <cx:pt idx="73799">0</cx:pt>
          <cx:pt idx="73800">1</cx:pt>
          <cx:pt idx="73801">0</cx:pt>
          <cx:pt idx="73802">1</cx:pt>
          <cx:pt idx="73803">1</cx:pt>
          <cx:pt idx="73804">1</cx:pt>
          <cx:pt idx="73805">1</cx:pt>
          <cx:pt idx="73806">0</cx:pt>
          <cx:pt idx="73807">0</cx:pt>
          <cx:pt idx="73808">1</cx:pt>
          <cx:pt idx="73809">0</cx:pt>
          <cx:pt idx="73810">1</cx:pt>
          <cx:pt idx="73811">1</cx:pt>
          <cx:pt idx="73812">0</cx:pt>
          <cx:pt idx="73813">0</cx:pt>
          <cx:pt idx="73814">0</cx:pt>
          <cx:pt idx="73815">0</cx:pt>
          <cx:pt idx="73816">1</cx:pt>
          <cx:pt idx="73817">1</cx:pt>
          <cx:pt idx="73818">0</cx:pt>
          <cx:pt idx="73819">1</cx:pt>
          <cx:pt idx="73820">0</cx:pt>
          <cx:pt idx="73821">0</cx:pt>
          <cx:pt idx="73822">1</cx:pt>
          <cx:pt idx="73823">1</cx:pt>
          <cx:pt idx="73824">1</cx:pt>
          <cx:pt idx="73825">1</cx:pt>
          <cx:pt idx="73826">0</cx:pt>
          <cx:pt idx="73827">0</cx:pt>
          <cx:pt idx="73828">0</cx:pt>
          <cx:pt idx="73829">1</cx:pt>
          <cx:pt idx="73830">0</cx:pt>
          <cx:pt idx="73831">1</cx:pt>
          <cx:pt idx="73832">1</cx:pt>
          <cx:pt idx="73833">0</cx:pt>
          <cx:pt idx="73834">1</cx:pt>
          <cx:pt idx="73835">1</cx:pt>
          <cx:pt idx="73836">1</cx:pt>
          <cx:pt idx="73837">0</cx:pt>
          <cx:pt idx="73838">0</cx:pt>
          <cx:pt idx="73839">0</cx:pt>
          <cx:pt idx="73840">0</cx:pt>
          <cx:pt idx="73841">1</cx:pt>
          <cx:pt idx="73842">1</cx:pt>
          <cx:pt idx="73843">0</cx:pt>
          <cx:pt idx="73844">0</cx:pt>
          <cx:pt idx="73845">0</cx:pt>
          <cx:pt idx="73846">1</cx:pt>
          <cx:pt idx="73847">0</cx:pt>
          <cx:pt idx="73848">0</cx:pt>
          <cx:pt idx="73849">1</cx:pt>
          <cx:pt idx="73850">1</cx:pt>
          <cx:pt idx="73851">1</cx:pt>
          <cx:pt idx="73852">1</cx:pt>
          <cx:pt idx="73853">1</cx:pt>
          <cx:pt idx="73854">1</cx:pt>
          <cx:pt idx="73855">1</cx:pt>
          <cx:pt idx="73856">1</cx:pt>
          <cx:pt idx="73857">0</cx:pt>
          <cx:pt idx="73858">0</cx:pt>
          <cx:pt idx="73859">1</cx:pt>
          <cx:pt idx="73860">0</cx:pt>
          <cx:pt idx="73861">0</cx:pt>
          <cx:pt idx="73862">1</cx:pt>
          <cx:pt idx="73863">0</cx:pt>
          <cx:pt idx="73864">1</cx:pt>
          <cx:pt idx="73865">0</cx:pt>
          <cx:pt idx="73866">0</cx:pt>
          <cx:pt idx="73867">0</cx:pt>
          <cx:pt idx="73868">1</cx:pt>
          <cx:pt idx="73869">0</cx:pt>
          <cx:pt idx="73870">0</cx:pt>
          <cx:pt idx="73871">1</cx:pt>
          <cx:pt idx="73872">0</cx:pt>
          <cx:pt idx="73873">0</cx:pt>
          <cx:pt idx="73874">1</cx:pt>
          <cx:pt idx="73875">1</cx:pt>
          <cx:pt idx="73876">1</cx:pt>
          <cx:pt idx="73877">1</cx:pt>
          <cx:pt idx="73878">1</cx:pt>
          <cx:pt idx="73879">0</cx:pt>
          <cx:pt idx="73880">1</cx:pt>
          <cx:pt idx="73881">0</cx:pt>
          <cx:pt idx="73882">0</cx:pt>
          <cx:pt idx="73883">1</cx:pt>
          <cx:pt idx="73884">1</cx:pt>
          <cx:pt idx="73885">0</cx:pt>
          <cx:pt idx="73886">0</cx:pt>
          <cx:pt idx="73887">0</cx:pt>
          <cx:pt idx="73888">0</cx:pt>
          <cx:pt idx="73889">1</cx:pt>
          <cx:pt idx="73890">1</cx:pt>
          <cx:pt idx="73891">0</cx:pt>
          <cx:pt idx="73892">1</cx:pt>
          <cx:pt idx="73893">1</cx:pt>
          <cx:pt idx="73894">1</cx:pt>
          <cx:pt idx="73895">0</cx:pt>
          <cx:pt idx="73896">1</cx:pt>
          <cx:pt idx="73897">0</cx:pt>
          <cx:pt idx="73898">0</cx:pt>
          <cx:pt idx="73899">1</cx:pt>
          <cx:pt idx="73900">1</cx:pt>
          <cx:pt idx="73901">1</cx:pt>
          <cx:pt idx="73902">0</cx:pt>
          <cx:pt idx="73903">0</cx:pt>
          <cx:pt idx="73904">0</cx:pt>
          <cx:pt idx="73905">1</cx:pt>
          <cx:pt idx="73906">0</cx:pt>
          <cx:pt idx="73907">0</cx:pt>
          <cx:pt idx="73908">0</cx:pt>
          <cx:pt idx="73909">1</cx:pt>
          <cx:pt idx="73910">1</cx:pt>
          <cx:pt idx="73911">0</cx:pt>
          <cx:pt idx="73912">0</cx:pt>
          <cx:pt idx="73913">1</cx:pt>
          <cx:pt idx="73914">0</cx:pt>
          <cx:pt idx="73915">0</cx:pt>
          <cx:pt idx="73916">0</cx:pt>
          <cx:pt idx="73917">0</cx:pt>
          <cx:pt idx="73918">0</cx:pt>
          <cx:pt idx="73919">0</cx:pt>
          <cx:pt idx="73920">0</cx:pt>
          <cx:pt idx="73921">1</cx:pt>
          <cx:pt idx="73922">1</cx:pt>
          <cx:pt idx="73923">0</cx:pt>
          <cx:pt idx="73924">0</cx:pt>
          <cx:pt idx="73925">0</cx:pt>
          <cx:pt idx="73926">1</cx:pt>
          <cx:pt idx="73927">0</cx:pt>
          <cx:pt idx="73928">0</cx:pt>
          <cx:pt idx="73929">0</cx:pt>
          <cx:pt idx="73930">0</cx:pt>
          <cx:pt idx="73931">1</cx:pt>
          <cx:pt idx="73932">0</cx:pt>
          <cx:pt idx="73933">0</cx:pt>
          <cx:pt idx="73934">1</cx:pt>
          <cx:pt idx="73935">1</cx:pt>
          <cx:pt idx="73936">0</cx:pt>
          <cx:pt idx="73937">1</cx:pt>
          <cx:pt idx="73938">0</cx:pt>
          <cx:pt idx="73939">0</cx:pt>
          <cx:pt idx="73940">1</cx:pt>
          <cx:pt idx="73941">0</cx:pt>
          <cx:pt idx="73942">0</cx:pt>
          <cx:pt idx="73943">1</cx:pt>
          <cx:pt idx="73944">0</cx:pt>
          <cx:pt idx="73945">1</cx:pt>
          <cx:pt idx="73946">0</cx:pt>
          <cx:pt idx="73947">1</cx:pt>
          <cx:pt idx="73948">1</cx:pt>
          <cx:pt idx="73949">0</cx:pt>
          <cx:pt idx="73950">1</cx:pt>
          <cx:pt idx="73951">0</cx:pt>
          <cx:pt idx="73952">1</cx:pt>
          <cx:pt idx="73953">1</cx:pt>
          <cx:pt idx="73954">0</cx:pt>
          <cx:pt idx="73955">1</cx:pt>
          <cx:pt idx="73956">1</cx:pt>
          <cx:pt idx="73957">0</cx:pt>
          <cx:pt idx="73958">0</cx:pt>
          <cx:pt idx="73959">0</cx:pt>
          <cx:pt idx="73960">1</cx:pt>
          <cx:pt idx="73961">0</cx:pt>
          <cx:pt idx="73962">0</cx:pt>
          <cx:pt idx="73963">0</cx:pt>
          <cx:pt idx="73964">0</cx:pt>
          <cx:pt idx="73965">0</cx:pt>
          <cx:pt idx="73966">1</cx:pt>
          <cx:pt idx="73967">1</cx:pt>
          <cx:pt idx="73968">0</cx:pt>
          <cx:pt idx="73969">0</cx:pt>
          <cx:pt idx="73970">1</cx:pt>
          <cx:pt idx="73971">1</cx:pt>
          <cx:pt idx="73972">0</cx:pt>
          <cx:pt idx="73973">0</cx:pt>
          <cx:pt idx="73974">0</cx:pt>
          <cx:pt idx="73975">1</cx:pt>
          <cx:pt idx="73976">1</cx:pt>
          <cx:pt idx="73977">0</cx:pt>
          <cx:pt idx="73978">1</cx:pt>
          <cx:pt idx="73979">1</cx:pt>
          <cx:pt idx="73980">1</cx:pt>
          <cx:pt idx="73981">1</cx:pt>
          <cx:pt idx="73982">0</cx:pt>
          <cx:pt idx="73983">0</cx:pt>
          <cx:pt idx="73984">1</cx:pt>
          <cx:pt idx="73985">1</cx:pt>
          <cx:pt idx="73986">0</cx:pt>
          <cx:pt idx="73987">0</cx:pt>
          <cx:pt idx="73988">1</cx:pt>
          <cx:pt idx="73989">1</cx:pt>
          <cx:pt idx="73990">0</cx:pt>
          <cx:pt idx="73991">0</cx:pt>
          <cx:pt idx="73992">0</cx:pt>
          <cx:pt idx="73993">1</cx:pt>
          <cx:pt idx="73994">0</cx:pt>
          <cx:pt idx="73995">1</cx:pt>
          <cx:pt idx="73996">0</cx:pt>
          <cx:pt idx="73997">1</cx:pt>
          <cx:pt idx="73998">0</cx:pt>
          <cx:pt idx="73999">1</cx:pt>
          <cx:pt idx="74000">0</cx:pt>
          <cx:pt idx="74001">1</cx:pt>
          <cx:pt idx="74002">1</cx:pt>
          <cx:pt idx="74003">1</cx:pt>
          <cx:pt idx="74004">1</cx:pt>
          <cx:pt idx="74005">0</cx:pt>
          <cx:pt idx="74006">1</cx:pt>
          <cx:pt idx="74007">0</cx:pt>
          <cx:pt idx="74008">1</cx:pt>
          <cx:pt idx="74009">0</cx:pt>
          <cx:pt idx="74010">0</cx:pt>
          <cx:pt idx="74011">1</cx:pt>
          <cx:pt idx="74012">0</cx:pt>
          <cx:pt idx="74013">0</cx:pt>
          <cx:pt idx="74014">1</cx:pt>
          <cx:pt idx="74015">0</cx:pt>
          <cx:pt idx="74016">0</cx:pt>
          <cx:pt idx="74017">0</cx:pt>
          <cx:pt idx="74018">1</cx:pt>
          <cx:pt idx="74019">1</cx:pt>
          <cx:pt idx="74020">0</cx:pt>
          <cx:pt idx="74021">0</cx:pt>
          <cx:pt idx="74022">1</cx:pt>
          <cx:pt idx="74023">1</cx:pt>
          <cx:pt idx="74024">0</cx:pt>
          <cx:pt idx="74025">0</cx:pt>
          <cx:pt idx="74026">1</cx:pt>
          <cx:pt idx="74027">0</cx:pt>
          <cx:pt idx="74028">0</cx:pt>
          <cx:pt idx="74029">0</cx:pt>
          <cx:pt idx="74030">0</cx:pt>
          <cx:pt idx="74031">1</cx:pt>
          <cx:pt idx="74032">1</cx:pt>
          <cx:pt idx="74033">0</cx:pt>
          <cx:pt idx="74034">0</cx:pt>
          <cx:pt idx="74035">1</cx:pt>
          <cx:pt idx="74036">0</cx:pt>
          <cx:pt idx="74037">0</cx:pt>
          <cx:pt idx="74038">0</cx:pt>
          <cx:pt idx="74039">1</cx:pt>
          <cx:pt idx="74040">0</cx:pt>
          <cx:pt idx="74041">0</cx:pt>
          <cx:pt idx="74042">1</cx:pt>
          <cx:pt idx="74043">0</cx:pt>
          <cx:pt idx="74044">0</cx:pt>
          <cx:pt idx="74045">1</cx:pt>
          <cx:pt idx="74046">1</cx:pt>
          <cx:pt idx="74047">1</cx:pt>
          <cx:pt idx="74048">0</cx:pt>
          <cx:pt idx="74049">0</cx:pt>
          <cx:pt idx="74050">1</cx:pt>
          <cx:pt idx="74051">0</cx:pt>
          <cx:pt idx="74052">1</cx:pt>
          <cx:pt idx="74053">0</cx:pt>
          <cx:pt idx="74054">0</cx:pt>
          <cx:pt idx="74055">1</cx:pt>
          <cx:pt idx="74056">1</cx:pt>
          <cx:pt idx="74057">0</cx:pt>
          <cx:pt idx="74058">0</cx:pt>
          <cx:pt idx="74059">1</cx:pt>
          <cx:pt idx="74060">0</cx:pt>
          <cx:pt idx="74061">1</cx:pt>
          <cx:pt idx="74062">0</cx:pt>
          <cx:pt idx="74063">0</cx:pt>
          <cx:pt idx="74064">0</cx:pt>
          <cx:pt idx="74065">1</cx:pt>
          <cx:pt idx="74066">1</cx:pt>
          <cx:pt idx="74067">0</cx:pt>
          <cx:pt idx="74068">0</cx:pt>
          <cx:pt idx="74069">0</cx:pt>
          <cx:pt idx="74070">0</cx:pt>
          <cx:pt idx="74071">0</cx:pt>
          <cx:pt idx="74072">0</cx:pt>
          <cx:pt idx="74073">0</cx:pt>
          <cx:pt idx="74074">0</cx:pt>
          <cx:pt idx="74075">1</cx:pt>
          <cx:pt idx="74076">1</cx:pt>
          <cx:pt idx="74077">0</cx:pt>
          <cx:pt idx="74078">0</cx:pt>
          <cx:pt idx="74079">0</cx:pt>
          <cx:pt idx="74080">1</cx:pt>
          <cx:pt idx="74081">1</cx:pt>
          <cx:pt idx="74082">0</cx:pt>
          <cx:pt idx="74083">1</cx:pt>
          <cx:pt idx="74084">0</cx:pt>
          <cx:pt idx="74085">1</cx:pt>
          <cx:pt idx="74086">1</cx:pt>
          <cx:pt idx="74087">0</cx:pt>
          <cx:pt idx="74088">0</cx:pt>
          <cx:pt idx="74089">1</cx:pt>
          <cx:pt idx="74090">0</cx:pt>
          <cx:pt idx="74091">0</cx:pt>
          <cx:pt idx="74092">0</cx:pt>
          <cx:pt idx="74093">0</cx:pt>
          <cx:pt idx="74094">0</cx:pt>
          <cx:pt idx="74095">1</cx:pt>
          <cx:pt idx="74096">0</cx:pt>
          <cx:pt idx="74097">0</cx:pt>
          <cx:pt idx="74098">0</cx:pt>
          <cx:pt idx="74099">1</cx:pt>
          <cx:pt idx="74100">0</cx:pt>
          <cx:pt idx="74101">0</cx:pt>
          <cx:pt idx="74102">0</cx:pt>
          <cx:pt idx="74103">1</cx:pt>
          <cx:pt idx="74104">1</cx:pt>
          <cx:pt idx="74105">1</cx:pt>
          <cx:pt idx="74106">1</cx:pt>
          <cx:pt idx="74107">0</cx:pt>
          <cx:pt idx="74108">1</cx:pt>
          <cx:pt idx="74109">1</cx:pt>
          <cx:pt idx="74110">0</cx:pt>
          <cx:pt idx="74111">0</cx:pt>
          <cx:pt idx="74112">0</cx:pt>
          <cx:pt idx="74113">1</cx:pt>
          <cx:pt idx="74114">0</cx:pt>
          <cx:pt idx="74115">0</cx:pt>
          <cx:pt idx="74116">0</cx:pt>
          <cx:pt idx="74117">0</cx:pt>
          <cx:pt idx="74118">1</cx:pt>
          <cx:pt idx="74119">0</cx:pt>
          <cx:pt idx="74120">0</cx:pt>
          <cx:pt idx="74121">0</cx:pt>
          <cx:pt idx="74122">0</cx:pt>
          <cx:pt idx="74123">1</cx:pt>
          <cx:pt idx="74124">0</cx:pt>
          <cx:pt idx="74125">0</cx:pt>
          <cx:pt idx="74126">1</cx:pt>
          <cx:pt idx="74127">0</cx:pt>
          <cx:pt idx="74128">0</cx:pt>
          <cx:pt idx="74129">1</cx:pt>
          <cx:pt idx="74130">0</cx:pt>
          <cx:pt idx="74131">0</cx:pt>
          <cx:pt idx="74132">1</cx:pt>
          <cx:pt idx="74133">0</cx:pt>
          <cx:pt idx="74134">0</cx:pt>
          <cx:pt idx="74135">1</cx:pt>
          <cx:pt idx="74136">0</cx:pt>
          <cx:pt idx="74137">1</cx:pt>
          <cx:pt idx="74138">1</cx:pt>
          <cx:pt idx="74139">0</cx:pt>
          <cx:pt idx="74140">1</cx:pt>
          <cx:pt idx="74141">0</cx:pt>
          <cx:pt idx="74142">1</cx:pt>
          <cx:pt idx="74143">0</cx:pt>
          <cx:pt idx="74144">0</cx:pt>
          <cx:pt idx="74145">0</cx:pt>
          <cx:pt idx="74146">0</cx:pt>
          <cx:pt idx="74147">0</cx:pt>
          <cx:pt idx="74148">1</cx:pt>
          <cx:pt idx="74149">0</cx:pt>
          <cx:pt idx="74150">0</cx:pt>
          <cx:pt idx="74151">1</cx:pt>
          <cx:pt idx="74152">1</cx:pt>
          <cx:pt idx="74153">0</cx:pt>
          <cx:pt idx="74154">1</cx:pt>
          <cx:pt idx="74155">1</cx:pt>
          <cx:pt idx="74156">0</cx:pt>
          <cx:pt idx="74157">0</cx:pt>
          <cx:pt idx="74158">1</cx:pt>
          <cx:pt idx="74159">1</cx:pt>
          <cx:pt idx="74160">0</cx:pt>
          <cx:pt idx="74161">1</cx:pt>
          <cx:pt idx="74162">0</cx:pt>
          <cx:pt idx="74163">0</cx:pt>
          <cx:pt idx="74164">1</cx:pt>
          <cx:pt idx="74165">1</cx:pt>
          <cx:pt idx="74166">1</cx:pt>
          <cx:pt idx="74167">0</cx:pt>
          <cx:pt idx="74168">0</cx:pt>
          <cx:pt idx="74169">0</cx:pt>
          <cx:pt idx="74170">1</cx:pt>
          <cx:pt idx="74171">0</cx:pt>
          <cx:pt idx="74172">1</cx:pt>
          <cx:pt idx="74173">1</cx:pt>
          <cx:pt idx="74174">1</cx:pt>
          <cx:pt idx="74175">1</cx:pt>
          <cx:pt idx="74176">0</cx:pt>
          <cx:pt idx="74177">0</cx:pt>
          <cx:pt idx="74178">1</cx:pt>
          <cx:pt idx="74179">0</cx:pt>
          <cx:pt idx="74180">1</cx:pt>
          <cx:pt idx="74181">1</cx:pt>
          <cx:pt idx="74182">0</cx:pt>
          <cx:pt idx="74183">0</cx:pt>
          <cx:pt idx="74184">1</cx:pt>
          <cx:pt idx="74185">1</cx:pt>
          <cx:pt idx="74186">1</cx:pt>
          <cx:pt idx="74187">0</cx:pt>
          <cx:pt idx="74188">0</cx:pt>
          <cx:pt idx="74189">1</cx:pt>
          <cx:pt idx="74190">1</cx:pt>
          <cx:pt idx="74191">0</cx:pt>
          <cx:pt idx="74192">0</cx:pt>
          <cx:pt idx="74193">0</cx:pt>
          <cx:pt idx="74194">0</cx:pt>
          <cx:pt idx="74195">0</cx:pt>
          <cx:pt idx="74196">1</cx:pt>
          <cx:pt idx="74197">1</cx:pt>
          <cx:pt idx="74198">0</cx:pt>
          <cx:pt idx="74199">0</cx:pt>
          <cx:pt idx="74200">0</cx:pt>
          <cx:pt idx="74201">1</cx:pt>
          <cx:pt idx="74202">0</cx:pt>
          <cx:pt idx="74203">1</cx:pt>
          <cx:pt idx="74204">1</cx:pt>
          <cx:pt idx="74205">0</cx:pt>
          <cx:pt idx="74206">0</cx:pt>
          <cx:pt idx="74207">0</cx:pt>
          <cx:pt idx="74208">0</cx:pt>
          <cx:pt idx="74209">1</cx:pt>
          <cx:pt idx="74210">1</cx:pt>
          <cx:pt idx="74211">0</cx:pt>
          <cx:pt idx="74212">0</cx:pt>
          <cx:pt idx="74213">0</cx:pt>
          <cx:pt idx="74214">1</cx:pt>
          <cx:pt idx="74215">0</cx:pt>
          <cx:pt idx="74216">1</cx:pt>
          <cx:pt idx="74217">0</cx:pt>
          <cx:pt idx="74218">1</cx:pt>
          <cx:pt idx="74219">0</cx:pt>
          <cx:pt idx="74220">1</cx:pt>
          <cx:pt idx="74221">1</cx:pt>
          <cx:pt idx="74222">0</cx:pt>
          <cx:pt idx="74223">1</cx:pt>
          <cx:pt idx="74224">0</cx:pt>
          <cx:pt idx="74225">0</cx:pt>
          <cx:pt idx="74226">0</cx:pt>
          <cx:pt idx="74227">0</cx:pt>
          <cx:pt idx="74228">0</cx:pt>
          <cx:pt idx="74229">0</cx:pt>
          <cx:pt idx="74230">1</cx:pt>
          <cx:pt idx="74231">0</cx:pt>
          <cx:pt idx="74232">0</cx:pt>
          <cx:pt idx="74233">1</cx:pt>
          <cx:pt idx="74234">1</cx:pt>
          <cx:pt idx="74235">0</cx:pt>
          <cx:pt idx="74236">1</cx:pt>
          <cx:pt idx="74237">1</cx:pt>
          <cx:pt idx="74238">1</cx:pt>
          <cx:pt idx="74239">0</cx:pt>
          <cx:pt idx="74240">0</cx:pt>
          <cx:pt idx="74241">1</cx:pt>
          <cx:pt idx="74242">1</cx:pt>
          <cx:pt idx="74243">0</cx:pt>
          <cx:pt idx="74244">0</cx:pt>
          <cx:pt idx="74245">1</cx:pt>
          <cx:pt idx="74246">1</cx:pt>
          <cx:pt idx="74247">0</cx:pt>
          <cx:pt idx="74248">1</cx:pt>
          <cx:pt idx="74249">0</cx:pt>
          <cx:pt idx="74250">0</cx:pt>
          <cx:pt idx="74251">0</cx:pt>
          <cx:pt idx="74252">1</cx:pt>
          <cx:pt idx="74253">0</cx:pt>
          <cx:pt idx="74254">1</cx:pt>
          <cx:pt idx="74255">0</cx:pt>
          <cx:pt idx="74256">0</cx:pt>
          <cx:pt idx="74257">1</cx:pt>
          <cx:pt idx="74258">0</cx:pt>
          <cx:pt idx="74259">0</cx:pt>
          <cx:pt idx="74260">1</cx:pt>
          <cx:pt idx="74261">0</cx:pt>
          <cx:pt idx="74262">1</cx:pt>
          <cx:pt idx="74263">0</cx:pt>
          <cx:pt idx="74264">1</cx:pt>
          <cx:pt idx="74265">1</cx:pt>
          <cx:pt idx="74266">1</cx:pt>
          <cx:pt idx="74267">1</cx:pt>
          <cx:pt idx="74268">1</cx:pt>
          <cx:pt idx="74269">1</cx:pt>
          <cx:pt idx="74270">0</cx:pt>
          <cx:pt idx="74271">1</cx:pt>
          <cx:pt idx="74272">0</cx:pt>
          <cx:pt idx="74273">0</cx:pt>
          <cx:pt idx="74274">1</cx:pt>
          <cx:pt idx="74275">0</cx:pt>
          <cx:pt idx="74276">0</cx:pt>
          <cx:pt idx="74277">1</cx:pt>
          <cx:pt idx="74278">0</cx:pt>
          <cx:pt idx="74279">1</cx:pt>
          <cx:pt idx="74280">0</cx:pt>
          <cx:pt idx="74281">1</cx:pt>
          <cx:pt idx="74282">1</cx:pt>
          <cx:pt idx="74283">0</cx:pt>
          <cx:pt idx="74284">0</cx:pt>
          <cx:pt idx="74285">0</cx:pt>
          <cx:pt idx="74286">0</cx:pt>
          <cx:pt idx="74287">0</cx:pt>
          <cx:pt idx="74288">0</cx:pt>
          <cx:pt idx="74289">0</cx:pt>
          <cx:pt idx="74290">0</cx:pt>
          <cx:pt idx="74291">1</cx:pt>
          <cx:pt idx="74292">0</cx:pt>
          <cx:pt idx="74293">0</cx:pt>
          <cx:pt idx="74294">0</cx:pt>
          <cx:pt idx="74295">1</cx:pt>
          <cx:pt idx="74296">1</cx:pt>
          <cx:pt idx="74297">1</cx:pt>
          <cx:pt idx="74298">1</cx:pt>
          <cx:pt idx="74299">0</cx:pt>
          <cx:pt idx="74300">0</cx:pt>
          <cx:pt idx="74301">0</cx:pt>
          <cx:pt idx="74302">0</cx:pt>
          <cx:pt idx="74303">0</cx:pt>
          <cx:pt idx="74304">1</cx:pt>
          <cx:pt idx="74305">0</cx:pt>
          <cx:pt idx="74306">1</cx:pt>
          <cx:pt idx="74307">0</cx:pt>
          <cx:pt idx="74308">0</cx:pt>
          <cx:pt idx="74309">0</cx:pt>
          <cx:pt idx="74310">1</cx:pt>
          <cx:pt idx="74311">0</cx:pt>
          <cx:pt idx="74312">0</cx:pt>
          <cx:pt idx="74313">0</cx:pt>
          <cx:pt idx="74314">0</cx:pt>
          <cx:pt idx="74315">1</cx:pt>
          <cx:pt idx="74316">0</cx:pt>
          <cx:pt idx="74317">0</cx:pt>
          <cx:pt idx="74318">0</cx:pt>
          <cx:pt idx="74319">0</cx:pt>
          <cx:pt idx="74320">1</cx:pt>
          <cx:pt idx="74321">1</cx:pt>
          <cx:pt idx="74322">1</cx:pt>
          <cx:pt idx="74323">1</cx:pt>
          <cx:pt idx="74324">0</cx:pt>
          <cx:pt idx="74325">0</cx:pt>
          <cx:pt idx="74326">0</cx:pt>
          <cx:pt idx="74327">1</cx:pt>
          <cx:pt idx="74328">1</cx:pt>
          <cx:pt idx="74329">1</cx:pt>
          <cx:pt idx="74330">0</cx:pt>
          <cx:pt idx="74331">0</cx:pt>
          <cx:pt idx="74332">0</cx:pt>
          <cx:pt idx="74333">0</cx:pt>
          <cx:pt idx="74334">0</cx:pt>
          <cx:pt idx="74335">1</cx:pt>
          <cx:pt idx="74336">1</cx:pt>
          <cx:pt idx="74337">0</cx:pt>
          <cx:pt idx="74338">1</cx:pt>
          <cx:pt idx="74339">1</cx:pt>
          <cx:pt idx="74340">0</cx:pt>
          <cx:pt idx="74341">1</cx:pt>
          <cx:pt idx="74342">1</cx:pt>
          <cx:pt idx="74343">1</cx:pt>
          <cx:pt idx="74344">1</cx:pt>
          <cx:pt idx="74345">1</cx:pt>
          <cx:pt idx="74346">1</cx:pt>
          <cx:pt idx="74347">0</cx:pt>
          <cx:pt idx="74348">0</cx:pt>
          <cx:pt idx="74349">0</cx:pt>
          <cx:pt idx="74350">1</cx:pt>
          <cx:pt idx="74351">0</cx:pt>
          <cx:pt idx="74352">0</cx:pt>
          <cx:pt idx="74353">1</cx:pt>
          <cx:pt idx="74354">0</cx:pt>
          <cx:pt idx="74355">0</cx:pt>
          <cx:pt idx="74356">0</cx:pt>
          <cx:pt idx="74357">1</cx:pt>
          <cx:pt idx="74358">1</cx:pt>
          <cx:pt idx="74359">1</cx:pt>
          <cx:pt idx="74360">1</cx:pt>
          <cx:pt idx="74361">1</cx:pt>
          <cx:pt idx="74362">0</cx:pt>
          <cx:pt idx="74363">1</cx:pt>
          <cx:pt idx="74364">1</cx:pt>
          <cx:pt idx="74365">1</cx:pt>
          <cx:pt idx="74366">0</cx:pt>
          <cx:pt idx="74367">0</cx:pt>
          <cx:pt idx="74368">0</cx:pt>
          <cx:pt idx="74369">0</cx:pt>
          <cx:pt idx="74370">0</cx:pt>
          <cx:pt idx="74371">1</cx:pt>
          <cx:pt idx="74372">1</cx:pt>
          <cx:pt idx="74373">1</cx:pt>
          <cx:pt idx="74374">1</cx:pt>
          <cx:pt idx="74375">0</cx:pt>
          <cx:pt idx="74376">1</cx:pt>
          <cx:pt idx="74377">0</cx:pt>
          <cx:pt idx="74378">1</cx:pt>
          <cx:pt idx="74379">1</cx:pt>
          <cx:pt idx="74380">0</cx:pt>
          <cx:pt idx="74381">0</cx:pt>
          <cx:pt idx="74382">1</cx:pt>
          <cx:pt idx="74383">0</cx:pt>
          <cx:pt idx="74384">0</cx:pt>
          <cx:pt idx="74385">0</cx:pt>
          <cx:pt idx="74386">1</cx:pt>
          <cx:pt idx="74387">1</cx:pt>
          <cx:pt idx="74388">1</cx:pt>
          <cx:pt idx="74389">0</cx:pt>
          <cx:pt idx="74390">0</cx:pt>
          <cx:pt idx="74391">1</cx:pt>
          <cx:pt idx="74392">0</cx:pt>
          <cx:pt idx="74393">1</cx:pt>
          <cx:pt idx="74394">1</cx:pt>
          <cx:pt idx="74395">0</cx:pt>
          <cx:pt idx="74396">0</cx:pt>
          <cx:pt idx="74397">1</cx:pt>
          <cx:pt idx="74398">0</cx:pt>
          <cx:pt idx="74399">1</cx:pt>
          <cx:pt idx="74400">0</cx:pt>
          <cx:pt idx="74401">0</cx:pt>
          <cx:pt idx="74402">0</cx:pt>
          <cx:pt idx="74403">0</cx:pt>
          <cx:pt idx="74404">1</cx:pt>
          <cx:pt idx="74405">0</cx:pt>
          <cx:pt idx="74406">0</cx:pt>
          <cx:pt idx="74407">0</cx:pt>
          <cx:pt idx="74408">0</cx:pt>
          <cx:pt idx="74409">0</cx:pt>
          <cx:pt idx="74410">1</cx:pt>
          <cx:pt idx="74411">0</cx:pt>
          <cx:pt idx="74412">1</cx:pt>
          <cx:pt idx="74413">0</cx:pt>
          <cx:pt idx="74414">1</cx:pt>
          <cx:pt idx="74415">1</cx:pt>
          <cx:pt idx="74416">1</cx:pt>
          <cx:pt idx="74417">0</cx:pt>
          <cx:pt idx="74418">0</cx:pt>
          <cx:pt idx="74419">1</cx:pt>
          <cx:pt idx="74420">1</cx:pt>
          <cx:pt idx="74421">1</cx:pt>
          <cx:pt idx="74422">0</cx:pt>
          <cx:pt idx="74423">1</cx:pt>
          <cx:pt idx="74424">1</cx:pt>
          <cx:pt idx="74425">1</cx:pt>
          <cx:pt idx="74426">1</cx:pt>
          <cx:pt idx="74427">1</cx:pt>
          <cx:pt idx="74428">0</cx:pt>
          <cx:pt idx="74429">0</cx:pt>
          <cx:pt idx="74430">0</cx:pt>
          <cx:pt idx="74431">1</cx:pt>
          <cx:pt idx="74432">1</cx:pt>
          <cx:pt idx="74433">0</cx:pt>
          <cx:pt idx="74434">1</cx:pt>
          <cx:pt idx="74435">0</cx:pt>
          <cx:pt idx="74436">0</cx:pt>
          <cx:pt idx="74437">0</cx:pt>
          <cx:pt idx="74438">0</cx:pt>
          <cx:pt idx="74439">0</cx:pt>
          <cx:pt idx="74440">0</cx:pt>
          <cx:pt idx="74441">0</cx:pt>
          <cx:pt idx="74442">0</cx:pt>
          <cx:pt idx="74443">1</cx:pt>
          <cx:pt idx="74444">1</cx:pt>
          <cx:pt idx="74445">0</cx:pt>
          <cx:pt idx="74446">0</cx:pt>
          <cx:pt idx="74447">1</cx:pt>
          <cx:pt idx="74448">1</cx:pt>
          <cx:pt idx="74449">1</cx:pt>
          <cx:pt idx="74450">0</cx:pt>
          <cx:pt idx="74451">0</cx:pt>
          <cx:pt idx="74452">0</cx:pt>
          <cx:pt idx="74453">0</cx:pt>
          <cx:pt idx="74454">0</cx:pt>
          <cx:pt idx="74455">0</cx:pt>
          <cx:pt idx="74456">1</cx:pt>
          <cx:pt idx="74457">0</cx:pt>
          <cx:pt idx="74458">1</cx:pt>
          <cx:pt idx="74459">1</cx:pt>
          <cx:pt idx="74460">0</cx:pt>
          <cx:pt idx="74461">0</cx:pt>
          <cx:pt idx="74462">0</cx:pt>
          <cx:pt idx="74463">1</cx:pt>
          <cx:pt idx="74464">0</cx:pt>
          <cx:pt idx="74465">1</cx:pt>
          <cx:pt idx="74466">0</cx:pt>
          <cx:pt idx="74467">0</cx:pt>
          <cx:pt idx="74468">0</cx:pt>
          <cx:pt idx="74469">0</cx:pt>
          <cx:pt idx="74470">1</cx:pt>
          <cx:pt idx="74471">0</cx:pt>
          <cx:pt idx="74472">1</cx:pt>
          <cx:pt idx="74473">1</cx:pt>
          <cx:pt idx="74474">1</cx:pt>
          <cx:pt idx="74475">1</cx:pt>
          <cx:pt idx="74476">1</cx:pt>
          <cx:pt idx="74477">0</cx:pt>
          <cx:pt idx="74478">0</cx:pt>
          <cx:pt idx="74479">1</cx:pt>
          <cx:pt idx="74480">1</cx:pt>
          <cx:pt idx="74481">0</cx:pt>
          <cx:pt idx="74482">0</cx:pt>
          <cx:pt idx="74483">1</cx:pt>
          <cx:pt idx="74484">1</cx:pt>
          <cx:pt idx="74485">0</cx:pt>
          <cx:pt idx="74486">0</cx:pt>
          <cx:pt idx="74487">0</cx:pt>
          <cx:pt idx="74488">1</cx:pt>
          <cx:pt idx="74489">0</cx:pt>
          <cx:pt idx="74490">0</cx:pt>
          <cx:pt idx="74491">0</cx:pt>
          <cx:pt idx="74492">0</cx:pt>
          <cx:pt idx="74493">0</cx:pt>
          <cx:pt idx="74494">0</cx:pt>
          <cx:pt idx="74495">0</cx:pt>
          <cx:pt idx="74496">0</cx:pt>
          <cx:pt idx="74497">0</cx:pt>
          <cx:pt idx="74498">0</cx:pt>
          <cx:pt idx="74499">1</cx:pt>
          <cx:pt idx="74500">0</cx:pt>
          <cx:pt idx="74501">1</cx:pt>
          <cx:pt idx="74502">0</cx:pt>
          <cx:pt idx="74503">1</cx:pt>
          <cx:pt idx="74504">0</cx:pt>
          <cx:pt idx="74505">1</cx:pt>
          <cx:pt idx="74506">0</cx:pt>
          <cx:pt idx="74507">1</cx:pt>
          <cx:pt idx="74508">1</cx:pt>
          <cx:pt idx="74509">0</cx:pt>
          <cx:pt idx="74510">0</cx:pt>
          <cx:pt idx="74511">1</cx:pt>
          <cx:pt idx="74512">0</cx:pt>
          <cx:pt idx="74513">0</cx:pt>
          <cx:pt idx="74514">0</cx:pt>
          <cx:pt idx="74515">0</cx:pt>
          <cx:pt idx="74516">0</cx:pt>
          <cx:pt idx="74517">1</cx:pt>
          <cx:pt idx="74518">1</cx:pt>
          <cx:pt idx="74519">0</cx:pt>
          <cx:pt idx="74520">1</cx:pt>
          <cx:pt idx="74521">0</cx:pt>
          <cx:pt idx="74522">0</cx:pt>
          <cx:pt idx="74523">0</cx:pt>
          <cx:pt idx="74524">0</cx:pt>
          <cx:pt idx="74525">1</cx:pt>
          <cx:pt idx="74526">0</cx:pt>
          <cx:pt idx="74527">0</cx:pt>
          <cx:pt idx="74528">1</cx:pt>
          <cx:pt idx="74529">0</cx:pt>
          <cx:pt idx="74530">0</cx:pt>
          <cx:pt idx="74531">0</cx:pt>
          <cx:pt idx="74532">0</cx:pt>
          <cx:pt idx="74533">0</cx:pt>
          <cx:pt idx="74534">0</cx:pt>
          <cx:pt idx="74535">0</cx:pt>
          <cx:pt idx="74536">1</cx:pt>
          <cx:pt idx="74537">1</cx:pt>
          <cx:pt idx="74538">1</cx:pt>
          <cx:pt idx="74539">1</cx:pt>
          <cx:pt idx="74540">0</cx:pt>
          <cx:pt idx="74541">1</cx:pt>
          <cx:pt idx="74542">0</cx:pt>
          <cx:pt idx="74543">1</cx:pt>
          <cx:pt idx="74544">0</cx:pt>
          <cx:pt idx="74545">0</cx:pt>
          <cx:pt idx="74546">0</cx:pt>
          <cx:pt idx="74547">0</cx:pt>
          <cx:pt idx="74548">1</cx:pt>
          <cx:pt idx="74549">0</cx:pt>
          <cx:pt idx="74550">1</cx:pt>
          <cx:pt idx="74551">0</cx:pt>
          <cx:pt idx="74552">1</cx:pt>
          <cx:pt idx="74553">0</cx:pt>
          <cx:pt idx="74554">1</cx:pt>
          <cx:pt idx="74555">0</cx:pt>
          <cx:pt idx="74556">0</cx:pt>
          <cx:pt idx="74557">0</cx:pt>
          <cx:pt idx="74558">1</cx:pt>
          <cx:pt idx="74559">1</cx:pt>
          <cx:pt idx="74560">0</cx:pt>
          <cx:pt idx="74561">0</cx:pt>
          <cx:pt idx="74562">1</cx:pt>
          <cx:pt idx="74563">0</cx:pt>
          <cx:pt idx="74564">1</cx:pt>
          <cx:pt idx="74565">0</cx:pt>
          <cx:pt idx="74566">1</cx:pt>
          <cx:pt idx="74567">0</cx:pt>
          <cx:pt idx="74568">0</cx:pt>
          <cx:pt idx="74569">0</cx:pt>
          <cx:pt idx="74570">0</cx:pt>
          <cx:pt idx="74571">1</cx:pt>
          <cx:pt idx="74572">0</cx:pt>
          <cx:pt idx="74573">0</cx:pt>
          <cx:pt idx="74574">0</cx:pt>
          <cx:pt idx="74575">1</cx:pt>
          <cx:pt idx="74576">0</cx:pt>
          <cx:pt idx="74577">0</cx:pt>
          <cx:pt idx="74578">0</cx:pt>
          <cx:pt idx="74579">0</cx:pt>
          <cx:pt idx="74580">0</cx:pt>
          <cx:pt idx="74581">0</cx:pt>
          <cx:pt idx="74582">1</cx:pt>
          <cx:pt idx="74583">1</cx:pt>
          <cx:pt idx="74584">1</cx:pt>
          <cx:pt idx="74585">1</cx:pt>
          <cx:pt idx="74586">0</cx:pt>
          <cx:pt idx="74587">1</cx:pt>
          <cx:pt idx="74588">0</cx:pt>
          <cx:pt idx="74589">0</cx:pt>
          <cx:pt idx="74590">1</cx:pt>
          <cx:pt idx="74591">1</cx:pt>
          <cx:pt idx="74592">0</cx:pt>
          <cx:pt idx="74593">0</cx:pt>
          <cx:pt idx="74594">0</cx:pt>
          <cx:pt idx="74595">1</cx:pt>
          <cx:pt idx="74596">1</cx:pt>
          <cx:pt idx="74597">0</cx:pt>
          <cx:pt idx="74598">0</cx:pt>
          <cx:pt idx="74599">0</cx:pt>
          <cx:pt idx="74600">1</cx:pt>
          <cx:pt idx="74601">1</cx:pt>
          <cx:pt idx="74602">1</cx:pt>
          <cx:pt idx="74603">1</cx:pt>
          <cx:pt idx="74604">0</cx:pt>
          <cx:pt idx="74605">0</cx:pt>
          <cx:pt idx="74606">1</cx:pt>
          <cx:pt idx="74607">0</cx:pt>
          <cx:pt idx="74608">0</cx:pt>
          <cx:pt idx="74609">0</cx:pt>
          <cx:pt idx="74610">0</cx:pt>
          <cx:pt idx="74611">0</cx:pt>
          <cx:pt idx="74612">0</cx:pt>
          <cx:pt idx="74613">0</cx:pt>
          <cx:pt idx="74614">0</cx:pt>
          <cx:pt idx="74615">0</cx:pt>
          <cx:pt idx="74616">1</cx:pt>
          <cx:pt idx="74617">0</cx:pt>
          <cx:pt idx="74618">0</cx:pt>
          <cx:pt idx="74619">0</cx:pt>
          <cx:pt idx="74620">1</cx:pt>
          <cx:pt idx="74621">1</cx:pt>
          <cx:pt idx="74622">0</cx:pt>
          <cx:pt idx="74623">0</cx:pt>
          <cx:pt idx="74624">1</cx:pt>
          <cx:pt idx="74625">0</cx:pt>
          <cx:pt idx="74626">0</cx:pt>
          <cx:pt idx="74627">0</cx:pt>
          <cx:pt idx="74628">1</cx:pt>
          <cx:pt idx="74629">1</cx:pt>
          <cx:pt idx="74630">0</cx:pt>
          <cx:pt idx="74631">0</cx:pt>
          <cx:pt idx="74632">0</cx:pt>
          <cx:pt idx="74633">1</cx:pt>
          <cx:pt idx="74634">1</cx:pt>
          <cx:pt idx="74635">0</cx:pt>
          <cx:pt idx="74636">1</cx:pt>
          <cx:pt idx="74637">1</cx:pt>
          <cx:pt idx="74638">0</cx:pt>
          <cx:pt idx="74639">1</cx:pt>
          <cx:pt idx="74640">1</cx:pt>
          <cx:pt idx="74641">0</cx:pt>
          <cx:pt idx="74642">0</cx:pt>
          <cx:pt idx="74643">1</cx:pt>
          <cx:pt idx="74644">1</cx:pt>
          <cx:pt idx="74645">0</cx:pt>
          <cx:pt idx="74646">1</cx:pt>
          <cx:pt idx="74647">0</cx:pt>
          <cx:pt idx="74648">1</cx:pt>
          <cx:pt idx="74649">1</cx:pt>
          <cx:pt idx="74650">0</cx:pt>
          <cx:pt idx="74651">0</cx:pt>
          <cx:pt idx="74652">0</cx:pt>
          <cx:pt idx="74653">1</cx:pt>
          <cx:pt idx="74654">1</cx:pt>
          <cx:pt idx="74655">0</cx:pt>
          <cx:pt idx="74656">1</cx:pt>
          <cx:pt idx="74657">0</cx:pt>
          <cx:pt idx="74658">0</cx:pt>
          <cx:pt idx="74659">0</cx:pt>
          <cx:pt idx="74660">0</cx:pt>
          <cx:pt idx="74661">1</cx:pt>
          <cx:pt idx="74662">0</cx:pt>
          <cx:pt idx="74663">1</cx:pt>
          <cx:pt idx="74664">0</cx:pt>
          <cx:pt idx="74665">1</cx:pt>
          <cx:pt idx="74666">0</cx:pt>
          <cx:pt idx="74667">0</cx:pt>
          <cx:pt idx="74668">0</cx:pt>
          <cx:pt idx="74669">0</cx:pt>
          <cx:pt idx="74670">0</cx:pt>
          <cx:pt idx="74671">0</cx:pt>
          <cx:pt idx="74672">1</cx:pt>
          <cx:pt idx="74673">1</cx:pt>
          <cx:pt idx="74674">0</cx:pt>
          <cx:pt idx="74675">1</cx:pt>
          <cx:pt idx="74676">0</cx:pt>
          <cx:pt idx="74677">0</cx:pt>
          <cx:pt idx="74678">1</cx:pt>
          <cx:pt idx="74679">0</cx:pt>
          <cx:pt idx="74680">1</cx:pt>
          <cx:pt idx="74681">0</cx:pt>
          <cx:pt idx="74682">0</cx:pt>
          <cx:pt idx="74683">0</cx:pt>
          <cx:pt idx="74684">1</cx:pt>
          <cx:pt idx="74685">0</cx:pt>
          <cx:pt idx="74686">1</cx:pt>
          <cx:pt idx="74687">1</cx:pt>
          <cx:pt idx="74688">0</cx:pt>
          <cx:pt idx="74689">1</cx:pt>
          <cx:pt idx="74690">0</cx:pt>
          <cx:pt idx="74691">1</cx:pt>
          <cx:pt idx="74692">1</cx:pt>
          <cx:pt idx="74693">0</cx:pt>
          <cx:pt idx="74694">0</cx:pt>
          <cx:pt idx="74695">1</cx:pt>
          <cx:pt idx="74696">0</cx:pt>
          <cx:pt idx="74697">1</cx:pt>
          <cx:pt idx="74698">1</cx:pt>
          <cx:pt idx="74699">0</cx:pt>
          <cx:pt idx="74700">0</cx:pt>
          <cx:pt idx="74701">0</cx:pt>
          <cx:pt idx="74702">1</cx:pt>
          <cx:pt idx="74703">1</cx:pt>
          <cx:pt idx="74704">0</cx:pt>
          <cx:pt idx="74705">0</cx:pt>
          <cx:pt idx="74706">0</cx:pt>
          <cx:pt idx="74707">1</cx:pt>
          <cx:pt idx="74708">1</cx:pt>
          <cx:pt idx="74709">1</cx:pt>
          <cx:pt idx="74710">0</cx:pt>
          <cx:pt idx="74711">0</cx:pt>
          <cx:pt idx="74712">0</cx:pt>
          <cx:pt idx="74713">1</cx:pt>
          <cx:pt idx="74714">1</cx:pt>
          <cx:pt idx="74715">0</cx:pt>
          <cx:pt idx="74716">0</cx:pt>
          <cx:pt idx="74717">1</cx:pt>
          <cx:pt idx="74718">0</cx:pt>
          <cx:pt idx="74719">0</cx:pt>
          <cx:pt idx="74720">1</cx:pt>
          <cx:pt idx="74721">0</cx:pt>
          <cx:pt idx="74722">0</cx:pt>
          <cx:pt idx="74723">1</cx:pt>
          <cx:pt idx="74724">0</cx:pt>
          <cx:pt idx="74725">0</cx:pt>
          <cx:pt idx="74726">1</cx:pt>
          <cx:pt idx="74727">1</cx:pt>
          <cx:pt idx="74728">0</cx:pt>
          <cx:pt idx="74729">1</cx:pt>
          <cx:pt idx="74730">0</cx:pt>
          <cx:pt idx="74731">1</cx:pt>
          <cx:pt idx="74732">0</cx:pt>
          <cx:pt idx="74733">0</cx:pt>
          <cx:pt idx="74734">0</cx:pt>
          <cx:pt idx="74735">1</cx:pt>
          <cx:pt idx="74736">0</cx:pt>
          <cx:pt idx="74737">1</cx:pt>
          <cx:pt idx="74738">0</cx:pt>
          <cx:pt idx="74739">1</cx:pt>
          <cx:pt idx="74740">0</cx:pt>
          <cx:pt idx="74741">0</cx:pt>
          <cx:pt idx="74742">0</cx:pt>
          <cx:pt idx="74743">0</cx:pt>
          <cx:pt idx="74744">1</cx:pt>
          <cx:pt idx="74745">1</cx:pt>
          <cx:pt idx="74746">0</cx:pt>
          <cx:pt idx="74747">0</cx:pt>
          <cx:pt idx="74748">1</cx:pt>
          <cx:pt idx="74749">1</cx:pt>
          <cx:pt idx="74750">1</cx:pt>
          <cx:pt idx="74751">0</cx:pt>
          <cx:pt idx="74752">1</cx:pt>
          <cx:pt idx="74753">1</cx:pt>
          <cx:pt idx="74754">0</cx:pt>
          <cx:pt idx="74755">1</cx:pt>
          <cx:pt idx="74756">1</cx:pt>
          <cx:pt idx="74757">1</cx:pt>
          <cx:pt idx="74758">0</cx:pt>
          <cx:pt idx="74759">1</cx:pt>
          <cx:pt idx="74760">1</cx:pt>
          <cx:pt idx="74761">0</cx:pt>
          <cx:pt idx="74762">0</cx:pt>
          <cx:pt idx="74763">1</cx:pt>
          <cx:pt idx="74764">0</cx:pt>
          <cx:pt idx="74765">1</cx:pt>
          <cx:pt idx="74766">0</cx:pt>
          <cx:pt idx="74767">0</cx:pt>
          <cx:pt idx="74768">0</cx:pt>
          <cx:pt idx="74769">1</cx:pt>
          <cx:pt idx="74770">0</cx:pt>
          <cx:pt idx="74771">1</cx:pt>
          <cx:pt idx="74772">0</cx:pt>
          <cx:pt idx="74773">0</cx:pt>
          <cx:pt idx="74774">0</cx:pt>
          <cx:pt idx="74775">0</cx:pt>
          <cx:pt idx="74776">1</cx:pt>
          <cx:pt idx="74777">0</cx:pt>
          <cx:pt idx="74778">1</cx:pt>
          <cx:pt idx="74779">0</cx:pt>
          <cx:pt idx="74780">0</cx:pt>
          <cx:pt idx="74781">1</cx:pt>
          <cx:pt idx="74782">0</cx:pt>
          <cx:pt idx="74783">0</cx:pt>
          <cx:pt idx="74784">1</cx:pt>
          <cx:pt idx="74785">0</cx:pt>
          <cx:pt idx="74786">1</cx:pt>
          <cx:pt idx="74787">0</cx:pt>
          <cx:pt idx="74788">1</cx:pt>
          <cx:pt idx="74789">0</cx:pt>
          <cx:pt idx="74790">0</cx:pt>
          <cx:pt idx="74791">1</cx:pt>
          <cx:pt idx="74792">1</cx:pt>
          <cx:pt idx="74793">1</cx:pt>
          <cx:pt idx="74794">0</cx:pt>
          <cx:pt idx="74795">1</cx:pt>
          <cx:pt idx="74796">0</cx:pt>
          <cx:pt idx="74797">1</cx:pt>
          <cx:pt idx="74798">0</cx:pt>
          <cx:pt idx="74799">1</cx:pt>
          <cx:pt idx="74800">0</cx:pt>
          <cx:pt idx="74801">1</cx:pt>
          <cx:pt idx="74802">1</cx:pt>
          <cx:pt idx="74803">0</cx:pt>
          <cx:pt idx="74804">0</cx:pt>
          <cx:pt idx="74805">1</cx:pt>
          <cx:pt idx="74806">1</cx:pt>
          <cx:pt idx="74807">0</cx:pt>
          <cx:pt idx="74808">0</cx:pt>
          <cx:pt idx="74809">1</cx:pt>
          <cx:pt idx="74810">1</cx:pt>
          <cx:pt idx="74811">0</cx:pt>
          <cx:pt idx="74812">0</cx:pt>
          <cx:pt idx="74813">0</cx:pt>
          <cx:pt idx="74814">1</cx:pt>
          <cx:pt idx="74815">0</cx:pt>
          <cx:pt idx="74816">0</cx:pt>
          <cx:pt idx="74817">0</cx:pt>
          <cx:pt idx="74818">1</cx:pt>
          <cx:pt idx="74819">0</cx:pt>
          <cx:pt idx="74820">1</cx:pt>
          <cx:pt idx="74821">1</cx:pt>
          <cx:pt idx="74822">0</cx:pt>
          <cx:pt idx="74823">0</cx:pt>
          <cx:pt idx="74824">1</cx:pt>
          <cx:pt idx="74825">0</cx:pt>
          <cx:pt idx="74826">1</cx:pt>
          <cx:pt idx="74827">0</cx:pt>
          <cx:pt idx="74828">1</cx:pt>
          <cx:pt idx="74829">0</cx:pt>
          <cx:pt idx="74830">1</cx:pt>
          <cx:pt idx="74831">0</cx:pt>
          <cx:pt idx="74832">0</cx:pt>
          <cx:pt idx="74833">1</cx:pt>
          <cx:pt idx="74834">0</cx:pt>
          <cx:pt idx="74835">0</cx:pt>
          <cx:pt idx="74836">0</cx:pt>
          <cx:pt idx="74837">1</cx:pt>
          <cx:pt idx="74838">0</cx:pt>
          <cx:pt idx="74839">0</cx:pt>
          <cx:pt idx="74840">1</cx:pt>
          <cx:pt idx="74841">0</cx:pt>
          <cx:pt idx="74842">0</cx:pt>
          <cx:pt idx="74843">0</cx:pt>
          <cx:pt idx="74844">0</cx:pt>
          <cx:pt idx="74845">0</cx:pt>
          <cx:pt idx="74846">1</cx:pt>
          <cx:pt idx="74847">0</cx:pt>
          <cx:pt idx="74848">1</cx:pt>
          <cx:pt idx="74849">0</cx:pt>
          <cx:pt idx="74850">1</cx:pt>
          <cx:pt idx="74851">0</cx:pt>
          <cx:pt idx="74852">1</cx:pt>
          <cx:pt idx="74853">0</cx:pt>
          <cx:pt idx="74854">1</cx:pt>
          <cx:pt idx="74855">1</cx:pt>
          <cx:pt idx="74856">0</cx:pt>
          <cx:pt idx="74857">0</cx:pt>
          <cx:pt idx="74858">0</cx:pt>
          <cx:pt idx="74859">0</cx:pt>
          <cx:pt idx="74860">1</cx:pt>
          <cx:pt idx="74861">0</cx:pt>
          <cx:pt idx="74862">0</cx:pt>
          <cx:pt idx="74863">1</cx:pt>
          <cx:pt idx="74864">1</cx:pt>
          <cx:pt idx="74865">1</cx:pt>
          <cx:pt idx="74866">0</cx:pt>
          <cx:pt idx="74867">1</cx:pt>
          <cx:pt idx="74868">0</cx:pt>
          <cx:pt idx="74869">0</cx:pt>
          <cx:pt idx="74870">1</cx:pt>
          <cx:pt idx="74871">1</cx:pt>
          <cx:pt idx="74872">1</cx:pt>
          <cx:pt idx="74873">1</cx:pt>
          <cx:pt idx="74874">0</cx:pt>
          <cx:pt idx="74875">1</cx:pt>
          <cx:pt idx="74876">0</cx:pt>
          <cx:pt idx="74877">1</cx:pt>
          <cx:pt idx="74878">0</cx:pt>
          <cx:pt idx="74879">0</cx:pt>
          <cx:pt idx="74880">0</cx:pt>
          <cx:pt idx="74881">0</cx:pt>
          <cx:pt idx="74882">0</cx:pt>
          <cx:pt idx="74883">0</cx:pt>
          <cx:pt idx="74884">1</cx:pt>
          <cx:pt idx="74885">1</cx:pt>
          <cx:pt idx="74886">0</cx:pt>
          <cx:pt idx="74887">0</cx:pt>
          <cx:pt idx="74888">0</cx:pt>
          <cx:pt idx="74889">0</cx:pt>
          <cx:pt idx="74890">0</cx:pt>
          <cx:pt idx="74891">1</cx:pt>
          <cx:pt idx="74892">0</cx:pt>
          <cx:pt idx="74893">1</cx:pt>
          <cx:pt idx="74894">0</cx:pt>
          <cx:pt idx="74895">0</cx:pt>
          <cx:pt idx="74896">0</cx:pt>
          <cx:pt idx="74897">0</cx:pt>
          <cx:pt idx="74898">0</cx:pt>
          <cx:pt idx="74899">0</cx:pt>
          <cx:pt idx="74900">0</cx:pt>
          <cx:pt idx="74901">0</cx:pt>
          <cx:pt idx="74902">1</cx:pt>
          <cx:pt idx="74903">1</cx:pt>
          <cx:pt idx="74904">0</cx:pt>
          <cx:pt idx="74905">1</cx:pt>
          <cx:pt idx="74906">1</cx:pt>
          <cx:pt idx="74907">1</cx:pt>
          <cx:pt idx="74908">0</cx:pt>
          <cx:pt idx="74909">0</cx:pt>
          <cx:pt idx="74910">0</cx:pt>
          <cx:pt idx="74911">1</cx:pt>
          <cx:pt idx="74912">1</cx:pt>
          <cx:pt idx="74913">0</cx:pt>
          <cx:pt idx="74914">1</cx:pt>
          <cx:pt idx="74915">1</cx:pt>
          <cx:pt idx="74916">0</cx:pt>
          <cx:pt idx="74917">1</cx:pt>
          <cx:pt idx="74918">0</cx:pt>
          <cx:pt idx="74919">0</cx:pt>
          <cx:pt idx="74920">1</cx:pt>
          <cx:pt idx="74921">0</cx:pt>
          <cx:pt idx="74922">0</cx:pt>
          <cx:pt idx="74923">1</cx:pt>
          <cx:pt idx="74924">1</cx:pt>
          <cx:pt idx="74925">0</cx:pt>
          <cx:pt idx="74926">1</cx:pt>
          <cx:pt idx="74927">1</cx:pt>
          <cx:pt idx="74928">1</cx:pt>
          <cx:pt idx="74929">1</cx:pt>
          <cx:pt idx="74930">1</cx:pt>
          <cx:pt idx="74931">0</cx:pt>
          <cx:pt idx="74932">1</cx:pt>
          <cx:pt idx="74933">1</cx:pt>
          <cx:pt idx="74934">0</cx:pt>
          <cx:pt idx="74935">1</cx:pt>
          <cx:pt idx="74936">0</cx:pt>
          <cx:pt idx="74937">0</cx:pt>
          <cx:pt idx="74938">0</cx:pt>
          <cx:pt idx="74939">1</cx:pt>
          <cx:pt idx="74940">0</cx:pt>
          <cx:pt idx="74941">1</cx:pt>
          <cx:pt idx="74942">1</cx:pt>
          <cx:pt idx="74943">1</cx:pt>
          <cx:pt idx="74944">0</cx:pt>
          <cx:pt idx="74945">0</cx:pt>
          <cx:pt idx="74946">0</cx:pt>
          <cx:pt idx="74947">0</cx:pt>
          <cx:pt idx="74948">1</cx:pt>
          <cx:pt idx="74949">0</cx:pt>
          <cx:pt idx="74950">0</cx:pt>
          <cx:pt idx="74951">0</cx:pt>
          <cx:pt idx="74952">0</cx:pt>
          <cx:pt idx="74953">0</cx:pt>
          <cx:pt idx="74954">0</cx:pt>
          <cx:pt idx="74955">0</cx:pt>
          <cx:pt idx="74956">0</cx:pt>
          <cx:pt idx="74957">0</cx:pt>
          <cx:pt idx="74958">0</cx:pt>
          <cx:pt idx="74959">1</cx:pt>
          <cx:pt idx="74960">0</cx:pt>
          <cx:pt idx="74961">0</cx:pt>
          <cx:pt idx="74962">1</cx:pt>
          <cx:pt idx="74963">1</cx:pt>
          <cx:pt idx="74964">0</cx:pt>
          <cx:pt idx="74965">1</cx:pt>
          <cx:pt idx="74966">1</cx:pt>
          <cx:pt idx="74967">1</cx:pt>
          <cx:pt idx="74968">1</cx:pt>
          <cx:pt idx="74969">1</cx:pt>
          <cx:pt idx="74970">0</cx:pt>
          <cx:pt idx="74971">1</cx:pt>
          <cx:pt idx="74972">1</cx:pt>
          <cx:pt idx="74973">0</cx:pt>
          <cx:pt idx="74974">1</cx:pt>
          <cx:pt idx="74975">1</cx:pt>
          <cx:pt idx="74976">1</cx:pt>
          <cx:pt idx="74977">0</cx:pt>
          <cx:pt idx="74978">1</cx:pt>
          <cx:pt idx="74979">0</cx:pt>
          <cx:pt idx="74980">0</cx:pt>
          <cx:pt idx="74981">1</cx:pt>
          <cx:pt idx="74982">0</cx:pt>
          <cx:pt idx="74983">1</cx:pt>
          <cx:pt idx="74984">1</cx:pt>
          <cx:pt idx="74985">1</cx:pt>
          <cx:pt idx="74986">0</cx:pt>
          <cx:pt idx="74987">1</cx:pt>
          <cx:pt idx="74988">0</cx:pt>
          <cx:pt idx="74989">0</cx:pt>
          <cx:pt idx="74990">1</cx:pt>
          <cx:pt idx="74991">1</cx:pt>
          <cx:pt idx="74992">0</cx:pt>
          <cx:pt idx="74993">1</cx:pt>
          <cx:pt idx="74994">0</cx:pt>
          <cx:pt idx="74995">0</cx:pt>
          <cx:pt idx="74996">1</cx:pt>
          <cx:pt idx="74997">0</cx:pt>
          <cx:pt idx="74998">0</cx:pt>
          <cx:pt idx="74999">0</cx:pt>
          <cx:pt idx="75000">1</cx:pt>
          <cx:pt idx="75001">0</cx:pt>
          <cx:pt idx="75002">1</cx:pt>
          <cx:pt idx="75003">0</cx:pt>
          <cx:pt idx="75004">0</cx:pt>
          <cx:pt idx="75005">0</cx:pt>
          <cx:pt idx="75006">1</cx:pt>
          <cx:pt idx="75007">0</cx:pt>
          <cx:pt idx="75008">0</cx:pt>
          <cx:pt idx="75009">0</cx:pt>
          <cx:pt idx="75010">0</cx:pt>
          <cx:pt idx="75011">0</cx:pt>
          <cx:pt idx="75012">0</cx:pt>
          <cx:pt idx="75013">0</cx:pt>
          <cx:pt idx="75014">1</cx:pt>
          <cx:pt idx="75015">0</cx:pt>
          <cx:pt idx="75016">1</cx:pt>
          <cx:pt idx="75017">1</cx:pt>
          <cx:pt idx="75018">1</cx:pt>
          <cx:pt idx="75019">1</cx:pt>
          <cx:pt idx="75020">0</cx:pt>
          <cx:pt idx="75021">0</cx:pt>
          <cx:pt idx="75022">1</cx:pt>
          <cx:pt idx="75023">1</cx:pt>
          <cx:pt idx="75024">0</cx:pt>
          <cx:pt idx="75025">0</cx:pt>
          <cx:pt idx="75026">0</cx:pt>
          <cx:pt idx="75027">0</cx:pt>
          <cx:pt idx="75028">1</cx:pt>
          <cx:pt idx="75029">0</cx:pt>
          <cx:pt idx="75030">0</cx:pt>
          <cx:pt idx="75031">0</cx:pt>
          <cx:pt idx="75032">1</cx:pt>
          <cx:pt idx="75033">0</cx:pt>
          <cx:pt idx="75034">1</cx:pt>
          <cx:pt idx="75035">0</cx:pt>
          <cx:pt idx="75036">0</cx:pt>
          <cx:pt idx="75037">0</cx:pt>
          <cx:pt idx="75038">1</cx:pt>
          <cx:pt idx="75039">0</cx:pt>
          <cx:pt idx="75040">0</cx:pt>
          <cx:pt idx="75041">0</cx:pt>
          <cx:pt idx="75042">0</cx:pt>
          <cx:pt idx="75043">1</cx:pt>
          <cx:pt idx="75044">0</cx:pt>
          <cx:pt idx="75045">1</cx:pt>
          <cx:pt idx="75046">0</cx:pt>
          <cx:pt idx="75047">0</cx:pt>
          <cx:pt idx="75048">1</cx:pt>
          <cx:pt idx="75049">1</cx:pt>
          <cx:pt idx="75050">0</cx:pt>
          <cx:pt idx="75051">0</cx:pt>
          <cx:pt idx="75052">0</cx:pt>
          <cx:pt idx="75053">1</cx:pt>
          <cx:pt idx="75054">1</cx:pt>
          <cx:pt idx="75055">0</cx:pt>
          <cx:pt idx="75056">0</cx:pt>
          <cx:pt idx="75057">1</cx:pt>
          <cx:pt idx="75058">1</cx:pt>
          <cx:pt idx="75059">1</cx:pt>
          <cx:pt idx="75060">1</cx:pt>
          <cx:pt idx="75061">0</cx:pt>
          <cx:pt idx="75062">1</cx:pt>
          <cx:pt idx="75063">0</cx:pt>
          <cx:pt idx="75064">1</cx:pt>
          <cx:pt idx="75065">0</cx:pt>
          <cx:pt idx="75066">0</cx:pt>
          <cx:pt idx="75067">0</cx:pt>
          <cx:pt idx="75068">1</cx:pt>
          <cx:pt idx="75069">1</cx:pt>
          <cx:pt idx="75070">1</cx:pt>
          <cx:pt idx="75071">0</cx:pt>
          <cx:pt idx="75072">0</cx:pt>
          <cx:pt idx="75073">1</cx:pt>
          <cx:pt idx="75074">0</cx:pt>
          <cx:pt idx="75075">1</cx:pt>
          <cx:pt idx="75076">1</cx:pt>
          <cx:pt idx="75077">0</cx:pt>
          <cx:pt idx="75078">1</cx:pt>
          <cx:pt idx="75079">1</cx:pt>
          <cx:pt idx="75080">0</cx:pt>
          <cx:pt idx="75081">1</cx:pt>
          <cx:pt idx="75082">0</cx:pt>
          <cx:pt idx="75083">1</cx:pt>
          <cx:pt idx="75084">1</cx:pt>
          <cx:pt idx="75085">1</cx:pt>
          <cx:pt idx="75086">0</cx:pt>
          <cx:pt idx="75087">0</cx:pt>
          <cx:pt idx="75088">0</cx:pt>
          <cx:pt idx="75089">0</cx:pt>
          <cx:pt idx="75090">1</cx:pt>
          <cx:pt idx="75091">0</cx:pt>
          <cx:pt idx="75092">0</cx:pt>
          <cx:pt idx="75093">0</cx:pt>
          <cx:pt idx="75094">1</cx:pt>
          <cx:pt idx="75095">0</cx:pt>
          <cx:pt idx="75096">0</cx:pt>
          <cx:pt idx="75097">0</cx:pt>
          <cx:pt idx="75098">0</cx:pt>
          <cx:pt idx="75099">1</cx:pt>
          <cx:pt idx="75100">0</cx:pt>
          <cx:pt idx="75101">1</cx:pt>
          <cx:pt idx="75102">1</cx:pt>
          <cx:pt idx="75103">1</cx:pt>
          <cx:pt idx="75104">1</cx:pt>
          <cx:pt idx="75105">1</cx:pt>
          <cx:pt idx="75106">0</cx:pt>
          <cx:pt idx="75107">0</cx:pt>
          <cx:pt idx="75108">0</cx:pt>
          <cx:pt idx="75109">1</cx:pt>
          <cx:pt idx="75110">0</cx:pt>
          <cx:pt idx="75111">1</cx:pt>
          <cx:pt idx="75112">0</cx:pt>
          <cx:pt idx="75113">1</cx:pt>
          <cx:pt idx="75114">1</cx:pt>
          <cx:pt idx="75115">0</cx:pt>
          <cx:pt idx="75116">0</cx:pt>
          <cx:pt idx="75117">1</cx:pt>
          <cx:pt idx="75118">1</cx:pt>
          <cx:pt idx="75119">1</cx:pt>
          <cx:pt idx="75120">1</cx:pt>
          <cx:pt idx="75121">0</cx:pt>
          <cx:pt idx="75122">0</cx:pt>
          <cx:pt idx="75123">0</cx:pt>
          <cx:pt idx="75124">1</cx:pt>
          <cx:pt idx="75125">0</cx:pt>
          <cx:pt idx="75126">0</cx:pt>
          <cx:pt idx="75127">1</cx:pt>
          <cx:pt idx="75128">0</cx:pt>
          <cx:pt idx="75129">0</cx:pt>
          <cx:pt idx="75130">0</cx:pt>
          <cx:pt idx="75131">1</cx:pt>
          <cx:pt idx="75132">1</cx:pt>
          <cx:pt idx="75133">0</cx:pt>
          <cx:pt idx="75134">1</cx:pt>
          <cx:pt idx="75135">0</cx:pt>
          <cx:pt idx="75136">0</cx:pt>
          <cx:pt idx="75137">0</cx:pt>
          <cx:pt idx="75138">1</cx:pt>
          <cx:pt idx="75139">0</cx:pt>
          <cx:pt idx="75140">1</cx:pt>
          <cx:pt idx="75141">1</cx:pt>
          <cx:pt idx="75142">1</cx:pt>
          <cx:pt idx="75143">1</cx:pt>
          <cx:pt idx="75144">1</cx:pt>
          <cx:pt idx="75145">1</cx:pt>
          <cx:pt idx="75146">0</cx:pt>
          <cx:pt idx="75147">1</cx:pt>
          <cx:pt idx="75148">1</cx:pt>
          <cx:pt idx="75149">0</cx:pt>
          <cx:pt idx="75150">1</cx:pt>
          <cx:pt idx="75151">0</cx:pt>
          <cx:pt idx="75152">1</cx:pt>
          <cx:pt idx="75153">0</cx:pt>
          <cx:pt idx="75154">0</cx:pt>
          <cx:pt idx="75155">1</cx:pt>
          <cx:pt idx="75156">1</cx:pt>
          <cx:pt idx="75157">1</cx:pt>
          <cx:pt idx="75158">0</cx:pt>
          <cx:pt idx="75159">0</cx:pt>
          <cx:pt idx="75160">0</cx:pt>
          <cx:pt idx="75161">1</cx:pt>
          <cx:pt idx="75162">1</cx:pt>
          <cx:pt idx="75163">0</cx:pt>
          <cx:pt idx="75164">0</cx:pt>
          <cx:pt idx="75165">0</cx:pt>
          <cx:pt idx="75166">0</cx:pt>
          <cx:pt idx="75167">1</cx:pt>
          <cx:pt idx="75168">1</cx:pt>
          <cx:pt idx="75169">0</cx:pt>
          <cx:pt idx="75170">0</cx:pt>
          <cx:pt idx="75171">0</cx:pt>
          <cx:pt idx="75172">1</cx:pt>
          <cx:pt idx="75173">0</cx:pt>
          <cx:pt idx="75174">0</cx:pt>
          <cx:pt idx="75175">0</cx:pt>
          <cx:pt idx="75176">1</cx:pt>
          <cx:pt idx="75177">0</cx:pt>
          <cx:pt idx="75178">1</cx:pt>
          <cx:pt idx="75179">0</cx:pt>
          <cx:pt idx="75180">0</cx:pt>
          <cx:pt idx="75181">0</cx:pt>
          <cx:pt idx="75182">1</cx:pt>
          <cx:pt idx="75183">1</cx:pt>
          <cx:pt idx="75184">0</cx:pt>
          <cx:pt idx="75185">0</cx:pt>
          <cx:pt idx="75186">1</cx:pt>
          <cx:pt idx="75187">0</cx:pt>
          <cx:pt idx="75188">0</cx:pt>
          <cx:pt idx="75189">0</cx:pt>
          <cx:pt idx="75190">1</cx:pt>
          <cx:pt idx="75191">1</cx:pt>
          <cx:pt idx="75192">0</cx:pt>
          <cx:pt idx="75193">1</cx:pt>
          <cx:pt idx="75194">1</cx:pt>
          <cx:pt idx="75195">0</cx:pt>
          <cx:pt idx="75196">0</cx:pt>
          <cx:pt idx="75197">1</cx:pt>
          <cx:pt idx="75198">1</cx:pt>
          <cx:pt idx="75199">1</cx:pt>
          <cx:pt idx="75200">0</cx:pt>
          <cx:pt idx="75201">0</cx:pt>
          <cx:pt idx="75202">0</cx:pt>
          <cx:pt idx="75203">1</cx:pt>
          <cx:pt idx="75204">0</cx:pt>
          <cx:pt idx="75205">1</cx:pt>
          <cx:pt idx="75206">0</cx:pt>
          <cx:pt idx="75207">0</cx:pt>
          <cx:pt idx="75208">1</cx:pt>
          <cx:pt idx="75209">1</cx:pt>
          <cx:pt idx="75210">0</cx:pt>
          <cx:pt idx="75211">1</cx:pt>
          <cx:pt idx="75212">0</cx:pt>
          <cx:pt idx="75213">1</cx:pt>
          <cx:pt idx="75214">1</cx:pt>
          <cx:pt idx="75215">0</cx:pt>
          <cx:pt idx="75216">0</cx:pt>
          <cx:pt idx="75217">1</cx:pt>
          <cx:pt idx="75218">1</cx:pt>
          <cx:pt idx="75219">1</cx:pt>
          <cx:pt idx="75220">1</cx:pt>
          <cx:pt idx="75221">1</cx:pt>
          <cx:pt idx="75222">1</cx:pt>
          <cx:pt idx="75223">1</cx:pt>
          <cx:pt idx="75224">0</cx:pt>
          <cx:pt idx="75225">0</cx:pt>
          <cx:pt idx="75226">0</cx:pt>
          <cx:pt idx="75227">1</cx:pt>
          <cx:pt idx="75228">0</cx:pt>
          <cx:pt idx="75229">0</cx:pt>
          <cx:pt idx="75230">1</cx:pt>
          <cx:pt idx="75231">1</cx:pt>
          <cx:pt idx="75232">1</cx:pt>
          <cx:pt idx="75233">1</cx:pt>
          <cx:pt idx="75234">0</cx:pt>
          <cx:pt idx="75235">0</cx:pt>
          <cx:pt idx="75236">0</cx:pt>
          <cx:pt idx="75237">0</cx:pt>
          <cx:pt idx="75238">0</cx:pt>
          <cx:pt idx="75239">1</cx:pt>
          <cx:pt idx="75240">0</cx:pt>
          <cx:pt idx="75241">0</cx:pt>
          <cx:pt idx="75242">0</cx:pt>
          <cx:pt idx="75243">0</cx:pt>
          <cx:pt idx="75244">0</cx:pt>
          <cx:pt idx="75245">1</cx:pt>
          <cx:pt idx="75246">0</cx:pt>
          <cx:pt idx="75247">0</cx:pt>
          <cx:pt idx="75248">1</cx:pt>
          <cx:pt idx="75249">0</cx:pt>
          <cx:pt idx="75250">1</cx:pt>
          <cx:pt idx="75251">0</cx:pt>
          <cx:pt idx="75252">0</cx:pt>
          <cx:pt idx="75253">0</cx:pt>
          <cx:pt idx="75254">0</cx:pt>
          <cx:pt idx="75255">1</cx:pt>
          <cx:pt idx="75256">0</cx:pt>
          <cx:pt idx="75257">1</cx:pt>
          <cx:pt idx="75258">0</cx:pt>
          <cx:pt idx="75259">0</cx:pt>
          <cx:pt idx="75260">1</cx:pt>
          <cx:pt idx="75261">1</cx:pt>
          <cx:pt idx="75262">0</cx:pt>
          <cx:pt idx="75263">1</cx:pt>
          <cx:pt idx="75264">1</cx:pt>
          <cx:pt idx="75265">1</cx:pt>
          <cx:pt idx="75266">1</cx:pt>
          <cx:pt idx="75267">0</cx:pt>
          <cx:pt idx="75268">0</cx:pt>
          <cx:pt idx="75269">0</cx:pt>
          <cx:pt idx="75270">1</cx:pt>
          <cx:pt idx="75271">1</cx:pt>
          <cx:pt idx="75272">1</cx:pt>
          <cx:pt idx="75273">1</cx:pt>
          <cx:pt idx="75274">0</cx:pt>
          <cx:pt idx="75275">1</cx:pt>
          <cx:pt idx="75276">1</cx:pt>
          <cx:pt idx="75277">0</cx:pt>
          <cx:pt idx="75278">0</cx:pt>
          <cx:pt idx="75279">0</cx:pt>
          <cx:pt idx="75280">1</cx:pt>
          <cx:pt idx="75281">0</cx:pt>
          <cx:pt idx="75282">0</cx:pt>
          <cx:pt idx="75283">0</cx:pt>
          <cx:pt idx="75284">0</cx:pt>
          <cx:pt idx="75285">1</cx:pt>
          <cx:pt idx="75286">0</cx:pt>
          <cx:pt idx="75287">0</cx:pt>
          <cx:pt idx="75288">1</cx:pt>
          <cx:pt idx="75289">1</cx:pt>
          <cx:pt idx="75290">1</cx:pt>
          <cx:pt idx="75291">0</cx:pt>
          <cx:pt idx="75292">0</cx:pt>
          <cx:pt idx="75293">0</cx:pt>
          <cx:pt idx="75294">0</cx:pt>
          <cx:pt idx="75295">0</cx:pt>
          <cx:pt idx="75296">0</cx:pt>
          <cx:pt idx="75297">1</cx:pt>
          <cx:pt idx="75298">0</cx:pt>
          <cx:pt idx="75299">0</cx:pt>
          <cx:pt idx="75300">1</cx:pt>
          <cx:pt idx="75301">1</cx:pt>
          <cx:pt idx="75302">1</cx:pt>
          <cx:pt idx="75303">1</cx:pt>
          <cx:pt idx="75304">0</cx:pt>
          <cx:pt idx="75305">1</cx:pt>
          <cx:pt idx="75306">0</cx:pt>
          <cx:pt idx="75307">1</cx:pt>
          <cx:pt idx="75308">0</cx:pt>
          <cx:pt idx="75309">0</cx:pt>
          <cx:pt idx="75310">0</cx:pt>
          <cx:pt idx="75311">1</cx:pt>
          <cx:pt idx="75312">0</cx:pt>
          <cx:pt idx="75313">1</cx:pt>
          <cx:pt idx="75314">0</cx:pt>
          <cx:pt idx="75315">1</cx:pt>
          <cx:pt idx="75316">1</cx:pt>
          <cx:pt idx="75317">1</cx:pt>
          <cx:pt idx="75318">0</cx:pt>
          <cx:pt idx="75319">1</cx:pt>
          <cx:pt idx="75320">0</cx:pt>
          <cx:pt idx="75321">0</cx:pt>
          <cx:pt idx="75322">1</cx:pt>
          <cx:pt idx="75323">0</cx:pt>
          <cx:pt idx="75324">0</cx:pt>
          <cx:pt idx="75325">1</cx:pt>
          <cx:pt idx="75326">0</cx:pt>
          <cx:pt idx="75327">0</cx:pt>
          <cx:pt idx="75328">0</cx:pt>
          <cx:pt idx="75329">0</cx:pt>
          <cx:pt idx="75330">1</cx:pt>
          <cx:pt idx="75331">1</cx:pt>
          <cx:pt idx="75332">0</cx:pt>
          <cx:pt idx="75333">1</cx:pt>
          <cx:pt idx="75334">0</cx:pt>
          <cx:pt idx="75335">1</cx:pt>
          <cx:pt idx="75336">0</cx:pt>
          <cx:pt idx="75337">1</cx:pt>
          <cx:pt idx="75338">1</cx:pt>
          <cx:pt idx="75339">1</cx:pt>
          <cx:pt idx="75340">1</cx:pt>
          <cx:pt idx="75341">0</cx:pt>
          <cx:pt idx="75342">0</cx:pt>
          <cx:pt idx="75343">0</cx:pt>
          <cx:pt idx="75344">1</cx:pt>
          <cx:pt idx="75345">0</cx:pt>
          <cx:pt idx="75346">0</cx:pt>
          <cx:pt idx="75347">1</cx:pt>
          <cx:pt idx="75348">0</cx:pt>
          <cx:pt idx="75349">0</cx:pt>
          <cx:pt idx="75350">1</cx:pt>
          <cx:pt idx="75351">1</cx:pt>
          <cx:pt idx="75352">0</cx:pt>
          <cx:pt idx="75353">1</cx:pt>
          <cx:pt idx="75354">1</cx:pt>
          <cx:pt idx="75355">0</cx:pt>
          <cx:pt idx="75356">0</cx:pt>
          <cx:pt idx="75357">1</cx:pt>
          <cx:pt idx="75358">0</cx:pt>
          <cx:pt idx="75359">1</cx:pt>
          <cx:pt idx="75360">1</cx:pt>
          <cx:pt idx="75361">0</cx:pt>
          <cx:pt idx="75362">1</cx:pt>
          <cx:pt idx="75363">1</cx:pt>
          <cx:pt idx="75364">1</cx:pt>
          <cx:pt idx="75365">1</cx:pt>
          <cx:pt idx="75366">0</cx:pt>
          <cx:pt idx="75367">0</cx:pt>
          <cx:pt idx="75368">0</cx:pt>
          <cx:pt idx="75369">0</cx:pt>
          <cx:pt idx="75370">1</cx:pt>
          <cx:pt idx="75371">1</cx:pt>
          <cx:pt idx="75372">0</cx:pt>
          <cx:pt idx="75373">1</cx:pt>
          <cx:pt idx="75374">1</cx:pt>
          <cx:pt idx="75375">0</cx:pt>
          <cx:pt idx="75376">1</cx:pt>
          <cx:pt idx="75377">0</cx:pt>
          <cx:pt idx="75378">0</cx:pt>
          <cx:pt idx="75379">0</cx:pt>
          <cx:pt idx="75380">0</cx:pt>
          <cx:pt idx="75381">0</cx:pt>
          <cx:pt idx="75382">1</cx:pt>
          <cx:pt idx="75383">0</cx:pt>
          <cx:pt idx="75384">0</cx:pt>
          <cx:pt idx="75385">1</cx:pt>
          <cx:pt idx="75386">1</cx:pt>
          <cx:pt idx="75387">1</cx:pt>
          <cx:pt idx="75388">1</cx:pt>
          <cx:pt idx="75389">0</cx:pt>
          <cx:pt idx="75390">1</cx:pt>
          <cx:pt idx="75391">0</cx:pt>
          <cx:pt idx="75392">0</cx:pt>
          <cx:pt idx="75393">0</cx:pt>
          <cx:pt idx="75394">0</cx:pt>
          <cx:pt idx="75395">1</cx:pt>
          <cx:pt idx="75396">0</cx:pt>
          <cx:pt idx="75397">1</cx:pt>
          <cx:pt idx="75398">1</cx:pt>
          <cx:pt idx="75399">1</cx:pt>
          <cx:pt idx="75400">1</cx:pt>
          <cx:pt idx="75401">0</cx:pt>
          <cx:pt idx="75402">0</cx:pt>
          <cx:pt idx="75403">0</cx:pt>
          <cx:pt idx="75404">0</cx:pt>
          <cx:pt idx="75405">0</cx:pt>
          <cx:pt idx="75406">0</cx:pt>
          <cx:pt idx="75407">0</cx:pt>
          <cx:pt idx="75408">0</cx:pt>
          <cx:pt idx="75409">1</cx:pt>
          <cx:pt idx="75410">0</cx:pt>
          <cx:pt idx="75411">0</cx:pt>
          <cx:pt idx="75412">1</cx:pt>
          <cx:pt idx="75413">1</cx:pt>
          <cx:pt idx="75414">0</cx:pt>
          <cx:pt idx="75415">1</cx:pt>
          <cx:pt idx="75416">0</cx:pt>
          <cx:pt idx="75417">1</cx:pt>
          <cx:pt idx="75418">0</cx:pt>
          <cx:pt idx="75419">0</cx:pt>
          <cx:pt idx="75420">0</cx:pt>
          <cx:pt idx="75421">0</cx:pt>
          <cx:pt idx="75422">0</cx:pt>
          <cx:pt idx="75423">1</cx:pt>
          <cx:pt idx="75424">0</cx:pt>
          <cx:pt idx="75425">0</cx:pt>
          <cx:pt idx="75426">0</cx:pt>
          <cx:pt idx="75427">0</cx:pt>
          <cx:pt idx="75428">0</cx:pt>
          <cx:pt idx="75429">1</cx:pt>
          <cx:pt idx="75430">1</cx:pt>
          <cx:pt idx="75431">1</cx:pt>
          <cx:pt idx="75432">1</cx:pt>
          <cx:pt idx="75433">1</cx:pt>
          <cx:pt idx="75434">0</cx:pt>
          <cx:pt idx="75435">1</cx:pt>
          <cx:pt idx="75436">1</cx:pt>
          <cx:pt idx="75437">0</cx:pt>
          <cx:pt idx="75438">0</cx:pt>
          <cx:pt idx="75439">0</cx:pt>
          <cx:pt idx="75440">0</cx:pt>
          <cx:pt idx="75441">1</cx:pt>
          <cx:pt idx="75442">0</cx:pt>
          <cx:pt idx="75443">0</cx:pt>
          <cx:pt idx="75444">0</cx:pt>
          <cx:pt idx="75445">0</cx:pt>
          <cx:pt idx="75446">0</cx:pt>
          <cx:pt idx="75447">0</cx:pt>
          <cx:pt idx="75448">1</cx:pt>
          <cx:pt idx="75449">0</cx:pt>
          <cx:pt idx="75450">0</cx:pt>
          <cx:pt idx="75451">1</cx:pt>
          <cx:pt idx="75452">0</cx:pt>
          <cx:pt idx="75453">0</cx:pt>
          <cx:pt idx="75454">1</cx:pt>
          <cx:pt idx="75455">1</cx:pt>
          <cx:pt idx="75456">0</cx:pt>
          <cx:pt idx="75457">0</cx:pt>
          <cx:pt idx="75458">1</cx:pt>
          <cx:pt idx="75459">0</cx:pt>
          <cx:pt idx="75460">0</cx:pt>
          <cx:pt idx="75461">1</cx:pt>
          <cx:pt idx="75462">1</cx:pt>
          <cx:pt idx="75463">0</cx:pt>
          <cx:pt idx="75464">0</cx:pt>
          <cx:pt idx="75465">0</cx:pt>
          <cx:pt idx="75466">1</cx:pt>
          <cx:pt idx="75467">0</cx:pt>
          <cx:pt idx="75468">1</cx:pt>
          <cx:pt idx="75469">0</cx:pt>
          <cx:pt idx="75470">0</cx:pt>
          <cx:pt idx="75471">0</cx:pt>
          <cx:pt idx="75472">0</cx:pt>
          <cx:pt idx="75473">0</cx:pt>
          <cx:pt idx="75474">0</cx:pt>
          <cx:pt idx="75475">1</cx:pt>
          <cx:pt idx="75476">0</cx:pt>
          <cx:pt idx="75477">1</cx:pt>
          <cx:pt idx="75478">1</cx:pt>
          <cx:pt idx="75479">0</cx:pt>
          <cx:pt idx="75480">0</cx:pt>
          <cx:pt idx="75481">1</cx:pt>
          <cx:pt idx="75482">0</cx:pt>
          <cx:pt idx="75483">1</cx:pt>
          <cx:pt idx="75484">0</cx:pt>
          <cx:pt idx="75485">1</cx:pt>
          <cx:pt idx="75486">1</cx:pt>
          <cx:pt idx="75487">1</cx:pt>
          <cx:pt idx="75488">1</cx:pt>
          <cx:pt idx="75489">0</cx:pt>
          <cx:pt idx="75490">1</cx:pt>
          <cx:pt idx="75491">0</cx:pt>
          <cx:pt idx="75492">0</cx:pt>
          <cx:pt idx="75493">0</cx:pt>
          <cx:pt idx="75494">0</cx:pt>
          <cx:pt idx="75495">0</cx:pt>
          <cx:pt idx="75496">1</cx:pt>
          <cx:pt idx="75497">0</cx:pt>
          <cx:pt idx="75498">1</cx:pt>
          <cx:pt idx="75499">1</cx:pt>
          <cx:pt idx="75500">1</cx:pt>
          <cx:pt idx="75501">0</cx:pt>
          <cx:pt idx="75502">1</cx:pt>
          <cx:pt idx="75503">0</cx:pt>
          <cx:pt idx="75504">0</cx:pt>
          <cx:pt idx="75505">1</cx:pt>
          <cx:pt idx="75506">0</cx:pt>
          <cx:pt idx="75507">0</cx:pt>
          <cx:pt idx="75508">1</cx:pt>
          <cx:pt idx="75509">0</cx:pt>
          <cx:pt idx="75510">0</cx:pt>
          <cx:pt idx="75511">1</cx:pt>
          <cx:pt idx="75512">1</cx:pt>
          <cx:pt idx="75513">0</cx:pt>
          <cx:pt idx="75514">1</cx:pt>
          <cx:pt idx="75515">0</cx:pt>
          <cx:pt idx="75516">1</cx:pt>
          <cx:pt idx="75517">0</cx:pt>
          <cx:pt idx="75518">1</cx:pt>
          <cx:pt idx="75519">0</cx:pt>
          <cx:pt idx="75520">1</cx:pt>
          <cx:pt idx="75521">0</cx:pt>
          <cx:pt idx="75522">0</cx:pt>
          <cx:pt idx="75523">0</cx:pt>
          <cx:pt idx="75524">1</cx:pt>
          <cx:pt idx="75525">1</cx:pt>
          <cx:pt idx="75526">1</cx:pt>
          <cx:pt idx="75527">1</cx:pt>
          <cx:pt idx="75528">1</cx:pt>
          <cx:pt idx="75529">0</cx:pt>
          <cx:pt idx="75530">0</cx:pt>
          <cx:pt idx="75531">1</cx:pt>
          <cx:pt idx="75532">1</cx:pt>
          <cx:pt idx="75533">0</cx:pt>
          <cx:pt idx="75534">0</cx:pt>
          <cx:pt idx="75535">1</cx:pt>
          <cx:pt idx="75536">0</cx:pt>
          <cx:pt idx="75537">0</cx:pt>
          <cx:pt idx="75538">0</cx:pt>
          <cx:pt idx="75539">1</cx:pt>
          <cx:pt idx="75540">1</cx:pt>
          <cx:pt idx="75541">0</cx:pt>
          <cx:pt idx="75542">0</cx:pt>
          <cx:pt idx="75543">1</cx:pt>
          <cx:pt idx="75544">1</cx:pt>
          <cx:pt idx="75545">0</cx:pt>
          <cx:pt idx="75546">0</cx:pt>
          <cx:pt idx="75547">0</cx:pt>
          <cx:pt idx="75548">1</cx:pt>
          <cx:pt idx="75549">1</cx:pt>
          <cx:pt idx="75550">0</cx:pt>
          <cx:pt idx="75551">1</cx:pt>
          <cx:pt idx="75552">0</cx:pt>
          <cx:pt idx="75553">0</cx:pt>
          <cx:pt idx="75554">0</cx:pt>
          <cx:pt idx="75555">0</cx:pt>
          <cx:pt idx="75556">0</cx:pt>
          <cx:pt idx="75557">0</cx:pt>
          <cx:pt idx="75558">1</cx:pt>
          <cx:pt idx="75559">1</cx:pt>
          <cx:pt idx="75560">0</cx:pt>
          <cx:pt idx="75561">1</cx:pt>
          <cx:pt idx="75562">0</cx:pt>
          <cx:pt idx="75563">1</cx:pt>
          <cx:pt idx="75564">1</cx:pt>
          <cx:pt idx="75565">1</cx:pt>
          <cx:pt idx="75566">1</cx:pt>
          <cx:pt idx="75567">0</cx:pt>
          <cx:pt idx="75568">0</cx:pt>
          <cx:pt idx="75569">0</cx:pt>
          <cx:pt idx="75570">1</cx:pt>
          <cx:pt idx="75571">0</cx:pt>
          <cx:pt idx="75572">0</cx:pt>
          <cx:pt idx="75573">0</cx:pt>
          <cx:pt idx="75574">0</cx:pt>
          <cx:pt idx="75575">0</cx:pt>
          <cx:pt idx="75576">0</cx:pt>
          <cx:pt idx="75577">0</cx:pt>
          <cx:pt idx="75578">1</cx:pt>
          <cx:pt idx="75579">1</cx:pt>
          <cx:pt idx="75580">0</cx:pt>
          <cx:pt idx="75581">1</cx:pt>
          <cx:pt idx="75582">1</cx:pt>
          <cx:pt idx="75583">1</cx:pt>
          <cx:pt idx="75584">0</cx:pt>
          <cx:pt idx="75585">0</cx:pt>
          <cx:pt idx="75586">1</cx:pt>
          <cx:pt idx="75587">1</cx:pt>
          <cx:pt idx="75588">0</cx:pt>
          <cx:pt idx="75589">0</cx:pt>
          <cx:pt idx="75590">1</cx:pt>
          <cx:pt idx="75591">1</cx:pt>
          <cx:pt idx="75592">0</cx:pt>
          <cx:pt idx="75593">0</cx:pt>
          <cx:pt idx="75594">1</cx:pt>
          <cx:pt idx="75595">0</cx:pt>
          <cx:pt idx="75596">0</cx:pt>
          <cx:pt idx="75597">0</cx:pt>
          <cx:pt idx="75598">0</cx:pt>
          <cx:pt idx="75599">1</cx:pt>
          <cx:pt idx="75600">1</cx:pt>
          <cx:pt idx="75601">1</cx:pt>
          <cx:pt idx="75602">1</cx:pt>
          <cx:pt idx="75603">0</cx:pt>
          <cx:pt idx="75604">0</cx:pt>
          <cx:pt idx="75605">0</cx:pt>
          <cx:pt idx="75606">1</cx:pt>
          <cx:pt idx="75607">0</cx:pt>
          <cx:pt idx="75608">1</cx:pt>
          <cx:pt idx="75609">1</cx:pt>
          <cx:pt idx="75610">0</cx:pt>
          <cx:pt idx="75611">1</cx:pt>
          <cx:pt idx="75612">1</cx:pt>
          <cx:pt idx="75613">1</cx:pt>
          <cx:pt idx="75614">0</cx:pt>
          <cx:pt idx="75615">1</cx:pt>
          <cx:pt idx="75616">0</cx:pt>
          <cx:pt idx="75617">0</cx:pt>
          <cx:pt idx="75618">0</cx:pt>
          <cx:pt idx="75619">0</cx:pt>
          <cx:pt idx="75620">0</cx:pt>
          <cx:pt idx="75621">0</cx:pt>
          <cx:pt idx="75622">0</cx:pt>
          <cx:pt idx="75623">0</cx:pt>
          <cx:pt idx="75624">0</cx:pt>
          <cx:pt idx="75625">0</cx:pt>
          <cx:pt idx="75626">1</cx:pt>
          <cx:pt idx="75627">1</cx:pt>
          <cx:pt idx="75628">1</cx:pt>
          <cx:pt idx="75629">0</cx:pt>
          <cx:pt idx="75630">0</cx:pt>
          <cx:pt idx="75631">0</cx:pt>
          <cx:pt idx="75632">1</cx:pt>
          <cx:pt idx="75633">1</cx:pt>
          <cx:pt idx="75634">1</cx:pt>
          <cx:pt idx="75635">0</cx:pt>
          <cx:pt idx="75636">0</cx:pt>
          <cx:pt idx="75637">0</cx:pt>
          <cx:pt idx="75638">0</cx:pt>
          <cx:pt idx="75639">1</cx:pt>
          <cx:pt idx="75640">0</cx:pt>
          <cx:pt idx="75641">0</cx:pt>
          <cx:pt idx="75642">1</cx:pt>
          <cx:pt idx="75643">1</cx:pt>
          <cx:pt idx="75644">1</cx:pt>
          <cx:pt idx="75645">0</cx:pt>
          <cx:pt idx="75646">1</cx:pt>
          <cx:pt idx="75647">0</cx:pt>
          <cx:pt idx="75648">1</cx:pt>
          <cx:pt idx="75649">1</cx:pt>
          <cx:pt idx="75650">1</cx:pt>
          <cx:pt idx="75651">0</cx:pt>
          <cx:pt idx="75652">1</cx:pt>
          <cx:pt idx="75653">0</cx:pt>
          <cx:pt idx="75654">0</cx:pt>
          <cx:pt idx="75655">0</cx:pt>
          <cx:pt idx="75656">1</cx:pt>
          <cx:pt idx="75657">1</cx:pt>
          <cx:pt idx="75658">0</cx:pt>
          <cx:pt idx="75659">0</cx:pt>
          <cx:pt idx="75660">1</cx:pt>
          <cx:pt idx="75661">0</cx:pt>
          <cx:pt idx="75662">0</cx:pt>
          <cx:pt idx="75663">1</cx:pt>
          <cx:pt idx="75664">1</cx:pt>
          <cx:pt idx="75665">1</cx:pt>
          <cx:pt idx="75666">0</cx:pt>
          <cx:pt idx="75667">0</cx:pt>
          <cx:pt idx="75668">1</cx:pt>
          <cx:pt idx="75669">1</cx:pt>
          <cx:pt idx="75670">1</cx:pt>
          <cx:pt idx="75671">0</cx:pt>
          <cx:pt idx="75672">0</cx:pt>
          <cx:pt idx="75673">0</cx:pt>
          <cx:pt idx="75674">0</cx:pt>
          <cx:pt idx="75675">0</cx:pt>
          <cx:pt idx="75676">1</cx:pt>
          <cx:pt idx="75677">1</cx:pt>
          <cx:pt idx="75678">1</cx:pt>
          <cx:pt idx="75679">0</cx:pt>
          <cx:pt idx="75680">0</cx:pt>
          <cx:pt idx="75681">0</cx:pt>
          <cx:pt idx="75682">1</cx:pt>
          <cx:pt idx="75683">1</cx:pt>
          <cx:pt idx="75684">0</cx:pt>
          <cx:pt idx="75685">0</cx:pt>
          <cx:pt idx="75686">0</cx:pt>
          <cx:pt idx="75687">1</cx:pt>
          <cx:pt idx="75688">0</cx:pt>
          <cx:pt idx="75689">1</cx:pt>
          <cx:pt idx="75690">1</cx:pt>
          <cx:pt idx="75691">1</cx:pt>
          <cx:pt idx="75692">1</cx:pt>
          <cx:pt idx="75693">0</cx:pt>
          <cx:pt idx="75694">1</cx:pt>
          <cx:pt idx="75695">0</cx:pt>
          <cx:pt idx="75696">0</cx:pt>
          <cx:pt idx="75697">0</cx:pt>
          <cx:pt idx="75698">1</cx:pt>
          <cx:pt idx="75699">0</cx:pt>
          <cx:pt idx="75700">1</cx:pt>
          <cx:pt idx="75701">1</cx:pt>
          <cx:pt idx="75702">1</cx:pt>
          <cx:pt idx="75703">1</cx:pt>
          <cx:pt idx="75704">0</cx:pt>
          <cx:pt idx="75705">1</cx:pt>
          <cx:pt idx="75706">1</cx:pt>
          <cx:pt idx="75707">0</cx:pt>
          <cx:pt idx="75708">1</cx:pt>
          <cx:pt idx="75709">1</cx:pt>
          <cx:pt idx="75710">1</cx:pt>
          <cx:pt idx="75711">0</cx:pt>
          <cx:pt idx="75712">0</cx:pt>
          <cx:pt idx="75713">1</cx:pt>
          <cx:pt idx="75714">1</cx:pt>
          <cx:pt idx="75715">1</cx:pt>
          <cx:pt idx="75716">0</cx:pt>
          <cx:pt idx="75717">0</cx:pt>
          <cx:pt idx="75718">1</cx:pt>
          <cx:pt idx="75719">1</cx:pt>
          <cx:pt idx="75720">0</cx:pt>
          <cx:pt idx="75721">0</cx:pt>
          <cx:pt idx="75722">1</cx:pt>
          <cx:pt idx="75723">0</cx:pt>
          <cx:pt idx="75724">0</cx:pt>
          <cx:pt idx="75725">0</cx:pt>
          <cx:pt idx="75726">1</cx:pt>
          <cx:pt idx="75727">0</cx:pt>
          <cx:pt idx="75728">1</cx:pt>
          <cx:pt idx="75729">1</cx:pt>
          <cx:pt idx="75730">0</cx:pt>
          <cx:pt idx="75731">1</cx:pt>
          <cx:pt idx="75732">1</cx:pt>
          <cx:pt idx="75733">1</cx:pt>
          <cx:pt idx="75734">0</cx:pt>
          <cx:pt idx="75735">0</cx:pt>
          <cx:pt idx="75736">1</cx:pt>
          <cx:pt idx="75737">0</cx:pt>
          <cx:pt idx="75738">1</cx:pt>
          <cx:pt idx="75739">0</cx:pt>
          <cx:pt idx="75740">0</cx:pt>
          <cx:pt idx="75741">0</cx:pt>
          <cx:pt idx="75742">1</cx:pt>
          <cx:pt idx="75743">0</cx:pt>
          <cx:pt idx="75744">0</cx:pt>
          <cx:pt idx="75745">0</cx:pt>
          <cx:pt idx="75746">0</cx:pt>
          <cx:pt idx="75747">0</cx:pt>
          <cx:pt idx="75748">1</cx:pt>
          <cx:pt idx="75749">0</cx:pt>
          <cx:pt idx="75750">0</cx:pt>
          <cx:pt idx="75751">1</cx:pt>
          <cx:pt idx="75752">0</cx:pt>
          <cx:pt idx="75753">0</cx:pt>
          <cx:pt idx="75754">0</cx:pt>
          <cx:pt idx="75755">0</cx:pt>
          <cx:pt idx="75756">0</cx:pt>
          <cx:pt idx="75757">0</cx:pt>
          <cx:pt idx="75758">1</cx:pt>
          <cx:pt idx="75759">0</cx:pt>
          <cx:pt idx="75760">1</cx:pt>
          <cx:pt idx="75761">0</cx:pt>
          <cx:pt idx="75762">0</cx:pt>
          <cx:pt idx="75763">0</cx:pt>
          <cx:pt idx="75764">1</cx:pt>
          <cx:pt idx="75765">0</cx:pt>
          <cx:pt idx="75766">0</cx:pt>
          <cx:pt idx="75767">0</cx:pt>
          <cx:pt idx="75768">0</cx:pt>
          <cx:pt idx="75769">0</cx:pt>
          <cx:pt idx="75770">0</cx:pt>
          <cx:pt idx="75771">0</cx:pt>
          <cx:pt idx="75772">1</cx:pt>
          <cx:pt idx="75773">0</cx:pt>
          <cx:pt idx="75774">1</cx:pt>
          <cx:pt idx="75775">0</cx:pt>
          <cx:pt idx="75776">0</cx:pt>
          <cx:pt idx="75777">0</cx:pt>
          <cx:pt idx="75778">1</cx:pt>
          <cx:pt idx="75779">0</cx:pt>
          <cx:pt idx="75780">0</cx:pt>
          <cx:pt idx="75781">0</cx:pt>
          <cx:pt idx="75782">1</cx:pt>
          <cx:pt idx="75783">0</cx:pt>
          <cx:pt idx="75784">0</cx:pt>
          <cx:pt idx="75785">0</cx:pt>
          <cx:pt idx="75786">0</cx:pt>
          <cx:pt idx="75787">0</cx:pt>
          <cx:pt idx="75788">0</cx:pt>
          <cx:pt idx="75789">1</cx:pt>
          <cx:pt idx="75790">0</cx:pt>
          <cx:pt idx="75791">0</cx:pt>
          <cx:pt idx="75792">0</cx:pt>
          <cx:pt idx="75793">0</cx:pt>
          <cx:pt idx="75794">0</cx:pt>
          <cx:pt idx="75795">1</cx:pt>
          <cx:pt idx="75796">0</cx:pt>
          <cx:pt idx="75797">0</cx:pt>
          <cx:pt idx="75798">1</cx:pt>
          <cx:pt idx="75799">1</cx:pt>
          <cx:pt idx="75800">1</cx:pt>
          <cx:pt idx="75801">0</cx:pt>
          <cx:pt idx="75802">0</cx:pt>
          <cx:pt idx="75803">1</cx:pt>
          <cx:pt idx="75804">1</cx:pt>
          <cx:pt idx="75805">1</cx:pt>
          <cx:pt idx="75806">0</cx:pt>
          <cx:pt idx="75807">0</cx:pt>
          <cx:pt idx="75808">1</cx:pt>
          <cx:pt idx="75809">1</cx:pt>
          <cx:pt idx="75810">0</cx:pt>
          <cx:pt idx="75811">0</cx:pt>
          <cx:pt idx="75812">0</cx:pt>
          <cx:pt idx="75813">0</cx:pt>
          <cx:pt idx="75814">1</cx:pt>
          <cx:pt idx="75815">1</cx:pt>
          <cx:pt idx="75816">1</cx:pt>
          <cx:pt idx="75817">0</cx:pt>
          <cx:pt idx="75818">1</cx:pt>
          <cx:pt idx="75819">1</cx:pt>
          <cx:pt idx="75820">1</cx:pt>
          <cx:pt idx="75821">0</cx:pt>
          <cx:pt idx="75822">1</cx:pt>
          <cx:pt idx="75823">0</cx:pt>
          <cx:pt idx="75824">0</cx:pt>
          <cx:pt idx="75825">0</cx:pt>
          <cx:pt idx="75826">0</cx:pt>
          <cx:pt idx="75827">1</cx:pt>
          <cx:pt idx="75828">1</cx:pt>
          <cx:pt idx="75829">0</cx:pt>
          <cx:pt idx="75830">0</cx:pt>
          <cx:pt idx="75831">0</cx:pt>
          <cx:pt idx="75832">0</cx:pt>
          <cx:pt idx="75833">0</cx:pt>
          <cx:pt idx="75834">0</cx:pt>
          <cx:pt idx="75835">0</cx:pt>
          <cx:pt idx="75836">1</cx:pt>
          <cx:pt idx="75837">0</cx:pt>
          <cx:pt idx="75838">1</cx:pt>
          <cx:pt idx="75839">0</cx:pt>
          <cx:pt idx="75840">1</cx:pt>
          <cx:pt idx="75841">1</cx:pt>
          <cx:pt idx="75842">0</cx:pt>
          <cx:pt idx="75843">0</cx:pt>
          <cx:pt idx="75844">0</cx:pt>
          <cx:pt idx="75845">0</cx:pt>
          <cx:pt idx="75846">0</cx:pt>
          <cx:pt idx="75847">1</cx:pt>
          <cx:pt idx="75848">0</cx:pt>
          <cx:pt idx="75849">1</cx:pt>
          <cx:pt idx="75850">0</cx:pt>
          <cx:pt idx="75851">1</cx:pt>
          <cx:pt idx="75852">0</cx:pt>
          <cx:pt idx="75853">0</cx:pt>
          <cx:pt idx="75854">1</cx:pt>
          <cx:pt idx="75855">0</cx:pt>
          <cx:pt idx="75856">1</cx:pt>
          <cx:pt idx="75857">1</cx:pt>
          <cx:pt idx="75858">1</cx:pt>
          <cx:pt idx="75859">0</cx:pt>
          <cx:pt idx="75860">0</cx:pt>
          <cx:pt idx="75861">1</cx:pt>
          <cx:pt idx="75862">0</cx:pt>
          <cx:pt idx="75863">0</cx:pt>
          <cx:pt idx="75864">1</cx:pt>
          <cx:pt idx="75865">0</cx:pt>
          <cx:pt idx="75866">0</cx:pt>
          <cx:pt idx="75867">0</cx:pt>
          <cx:pt idx="75868">1</cx:pt>
          <cx:pt idx="75869">0</cx:pt>
          <cx:pt idx="75870">1</cx:pt>
          <cx:pt idx="75871">0</cx:pt>
          <cx:pt idx="75872">0</cx:pt>
          <cx:pt idx="75873">0</cx:pt>
          <cx:pt idx="75874">0</cx:pt>
          <cx:pt idx="75875">1</cx:pt>
          <cx:pt idx="75876">0</cx:pt>
          <cx:pt idx="75877">1</cx:pt>
          <cx:pt idx="75878">1</cx:pt>
          <cx:pt idx="75879">0</cx:pt>
          <cx:pt idx="75880">0</cx:pt>
          <cx:pt idx="75881">1</cx:pt>
          <cx:pt idx="75882">1</cx:pt>
          <cx:pt idx="75883">1</cx:pt>
          <cx:pt idx="75884">1</cx:pt>
          <cx:pt idx="75885">1</cx:pt>
          <cx:pt idx="75886">0</cx:pt>
          <cx:pt idx="75887">1</cx:pt>
          <cx:pt idx="75888">0</cx:pt>
          <cx:pt idx="75889">0</cx:pt>
          <cx:pt idx="75890">0</cx:pt>
          <cx:pt idx="75891">0</cx:pt>
          <cx:pt idx="75892">0</cx:pt>
          <cx:pt idx="75893">1</cx:pt>
          <cx:pt idx="75894">0</cx:pt>
          <cx:pt idx="75895">1</cx:pt>
          <cx:pt idx="75896">1</cx:pt>
          <cx:pt idx="75897">1</cx:pt>
          <cx:pt idx="75898">1</cx:pt>
          <cx:pt idx="75899">0</cx:pt>
          <cx:pt idx="75900">1</cx:pt>
          <cx:pt idx="75901">0</cx:pt>
          <cx:pt idx="75902">0</cx:pt>
          <cx:pt idx="75903">1</cx:pt>
          <cx:pt idx="75904">0</cx:pt>
          <cx:pt idx="75905">0</cx:pt>
          <cx:pt idx="75906">0</cx:pt>
          <cx:pt idx="75907">0</cx:pt>
          <cx:pt idx="75908">0</cx:pt>
          <cx:pt idx="75909">0</cx:pt>
          <cx:pt idx="75910">0</cx:pt>
          <cx:pt idx="75911">0</cx:pt>
          <cx:pt idx="75912">1</cx:pt>
          <cx:pt idx="75913">1</cx:pt>
          <cx:pt idx="75914">0</cx:pt>
          <cx:pt idx="75915">0</cx:pt>
          <cx:pt idx="75916">0</cx:pt>
          <cx:pt idx="75917">0</cx:pt>
          <cx:pt idx="75918">1</cx:pt>
          <cx:pt idx="75919">0</cx:pt>
          <cx:pt idx="75920">0</cx:pt>
          <cx:pt idx="75921">1</cx:pt>
          <cx:pt idx="75922">0</cx:pt>
          <cx:pt idx="75923">0</cx:pt>
          <cx:pt idx="75924">0</cx:pt>
          <cx:pt idx="75925">1</cx:pt>
          <cx:pt idx="75926">0</cx:pt>
          <cx:pt idx="75927">0</cx:pt>
          <cx:pt idx="75928">1</cx:pt>
          <cx:pt idx="75929">1</cx:pt>
          <cx:pt idx="75930">0</cx:pt>
          <cx:pt idx="75931">1</cx:pt>
          <cx:pt idx="75932">0</cx:pt>
          <cx:pt idx="75933">0</cx:pt>
          <cx:pt idx="75934">1</cx:pt>
          <cx:pt idx="75935">0</cx:pt>
          <cx:pt idx="75936">1</cx:pt>
          <cx:pt idx="75937">0</cx:pt>
          <cx:pt idx="75938">1</cx:pt>
          <cx:pt idx="75939">0</cx:pt>
          <cx:pt idx="75940">1</cx:pt>
          <cx:pt idx="75941">1</cx:pt>
          <cx:pt idx="75942">0</cx:pt>
          <cx:pt idx="75943">0</cx:pt>
          <cx:pt idx="75944">0</cx:pt>
          <cx:pt idx="75945">1</cx:pt>
          <cx:pt idx="75946">1</cx:pt>
          <cx:pt idx="75947">0</cx:pt>
          <cx:pt idx="75948">1</cx:pt>
          <cx:pt idx="75949">0</cx:pt>
          <cx:pt idx="75950">0</cx:pt>
          <cx:pt idx="75951">1</cx:pt>
          <cx:pt idx="75952">0</cx:pt>
          <cx:pt idx="75953">0</cx:pt>
          <cx:pt idx="75954">0</cx:pt>
          <cx:pt idx="75955">1</cx:pt>
          <cx:pt idx="75956">0</cx:pt>
          <cx:pt idx="75957">1</cx:pt>
          <cx:pt idx="75958">0</cx:pt>
          <cx:pt idx="75959">0</cx:pt>
          <cx:pt idx="75960">0</cx:pt>
          <cx:pt idx="75961">0</cx:pt>
          <cx:pt idx="75962">0</cx:pt>
          <cx:pt idx="75963">1</cx:pt>
          <cx:pt idx="75964">1</cx:pt>
          <cx:pt idx="75965">1</cx:pt>
          <cx:pt idx="75966">0</cx:pt>
          <cx:pt idx="75967">0</cx:pt>
          <cx:pt idx="75968">1</cx:pt>
          <cx:pt idx="75969">0</cx:pt>
          <cx:pt idx="75970">1</cx:pt>
          <cx:pt idx="75971">0</cx:pt>
          <cx:pt idx="75972">1</cx:pt>
          <cx:pt idx="75973">0</cx:pt>
          <cx:pt idx="75974">0</cx:pt>
          <cx:pt idx="75975">1</cx:pt>
          <cx:pt idx="75976">1</cx:pt>
          <cx:pt idx="75977">0</cx:pt>
          <cx:pt idx="75978">1</cx:pt>
          <cx:pt idx="75979">1</cx:pt>
          <cx:pt idx="75980">1</cx:pt>
          <cx:pt idx="75981">1</cx:pt>
          <cx:pt idx="75982">0</cx:pt>
          <cx:pt idx="75983">0</cx:pt>
          <cx:pt idx="75984">0</cx:pt>
          <cx:pt idx="75985">0</cx:pt>
          <cx:pt idx="75986">0</cx:pt>
          <cx:pt idx="75987">1</cx:pt>
          <cx:pt idx="75988">0</cx:pt>
          <cx:pt idx="75989">0</cx:pt>
          <cx:pt idx="75990">0</cx:pt>
          <cx:pt idx="75991">0</cx:pt>
          <cx:pt idx="75992">0</cx:pt>
          <cx:pt idx="75993">0</cx:pt>
          <cx:pt idx="75994">0</cx:pt>
          <cx:pt idx="75995">1</cx:pt>
          <cx:pt idx="75996">0</cx:pt>
          <cx:pt idx="75997">0</cx:pt>
          <cx:pt idx="75998">0</cx:pt>
          <cx:pt idx="75999">0</cx:pt>
          <cx:pt idx="76000">1</cx:pt>
          <cx:pt idx="76001">1</cx:pt>
          <cx:pt idx="76002">1</cx:pt>
          <cx:pt idx="76003">0</cx:pt>
          <cx:pt idx="76004">1</cx:pt>
          <cx:pt idx="76005">1</cx:pt>
          <cx:pt idx="76006">0</cx:pt>
          <cx:pt idx="76007">1</cx:pt>
          <cx:pt idx="76008">0</cx:pt>
          <cx:pt idx="76009">0</cx:pt>
          <cx:pt idx="76010">0</cx:pt>
          <cx:pt idx="76011">0</cx:pt>
          <cx:pt idx="76012">0</cx:pt>
          <cx:pt idx="76013">0</cx:pt>
          <cx:pt idx="76014">0</cx:pt>
          <cx:pt idx="76015">0</cx:pt>
          <cx:pt idx="76016">0</cx:pt>
          <cx:pt idx="76017">1</cx:pt>
          <cx:pt idx="76018">0</cx:pt>
          <cx:pt idx="76019">0</cx:pt>
          <cx:pt idx="76020">1</cx:pt>
          <cx:pt idx="76021">1</cx:pt>
          <cx:pt idx="76022">0</cx:pt>
          <cx:pt idx="76023">0</cx:pt>
          <cx:pt idx="76024">0</cx:pt>
          <cx:pt idx="76025">0</cx:pt>
          <cx:pt idx="76026">1</cx:pt>
          <cx:pt idx="76027">0</cx:pt>
          <cx:pt idx="76028">0</cx:pt>
          <cx:pt idx="76029">0</cx:pt>
          <cx:pt idx="76030">0</cx:pt>
          <cx:pt idx="76031">0</cx:pt>
          <cx:pt idx="76032">1</cx:pt>
          <cx:pt idx="76033">1</cx:pt>
          <cx:pt idx="76034">0</cx:pt>
          <cx:pt idx="76035">1</cx:pt>
          <cx:pt idx="76036">0</cx:pt>
          <cx:pt idx="76037">0</cx:pt>
          <cx:pt idx="76038">0</cx:pt>
          <cx:pt idx="76039">0</cx:pt>
          <cx:pt idx="76040">0</cx:pt>
          <cx:pt idx="76041">0</cx:pt>
          <cx:pt idx="76042">0</cx:pt>
          <cx:pt idx="76043">1</cx:pt>
          <cx:pt idx="76044">0</cx:pt>
          <cx:pt idx="76045">0</cx:pt>
          <cx:pt idx="76046">1</cx:pt>
          <cx:pt idx="76047">0</cx:pt>
          <cx:pt idx="76048">0</cx:pt>
          <cx:pt idx="76049">0</cx:pt>
          <cx:pt idx="76050">0</cx:pt>
          <cx:pt idx="76051">0</cx:pt>
          <cx:pt idx="76052">1</cx:pt>
          <cx:pt idx="76053">0</cx:pt>
          <cx:pt idx="76054">0</cx:pt>
          <cx:pt idx="76055">0</cx:pt>
          <cx:pt idx="76056">0</cx:pt>
          <cx:pt idx="76057">0</cx:pt>
          <cx:pt idx="76058">0</cx:pt>
          <cx:pt idx="76059">0</cx:pt>
          <cx:pt idx="76060">0</cx:pt>
          <cx:pt idx="76061">1</cx:pt>
          <cx:pt idx="76062">0</cx:pt>
          <cx:pt idx="76063">1</cx:pt>
          <cx:pt idx="76064">1</cx:pt>
          <cx:pt idx="76065">1</cx:pt>
          <cx:pt idx="76066">0</cx:pt>
          <cx:pt idx="76067">1</cx:pt>
          <cx:pt idx="76068">0</cx:pt>
          <cx:pt idx="76069">0</cx:pt>
          <cx:pt idx="76070">1</cx:pt>
          <cx:pt idx="76071">0</cx:pt>
          <cx:pt idx="76072">1</cx:pt>
          <cx:pt idx="76073">0</cx:pt>
          <cx:pt idx="76074">0</cx:pt>
          <cx:pt idx="76075">1</cx:pt>
          <cx:pt idx="76076">0</cx:pt>
          <cx:pt idx="76077">0</cx:pt>
          <cx:pt idx="76078">0</cx:pt>
          <cx:pt idx="76079">1</cx:pt>
          <cx:pt idx="76080">0</cx:pt>
          <cx:pt idx="76081">0</cx:pt>
          <cx:pt idx="76082">0</cx:pt>
          <cx:pt idx="76083">0</cx:pt>
          <cx:pt idx="76084">1</cx:pt>
          <cx:pt idx="76085">1</cx:pt>
          <cx:pt idx="76086">0</cx:pt>
          <cx:pt idx="76087">1</cx:pt>
          <cx:pt idx="76088">1</cx:pt>
          <cx:pt idx="76089">0</cx:pt>
          <cx:pt idx="76090">0</cx:pt>
          <cx:pt idx="76091">0</cx:pt>
          <cx:pt idx="76092">1</cx:pt>
          <cx:pt idx="76093">0</cx:pt>
          <cx:pt idx="76094">0</cx:pt>
          <cx:pt idx="76095">1</cx:pt>
          <cx:pt idx="76096">1</cx:pt>
          <cx:pt idx="76097">0</cx:pt>
          <cx:pt idx="76098">1</cx:pt>
          <cx:pt idx="76099">1</cx:pt>
          <cx:pt idx="76100">0</cx:pt>
          <cx:pt idx="76101">1</cx:pt>
          <cx:pt idx="76102">1</cx:pt>
          <cx:pt idx="76103">0</cx:pt>
          <cx:pt idx="76104">1</cx:pt>
          <cx:pt idx="76105">0</cx:pt>
          <cx:pt idx="76106">0</cx:pt>
          <cx:pt idx="76107">1</cx:pt>
          <cx:pt idx="76108">0</cx:pt>
          <cx:pt idx="76109">0</cx:pt>
          <cx:pt idx="76110">1</cx:pt>
          <cx:pt idx="76111">0</cx:pt>
          <cx:pt idx="76112">0</cx:pt>
          <cx:pt idx="76113">1</cx:pt>
          <cx:pt idx="76114">1</cx:pt>
          <cx:pt idx="76115">1</cx:pt>
          <cx:pt idx="76116">1</cx:pt>
          <cx:pt idx="76117">1</cx:pt>
          <cx:pt idx="76118">0</cx:pt>
          <cx:pt idx="76119">0</cx:pt>
          <cx:pt idx="76120">1</cx:pt>
          <cx:pt idx="76121">1</cx:pt>
          <cx:pt idx="76122">1</cx:pt>
          <cx:pt idx="76123">0</cx:pt>
          <cx:pt idx="76124">1</cx:pt>
          <cx:pt idx="76125">0</cx:pt>
          <cx:pt idx="76126">0</cx:pt>
          <cx:pt idx="76127">1</cx:pt>
          <cx:pt idx="76128">0</cx:pt>
          <cx:pt idx="76129">1</cx:pt>
          <cx:pt idx="76130">0</cx:pt>
          <cx:pt idx="76131">1</cx:pt>
          <cx:pt idx="76132">1</cx:pt>
          <cx:pt idx="76133">0</cx:pt>
          <cx:pt idx="76134">1</cx:pt>
          <cx:pt idx="76135">1</cx:pt>
          <cx:pt idx="76136">0</cx:pt>
          <cx:pt idx="76137">1</cx:pt>
          <cx:pt idx="76138">0</cx:pt>
          <cx:pt idx="76139">1</cx:pt>
          <cx:pt idx="76140">0</cx:pt>
          <cx:pt idx="76141">1</cx:pt>
          <cx:pt idx="76142">0</cx:pt>
          <cx:pt idx="76143">0</cx:pt>
          <cx:pt idx="76144">1</cx:pt>
          <cx:pt idx="76145">1</cx:pt>
          <cx:pt idx="76146">0</cx:pt>
          <cx:pt idx="76147">1</cx:pt>
          <cx:pt idx="76148">1</cx:pt>
          <cx:pt idx="76149">1</cx:pt>
          <cx:pt idx="76150">1</cx:pt>
          <cx:pt idx="76151">1</cx:pt>
          <cx:pt idx="76152">0</cx:pt>
          <cx:pt idx="76153">0</cx:pt>
          <cx:pt idx="76154">1</cx:pt>
          <cx:pt idx="76155">0</cx:pt>
          <cx:pt idx="76156">1</cx:pt>
          <cx:pt idx="76157">1</cx:pt>
          <cx:pt idx="76158">0</cx:pt>
          <cx:pt idx="76159">0</cx:pt>
          <cx:pt idx="76160">0</cx:pt>
          <cx:pt idx="76161">0</cx:pt>
          <cx:pt idx="76162">0</cx:pt>
          <cx:pt idx="76163">1</cx:pt>
          <cx:pt idx="76164">0</cx:pt>
          <cx:pt idx="76165">1</cx:pt>
          <cx:pt idx="76166">1</cx:pt>
          <cx:pt idx="76167">1</cx:pt>
          <cx:pt idx="76168">0</cx:pt>
          <cx:pt idx="76169">0</cx:pt>
          <cx:pt idx="76170">0</cx:pt>
          <cx:pt idx="76171">1</cx:pt>
          <cx:pt idx="76172">1</cx:pt>
          <cx:pt idx="76173">1</cx:pt>
          <cx:pt idx="76174">1</cx:pt>
          <cx:pt idx="76175">0</cx:pt>
          <cx:pt idx="76176">0</cx:pt>
          <cx:pt idx="76177">1</cx:pt>
          <cx:pt idx="76178">1</cx:pt>
          <cx:pt idx="76179">0</cx:pt>
          <cx:pt idx="76180">1</cx:pt>
          <cx:pt idx="76181">1</cx:pt>
          <cx:pt idx="76182">1</cx:pt>
          <cx:pt idx="76183">1</cx:pt>
          <cx:pt idx="76184">0</cx:pt>
          <cx:pt idx="76185">0</cx:pt>
          <cx:pt idx="76186">1</cx:pt>
          <cx:pt idx="76187">0</cx:pt>
          <cx:pt idx="76188">0</cx:pt>
          <cx:pt idx="76189">1</cx:pt>
          <cx:pt idx="76190">0</cx:pt>
          <cx:pt idx="76191">0</cx:pt>
          <cx:pt idx="76192">1</cx:pt>
          <cx:pt idx="76193">1</cx:pt>
          <cx:pt idx="76194">1</cx:pt>
          <cx:pt idx="76195">0</cx:pt>
          <cx:pt idx="76196">0</cx:pt>
          <cx:pt idx="76197">0</cx:pt>
          <cx:pt idx="76198">0</cx:pt>
          <cx:pt idx="76199">1</cx:pt>
          <cx:pt idx="76200">0</cx:pt>
          <cx:pt idx="76201">0</cx:pt>
          <cx:pt idx="76202">0</cx:pt>
          <cx:pt idx="76203">0</cx:pt>
          <cx:pt idx="76204">0</cx:pt>
          <cx:pt idx="76205">0</cx:pt>
          <cx:pt idx="76206">0</cx:pt>
          <cx:pt idx="76207">0</cx:pt>
          <cx:pt idx="76208">0</cx:pt>
          <cx:pt idx="76209">0</cx:pt>
          <cx:pt idx="76210">1</cx:pt>
          <cx:pt idx="76211">0</cx:pt>
          <cx:pt idx="76212">0</cx:pt>
          <cx:pt idx="76213">0</cx:pt>
          <cx:pt idx="76214">1</cx:pt>
          <cx:pt idx="76215">1</cx:pt>
          <cx:pt idx="76216">1</cx:pt>
          <cx:pt idx="76217">1</cx:pt>
          <cx:pt idx="76218">0</cx:pt>
          <cx:pt idx="76219">1</cx:pt>
          <cx:pt idx="76220">0</cx:pt>
          <cx:pt idx="76221">1</cx:pt>
          <cx:pt idx="76222">0</cx:pt>
          <cx:pt idx="76223">1</cx:pt>
          <cx:pt idx="76224">1</cx:pt>
          <cx:pt idx="76225">0</cx:pt>
          <cx:pt idx="76226">1</cx:pt>
          <cx:pt idx="76227">0</cx:pt>
          <cx:pt idx="76228">0</cx:pt>
          <cx:pt idx="76229">0</cx:pt>
          <cx:pt idx="76230">0</cx:pt>
          <cx:pt idx="76231">0</cx:pt>
          <cx:pt idx="76232">0</cx:pt>
          <cx:pt idx="76233">0</cx:pt>
          <cx:pt idx="76234">0</cx:pt>
          <cx:pt idx="76235">0</cx:pt>
          <cx:pt idx="76236">0</cx:pt>
          <cx:pt idx="76237">0</cx:pt>
          <cx:pt idx="76238">0</cx:pt>
          <cx:pt idx="76239">1</cx:pt>
          <cx:pt idx="76240">0</cx:pt>
          <cx:pt idx="76241">0</cx:pt>
          <cx:pt idx="76242">1</cx:pt>
          <cx:pt idx="76243">1</cx:pt>
          <cx:pt idx="76244">1</cx:pt>
          <cx:pt idx="76245">1</cx:pt>
          <cx:pt idx="76246">0</cx:pt>
          <cx:pt idx="76247">0</cx:pt>
          <cx:pt idx="76248">0</cx:pt>
          <cx:pt idx="76249">1</cx:pt>
          <cx:pt idx="76250">0</cx:pt>
          <cx:pt idx="76251">0</cx:pt>
          <cx:pt idx="76252">1</cx:pt>
          <cx:pt idx="76253">0</cx:pt>
          <cx:pt idx="76254">0</cx:pt>
          <cx:pt idx="76255">0</cx:pt>
          <cx:pt idx="76256">0</cx:pt>
          <cx:pt idx="76257">0</cx:pt>
          <cx:pt idx="76258">1</cx:pt>
          <cx:pt idx="76259">0</cx:pt>
          <cx:pt idx="76260">0</cx:pt>
          <cx:pt idx="76261">1</cx:pt>
          <cx:pt idx="76262">0</cx:pt>
          <cx:pt idx="76263">0</cx:pt>
          <cx:pt idx="76264">1</cx:pt>
          <cx:pt idx="76265">1</cx:pt>
          <cx:pt idx="76266">1</cx:pt>
          <cx:pt idx="76267">1</cx:pt>
          <cx:pt idx="76268">0</cx:pt>
          <cx:pt idx="76269">0</cx:pt>
          <cx:pt idx="76270">0</cx:pt>
          <cx:pt idx="76271">0</cx:pt>
          <cx:pt idx="76272">0</cx:pt>
          <cx:pt idx="76273">0</cx:pt>
          <cx:pt idx="76274">1</cx:pt>
          <cx:pt idx="76275">1</cx:pt>
          <cx:pt idx="76276">1</cx:pt>
          <cx:pt idx="76277">1</cx:pt>
          <cx:pt idx="76278">0</cx:pt>
          <cx:pt idx="76279">1</cx:pt>
          <cx:pt idx="76280">0</cx:pt>
          <cx:pt idx="76281">0</cx:pt>
          <cx:pt idx="76282">1</cx:pt>
          <cx:pt idx="76283">1</cx:pt>
          <cx:pt idx="76284">1</cx:pt>
          <cx:pt idx="76285">0</cx:pt>
          <cx:pt idx="76286">0</cx:pt>
          <cx:pt idx="76287">1</cx:pt>
          <cx:pt idx="76288">1</cx:pt>
          <cx:pt idx="76289">0</cx:pt>
          <cx:pt idx="76290">1</cx:pt>
          <cx:pt idx="76291">0</cx:pt>
          <cx:pt idx="76292">0</cx:pt>
          <cx:pt idx="76293">1</cx:pt>
          <cx:pt idx="76294">1</cx:pt>
          <cx:pt idx="76295">0</cx:pt>
          <cx:pt idx="76296">0</cx:pt>
          <cx:pt idx="76297">1</cx:pt>
          <cx:pt idx="76298">0</cx:pt>
          <cx:pt idx="76299">1</cx:pt>
          <cx:pt idx="76300">0</cx:pt>
          <cx:pt idx="76301">0</cx:pt>
          <cx:pt idx="76302">0</cx:pt>
          <cx:pt idx="76303">0</cx:pt>
          <cx:pt idx="76304">1</cx:pt>
          <cx:pt idx="76305">0</cx:pt>
          <cx:pt idx="76306">0</cx:pt>
          <cx:pt idx="76307">1</cx:pt>
          <cx:pt idx="76308">1</cx:pt>
          <cx:pt idx="76309">0</cx:pt>
          <cx:pt idx="76310">0</cx:pt>
          <cx:pt idx="76311">0</cx:pt>
          <cx:pt idx="76312">1</cx:pt>
          <cx:pt idx="76313">0</cx:pt>
          <cx:pt idx="76314">0</cx:pt>
          <cx:pt idx="76315">1</cx:pt>
          <cx:pt idx="76316">0</cx:pt>
          <cx:pt idx="76317">1</cx:pt>
          <cx:pt idx="76318">1</cx:pt>
          <cx:pt idx="76319">0</cx:pt>
          <cx:pt idx="76320">0</cx:pt>
          <cx:pt idx="76321">1</cx:pt>
          <cx:pt idx="76322">0</cx:pt>
          <cx:pt idx="76323">0</cx:pt>
          <cx:pt idx="76324">0</cx:pt>
          <cx:pt idx="76325">1</cx:pt>
          <cx:pt idx="76326">0</cx:pt>
          <cx:pt idx="76327">1</cx:pt>
          <cx:pt idx="76328">0</cx:pt>
          <cx:pt idx="76329">1</cx:pt>
          <cx:pt idx="76330">0</cx:pt>
          <cx:pt idx="76331">1</cx:pt>
          <cx:pt idx="76332">0</cx:pt>
          <cx:pt idx="76333">1</cx:pt>
          <cx:pt idx="76334">1</cx:pt>
          <cx:pt idx="76335">1</cx:pt>
          <cx:pt idx="76336">0</cx:pt>
          <cx:pt idx="76337">1</cx:pt>
          <cx:pt idx="76338">0</cx:pt>
          <cx:pt idx="76339">0</cx:pt>
          <cx:pt idx="76340">1</cx:pt>
          <cx:pt idx="76341">0</cx:pt>
          <cx:pt idx="76342">1</cx:pt>
          <cx:pt idx="76343">1</cx:pt>
          <cx:pt idx="76344">0</cx:pt>
          <cx:pt idx="76345">1</cx:pt>
          <cx:pt idx="76346">0</cx:pt>
          <cx:pt idx="76347">1</cx:pt>
          <cx:pt idx="76348">1</cx:pt>
          <cx:pt idx="76349">0</cx:pt>
          <cx:pt idx="76350">0</cx:pt>
          <cx:pt idx="76351">1</cx:pt>
          <cx:pt idx="76352">0</cx:pt>
          <cx:pt idx="76353">1</cx:pt>
          <cx:pt idx="76354">0</cx:pt>
          <cx:pt idx="76355">1</cx:pt>
          <cx:pt idx="76356">1</cx:pt>
          <cx:pt idx="76357">0</cx:pt>
          <cx:pt idx="76358">1</cx:pt>
          <cx:pt idx="76359">0</cx:pt>
          <cx:pt idx="76360">1</cx:pt>
          <cx:pt idx="76361">1</cx:pt>
          <cx:pt idx="76362">1</cx:pt>
          <cx:pt idx="76363">1</cx:pt>
          <cx:pt idx="76364">0</cx:pt>
          <cx:pt idx="76365">0</cx:pt>
          <cx:pt idx="76366">0</cx:pt>
          <cx:pt idx="76367">1</cx:pt>
          <cx:pt idx="76368">1</cx:pt>
          <cx:pt idx="76369">1</cx:pt>
          <cx:pt idx="76370">1</cx:pt>
          <cx:pt idx="76371">0</cx:pt>
          <cx:pt idx="76372">0</cx:pt>
          <cx:pt idx="76373">0</cx:pt>
          <cx:pt idx="76374">0</cx:pt>
          <cx:pt idx="76375">0</cx:pt>
          <cx:pt idx="76376">1</cx:pt>
          <cx:pt idx="76377">1</cx:pt>
          <cx:pt idx="76378">1</cx:pt>
          <cx:pt idx="76379">1</cx:pt>
          <cx:pt idx="76380">1</cx:pt>
          <cx:pt idx="76381">1</cx:pt>
          <cx:pt idx="76382">1</cx:pt>
          <cx:pt idx="76383">1</cx:pt>
          <cx:pt idx="76384">0</cx:pt>
          <cx:pt idx="76385">1</cx:pt>
          <cx:pt idx="76386">1</cx:pt>
          <cx:pt idx="76387">0</cx:pt>
          <cx:pt idx="76388">1</cx:pt>
          <cx:pt idx="76389">1</cx:pt>
          <cx:pt idx="76390">1</cx:pt>
          <cx:pt idx="76391">1</cx:pt>
          <cx:pt idx="76392">0</cx:pt>
          <cx:pt idx="76393">1</cx:pt>
          <cx:pt idx="76394">0</cx:pt>
          <cx:pt idx="76395">0</cx:pt>
          <cx:pt idx="76396">0</cx:pt>
          <cx:pt idx="76397">0</cx:pt>
          <cx:pt idx="76398">1</cx:pt>
          <cx:pt idx="76399">1</cx:pt>
          <cx:pt idx="76400">1</cx:pt>
          <cx:pt idx="76401">0</cx:pt>
          <cx:pt idx="76402">1</cx:pt>
          <cx:pt idx="76403">0</cx:pt>
          <cx:pt idx="76404">1</cx:pt>
          <cx:pt idx="76405">1</cx:pt>
          <cx:pt idx="76406">1</cx:pt>
          <cx:pt idx="76407">0</cx:pt>
          <cx:pt idx="76408">0</cx:pt>
          <cx:pt idx="76409">0</cx:pt>
          <cx:pt idx="76410">0</cx:pt>
          <cx:pt idx="76411">0</cx:pt>
          <cx:pt idx="76412">0</cx:pt>
          <cx:pt idx="76413">1</cx:pt>
          <cx:pt idx="76414">0</cx:pt>
          <cx:pt idx="76415">0</cx:pt>
          <cx:pt idx="76416">0</cx:pt>
          <cx:pt idx="76417">0</cx:pt>
          <cx:pt idx="76418">0</cx:pt>
          <cx:pt idx="76419">1</cx:pt>
          <cx:pt idx="76420">0</cx:pt>
          <cx:pt idx="76421">1</cx:pt>
          <cx:pt idx="76422">1</cx:pt>
          <cx:pt idx="76423">0</cx:pt>
          <cx:pt idx="76424">0</cx:pt>
          <cx:pt idx="76425">1</cx:pt>
          <cx:pt idx="76426">0</cx:pt>
          <cx:pt idx="76427">0</cx:pt>
          <cx:pt idx="76428">1</cx:pt>
          <cx:pt idx="76429">0</cx:pt>
          <cx:pt idx="76430">0</cx:pt>
          <cx:pt idx="76431">1</cx:pt>
          <cx:pt idx="76432">1</cx:pt>
          <cx:pt idx="76433">0</cx:pt>
          <cx:pt idx="76434">0</cx:pt>
          <cx:pt idx="76435">1</cx:pt>
          <cx:pt idx="76436">1</cx:pt>
          <cx:pt idx="76437">1</cx:pt>
          <cx:pt idx="76438">1</cx:pt>
          <cx:pt idx="76439">0</cx:pt>
          <cx:pt idx="76440">1</cx:pt>
          <cx:pt idx="76441">1</cx:pt>
          <cx:pt idx="76442">1</cx:pt>
          <cx:pt idx="76443">0</cx:pt>
          <cx:pt idx="76444">0</cx:pt>
          <cx:pt idx="76445">1</cx:pt>
          <cx:pt idx="76446">1</cx:pt>
          <cx:pt idx="76447">1</cx:pt>
          <cx:pt idx="76448">1</cx:pt>
          <cx:pt idx="76449">1</cx:pt>
          <cx:pt idx="76450">0</cx:pt>
          <cx:pt idx="76451">0</cx:pt>
          <cx:pt idx="76452">1</cx:pt>
          <cx:pt idx="76453">0</cx:pt>
          <cx:pt idx="76454">0</cx:pt>
          <cx:pt idx="76455">1</cx:pt>
          <cx:pt idx="76456">1</cx:pt>
          <cx:pt idx="76457">0</cx:pt>
          <cx:pt idx="76458">1</cx:pt>
          <cx:pt idx="76459">0</cx:pt>
          <cx:pt idx="76460">1</cx:pt>
          <cx:pt idx="76461">0</cx:pt>
          <cx:pt idx="76462">1</cx:pt>
          <cx:pt idx="76463">0</cx:pt>
          <cx:pt idx="76464">1</cx:pt>
          <cx:pt idx="76465">0</cx:pt>
          <cx:pt idx="76466">1</cx:pt>
          <cx:pt idx="76467">1</cx:pt>
          <cx:pt idx="76468">1</cx:pt>
          <cx:pt idx="76469">0</cx:pt>
          <cx:pt idx="76470">0</cx:pt>
          <cx:pt idx="76471">1</cx:pt>
          <cx:pt idx="76472">0</cx:pt>
          <cx:pt idx="76473">0</cx:pt>
          <cx:pt idx="76474">1</cx:pt>
          <cx:pt idx="76475">0</cx:pt>
          <cx:pt idx="76476">1</cx:pt>
          <cx:pt idx="76477">0</cx:pt>
          <cx:pt idx="76478">1</cx:pt>
          <cx:pt idx="76479">1</cx:pt>
          <cx:pt idx="76480">0</cx:pt>
          <cx:pt idx="76481">1</cx:pt>
          <cx:pt idx="76482">1</cx:pt>
          <cx:pt idx="76483">1</cx:pt>
          <cx:pt idx="76484">1</cx:pt>
          <cx:pt idx="76485">1</cx:pt>
          <cx:pt idx="76486">1</cx:pt>
          <cx:pt idx="76487">0</cx:pt>
          <cx:pt idx="76488">1</cx:pt>
          <cx:pt idx="76489">0</cx:pt>
          <cx:pt idx="76490">0</cx:pt>
          <cx:pt idx="76491">1</cx:pt>
          <cx:pt idx="76492">1</cx:pt>
          <cx:pt idx="76493">0</cx:pt>
          <cx:pt idx="76494">0</cx:pt>
          <cx:pt idx="76495">0</cx:pt>
          <cx:pt idx="76496">1</cx:pt>
          <cx:pt idx="76497">0</cx:pt>
          <cx:pt idx="76498">0</cx:pt>
          <cx:pt idx="76499">0</cx:pt>
          <cx:pt idx="76500">0</cx:pt>
          <cx:pt idx="76501">0</cx:pt>
          <cx:pt idx="76502">1</cx:pt>
          <cx:pt idx="76503">0</cx:pt>
          <cx:pt idx="76504">1</cx:pt>
          <cx:pt idx="76505">0</cx:pt>
          <cx:pt idx="76506">0</cx:pt>
          <cx:pt idx="76507">1</cx:pt>
          <cx:pt idx="76508">1</cx:pt>
          <cx:pt idx="76509">0</cx:pt>
          <cx:pt idx="76510">0</cx:pt>
          <cx:pt idx="76511">0</cx:pt>
          <cx:pt idx="76512">0</cx:pt>
          <cx:pt idx="76513">0</cx:pt>
          <cx:pt idx="76514">0</cx:pt>
          <cx:pt idx="76515">0</cx:pt>
          <cx:pt idx="76516">1</cx:pt>
          <cx:pt idx="76517">0</cx:pt>
          <cx:pt idx="76518">0</cx:pt>
          <cx:pt idx="76519">0</cx:pt>
          <cx:pt idx="76520">1</cx:pt>
          <cx:pt idx="76521">0</cx:pt>
          <cx:pt idx="76522">1</cx:pt>
          <cx:pt idx="76523">0</cx:pt>
          <cx:pt idx="76524">1</cx:pt>
          <cx:pt idx="76525">0</cx:pt>
          <cx:pt idx="76526">1</cx:pt>
          <cx:pt idx="76527">1</cx:pt>
          <cx:pt idx="76528">1</cx:pt>
          <cx:pt idx="76529">0</cx:pt>
          <cx:pt idx="76530">1</cx:pt>
          <cx:pt idx="76531">0</cx:pt>
          <cx:pt idx="76532">1</cx:pt>
          <cx:pt idx="76533">0</cx:pt>
          <cx:pt idx="76534">0</cx:pt>
          <cx:pt idx="76535">0</cx:pt>
          <cx:pt idx="76536">0</cx:pt>
          <cx:pt idx="76537">0</cx:pt>
          <cx:pt idx="76538">0</cx:pt>
          <cx:pt idx="76539">0</cx:pt>
          <cx:pt idx="76540">0</cx:pt>
          <cx:pt idx="76541">0</cx:pt>
          <cx:pt idx="76542">1</cx:pt>
          <cx:pt idx="76543">1</cx:pt>
          <cx:pt idx="76544">0</cx:pt>
          <cx:pt idx="76545">0</cx:pt>
          <cx:pt idx="76546">1</cx:pt>
          <cx:pt idx="76547">1</cx:pt>
          <cx:pt idx="76548">0</cx:pt>
          <cx:pt idx="76549">0</cx:pt>
          <cx:pt idx="76550">0</cx:pt>
          <cx:pt idx="76551">1</cx:pt>
          <cx:pt idx="76552">1</cx:pt>
          <cx:pt idx="76553">1</cx:pt>
          <cx:pt idx="76554">0</cx:pt>
          <cx:pt idx="76555">1</cx:pt>
          <cx:pt idx="76556">0</cx:pt>
          <cx:pt idx="76557">1</cx:pt>
          <cx:pt idx="76558">0</cx:pt>
          <cx:pt idx="76559">0</cx:pt>
          <cx:pt idx="76560">0</cx:pt>
          <cx:pt idx="76561">0</cx:pt>
          <cx:pt idx="76562">0</cx:pt>
          <cx:pt idx="76563">0</cx:pt>
          <cx:pt idx="76564">0</cx:pt>
          <cx:pt idx="76565">1</cx:pt>
          <cx:pt idx="76566">1</cx:pt>
          <cx:pt idx="76567">0</cx:pt>
          <cx:pt idx="76568">0</cx:pt>
          <cx:pt idx="76569">0</cx:pt>
          <cx:pt idx="76570">1</cx:pt>
          <cx:pt idx="76571">0</cx:pt>
          <cx:pt idx="76572">1</cx:pt>
          <cx:pt idx="76573">0</cx:pt>
          <cx:pt idx="76574">0</cx:pt>
          <cx:pt idx="76575">1</cx:pt>
          <cx:pt idx="76576">0</cx:pt>
          <cx:pt idx="76577">1</cx:pt>
          <cx:pt idx="76578">0</cx:pt>
          <cx:pt idx="76579">0</cx:pt>
          <cx:pt idx="76580">0</cx:pt>
          <cx:pt idx="76581">1</cx:pt>
          <cx:pt idx="76582">1</cx:pt>
          <cx:pt idx="76583">1</cx:pt>
          <cx:pt idx="76584">0</cx:pt>
          <cx:pt idx="76585">1</cx:pt>
          <cx:pt idx="76586">0</cx:pt>
          <cx:pt idx="76587">1</cx:pt>
          <cx:pt idx="76588">0</cx:pt>
          <cx:pt idx="76589">0</cx:pt>
          <cx:pt idx="76590">1</cx:pt>
          <cx:pt idx="76591">1</cx:pt>
          <cx:pt idx="76592">0</cx:pt>
          <cx:pt idx="76593">0</cx:pt>
          <cx:pt idx="76594">0</cx:pt>
          <cx:pt idx="76595">0</cx:pt>
          <cx:pt idx="76596">0</cx:pt>
          <cx:pt idx="76597">0</cx:pt>
          <cx:pt idx="76598">1</cx:pt>
          <cx:pt idx="76599">1</cx:pt>
          <cx:pt idx="76600">0</cx:pt>
          <cx:pt idx="76601">0</cx:pt>
          <cx:pt idx="76602">0</cx:pt>
          <cx:pt idx="76603">0</cx:pt>
          <cx:pt idx="76604">1</cx:pt>
          <cx:pt idx="76605">0</cx:pt>
          <cx:pt idx="76606">0</cx:pt>
          <cx:pt idx="76607">0</cx:pt>
          <cx:pt idx="76608">0</cx:pt>
          <cx:pt idx="76609">1</cx:pt>
          <cx:pt idx="76610">1</cx:pt>
          <cx:pt idx="76611">0</cx:pt>
          <cx:pt idx="76612">0</cx:pt>
          <cx:pt idx="76613">0</cx:pt>
          <cx:pt idx="76614">1</cx:pt>
          <cx:pt idx="76615">1</cx:pt>
          <cx:pt idx="76616">0</cx:pt>
          <cx:pt idx="76617">0</cx:pt>
          <cx:pt idx="76618">0</cx:pt>
          <cx:pt idx="76619">1</cx:pt>
          <cx:pt idx="76620">0</cx:pt>
          <cx:pt idx="76621">0</cx:pt>
          <cx:pt idx="76622">1</cx:pt>
          <cx:pt idx="76623">0</cx:pt>
          <cx:pt idx="76624">1</cx:pt>
          <cx:pt idx="76625">0</cx:pt>
          <cx:pt idx="76626">0</cx:pt>
          <cx:pt idx="76627">1</cx:pt>
          <cx:pt idx="76628">0</cx:pt>
          <cx:pt idx="76629">0</cx:pt>
          <cx:pt idx="76630">0</cx:pt>
          <cx:pt idx="76631">0</cx:pt>
          <cx:pt idx="76632">0</cx:pt>
          <cx:pt idx="76633">0</cx:pt>
          <cx:pt idx="76634">0</cx:pt>
          <cx:pt idx="76635">0</cx:pt>
          <cx:pt idx="76636">1</cx:pt>
          <cx:pt idx="76637">0</cx:pt>
          <cx:pt idx="76638">1</cx:pt>
          <cx:pt idx="76639">1</cx:pt>
          <cx:pt idx="76640">0</cx:pt>
          <cx:pt idx="76641">1</cx:pt>
          <cx:pt idx="76642">1</cx:pt>
          <cx:pt idx="76643">0</cx:pt>
          <cx:pt idx="76644">1</cx:pt>
          <cx:pt idx="76645">1</cx:pt>
          <cx:pt idx="76646">0</cx:pt>
          <cx:pt idx="76647">0</cx:pt>
          <cx:pt idx="76648">0</cx:pt>
          <cx:pt idx="76649">0</cx:pt>
          <cx:pt idx="76650">0</cx:pt>
          <cx:pt idx="76651">0</cx:pt>
          <cx:pt idx="76652">0</cx:pt>
          <cx:pt idx="76653">0</cx:pt>
          <cx:pt idx="76654">1</cx:pt>
          <cx:pt idx="76655">1</cx:pt>
          <cx:pt idx="76656">0</cx:pt>
          <cx:pt idx="76657">0</cx:pt>
          <cx:pt idx="76658">1</cx:pt>
          <cx:pt idx="76659">0</cx:pt>
          <cx:pt idx="76660">1</cx:pt>
          <cx:pt idx="76661">1</cx:pt>
          <cx:pt idx="76662">1</cx:pt>
          <cx:pt idx="76663">1</cx:pt>
          <cx:pt idx="76664">1</cx:pt>
          <cx:pt idx="76665">1</cx:pt>
          <cx:pt idx="76666">1</cx:pt>
          <cx:pt idx="76667">1</cx:pt>
          <cx:pt idx="76668">0</cx:pt>
          <cx:pt idx="76669">0</cx:pt>
          <cx:pt idx="76670">0</cx:pt>
          <cx:pt idx="76671">0</cx:pt>
          <cx:pt idx="76672">1</cx:pt>
          <cx:pt idx="76673">1</cx:pt>
          <cx:pt idx="76674">1</cx:pt>
          <cx:pt idx="76675">0</cx:pt>
          <cx:pt idx="76676">0</cx:pt>
          <cx:pt idx="76677">0</cx:pt>
          <cx:pt idx="76678">1</cx:pt>
          <cx:pt idx="76679">0</cx:pt>
          <cx:pt idx="76680">0</cx:pt>
          <cx:pt idx="76681">0</cx:pt>
          <cx:pt idx="76682">0</cx:pt>
          <cx:pt idx="76683">0</cx:pt>
          <cx:pt idx="76684">1</cx:pt>
          <cx:pt idx="76685">0</cx:pt>
          <cx:pt idx="76686">1</cx:pt>
          <cx:pt idx="76687">1</cx:pt>
          <cx:pt idx="76688">1</cx:pt>
          <cx:pt idx="76689">1</cx:pt>
          <cx:pt idx="76690">1</cx:pt>
          <cx:pt idx="76691">1</cx:pt>
          <cx:pt idx="76692">0</cx:pt>
          <cx:pt idx="76693">1</cx:pt>
          <cx:pt idx="76694">0</cx:pt>
          <cx:pt idx="76695">1</cx:pt>
          <cx:pt idx="76696">1</cx:pt>
          <cx:pt idx="76697">0</cx:pt>
          <cx:pt idx="76698">1</cx:pt>
          <cx:pt idx="76699">0</cx:pt>
          <cx:pt idx="76700">0</cx:pt>
          <cx:pt idx="76701">0</cx:pt>
          <cx:pt idx="76702">1</cx:pt>
          <cx:pt idx="76703">0</cx:pt>
          <cx:pt idx="76704">1</cx:pt>
          <cx:pt idx="76705">0</cx:pt>
          <cx:pt idx="76706">1</cx:pt>
          <cx:pt idx="76707">1</cx:pt>
          <cx:pt idx="76708">0</cx:pt>
          <cx:pt idx="76709">0</cx:pt>
          <cx:pt idx="76710">1</cx:pt>
          <cx:pt idx="76711">0</cx:pt>
          <cx:pt idx="76712">0</cx:pt>
          <cx:pt idx="76713">0</cx:pt>
          <cx:pt idx="76714">1</cx:pt>
          <cx:pt idx="76715">1</cx:pt>
          <cx:pt idx="76716">0</cx:pt>
          <cx:pt idx="76717">0</cx:pt>
          <cx:pt idx="76718">0</cx:pt>
          <cx:pt idx="76719">0</cx:pt>
          <cx:pt idx="76720">0</cx:pt>
          <cx:pt idx="76721">1</cx:pt>
          <cx:pt idx="76722">0</cx:pt>
          <cx:pt idx="76723">1</cx:pt>
          <cx:pt idx="76724">0</cx:pt>
          <cx:pt idx="76725">0</cx:pt>
          <cx:pt idx="76726">0</cx:pt>
          <cx:pt idx="76727">0</cx:pt>
          <cx:pt idx="76728">0</cx:pt>
          <cx:pt idx="76729">1</cx:pt>
          <cx:pt idx="76730">1</cx:pt>
          <cx:pt idx="76731">1</cx:pt>
          <cx:pt idx="76732">0</cx:pt>
          <cx:pt idx="76733">1</cx:pt>
          <cx:pt idx="76734">1</cx:pt>
          <cx:pt idx="76735">0</cx:pt>
          <cx:pt idx="76736">0</cx:pt>
          <cx:pt idx="76737">1</cx:pt>
          <cx:pt idx="76738">1</cx:pt>
          <cx:pt idx="76739">0</cx:pt>
          <cx:pt idx="76740">1</cx:pt>
          <cx:pt idx="76741">1</cx:pt>
          <cx:pt idx="76742">1</cx:pt>
          <cx:pt idx="76743">0</cx:pt>
          <cx:pt idx="76744">1</cx:pt>
          <cx:pt idx="76745">0</cx:pt>
          <cx:pt idx="76746">0</cx:pt>
          <cx:pt idx="76747">1</cx:pt>
          <cx:pt idx="76748">0</cx:pt>
          <cx:pt idx="76749">1</cx:pt>
          <cx:pt idx="76750">1</cx:pt>
          <cx:pt idx="76751">0</cx:pt>
          <cx:pt idx="76752">0</cx:pt>
          <cx:pt idx="76753">1</cx:pt>
          <cx:pt idx="76754">1</cx:pt>
          <cx:pt idx="76755">0</cx:pt>
          <cx:pt idx="76756">1</cx:pt>
          <cx:pt idx="76757">0</cx:pt>
          <cx:pt idx="76758">0</cx:pt>
          <cx:pt idx="76759">1</cx:pt>
          <cx:pt idx="76760">1</cx:pt>
          <cx:pt idx="76761">0</cx:pt>
          <cx:pt idx="76762">0</cx:pt>
          <cx:pt idx="76763">1</cx:pt>
          <cx:pt idx="76764">0</cx:pt>
          <cx:pt idx="76765">0</cx:pt>
          <cx:pt idx="76766">0</cx:pt>
          <cx:pt idx="76767">0</cx:pt>
          <cx:pt idx="76768">1</cx:pt>
          <cx:pt idx="76769">0</cx:pt>
          <cx:pt idx="76770">0</cx:pt>
          <cx:pt idx="76771">0</cx:pt>
          <cx:pt idx="76772">1</cx:pt>
          <cx:pt idx="76773">0</cx:pt>
          <cx:pt idx="76774">1</cx:pt>
          <cx:pt idx="76775">0</cx:pt>
          <cx:pt idx="76776">0</cx:pt>
          <cx:pt idx="76777">0</cx:pt>
          <cx:pt idx="76778">1</cx:pt>
          <cx:pt idx="76779">0</cx:pt>
          <cx:pt idx="76780">1</cx:pt>
          <cx:pt idx="76781">1</cx:pt>
          <cx:pt idx="76782">1</cx:pt>
          <cx:pt idx="76783">0</cx:pt>
          <cx:pt idx="76784">0</cx:pt>
          <cx:pt idx="76785">1</cx:pt>
          <cx:pt idx="76786">1</cx:pt>
          <cx:pt idx="76787">0</cx:pt>
          <cx:pt idx="76788">1</cx:pt>
          <cx:pt idx="76789">1</cx:pt>
          <cx:pt idx="76790">0</cx:pt>
          <cx:pt idx="76791">1</cx:pt>
          <cx:pt idx="76792">1</cx:pt>
          <cx:pt idx="76793">0</cx:pt>
          <cx:pt idx="76794">1</cx:pt>
          <cx:pt idx="76795">0</cx:pt>
          <cx:pt idx="76796">0</cx:pt>
          <cx:pt idx="76797">0</cx:pt>
          <cx:pt idx="76798">1</cx:pt>
          <cx:pt idx="76799">0</cx:pt>
          <cx:pt idx="76800">0</cx:pt>
          <cx:pt idx="76801">0</cx:pt>
          <cx:pt idx="76802">0</cx:pt>
          <cx:pt idx="76803">0</cx:pt>
          <cx:pt idx="76804">0</cx:pt>
          <cx:pt idx="76805">1</cx:pt>
          <cx:pt idx="76806">0</cx:pt>
          <cx:pt idx="76807">1</cx:pt>
          <cx:pt idx="76808">0</cx:pt>
          <cx:pt idx="76809">1</cx:pt>
          <cx:pt idx="76810">1</cx:pt>
          <cx:pt idx="76811">0</cx:pt>
          <cx:pt idx="76812">0</cx:pt>
          <cx:pt idx="76813">0</cx:pt>
          <cx:pt idx="76814">0</cx:pt>
          <cx:pt idx="76815">0</cx:pt>
          <cx:pt idx="76816">0</cx:pt>
          <cx:pt idx="76817">1</cx:pt>
          <cx:pt idx="76818">0</cx:pt>
          <cx:pt idx="76819">0</cx:pt>
          <cx:pt idx="76820">0</cx:pt>
          <cx:pt idx="76821">1</cx:pt>
          <cx:pt idx="76822">1</cx:pt>
          <cx:pt idx="76823">1</cx:pt>
          <cx:pt idx="76824">0</cx:pt>
          <cx:pt idx="76825">0</cx:pt>
          <cx:pt idx="76826">1</cx:pt>
          <cx:pt idx="76827">0</cx:pt>
          <cx:pt idx="76828">0</cx:pt>
          <cx:pt idx="76829">0</cx:pt>
          <cx:pt idx="76830">0</cx:pt>
          <cx:pt idx="76831">1</cx:pt>
          <cx:pt idx="76832">0</cx:pt>
          <cx:pt idx="76833">0</cx:pt>
          <cx:pt idx="76834">1</cx:pt>
          <cx:pt idx="76835">0</cx:pt>
          <cx:pt idx="76836">0</cx:pt>
          <cx:pt idx="76837">1</cx:pt>
          <cx:pt idx="76838">0</cx:pt>
          <cx:pt idx="76839">0</cx:pt>
          <cx:pt idx="76840">0</cx:pt>
          <cx:pt idx="76841">0</cx:pt>
          <cx:pt idx="76842">0</cx:pt>
          <cx:pt idx="76843">0</cx:pt>
          <cx:pt idx="76844">0</cx:pt>
          <cx:pt idx="76845">0</cx:pt>
          <cx:pt idx="76846">0</cx:pt>
          <cx:pt idx="76847">1</cx:pt>
          <cx:pt idx="76848">0</cx:pt>
          <cx:pt idx="76849">1</cx:pt>
          <cx:pt idx="76850">0</cx:pt>
          <cx:pt idx="76851">0</cx:pt>
          <cx:pt idx="76852">0</cx:pt>
          <cx:pt idx="76853">0</cx:pt>
          <cx:pt idx="76854">0</cx:pt>
          <cx:pt idx="76855">1</cx:pt>
          <cx:pt idx="76856">0</cx:pt>
          <cx:pt idx="76857">1</cx:pt>
          <cx:pt idx="76858">0</cx:pt>
          <cx:pt idx="76859">1</cx:pt>
          <cx:pt idx="76860">0</cx:pt>
          <cx:pt idx="76861">0</cx:pt>
          <cx:pt idx="76862">1</cx:pt>
          <cx:pt idx="76863">1</cx:pt>
          <cx:pt idx="76864">1</cx:pt>
          <cx:pt idx="76865">0</cx:pt>
          <cx:pt idx="76866">0</cx:pt>
          <cx:pt idx="76867">0</cx:pt>
          <cx:pt idx="76868">0</cx:pt>
          <cx:pt idx="76869">1</cx:pt>
          <cx:pt idx="76870">0</cx:pt>
          <cx:pt idx="76871">1</cx:pt>
          <cx:pt idx="76872">1</cx:pt>
          <cx:pt idx="76873">1</cx:pt>
          <cx:pt idx="76874">1</cx:pt>
          <cx:pt idx="76875">1</cx:pt>
          <cx:pt idx="76876">1</cx:pt>
          <cx:pt idx="76877">1</cx:pt>
          <cx:pt idx="76878">0</cx:pt>
          <cx:pt idx="76879">0</cx:pt>
          <cx:pt idx="76880">0</cx:pt>
          <cx:pt idx="76881">1</cx:pt>
          <cx:pt idx="76882">0</cx:pt>
          <cx:pt idx="76883">0</cx:pt>
          <cx:pt idx="76884">0</cx:pt>
          <cx:pt idx="76885">0</cx:pt>
          <cx:pt idx="76886">1</cx:pt>
          <cx:pt idx="76887">1</cx:pt>
          <cx:pt idx="76888">0</cx:pt>
          <cx:pt idx="76889">0</cx:pt>
          <cx:pt idx="76890">0</cx:pt>
          <cx:pt idx="76891">0</cx:pt>
          <cx:pt idx="76892">0</cx:pt>
          <cx:pt idx="76893">1</cx:pt>
          <cx:pt idx="76894">0</cx:pt>
          <cx:pt idx="76895">1</cx:pt>
          <cx:pt idx="76896">0</cx:pt>
          <cx:pt idx="76897">1</cx:pt>
          <cx:pt idx="76898">0</cx:pt>
          <cx:pt idx="76899">1</cx:pt>
          <cx:pt idx="76900">1</cx:pt>
          <cx:pt idx="76901">0</cx:pt>
          <cx:pt idx="76902">1</cx:pt>
          <cx:pt idx="76903">0</cx:pt>
          <cx:pt idx="76904">1</cx:pt>
          <cx:pt idx="76905">0</cx:pt>
          <cx:pt idx="76906">1</cx:pt>
          <cx:pt idx="76907">0</cx:pt>
          <cx:pt idx="76908">0</cx:pt>
          <cx:pt idx="76909">0</cx:pt>
          <cx:pt idx="76910">0</cx:pt>
          <cx:pt idx="76911">0</cx:pt>
          <cx:pt idx="76912">1</cx:pt>
          <cx:pt idx="76913">1</cx:pt>
          <cx:pt idx="76914">0</cx:pt>
          <cx:pt idx="76915">1</cx:pt>
          <cx:pt idx="76916">1</cx:pt>
          <cx:pt idx="76917">1</cx:pt>
          <cx:pt idx="76918">1</cx:pt>
          <cx:pt idx="76919">1</cx:pt>
          <cx:pt idx="76920">0</cx:pt>
          <cx:pt idx="76921">0</cx:pt>
          <cx:pt idx="76922">0</cx:pt>
          <cx:pt idx="76923">0</cx:pt>
          <cx:pt idx="76924">0</cx:pt>
          <cx:pt idx="76925">1</cx:pt>
          <cx:pt idx="76926">0</cx:pt>
          <cx:pt idx="76927">0</cx:pt>
          <cx:pt idx="76928">0</cx:pt>
          <cx:pt idx="76929">0</cx:pt>
          <cx:pt idx="76930">1</cx:pt>
          <cx:pt idx="76931">0</cx:pt>
          <cx:pt idx="76932">0</cx:pt>
          <cx:pt idx="76933">1</cx:pt>
          <cx:pt idx="76934">0</cx:pt>
          <cx:pt idx="76935">1</cx:pt>
          <cx:pt idx="76936">0</cx:pt>
          <cx:pt idx="76937">1</cx:pt>
          <cx:pt idx="76938">1</cx:pt>
          <cx:pt idx="76939">1</cx:pt>
          <cx:pt idx="76940">0</cx:pt>
          <cx:pt idx="76941">0</cx:pt>
          <cx:pt idx="76942">1</cx:pt>
          <cx:pt idx="76943">0</cx:pt>
          <cx:pt idx="76944">0</cx:pt>
          <cx:pt idx="76945">1</cx:pt>
          <cx:pt idx="76946">0</cx:pt>
          <cx:pt idx="76947">0</cx:pt>
          <cx:pt idx="76948">0</cx:pt>
          <cx:pt idx="76949">1</cx:pt>
          <cx:pt idx="76950">1</cx:pt>
          <cx:pt idx="76951">1</cx:pt>
          <cx:pt idx="76952">1</cx:pt>
          <cx:pt idx="76953">1</cx:pt>
          <cx:pt idx="76954">1</cx:pt>
          <cx:pt idx="76955">1</cx:pt>
          <cx:pt idx="76956">1</cx:pt>
          <cx:pt idx="76957">0</cx:pt>
          <cx:pt idx="76958">1</cx:pt>
          <cx:pt idx="76959">0</cx:pt>
          <cx:pt idx="76960">1</cx:pt>
          <cx:pt idx="76961">1</cx:pt>
          <cx:pt idx="76962">1</cx:pt>
          <cx:pt idx="76963">1</cx:pt>
          <cx:pt idx="76964">1</cx:pt>
          <cx:pt idx="76965">0</cx:pt>
          <cx:pt idx="76966">1</cx:pt>
          <cx:pt idx="76967">1</cx:pt>
          <cx:pt idx="76968">0</cx:pt>
          <cx:pt idx="76969">1</cx:pt>
          <cx:pt idx="76970">0</cx:pt>
          <cx:pt idx="76971">1</cx:pt>
          <cx:pt idx="76972">1</cx:pt>
          <cx:pt idx="76973">1</cx:pt>
          <cx:pt idx="76974">0</cx:pt>
          <cx:pt idx="76975">0</cx:pt>
          <cx:pt idx="76976">1</cx:pt>
          <cx:pt idx="76977">1</cx:pt>
          <cx:pt idx="76978">1</cx:pt>
          <cx:pt idx="76979">1</cx:pt>
          <cx:pt idx="76980">1</cx:pt>
          <cx:pt idx="76981">1</cx:pt>
          <cx:pt idx="76982">1</cx:pt>
          <cx:pt idx="76983">0</cx:pt>
          <cx:pt idx="76984">1</cx:pt>
          <cx:pt idx="76985">1</cx:pt>
          <cx:pt idx="76986">0</cx:pt>
          <cx:pt idx="76987">1</cx:pt>
          <cx:pt idx="76988">0</cx:pt>
          <cx:pt idx="76989">1</cx:pt>
          <cx:pt idx="76990">0</cx:pt>
          <cx:pt idx="76991">1</cx:pt>
          <cx:pt idx="76992">1</cx:pt>
          <cx:pt idx="76993">0</cx:pt>
          <cx:pt idx="76994">1</cx:pt>
          <cx:pt idx="76995">0</cx:pt>
          <cx:pt idx="76996">1</cx:pt>
          <cx:pt idx="76997">1</cx:pt>
          <cx:pt idx="76998">1</cx:pt>
          <cx:pt idx="76999">0</cx:pt>
          <cx:pt idx="77000">0</cx:pt>
          <cx:pt idx="77001">0</cx:pt>
          <cx:pt idx="77002">1</cx:pt>
          <cx:pt idx="77003">1</cx:pt>
          <cx:pt idx="77004">1</cx:pt>
          <cx:pt idx="77005">1</cx:pt>
          <cx:pt idx="77006">0</cx:pt>
          <cx:pt idx="77007">0</cx:pt>
          <cx:pt idx="77008">1</cx:pt>
          <cx:pt idx="77009">1</cx:pt>
          <cx:pt idx="77010">0</cx:pt>
          <cx:pt idx="77011">1</cx:pt>
          <cx:pt idx="77012">0</cx:pt>
          <cx:pt idx="77013">1</cx:pt>
          <cx:pt idx="77014">0</cx:pt>
          <cx:pt idx="77015">0</cx:pt>
          <cx:pt idx="77016">0</cx:pt>
          <cx:pt idx="77017">1</cx:pt>
          <cx:pt idx="77018">1</cx:pt>
          <cx:pt idx="77019">1</cx:pt>
          <cx:pt idx="77020">1</cx:pt>
          <cx:pt idx="77021">0</cx:pt>
          <cx:pt idx="77022">1</cx:pt>
          <cx:pt idx="77023">1</cx:pt>
          <cx:pt idx="77024">1</cx:pt>
          <cx:pt idx="77025">1</cx:pt>
          <cx:pt idx="77026">1</cx:pt>
          <cx:pt idx="77027">0</cx:pt>
          <cx:pt idx="77028">0</cx:pt>
          <cx:pt idx="77029">0</cx:pt>
          <cx:pt idx="77030">1</cx:pt>
          <cx:pt idx="77031">0</cx:pt>
          <cx:pt idx="77032">0</cx:pt>
          <cx:pt idx="77033">0</cx:pt>
          <cx:pt idx="77034">0</cx:pt>
          <cx:pt idx="77035">0</cx:pt>
          <cx:pt idx="77036">1</cx:pt>
          <cx:pt idx="77037">1</cx:pt>
          <cx:pt idx="77038">0</cx:pt>
          <cx:pt idx="77039">0</cx:pt>
          <cx:pt idx="77040">0</cx:pt>
          <cx:pt idx="77041">0</cx:pt>
          <cx:pt idx="77042">1</cx:pt>
          <cx:pt idx="77043">1</cx:pt>
          <cx:pt idx="77044">0</cx:pt>
          <cx:pt idx="77045">0</cx:pt>
          <cx:pt idx="77046">1</cx:pt>
          <cx:pt idx="77047">0</cx:pt>
          <cx:pt idx="77048">0</cx:pt>
          <cx:pt idx="77049">1</cx:pt>
          <cx:pt idx="77050">1</cx:pt>
          <cx:pt idx="77051">1</cx:pt>
          <cx:pt idx="77052">0</cx:pt>
          <cx:pt idx="77053">1</cx:pt>
          <cx:pt idx="77054">0</cx:pt>
          <cx:pt idx="77055">1</cx:pt>
          <cx:pt idx="77056">0</cx:pt>
          <cx:pt idx="77057">1</cx:pt>
          <cx:pt idx="77058">1</cx:pt>
          <cx:pt idx="77059">0</cx:pt>
          <cx:pt idx="77060">1</cx:pt>
          <cx:pt idx="77061">0</cx:pt>
          <cx:pt idx="77062">0</cx:pt>
          <cx:pt idx="77063">0</cx:pt>
          <cx:pt idx="77064">1</cx:pt>
          <cx:pt idx="77065">0</cx:pt>
          <cx:pt idx="77066">0</cx:pt>
          <cx:pt idx="77067">1</cx:pt>
          <cx:pt idx="77068">0</cx:pt>
          <cx:pt idx="77069">0</cx:pt>
          <cx:pt idx="77070">0</cx:pt>
          <cx:pt idx="77071">0</cx:pt>
          <cx:pt idx="77072">1</cx:pt>
          <cx:pt idx="77073">1</cx:pt>
          <cx:pt idx="77074">1</cx:pt>
          <cx:pt idx="77075">1</cx:pt>
          <cx:pt idx="77076">0</cx:pt>
          <cx:pt idx="77077">0</cx:pt>
          <cx:pt idx="77078">1</cx:pt>
          <cx:pt idx="77079">0</cx:pt>
          <cx:pt idx="77080">0</cx:pt>
          <cx:pt idx="77081">0</cx:pt>
          <cx:pt idx="77082">0</cx:pt>
          <cx:pt idx="77083">0</cx:pt>
          <cx:pt idx="77084">1</cx:pt>
          <cx:pt idx="77085">0</cx:pt>
          <cx:pt idx="77086">1</cx:pt>
          <cx:pt idx="77087">0</cx:pt>
          <cx:pt idx="77088">0</cx:pt>
          <cx:pt idx="77089">0</cx:pt>
          <cx:pt idx="77090">1</cx:pt>
          <cx:pt idx="77091">1</cx:pt>
          <cx:pt idx="77092">1</cx:pt>
          <cx:pt idx="77093">0</cx:pt>
          <cx:pt idx="77094">1</cx:pt>
          <cx:pt idx="77095">1</cx:pt>
          <cx:pt idx="77096">0</cx:pt>
          <cx:pt idx="77097">0</cx:pt>
          <cx:pt idx="77098">1</cx:pt>
          <cx:pt idx="77099">0</cx:pt>
          <cx:pt idx="77100">0</cx:pt>
          <cx:pt idx="77101">1</cx:pt>
          <cx:pt idx="77102">1</cx:pt>
          <cx:pt idx="77103">0</cx:pt>
          <cx:pt idx="77104">1</cx:pt>
          <cx:pt idx="77105">0</cx:pt>
          <cx:pt idx="77106">0</cx:pt>
          <cx:pt idx="77107">1</cx:pt>
          <cx:pt idx="77108">0</cx:pt>
          <cx:pt idx="77109">0</cx:pt>
          <cx:pt idx="77110">0</cx:pt>
          <cx:pt idx="77111">0</cx:pt>
          <cx:pt idx="77112">0</cx:pt>
          <cx:pt idx="77113">0</cx:pt>
          <cx:pt idx="77114">1</cx:pt>
          <cx:pt idx="77115">0</cx:pt>
          <cx:pt idx="77116">0</cx:pt>
          <cx:pt idx="77117">0</cx:pt>
          <cx:pt idx="77118">1</cx:pt>
          <cx:pt idx="77119">1</cx:pt>
          <cx:pt idx="77120">0</cx:pt>
          <cx:pt idx="77121">1</cx:pt>
          <cx:pt idx="77122">0</cx:pt>
          <cx:pt idx="77123">0</cx:pt>
          <cx:pt idx="77124">1</cx:pt>
          <cx:pt idx="77125">1</cx:pt>
          <cx:pt idx="77126">0</cx:pt>
          <cx:pt idx="77127">0</cx:pt>
          <cx:pt idx="77128">0</cx:pt>
          <cx:pt idx="77129">1</cx:pt>
          <cx:pt idx="77130">0</cx:pt>
          <cx:pt idx="77131">0</cx:pt>
          <cx:pt idx="77132">0</cx:pt>
          <cx:pt idx="77133">0</cx:pt>
          <cx:pt idx="77134">1</cx:pt>
          <cx:pt idx="77135">0</cx:pt>
          <cx:pt idx="77136">0</cx:pt>
          <cx:pt idx="77137">0</cx:pt>
          <cx:pt idx="77138">0</cx:pt>
          <cx:pt idx="77139">1</cx:pt>
          <cx:pt idx="77140">0</cx:pt>
          <cx:pt idx="77141">0</cx:pt>
          <cx:pt idx="77142">0</cx:pt>
          <cx:pt idx="77143">0</cx:pt>
          <cx:pt idx="77144">1</cx:pt>
          <cx:pt idx="77145">0</cx:pt>
          <cx:pt idx="77146">0</cx:pt>
          <cx:pt idx="77147">1</cx:pt>
          <cx:pt idx="77148">1</cx:pt>
          <cx:pt idx="77149">1</cx:pt>
          <cx:pt idx="77150">1</cx:pt>
          <cx:pt idx="77151">0</cx:pt>
          <cx:pt idx="77152">1</cx:pt>
          <cx:pt idx="77153">0</cx:pt>
          <cx:pt idx="77154">1</cx:pt>
          <cx:pt idx="77155">1</cx:pt>
          <cx:pt idx="77156">0</cx:pt>
          <cx:pt idx="77157">0</cx:pt>
          <cx:pt idx="77158">1</cx:pt>
          <cx:pt idx="77159">1</cx:pt>
          <cx:pt idx="77160">1</cx:pt>
          <cx:pt idx="77161">0</cx:pt>
          <cx:pt idx="77162">1</cx:pt>
          <cx:pt idx="77163">0</cx:pt>
          <cx:pt idx="77164">1</cx:pt>
          <cx:pt idx="77165">0</cx:pt>
          <cx:pt idx="77166">0</cx:pt>
          <cx:pt idx="77167">0</cx:pt>
          <cx:pt idx="77168">0</cx:pt>
          <cx:pt idx="77169">1</cx:pt>
          <cx:pt idx="77170">0</cx:pt>
          <cx:pt idx="77171">0</cx:pt>
          <cx:pt idx="77172">0</cx:pt>
          <cx:pt idx="77173">1</cx:pt>
          <cx:pt idx="77174">1</cx:pt>
          <cx:pt idx="77175">0</cx:pt>
          <cx:pt idx="77176">0</cx:pt>
          <cx:pt idx="77177">0</cx:pt>
          <cx:pt idx="77178">0</cx:pt>
          <cx:pt idx="77179">1</cx:pt>
          <cx:pt idx="77180">0</cx:pt>
          <cx:pt idx="77181">1</cx:pt>
          <cx:pt idx="77182">1</cx:pt>
          <cx:pt idx="77183">0</cx:pt>
          <cx:pt idx="77184">0</cx:pt>
          <cx:pt idx="77185">0</cx:pt>
          <cx:pt idx="77186">0</cx:pt>
          <cx:pt idx="77187">1</cx:pt>
          <cx:pt idx="77188">0</cx:pt>
          <cx:pt idx="77189">1</cx:pt>
          <cx:pt idx="77190">0</cx:pt>
          <cx:pt idx="77191">0</cx:pt>
          <cx:pt idx="77192">0</cx:pt>
          <cx:pt idx="77193">1</cx:pt>
          <cx:pt idx="77194">0</cx:pt>
          <cx:pt idx="77195">1</cx:pt>
          <cx:pt idx="77196">0</cx:pt>
          <cx:pt idx="77197">0</cx:pt>
          <cx:pt idx="77198">1</cx:pt>
          <cx:pt idx="77199">0</cx:pt>
          <cx:pt idx="77200">1</cx:pt>
          <cx:pt idx="77201">1</cx:pt>
          <cx:pt idx="77202">0</cx:pt>
          <cx:pt idx="77203">1</cx:pt>
          <cx:pt idx="77204">0</cx:pt>
          <cx:pt idx="77205">0</cx:pt>
          <cx:pt idx="77206">1</cx:pt>
          <cx:pt idx="77207">1</cx:pt>
          <cx:pt idx="77208">0</cx:pt>
          <cx:pt idx="77209">0</cx:pt>
          <cx:pt idx="77210">1</cx:pt>
          <cx:pt idx="77211">0</cx:pt>
          <cx:pt idx="77212">1</cx:pt>
          <cx:pt idx="77213">1</cx:pt>
          <cx:pt idx="77214">1</cx:pt>
          <cx:pt idx="77215">1</cx:pt>
          <cx:pt idx="77216">1</cx:pt>
          <cx:pt idx="77217">0</cx:pt>
          <cx:pt idx="77218">1</cx:pt>
          <cx:pt idx="77219">1</cx:pt>
          <cx:pt idx="77220">1</cx:pt>
          <cx:pt idx="77221">1</cx:pt>
          <cx:pt idx="77222">0</cx:pt>
          <cx:pt idx="77223">1</cx:pt>
          <cx:pt idx="77224">1</cx:pt>
          <cx:pt idx="77225">0</cx:pt>
          <cx:pt idx="77226">1</cx:pt>
          <cx:pt idx="77227">1</cx:pt>
          <cx:pt idx="77228">1</cx:pt>
          <cx:pt idx="77229">1</cx:pt>
          <cx:pt idx="77230">1</cx:pt>
          <cx:pt idx="77231">1</cx:pt>
          <cx:pt idx="77232">0</cx:pt>
          <cx:pt idx="77233">0</cx:pt>
          <cx:pt idx="77234">1</cx:pt>
          <cx:pt idx="77235">1</cx:pt>
          <cx:pt idx="77236">0</cx:pt>
          <cx:pt idx="77237">0</cx:pt>
          <cx:pt idx="77238">0</cx:pt>
          <cx:pt idx="77239">0</cx:pt>
          <cx:pt idx="77240">1</cx:pt>
          <cx:pt idx="77241">1</cx:pt>
          <cx:pt idx="77242">0</cx:pt>
          <cx:pt idx="77243">0</cx:pt>
          <cx:pt idx="77244">1</cx:pt>
          <cx:pt idx="77245">0</cx:pt>
          <cx:pt idx="77246">1</cx:pt>
          <cx:pt idx="77247">1</cx:pt>
          <cx:pt idx="77248">0</cx:pt>
          <cx:pt idx="77249">0</cx:pt>
          <cx:pt idx="77250">1</cx:pt>
          <cx:pt idx="77251">1</cx:pt>
          <cx:pt idx="77252">0</cx:pt>
          <cx:pt idx="77253">0</cx:pt>
          <cx:pt idx="77254">0</cx:pt>
          <cx:pt idx="77255">0</cx:pt>
          <cx:pt idx="77256">1</cx:pt>
          <cx:pt idx="77257">0</cx:pt>
          <cx:pt idx="77258">0</cx:pt>
          <cx:pt idx="77259">0</cx:pt>
          <cx:pt idx="77260">1</cx:pt>
          <cx:pt idx="77261">1</cx:pt>
          <cx:pt idx="77262">0</cx:pt>
          <cx:pt idx="77263">0</cx:pt>
          <cx:pt idx="77264">0</cx:pt>
          <cx:pt idx="77265">1</cx:pt>
          <cx:pt idx="77266">0</cx:pt>
          <cx:pt idx="77267">1</cx:pt>
          <cx:pt idx="77268">0</cx:pt>
          <cx:pt idx="77269">1</cx:pt>
          <cx:pt idx="77270">0</cx:pt>
          <cx:pt idx="77271">1</cx:pt>
          <cx:pt idx="77272">1</cx:pt>
          <cx:pt idx="77273">1</cx:pt>
          <cx:pt idx="77274">0</cx:pt>
          <cx:pt idx="77275">0</cx:pt>
          <cx:pt idx="77276">0</cx:pt>
          <cx:pt idx="77277">1</cx:pt>
          <cx:pt idx="77278">1</cx:pt>
          <cx:pt idx="77279">1</cx:pt>
          <cx:pt idx="77280">1</cx:pt>
          <cx:pt idx="77281">1</cx:pt>
          <cx:pt idx="77282">1</cx:pt>
          <cx:pt idx="77283">0</cx:pt>
          <cx:pt idx="77284">0</cx:pt>
          <cx:pt idx="77285">0</cx:pt>
          <cx:pt idx="77286">0</cx:pt>
          <cx:pt idx="77287">0</cx:pt>
          <cx:pt idx="77288">0</cx:pt>
          <cx:pt idx="77289">1</cx:pt>
          <cx:pt idx="77290">1</cx:pt>
          <cx:pt idx="77291">0</cx:pt>
          <cx:pt idx="77292">0</cx:pt>
          <cx:pt idx="77293">1</cx:pt>
          <cx:pt idx="77294">1</cx:pt>
          <cx:pt idx="77295">1</cx:pt>
          <cx:pt idx="77296">0</cx:pt>
          <cx:pt idx="77297">1</cx:pt>
          <cx:pt idx="77298">0</cx:pt>
          <cx:pt idx="77299">1</cx:pt>
          <cx:pt idx="77300">0</cx:pt>
          <cx:pt idx="77301">0</cx:pt>
          <cx:pt idx="77302">0</cx:pt>
          <cx:pt idx="77303">1</cx:pt>
          <cx:pt idx="77304">0</cx:pt>
          <cx:pt idx="77305">0</cx:pt>
          <cx:pt idx="77306">0</cx:pt>
          <cx:pt idx="77307">1</cx:pt>
          <cx:pt idx="77308">1</cx:pt>
          <cx:pt idx="77309">0</cx:pt>
          <cx:pt idx="77310">0</cx:pt>
          <cx:pt idx="77311">0</cx:pt>
          <cx:pt idx="77312">0</cx:pt>
          <cx:pt idx="77313">0</cx:pt>
          <cx:pt idx="77314">1</cx:pt>
          <cx:pt idx="77315">1</cx:pt>
          <cx:pt idx="77316">1</cx:pt>
          <cx:pt idx="77317">0</cx:pt>
          <cx:pt idx="77318">1</cx:pt>
          <cx:pt idx="77319">0</cx:pt>
          <cx:pt idx="77320">0</cx:pt>
          <cx:pt idx="77321">1</cx:pt>
          <cx:pt idx="77322">1</cx:pt>
          <cx:pt idx="77323">0</cx:pt>
          <cx:pt idx="77324">0</cx:pt>
          <cx:pt idx="77325">1</cx:pt>
          <cx:pt idx="77326">1</cx:pt>
          <cx:pt idx="77327">0</cx:pt>
          <cx:pt idx="77328">0</cx:pt>
          <cx:pt idx="77329">0</cx:pt>
          <cx:pt idx="77330">0</cx:pt>
          <cx:pt idx="77331">0</cx:pt>
          <cx:pt idx="77332">1</cx:pt>
          <cx:pt idx="77333">0</cx:pt>
          <cx:pt idx="77334">0</cx:pt>
          <cx:pt idx="77335">1</cx:pt>
          <cx:pt idx="77336">0</cx:pt>
          <cx:pt idx="77337">1</cx:pt>
          <cx:pt idx="77338">1</cx:pt>
          <cx:pt idx="77339">0</cx:pt>
          <cx:pt idx="77340">1</cx:pt>
          <cx:pt idx="77341">1</cx:pt>
          <cx:pt idx="77342">0</cx:pt>
          <cx:pt idx="77343">0</cx:pt>
          <cx:pt idx="77344">1</cx:pt>
          <cx:pt idx="77345">0</cx:pt>
          <cx:pt idx="77346">1</cx:pt>
          <cx:pt idx="77347">0</cx:pt>
          <cx:pt idx="77348">0</cx:pt>
          <cx:pt idx="77349">0</cx:pt>
          <cx:pt idx="77350">1</cx:pt>
          <cx:pt idx="77351">0</cx:pt>
          <cx:pt idx="77352">0</cx:pt>
          <cx:pt idx="77353">0</cx:pt>
          <cx:pt idx="77354">0</cx:pt>
          <cx:pt idx="77355">1</cx:pt>
          <cx:pt idx="77356">1</cx:pt>
          <cx:pt idx="77357">0</cx:pt>
          <cx:pt idx="77358">0</cx:pt>
          <cx:pt idx="77359">1</cx:pt>
          <cx:pt idx="77360">0</cx:pt>
          <cx:pt idx="77361">0</cx:pt>
          <cx:pt idx="77362">0</cx:pt>
          <cx:pt idx="77363">0</cx:pt>
          <cx:pt idx="77364">1</cx:pt>
          <cx:pt idx="77365">1</cx:pt>
          <cx:pt idx="77366">0</cx:pt>
          <cx:pt idx="77367">1</cx:pt>
          <cx:pt idx="77368">0</cx:pt>
          <cx:pt idx="77369">0</cx:pt>
          <cx:pt idx="77370">0</cx:pt>
          <cx:pt idx="77371">1</cx:pt>
          <cx:pt idx="77372">0</cx:pt>
          <cx:pt idx="77373">1</cx:pt>
          <cx:pt idx="77374">1</cx:pt>
          <cx:pt idx="77375">1</cx:pt>
          <cx:pt idx="77376">0</cx:pt>
          <cx:pt idx="77377">0</cx:pt>
          <cx:pt idx="77378">0</cx:pt>
          <cx:pt idx="77379">0</cx:pt>
          <cx:pt idx="77380">0</cx:pt>
          <cx:pt idx="77381">0</cx:pt>
          <cx:pt idx="77382">1</cx:pt>
          <cx:pt idx="77383">0</cx:pt>
          <cx:pt idx="77384">0</cx:pt>
          <cx:pt idx="77385">0</cx:pt>
          <cx:pt idx="77386">1</cx:pt>
          <cx:pt idx="77387">0</cx:pt>
          <cx:pt idx="77388">0</cx:pt>
          <cx:pt idx="77389">0</cx:pt>
          <cx:pt idx="77390">1</cx:pt>
          <cx:pt idx="77391">0</cx:pt>
          <cx:pt idx="77392">0</cx:pt>
          <cx:pt idx="77393">1</cx:pt>
          <cx:pt idx="77394">0</cx:pt>
          <cx:pt idx="77395">1</cx:pt>
          <cx:pt idx="77396">1</cx:pt>
          <cx:pt idx="77397">0</cx:pt>
          <cx:pt idx="77398">1</cx:pt>
          <cx:pt idx="77399">0</cx:pt>
          <cx:pt idx="77400">1</cx:pt>
          <cx:pt idx="77401">1</cx:pt>
          <cx:pt idx="77402">0</cx:pt>
          <cx:pt idx="77403">0</cx:pt>
          <cx:pt idx="77404">0</cx:pt>
          <cx:pt idx="77405">1</cx:pt>
          <cx:pt idx="77406">0</cx:pt>
          <cx:pt idx="77407">1</cx:pt>
          <cx:pt idx="77408">0</cx:pt>
          <cx:pt idx="77409">1</cx:pt>
          <cx:pt idx="77410">0</cx:pt>
          <cx:pt idx="77411">0</cx:pt>
          <cx:pt idx="77412">0</cx:pt>
          <cx:pt idx="77413">1</cx:pt>
          <cx:pt idx="77414">1</cx:pt>
          <cx:pt idx="77415">1</cx:pt>
          <cx:pt idx="77416">0</cx:pt>
          <cx:pt idx="77417">0</cx:pt>
          <cx:pt idx="77418">1</cx:pt>
          <cx:pt idx="77419">0</cx:pt>
          <cx:pt idx="77420">1</cx:pt>
          <cx:pt idx="77421">0</cx:pt>
          <cx:pt idx="77422">1</cx:pt>
          <cx:pt idx="77423">0</cx:pt>
          <cx:pt idx="77424">1</cx:pt>
          <cx:pt idx="77425">1</cx:pt>
          <cx:pt idx="77426">0</cx:pt>
          <cx:pt idx="77427">0</cx:pt>
          <cx:pt idx="77428">0</cx:pt>
          <cx:pt idx="77429">1</cx:pt>
          <cx:pt idx="77430">0</cx:pt>
          <cx:pt idx="77431">1</cx:pt>
          <cx:pt idx="77432">0</cx:pt>
          <cx:pt idx="77433">0</cx:pt>
          <cx:pt idx="77434">1</cx:pt>
          <cx:pt idx="77435">0</cx:pt>
          <cx:pt idx="77436">1</cx:pt>
          <cx:pt idx="77437">0</cx:pt>
          <cx:pt idx="77438">1</cx:pt>
          <cx:pt idx="77439">0</cx:pt>
          <cx:pt idx="77440">0</cx:pt>
          <cx:pt idx="77441">0</cx:pt>
          <cx:pt idx="77442">0</cx:pt>
          <cx:pt idx="77443">0</cx:pt>
          <cx:pt idx="77444">0</cx:pt>
          <cx:pt idx="77445">0</cx:pt>
          <cx:pt idx="77446">1</cx:pt>
          <cx:pt idx="77447">0</cx:pt>
          <cx:pt idx="77448">0</cx:pt>
          <cx:pt idx="77449">0</cx:pt>
          <cx:pt idx="77450">1</cx:pt>
          <cx:pt idx="77451">1</cx:pt>
          <cx:pt idx="77452">1</cx:pt>
          <cx:pt idx="77453">0</cx:pt>
          <cx:pt idx="77454">1</cx:pt>
          <cx:pt idx="77455">1</cx:pt>
          <cx:pt idx="77456">0</cx:pt>
          <cx:pt idx="77457">0</cx:pt>
          <cx:pt idx="77458">0</cx:pt>
          <cx:pt idx="77459">0</cx:pt>
          <cx:pt idx="77460">1</cx:pt>
          <cx:pt idx="77461">0</cx:pt>
          <cx:pt idx="77462">0</cx:pt>
          <cx:pt idx="77463">0</cx:pt>
          <cx:pt idx="77464">1</cx:pt>
          <cx:pt idx="77465">0</cx:pt>
          <cx:pt idx="77466">0</cx:pt>
          <cx:pt idx="77467">0</cx:pt>
          <cx:pt idx="77468">1</cx:pt>
          <cx:pt idx="77469">1</cx:pt>
          <cx:pt idx="77470">0</cx:pt>
          <cx:pt idx="77471">1</cx:pt>
          <cx:pt idx="77472">1</cx:pt>
          <cx:pt idx="77473">1</cx:pt>
          <cx:pt idx="77474">1</cx:pt>
          <cx:pt idx="77475">1</cx:pt>
          <cx:pt idx="77476">0</cx:pt>
          <cx:pt idx="77477">0</cx:pt>
          <cx:pt idx="77478">0</cx:pt>
          <cx:pt idx="77479">0</cx:pt>
          <cx:pt idx="77480">0</cx:pt>
          <cx:pt idx="77481">0</cx:pt>
          <cx:pt idx="77482">0</cx:pt>
          <cx:pt idx="77483">0</cx:pt>
          <cx:pt idx="77484">0</cx:pt>
          <cx:pt idx="77485">1</cx:pt>
          <cx:pt idx="77486">0</cx:pt>
          <cx:pt idx="77487">0</cx:pt>
          <cx:pt idx="77488">0</cx:pt>
          <cx:pt idx="77489">1</cx:pt>
          <cx:pt idx="77490">1</cx:pt>
          <cx:pt idx="77491">0</cx:pt>
          <cx:pt idx="77492">0</cx:pt>
          <cx:pt idx="77493">0</cx:pt>
          <cx:pt idx="77494">0</cx:pt>
          <cx:pt idx="77495">1</cx:pt>
          <cx:pt idx="77496">0</cx:pt>
          <cx:pt idx="77497">0</cx:pt>
          <cx:pt idx="77498">0</cx:pt>
          <cx:pt idx="77499">0</cx:pt>
          <cx:pt idx="77500">0</cx:pt>
          <cx:pt idx="77501">1</cx:pt>
          <cx:pt idx="77502">0</cx:pt>
          <cx:pt idx="77503">0</cx:pt>
          <cx:pt idx="77504">1</cx:pt>
          <cx:pt idx="77505">0</cx:pt>
          <cx:pt idx="77506">1</cx:pt>
          <cx:pt idx="77507">1</cx:pt>
          <cx:pt idx="77508">0</cx:pt>
          <cx:pt idx="77509">1</cx:pt>
          <cx:pt idx="77510">1</cx:pt>
          <cx:pt idx="77511">0</cx:pt>
          <cx:pt idx="77512">1</cx:pt>
          <cx:pt idx="77513">0</cx:pt>
          <cx:pt idx="77514">0</cx:pt>
          <cx:pt idx="77515">0</cx:pt>
          <cx:pt idx="77516">1</cx:pt>
          <cx:pt idx="77517">1</cx:pt>
          <cx:pt idx="77518">0</cx:pt>
          <cx:pt idx="77519">1</cx:pt>
          <cx:pt idx="77520">1</cx:pt>
          <cx:pt idx="77521">1</cx:pt>
          <cx:pt idx="77522">1</cx:pt>
          <cx:pt idx="77523">0</cx:pt>
          <cx:pt idx="77524">0</cx:pt>
          <cx:pt idx="77525">1</cx:pt>
          <cx:pt idx="77526">0</cx:pt>
          <cx:pt idx="77527">1</cx:pt>
          <cx:pt idx="77528">0</cx:pt>
          <cx:pt idx="77529">0</cx:pt>
          <cx:pt idx="77530">0</cx:pt>
          <cx:pt idx="77531">1</cx:pt>
          <cx:pt idx="77532">0</cx:pt>
          <cx:pt idx="77533">1</cx:pt>
          <cx:pt idx="77534">1</cx:pt>
          <cx:pt idx="77535">1</cx:pt>
          <cx:pt idx="77536">1</cx:pt>
          <cx:pt idx="77537">0</cx:pt>
          <cx:pt idx="77538">0</cx:pt>
          <cx:pt idx="77539">1</cx:pt>
          <cx:pt idx="77540">1</cx:pt>
          <cx:pt idx="77541">0</cx:pt>
          <cx:pt idx="77542">0</cx:pt>
          <cx:pt idx="77543">1</cx:pt>
          <cx:pt idx="77544">1</cx:pt>
          <cx:pt idx="77545">0</cx:pt>
          <cx:pt idx="77546">0</cx:pt>
          <cx:pt idx="77547">0</cx:pt>
          <cx:pt idx="77548">1</cx:pt>
          <cx:pt idx="77549">1</cx:pt>
          <cx:pt idx="77550">0</cx:pt>
          <cx:pt idx="77551">1</cx:pt>
          <cx:pt idx="77552">0</cx:pt>
          <cx:pt idx="77553">1</cx:pt>
          <cx:pt idx="77554">0</cx:pt>
          <cx:pt idx="77555">1</cx:pt>
          <cx:pt idx="77556">0</cx:pt>
          <cx:pt idx="77557">1</cx:pt>
          <cx:pt idx="77558">0</cx:pt>
          <cx:pt idx="77559">1</cx:pt>
          <cx:pt idx="77560">1</cx:pt>
          <cx:pt idx="77561">0</cx:pt>
          <cx:pt idx="77562">1</cx:pt>
          <cx:pt idx="77563">0</cx:pt>
          <cx:pt idx="77564">1</cx:pt>
          <cx:pt idx="77565">0</cx:pt>
          <cx:pt idx="77566">1</cx:pt>
          <cx:pt idx="77567">0</cx:pt>
          <cx:pt idx="77568">0</cx:pt>
          <cx:pt idx="77569">0</cx:pt>
          <cx:pt idx="77570">0</cx:pt>
          <cx:pt idx="77571">0</cx:pt>
          <cx:pt idx="77572">1</cx:pt>
          <cx:pt idx="77573">1</cx:pt>
          <cx:pt idx="77574">0</cx:pt>
          <cx:pt idx="77575">0</cx:pt>
          <cx:pt idx="77576">0</cx:pt>
          <cx:pt idx="77577">1</cx:pt>
          <cx:pt idx="77578">1</cx:pt>
          <cx:pt idx="77579">0</cx:pt>
          <cx:pt idx="77580">1</cx:pt>
          <cx:pt idx="77581">0</cx:pt>
          <cx:pt idx="77582">1</cx:pt>
          <cx:pt idx="77583">1</cx:pt>
          <cx:pt idx="77584">1</cx:pt>
          <cx:pt idx="77585">0</cx:pt>
          <cx:pt idx="77586">0</cx:pt>
          <cx:pt idx="77587">1</cx:pt>
          <cx:pt idx="77588">0</cx:pt>
          <cx:pt idx="77589">0</cx:pt>
          <cx:pt idx="77590">1</cx:pt>
          <cx:pt idx="77591">1</cx:pt>
          <cx:pt idx="77592">1</cx:pt>
          <cx:pt idx="77593">0</cx:pt>
          <cx:pt idx="77594">0</cx:pt>
          <cx:pt idx="77595">0</cx:pt>
          <cx:pt idx="77596">1</cx:pt>
          <cx:pt idx="77597">0</cx:pt>
          <cx:pt idx="77598">0</cx:pt>
          <cx:pt idx="77599">0</cx:pt>
          <cx:pt idx="77600">0</cx:pt>
          <cx:pt idx="77601">0</cx:pt>
          <cx:pt idx="77602">0</cx:pt>
          <cx:pt idx="77603">0</cx:pt>
          <cx:pt idx="77604">1</cx:pt>
          <cx:pt idx="77605">0</cx:pt>
          <cx:pt idx="77606">0</cx:pt>
          <cx:pt idx="77607">1</cx:pt>
          <cx:pt idx="77608">0</cx:pt>
          <cx:pt idx="77609">0</cx:pt>
          <cx:pt idx="77610">0</cx:pt>
          <cx:pt idx="77611">1</cx:pt>
          <cx:pt idx="77612">0</cx:pt>
          <cx:pt idx="77613">0</cx:pt>
          <cx:pt idx="77614">0</cx:pt>
          <cx:pt idx="77615">1</cx:pt>
          <cx:pt idx="77616">1</cx:pt>
          <cx:pt idx="77617">0</cx:pt>
          <cx:pt idx="77618">0</cx:pt>
          <cx:pt idx="77619">0</cx:pt>
          <cx:pt idx="77620">0</cx:pt>
          <cx:pt idx="77621">1</cx:pt>
          <cx:pt idx="77622">1</cx:pt>
          <cx:pt idx="77623">1</cx:pt>
          <cx:pt idx="77624">1</cx:pt>
          <cx:pt idx="77625">1</cx:pt>
          <cx:pt idx="77626">0</cx:pt>
          <cx:pt idx="77627">0</cx:pt>
          <cx:pt idx="77628">1</cx:pt>
          <cx:pt idx="77629">0</cx:pt>
          <cx:pt idx="77630">1</cx:pt>
          <cx:pt idx="77631">1</cx:pt>
          <cx:pt idx="77632">0</cx:pt>
          <cx:pt idx="77633">0</cx:pt>
          <cx:pt idx="77634">1</cx:pt>
          <cx:pt idx="77635">0</cx:pt>
          <cx:pt idx="77636">1</cx:pt>
          <cx:pt idx="77637">1</cx:pt>
          <cx:pt idx="77638">0</cx:pt>
          <cx:pt idx="77639">0</cx:pt>
          <cx:pt idx="77640">1</cx:pt>
          <cx:pt idx="77641">0</cx:pt>
          <cx:pt idx="77642">0</cx:pt>
          <cx:pt idx="77643">1</cx:pt>
          <cx:pt idx="77644">1</cx:pt>
          <cx:pt idx="77645">0</cx:pt>
          <cx:pt idx="77646">0</cx:pt>
          <cx:pt idx="77647">1</cx:pt>
          <cx:pt idx="77648">0</cx:pt>
          <cx:pt idx="77649">0</cx:pt>
          <cx:pt idx="77650">0</cx:pt>
          <cx:pt idx="77651">0</cx:pt>
          <cx:pt idx="77652">1</cx:pt>
          <cx:pt idx="77653">0</cx:pt>
          <cx:pt idx="77654">1</cx:pt>
          <cx:pt idx="77655">1</cx:pt>
          <cx:pt idx="77656">1</cx:pt>
          <cx:pt idx="77657">1</cx:pt>
          <cx:pt idx="77658">0</cx:pt>
          <cx:pt idx="77659">1</cx:pt>
          <cx:pt idx="77660">0</cx:pt>
          <cx:pt idx="77661">1</cx:pt>
          <cx:pt idx="77662">1</cx:pt>
          <cx:pt idx="77663">0</cx:pt>
          <cx:pt idx="77664">0</cx:pt>
          <cx:pt idx="77665">1</cx:pt>
          <cx:pt idx="77666">0</cx:pt>
          <cx:pt idx="77667">1</cx:pt>
          <cx:pt idx="77668">0</cx:pt>
          <cx:pt idx="77669">0</cx:pt>
          <cx:pt idx="77670">0</cx:pt>
          <cx:pt idx="77671">1</cx:pt>
          <cx:pt idx="77672">0</cx:pt>
          <cx:pt idx="77673">0</cx:pt>
          <cx:pt idx="77674">0</cx:pt>
          <cx:pt idx="77675">1</cx:pt>
          <cx:pt idx="77676">0</cx:pt>
          <cx:pt idx="77677">0</cx:pt>
          <cx:pt idx="77678">0</cx:pt>
          <cx:pt idx="77679">0</cx:pt>
          <cx:pt idx="77680">0</cx:pt>
          <cx:pt idx="77681">0</cx:pt>
          <cx:pt idx="77682">1</cx:pt>
          <cx:pt idx="77683">0</cx:pt>
          <cx:pt idx="77684">0</cx:pt>
          <cx:pt idx="77685">0</cx:pt>
          <cx:pt idx="77686">1</cx:pt>
          <cx:pt idx="77687">0</cx:pt>
          <cx:pt idx="77688">1</cx:pt>
          <cx:pt idx="77689">0</cx:pt>
          <cx:pt idx="77690">0</cx:pt>
          <cx:pt idx="77691">0</cx:pt>
          <cx:pt idx="77692">0</cx:pt>
          <cx:pt idx="77693">0</cx:pt>
          <cx:pt idx="77694">0</cx:pt>
          <cx:pt idx="77695">1</cx:pt>
          <cx:pt idx="77696">0</cx:pt>
          <cx:pt idx="77697">0</cx:pt>
          <cx:pt idx="77698">0</cx:pt>
          <cx:pt idx="77699">0</cx:pt>
          <cx:pt idx="77700">0</cx:pt>
          <cx:pt idx="77701">0</cx:pt>
          <cx:pt idx="77702">1</cx:pt>
          <cx:pt idx="77703">0</cx:pt>
          <cx:pt idx="77704">0</cx:pt>
          <cx:pt idx="77705">1</cx:pt>
          <cx:pt idx="77706">0</cx:pt>
          <cx:pt idx="77707">1</cx:pt>
          <cx:pt idx="77708">0</cx:pt>
          <cx:pt idx="77709">1</cx:pt>
          <cx:pt idx="77710">1</cx:pt>
          <cx:pt idx="77711">1</cx:pt>
          <cx:pt idx="77712">1</cx:pt>
          <cx:pt idx="77713">0</cx:pt>
          <cx:pt idx="77714">0</cx:pt>
          <cx:pt idx="77715">1</cx:pt>
          <cx:pt idx="77716">1</cx:pt>
          <cx:pt idx="77717">1</cx:pt>
          <cx:pt idx="77718">1</cx:pt>
          <cx:pt idx="77719">1</cx:pt>
          <cx:pt idx="77720">1</cx:pt>
          <cx:pt idx="77721">0</cx:pt>
          <cx:pt idx="77722">1</cx:pt>
          <cx:pt idx="77723">0</cx:pt>
          <cx:pt idx="77724">1</cx:pt>
          <cx:pt idx="77725">1</cx:pt>
          <cx:pt idx="77726">0</cx:pt>
          <cx:pt idx="77727">0</cx:pt>
          <cx:pt idx="77728">1</cx:pt>
          <cx:pt idx="77729">0</cx:pt>
          <cx:pt idx="77730">0</cx:pt>
          <cx:pt idx="77731">1</cx:pt>
          <cx:pt idx="77732">0</cx:pt>
          <cx:pt idx="77733">0</cx:pt>
          <cx:pt idx="77734">1</cx:pt>
          <cx:pt idx="77735">0</cx:pt>
          <cx:pt idx="77736">0</cx:pt>
          <cx:pt idx="77737">1</cx:pt>
          <cx:pt idx="77738">0</cx:pt>
          <cx:pt idx="77739">0</cx:pt>
          <cx:pt idx="77740">0</cx:pt>
          <cx:pt idx="77741">1</cx:pt>
          <cx:pt idx="77742">0</cx:pt>
          <cx:pt idx="77743">0</cx:pt>
          <cx:pt idx="77744">0</cx:pt>
          <cx:pt idx="77745">0</cx:pt>
          <cx:pt idx="77746">0</cx:pt>
          <cx:pt idx="77747">1</cx:pt>
          <cx:pt idx="77748">0</cx:pt>
          <cx:pt idx="77749">0</cx:pt>
          <cx:pt idx="77750">1</cx:pt>
          <cx:pt idx="77751">0</cx:pt>
          <cx:pt idx="77752">0</cx:pt>
          <cx:pt idx="77753">0</cx:pt>
          <cx:pt idx="77754">0</cx:pt>
          <cx:pt idx="77755">0</cx:pt>
          <cx:pt idx="77756">0</cx:pt>
          <cx:pt idx="77757">1</cx:pt>
          <cx:pt idx="77758">1</cx:pt>
          <cx:pt idx="77759">0</cx:pt>
          <cx:pt idx="77760">1</cx:pt>
          <cx:pt idx="77761">1</cx:pt>
          <cx:pt idx="77762">0</cx:pt>
          <cx:pt idx="77763">1</cx:pt>
          <cx:pt idx="77764">0</cx:pt>
          <cx:pt idx="77765">0</cx:pt>
          <cx:pt idx="77766">0</cx:pt>
          <cx:pt idx="77767">0</cx:pt>
          <cx:pt idx="77768">0</cx:pt>
          <cx:pt idx="77769">0</cx:pt>
          <cx:pt idx="77770">0</cx:pt>
          <cx:pt idx="77771">0</cx:pt>
          <cx:pt idx="77772">1</cx:pt>
          <cx:pt idx="77773">1</cx:pt>
          <cx:pt idx="77774">0</cx:pt>
          <cx:pt idx="77775">1</cx:pt>
          <cx:pt idx="77776">0</cx:pt>
          <cx:pt idx="77777">0</cx:pt>
          <cx:pt idx="77778">0</cx:pt>
          <cx:pt idx="77779">1</cx:pt>
          <cx:pt idx="77780">0</cx:pt>
          <cx:pt idx="77781">1</cx:pt>
          <cx:pt idx="77782">1</cx:pt>
          <cx:pt idx="77783">1</cx:pt>
          <cx:pt idx="77784">0</cx:pt>
          <cx:pt idx="77785">0</cx:pt>
          <cx:pt idx="77786">1</cx:pt>
          <cx:pt idx="77787">1</cx:pt>
          <cx:pt idx="77788">0</cx:pt>
          <cx:pt idx="77789">0</cx:pt>
          <cx:pt idx="77790">0</cx:pt>
          <cx:pt idx="77791">1</cx:pt>
          <cx:pt idx="77792">0</cx:pt>
          <cx:pt idx="77793">0</cx:pt>
          <cx:pt idx="77794">0</cx:pt>
          <cx:pt idx="77795">0</cx:pt>
          <cx:pt idx="77796">0</cx:pt>
          <cx:pt idx="77797">1</cx:pt>
          <cx:pt idx="77798">1</cx:pt>
          <cx:pt idx="77799">0</cx:pt>
          <cx:pt idx="77800">0</cx:pt>
          <cx:pt idx="77801">1</cx:pt>
          <cx:pt idx="77802">0</cx:pt>
          <cx:pt idx="77803">1</cx:pt>
          <cx:pt idx="77804">1</cx:pt>
          <cx:pt idx="77805">0</cx:pt>
          <cx:pt idx="77806">0</cx:pt>
          <cx:pt idx="77807">1</cx:pt>
          <cx:pt idx="77808">1</cx:pt>
          <cx:pt idx="77809">0</cx:pt>
          <cx:pt idx="77810">0</cx:pt>
          <cx:pt idx="77811">1</cx:pt>
          <cx:pt idx="77812">1</cx:pt>
          <cx:pt idx="77813">0</cx:pt>
          <cx:pt idx="77814">1</cx:pt>
          <cx:pt idx="77815">1</cx:pt>
          <cx:pt idx="77816">0</cx:pt>
          <cx:pt idx="77817">1</cx:pt>
          <cx:pt idx="77818">0</cx:pt>
          <cx:pt idx="77819">1</cx:pt>
          <cx:pt idx="77820">1</cx:pt>
          <cx:pt idx="77821">1</cx:pt>
          <cx:pt idx="77822">0</cx:pt>
          <cx:pt idx="77823">0</cx:pt>
          <cx:pt idx="77824">0</cx:pt>
          <cx:pt idx="77825">0</cx:pt>
          <cx:pt idx="77826">0</cx:pt>
          <cx:pt idx="77827">0</cx:pt>
          <cx:pt idx="77828">0</cx:pt>
          <cx:pt idx="77829">0</cx:pt>
          <cx:pt idx="77830">0</cx:pt>
          <cx:pt idx="77831">0</cx:pt>
          <cx:pt idx="77832">1</cx:pt>
          <cx:pt idx="77833">0</cx:pt>
          <cx:pt idx="77834">1</cx:pt>
          <cx:pt idx="77835">0</cx:pt>
          <cx:pt idx="77836">1</cx:pt>
          <cx:pt idx="77837">1</cx:pt>
          <cx:pt idx="77838">0</cx:pt>
          <cx:pt idx="77839">0</cx:pt>
          <cx:pt idx="77840">1</cx:pt>
          <cx:pt idx="77841">1</cx:pt>
          <cx:pt idx="77842">0</cx:pt>
          <cx:pt idx="77843">1</cx:pt>
          <cx:pt idx="77844">1</cx:pt>
          <cx:pt idx="77845">0</cx:pt>
          <cx:pt idx="77846">0</cx:pt>
          <cx:pt idx="77847">0</cx:pt>
          <cx:pt idx="77848">1</cx:pt>
          <cx:pt idx="77849">0</cx:pt>
          <cx:pt idx="77850">0</cx:pt>
          <cx:pt idx="77851">1</cx:pt>
          <cx:pt idx="77852">0</cx:pt>
          <cx:pt idx="77853">1</cx:pt>
          <cx:pt idx="77854">0</cx:pt>
          <cx:pt idx="77855">0</cx:pt>
          <cx:pt idx="77856">1</cx:pt>
          <cx:pt idx="77857">0</cx:pt>
          <cx:pt idx="77858">0</cx:pt>
          <cx:pt idx="77859">1</cx:pt>
          <cx:pt idx="77860">1</cx:pt>
          <cx:pt idx="77861">1</cx:pt>
          <cx:pt idx="77862">0</cx:pt>
          <cx:pt idx="77863">1</cx:pt>
          <cx:pt idx="77864">1</cx:pt>
          <cx:pt idx="77865">0</cx:pt>
          <cx:pt idx="77866">1</cx:pt>
          <cx:pt idx="77867">0</cx:pt>
          <cx:pt idx="77868">0</cx:pt>
          <cx:pt idx="77869">0</cx:pt>
          <cx:pt idx="77870">0</cx:pt>
          <cx:pt idx="77871">0</cx:pt>
          <cx:pt idx="77872">0</cx:pt>
          <cx:pt idx="77873">0</cx:pt>
          <cx:pt idx="77874">0</cx:pt>
          <cx:pt idx="77875">1</cx:pt>
          <cx:pt idx="77876">0</cx:pt>
          <cx:pt idx="77877">1</cx:pt>
          <cx:pt idx="77878">0</cx:pt>
          <cx:pt idx="77879">1</cx:pt>
          <cx:pt idx="77880">0</cx:pt>
          <cx:pt idx="77881">0</cx:pt>
          <cx:pt idx="77882">1</cx:pt>
          <cx:pt idx="77883">1</cx:pt>
          <cx:pt idx="77884">1</cx:pt>
          <cx:pt idx="77885">1</cx:pt>
          <cx:pt idx="77886">1</cx:pt>
          <cx:pt idx="77887">1</cx:pt>
          <cx:pt idx="77888">1</cx:pt>
          <cx:pt idx="77889">1</cx:pt>
          <cx:pt idx="77890">0</cx:pt>
          <cx:pt idx="77891">0</cx:pt>
          <cx:pt idx="77892">0</cx:pt>
          <cx:pt idx="77893">0</cx:pt>
          <cx:pt idx="77894">0</cx:pt>
          <cx:pt idx="77895">0</cx:pt>
          <cx:pt idx="77896">0</cx:pt>
          <cx:pt idx="77897">1</cx:pt>
          <cx:pt idx="77898">0</cx:pt>
          <cx:pt idx="77899">0</cx:pt>
          <cx:pt idx="77900">0</cx:pt>
          <cx:pt idx="77901">0</cx:pt>
          <cx:pt idx="77902">1</cx:pt>
          <cx:pt idx="77903">0</cx:pt>
          <cx:pt idx="77904">0</cx:pt>
          <cx:pt idx="77905">0</cx:pt>
          <cx:pt idx="77906">0</cx:pt>
          <cx:pt idx="77907">0</cx:pt>
          <cx:pt idx="77908">1</cx:pt>
          <cx:pt idx="77909">0</cx:pt>
          <cx:pt idx="77910">0</cx:pt>
          <cx:pt idx="77911">1</cx:pt>
          <cx:pt idx="77912">0</cx:pt>
          <cx:pt idx="77913">0</cx:pt>
          <cx:pt idx="77914">0</cx:pt>
          <cx:pt idx="77915">0</cx:pt>
          <cx:pt idx="77916">0</cx:pt>
          <cx:pt idx="77917">1</cx:pt>
          <cx:pt idx="77918">1</cx:pt>
          <cx:pt idx="77919">0</cx:pt>
          <cx:pt idx="77920">0</cx:pt>
          <cx:pt idx="77921">1</cx:pt>
          <cx:pt idx="77922">0</cx:pt>
          <cx:pt idx="77923">0</cx:pt>
          <cx:pt idx="77924">1</cx:pt>
          <cx:pt idx="77925">1</cx:pt>
          <cx:pt idx="77926">0</cx:pt>
          <cx:pt idx="77927">0</cx:pt>
          <cx:pt idx="77928">1</cx:pt>
          <cx:pt idx="77929">0</cx:pt>
          <cx:pt idx="77930">0</cx:pt>
          <cx:pt idx="77931">1</cx:pt>
          <cx:pt idx="77932">1</cx:pt>
          <cx:pt idx="77933">0</cx:pt>
          <cx:pt idx="77934">0</cx:pt>
          <cx:pt idx="77935">0</cx:pt>
          <cx:pt idx="77936">0</cx:pt>
          <cx:pt idx="77937">0</cx:pt>
          <cx:pt idx="77938">0</cx:pt>
          <cx:pt idx="77939">0</cx:pt>
          <cx:pt idx="77940">1</cx:pt>
          <cx:pt idx="77941">1</cx:pt>
          <cx:pt idx="77942">0</cx:pt>
          <cx:pt idx="77943">0</cx:pt>
          <cx:pt idx="77944">1</cx:pt>
          <cx:pt idx="77945">1</cx:pt>
          <cx:pt idx="77946">1</cx:pt>
          <cx:pt idx="77947">1</cx:pt>
          <cx:pt idx="77948">1</cx:pt>
          <cx:pt idx="77949">0</cx:pt>
          <cx:pt idx="77950">0</cx:pt>
          <cx:pt idx="77951">1</cx:pt>
          <cx:pt idx="77952">1</cx:pt>
          <cx:pt idx="77953">0</cx:pt>
          <cx:pt idx="77954">1</cx:pt>
          <cx:pt idx="77955">0</cx:pt>
          <cx:pt idx="77956">0</cx:pt>
          <cx:pt idx="77957">1</cx:pt>
          <cx:pt idx="77958">1</cx:pt>
          <cx:pt idx="77959">1</cx:pt>
          <cx:pt idx="77960">1</cx:pt>
          <cx:pt idx="77961">0</cx:pt>
          <cx:pt idx="77962">1</cx:pt>
          <cx:pt idx="77963">0</cx:pt>
          <cx:pt idx="77964">0</cx:pt>
          <cx:pt idx="77965">0</cx:pt>
          <cx:pt idx="77966">0</cx:pt>
          <cx:pt idx="77967">1</cx:pt>
          <cx:pt idx="77968">1</cx:pt>
          <cx:pt idx="77969">0</cx:pt>
          <cx:pt idx="77970">1</cx:pt>
          <cx:pt idx="77971">1</cx:pt>
          <cx:pt idx="77972">0</cx:pt>
          <cx:pt idx="77973">1</cx:pt>
          <cx:pt idx="77974">1</cx:pt>
          <cx:pt idx="77975">0</cx:pt>
          <cx:pt idx="77976">1</cx:pt>
          <cx:pt idx="77977">0</cx:pt>
          <cx:pt idx="77978">1</cx:pt>
          <cx:pt idx="77979">0</cx:pt>
          <cx:pt idx="77980">1</cx:pt>
          <cx:pt idx="77981">1</cx:pt>
          <cx:pt idx="77982">1</cx:pt>
          <cx:pt idx="77983">0</cx:pt>
          <cx:pt idx="77984">0</cx:pt>
          <cx:pt idx="77985">1</cx:pt>
          <cx:pt idx="77986">1</cx:pt>
          <cx:pt idx="77987">1</cx:pt>
          <cx:pt idx="77988">0</cx:pt>
          <cx:pt idx="77989">1</cx:pt>
          <cx:pt idx="77990">0</cx:pt>
          <cx:pt idx="77991">1</cx:pt>
          <cx:pt idx="77992">0</cx:pt>
          <cx:pt idx="77993">1</cx:pt>
          <cx:pt idx="77994">1</cx:pt>
          <cx:pt idx="77995">1</cx:pt>
          <cx:pt idx="77996">1</cx:pt>
          <cx:pt idx="77997">0</cx:pt>
          <cx:pt idx="77998">0</cx:pt>
          <cx:pt idx="77999">1</cx:pt>
          <cx:pt idx="78000">0</cx:pt>
          <cx:pt idx="78001">1</cx:pt>
          <cx:pt idx="78002">0</cx:pt>
          <cx:pt idx="78003">1</cx:pt>
          <cx:pt idx="78004">0</cx:pt>
          <cx:pt idx="78005">0</cx:pt>
          <cx:pt idx="78006">0</cx:pt>
          <cx:pt idx="78007">0</cx:pt>
          <cx:pt idx="78008">0</cx:pt>
          <cx:pt idx="78009">0</cx:pt>
          <cx:pt idx="78010">1</cx:pt>
          <cx:pt idx="78011">1</cx:pt>
          <cx:pt idx="78012">1</cx:pt>
          <cx:pt idx="78013">0</cx:pt>
          <cx:pt idx="78014">0</cx:pt>
          <cx:pt idx="78015">0</cx:pt>
          <cx:pt idx="78016">1</cx:pt>
          <cx:pt idx="78017">0</cx:pt>
          <cx:pt idx="78018">0</cx:pt>
          <cx:pt idx="78019">1</cx:pt>
          <cx:pt idx="78020">0</cx:pt>
          <cx:pt idx="78021">0</cx:pt>
          <cx:pt idx="78022">1</cx:pt>
          <cx:pt idx="78023">1</cx:pt>
          <cx:pt idx="78024">1</cx:pt>
          <cx:pt idx="78025">1</cx:pt>
          <cx:pt idx="78026">0</cx:pt>
          <cx:pt idx="78027">0</cx:pt>
          <cx:pt idx="78028">1</cx:pt>
          <cx:pt idx="78029">0</cx:pt>
          <cx:pt idx="78030">0</cx:pt>
          <cx:pt idx="78031">0</cx:pt>
          <cx:pt idx="78032">1</cx:pt>
          <cx:pt idx="78033">1</cx:pt>
          <cx:pt idx="78034">1</cx:pt>
          <cx:pt idx="78035">1</cx:pt>
          <cx:pt idx="78036">1</cx:pt>
          <cx:pt idx="78037">1</cx:pt>
          <cx:pt idx="78038">0</cx:pt>
          <cx:pt idx="78039">1</cx:pt>
          <cx:pt idx="78040">1</cx:pt>
          <cx:pt idx="78041">0</cx:pt>
          <cx:pt idx="78042">0</cx:pt>
          <cx:pt idx="78043">0</cx:pt>
          <cx:pt idx="78044">1</cx:pt>
          <cx:pt idx="78045">0</cx:pt>
          <cx:pt idx="78046">0</cx:pt>
          <cx:pt idx="78047">1</cx:pt>
          <cx:pt idx="78048">0</cx:pt>
          <cx:pt idx="78049">0</cx:pt>
          <cx:pt idx="78050">0</cx:pt>
          <cx:pt idx="78051">0</cx:pt>
          <cx:pt idx="78052">0</cx:pt>
          <cx:pt idx="78053">0</cx:pt>
          <cx:pt idx="78054">0</cx:pt>
          <cx:pt idx="78055">1</cx:pt>
          <cx:pt idx="78056">1</cx:pt>
          <cx:pt idx="78057">0</cx:pt>
          <cx:pt idx="78058">0</cx:pt>
          <cx:pt idx="78059">0</cx:pt>
          <cx:pt idx="78060">1</cx:pt>
          <cx:pt idx="78061">1</cx:pt>
          <cx:pt idx="78062">1</cx:pt>
          <cx:pt idx="78063">0</cx:pt>
          <cx:pt idx="78064">0</cx:pt>
          <cx:pt idx="78065">0</cx:pt>
          <cx:pt idx="78066">0</cx:pt>
          <cx:pt idx="78067">1</cx:pt>
          <cx:pt idx="78068">1</cx:pt>
          <cx:pt idx="78069">1</cx:pt>
          <cx:pt idx="78070">0</cx:pt>
          <cx:pt idx="78071">0</cx:pt>
          <cx:pt idx="78072">1</cx:pt>
          <cx:pt idx="78073">1</cx:pt>
          <cx:pt idx="78074">0</cx:pt>
          <cx:pt idx="78075">0</cx:pt>
          <cx:pt idx="78076">0</cx:pt>
          <cx:pt idx="78077">0</cx:pt>
          <cx:pt idx="78078">0</cx:pt>
          <cx:pt idx="78079">0</cx:pt>
          <cx:pt idx="78080">0</cx:pt>
          <cx:pt idx="78081">0</cx:pt>
          <cx:pt idx="78082">1</cx:pt>
          <cx:pt idx="78083">1</cx:pt>
          <cx:pt idx="78084">0</cx:pt>
          <cx:pt idx="78085">1</cx:pt>
          <cx:pt idx="78086">0</cx:pt>
          <cx:pt idx="78087">0</cx:pt>
          <cx:pt idx="78088">0</cx:pt>
          <cx:pt idx="78089">0</cx:pt>
          <cx:pt idx="78090">1</cx:pt>
          <cx:pt idx="78091">0</cx:pt>
          <cx:pt idx="78092">0</cx:pt>
          <cx:pt idx="78093">0</cx:pt>
          <cx:pt idx="78094">1</cx:pt>
          <cx:pt idx="78095">1</cx:pt>
          <cx:pt idx="78096">1</cx:pt>
          <cx:pt idx="78097">0</cx:pt>
          <cx:pt idx="78098">1</cx:pt>
          <cx:pt idx="78099">1</cx:pt>
          <cx:pt idx="78100">1</cx:pt>
          <cx:pt idx="78101">1</cx:pt>
          <cx:pt idx="78102">1</cx:pt>
          <cx:pt idx="78103">1</cx:pt>
          <cx:pt idx="78104">0</cx:pt>
          <cx:pt idx="78105">0</cx:pt>
          <cx:pt idx="78106">0</cx:pt>
          <cx:pt idx="78107">1</cx:pt>
          <cx:pt idx="78108">1</cx:pt>
          <cx:pt idx="78109">1</cx:pt>
          <cx:pt idx="78110">1</cx:pt>
          <cx:pt idx="78111">0</cx:pt>
          <cx:pt idx="78112">0</cx:pt>
          <cx:pt idx="78113">0</cx:pt>
          <cx:pt idx="78114">0</cx:pt>
          <cx:pt idx="78115">1</cx:pt>
          <cx:pt idx="78116">0</cx:pt>
          <cx:pt idx="78117">1</cx:pt>
          <cx:pt idx="78118">0</cx:pt>
          <cx:pt idx="78119">0</cx:pt>
          <cx:pt idx="78120">0</cx:pt>
          <cx:pt idx="78121">0</cx:pt>
          <cx:pt idx="78122">0</cx:pt>
          <cx:pt idx="78123">1</cx:pt>
          <cx:pt idx="78124">1</cx:pt>
          <cx:pt idx="78125">0</cx:pt>
          <cx:pt idx="78126">0</cx:pt>
          <cx:pt idx="78127">0</cx:pt>
          <cx:pt idx="78128">1</cx:pt>
          <cx:pt idx="78129">0</cx:pt>
          <cx:pt idx="78130">0</cx:pt>
          <cx:pt idx="78131">1</cx:pt>
          <cx:pt idx="78132">1</cx:pt>
          <cx:pt idx="78133">1</cx:pt>
          <cx:pt idx="78134">1</cx:pt>
          <cx:pt idx="78135">0</cx:pt>
          <cx:pt idx="78136">1</cx:pt>
          <cx:pt idx="78137">0</cx:pt>
          <cx:pt idx="78138">0</cx:pt>
          <cx:pt idx="78139">0</cx:pt>
          <cx:pt idx="78140">0</cx:pt>
          <cx:pt idx="78141">1</cx:pt>
          <cx:pt idx="78142">1</cx:pt>
          <cx:pt idx="78143">0</cx:pt>
          <cx:pt idx="78144">0</cx:pt>
          <cx:pt idx="78145">0</cx:pt>
          <cx:pt idx="78146">0</cx:pt>
          <cx:pt idx="78147">0</cx:pt>
          <cx:pt idx="78148">1</cx:pt>
          <cx:pt idx="78149">1</cx:pt>
          <cx:pt idx="78150">0</cx:pt>
          <cx:pt idx="78151">0</cx:pt>
          <cx:pt idx="78152">0</cx:pt>
          <cx:pt idx="78153">0</cx:pt>
          <cx:pt idx="78154">0</cx:pt>
          <cx:pt idx="78155">1</cx:pt>
          <cx:pt idx="78156">1</cx:pt>
          <cx:pt idx="78157">0</cx:pt>
          <cx:pt idx="78158">0</cx:pt>
          <cx:pt idx="78159">1</cx:pt>
          <cx:pt idx="78160">0</cx:pt>
          <cx:pt idx="78161">1</cx:pt>
          <cx:pt idx="78162">0</cx:pt>
          <cx:pt idx="78163">1</cx:pt>
          <cx:pt idx="78164">1</cx:pt>
          <cx:pt idx="78165">0</cx:pt>
          <cx:pt idx="78166">0</cx:pt>
          <cx:pt idx="78167">0</cx:pt>
          <cx:pt idx="78168">0</cx:pt>
          <cx:pt idx="78169">0</cx:pt>
          <cx:pt idx="78170">0</cx:pt>
          <cx:pt idx="78171">0</cx:pt>
          <cx:pt idx="78172">1</cx:pt>
          <cx:pt idx="78173">0</cx:pt>
          <cx:pt idx="78174">0</cx:pt>
          <cx:pt idx="78175">0</cx:pt>
          <cx:pt idx="78176">0</cx:pt>
          <cx:pt idx="78177">1</cx:pt>
          <cx:pt idx="78178">0</cx:pt>
          <cx:pt idx="78179">0</cx:pt>
          <cx:pt idx="78180">1</cx:pt>
          <cx:pt idx="78181">1</cx:pt>
          <cx:pt idx="78182">0</cx:pt>
          <cx:pt idx="78183">0</cx:pt>
          <cx:pt idx="78184">0</cx:pt>
          <cx:pt idx="78185">1</cx:pt>
          <cx:pt idx="78186">1</cx:pt>
          <cx:pt idx="78187">1</cx:pt>
          <cx:pt idx="78188">1</cx:pt>
          <cx:pt idx="78189">1</cx:pt>
          <cx:pt idx="78190">1</cx:pt>
          <cx:pt idx="78191">0</cx:pt>
          <cx:pt idx="78192">0</cx:pt>
          <cx:pt idx="78193">0</cx:pt>
          <cx:pt idx="78194">0</cx:pt>
          <cx:pt idx="78195">0</cx:pt>
          <cx:pt idx="78196">0</cx:pt>
          <cx:pt idx="78197">1</cx:pt>
          <cx:pt idx="78198">0</cx:pt>
          <cx:pt idx="78199">0</cx:pt>
          <cx:pt idx="78200">0</cx:pt>
          <cx:pt idx="78201">1</cx:pt>
          <cx:pt idx="78202">1</cx:pt>
          <cx:pt idx="78203">0</cx:pt>
          <cx:pt idx="78204">0</cx:pt>
          <cx:pt idx="78205">0</cx:pt>
          <cx:pt idx="78206">0</cx:pt>
          <cx:pt idx="78207">0</cx:pt>
          <cx:pt idx="78208">1</cx:pt>
          <cx:pt idx="78209">1</cx:pt>
          <cx:pt idx="78210">0</cx:pt>
          <cx:pt idx="78211">0</cx:pt>
          <cx:pt idx="78212">0</cx:pt>
          <cx:pt idx="78213">0</cx:pt>
          <cx:pt idx="78214">0</cx:pt>
          <cx:pt idx="78215">0</cx:pt>
          <cx:pt idx="78216">0</cx:pt>
          <cx:pt idx="78217">1</cx:pt>
          <cx:pt idx="78218">0</cx:pt>
          <cx:pt idx="78219">0</cx:pt>
          <cx:pt idx="78220">1</cx:pt>
          <cx:pt idx="78221">1</cx:pt>
          <cx:pt idx="78222">0</cx:pt>
          <cx:pt idx="78223">1</cx:pt>
          <cx:pt idx="78224">0</cx:pt>
          <cx:pt idx="78225">0</cx:pt>
          <cx:pt idx="78226">1</cx:pt>
          <cx:pt idx="78227">1</cx:pt>
          <cx:pt idx="78228">1</cx:pt>
          <cx:pt idx="78229">0</cx:pt>
          <cx:pt idx="78230">1</cx:pt>
          <cx:pt idx="78231">0</cx:pt>
          <cx:pt idx="78232">1</cx:pt>
          <cx:pt idx="78233">1</cx:pt>
          <cx:pt idx="78234">1</cx:pt>
          <cx:pt idx="78235">0</cx:pt>
          <cx:pt idx="78236">0</cx:pt>
          <cx:pt idx="78237">0</cx:pt>
          <cx:pt idx="78238">0</cx:pt>
          <cx:pt idx="78239">0</cx:pt>
          <cx:pt idx="78240">0</cx:pt>
          <cx:pt idx="78241">1</cx:pt>
          <cx:pt idx="78242">0</cx:pt>
          <cx:pt idx="78243">0</cx:pt>
          <cx:pt idx="78244">0</cx:pt>
          <cx:pt idx="78245">0</cx:pt>
          <cx:pt idx="78246">1</cx:pt>
          <cx:pt idx="78247">1</cx:pt>
          <cx:pt idx="78248">0</cx:pt>
          <cx:pt idx="78249">0</cx:pt>
          <cx:pt idx="78250">0</cx:pt>
          <cx:pt idx="78251">0</cx:pt>
          <cx:pt idx="78252">1</cx:pt>
          <cx:pt idx="78253">0</cx:pt>
          <cx:pt idx="78254">1</cx:pt>
          <cx:pt idx="78255">0</cx:pt>
          <cx:pt idx="78256">0</cx:pt>
          <cx:pt idx="78257">1</cx:pt>
          <cx:pt idx="78258">0</cx:pt>
          <cx:pt idx="78259">1</cx:pt>
          <cx:pt idx="78260">1</cx:pt>
          <cx:pt idx="78261">1</cx:pt>
          <cx:pt idx="78262">0</cx:pt>
          <cx:pt idx="78263">1</cx:pt>
          <cx:pt idx="78264">0</cx:pt>
          <cx:pt idx="78265">1</cx:pt>
          <cx:pt idx="78266">1</cx:pt>
          <cx:pt idx="78267">0</cx:pt>
          <cx:pt idx="78268">0</cx:pt>
          <cx:pt idx="78269">1</cx:pt>
          <cx:pt idx="78270">1</cx:pt>
          <cx:pt idx="78271">0</cx:pt>
          <cx:pt idx="78272">1</cx:pt>
          <cx:pt idx="78273">1</cx:pt>
          <cx:pt idx="78274">1</cx:pt>
          <cx:pt idx="78275">0</cx:pt>
          <cx:pt idx="78276">1</cx:pt>
          <cx:pt idx="78277">1</cx:pt>
          <cx:pt idx="78278">0</cx:pt>
          <cx:pt idx="78279">0</cx:pt>
          <cx:pt idx="78280">1</cx:pt>
          <cx:pt idx="78281">0</cx:pt>
          <cx:pt idx="78282">1</cx:pt>
          <cx:pt idx="78283">0</cx:pt>
          <cx:pt idx="78284">1</cx:pt>
          <cx:pt idx="78285">0</cx:pt>
          <cx:pt idx="78286">0</cx:pt>
          <cx:pt idx="78287">0</cx:pt>
          <cx:pt idx="78288">0</cx:pt>
          <cx:pt idx="78289">0</cx:pt>
          <cx:pt idx="78290">0</cx:pt>
          <cx:pt idx="78291">1</cx:pt>
          <cx:pt idx="78292">0</cx:pt>
          <cx:pt idx="78293">0</cx:pt>
          <cx:pt idx="78294">0</cx:pt>
          <cx:pt idx="78295">0</cx:pt>
          <cx:pt idx="78296">0</cx:pt>
          <cx:pt idx="78297">1</cx:pt>
          <cx:pt idx="78298">1</cx:pt>
          <cx:pt idx="78299">0</cx:pt>
          <cx:pt idx="78300">0</cx:pt>
          <cx:pt idx="78301">0</cx:pt>
          <cx:pt idx="78302">0</cx:pt>
          <cx:pt idx="78303">0</cx:pt>
          <cx:pt idx="78304">1</cx:pt>
          <cx:pt idx="78305">0</cx:pt>
          <cx:pt idx="78306">1</cx:pt>
          <cx:pt idx="78307">0</cx:pt>
          <cx:pt idx="78308">1</cx:pt>
          <cx:pt idx="78309">0</cx:pt>
          <cx:pt idx="78310">1</cx:pt>
          <cx:pt idx="78311">0</cx:pt>
          <cx:pt idx="78312">0</cx:pt>
          <cx:pt idx="78313">0</cx:pt>
          <cx:pt idx="78314">1</cx:pt>
          <cx:pt idx="78315">1</cx:pt>
          <cx:pt idx="78316">0</cx:pt>
          <cx:pt idx="78317">0</cx:pt>
          <cx:pt idx="78318">1</cx:pt>
          <cx:pt idx="78319">0</cx:pt>
          <cx:pt idx="78320">1</cx:pt>
          <cx:pt idx="78321">0</cx:pt>
          <cx:pt idx="78322">1</cx:pt>
          <cx:pt idx="78323">0</cx:pt>
          <cx:pt idx="78324">1</cx:pt>
          <cx:pt idx="78325">0</cx:pt>
          <cx:pt idx="78326">1</cx:pt>
          <cx:pt idx="78327">0</cx:pt>
          <cx:pt idx="78328">0</cx:pt>
          <cx:pt idx="78329">0</cx:pt>
          <cx:pt idx="78330">0</cx:pt>
          <cx:pt idx="78331">1</cx:pt>
          <cx:pt idx="78332">1</cx:pt>
          <cx:pt idx="78333">1</cx:pt>
          <cx:pt idx="78334">0</cx:pt>
          <cx:pt idx="78335">1</cx:pt>
          <cx:pt idx="78336">0</cx:pt>
          <cx:pt idx="78337">1</cx:pt>
          <cx:pt idx="78338">0</cx:pt>
          <cx:pt idx="78339">0</cx:pt>
          <cx:pt idx="78340">0</cx:pt>
          <cx:pt idx="78341">0</cx:pt>
          <cx:pt idx="78342">0</cx:pt>
          <cx:pt idx="78343">0</cx:pt>
          <cx:pt idx="78344">0</cx:pt>
          <cx:pt idx="78345">1</cx:pt>
          <cx:pt idx="78346">1</cx:pt>
          <cx:pt idx="78347">1</cx:pt>
          <cx:pt idx="78348">0</cx:pt>
          <cx:pt idx="78349">0</cx:pt>
          <cx:pt idx="78350">0</cx:pt>
          <cx:pt idx="78351">1</cx:pt>
          <cx:pt idx="78352">0</cx:pt>
          <cx:pt idx="78353">1</cx:pt>
          <cx:pt idx="78354">0</cx:pt>
          <cx:pt idx="78355">0</cx:pt>
          <cx:pt idx="78356">0</cx:pt>
          <cx:pt idx="78357">0</cx:pt>
          <cx:pt idx="78358">1</cx:pt>
          <cx:pt idx="78359">0</cx:pt>
          <cx:pt idx="78360">1</cx:pt>
          <cx:pt idx="78361">1</cx:pt>
          <cx:pt idx="78362">0</cx:pt>
          <cx:pt idx="78363">1</cx:pt>
          <cx:pt idx="78364">0</cx:pt>
          <cx:pt idx="78365">0</cx:pt>
          <cx:pt idx="78366">0</cx:pt>
          <cx:pt idx="78367">1</cx:pt>
          <cx:pt idx="78368">1</cx:pt>
          <cx:pt idx="78369">0</cx:pt>
          <cx:pt idx="78370">1</cx:pt>
          <cx:pt idx="78371">0</cx:pt>
          <cx:pt idx="78372">1</cx:pt>
          <cx:pt idx="78373">0</cx:pt>
          <cx:pt idx="78374">0</cx:pt>
          <cx:pt idx="78375">1</cx:pt>
          <cx:pt idx="78376">0</cx:pt>
          <cx:pt idx="78377">0</cx:pt>
          <cx:pt idx="78378">1</cx:pt>
          <cx:pt idx="78379">0</cx:pt>
          <cx:pt idx="78380">1</cx:pt>
          <cx:pt idx="78381">0</cx:pt>
          <cx:pt idx="78382">0</cx:pt>
          <cx:pt idx="78383">1</cx:pt>
          <cx:pt idx="78384">1</cx:pt>
          <cx:pt idx="78385">0</cx:pt>
          <cx:pt idx="78386">1</cx:pt>
          <cx:pt idx="78387">1</cx:pt>
          <cx:pt idx="78388">0</cx:pt>
          <cx:pt idx="78389">1</cx:pt>
          <cx:pt idx="78390">1</cx:pt>
          <cx:pt idx="78391">0</cx:pt>
          <cx:pt idx="78392">0</cx:pt>
          <cx:pt idx="78393">0</cx:pt>
          <cx:pt idx="78394">1</cx:pt>
          <cx:pt idx="78395">1</cx:pt>
          <cx:pt idx="78396">1</cx:pt>
          <cx:pt idx="78397">1</cx:pt>
          <cx:pt idx="78398">1</cx:pt>
          <cx:pt idx="78399">1</cx:pt>
          <cx:pt idx="78400">0</cx:pt>
          <cx:pt idx="78401">0</cx:pt>
          <cx:pt idx="78402">1</cx:pt>
          <cx:pt idx="78403">1</cx:pt>
          <cx:pt idx="78404">0</cx:pt>
          <cx:pt idx="78405">0</cx:pt>
          <cx:pt idx="78406">1</cx:pt>
          <cx:pt idx="78407">0</cx:pt>
          <cx:pt idx="78408">0</cx:pt>
          <cx:pt idx="78409">0</cx:pt>
          <cx:pt idx="78410">1</cx:pt>
          <cx:pt idx="78411">0</cx:pt>
          <cx:pt idx="78412">0</cx:pt>
          <cx:pt idx="78413">1</cx:pt>
          <cx:pt idx="78414">1</cx:pt>
          <cx:pt idx="78415">1</cx:pt>
          <cx:pt idx="78416">1</cx:pt>
          <cx:pt idx="78417">0</cx:pt>
          <cx:pt idx="78418">1</cx:pt>
          <cx:pt idx="78419">0</cx:pt>
          <cx:pt idx="78420">1</cx:pt>
          <cx:pt idx="78421">1</cx:pt>
          <cx:pt idx="78422">1</cx:pt>
          <cx:pt idx="78423">1</cx:pt>
          <cx:pt idx="78424">0</cx:pt>
          <cx:pt idx="78425">0</cx:pt>
          <cx:pt idx="78426">0</cx:pt>
          <cx:pt idx="78427">0</cx:pt>
          <cx:pt idx="78428">0</cx:pt>
          <cx:pt idx="78429">0</cx:pt>
          <cx:pt idx="78430">1</cx:pt>
          <cx:pt idx="78431">1</cx:pt>
          <cx:pt idx="78432">0</cx:pt>
          <cx:pt idx="78433">1</cx:pt>
          <cx:pt idx="78434">1</cx:pt>
          <cx:pt idx="78435">0</cx:pt>
          <cx:pt idx="78436">0</cx:pt>
          <cx:pt idx="78437">0</cx:pt>
          <cx:pt idx="78438">0</cx:pt>
          <cx:pt idx="78439">1</cx:pt>
          <cx:pt idx="78440">1</cx:pt>
          <cx:pt idx="78441">1</cx:pt>
          <cx:pt idx="78442">0</cx:pt>
          <cx:pt idx="78443">1</cx:pt>
          <cx:pt idx="78444">1</cx:pt>
          <cx:pt idx="78445">0</cx:pt>
          <cx:pt idx="78446">0</cx:pt>
          <cx:pt idx="78447">0</cx:pt>
          <cx:pt idx="78448">1</cx:pt>
          <cx:pt idx="78449">0</cx:pt>
          <cx:pt idx="78450">1</cx:pt>
          <cx:pt idx="78451">1</cx:pt>
          <cx:pt idx="78452">1</cx:pt>
          <cx:pt idx="78453">0</cx:pt>
          <cx:pt idx="78454">0</cx:pt>
          <cx:pt idx="78455">1</cx:pt>
          <cx:pt idx="78456">0</cx:pt>
          <cx:pt idx="78457">1</cx:pt>
          <cx:pt idx="78458">1</cx:pt>
          <cx:pt idx="78459">1</cx:pt>
          <cx:pt idx="78460">1</cx:pt>
          <cx:pt idx="78461">1</cx:pt>
          <cx:pt idx="78462">1</cx:pt>
          <cx:pt idx="78463">0</cx:pt>
          <cx:pt idx="78464">1</cx:pt>
          <cx:pt idx="78465">0</cx:pt>
          <cx:pt idx="78466">1</cx:pt>
          <cx:pt idx="78467">0</cx:pt>
          <cx:pt idx="78468">0</cx:pt>
          <cx:pt idx="78469">0</cx:pt>
          <cx:pt idx="78470">0</cx:pt>
          <cx:pt idx="78471">0</cx:pt>
          <cx:pt idx="78472">1</cx:pt>
          <cx:pt idx="78473">0</cx:pt>
          <cx:pt idx="78474">0</cx:pt>
          <cx:pt idx="78475">0</cx:pt>
          <cx:pt idx="78476">1</cx:pt>
          <cx:pt idx="78477">0</cx:pt>
          <cx:pt idx="78478">1</cx:pt>
          <cx:pt idx="78479">1</cx:pt>
          <cx:pt idx="78480">1</cx:pt>
          <cx:pt idx="78481">1</cx:pt>
          <cx:pt idx="78482">0</cx:pt>
          <cx:pt idx="78483">0</cx:pt>
          <cx:pt idx="78484">1</cx:pt>
          <cx:pt idx="78485">1</cx:pt>
          <cx:pt idx="78486">1</cx:pt>
          <cx:pt idx="78487">0</cx:pt>
          <cx:pt idx="78488">0</cx:pt>
          <cx:pt idx="78489">0</cx:pt>
          <cx:pt idx="78490">1</cx:pt>
          <cx:pt idx="78491">1</cx:pt>
          <cx:pt idx="78492">0</cx:pt>
          <cx:pt idx="78493">0</cx:pt>
          <cx:pt idx="78494">0</cx:pt>
          <cx:pt idx="78495">1</cx:pt>
          <cx:pt idx="78496">1</cx:pt>
          <cx:pt idx="78497">0</cx:pt>
          <cx:pt idx="78498">0</cx:pt>
          <cx:pt idx="78499">1</cx:pt>
          <cx:pt idx="78500">0</cx:pt>
          <cx:pt idx="78501">0</cx:pt>
          <cx:pt idx="78502">0</cx:pt>
          <cx:pt idx="78503">0</cx:pt>
          <cx:pt idx="78504">0</cx:pt>
          <cx:pt idx="78505">0</cx:pt>
          <cx:pt idx="78506">0</cx:pt>
          <cx:pt idx="78507">0</cx:pt>
          <cx:pt idx="78508">0</cx:pt>
          <cx:pt idx="78509">0</cx:pt>
          <cx:pt idx="78510">1</cx:pt>
          <cx:pt idx="78511">1</cx:pt>
          <cx:pt idx="78512">1</cx:pt>
          <cx:pt idx="78513">1</cx:pt>
          <cx:pt idx="78514">0</cx:pt>
          <cx:pt idx="78515">1</cx:pt>
          <cx:pt idx="78516">0</cx:pt>
          <cx:pt idx="78517">1</cx:pt>
          <cx:pt idx="78518">1</cx:pt>
          <cx:pt idx="78519">0</cx:pt>
          <cx:pt idx="78520">1</cx:pt>
          <cx:pt idx="78521">1</cx:pt>
          <cx:pt idx="78522">0</cx:pt>
          <cx:pt idx="78523">0</cx:pt>
          <cx:pt idx="78524">0</cx:pt>
          <cx:pt idx="78525">0</cx:pt>
          <cx:pt idx="78526">1</cx:pt>
          <cx:pt idx="78527">1</cx:pt>
          <cx:pt idx="78528">1</cx:pt>
          <cx:pt idx="78529">0</cx:pt>
          <cx:pt idx="78530">1</cx:pt>
          <cx:pt idx="78531">0</cx:pt>
          <cx:pt idx="78532">0</cx:pt>
          <cx:pt idx="78533">0</cx:pt>
          <cx:pt idx="78534">0</cx:pt>
          <cx:pt idx="78535">0</cx:pt>
          <cx:pt idx="78536">1</cx:pt>
          <cx:pt idx="78537">0</cx:pt>
          <cx:pt idx="78538">0</cx:pt>
          <cx:pt idx="78539">0</cx:pt>
          <cx:pt idx="78540">0</cx:pt>
          <cx:pt idx="78541">0</cx:pt>
          <cx:pt idx="78542">1</cx:pt>
          <cx:pt idx="78543">1</cx:pt>
          <cx:pt idx="78544">0</cx:pt>
          <cx:pt idx="78545">1</cx:pt>
          <cx:pt idx="78546">0</cx:pt>
          <cx:pt idx="78547">0</cx:pt>
          <cx:pt idx="78548">1</cx:pt>
          <cx:pt idx="78549">1</cx:pt>
          <cx:pt idx="78550">0</cx:pt>
          <cx:pt idx="78551">0</cx:pt>
          <cx:pt idx="78552">1</cx:pt>
          <cx:pt idx="78553">0</cx:pt>
          <cx:pt idx="78554">0</cx:pt>
          <cx:pt idx="78555">0</cx:pt>
          <cx:pt idx="78556">0</cx:pt>
          <cx:pt idx="78557">1</cx:pt>
          <cx:pt idx="78558">1</cx:pt>
          <cx:pt idx="78559">1</cx:pt>
          <cx:pt idx="78560">0</cx:pt>
          <cx:pt idx="78561">0</cx:pt>
          <cx:pt idx="78562">0</cx:pt>
          <cx:pt idx="78563">0</cx:pt>
          <cx:pt idx="78564">1</cx:pt>
          <cx:pt idx="78565">1</cx:pt>
          <cx:pt idx="78566">0</cx:pt>
          <cx:pt idx="78567">0</cx:pt>
          <cx:pt idx="78568">1</cx:pt>
          <cx:pt idx="78569">1</cx:pt>
          <cx:pt idx="78570">0</cx:pt>
          <cx:pt idx="78571">1</cx:pt>
          <cx:pt idx="78572">0</cx:pt>
          <cx:pt idx="78573">1</cx:pt>
          <cx:pt idx="78574">0</cx:pt>
          <cx:pt idx="78575">0</cx:pt>
          <cx:pt idx="78576">0</cx:pt>
          <cx:pt idx="78577">0</cx:pt>
          <cx:pt idx="78578">0</cx:pt>
          <cx:pt idx="78579">0</cx:pt>
          <cx:pt idx="78580">0</cx:pt>
          <cx:pt idx="78581">1</cx:pt>
          <cx:pt idx="78582">0</cx:pt>
          <cx:pt idx="78583">0</cx:pt>
          <cx:pt idx="78584">0</cx:pt>
          <cx:pt idx="78585">0</cx:pt>
          <cx:pt idx="78586">1</cx:pt>
          <cx:pt idx="78587">1</cx:pt>
          <cx:pt idx="78588">1</cx:pt>
          <cx:pt idx="78589">0</cx:pt>
          <cx:pt idx="78590">0</cx:pt>
          <cx:pt idx="78591">0</cx:pt>
          <cx:pt idx="78592">1</cx:pt>
          <cx:pt idx="78593">1</cx:pt>
          <cx:pt idx="78594">1</cx:pt>
          <cx:pt idx="78595">1</cx:pt>
          <cx:pt idx="78596">0</cx:pt>
          <cx:pt idx="78597">1</cx:pt>
          <cx:pt idx="78598">0</cx:pt>
          <cx:pt idx="78599">1</cx:pt>
          <cx:pt idx="78600">1</cx:pt>
          <cx:pt idx="78601">0</cx:pt>
          <cx:pt idx="78602">1</cx:pt>
          <cx:pt idx="78603">1</cx:pt>
          <cx:pt idx="78604">1</cx:pt>
          <cx:pt idx="78605">1</cx:pt>
          <cx:pt idx="78606">0</cx:pt>
          <cx:pt idx="78607">0</cx:pt>
          <cx:pt idx="78608">0</cx:pt>
          <cx:pt idx="78609">0</cx:pt>
          <cx:pt idx="78610">0</cx:pt>
          <cx:pt idx="78611">1</cx:pt>
          <cx:pt idx="78612">0</cx:pt>
          <cx:pt idx="78613">0</cx:pt>
          <cx:pt idx="78614">1</cx:pt>
          <cx:pt idx="78615">1</cx:pt>
          <cx:pt idx="78616">0</cx:pt>
          <cx:pt idx="78617">1</cx:pt>
          <cx:pt idx="78618">1</cx:pt>
          <cx:pt idx="78619">0</cx:pt>
          <cx:pt idx="78620">1</cx:pt>
          <cx:pt idx="78621">1</cx:pt>
          <cx:pt idx="78622">0</cx:pt>
          <cx:pt idx="78623">0</cx:pt>
          <cx:pt idx="78624">0</cx:pt>
          <cx:pt idx="78625">0</cx:pt>
          <cx:pt idx="78626">0</cx:pt>
          <cx:pt idx="78627">0</cx:pt>
          <cx:pt idx="78628">0</cx:pt>
          <cx:pt idx="78629">1</cx:pt>
          <cx:pt idx="78630">0</cx:pt>
          <cx:pt idx="78631">0</cx:pt>
          <cx:pt idx="78632">1</cx:pt>
          <cx:pt idx="78633">0</cx:pt>
          <cx:pt idx="78634">0</cx:pt>
          <cx:pt idx="78635">0</cx:pt>
          <cx:pt idx="78636">0</cx:pt>
          <cx:pt idx="78637">1</cx:pt>
          <cx:pt idx="78638">1</cx:pt>
          <cx:pt idx="78639">0</cx:pt>
          <cx:pt idx="78640">0</cx:pt>
          <cx:pt idx="78641">1</cx:pt>
          <cx:pt idx="78642">1</cx:pt>
          <cx:pt idx="78643">0</cx:pt>
          <cx:pt idx="78644">0</cx:pt>
          <cx:pt idx="78645">0</cx:pt>
          <cx:pt idx="78646">1</cx:pt>
          <cx:pt idx="78647">1</cx:pt>
          <cx:pt idx="78648">0</cx:pt>
          <cx:pt idx="78649">0</cx:pt>
          <cx:pt idx="78650">0</cx:pt>
          <cx:pt idx="78651">0</cx:pt>
          <cx:pt idx="78652">1</cx:pt>
          <cx:pt idx="78653">0</cx:pt>
          <cx:pt idx="78654">1</cx:pt>
          <cx:pt idx="78655">0</cx:pt>
          <cx:pt idx="78656">0</cx:pt>
          <cx:pt idx="78657">1</cx:pt>
          <cx:pt idx="78658">0</cx:pt>
          <cx:pt idx="78659">0</cx:pt>
          <cx:pt idx="78660">1</cx:pt>
          <cx:pt idx="78661">1</cx:pt>
          <cx:pt idx="78662">0</cx:pt>
          <cx:pt idx="78663">0</cx:pt>
          <cx:pt idx="78664">0</cx:pt>
          <cx:pt idx="78665">1</cx:pt>
          <cx:pt idx="78666">1</cx:pt>
          <cx:pt idx="78667">0</cx:pt>
          <cx:pt idx="78668">0</cx:pt>
          <cx:pt idx="78669">0</cx:pt>
          <cx:pt idx="78670">1</cx:pt>
          <cx:pt idx="78671">0</cx:pt>
          <cx:pt idx="78672">0</cx:pt>
          <cx:pt idx="78673">1</cx:pt>
          <cx:pt idx="78674">0</cx:pt>
          <cx:pt idx="78675">1</cx:pt>
          <cx:pt idx="78676">1</cx:pt>
          <cx:pt idx="78677">1</cx:pt>
          <cx:pt idx="78678">0</cx:pt>
          <cx:pt idx="78679">0</cx:pt>
          <cx:pt idx="78680">0</cx:pt>
          <cx:pt idx="78681">0</cx:pt>
          <cx:pt idx="78682">0</cx:pt>
          <cx:pt idx="78683">1</cx:pt>
          <cx:pt idx="78684">0</cx:pt>
          <cx:pt idx="78685">1</cx:pt>
          <cx:pt idx="78686">1</cx:pt>
          <cx:pt idx="78687">0</cx:pt>
          <cx:pt idx="78688">1</cx:pt>
          <cx:pt idx="78689">0</cx:pt>
          <cx:pt idx="78690">1</cx:pt>
          <cx:pt idx="78691">1</cx:pt>
          <cx:pt idx="78692">0</cx:pt>
          <cx:pt idx="78693">0</cx:pt>
          <cx:pt idx="78694">0</cx:pt>
          <cx:pt idx="78695">1</cx:pt>
          <cx:pt idx="78696">0</cx:pt>
          <cx:pt idx="78697">0</cx:pt>
          <cx:pt idx="78698">0</cx:pt>
          <cx:pt idx="78699">0</cx:pt>
          <cx:pt idx="78700">1</cx:pt>
          <cx:pt idx="78701">0</cx:pt>
          <cx:pt idx="78702">1</cx:pt>
          <cx:pt idx="78703">1</cx:pt>
          <cx:pt idx="78704">1</cx:pt>
          <cx:pt idx="78705">0</cx:pt>
          <cx:pt idx="78706">0</cx:pt>
          <cx:pt idx="78707">0</cx:pt>
          <cx:pt idx="78708">1</cx:pt>
          <cx:pt idx="78709">0</cx:pt>
          <cx:pt idx="78710">0</cx:pt>
          <cx:pt idx="78711">0</cx:pt>
          <cx:pt idx="78712">1</cx:pt>
          <cx:pt idx="78713">1</cx:pt>
          <cx:pt idx="78714">1</cx:pt>
          <cx:pt idx="78715">0</cx:pt>
          <cx:pt idx="78716">1</cx:pt>
          <cx:pt idx="78717">0</cx:pt>
          <cx:pt idx="78718">0</cx:pt>
          <cx:pt idx="78719">0</cx:pt>
          <cx:pt idx="78720">1</cx:pt>
          <cx:pt idx="78721">0</cx:pt>
          <cx:pt idx="78722">0</cx:pt>
          <cx:pt idx="78723">0</cx:pt>
          <cx:pt idx="78724">1</cx:pt>
          <cx:pt idx="78725">1</cx:pt>
          <cx:pt idx="78726">0</cx:pt>
          <cx:pt idx="78727">0</cx:pt>
          <cx:pt idx="78728">0</cx:pt>
          <cx:pt idx="78729">0</cx:pt>
          <cx:pt idx="78730">0</cx:pt>
          <cx:pt idx="78731">0</cx:pt>
          <cx:pt idx="78732">1</cx:pt>
          <cx:pt idx="78733">0</cx:pt>
          <cx:pt idx="78734">0</cx:pt>
          <cx:pt idx="78735">1</cx:pt>
          <cx:pt idx="78736">1</cx:pt>
          <cx:pt idx="78737">0</cx:pt>
          <cx:pt idx="78738">1</cx:pt>
          <cx:pt idx="78739">0</cx:pt>
          <cx:pt idx="78740">0</cx:pt>
          <cx:pt idx="78741">1</cx:pt>
          <cx:pt idx="78742">1</cx:pt>
          <cx:pt idx="78743">0</cx:pt>
          <cx:pt idx="78744">1</cx:pt>
          <cx:pt idx="78745">1</cx:pt>
          <cx:pt idx="78746">0</cx:pt>
          <cx:pt idx="78747">0</cx:pt>
          <cx:pt idx="78748">1</cx:pt>
          <cx:pt idx="78749">1</cx:pt>
          <cx:pt idx="78750">1</cx:pt>
          <cx:pt idx="78751">0</cx:pt>
          <cx:pt idx="78752">0</cx:pt>
          <cx:pt idx="78753">0</cx:pt>
          <cx:pt idx="78754">0</cx:pt>
          <cx:pt idx="78755">1</cx:pt>
          <cx:pt idx="78756">0</cx:pt>
          <cx:pt idx="78757">0</cx:pt>
          <cx:pt idx="78758">1</cx:pt>
          <cx:pt idx="78759">1</cx:pt>
          <cx:pt idx="78760">1</cx:pt>
          <cx:pt idx="78761">0</cx:pt>
          <cx:pt idx="78762">1</cx:pt>
          <cx:pt idx="78763">0</cx:pt>
          <cx:pt idx="78764">0</cx:pt>
          <cx:pt idx="78765">0</cx:pt>
          <cx:pt idx="78766">1</cx:pt>
          <cx:pt idx="78767">0</cx:pt>
          <cx:pt idx="78768">1</cx:pt>
          <cx:pt idx="78769">1</cx:pt>
          <cx:pt idx="78770">1</cx:pt>
          <cx:pt idx="78771">0</cx:pt>
          <cx:pt idx="78772">1</cx:pt>
          <cx:pt idx="78773">0</cx:pt>
          <cx:pt idx="78774">1</cx:pt>
          <cx:pt idx="78775">0</cx:pt>
          <cx:pt idx="78776">1</cx:pt>
          <cx:pt idx="78777">1</cx:pt>
          <cx:pt idx="78778">0</cx:pt>
          <cx:pt idx="78779">0</cx:pt>
          <cx:pt idx="78780">1</cx:pt>
          <cx:pt idx="78781">0</cx:pt>
          <cx:pt idx="78782">0</cx:pt>
          <cx:pt idx="78783">0</cx:pt>
          <cx:pt idx="78784">1</cx:pt>
          <cx:pt idx="78785">1</cx:pt>
          <cx:pt idx="78786">0</cx:pt>
          <cx:pt idx="78787">0</cx:pt>
          <cx:pt idx="78788">0</cx:pt>
          <cx:pt idx="78789">0</cx:pt>
          <cx:pt idx="78790">1</cx:pt>
          <cx:pt idx="78791">1</cx:pt>
          <cx:pt idx="78792">0</cx:pt>
          <cx:pt idx="78793">0</cx:pt>
          <cx:pt idx="78794">0</cx:pt>
          <cx:pt idx="78795">0</cx:pt>
          <cx:pt idx="78796">0</cx:pt>
          <cx:pt idx="78797">0</cx:pt>
          <cx:pt idx="78798">0</cx:pt>
          <cx:pt idx="78799">0</cx:pt>
          <cx:pt idx="78800">0</cx:pt>
          <cx:pt idx="78801">1</cx:pt>
          <cx:pt idx="78802">0</cx:pt>
          <cx:pt idx="78803">0</cx:pt>
          <cx:pt idx="78804">0</cx:pt>
          <cx:pt idx="78805">1</cx:pt>
          <cx:pt idx="78806">1</cx:pt>
          <cx:pt idx="78807">0</cx:pt>
          <cx:pt idx="78808">0</cx:pt>
          <cx:pt idx="78809">1</cx:pt>
          <cx:pt idx="78810">0</cx:pt>
          <cx:pt idx="78811">0</cx:pt>
          <cx:pt idx="78812">0</cx:pt>
          <cx:pt idx="78813">1</cx:pt>
          <cx:pt idx="78814">0</cx:pt>
          <cx:pt idx="78815">1</cx:pt>
          <cx:pt idx="78816">0</cx:pt>
          <cx:pt idx="78817">0</cx:pt>
          <cx:pt idx="78818">0</cx:pt>
          <cx:pt idx="78819">1</cx:pt>
          <cx:pt idx="78820">0</cx:pt>
          <cx:pt idx="78821">0</cx:pt>
          <cx:pt idx="78822">1</cx:pt>
          <cx:pt idx="78823">1</cx:pt>
          <cx:pt idx="78824">1</cx:pt>
          <cx:pt idx="78825">0</cx:pt>
          <cx:pt idx="78826">1</cx:pt>
          <cx:pt idx="78827">1</cx:pt>
          <cx:pt idx="78828">0</cx:pt>
          <cx:pt idx="78829">1</cx:pt>
          <cx:pt idx="78830">0</cx:pt>
          <cx:pt idx="78831">0</cx:pt>
          <cx:pt idx="78832">0</cx:pt>
          <cx:pt idx="78833">0</cx:pt>
          <cx:pt idx="78834">1</cx:pt>
          <cx:pt idx="78835">0</cx:pt>
          <cx:pt idx="78836">1</cx:pt>
          <cx:pt idx="78837">0</cx:pt>
          <cx:pt idx="78838">1</cx:pt>
          <cx:pt idx="78839">1</cx:pt>
          <cx:pt idx="78840">1</cx:pt>
          <cx:pt idx="78841">1</cx:pt>
          <cx:pt idx="78842">0</cx:pt>
          <cx:pt idx="78843">1</cx:pt>
          <cx:pt idx="78844">0</cx:pt>
          <cx:pt idx="78845">0</cx:pt>
          <cx:pt idx="78846">1</cx:pt>
          <cx:pt idx="78847">0</cx:pt>
          <cx:pt idx="78848">0</cx:pt>
          <cx:pt idx="78849">0</cx:pt>
          <cx:pt idx="78850">0</cx:pt>
          <cx:pt idx="78851">1</cx:pt>
          <cx:pt idx="78852">1</cx:pt>
          <cx:pt idx="78853">0</cx:pt>
          <cx:pt idx="78854">0</cx:pt>
          <cx:pt idx="78855">1</cx:pt>
          <cx:pt idx="78856">1</cx:pt>
          <cx:pt idx="78857">0</cx:pt>
          <cx:pt idx="78858">0</cx:pt>
          <cx:pt idx="78859">1</cx:pt>
          <cx:pt idx="78860">0</cx:pt>
          <cx:pt idx="78861">1</cx:pt>
          <cx:pt idx="78862">0</cx:pt>
          <cx:pt idx="78863">0</cx:pt>
          <cx:pt idx="78864">1</cx:pt>
          <cx:pt idx="78865">1</cx:pt>
          <cx:pt idx="78866">0</cx:pt>
          <cx:pt idx="78867">0</cx:pt>
          <cx:pt idx="78868">1</cx:pt>
          <cx:pt idx="78869">0</cx:pt>
          <cx:pt idx="78870">0</cx:pt>
          <cx:pt idx="78871">0</cx:pt>
          <cx:pt idx="78872">0</cx:pt>
          <cx:pt idx="78873">0</cx:pt>
          <cx:pt idx="78874">0</cx:pt>
          <cx:pt idx="78875">1</cx:pt>
          <cx:pt idx="78876">1</cx:pt>
          <cx:pt idx="78877">0</cx:pt>
          <cx:pt idx="78878">0</cx:pt>
          <cx:pt idx="78879">0</cx:pt>
          <cx:pt idx="78880">1</cx:pt>
          <cx:pt idx="78881">0</cx:pt>
          <cx:pt idx="78882">0</cx:pt>
          <cx:pt idx="78883">1</cx:pt>
          <cx:pt idx="78884">0</cx:pt>
          <cx:pt idx="78885">1</cx:pt>
          <cx:pt idx="78886">1</cx:pt>
          <cx:pt idx="78887">1</cx:pt>
          <cx:pt idx="78888">0</cx:pt>
          <cx:pt idx="78889">0</cx:pt>
          <cx:pt idx="78890">0</cx:pt>
          <cx:pt idx="78891">1</cx:pt>
          <cx:pt idx="78892">0</cx:pt>
          <cx:pt idx="78893">0</cx:pt>
          <cx:pt idx="78894">0</cx:pt>
          <cx:pt idx="78895">1</cx:pt>
          <cx:pt idx="78896">0</cx:pt>
          <cx:pt idx="78897">1</cx:pt>
          <cx:pt idx="78898">1</cx:pt>
          <cx:pt idx="78899">1</cx:pt>
          <cx:pt idx="78900">1</cx:pt>
          <cx:pt idx="78901">0</cx:pt>
          <cx:pt idx="78902">1</cx:pt>
          <cx:pt idx="78903">1</cx:pt>
          <cx:pt idx="78904">1</cx:pt>
          <cx:pt idx="78905">0</cx:pt>
          <cx:pt idx="78906">0</cx:pt>
          <cx:pt idx="78907">1</cx:pt>
          <cx:pt idx="78908">0</cx:pt>
          <cx:pt idx="78909">1</cx:pt>
          <cx:pt idx="78910">0</cx:pt>
          <cx:pt idx="78911">1</cx:pt>
          <cx:pt idx="78912">0</cx:pt>
          <cx:pt idx="78913">0</cx:pt>
          <cx:pt idx="78914">1</cx:pt>
          <cx:pt idx="78915">0</cx:pt>
          <cx:pt idx="78916">0</cx:pt>
          <cx:pt idx="78917">1</cx:pt>
          <cx:pt idx="78918">0</cx:pt>
          <cx:pt idx="78919">0</cx:pt>
          <cx:pt idx="78920">0</cx:pt>
          <cx:pt idx="78921">1</cx:pt>
          <cx:pt idx="78922">0</cx:pt>
          <cx:pt idx="78923">0</cx:pt>
          <cx:pt idx="78924">0</cx:pt>
          <cx:pt idx="78925">1</cx:pt>
          <cx:pt idx="78926">1</cx:pt>
          <cx:pt idx="78927">0</cx:pt>
          <cx:pt idx="78928">0</cx:pt>
          <cx:pt idx="78929">1</cx:pt>
          <cx:pt idx="78930">0</cx:pt>
          <cx:pt idx="78931">0</cx:pt>
          <cx:pt idx="78932">1</cx:pt>
          <cx:pt idx="78933">0</cx:pt>
          <cx:pt idx="78934">0</cx:pt>
          <cx:pt idx="78935">0</cx:pt>
          <cx:pt idx="78936">0</cx:pt>
          <cx:pt idx="78937">1</cx:pt>
          <cx:pt idx="78938">0</cx:pt>
          <cx:pt idx="78939">1</cx:pt>
          <cx:pt idx="78940">1</cx:pt>
          <cx:pt idx="78941">0</cx:pt>
          <cx:pt idx="78942">1</cx:pt>
          <cx:pt idx="78943">1</cx:pt>
          <cx:pt idx="78944">0</cx:pt>
          <cx:pt idx="78945">0</cx:pt>
          <cx:pt idx="78946">1</cx:pt>
          <cx:pt idx="78947">1</cx:pt>
          <cx:pt idx="78948">1</cx:pt>
          <cx:pt idx="78949">0</cx:pt>
          <cx:pt idx="78950">0</cx:pt>
          <cx:pt idx="78951">0</cx:pt>
          <cx:pt idx="78952">1</cx:pt>
          <cx:pt idx="78953">0</cx:pt>
          <cx:pt idx="78954">1</cx:pt>
          <cx:pt idx="78955">1</cx:pt>
          <cx:pt idx="78956">1</cx:pt>
          <cx:pt idx="78957">1</cx:pt>
          <cx:pt idx="78958">0</cx:pt>
          <cx:pt idx="78959">0</cx:pt>
          <cx:pt idx="78960">0</cx:pt>
          <cx:pt idx="78961">0</cx:pt>
          <cx:pt idx="78962">1</cx:pt>
          <cx:pt idx="78963">0</cx:pt>
          <cx:pt idx="78964">1</cx:pt>
          <cx:pt idx="78965">0</cx:pt>
          <cx:pt idx="78966">1</cx:pt>
          <cx:pt idx="78967">0</cx:pt>
          <cx:pt idx="78968">1</cx:pt>
          <cx:pt idx="78969">1</cx:pt>
          <cx:pt idx="78970">1</cx:pt>
          <cx:pt idx="78971">0</cx:pt>
          <cx:pt idx="78972">0</cx:pt>
          <cx:pt idx="78973">1</cx:pt>
          <cx:pt idx="78974">0</cx:pt>
          <cx:pt idx="78975">0</cx:pt>
          <cx:pt idx="78976">0</cx:pt>
          <cx:pt idx="78977">1</cx:pt>
          <cx:pt idx="78978">1</cx:pt>
          <cx:pt idx="78979">1</cx:pt>
          <cx:pt idx="78980">0</cx:pt>
          <cx:pt idx="78981">0</cx:pt>
          <cx:pt idx="78982">1</cx:pt>
          <cx:pt idx="78983">0</cx:pt>
          <cx:pt idx="78984">0</cx:pt>
          <cx:pt idx="78985">0</cx:pt>
          <cx:pt idx="78986">1</cx:pt>
          <cx:pt idx="78987">0</cx:pt>
          <cx:pt idx="78988">0</cx:pt>
          <cx:pt idx="78989">0</cx:pt>
          <cx:pt idx="78990">1</cx:pt>
          <cx:pt idx="78991">1</cx:pt>
          <cx:pt idx="78992">0</cx:pt>
          <cx:pt idx="78993">0</cx:pt>
          <cx:pt idx="78994">1</cx:pt>
          <cx:pt idx="78995">0</cx:pt>
          <cx:pt idx="78996">0</cx:pt>
          <cx:pt idx="78997">0</cx:pt>
          <cx:pt idx="78998">1</cx:pt>
          <cx:pt idx="78999">0</cx:pt>
          <cx:pt idx="79000">1</cx:pt>
          <cx:pt idx="79001">1</cx:pt>
          <cx:pt idx="79002">0</cx:pt>
          <cx:pt idx="79003">0</cx:pt>
          <cx:pt idx="79004">1</cx:pt>
          <cx:pt idx="79005">0</cx:pt>
          <cx:pt idx="79006">0</cx:pt>
          <cx:pt idx="79007">1</cx:pt>
          <cx:pt idx="79008">0</cx:pt>
          <cx:pt idx="79009">0</cx:pt>
          <cx:pt idx="79010">0</cx:pt>
          <cx:pt idx="79011">1</cx:pt>
          <cx:pt idx="79012">0</cx:pt>
          <cx:pt idx="79013">0</cx:pt>
          <cx:pt idx="79014">0</cx:pt>
          <cx:pt idx="79015">0</cx:pt>
          <cx:pt idx="79016">1</cx:pt>
          <cx:pt idx="79017">0</cx:pt>
          <cx:pt idx="79018">0</cx:pt>
          <cx:pt idx="79019">1</cx:pt>
          <cx:pt idx="79020">1</cx:pt>
          <cx:pt idx="79021">0</cx:pt>
          <cx:pt idx="79022">0</cx:pt>
          <cx:pt idx="79023">1</cx:pt>
          <cx:pt idx="79024">0</cx:pt>
          <cx:pt idx="79025">1</cx:pt>
          <cx:pt idx="79026">1</cx:pt>
          <cx:pt idx="79027">1</cx:pt>
          <cx:pt idx="79028">0</cx:pt>
          <cx:pt idx="79029">0</cx:pt>
          <cx:pt idx="79030">1</cx:pt>
          <cx:pt idx="79031">0</cx:pt>
          <cx:pt idx="79032">1</cx:pt>
          <cx:pt idx="79033">0</cx:pt>
          <cx:pt idx="79034">0</cx:pt>
          <cx:pt idx="79035">0</cx:pt>
          <cx:pt idx="79036">0</cx:pt>
          <cx:pt idx="79037">0</cx:pt>
          <cx:pt idx="79038">1</cx:pt>
          <cx:pt idx="79039">0</cx:pt>
          <cx:pt idx="79040">0</cx:pt>
          <cx:pt idx="79041">0</cx:pt>
          <cx:pt idx="79042">1</cx:pt>
          <cx:pt idx="79043">0</cx:pt>
          <cx:pt idx="79044">1</cx:pt>
          <cx:pt idx="79045">0</cx:pt>
          <cx:pt idx="79046">0</cx:pt>
          <cx:pt idx="79047">1</cx:pt>
          <cx:pt idx="79048">1</cx:pt>
          <cx:pt idx="79049">0</cx:pt>
          <cx:pt idx="79050">1</cx:pt>
          <cx:pt idx="79051">0</cx:pt>
          <cx:pt idx="79052">1</cx:pt>
          <cx:pt idx="79053">0</cx:pt>
          <cx:pt idx="79054">0</cx:pt>
          <cx:pt idx="79055">0</cx:pt>
          <cx:pt idx="79056">1</cx:pt>
          <cx:pt idx="79057">1</cx:pt>
          <cx:pt idx="79058">1</cx:pt>
          <cx:pt idx="79059">0</cx:pt>
          <cx:pt idx="79060">0</cx:pt>
          <cx:pt idx="79061">1</cx:pt>
          <cx:pt idx="79062">0</cx:pt>
          <cx:pt idx="79063">1</cx:pt>
          <cx:pt idx="79064">0</cx:pt>
          <cx:pt idx="79065">0</cx:pt>
          <cx:pt idx="79066">1</cx:pt>
          <cx:pt idx="79067">1</cx:pt>
          <cx:pt idx="79068">0</cx:pt>
          <cx:pt idx="79069">1</cx:pt>
          <cx:pt idx="79070">0</cx:pt>
          <cx:pt idx="79071">1</cx:pt>
          <cx:pt idx="79072">1</cx:pt>
          <cx:pt idx="79073">0</cx:pt>
          <cx:pt idx="79074">1</cx:pt>
          <cx:pt idx="79075">0</cx:pt>
          <cx:pt idx="79076">1</cx:pt>
          <cx:pt idx="79077">1</cx:pt>
          <cx:pt idx="79078">0</cx:pt>
          <cx:pt idx="79079">1</cx:pt>
          <cx:pt idx="79080">1</cx:pt>
          <cx:pt idx="79081">1</cx:pt>
          <cx:pt idx="79082">0</cx:pt>
          <cx:pt idx="79083">1</cx:pt>
          <cx:pt idx="79084">0</cx:pt>
          <cx:pt idx="79085">1</cx:pt>
          <cx:pt idx="79086">0</cx:pt>
          <cx:pt idx="79087">0</cx:pt>
          <cx:pt idx="79088">0</cx:pt>
          <cx:pt idx="79089">1</cx:pt>
          <cx:pt idx="79090">1</cx:pt>
          <cx:pt idx="79091">1</cx:pt>
          <cx:pt idx="79092">0</cx:pt>
          <cx:pt idx="79093">1</cx:pt>
          <cx:pt idx="79094">0</cx:pt>
          <cx:pt idx="79095">0</cx:pt>
          <cx:pt idx="79096">0</cx:pt>
          <cx:pt idx="79097">1</cx:pt>
          <cx:pt idx="79098">0</cx:pt>
          <cx:pt idx="79099">0</cx:pt>
          <cx:pt idx="79100">1</cx:pt>
          <cx:pt idx="79101">0</cx:pt>
          <cx:pt idx="79102">0</cx:pt>
          <cx:pt idx="79103">1</cx:pt>
          <cx:pt idx="79104">1</cx:pt>
          <cx:pt idx="79105">0</cx:pt>
          <cx:pt idx="79106">0</cx:pt>
          <cx:pt idx="79107">0</cx:pt>
          <cx:pt idx="79108">0</cx:pt>
          <cx:pt idx="79109">0</cx:pt>
          <cx:pt idx="79110">1</cx:pt>
          <cx:pt idx="79111">0</cx:pt>
          <cx:pt idx="79112">0</cx:pt>
          <cx:pt idx="79113">1</cx:pt>
          <cx:pt idx="79114">0</cx:pt>
          <cx:pt idx="79115">1</cx:pt>
          <cx:pt idx="79116">1</cx:pt>
          <cx:pt idx="79117">1</cx:pt>
          <cx:pt idx="79118">0</cx:pt>
          <cx:pt idx="79119">1</cx:pt>
          <cx:pt idx="79120">0</cx:pt>
          <cx:pt idx="79121">1</cx:pt>
          <cx:pt idx="79122">0</cx:pt>
          <cx:pt idx="79123">0</cx:pt>
          <cx:pt idx="79124">1</cx:pt>
          <cx:pt idx="79125">0</cx:pt>
          <cx:pt idx="79126">1</cx:pt>
          <cx:pt idx="79127">1</cx:pt>
          <cx:pt idx="79128">0</cx:pt>
          <cx:pt idx="79129">0</cx:pt>
          <cx:pt idx="79130">1</cx:pt>
          <cx:pt idx="79131">0</cx:pt>
          <cx:pt idx="79132">1</cx:pt>
          <cx:pt idx="79133">0</cx:pt>
          <cx:pt idx="79134">1</cx:pt>
          <cx:pt idx="79135">1</cx:pt>
          <cx:pt idx="79136">0</cx:pt>
          <cx:pt idx="79137">1</cx:pt>
          <cx:pt idx="79138">1</cx:pt>
          <cx:pt idx="79139">0</cx:pt>
          <cx:pt idx="79140">0</cx:pt>
          <cx:pt idx="79141">1</cx:pt>
          <cx:pt idx="79142">1</cx:pt>
          <cx:pt idx="79143">0</cx:pt>
          <cx:pt idx="79144">1</cx:pt>
          <cx:pt idx="79145">1</cx:pt>
          <cx:pt idx="79146">0</cx:pt>
          <cx:pt idx="79147">1</cx:pt>
          <cx:pt idx="79148">0</cx:pt>
          <cx:pt idx="79149">0</cx:pt>
          <cx:pt idx="79150">0</cx:pt>
          <cx:pt idx="79151">0</cx:pt>
          <cx:pt idx="79152">1</cx:pt>
          <cx:pt idx="79153">0</cx:pt>
          <cx:pt idx="79154">0</cx:pt>
          <cx:pt idx="79155">0</cx:pt>
          <cx:pt idx="79156">1</cx:pt>
          <cx:pt idx="79157">0</cx:pt>
          <cx:pt idx="79158">1</cx:pt>
          <cx:pt idx="79159">0</cx:pt>
          <cx:pt idx="79160">1</cx:pt>
          <cx:pt idx="79161">0</cx:pt>
          <cx:pt idx="79162">1</cx:pt>
          <cx:pt idx="79163">1</cx:pt>
          <cx:pt idx="79164">1</cx:pt>
          <cx:pt idx="79165">1</cx:pt>
          <cx:pt idx="79166">1</cx:pt>
          <cx:pt idx="79167">0</cx:pt>
          <cx:pt idx="79168">0</cx:pt>
          <cx:pt idx="79169">0</cx:pt>
          <cx:pt idx="79170">0</cx:pt>
          <cx:pt idx="79171">1</cx:pt>
          <cx:pt idx="79172">0</cx:pt>
          <cx:pt idx="79173">0</cx:pt>
          <cx:pt idx="79174">0</cx:pt>
          <cx:pt idx="79175">0</cx:pt>
          <cx:pt idx="79176">0</cx:pt>
          <cx:pt idx="79177">1</cx:pt>
          <cx:pt idx="79178">0</cx:pt>
          <cx:pt idx="79179">1</cx:pt>
          <cx:pt idx="79180">0</cx:pt>
          <cx:pt idx="79181">0</cx:pt>
          <cx:pt idx="79182">1</cx:pt>
          <cx:pt idx="79183">1</cx:pt>
          <cx:pt idx="79184">1</cx:pt>
          <cx:pt idx="79185">0</cx:pt>
          <cx:pt idx="79186">1</cx:pt>
          <cx:pt idx="79187">1</cx:pt>
          <cx:pt idx="79188">1</cx:pt>
          <cx:pt idx="79189">0</cx:pt>
          <cx:pt idx="79190">0</cx:pt>
          <cx:pt idx="79191">0</cx:pt>
          <cx:pt idx="79192">0</cx:pt>
          <cx:pt idx="79193">0</cx:pt>
          <cx:pt idx="79194">0</cx:pt>
          <cx:pt idx="79195">0</cx:pt>
          <cx:pt idx="79196">0</cx:pt>
          <cx:pt idx="79197">0</cx:pt>
          <cx:pt idx="79198">0</cx:pt>
          <cx:pt idx="79199">1</cx:pt>
          <cx:pt idx="79200">0</cx:pt>
          <cx:pt idx="79201">1</cx:pt>
          <cx:pt idx="79202">0</cx:pt>
          <cx:pt idx="79203">1</cx:pt>
          <cx:pt idx="79204">1</cx:pt>
          <cx:pt idx="79205">0</cx:pt>
          <cx:pt idx="79206">1</cx:pt>
          <cx:pt idx="79207">1</cx:pt>
          <cx:pt idx="79208">0</cx:pt>
          <cx:pt idx="79209">1</cx:pt>
          <cx:pt idx="79210">0</cx:pt>
          <cx:pt idx="79211">0</cx:pt>
          <cx:pt idx="79212">1</cx:pt>
          <cx:pt idx="79213">0</cx:pt>
          <cx:pt idx="79214">0</cx:pt>
          <cx:pt idx="79215">0</cx:pt>
          <cx:pt idx="79216">1</cx:pt>
          <cx:pt idx="79217">1</cx:pt>
          <cx:pt idx="79218">0</cx:pt>
          <cx:pt idx="79219">1</cx:pt>
          <cx:pt idx="79220">1</cx:pt>
          <cx:pt idx="79221">0</cx:pt>
          <cx:pt idx="79222">1</cx:pt>
          <cx:pt idx="79223">1</cx:pt>
          <cx:pt idx="79224">1</cx:pt>
          <cx:pt idx="79225">0</cx:pt>
          <cx:pt idx="79226">1</cx:pt>
          <cx:pt idx="79227">0</cx:pt>
          <cx:pt idx="79228">0</cx:pt>
          <cx:pt idx="79229">1</cx:pt>
          <cx:pt idx="79230">0</cx:pt>
          <cx:pt idx="79231">0</cx:pt>
          <cx:pt idx="79232">1</cx:pt>
          <cx:pt idx="79233">1</cx:pt>
          <cx:pt idx="79234">1</cx:pt>
          <cx:pt idx="79235">0</cx:pt>
          <cx:pt idx="79236">0</cx:pt>
          <cx:pt idx="79237">1</cx:pt>
          <cx:pt idx="79238">0</cx:pt>
          <cx:pt idx="79239">0</cx:pt>
          <cx:pt idx="79240">0</cx:pt>
          <cx:pt idx="79241">1</cx:pt>
          <cx:pt idx="79242">1</cx:pt>
          <cx:pt idx="79243">0</cx:pt>
          <cx:pt idx="79244">0</cx:pt>
          <cx:pt idx="79245">1</cx:pt>
          <cx:pt idx="79246">1</cx:pt>
          <cx:pt idx="79247">0</cx:pt>
          <cx:pt idx="79248">0</cx:pt>
          <cx:pt idx="79249">1</cx:pt>
          <cx:pt idx="79250">1</cx:pt>
          <cx:pt idx="79251">1</cx:pt>
          <cx:pt idx="79252">0</cx:pt>
          <cx:pt idx="79253">1</cx:pt>
          <cx:pt idx="79254">0</cx:pt>
          <cx:pt idx="79255">0</cx:pt>
          <cx:pt idx="79256">0</cx:pt>
          <cx:pt idx="79257">0</cx:pt>
          <cx:pt idx="79258">0</cx:pt>
          <cx:pt idx="79259">0</cx:pt>
          <cx:pt idx="79260">0</cx:pt>
          <cx:pt idx="79261">1</cx:pt>
          <cx:pt idx="79262">1</cx:pt>
          <cx:pt idx="79263">1</cx:pt>
          <cx:pt idx="79264">1</cx:pt>
          <cx:pt idx="79265">0</cx:pt>
          <cx:pt idx="79266">1</cx:pt>
          <cx:pt idx="79267">1</cx:pt>
          <cx:pt idx="79268">1</cx:pt>
          <cx:pt idx="79269">1</cx:pt>
          <cx:pt idx="79270">0</cx:pt>
          <cx:pt idx="79271">0</cx:pt>
          <cx:pt idx="79272">0</cx:pt>
          <cx:pt idx="79273">0</cx:pt>
          <cx:pt idx="79274">0</cx:pt>
          <cx:pt idx="79275">0</cx:pt>
          <cx:pt idx="79276">0</cx:pt>
          <cx:pt idx="79277">0</cx:pt>
          <cx:pt idx="79278">0</cx:pt>
          <cx:pt idx="79279">1</cx:pt>
          <cx:pt idx="79280">1</cx:pt>
          <cx:pt idx="79281">1</cx:pt>
          <cx:pt idx="79282">1</cx:pt>
          <cx:pt idx="79283">0</cx:pt>
          <cx:pt idx="79284">1</cx:pt>
          <cx:pt idx="79285">0</cx:pt>
          <cx:pt idx="79286">1</cx:pt>
          <cx:pt idx="79287">0</cx:pt>
          <cx:pt idx="79288">0</cx:pt>
          <cx:pt idx="79289">0</cx:pt>
          <cx:pt idx="79290">0</cx:pt>
          <cx:pt idx="79291">0</cx:pt>
          <cx:pt idx="79292">1</cx:pt>
          <cx:pt idx="79293">0</cx:pt>
          <cx:pt idx="79294">1</cx:pt>
          <cx:pt idx="79295">0</cx:pt>
          <cx:pt idx="79296">0</cx:pt>
          <cx:pt idx="79297">0</cx:pt>
          <cx:pt idx="79298">1</cx:pt>
          <cx:pt idx="79299">0</cx:pt>
          <cx:pt idx="79300">1</cx:pt>
          <cx:pt idx="79301">0</cx:pt>
          <cx:pt idx="79302">0</cx:pt>
          <cx:pt idx="79303">0</cx:pt>
          <cx:pt idx="79304">0</cx:pt>
          <cx:pt idx="79305">0</cx:pt>
          <cx:pt idx="79306">0</cx:pt>
          <cx:pt idx="79307">1</cx:pt>
          <cx:pt idx="79308">0</cx:pt>
          <cx:pt idx="79309">1</cx:pt>
          <cx:pt idx="79310">1</cx:pt>
          <cx:pt idx="79311">0</cx:pt>
          <cx:pt idx="79312">1</cx:pt>
          <cx:pt idx="79313">0</cx:pt>
          <cx:pt idx="79314">0</cx:pt>
          <cx:pt idx="79315">0</cx:pt>
          <cx:pt idx="79316">1</cx:pt>
          <cx:pt idx="79317">1</cx:pt>
          <cx:pt idx="79318">0</cx:pt>
          <cx:pt idx="79319">1</cx:pt>
          <cx:pt idx="79320">0</cx:pt>
          <cx:pt idx="79321">1</cx:pt>
          <cx:pt idx="79322">0</cx:pt>
          <cx:pt idx="79323">0</cx:pt>
          <cx:pt idx="79324">1</cx:pt>
          <cx:pt idx="79325">1</cx:pt>
          <cx:pt idx="79326">1</cx:pt>
          <cx:pt idx="79327">0</cx:pt>
          <cx:pt idx="79328">1</cx:pt>
          <cx:pt idx="79329">0</cx:pt>
          <cx:pt idx="79330">0</cx:pt>
          <cx:pt idx="79331">0</cx:pt>
          <cx:pt idx="79332">0</cx:pt>
          <cx:pt idx="79333">1</cx:pt>
          <cx:pt idx="79334">1</cx:pt>
          <cx:pt idx="79335">1</cx:pt>
          <cx:pt idx="79336">1</cx:pt>
          <cx:pt idx="79337">0</cx:pt>
          <cx:pt idx="79338">1</cx:pt>
          <cx:pt idx="79339">1</cx:pt>
          <cx:pt idx="79340">1</cx:pt>
          <cx:pt idx="79341">1</cx:pt>
          <cx:pt idx="79342">1</cx:pt>
          <cx:pt idx="79343">1</cx:pt>
          <cx:pt idx="79344">1</cx:pt>
          <cx:pt idx="79345">1</cx:pt>
          <cx:pt idx="79346">0</cx:pt>
          <cx:pt idx="79347">1</cx:pt>
          <cx:pt idx="79348">1</cx:pt>
          <cx:pt idx="79349">0</cx:pt>
          <cx:pt idx="79350">0</cx:pt>
          <cx:pt idx="79351">0</cx:pt>
          <cx:pt idx="79352">0</cx:pt>
          <cx:pt idx="79353">0</cx:pt>
          <cx:pt idx="79354">1</cx:pt>
          <cx:pt idx="79355">0</cx:pt>
          <cx:pt idx="79356">1</cx:pt>
          <cx:pt idx="79357">0</cx:pt>
          <cx:pt idx="79358">1</cx:pt>
          <cx:pt idx="79359">0</cx:pt>
          <cx:pt idx="79360">0</cx:pt>
          <cx:pt idx="79361">0</cx:pt>
          <cx:pt idx="79362">0</cx:pt>
          <cx:pt idx="79363">0</cx:pt>
          <cx:pt idx="79364">0</cx:pt>
          <cx:pt idx="79365">0</cx:pt>
          <cx:pt idx="79366">1</cx:pt>
          <cx:pt idx="79367">0</cx:pt>
          <cx:pt idx="79368">0</cx:pt>
          <cx:pt idx="79369">0</cx:pt>
          <cx:pt idx="79370">0</cx:pt>
          <cx:pt idx="79371">0</cx:pt>
          <cx:pt idx="79372">1</cx:pt>
          <cx:pt idx="79373">0</cx:pt>
          <cx:pt idx="79374">1</cx:pt>
          <cx:pt idx="79375">1</cx:pt>
          <cx:pt idx="79376">0</cx:pt>
          <cx:pt idx="79377">1</cx:pt>
          <cx:pt idx="79378">1</cx:pt>
          <cx:pt idx="79379">0</cx:pt>
          <cx:pt idx="79380">1</cx:pt>
          <cx:pt idx="79381">1</cx:pt>
          <cx:pt idx="79382">0</cx:pt>
          <cx:pt idx="79383">0</cx:pt>
          <cx:pt idx="79384">0</cx:pt>
          <cx:pt idx="79385">1</cx:pt>
          <cx:pt idx="79386">0</cx:pt>
          <cx:pt idx="79387">1</cx:pt>
          <cx:pt idx="79388">0</cx:pt>
          <cx:pt idx="79389">1</cx:pt>
          <cx:pt idx="79390">1</cx:pt>
          <cx:pt idx="79391">0</cx:pt>
          <cx:pt idx="79392">1</cx:pt>
          <cx:pt idx="79393">0</cx:pt>
          <cx:pt idx="79394">1</cx:pt>
          <cx:pt idx="79395">0</cx:pt>
          <cx:pt idx="79396">0</cx:pt>
          <cx:pt idx="79397">0</cx:pt>
          <cx:pt idx="79398">1</cx:pt>
          <cx:pt idx="79399">0</cx:pt>
          <cx:pt idx="79400">1</cx:pt>
          <cx:pt idx="79401">1</cx:pt>
          <cx:pt idx="79402">0</cx:pt>
          <cx:pt idx="79403">0</cx:pt>
          <cx:pt idx="79404">1</cx:pt>
          <cx:pt idx="79405">1</cx:pt>
          <cx:pt idx="79406">1</cx:pt>
          <cx:pt idx="79407">0</cx:pt>
          <cx:pt idx="79408">0</cx:pt>
          <cx:pt idx="79409">0</cx:pt>
          <cx:pt idx="79410">0</cx:pt>
          <cx:pt idx="79411">1</cx:pt>
          <cx:pt idx="79412">0</cx:pt>
          <cx:pt idx="79413">1</cx:pt>
          <cx:pt idx="79414">1</cx:pt>
          <cx:pt idx="79415">0</cx:pt>
          <cx:pt idx="79416">0</cx:pt>
          <cx:pt idx="79417">1</cx:pt>
          <cx:pt idx="79418">0</cx:pt>
          <cx:pt idx="79419">0</cx:pt>
          <cx:pt idx="79420">0</cx:pt>
          <cx:pt idx="79421">0</cx:pt>
          <cx:pt idx="79422">0</cx:pt>
          <cx:pt idx="79423">1</cx:pt>
          <cx:pt idx="79424">0</cx:pt>
          <cx:pt idx="79425">0</cx:pt>
          <cx:pt idx="79426">1</cx:pt>
          <cx:pt idx="79427">1</cx:pt>
          <cx:pt idx="79428">0</cx:pt>
          <cx:pt idx="79429">0</cx:pt>
          <cx:pt idx="79430">0</cx:pt>
          <cx:pt idx="79431">0</cx:pt>
          <cx:pt idx="79432">1</cx:pt>
          <cx:pt idx="79433">0</cx:pt>
          <cx:pt idx="79434">0</cx:pt>
          <cx:pt idx="79435">1</cx:pt>
          <cx:pt idx="79436">0</cx:pt>
          <cx:pt idx="79437">1</cx:pt>
          <cx:pt idx="79438">1</cx:pt>
          <cx:pt idx="79439">1</cx:pt>
          <cx:pt idx="79440">0</cx:pt>
          <cx:pt idx="79441">1</cx:pt>
          <cx:pt idx="79442">1</cx:pt>
          <cx:pt idx="79443">0</cx:pt>
          <cx:pt idx="79444">0</cx:pt>
          <cx:pt idx="79445">0</cx:pt>
          <cx:pt idx="79446">1</cx:pt>
          <cx:pt idx="79447">0</cx:pt>
          <cx:pt idx="79448">0</cx:pt>
          <cx:pt idx="79449">0</cx:pt>
          <cx:pt idx="79450">0</cx:pt>
          <cx:pt idx="79451">0</cx:pt>
          <cx:pt idx="79452">0</cx:pt>
          <cx:pt idx="79453">1</cx:pt>
          <cx:pt idx="79454">1</cx:pt>
          <cx:pt idx="79455">0</cx:pt>
          <cx:pt idx="79456">0</cx:pt>
          <cx:pt idx="79457">0</cx:pt>
          <cx:pt idx="79458">0</cx:pt>
          <cx:pt idx="79459">0</cx:pt>
          <cx:pt idx="79460">1</cx:pt>
          <cx:pt idx="79461">1</cx:pt>
          <cx:pt idx="79462">0</cx:pt>
          <cx:pt idx="79463">0</cx:pt>
          <cx:pt idx="79464">1</cx:pt>
          <cx:pt idx="79465">0</cx:pt>
          <cx:pt idx="79466">0</cx:pt>
          <cx:pt idx="79467">1</cx:pt>
          <cx:pt idx="79468">1</cx:pt>
          <cx:pt idx="79469">1</cx:pt>
          <cx:pt idx="79470">1</cx:pt>
          <cx:pt idx="79471">0</cx:pt>
          <cx:pt idx="79472">0</cx:pt>
          <cx:pt idx="79473">1</cx:pt>
          <cx:pt idx="79474">1</cx:pt>
          <cx:pt idx="79475">0</cx:pt>
          <cx:pt idx="79476">1</cx:pt>
          <cx:pt idx="79477">0</cx:pt>
          <cx:pt idx="79478">1</cx:pt>
          <cx:pt idx="79479">1</cx:pt>
          <cx:pt idx="79480">0</cx:pt>
          <cx:pt idx="79481">0</cx:pt>
          <cx:pt idx="79482">1</cx:pt>
          <cx:pt idx="79483">1</cx:pt>
          <cx:pt idx="79484">1</cx:pt>
          <cx:pt idx="79485">1</cx:pt>
          <cx:pt idx="79486">0</cx:pt>
          <cx:pt idx="79487">0</cx:pt>
          <cx:pt idx="79488">0</cx:pt>
          <cx:pt idx="79489">0</cx:pt>
          <cx:pt idx="79490">0</cx:pt>
          <cx:pt idx="79491">1</cx:pt>
          <cx:pt idx="79492">1</cx:pt>
          <cx:pt idx="79493">0</cx:pt>
          <cx:pt idx="79494">0</cx:pt>
          <cx:pt idx="79495">0</cx:pt>
          <cx:pt idx="79496">1</cx:pt>
          <cx:pt idx="79497">0</cx:pt>
          <cx:pt idx="79498">0</cx:pt>
          <cx:pt idx="79499">0</cx:pt>
          <cx:pt idx="79500">0</cx:pt>
          <cx:pt idx="79501">0</cx:pt>
          <cx:pt idx="79502">0</cx:pt>
          <cx:pt idx="79503">1</cx:pt>
          <cx:pt idx="79504">1</cx:pt>
          <cx:pt idx="79505">0</cx:pt>
          <cx:pt idx="79506">0</cx:pt>
          <cx:pt idx="79507">0</cx:pt>
          <cx:pt idx="79508">1</cx:pt>
          <cx:pt idx="79509">0</cx:pt>
          <cx:pt idx="79510">0</cx:pt>
          <cx:pt idx="79511">1</cx:pt>
          <cx:pt idx="79512">0</cx:pt>
          <cx:pt idx="79513">0</cx:pt>
          <cx:pt idx="79514">0</cx:pt>
          <cx:pt idx="79515">1</cx:pt>
          <cx:pt idx="79516">0</cx:pt>
          <cx:pt idx="79517">1</cx:pt>
          <cx:pt idx="79518">1</cx:pt>
          <cx:pt idx="79519">1</cx:pt>
          <cx:pt idx="79520">0</cx:pt>
          <cx:pt idx="79521">1</cx:pt>
          <cx:pt idx="79522">0</cx:pt>
          <cx:pt idx="79523">1</cx:pt>
          <cx:pt idx="79524">1</cx:pt>
          <cx:pt idx="79525">0</cx:pt>
          <cx:pt idx="79526">0</cx:pt>
          <cx:pt idx="79527">0</cx:pt>
          <cx:pt idx="79528">1</cx:pt>
          <cx:pt idx="79529">1</cx:pt>
          <cx:pt idx="79530">1</cx:pt>
          <cx:pt idx="79531">1</cx:pt>
          <cx:pt idx="79532">0</cx:pt>
          <cx:pt idx="79533">0</cx:pt>
          <cx:pt idx="79534">1</cx:pt>
          <cx:pt idx="79535">1</cx:pt>
          <cx:pt idx="79536">0</cx:pt>
          <cx:pt idx="79537">1</cx:pt>
          <cx:pt idx="79538">0</cx:pt>
          <cx:pt idx="79539">1</cx:pt>
          <cx:pt idx="79540">0</cx:pt>
          <cx:pt idx="79541">1</cx:pt>
          <cx:pt idx="79542">0</cx:pt>
          <cx:pt idx="79543">1</cx:pt>
          <cx:pt idx="79544">1</cx:pt>
          <cx:pt idx="79545">1</cx:pt>
          <cx:pt idx="79546">1</cx:pt>
          <cx:pt idx="79547">0</cx:pt>
          <cx:pt idx="79548">0</cx:pt>
          <cx:pt idx="79549">0</cx:pt>
          <cx:pt idx="79550">1</cx:pt>
          <cx:pt idx="79551">0</cx:pt>
          <cx:pt idx="79552">1</cx:pt>
          <cx:pt idx="79553">1</cx:pt>
          <cx:pt idx="79554">0</cx:pt>
          <cx:pt idx="79555">1</cx:pt>
          <cx:pt idx="79556">0</cx:pt>
          <cx:pt idx="79557">1</cx:pt>
          <cx:pt idx="79558">0</cx:pt>
          <cx:pt idx="79559">1</cx:pt>
          <cx:pt idx="79560">1</cx:pt>
          <cx:pt idx="79561">1</cx:pt>
          <cx:pt idx="79562">0</cx:pt>
          <cx:pt idx="79563">1</cx:pt>
          <cx:pt idx="79564">0</cx:pt>
          <cx:pt idx="79565">1</cx:pt>
          <cx:pt idx="79566">0</cx:pt>
          <cx:pt idx="79567">0</cx:pt>
          <cx:pt idx="79568">0</cx:pt>
          <cx:pt idx="79569">0</cx:pt>
          <cx:pt idx="79570">1</cx:pt>
          <cx:pt idx="79571">0</cx:pt>
          <cx:pt idx="79572">1</cx:pt>
          <cx:pt idx="79573">0</cx:pt>
          <cx:pt idx="79574">1</cx:pt>
          <cx:pt idx="79575">0</cx:pt>
          <cx:pt idx="79576">0</cx:pt>
          <cx:pt idx="79577">0</cx:pt>
          <cx:pt idx="79578">1</cx:pt>
          <cx:pt idx="79579">1</cx:pt>
          <cx:pt idx="79580">0</cx:pt>
          <cx:pt idx="79581">1</cx:pt>
          <cx:pt idx="79582">0</cx:pt>
          <cx:pt idx="79583">0</cx:pt>
          <cx:pt idx="79584">1</cx:pt>
          <cx:pt idx="79585">1</cx:pt>
          <cx:pt idx="79586">0</cx:pt>
          <cx:pt idx="79587">1</cx:pt>
          <cx:pt idx="79588">0</cx:pt>
          <cx:pt idx="79589">0</cx:pt>
          <cx:pt idx="79590">0</cx:pt>
          <cx:pt idx="79591">0</cx:pt>
          <cx:pt idx="79592">1</cx:pt>
          <cx:pt idx="79593">1</cx:pt>
          <cx:pt idx="79594">1</cx:pt>
          <cx:pt idx="79595">0</cx:pt>
          <cx:pt idx="79596">0</cx:pt>
          <cx:pt idx="79597">0</cx:pt>
          <cx:pt idx="79598">0</cx:pt>
          <cx:pt idx="79599">0</cx:pt>
          <cx:pt idx="79600">0</cx:pt>
          <cx:pt idx="79601">0</cx:pt>
          <cx:pt idx="79602">1</cx:pt>
          <cx:pt idx="79603">0</cx:pt>
          <cx:pt idx="79604">1</cx:pt>
          <cx:pt idx="79605">1</cx:pt>
          <cx:pt idx="79606">1</cx:pt>
          <cx:pt idx="79607">0</cx:pt>
          <cx:pt idx="79608">0</cx:pt>
          <cx:pt idx="79609">0</cx:pt>
          <cx:pt idx="79610">0</cx:pt>
          <cx:pt idx="79611">1</cx:pt>
          <cx:pt idx="79612">1</cx:pt>
          <cx:pt idx="79613">0</cx:pt>
          <cx:pt idx="79614">0</cx:pt>
          <cx:pt idx="79615">1</cx:pt>
          <cx:pt idx="79616">0</cx:pt>
          <cx:pt idx="79617">0</cx:pt>
          <cx:pt idx="79618">0</cx:pt>
          <cx:pt idx="79619">0</cx:pt>
          <cx:pt idx="79620">0</cx:pt>
          <cx:pt idx="79621">1</cx:pt>
          <cx:pt idx="79622">0</cx:pt>
          <cx:pt idx="79623">0</cx:pt>
          <cx:pt idx="79624">0</cx:pt>
          <cx:pt idx="79625">0</cx:pt>
          <cx:pt idx="79626">0</cx:pt>
          <cx:pt idx="79627">1</cx:pt>
          <cx:pt idx="79628">0</cx:pt>
          <cx:pt idx="79629">1</cx:pt>
          <cx:pt idx="79630">1</cx:pt>
          <cx:pt idx="79631">0</cx:pt>
          <cx:pt idx="79632">0</cx:pt>
          <cx:pt idx="79633">1</cx:pt>
          <cx:pt idx="79634">1</cx:pt>
          <cx:pt idx="79635">0</cx:pt>
          <cx:pt idx="79636">1</cx:pt>
          <cx:pt idx="79637">1</cx:pt>
          <cx:pt idx="79638">1</cx:pt>
          <cx:pt idx="79639">0</cx:pt>
          <cx:pt idx="79640">0</cx:pt>
          <cx:pt idx="79641">1</cx:pt>
          <cx:pt idx="79642">1</cx:pt>
          <cx:pt idx="79643">1</cx:pt>
          <cx:pt idx="79644">1</cx:pt>
          <cx:pt idx="79645">0</cx:pt>
          <cx:pt idx="79646">0</cx:pt>
          <cx:pt idx="79647">0</cx:pt>
          <cx:pt idx="79648">1</cx:pt>
          <cx:pt idx="79649">0</cx:pt>
          <cx:pt idx="79650">1</cx:pt>
          <cx:pt idx="79651">0</cx:pt>
          <cx:pt idx="79652">0</cx:pt>
          <cx:pt idx="79653">1</cx:pt>
          <cx:pt idx="79654">1</cx:pt>
          <cx:pt idx="79655">0</cx:pt>
          <cx:pt idx="79656">1</cx:pt>
          <cx:pt idx="79657">1</cx:pt>
          <cx:pt idx="79658">1</cx:pt>
          <cx:pt idx="79659">0</cx:pt>
          <cx:pt idx="79660">0</cx:pt>
          <cx:pt idx="79661">1</cx:pt>
          <cx:pt idx="79662">0</cx:pt>
          <cx:pt idx="79663">1</cx:pt>
          <cx:pt idx="79664">1</cx:pt>
          <cx:pt idx="79665">0</cx:pt>
          <cx:pt idx="79666">0</cx:pt>
          <cx:pt idx="79667">0</cx:pt>
          <cx:pt idx="79668">1</cx:pt>
          <cx:pt idx="79669">1</cx:pt>
          <cx:pt idx="79670">1</cx:pt>
          <cx:pt idx="79671">1</cx:pt>
          <cx:pt idx="79672">1</cx:pt>
          <cx:pt idx="79673">0</cx:pt>
          <cx:pt idx="79674">1</cx:pt>
          <cx:pt idx="79675">0</cx:pt>
          <cx:pt idx="79676">0</cx:pt>
          <cx:pt idx="79677">0</cx:pt>
          <cx:pt idx="79678">1</cx:pt>
          <cx:pt idx="79679">0</cx:pt>
          <cx:pt idx="79680">1</cx:pt>
          <cx:pt idx="79681">0</cx:pt>
          <cx:pt idx="79682">0</cx:pt>
          <cx:pt idx="79683">0</cx:pt>
          <cx:pt idx="79684">1</cx:pt>
          <cx:pt idx="79685">1</cx:pt>
          <cx:pt idx="79686">1</cx:pt>
          <cx:pt idx="79687">1</cx:pt>
          <cx:pt idx="79688">0</cx:pt>
          <cx:pt idx="79689">1</cx:pt>
          <cx:pt idx="79690">0</cx:pt>
          <cx:pt idx="79691">1</cx:pt>
          <cx:pt idx="79692">0</cx:pt>
          <cx:pt idx="79693">1</cx:pt>
          <cx:pt idx="79694">1</cx:pt>
          <cx:pt idx="79695">1</cx:pt>
          <cx:pt idx="79696">0</cx:pt>
          <cx:pt idx="79697">0</cx:pt>
          <cx:pt idx="79698">1</cx:pt>
          <cx:pt idx="79699">1</cx:pt>
          <cx:pt idx="79700">0</cx:pt>
          <cx:pt idx="79701">1</cx:pt>
          <cx:pt idx="79702">0</cx:pt>
          <cx:pt idx="79703">0</cx:pt>
          <cx:pt idx="79704">0</cx:pt>
          <cx:pt idx="79705">1</cx:pt>
          <cx:pt idx="79706">0</cx:pt>
          <cx:pt idx="79707">1</cx:pt>
          <cx:pt idx="79708">0</cx:pt>
          <cx:pt idx="79709">0</cx:pt>
          <cx:pt idx="79710">0</cx:pt>
          <cx:pt idx="79711">1</cx:pt>
          <cx:pt idx="79712">0</cx:pt>
          <cx:pt idx="79713">0</cx:pt>
          <cx:pt idx="79714">0</cx:pt>
          <cx:pt idx="79715">0</cx:pt>
          <cx:pt idx="79716">0</cx:pt>
          <cx:pt idx="79717">1</cx:pt>
          <cx:pt idx="79718">1</cx:pt>
          <cx:pt idx="79719">0</cx:pt>
          <cx:pt idx="79720">1</cx:pt>
          <cx:pt idx="79721">1</cx:pt>
          <cx:pt idx="79722">1</cx:pt>
          <cx:pt idx="79723">0</cx:pt>
          <cx:pt idx="79724">0</cx:pt>
          <cx:pt idx="79725">1</cx:pt>
          <cx:pt idx="79726">1</cx:pt>
          <cx:pt idx="79727">1</cx:pt>
          <cx:pt idx="79728">0</cx:pt>
          <cx:pt idx="79729">1</cx:pt>
          <cx:pt idx="79730">1</cx:pt>
          <cx:pt idx="79731">0</cx:pt>
          <cx:pt idx="79732">0</cx:pt>
          <cx:pt idx="79733">0</cx:pt>
          <cx:pt idx="79734">0</cx:pt>
          <cx:pt idx="79735">1</cx:pt>
          <cx:pt idx="79736">0</cx:pt>
          <cx:pt idx="79737">0</cx:pt>
          <cx:pt idx="79738">0</cx:pt>
          <cx:pt idx="79739">0</cx:pt>
          <cx:pt idx="79740">0</cx:pt>
          <cx:pt idx="79741">1</cx:pt>
          <cx:pt idx="79742">1</cx:pt>
          <cx:pt idx="79743">0</cx:pt>
          <cx:pt idx="79744">0</cx:pt>
          <cx:pt idx="79745">1</cx:pt>
          <cx:pt idx="79746">0</cx:pt>
          <cx:pt idx="79747">0</cx:pt>
          <cx:pt idx="79748">0</cx:pt>
          <cx:pt idx="79749">0</cx:pt>
          <cx:pt idx="79750">1</cx:pt>
          <cx:pt idx="79751">1</cx:pt>
          <cx:pt idx="79752">0</cx:pt>
          <cx:pt idx="79753">0</cx:pt>
          <cx:pt idx="79754">0</cx:pt>
          <cx:pt idx="79755">1</cx:pt>
          <cx:pt idx="79756">0</cx:pt>
          <cx:pt idx="79757">0</cx:pt>
          <cx:pt idx="79758">0</cx:pt>
          <cx:pt idx="79759">0</cx:pt>
          <cx:pt idx="79760">0</cx:pt>
          <cx:pt idx="79761">1</cx:pt>
          <cx:pt idx="79762">0</cx:pt>
          <cx:pt idx="79763">0</cx:pt>
          <cx:pt idx="79764">1</cx:pt>
          <cx:pt idx="79765">1</cx:pt>
          <cx:pt idx="79766">0</cx:pt>
          <cx:pt idx="79767">0</cx:pt>
          <cx:pt idx="79768">0</cx:pt>
          <cx:pt idx="79769">1</cx:pt>
          <cx:pt idx="79770">1</cx:pt>
          <cx:pt idx="79771">0</cx:pt>
          <cx:pt idx="79772">1</cx:pt>
          <cx:pt idx="79773">0</cx:pt>
          <cx:pt idx="79774">1</cx:pt>
          <cx:pt idx="79775">1</cx:pt>
          <cx:pt idx="79776">1</cx:pt>
          <cx:pt idx="79777">0</cx:pt>
          <cx:pt idx="79778">0</cx:pt>
          <cx:pt idx="79779">0</cx:pt>
          <cx:pt idx="79780">1</cx:pt>
          <cx:pt idx="79781">0</cx:pt>
          <cx:pt idx="79782">0</cx:pt>
          <cx:pt idx="79783">1</cx:pt>
          <cx:pt idx="79784">1</cx:pt>
          <cx:pt idx="79785">0</cx:pt>
          <cx:pt idx="79786">1</cx:pt>
          <cx:pt idx="79787">1</cx:pt>
          <cx:pt idx="79788">0</cx:pt>
          <cx:pt idx="79789">0</cx:pt>
          <cx:pt idx="79790">1</cx:pt>
          <cx:pt idx="79791">1</cx:pt>
          <cx:pt idx="79792">0</cx:pt>
          <cx:pt idx="79793">1</cx:pt>
          <cx:pt idx="79794">0</cx:pt>
          <cx:pt idx="79795">0</cx:pt>
          <cx:pt idx="79796">1</cx:pt>
          <cx:pt idx="79797">0</cx:pt>
          <cx:pt idx="79798">0</cx:pt>
          <cx:pt idx="79799">0</cx:pt>
          <cx:pt idx="79800">1</cx:pt>
          <cx:pt idx="79801">0</cx:pt>
          <cx:pt idx="79802">1</cx:pt>
          <cx:pt idx="79803">1</cx:pt>
          <cx:pt idx="79804">1</cx:pt>
          <cx:pt idx="79805">1</cx:pt>
          <cx:pt idx="79806">0</cx:pt>
          <cx:pt idx="79807">0</cx:pt>
          <cx:pt idx="79808">0</cx:pt>
          <cx:pt idx="79809">1</cx:pt>
          <cx:pt idx="79810">0</cx:pt>
          <cx:pt idx="79811">1</cx:pt>
          <cx:pt idx="79812">0</cx:pt>
          <cx:pt idx="79813">0</cx:pt>
          <cx:pt idx="79814">1</cx:pt>
          <cx:pt idx="79815">0</cx:pt>
          <cx:pt idx="79816">0</cx:pt>
          <cx:pt idx="79817">1</cx:pt>
          <cx:pt idx="79818">1</cx:pt>
          <cx:pt idx="79819">0</cx:pt>
          <cx:pt idx="79820">1</cx:pt>
          <cx:pt idx="79821">0</cx:pt>
          <cx:pt idx="79822">0</cx:pt>
          <cx:pt idx="79823">0</cx:pt>
          <cx:pt idx="79824">0</cx:pt>
          <cx:pt idx="79825">1</cx:pt>
          <cx:pt idx="79826">1</cx:pt>
          <cx:pt idx="79827">0</cx:pt>
          <cx:pt idx="79828">0</cx:pt>
          <cx:pt idx="79829">1</cx:pt>
          <cx:pt idx="79830">0</cx:pt>
          <cx:pt idx="79831">0</cx:pt>
          <cx:pt idx="79832">0</cx:pt>
          <cx:pt idx="79833">0</cx:pt>
          <cx:pt idx="79834">0</cx:pt>
          <cx:pt idx="79835">1</cx:pt>
          <cx:pt idx="79836">1</cx:pt>
          <cx:pt idx="79837">1</cx:pt>
          <cx:pt idx="79838">0</cx:pt>
          <cx:pt idx="79839">0</cx:pt>
          <cx:pt idx="79840">1</cx:pt>
          <cx:pt idx="79841">0</cx:pt>
          <cx:pt idx="79842">0</cx:pt>
          <cx:pt idx="79843">1</cx:pt>
          <cx:pt idx="79844">1</cx:pt>
          <cx:pt idx="79845">1</cx:pt>
          <cx:pt idx="79846">1</cx:pt>
          <cx:pt idx="79847">0</cx:pt>
          <cx:pt idx="79848">0</cx:pt>
          <cx:pt idx="79849">1</cx:pt>
          <cx:pt idx="79850">0</cx:pt>
          <cx:pt idx="79851">1</cx:pt>
          <cx:pt idx="79852">1</cx:pt>
          <cx:pt idx="79853">1</cx:pt>
          <cx:pt idx="79854">1</cx:pt>
          <cx:pt idx="79855">1</cx:pt>
          <cx:pt idx="79856">0</cx:pt>
          <cx:pt idx="79857">0</cx:pt>
          <cx:pt idx="79858">1</cx:pt>
          <cx:pt idx="79859">1</cx:pt>
          <cx:pt idx="79860">1</cx:pt>
          <cx:pt idx="79861">0</cx:pt>
          <cx:pt idx="79862">0</cx:pt>
          <cx:pt idx="79863">0</cx:pt>
          <cx:pt idx="79864">0</cx:pt>
          <cx:pt idx="79865">0</cx:pt>
          <cx:pt idx="79866">0</cx:pt>
          <cx:pt idx="79867">0</cx:pt>
          <cx:pt idx="79868">0</cx:pt>
          <cx:pt idx="79869">0</cx:pt>
          <cx:pt idx="79870">0</cx:pt>
          <cx:pt idx="79871">1</cx:pt>
          <cx:pt idx="79872">0</cx:pt>
          <cx:pt idx="79873">1</cx:pt>
          <cx:pt idx="79874">1</cx:pt>
          <cx:pt idx="79875">0</cx:pt>
          <cx:pt idx="79876">1</cx:pt>
          <cx:pt idx="79877">1</cx:pt>
          <cx:pt idx="79878">0</cx:pt>
          <cx:pt idx="79879">1</cx:pt>
          <cx:pt idx="79880">0</cx:pt>
          <cx:pt idx="79881">1</cx:pt>
          <cx:pt idx="79882">0</cx:pt>
          <cx:pt idx="79883">0</cx:pt>
          <cx:pt idx="79884">0</cx:pt>
          <cx:pt idx="79885">1</cx:pt>
          <cx:pt idx="79886">0</cx:pt>
          <cx:pt idx="79887">0</cx:pt>
          <cx:pt idx="79888">1</cx:pt>
          <cx:pt idx="79889">0</cx:pt>
          <cx:pt idx="79890">0</cx:pt>
          <cx:pt idx="79891">0</cx:pt>
          <cx:pt idx="79892">1</cx:pt>
          <cx:pt idx="79893">0</cx:pt>
          <cx:pt idx="79894">0</cx:pt>
          <cx:pt idx="79895">0</cx:pt>
          <cx:pt idx="79896">1</cx:pt>
          <cx:pt idx="79897">0</cx:pt>
          <cx:pt idx="79898">0</cx:pt>
          <cx:pt idx="79899">0</cx:pt>
          <cx:pt idx="79900">0</cx:pt>
          <cx:pt idx="79901">0</cx:pt>
          <cx:pt idx="79902">0</cx:pt>
          <cx:pt idx="79903">1</cx:pt>
          <cx:pt idx="79904">0</cx:pt>
          <cx:pt idx="79905">1</cx:pt>
          <cx:pt idx="79906">1</cx:pt>
          <cx:pt idx="79907">0</cx:pt>
          <cx:pt idx="79908">1</cx:pt>
          <cx:pt idx="79909">0</cx:pt>
          <cx:pt idx="79910">0</cx:pt>
          <cx:pt idx="79911">1</cx:pt>
          <cx:pt idx="79912">1</cx:pt>
          <cx:pt idx="79913">0</cx:pt>
          <cx:pt idx="79914">1</cx:pt>
          <cx:pt idx="79915">0</cx:pt>
          <cx:pt idx="79916">1</cx:pt>
          <cx:pt idx="79917">1</cx:pt>
          <cx:pt idx="79918">1</cx:pt>
          <cx:pt idx="79919">0</cx:pt>
          <cx:pt idx="79920">0</cx:pt>
          <cx:pt idx="79921">1</cx:pt>
          <cx:pt idx="79922">0</cx:pt>
          <cx:pt idx="79923">0</cx:pt>
          <cx:pt idx="79924">0</cx:pt>
          <cx:pt idx="79925">0</cx:pt>
          <cx:pt idx="79926">0</cx:pt>
          <cx:pt idx="79927">1</cx:pt>
          <cx:pt idx="79928">0</cx:pt>
          <cx:pt idx="79929">0</cx:pt>
          <cx:pt idx="79930">0</cx:pt>
          <cx:pt idx="79931">1</cx:pt>
          <cx:pt idx="79932">1</cx:pt>
          <cx:pt idx="79933">1</cx:pt>
          <cx:pt idx="79934">1</cx:pt>
          <cx:pt idx="79935">0</cx:pt>
          <cx:pt idx="79936">0</cx:pt>
          <cx:pt idx="79937">0</cx:pt>
          <cx:pt idx="79938">1</cx:pt>
          <cx:pt idx="79939">0</cx:pt>
          <cx:pt idx="79940">1</cx:pt>
          <cx:pt idx="79941">1</cx:pt>
          <cx:pt idx="79942">0</cx:pt>
          <cx:pt idx="79943">1</cx:pt>
          <cx:pt idx="79944">0</cx:pt>
          <cx:pt idx="79945">0</cx:pt>
          <cx:pt idx="79946">0</cx:pt>
          <cx:pt idx="79947">0</cx:pt>
          <cx:pt idx="79948">1</cx:pt>
          <cx:pt idx="79949">1</cx:pt>
          <cx:pt idx="79950">0</cx:pt>
          <cx:pt idx="79951">0</cx:pt>
          <cx:pt idx="79952">1</cx:pt>
          <cx:pt idx="79953">0</cx:pt>
          <cx:pt idx="79954">1</cx:pt>
          <cx:pt idx="79955">0</cx:pt>
          <cx:pt idx="79956">1</cx:pt>
          <cx:pt idx="79957">0</cx:pt>
          <cx:pt idx="79958">1</cx:pt>
          <cx:pt idx="79959">0</cx:pt>
          <cx:pt idx="79960">1</cx:pt>
          <cx:pt idx="79961">0</cx:pt>
          <cx:pt idx="79962">1</cx:pt>
          <cx:pt idx="79963">0</cx:pt>
          <cx:pt idx="79964">0</cx:pt>
          <cx:pt idx="79965">1</cx:pt>
          <cx:pt idx="79966">1</cx:pt>
          <cx:pt idx="79967">0</cx:pt>
          <cx:pt idx="79968">1</cx:pt>
          <cx:pt idx="79969">1</cx:pt>
          <cx:pt idx="79970">1</cx:pt>
          <cx:pt idx="79971">0</cx:pt>
          <cx:pt idx="79972">0</cx:pt>
          <cx:pt idx="79973">0</cx:pt>
          <cx:pt idx="79974">1</cx:pt>
          <cx:pt idx="79975">0</cx:pt>
          <cx:pt idx="79976">0</cx:pt>
          <cx:pt idx="79977">0</cx:pt>
          <cx:pt idx="79978">0</cx:pt>
          <cx:pt idx="79979">0</cx:pt>
          <cx:pt idx="79980">1</cx:pt>
          <cx:pt idx="79981">0</cx:pt>
          <cx:pt idx="79982">0</cx:pt>
          <cx:pt idx="79983">0</cx:pt>
          <cx:pt idx="79984">0</cx:pt>
          <cx:pt idx="79985">0</cx:pt>
          <cx:pt idx="79986">1</cx:pt>
          <cx:pt idx="79987">0</cx:pt>
          <cx:pt idx="79988">0</cx:pt>
          <cx:pt idx="79989">1</cx:pt>
          <cx:pt idx="79990">1</cx:pt>
          <cx:pt idx="79991">1</cx:pt>
          <cx:pt idx="79992">1</cx:pt>
          <cx:pt idx="79993">0</cx:pt>
          <cx:pt idx="79994">0</cx:pt>
          <cx:pt idx="79995">0</cx:pt>
          <cx:pt idx="79996">1</cx:pt>
          <cx:pt idx="79997">0</cx:pt>
          <cx:pt idx="79998">0</cx:pt>
          <cx:pt idx="79999">1</cx:pt>
          <cx:pt idx="80000">1</cx:pt>
          <cx:pt idx="80001">0</cx:pt>
          <cx:pt idx="80002">0</cx:pt>
          <cx:pt idx="80003">1</cx:pt>
          <cx:pt idx="80004">1</cx:pt>
          <cx:pt idx="80005">1</cx:pt>
          <cx:pt idx="80006">0</cx:pt>
          <cx:pt idx="80007">0</cx:pt>
          <cx:pt idx="80008">1</cx:pt>
          <cx:pt idx="80009">1</cx:pt>
          <cx:pt idx="80010">1</cx:pt>
          <cx:pt idx="80011">0</cx:pt>
          <cx:pt idx="80012">1</cx:pt>
          <cx:pt idx="80013">0</cx:pt>
          <cx:pt idx="80014">0</cx:pt>
          <cx:pt idx="80015">1</cx:pt>
          <cx:pt idx="80016">0</cx:pt>
          <cx:pt idx="80017">1</cx:pt>
          <cx:pt idx="80018">0</cx:pt>
          <cx:pt idx="80019">0</cx:pt>
          <cx:pt idx="80020">0</cx:pt>
          <cx:pt idx="80021">1</cx:pt>
          <cx:pt idx="80022">0</cx:pt>
          <cx:pt idx="80023">0</cx:pt>
          <cx:pt idx="80024">0</cx:pt>
          <cx:pt idx="80025">0</cx:pt>
          <cx:pt idx="80026">1</cx:pt>
          <cx:pt idx="80027">1</cx:pt>
          <cx:pt idx="80028">0</cx:pt>
          <cx:pt idx="80029">1</cx:pt>
          <cx:pt idx="80030">0</cx:pt>
          <cx:pt idx="80031">1</cx:pt>
          <cx:pt idx="80032">1</cx:pt>
          <cx:pt idx="80033">0</cx:pt>
          <cx:pt idx="80034">0</cx:pt>
          <cx:pt idx="80035">0</cx:pt>
          <cx:pt idx="80036">0</cx:pt>
          <cx:pt idx="80037">1</cx:pt>
          <cx:pt idx="80038">1</cx:pt>
          <cx:pt idx="80039">1</cx:pt>
          <cx:pt idx="80040">0</cx:pt>
          <cx:pt idx="80041">0</cx:pt>
          <cx:pt idx="80042">0</cx:pt>
          <cx:pt idx="80043">1</cx:pt>
          <cx:pt idx="80044">1</cx:pt>
          <cx:pt idx="80045">0</cx:pt>
          <cx:pt idx="80046">0</cx:pt>
          <cx:pt idx="80047">1</cx:pt>
          <cx:pt idx="80048">0</cx:pt>
          <cx:pt idx="80049">1</cx:pt>
          <cx:pt idx="80050">0</cx:pt>
          <cx:pt idx="80051">0</cx:pt>
          <cx:pt idx="80052">1</cx:pt>
          <cx:pt idx="80053">0</cx:pt>
          <cx:pt idx="80054">0</cx:pt>
          <cx:pt idx="80055">0</cx:pt>
          <cx:pt idx="80056">1</cx:pt>
          <cx:pt idx="80057">1</cx:pt>
          <cx:pt idx="80058">1</cx:pt>
          <cx:pt idx="80059">0</cx:pt>
          <cx:pt idx="80060">0</cx:pt>
          <cx:pt idx="80061">0</cx:pt>
          <cx:pt idx="80062">0</cx:pt>
          <cx:pt idx="80063">0</cx:pt>
          <cx:pt idx="80064">1</cx:pt>
          <cx:pt idx="80065">1</cx:pt>
          <cx:pt idx="80066">0</cx:pt>
          <cx:pt idx="80067">1</cx:pt>
          <cx:pt idx="80068">1</cx:pt>
          <cx:pt idx="80069">1</cx:pt>
          <cx:pt idx="80070">0</cx:pt>
          <cx:pt idx="80071">0</cx:pt>
          <cx:pt idx="80072">0</cx:pt>
          <cx:pt idx="80073">0</cx:pt>
          <cx:pt idx="80074">0</cx:pt>
          <cx:pt idx="80075">0</cx:pt>
          <cx:pt idx="80076">1</cx:pt>
          <cx:pt idx="80077">1</cx:pt>
          <cx:pt idx="80078">1</cx:pt>
          <cx:pt idx="80079">1</cx:pt>
          <cx:pt idx="80080">0</cx:pt>
          <cx:pt idx="80081">0</cx:pt>
          <cx:pt idx="80082">0</cx:pt>
          <cx:pt idx="80083">0</cx:pt>
          <cx:pt idx="80084">0</cx:pt>
          <cx:pt idx="80085">0</cx:pt>
          <cx:pt idx="80086">0</cx:pt>
          <cx:pt idx="80087">0</cx:pt>
          <cx:pt idx="80088">0</cx:pt>
          <cx:pt idx="80089">0</cx:pt>
          <cx:pt idx="80090">0</cx:pt>
          <cx:pt idx="80091">0</cx:pt>
          <cx:pt idx="80092">0</cx:pt>
          <cx:pt idx="80093">1</cx:pt>
          <cx:pt idx="80094">0</cx:pt>
          <cx:pt idx="80095">0</cx:pt>
          <cx:pt idx="80096">1</cx:pt>
          <cx:pt idx="80097">1</cx:pt>
          <cx:pt idx="80098">0</cx:pt>
          <cx:pt idx="80099">1</cx:pt>
          <cx:pt idx="80100">0</cx:pt>
          <cx:pt idx="80101">1</cx:pt>
          <cx:pt idx="80102">0</cx:pt>
          <cx:pt idx="80103">1</cx:pt>
          <cx:pt idx="80104">0</cx:pt>
          <cx:pt idx="80105">1</cx:pt>
          <cx:pt idx="80106">1</cx:pt>
          <cx:pt idx="80107">1</cx:pt>
          <cx:pt idx="80108">1</cx:pt>
          <cx:pt idx="80109">1</cx:pt>
          <cx:pt idx="80110">0</cx:pt>
          <cx:pt idx="80111">0</cx:pt>
          <cx:pt idx="80112">0</cx:pt>
          <cx:pt idx="80113">0</cx:pt>
          <cx:pt idx="80114">1</cx:pt>
          <cx:pt idx="80115">1</cx:pt>
          <cx:pt idx="80116">1</cx:pt>
          <cx:pt idx="80117">1</cx:pt>
          <cx:pt idx="80118">1</cx:pt>
          <cx:pt idx="80119">0</cx:pt>
          <cx:pt idx="80120">1</cx:pt>
          <cx:pt idx="80121">0</cx:pt>
          <cx:pt idx="80122">1</cx:pt>
          <cx:pt idx="80123">1</cx:pt>
          <cx:pt idx="80124">1</cx:pt>
          <cx:pt idx="80125">0</cx:pt>
          <cx:pt idx="80126">1</cx:pt>
          <cx:pt idx="80127">0</cx:pt>
          <cx:pt idx="80128">0</cx:pt>
          <cx:pt idx="80129">1</cx:pt>
          <cx:pt idx="80130">0</cx:pt>
          <cx:pt idx="80131">1</cx:pt>
          <cx:pt idx="80132">0</cx:pt>
          <cx:pt idx="80133">0</cx:pt>
          <cx:pt idx="80134">1</cx:pt>
          <cx:pt idx="80135">0</cx:pt>
          <cx:pt idx="80136">0</cx:pt>
          <cx:pt idx="80137">1</cx:pt>
          <cx:pt idx="80138">1</cx:pt>
          <cx:pt idx="80139">0</cx:pt>
          <cx:pt idx="80140">0</cx:pt>
          <cx:pt idx="80141">1</cx:pt>
          <cx:pt idx="80142">1</cx:pt>
          <cx:pt idx="80143">0</cx:pt>
          <cx:pt idx="80144">0</cx:pt>
          <cx:pt idx="80145">1</cx:pt>
          <cx:pt idx="80146">0</cx:pt>
          <cx:pt idx="80147">0</cx:pt>
          <cx:pt idx="80148">1</cx:pt>
          <cx:pt idx="80149">1</cx:pt>
          <cx:pt idx="80150">1</cx:pt>
          <cx:pt idx="80151">1</cx:pt>
          <cx:pt idx="80152">0</cx:pt>
          <cx:pt idx="80153">0</cx:pt>
          <cx:pt idx="80154">0</cx:pt>
          <cx:pt idx="80155">0</cx:pt>
          <cx:pt idx="80156">1</cx:pt>
          <cx:pt idx="80157">1</cx:pt>
          <cx:pt idx="80158">0</cx:pt>
          <cx:pt idx="80159">0</cx:pt>
          <cx:pt idx="80160">1</cx:pt>
          <cx:pt idx="80161">1</cx:pt>
          <cx:pt idx="80162">0</cx:pt>
          <cx:pt idx="80163">1</cx:pt>
          <cx:pt idx="80164">1</cx:pt>
          <cx:pt idx="80165">1</cx:pt>
          <cx:pt idx="80166">1</cx:pt>
          <cx:pt idx="80167">1</cx:pt>
          <cx:pt idx="80168">0</cx:pt>
          <cx:pt idx="80169">1</cx:pt>
          <cx:pt idx="80170">1</cx:pt>
          <cx:pt idx="80171">0</cx:pt>
          <cx:pt idx="80172">1</cx:pt>
          <cx:pt idx="80173">0</cx:pt>
          <cx:pt idx="80174">0</cx:pt>
          <cx:pt idx="80175">0</cx:pt>
          <cx:pt idx="80176">1</cx:pt>
          <cx:pt idx="80177">0</cx:pt>
          <cx:pt idx="80178">0</cx:pt>
          <cx:pt idx="80179">1</cx:pt>
          <cx:pt idx="80180">0</cx:pt>
          <cx:pt idx="80181">1</cx:pt>
          <cx:pt idx="80182">1</cx:pt>
          <cx:pt idx="80183">0</cx:pt>
          <cx:pt idx="80184">0</cx:pt>
          <cx:pt idx="80185">1</cx:pt>
          <cx:pt idx="80186">0</cx:pt>
          <cx:pt idx="80187">0</cx:pt>
          <cx:pt idx="80188">1</cx:pt>
          <cx:pt idx="80189">1</cx:pt>
          <cx:pt idx="80190">0</cx:pt>
          <cx:pt idx="80191">1</cx:pt>
          <cx:pt idx="80192">0</cx:pt>
          <cx:pt idx="80193">0</cx:pt>
          <cx:pt idx="80194">1</cx:pt>
          <cx:pt idx="80195">1</cx:pt>
          <cx:pt idx="80196">0</cx:pt>
          <cx:pt idx="80197">0</cx:pt>
          <cx:pt idx="80198">0</cx:pt>
          <cx:pt idx="80199">0</cx:pt>
          <cx:pt idx="80200">1</cx:pt>
          <cx:pt idx="80201">1</cx:pt>
          <cx:pt idx="80202">0</cx:pt>
          <cx:pt idx="80203">1</cx:pt>
          <cx:pt idx="80204">0</cx:pt>
          <cx:pt idx="80205">1</cx:pt>
          <cx:pt idx="80206">0</cx:pt>
          <cx:pt idx="80207">1</cx:pt>
          <cx:pt idx="80208">0</cx:pt>
          <cx:pt idx="80209">0</cx:pt>
          <cx:pt idx="80210">0</cx:pt>
          <cx:pt idx="80211">0</cx:pt>
          <cx:pt idx="80212">0</cx:pt>
          <cx:pt idx="80213">1</cx:pt>
          <cx:pt idx="80214">1</cx:pt>
          <cx:pt idx="80215">1</cx:pt>
          <cx:pt idx="80216">0</cx:pt>
          <cx:pt idx="80217">1</cx:pt>
          <cx:pt idx="80218">1</cx:pt>
          <cx:pt idx="80219">1</cx:pt>
          <cx:pt idx="80220">0</cx:pt>
          <cx:pt idx="80221">1</cx:pt>
          <cx:pt idx="80222">0</cx:pt>
          <cx:pt idx="80223">1</cx:pt>
          <cx:pt idx="80224">0</cx:pt>
          <cx:pt idx="80225">1</cx:pt>
          <cx:pt idx="80226">0</cx:pt>
          <cx:pt idx="80227">0</cx:pt>
          <cx:pt idx="80228">0</cx:pt>
          <cx:pt idx="80229">0</cx:pt>
          <cx:pt idx="80230">0</cx:pt>
          <cx:pt idx="80231">0</cx:pt>
          <cx:pt idx="80232">1</cx:pt>
          <cx:pt idx="80233">1</cx:pt>
          <cx:pt idx="80234">0</cx:pt>
          <cx:pt idx="80235">0</cx:pt>
          <cx:pt idx="80236">1</cx:pt>
          <cx:pt idx="80237">0</cx:pt>
          <cx:pt idx="80238">0</cx:pt>
          <cx:pt idx="80239">0</cx:pt>
          <cx:pt idx="80240">0</cx:pt>
          <cx:pt idx="80241">0</cx:pt>
          <cx:pt idx="80242">1</cx:pt>
          <cx:pt idx="80243">0</cx:pt>
          <cx:pt idx="80244">1</cx:pt>
          <cx:pt idx="80245">0</cx:pt>
          <cx:pt idx="80246">1</cx:pt>
          <cx:pt idx="80247">1</cx:pt>
          <cx:pt idx="80248">0</cx:pt>
          <cx:pt idx="80249">0</cx:pt>
          <cx:pt idx="80250">1</cx:pt>
          <cx:pt idx="80251">1</cx:pt>
          <cx:pt idx="80252">0</cx:pt>
          <cx:pt idx="80253">0</cx:pt>
          <cx:pt idx="80254">0</cx:pt>
          <cx:pt idx="80255">1</cx:pt>
          <cx:pt idx="80256">0</cx:pt>
          <cx:pt idx="80257">0</cx:pt>
          <cx:pt idx="80258">0</cx:pt>
          <cx:pt idx="80259">1</cx:pt>
          <cx:pt idx="80260">1</cx:pt>
          <cx:pt idx="80261">1</cx:pt>
          <cx:pt idx="80262">1</cx:pt>
          <cx:pt idx="80263">0</cx:pt>
          <cx:pt idx="80264">0</cx:pt>
          <cx:pt idx="80265">0</cx:pt>
          <cx:pt idx="80266">1</cx:pt>
          <cx:pt idx="80267">1</cx:pt>
          <cx:pt idx="80268">0</cx:pt>
          <cx:pt idx="80269">0</cx:pt>
          <cx:pt idx="80270">1</cx:pt>
          <cx:pt idx="80271">1</cx:pt>
          <cx:pt idx="80272">1</cx:pt>
          <cx:pt idx="80273">1</cx:pt>
          <cx:pt idx="80274">0</cx:pt>
          <cx:pt idx="80275">1</cx:pt>
          <cx:pt idx="80276">0</cx:pt>
          <cx:pt idx="80277">0</cx:pt>
          <cx:pt idx="80278">0</cx:pt>
          <cx:pt idx="80279">1</cx:pt>
          <cx:pt idx="80280">1</cx:pt>
          <cx:pt idx="80281">0</cx:pt>
          <cx:pt idx="80282">0</cx:pt>
          <cx:pt idx="80283">1</cx:pt>
          <cx:pt idx="80284">0</cx:pt>
          <cx:pt idx="80285">0</cx:pt>
          <cx:pt idx="80286">1</cx:pt>
          <cx:pt idx="80287">0</cx:pt>
          <cx:pt idx="80288">0</cx:pt>
          <cx:pt idx="80289">0</cx:pt>
          <cx:pt idx="80290">0</cx:pt>
          <cx:pt idx="80291">0</cx:pt>
          <cx:pt idx="80292">0</cx:pt>
          <cx:pt idx="80293">0</cx:pt>
          <cx:pt idx="80294">0</cx:pt>
          <cx:pt idx="80295">0</cx:pt>
          <cx:pt idx="80296">1</cx:pt>
          <cx:pt idx="80297">1</cx:pt>
          <cx:pt idx="80298">0</cx:pt>
          <cx:pt idx="80299">0</cx:pt>
          <cx:pt idx="80300">0</cx:pt>
          <cx:pt idx="80301">1</cx:pt>
          <cx:pt idx="80302">0</cx:pt>
          <cx:pt idx="80303">0</cx:pt>
          <cx:pt idx="80304">1</cx:pt>
          <cx:pt idx="80305">0</cx:pt>
          <cx:pt idx="80306">0</cx:pt>
          <cx:pt idx="80307">1</cx:pt>
          <cx:pt idx="80308">0</cx:pt>
          <cx:pt idx="80309">1</cx:pt>
          <cx:pt idx="80310">0</cx:pt>
          <cx:pt idx="80311">0</cx:pt>
          <cx:pt idx="80312">0</cx:pt>
          <cx:pt idx="80313">0</cx:pt>
          <cx:pt idx="80314">0</cx:pt>
          <cx:pt idx="80315">1</cx:pt>
          <cx:pt idx="80316">0</cx:pt>
          <cx:pt idx="80317">1</cx:pt>
          <cx:pt idx="80318">0</cx:pt>
          <cx:pt idx="80319">0</cx:pt>
          <cx:pt idx="80320">0</cx:pt>
          <cx:pt idx="80321">1</cx:pt>
          <cx:pt idx="80322">0</cx:pt>
          <cx:pt idx="80323">0</cx:pt>
          <cx:pt idx="80324">1</cx:pt>
          <cx:pt idx="80325">0</cx:pt>
          <cx:pt idx="80326">1</cx:pt>
          <cx:pt idx="80327">0</cx:pt>
          <cx:pt idx="80328">1</cx:pt>
          <cx:pt idx="80329">1</cx:pt>
          <cx:pt idx="80330">1</cx:pt>
          <cx:pt idx="80331">0</cx:pt>
          <cx:pt idx="80332">0</cx:pt>
          <cx:pt idx="80333">1</cx:pt>
          <cx:pt idx="80334">1</cx:pt>
          <cx:pt idx="80335">1</cx:pt>
          <cx:pt idx="80336">1</cx:pt>
          <cx:pt idx="80337">1</cx:pt>
          <cx:pt idx="80338">1</cx:pt>
          <cx:pt idx="80339">0</cx:pt>
          <cx:pt idx="80340">0</cx:pt>
          <cx:pt idx="80341">1</cx:pt>
          <cx:pt idx="80342">0</cx:pt>
          <cx:pt idx="80343">0</cx:pt>
          <cx:pt idx="80344">0</cx:pt>
          <cx:pt idx="80345">0</cx:pt>
          <cx:pt idx="80346">1</cx:pt>
          <cx:pt idx="80347">1</cx:pt>
          <cx:pt idx="80348">0</cx:pt>
          <cx:pt idx="80349">1</cx:pt>
          <cx:pt idx="80350">0</cx:pt>
          <cx:pt idx="80351">0</cx:pt>
          <cx:pt idx="80352">1</cx:pt>
          <cx:pt idx="80353">1</cx:pt>
          <cx:pt idx="80354">1</cx:pt>
          <cx:pt idx="80355">0</cx:pt>
          <cx:pt idx="80356">0</cx:pt>
          <cx:pt idx="80357">0</cx:pt>
          <cx:pt idx="80358">0</cx:pt>
          <cx:pt idx="80359">0</cx:pt>
          <cx:pt idx="80360">0</cx:pt>
          <cx:pt idx="80361">1</cx:pt>
          <cx:pt idx="80362">1</cx:pt>
          <cx:pt idx="80363">0</cx:pt>
          <cx:pt idx="80364">1</cx:pt>
          <cx:pt idx="80365">1</cx:pt>
          <cx:pt idx="80366">0</cx:pt>
          <cx:pt idx="80367">1</cx:pt>
          <cx:pt idx="80368">0</cx:pt>
          <cx:pt idx="80369">0</cx:pt>
          <cx:pt idx="80370">0</cx:pt>
          <cx:pt idx="80371">0</cx:pt>
          <cx:pt idx="80372">0</cx:pt>
          <cx:pt idx="80373">0</cx:pt>
          <cx:pt idx="80374">0</cx:pt>
          <cx:pt idx="80375">1</cx:pt>
          <cx:pt idx="80376">0</cx:pt>
          <cx:pt idx="80377">0</cx:pt>
          <cx:pt idx="80378">1</cx:pt>
          <cx:pt idx="80379">0</cx:pt>
          <cx:pt idx="80380">1</cx:pt>
          <cx:pt idx="80381">0</cx:pt>
          <cx:pt idx="80382">0</cx:pt>
          <cx:pt idx="80383">1</cx:pt>
          <cx:pt idx="80384">0</cx:pt>
          <cx:pt idx="80385">1</cx:pt>
          <cx:pt idx="80386">0</cx:pt>
          <cx:pt idx="80387">0</cx:pt>
          <cx:pt idx="80388">0</cx:pt>
          <cx:pt idx="80389">0</cx:pt>
          <cx:pt idx="80390">0</cx:pt>
          <cx:pt idx="80391">1</cx:pt>
          <cx:pt idx="80392">0</cx:pt>
          <cx:pt idx="80393">0</cx:pt>
          <cx:pt idx="80394">0</cx:pt>
          <cx:pt idx="80395">1</cx:pt>
          <cx:pt idx="80396">1</cx:pt>
          <cx:pt idx="80397">0</cx:pt>
          <cx:pt idx="80398">0</cx:pt>
          <cx:pt idx="80399">1</cx:pt>
          <cx:pt idx="80400">1</cx:pt>
          <cx:pt idx="80401">1</cx:pt>
          <cx:pt idx="80402">0</cx:pt>
          <cx:pt idx="80403">0</cx:pt>
          <cx:pt idx="80404">0</cx:pt>
          <cx:pt idx="80405">0</cx:pt>
          <cx:pt idx="80406">1</cx:pt>
          <cx:pt idx="80407">0</cx:pt>
          <cx:pt idx="80408">0</cx:pt>
          <cx:pt idx="80409">1</cx:pt>
          <cx:pt idx="80410">1</cx:pt>
          <cx:pt idx="80411">1</cx:pt>
          <cx:pt idx="80412">0</cx:pt>
          <cx:pt idx="80413">1</cx:pt>
          <cx:pt idx="80414">0</cx:pt>
          <cx:pt idx="80415">0</cx:pt>
          <cx:pt idx="80416">1</cx:pt>
          <cx:pt idx="80417">0</cx:pt>
          <cx:pt idx="80418">0</cx:pt>
          <cx:pt idx="80419">1</cx:pt>
          <cx:pt idx="80420">1</cx:pt>
          <cx:pt idx="80421">0</cx:pt>
          <cx:pt idx="80422">1</cx:pt>
          <cx:pt idx="80423">1</cx:pt>
          <cx:pt idx="80424">1</cx:pt>
          <cx:pt idx="80425">1</cx:pt>
          <cx:pt idx="80426">1</cx:pt>
          <cx:pt idx="80427">1</cx:pt>
          <cx:pt idx="80428">1</cx:pt>
          <cx:pt idx="80429">1</cx:pt>
          <cx:pt idx="80430">0</cx:pt>
          <cx:pt idx="80431">0</cx:pt>
          <cx:pt idx="80432">0</cx:pt>
          <cx:pt idx="80433">1</cx:pt>
          <cx:pt idx="80434">0</cx:pt>
          <cx:pt idx="80435">1</cx:pt>
          <cx:pt idx="80436">1</cx:pt>
          <cx:pt idx="80437">1</cx:pt>
          <cx:pt idx="80438">0</cx:pt>
          <cx:pt idx="80439">1</cx:pt>
          <cx:pt idx="80440">0</cx:pt>
          <cx:pt idx="80441">0</cx:pt>
          <cx:pt idx="80442">0</cx:pt>
          <cx:pt idx="80443">1</cx:pt>
          <cx:pt idx="80444">0</cx:pt>
          <cx:pt idx="80445">0</cx:pt>
          <cx:pt idx="80446">0</cx:pt>
          <cx:pt idx="80447">0</cx:pt>
          <cx:pt idx="80448">1</cx:pt>
          <cx:pt idx="80449">0</cx:pt>
          <cx:pt idx="80450">1</cx:pt>
          <cx:pt idx="80451">1</cx:pt>
          <cx:pt idx="80452">0</cx:pt>
          <cx:pt idx="80453">0</cx:pt>
          <cx:pt idx="80454">0</cx:pt>
          <cx:pt idx="80455">0</cx:pt>
          <cx:pt idx="80456">1</cx:pt>
          <cx:pt idx="80457">0</cx:pt>
          <cx:pt idx="80458">1</cx:pt>
          <cx:pt idx="80459">1</cx:pt>
          <cx:pt idx="80460">0</cx:pt>
          <cx:pt idx="80461">1</cx:pt>
          <cx:pt idx="80462">0</cx:pt>
          <cx:pt idx="80463">0</cx:pt>
          <cx:pt idx="80464">0</cx:pt>
          <cx:pt idx="80465">1</cx:pt>
          <cx:pt idx="80466">1</cx:pt>
          <cx:pt idx="80467">0</cx:pt>
          <cx:pt idx="80468">1</cx:pt>
          <cx:pt idx="80469">1</cx:pt>
          <cx:pt idx="80470">0</cx:pt>
          <cx:pt idx="80471">0</cx:pt>
          <cx:pt idx="80472">1</cx:pt>
          <cx:pt idx="80473">0</cx:pt>
          <cx:pt idx="80474">1</cx:pt>
          <cx:pt idx="80475">0</cx:pt>
          <cx:pt idx="80476">1</cx:pt>
          <cx:pt idx="80477">1</cx:pt>
          <cx:pt idx="80478">0</cx:pt>
          <cx:pt idx="80479">1</cx:pt>
          <cx:pt idx="80480">0</cx:pt>
          <cx:pt idx="80481">1</cx:pt>
          <cx:pt idx="80482">0</cx:pt>
          <cx:pt idx="80483">1</cx:pt>
          <cx:pt idx="80484">1</cx:pt>
          <cx:pt idx="80485">0</cx:pt>
          <cx:pt idx="80486">0</cx:pt>
          <cx:pt idx="80487">0</cx:pt>
          <cx:pt idx="80488">1</cx:pt>
          <cx:pt idx="80489">1</cx:pt>
          <cx:pt idx="80490">1</cx:pt>
          <cx:pt idx="80491">0</cx:pt>
          <cx:pt idx="80492">0</cx:pt>
          <cx:pt idx="80493">0</cx:pt>
          <cx:pt idx="80494">1</cx:pt>
          <cx:pt idx="80495">0</cx:pt>
          <cx:pt idx="80496">1</cx:pt>
          <cx:pt idx="80497">0</cx:pt>
          <cx:pt idx="80498">0</cx:pt>
          <cx:pt idx="80499">1</cx:pt>
          <cx:pt idx="80500">0</cx:pt>
          <cx:pt idx="80501">0</cx:pt>
          <cx:pt idx="80502">1</cx:pt>
          <cx:pt idx="80503">1</cx:pt>
          <cx:pt idx="80504">0</cx:pt>
          <cx:pt idx="80505">0</cx:pt>
          <cx:pt idx="80506">1</cx:pt>
          <cx:pt idx="80507">0</cx:pt>
          <cx:pt idx="80508">0</cx:pt>
          <cx:pt idx="80509">1</cx:pt>
          <cx:pt idx="80510">0</cx:pt>
          <cx:pt idx="80511">0</cx:pt>
          <cx:pt idx="80512">1</cx:pt>
          <cx:pt idx="80513">0</cx:pt>
          <cx:pt idx="80514">1</cx:pt>
          <cx:pt idx="80515">0</cx:pt>
          <cx:pt idx="80516">0</cx:pt>
          <cx:pt idx="80517">0</cx:pt>
          <cx:pt idx="80518">1</cx:pt>
          <cx:pt idx="80519">0</cx:pt>
          <cx:pt idx="80520">1</cx:pt>
          <cx:pt idx="80521">1</cx:pt>
          <cx:pt idx="80522">0</cx:pt>
          <cx:pt idx="80523">1</cx:pt>
          <cx:pt idx="80524">1</cx:pt>
          <cx:pt idx="80525">0</cx:pt>
          <cx:pt idx="80526">1</cx:pt>
          <cx:pt idx="80527">1</cx:pt>
          <cx:pt idx="80528">0</cx:pt>
          <cx:pt idx="80529">1</cx:pt>
          <cx:pt idx="80530">0</cx:pt>
          <cx:pt idx="80531">0</cx:pt>
          <cx:pt idx="80532">0</cx:pt>
          <cx:pt idx="80533">0</cx:pt>
          <cx:pt idx="80534">0</cx:pt>
          <cx:pt idx="80535">0</cx:pt>
          <cx:pt idx="80536">0</cx:pt>
          <cx:pt idx="80537">1</cx:pt>
          <cx:pt idx="80538">0</cx:pt>
          <cx:pt idx="80539">0</cx:pt>
          <cx:pt idx="80540">1</cx:pt>
          <cx:pt idx="80541">0</cx:pt>
          <cx:pt idx="80542">0</cx:pt>
          <cx:pt idx="80543">0</cx:pt>
          <cx:pt idx="80544">0</cx:pt>
          <cx:pt idx="80545">0</cx:pt>
          <cx:pt idx="80546">0</cx:pt>
          <cx:pt idx="80547">0</cx:pt>
          <cx:pt idx="80548">1</cx:pt>
          <cx:pt idx="80549">0</cx:pt>
          <cx:pt idx="80550">1</cx:pt>
          <cx:pt idx="80551">0</cx:pt>
          <cx:pt idx="80552">1</cx:pt>
          <cx:pt idx="80553">0</cx:pt>
          <cx:pt idx="80554">0</cx:pt>
          <cx:pt idx="80555">0</cx:pt>
          <cx:pt idx="80556">0</cx:pt>
          <cx:pt idx="80557">1</cx:pt>
          <cx:pt idx="80558">0</cx:pt>
          <cx:pt idx="80559">1</cx:pt>
          <cx:pt idx="80560">0</cx:pt>
          <cx:pt idx="80561">0</cx:pt>
          <cx:pt idx="80562">1</cx:pt>
          <cx:pt idx="80563">0</cx:pt>
          <cx:pt idx="80564">1</cx:pt>
          <cx:pt idx="80565">0</cx:pt>
          <cx:pt idx="80566">0</cx:pt>
          <cx:pt idx="80567">1</cx:pt>
          <cx:pt idx="80568">0</cx:pt>
          <cx:pt idx="80569">0</cx:pt>
          <cx:pt idx="80570">1</cx:pt>
          <cx:pt idx="80571">0</cx:pt>
          <cx:pt idx="80572">0</cx:pt>
          <cx:pt idx="80573">0</cx:pt>
          <cx:pt idx="80574">0</cx:pt>
          <cx:pt idx="80575">0</cx:pt>
          <cx:pt idx="80576">1</cx:pt>
          <cx:pt idx="80577">0</cx:pt>
          <cx:pt idx="80578">0</cx:pt>
          <cx:pt idx="80579">1</cx:pt>
          <cx:pt idx="80580">1</cx:pt>
          <cx:pt idx="80581">1</cx:pt>
          <cx:pt idx="80582">1</cx:pt>
          <cx:pt idx="80583">0</cx:pt>
          <cx:pt idx="80584">1</cx:pt>
          <cx:pt idx="80585">1</cx:pt>
          <cx:pt idx="80586">1</cx:pt>
          <cx:pt idx="80587">1</cx:pt>
          <cx:pt idx="80588">0</cx:pt>
          <cx:pt idx="80589">0</cx:pt>
          <cx:pt idx="80590">1</cx:pt>
          <cx:pt idx="80591">1</cx:pt>
          <cx:pt idx="80592">1</cx:pt>
          <cx:pt idx="80593">0</cx:pt>
          <cx:pt idx="80594">0</cx:pt>
          <cx:pt idx="80595">1</cx:pt>
          <cx:pt idx="80596">1</cx:pt>
          <cx:pt idx="80597">1</cx:pt>
          <cx:pt idx="80598">0</cx:pt>
          <cx:pt idx="80599">0</cx:pt>
          <cx:pt idx="80600">0</cx:pt>
          <cx:pt idx="80601">0</cx:pt>
          <cx:pt idx="80602">0</cx:pt>
          <cx:pt idx="80603">1</cx:pt>
          <cx:pt idx="80604">1</cx:pt>
          <cx:pt idx="80605">0</cx:pt>
          <cx:pt idx="80606">1</cx:pt>
          <cx:pt idx="80607">0</cx:pt>
          <cx:pt idx="80608">0</cx:pt>
          <cx:pt idx="80609">0</cx:pt>
          <cx:pt idx="80610">1</cx:pt>
          <cx:pt idx="80611">0</cx:pt>
          <cx:pt idx="80612">0</cx:pt>
          <cx:pt idx="80613">0</cx:pt>
          <cx:pt idx="80614">1</cx:pt>
          <cx:pt idx="80615">1</cx:pt>
          <cx:pt idx="80616">1</cx:pt>
          <cx:pt idx="80617">0</cx:pt>
          <cx:pt idx="80618">0</cx:pt>
          <cx:pt idx="80619">1</cx:pt>
          <cx:pt idx="80620">1</cx:pt>
          <cx:pt idx="80621">1</cx:pt>
          <cx:pt idx="80622">0</cx:pt>
          <cx:pt idx="80623">0</cx:pt>
          <cx:pt idx="80624">1</cx:pt>
          <cx:pt idx="80625">1</cx:pt>
          <cx:pt idx="80626">1</cx:pt>
          <cx:pt idx="80627">1</cx:pt>
          <cx:pt idx="80628">0</cx:pt>
          <cx:pt idx="80629">0</cx:pt>
          <cx:pt idx="80630">0</cx:pt>
          <cx:pt idx="80631">0</cx:pt>
          <cx:pt idx="80632">1</cx:pt>
          <cx:pt idx="80633">1</cx:pt>
          <cx:pt idx="80634">1</cx:pt>
          <cx:pt idx="80635">0</cx:pt>
          <cx:pt idx="80636">1</cx:pt>
          <cx:pt idx="80637">1</cx:pt>
          <cx:pt idx="80638">0</cx:pt>
          <cx:pt idx="80639">0</cx:pt>
          <cx:pt idx="80640">0</cx:pt>
          <cx:pt idx="80641">0</cx:pt>
          <cx:pt idx="80642">0</cx:pt>
          <cx:pt idx="80643">0</cx:pt>
          <cx:pt idx="80644">0</cx:pt>
          <cx:pt idx="80645">1</cx:pt>
          <cx:pt idx="80646">1</cx:pt>
          <cx:pt idx="80647">0</cx:pt>
          <cx:pt idx="80648">1</cx:pt>
          <cx:pt idx="80649">0</cx:pt>
          <cx:pt idx="80650">0</cx:pt>
          <cx:pt idx="80651">0</cx:pt>
          <cx:pt idx="80652">0</cx:pt>
          <cx:pt idx="80653">0</cx:pt>
          <cx:pt idx="80654">1</cx:pt>
          <cx:pt idx="80655">0</cx:pt>
          <cx:pt idx="80656">1</cx:pt>
          <cx:pt idx="80657">1</cx:pt>
          <cx:pt idx="80658">1</cx:pt>
          <cx:pt idx="80659">0</cx:pt>
          <cx:pt idx="80660">1</cx:pt>
          <cx:pt idx="80661">0</cx:pt>
          <cx:pt idx="80662">0</cx:pt>
          <cx:pt idx="80663">0</cx:pt>
          <cx:pt idx="80664">0</cx:pt>
          <cx:pt idx="80665">0</cx:pt>
          <cx:pt idx="80666">0</cx:pt>
          <cx:pt idx="80667">1</cx:pt>
          <cx:pt idx="80668">0</cx:pt>
          <cx:pt idx="80669">0</cx:pt>
          <cx:pt idx="80670">0</cx:pt>
          <cx:pt idx="80671">1</cx:pt>
          <cx:pt idx="80672">0</cx:pt>
          <cx:pt idx="80673">0</cx:pt>
          <cx:pt idx="80674">0</cx:pt>
          <cx:pt idx="80675">0</cx:pt>
          <cx:pt idx="80676">1</cx:pt>
          <cx:pt idx="80677">0</cx:pt>
          <cx:pt idx="80678">1</cx:pt>
          <cx:pt idx="80679">0</cx:pt>
          <cx:pt idx="80680">0</cx:pt>
          <cx:pt idx="80681">0</cx:pt>
          <cx:pt idx="80682">0</cx:pt>
          <cx:pt idx="80683">0</cx:pt>
          <cx:pt idx="80684">1</cx:pt>
          <cx:pt idx="80685">1</cx:pt>
          <cx:pt idx="80686">0</cx:pt>
          <cx:pt idx="80687">1</cx:pt>
          <cx:pt idx="80688">1</cx:pt>
          <cx:pt idx="80689">1</cx:pt>
          <cx:pt idx="80690">1</cx:pt>
          <cx:pt idx="80691">0</cx:pt>
          <cx:pt idx="80692">0</cx:pt>
          <cx:pt idx="80693">0</cx:pt>
          <cx:pt idx="80694">1</cx:pt>
          <cx:pt idx="80695">1</cx:pt>
          <cx:pt idx="80696">1</cx:pt>
          <cx:pt idx="80697">0</cx:pt>
          <cx:pt idx="80698">0</cx:pt>
          <cx:pt idx="80699">0</cx:pt>
          <cx:pt idx="80700">0</cx:pt>
          <cx:pt idx="80701">0</cx:pt>
          <cx:pt idx="80702">0</cx:pt>
          <cx:pt idx="80703">0</cx:pt>
          <cx:pt idx="80704">0</cx:pt>
          <cx:pt idx="80705">0</cx:pt>
          <cx:pt idx="80706">1</cx:pt>
          <cx:pt idx="80707">0</cx:pt>
          <cx:pt idx="80708">0</cx:pt>
          <cx:pt idx="80709">0</cx:pt>
          <cx:pt idx="80710">0</cx:pt>
          <cx:pt idx="80711">1</cx:pt>
          <cx:pt idx="80712">1</cx:pt>
          <cx:pt idx="80713">1</cx:pt>
          <cx:pt idx="80714">1</cx:pt>
          <cx:pt idx="80715">0</cx:pt>
          <cx:pt idx="80716">0</cx:pt>
          <cx:pt idx="80717">0</cx:pt>
          <cx:pt idx="80718">0</cx:pt>
          <cx:pt idx="80719">1</cx:pt>
          <cx:pt idx="80720">0</cx:pt>
          <cx:pt idx="80721">0</cx:pt>
          <cx:pt idx="80722">0</cx:pt>
          <cx:pt idx="80723">0</cx:pt>
          <cx:pt idx="80724">1</cx:pt>
          <cx:pt idx="80725">0</cx:pt>
          <cx:pt idx="80726">1</cx:pt>
          <cx:pt idx="80727">1</cx:pt>
          <cx:pt idx="80728">1</cx:pt>
          <cx:pt idx="80729">0</cx:pt>
          <cx:pt idx="80730">1</cx:pt>
          <cx:pt idx="80731">0</cx:pt>
          <cx:pt idx="80732">0</cx:pt>
          <cx:pt idx="80733">1</cx:pt>
          <cx:pt idx="80734">1</cx:pt>
          <cx:pt idx="80735">0</cx:pt>
          <cx:pt idx="80736">1</cx:pt>
          <cx:pt idx="80737">1</cx:pt>
          <cx:pt idx="80738">1</cx:pt>
          <cx:pt idx="80739">1</cx:pt>
          <cx:pt idx="80740">1</cx:pt>
          <cx:pt idx="80741">1</cx:pt>
          <cx:pt idx="80742">1</cx:pt>
          <cx:pt idx="80743">0</cx:pt>
          <cx:pt idx="80744">0</cx:pt>
          <cx:pt idx="80745">0</cx:pt>
          <cx:pt idx="80746">0</cx:pt>
          <cx:pt idx="80747">0</cx:pt>
          <cx:pt idx="80748">0</cx:pt>
          <cx:pt idx="80749">0</cx:pt>
          <cx:pt idx="80750">1</cx:pt>
          <cx:pt idx="80751">0</cx:pt>
          <cx:pt idx="80752">1</cx:pt>
          <cx:pt idx="80753">1</cx:pt>
          <cx:pt idx="80754">1</cx:pt>
          <cx:pt idx="80755">0</cx:pt>
          <cx:pt idx="80756">1</cx:pt>
          <cx:pt idx="80757">0</cx:pt>
          <cx:pt idx="80758">0</cx:pt>
          <cx:pt idx="80759">1</cx:pt>
          <cx:pt idx="80760">0</cx:pt>
          <cx:pt idx="80761">0</cx:pt>
          <cx:pt idx="80762">0</cx:pt>
          <cx:pt idx="80763">0</cx:pt>
          <cx:pt idx="80764">0</cx:pt>
          <cx:pt idx="80765">0</cx:pt>
          <cx:pt idx="80766">0</cx:pt>
          <cx:pt idx="80767">0</cx:pt>
          <cx:pt idx="80768">0</cx:pt>
          <cx:pt idx="80769">1</cx:pt>
          <cx:pt idx="80770">1</cx:pt>
          <cx:pt idx="80771">0</cx:pt>
          <cx:pt idx="80772">0</cx:pt>
          <cx:pt idx="80773">1</cx:pt>
          <cx:pt idx="80774">1</cx:pt>
          <cx:pt idx="80775">1</cx:pt>
          <cx:pt idx="80776">1</cx:pt>
          <cx:pt idx="80777">1</cx:pt>
          <cx:pt idx="80778">0</cx:pt>
          <cx:pt idx="80779">0</cx:pt>
          <cx:pt idx="80780">1</cx:pt>
          <cx:pt idx="80781">0</cx:pt>
          <cx:pt idx="80782">1</cx:pt>
          <cx:pt idx="80783">1</cx:pt>
          <cx:pt idx="80784">0</cx:pt>
          <cx:pt idx="80785">1</cx:pt>
          <cx:pt idx="80786">0</cx:pt>
          <cx:pt idx="80787">0</cx:pt>
          <cx:pt idx="80788">1</cx:pt>
          <cx:pt idx="80789">0</cx:pt>
          <cx:pt idx="80790">0</cx:pt>
          <cx:pt idx="80791">0</cx:pt>
          <cx:pt idx="80792">0</cx:pt>
          <cx:pt idx="80793">0</cx:pt>
          <cx:pt idx="80794">0</cx:pt>
          <cx:pt idx="80795">1</cx:pt>
          <cx:pt idx="80796">1</cx:pt>
          <cx:pt idx="80797">0</cx:pt>
          <cx:pt idx="80798">1</cx:pt>
          <cx:pt idx="80799">1</cx:pt>
          <cx:pt idx="80800">0</cx:pt>
          <cx:pt idx="80801">0</cx:pt>
          <cx:pt idx="80802">1</cx:pt>
          <cx:pt idx="80803">1</cx:pt>
          <cx:pt idx="80804">0</cx:pt>
          <cx:pt idx="80805">1</cx:pt>
          <cx:pt idx="80806">0</cx:pt>
          <cx:pt idx="80807">0</cx:pt>
          <cx:pt idx="80808">1</cx:pt>
          <cx:pt idx="80809">1</cx:pt>
          <cx:pt idx="80810">0</cx:pt>
          <cx:pt idx="80811">1</cx:pt>
          <cx:pt idx="80812">0</cx:pt>
          <cx:pt idx="80813">1</cx:pt>
          <cx:pt idx="80814">0</cx:pt>
          <cx:pt idx="80815">1</cx:pt>
          <cx:pt idx="80816">1</cx:pt>
          <cx:pt idx="80817">0</cx:pt>
          <cx:pt idx="80818">0</cx:pt>
          <cx:pt idx="80819">0</cx:pt>
          <cx:pt idx="80820">1</cx:pt>
          <cx:pt idx="80821">1</cx:pt>
          <cx:pt idx="80822">1</cx:pt>
          <cx:pt idx="80823">0</cx:pt>
          <cx:pt idx="80824">1</cx:pt>
          <cx:pt idx="80825">0</cx:pt>
          <cx:pt idx="80826">0</cx:pt>
          <cx:pt idx="80827">0</cx:pt>
          <cx:pt idx="80828">0</cx:pt>
          <cx:pt idx="80829">0</cx:pt>
          <cx:pt idx="80830">1</cx:pt>
          <cx:pt idx="80831">1</cx:pt>
          <cx:pt idx="80832">0</cx:pt>
          <cx:pt idx="80833">0</cx:pt>
          <cx:pt idx="80834">0</cx:pt>
          <cx:pt idx="80835">0</cx:pt>
          <cx:pt idx="80836">0</cx:pt>
          <cx:pt idx="80837">0</cx:pt>
          <cx:pt idx="80838">1</cx:pt>
          <cx:pt idx="80839">0</cx:pt>
          <cx:pt idx="80840">0</cx:pt>
          <cx:pt idx="80841">1</cx:pt>
          <cx:pt idx="80842">1</cx:pt>
          <cx:pt idx="80843">0</cx:pt>
          <cx:pt idx="80844">1</cx:pt>
          <cx:pt idx="80845">1</cx:pt>
          <cx:pt idx="80846">1</cx:pt>
          <cx:pt idx="80847">1</cx:pt>
          <cx:pt idx="80848">1</cx:pt>
          <cx:pt idx="80849">1</cx:pt>
          <cx:pt idx="80850">0</cx:pt>
          <cx:pt idx="80851">0</cx:pt>
          <cx:pt idx="80852">1</cx:pt>
          <cx:pt idx="80853">0</cx:pt>
          <cx:pt idx="80854">1</cx:pt>
          <cx:pt idx="80855">0</cx:pt>
          <cx:pt idx="80856">1</cx:pt>
          <cx:pt idx="80857">0</cx:pt>
          <cx:pt idx="80858">0</cx:pt>
          <cx:pt idx="80859">1</cx:pt>
          <cx:pt idx="80860">0</cx:pt>
          <cx:pt idx="80861">0</cx:pt>
          <cx:pt idx="80862">1</cx:pt>
          <cx:pt idx="80863">1</cx:pt>
          <cx:pt idx="80864">1</cx:pt>
          <cx:pt idx="80865">0</cx:pt>
          <cx:pt idx="80866">1</cx:pt>
          <cx:pt idx="80867">1</cx:pt>
          <cx:pt idx="80868">1</cx:pt>
          <cx:pt idx="80869">1</cx:pt>
          <cx:pt idx="80870">1</cx:pt>
          <cx:pt idx="80871">0</cx:pt>
          <cx:pt idx="80872">0</cx:pt>
          <cx:pt idx="80873">1</cx:pt>
          <cx:pt idx="80874">1</cx:pt>
          <cx:pt idx="80875">0</cx:pt>
          <cx:pt idx="80876">1</cx:pt>
          <cx:pt idx="80877">0</cx:pt>
          <cx:pt idx="80878">0</cx:pt>
          <cx:pt idx="80879">0</cx:pt>
          <cx:pt idx="80880">0</cx:pt>
          <cx:pt idx="80881">1</cx:pt>
          <cx:pt idx="80882">0</cx:pt>
          <cx:pt idx="80883">1</cx:pt>
          <cx:pt idx="80884">1</cx:pt>
          <cx:pt idx="80885">1</cx:pt>
          <cx:pt idx="80886">1</cx:pt>
          <cx:pt idx="80887">0</cx:pt>
          <cx:pt idx="80888">1</cx:pt>
          <cx:pt idx="80889">1</cx:pt>
          <cx:pt idx="80890">0</cx:pt>
          <cx:pt idx="80891">0</cx:pt>
          <cx:pt idx="80892">0</cx:pt>
          <cx:pt idx="80893">0</cx:pt>
          <cx:pt idx="80894">0</cx:pt>
          <cx:pt idx="80895">0</cx:pt>
          <cx:pt idx="80896">0</cx:pt>
          <cx:pt idx="80897">0</cx:pt>
          <cx:pt idx="80898">0</cx:pt>
          <cx:pt idx="80899">1</cx:pt>
          <cx:pt idx="80900">1</cx:pt>
          <cx:pt idx="80901">0</cx:pt>
          <cx:pt idx="80902">0</cx:pt>
          <cx:pt idx="80903">0</cx:pt>
          <cx:pt idx="80904">1</cx:pt>
          <cx:pt idx="80905">1</cx:pt>
          <cx:pt idx="80906">1</cx:pt>
          <cx:pt idx="80907">0</cx:pt>
          <cx:pt idx="80908">0</cx:pt>
          <cx:pt idx="80909">0</cx:pt>
          <cx:pt idx="80910">1</cx:pt>
          <cx:pt idx="80911">1</cx:pt>
          <cx:pt idx="80912">1</cx:pt>
          <cx:pt idx="80913">1</cx:pt>
          <cx:pt idx="80914">0</cx:pt>
          <cx:pt idx="80915">0</cx:pt>
          <cx:pt idx="80916">0</cx:pt>
          <cx:pt idx="80917">1</cx:pt>
          <cx:pt idx="80918">0</cx:pt>
          <cx:pt idx="80919">0</cx:pt>
          <cx:pt idx="80920">1</cx:pt>
          <cx:pt idx="80921">1</cx:pt>
          <cx:pt idx="80922">0</cx:pt>
          <cx:pt idx="80923">1</cx:pt>
          <cx:pt idx="80924">0</cx:pt>
          <cx:pt idx="80925">0</cx:pt>
          <cx:pt idx="80926">0</cx:pt>
          <cx:pt idx="80927">1</cx:pt>
          <cx:pt idx="80928">0</cx:pt>
          <cx:pt idx="80929">1</cx:pt>
          <cx:pt idx="80930">0</cx:pt>
          <cx:pt idx="80931">1</cx:pt>
          <cx:pt idx="80932">1</cx:pt>
          <cx:pt idx="80933">0</cx:pt>
          <cx:pt idx="80934">0</cx:pt>
          <cx:pt idx="80935">0</cx:pt>
          <cx:pt idx="80936">0</cx:pt>
          <cx:pt idx="80937">1</cx:pt>
          <cx:pt idx="80938">1</cx:pt>
          <cx:pt idx="80939">1</cx:pt>
          <cx:pt idx="80940">0</cx:pt>
          <cx:pt idx="80941">0</cx:pt>
          <cx:pt idx="80942">1</cx:pt>
          <cx:pt idx="80943">0</cx:pt>
          <cx:pt idx="80944">0</cx:pt>
          <cx:pt idx="80945">0</cx:pt>
          <cx:pt idx="80946">1</cx:pt>
          <cx:pt idx="80947">0</cx:pt>
          <cx:pt idx="80948">1</cx:pt>
          <cx:pt idx="80949">1</cx:pt>
          <cx:pt idx="80950">1</cx:pt>
          <cx:pt idx="80951">1</cx:pt>
          <cx:pt idx="80952">0</cx:pt>
          <cx:pt idx="80953">0</cx:pt>
          <cx:pt idx="80954">0</cx:pt>
          <cx:pt idx="80955">1</cx:pt>
          <cx:pt idx="80956">0</cx:pt>
          <cx:pt idx="80957">0</cx:pt>
          <cx:pt idx="80958">0</cx:pt>
          <cx:pt idx="80959">1</cx:pt>
          <cx:pt idx="80960">0</cx:pt>
          <cx:pt idx="80961">0</cx:pt>
          <cx:pt idx="80962">0</cx:pt>
          <cx:pt idx="80963">1</cx:pt>
          <cx:pt idx="80964">0</cx:pt>
          <cx:pt idx="80965">0</cx:pt>
          <cx:pt idx="80966">1</cx:pt>
          <cx:pt idx="80967">0</cx:pt>
          <cx:pt idx="80968">1</cx:pt>
          <cx:pt idx="80969">1</cx:pt>
          <cx:pt idx="80970">1</cx:pt>
          <cx:pt idx="80971">1</cx:pt>
          <cx:pt idx="80972">0</cx:pt>
          <cx:pt idx="80973">0</cx:pt>
          <cx:pt idx="80974">1</cx:pt>
          <cx:pt idx="80975">0</cx:pt>
          <cx:pt idx="80976">0</cx:pt>
          <cx:pt idx="80977">0</cx:pt>
          <cx:pt idx="80978">1</cx:pt>
          <cx:pt idx="80979">0</cx:pt>
          <cx:pt idx="80980">1</cx:pt>
          <cx:pt idx="80981">0</cx:pt>
          <cx:pt idx="80982">1</cx:pt>
          <cx:pt idx="80983">1</cx:pt>
          <cx:pt idx="80984">1</cx:pt>
          <cx:pt idx="80985">0</cx:pt>
          <cx:pt idx="80986">0</cx:pt>
          <cx:pt idx="80987">0</cx:pt>
          <cx:pt idx="80988">0</cx:pt>
          <cx:pt idx="80989">1</cx:pt>
          <cx:pt idx="80990">1</cx:pt>
          <cx:pt idx="80991">1</cx:pt>
          <cx:pt idx="80992">0</cx:pt>
          <cx:pt idx="80993">1</cx:pt>
          <cx:pt idx="80994">1</cx:pt>
          <cx:pt idx="80995">1</cx:pt>
          <cx:pt idx="80996">0</cx:pt>
          <cx:pt idx="80997">1</cx:pt>
          <cx:pt idx="80998">1</cx:pt>
          <cx:pt idx="80999">1</cx:pt>
          <cx:pt idx="81000">1</cx:pt>
          <cx:pt idx="81001">0</cx:pt>
          <cx:pt idx="81002">1</cx:pt>
          <cx:pt idx="81003">1</cx:pt>
          <cx:pt idx="81004">1</cx:pt>
          <cx:pt idx="81005">0</cx:pt>
          <cx:pt idx="81006">0</cx:pt>
          <cx:pt idx="81007">0</cx:pt>
          <cx:pt idx="81008">1</cx:pt>
          <cx:pt idx="81009">0</cx:pt>
          <cx:pt idx="81010">0</cx:pt>
          <cx:pt idx="81011">1</cx:pt>
          <cx:pt idx="81012">0</cx:pt>
          <cx:pt idx="81013">1</cx:pt>
          <cx:pt idx="81014">1</cx:pt>
          <cx:pt idx="81015">0</cx:pt>
          <cx:pt idx="81016">0</cx:pt>
          <cx:pt idx="81017">1</cx:pt>
          <cx:pt idx="81018">1</cx:pt>
          <cx:pt idx="81019">0</cx:pt>
          <cx:pt idx="81020">1</cx:pt>
          <cx:pt idx="81021">0</cx:pt>
          <cx:pt idx="81022">0</cx:pt>
          <cx:pt idx="81023">0</cx:pt>
          <cx:pt idx="81024">0</cx:pt>
          <cx:pt idx="81025">0</cx:pt>
          <cx:pt idx="81026">1</cx:pt>
          <cx:pt idx="81027">0</cx:pt>
          <cx:pt idx="81028">0</cx:pt>
          <cx:pt idx="81029">1</cx:pt>
          <cx:pt idx="81030">0</cx:pt>
          <cx:pt idx="81031">0</cx:pt>
          <cx:pt idx="81032">0</cx:pt>
          <cx:pt idx="81033">1</cx:pt>
          <cx:pt idx="81034">0</cx:pt>
          <cx:pt idx="81035">0</cx:pt>
          <cx:pt idx="81036">1</cx:pt>
          <cx:pt idx="81037">0</cx:pt>
          <cx:pt idx="81038">0</cx:pt>
          <cx:pt idx="81039">1</cx:pt>
          <cx:pt idx="81040">0</cx:pt>
          <cx:pt idx="81041">0</cx:pt>
          <cx:pt idx="81042">0</cx:pt>
          <cx:pt idx="81043">0</cx:pt>
          <cx:pt idx="81044">1</cx:pt>
          <cx:pt idx="81045">1</cx:pt>
          <cx:pt idx="81046">0</cx:pt>
          <cx:pt idx="81047">0</cx:pt>
          <cx:pt idx="81048">1</cx:pt>
          <cx:pt idx="81049">0</cx:pt>
          <cx:pt idx="81050">1</cx:pt>
          <cx:pt idx="81051">0</cx:pt>
          <cx:pt idx="81052">1</cx:pt>
          <cx:pt idx="81053">0</cx:pt>
          <cx:pt idx="81054">0</cx:pt>
          <cx:pt idx="81055">0</cx:pt>
          <cx:pt idx="81056">0</cx:pt>
          <cx:pt idx="81057">0</cx:pt>
          <cx:pt idx="81058">0</cx:pt>
          <cx:pt idx="81059">1</cx:pt>
          <cx:pt idx="81060">1</cx:pt>
          <cx:pt idx="81061">0</cx:pt>
          <cx:pt idx="81062">0</cx:pt>
          <cx:pt idx="81063">0</cx:pt>
          <cx:pt idx="81064">0</cx:pt>
          <cx:pt idx="81065">0</cx:pt>
          <cx:pt idx="81066">0</cx:pt>
          <cx:pt idx="81067">1</cx:pt>
          <cx:pt idx="81068">0</cx:pt>
          <cx:pt idx="81069">1</cx:pt>
          <cx:pt idx="81070">1</cx:pt>
          <cx:pt idx="81071">0</cx:pt>
          <cx:pt idx="81072">0</cx:pt>
          <cx:pt idx="81073">0</cx:pt>
          <cx:pt idx="81074">1</cx:pt>
          <cx:pt idx="81075">0</cx:pt>
          <cx:pt idx="81076">1</cx:pt>
          <cx:pt idx="81077">1</cx:pt>
          <cx:pt idx="81078">0</cx:pt>
          <cx:pt idx="81079">1</cx:pt>
          <cx:pt idx="81080">0</cx:pt>
          <cx:pt idx="81081">0</cx:pt>
          <cx:pt idx="81082">0</cx:pt>
          <cx:pt idx="81083">1</cx:pt>
          <cx:pt idx="81084">1</cx:pt>
          <cx:pt idx="81085">1</cx:pt>
          <cx:pt idx="81086">1</cx:pt>
          <cx:pt idx="81087">0</cx:pt>
          <cx:pt idx="81088">0</cx:pt>
          <cx:pt idx="81089">0</cx:pt>
          <cx:pt idx="81090">1</cx:pt>
          <cx:pt idx="81091">0</cx:pt>
          <cx:pt idx="81092">1</cx:pt>
          <cx:pt idx="81093">0</cx:pt>
          <cx:pt idx="81094">1</cx:pt>
          <cx:pt idx="81095">1</cx:pt>
          <cx:pt idx="81096">1</cx:pt>
          <cx:pt idx="81097">0</cx:pt>
          <cx:pt idx="81098">1</cx:pt>
          <cx:pt idx="81099">0</cx:pt>
          <cx:pt idx="81100">0</cx:pt>
          <cx:pt idx="81101">0</cx:pt>
          <cx:pt idx="81102">1</cx:pt>
          <cx:pt idx="81103">0</cx:pt>
          <cx:pt idx="81104">0</cx:pt>
          <cx:pt idx="81105">0</cx:pt>
          <cx:pt idx="81106">1</cx:pt>
          <cx:pt idx="81107">0</cx:pt>
          <cx:pt idx="81108">1</cx:pt>
          <cx:pt idx="81109">0</cx:pt>
          <cx:pt idx="81110">0</cx:pt>
          <cx:pt idx="81111">0</cx:pt>
          <cx:pt idx="81112">0</cx:pt>
          <cx:pt idx="81113">1</cx:pt>
          <cx:pt idx="81114">1</cx:pt>
          <cx:pt idx="81115">1</cx:pt>
          <cx:pt idx="81116">1</cx:pt>
          <cx:pt idx="81117">1</cx:pt>
          <cx:pt idx="81118">0</cx:pt>
          <cx:pt idx="81119">1</cx:pt>
          <cx:pt idx="81120">1</cx:pt>
          <cx:pt idx="81121">0</cx:pt>
          <cx:pt idx="81122">0</cx:pt>
          <cx:pt idx="81123">1</cx:pt>
          <cx:pt idx="81124">0</cx:pt>
          <cx:pt idx="81125">1</cx:pt>
          <cx:pt idx="81126">0</cx:pt>
          <cx:pt idx="81127">0</cx:pt>
          <cx:pt idx="81128">1</cx:pt>
          <cx:pt idx="81129">0</cx:pt>
          <cx:pt idx="81130">1</cx:pt>
          <cx:pt idx="81131">1</cx:pt>
          <cx:pt idx="81132">0</cx:pt>
          <cx:pt idx="81133">1</cx:pt>
          <cx:pt idx="81134">1</cx:pt>
          <cx:pt idx="81135">1</cx:pt>
          <cx:pt idx="81136">0</cx:pt>
          <cx:pt idx="81137">0</cx:pt>
          <cx:pt idx="81138">1</cx:pt>
          <cx:pt idx="81139">1</cx:pt>
          <cx:pt idx="81140">0</cx:pt>
          <cx:pt idx="81141">1</cx:pt>
          <cx:pt idx="81142">0</cx:pt>
          <cx:pt idx="81143">0</cx:pt>
          <cx:pt idx="81144">0</cx:pt>
          <cx:pt idx="81145">1</cx:pt>
          <cx:pt idx="81146">0</cx:pt>
          <cx:pt idx="81147">1</cx:pt>
          <cx:pt idx="81148">1</cx:pt>
          <cx:pt idx="81149">0</cx:pt>
          <cx:pt idx="81150">1</cx:pt>
          <cx:pt idx="81151">0</cx:pt>
          <cx:pt idx="81152">0</cx:pt>
          <cx:pt idx="81153">0</cx:pt>
          <cx:pt idx="81154">1</cx:pt>
          <cx:pt idx="81155">0</cx:pt>
          <cx:pt idx="81156">1</cx:pt>
          <cx:pt idx="81157">0</cx:pt>
          <cx:pt idx="81158">0</cx:pt>
          <cx:pt idx="81159">1</cx:pt>
          <cx:pt idx="81160">1</cx:pt>
          <cx:pt idx="81161">0</cx:pt>
          <cx:pt idx="81162">1</cx:pt>
          <cx:pt idx="81163">0</cx:pt>
          <cx:pt idx="81164">1</cx:pt>
          <cx:pt idx="81165">1</cx:pt>
          <cx:pt idx="81166">0</cx:pt>
          <cx:pt idx="81167">0</cx:pt>
          <cx:pt idx="81168">1</cx:pt>
          <cx:pt idx="81169">1</cx:pt>
          <cx:pt idx="81170">0</cx:pt>
          <cx:pt idx="81171">0</cx:pt>
          <cx:pt idx="81172">1</cx:pt>
          <cx:pt idx="81173">0</cx:pt>
          <cx:pt idx="81174">1</cx:pt>
          <cx:pt idx="81175">0</cx:pt>
          <cx:pt idx="81176">0</cx:pt>
          <cx:pt idx="81177">0</cx:pt>
          <cx:pt idx="81178">1</cx:pt>
          <cx:pt idx="81179">1</cx:pt>
          <cx:pt idx="81180">0</cx:pt>
          <cx:pt idx="81181">1</cx:pt>
          <cx:pt idx="81182">0</cx:pt>
          <cx:pt idx="81183">0</cx:pt>
          <cx:pt idx="81184">1</cx:pt>
          <cx:pt idx="81185">1</cx:pt>
          <cx:pt idx="81186">0</cx:pt>
          <cx:pt idx="81187">1</cx:pt>
          <cx:pt idx="81188">0</cx:pt>
          <cx:pt idx="81189">1</cx:pt>
          <cx:pt idx="81190">1</cx:pt>
          <cx:pt idx="81191">0</cx:pt>
          <cx:pt idx="81192">1</cx:pt>
          <cx:pt idx="81193">0</cx:pt>
          <cx:pt idx="81194">0</cx:pt>
          <cx:pt idx="81195">0</cx:pt>
          <cx:pt idx="81196">0</cx:pt>
          <cx:pt idx="81197">0</cx:pt>
          <cx:pt idx="81198">0</cx:pt>
          <cx:pt idx="81199">1</cx:pt>
          <cx:pt idx="81200">1</cx:pt>
          <cx:pt idx="81201">1</cx:pt>
          <cx:pt idx="81202">0</cx:pt>
          <cx:pt idx="81203">1</cx:pt>
          <cx:pt idx="81204">0</cx:pt>
          <cx:pt idx="81205">1</cx:pt>
          <cx:pt idx="81206">0</cx:pt>
          <cx:pt idx="81207">1</cx:pt>
          <cx:pt idx="81208">0</cx:pt>
          <cx:pt idx="81209">0</cx:pt>
          <cx:pt idx="81210">0</cx:pt>
          <cx:pt idx="81211">1</cx:pt>
          <cx:pt idx="81212">1</cx:pt>
          <cx:pt idx="81213">0</cx:pt>
          <cx:pt idx="81214">0</cx:pt>
          <cx:pt idx="81215">1</cx:pt>
          <cx:pt idx="81216">1</cx:pt>
          <cx:pt idx="81217">1</cx:pt>
          <cx:pt idx="81218">1</cx:pt>
          <cx:pt idx="81219">0</cx:pt>
          <cx:pt idx="81220">1</cx:pt>
          <cx:pt idx="81221">0</cx:pt>
          <cx:pt idx="81222">0</cx:pt>
          <cx:pt idx="81223">1</cx:pt>
          <cx:pt idx="81224">0</cx:pt>
          <cx:pt idx="81225">1</cx:pt>
          <cx:pt idx="81226">0</cx:pt>
          <cx:pt idx="81227">1</cx:pt>
          <cx:pt idx="81228">0</cx:pt>
          <cx:pt idx="81229">1</cx:pt>
          <cx:pt idx="81230">0</cx:pt>
          <cx:pt idx="81231">0</cx:pt>
          <cx:pt idx="81232">0</cx:pt>
          <cx:pt idx="81233">1</cx:pt>
          <cx:pt idx="81234">0</cx:pt>
          <cx:pt idx="81235">0</cx:pt>
          <cx:pt idx="81236">1</cx:pt>
          <cx:pt idx="81237">1</cx:pt>
          <cx:pt idx="81238">0</cx:pt>
          <cx:pt idx="81239">0</cx:pt>
          <cx:pt idx="81240">1</cx:pt>
          <cx:pt idx="81241">1</cx:pt>
          <cx:pt idx="81242">1</cx:pt>
          <cx:pt idx="81243">1</cx:pt>
          <cx:pt idx="81244">0</cx:pt>
          <cx:pt idx="81245">0</cx:pt>
          <cx:pt idx="81246">0</cx:pt>
          <cx:pt idx="81247">0</cx:pt>
          <cx:pt idx="81248">0</cx:pt>
          <cx:pt idx="81249">0</cx:pt>
          <cx:pt idx="81250">0</cx:pt>
          <cx:pt idx="81251">0</cx:pt>
          <cx:pt idx="81252">0</cx:pt>
          <cx:pt idx="81253">1</cx:pt>
          <cx:pt idx="81254">0</cx:pt>
          <cx:pt idx="81255">1</cx:pt>
          <cx:pt idx="81256">1</cx:pt>
          <cx:pt idx="81257">0</cx:pt>
          <cx:pt idx="81258">1</cx:pt>
          <cx:pt idx="81259">1</cx:pt>
          <cx:pt idx="81260">0</cx:pt>
          <cx:pt idx="81261">0</cx:pt>
          <cx:pt idx="81262">0</cx:pt>
          <cx:pt idx="81263">1</cx:pt>
          <cx:pt idx="81264">0</cx:pt>
          <cx:pt idx="81265">1</cx:pt>
          <cx:pt idx="81266">0</cx:pt>
          <cx:pt idx="81267">0</cx:pt>
          <cx:pt idx="81268">0</cx:pt>
          <cx:pt idx="81269">1</cx:pt>
          <cx:pt idx="81270">1</cx:pt>
          <cx:pt idx="81271">0</cx:pt>
          <cx:pt idx="81272">1</cx:pt>
          <cx:pt idx="81273">1</cx:pt>
          <cx:pt idx="81274">0</cx:pt>
          <cx:pt idx="81275">1</cx:pt>
          <cx:pt idx="81276">1</cx:pt>
          <cx:pt idx="81277">1</cx:pt>
          <cx:pt idx="81278">0</cx:pt>
          <cx:pt idx="81279">0</cx:pt>
          <cx:pt idx="81280">0</cx:pt>
          <cx:pt idx="81281">1</cx:pt>
          <cx:pt idx="81282">0</cx:pt>
          <cx:pt idx="81283">1</cx:pt>
          <cx:pt idx="81284">0</cx:pt>
          <cx:pt idx="81285">0</cx:pt>
          <cx:pt idx="81286">1</cx:pt>
          <cx:pt idx="81287">0</cx:pt>
          <cx:pt idx="81288">1</cx:pt>
          <cx:pt idx="81289">1</cx:pt>
          <cx:pt idx="81290">1</cx:pt>
          <cx:pt idx="81291">0</cx:pt>
          <cx:pt idx="81292">0</cx:pt>
          <cx:pt idx="81293">1</cx:pt>
          <cx:pt idx="81294">1</cx:pt>
          <cx:pt idx="81295">0</cx:pt>
          <cx:pt idx="81296">1</cx:pt>
          <cx:pt idx="81297">0</cx:pt>
          <cx:pt idx="81298">0</cx:pt>
          <cx:pt idx="81299">0</cx:pt>
          <cx:pt idx="81300">0</cx:pt>
          <cx:pt idx="81301">0</cx:pt>
          <cx:pt idx="81302">1</cx:pt>
          <cx:pt idx="81303">0</cx:pt>
          <cx:pt idx="81304">1</cx:pt>
          <cx:pt idx="81305">1</cx:pt>
          <cx:pt idx="81306">1</cx:pt>
          <cx:pt idx="81307">1</cx:pt>
          <cx:pt idx="81308">0</cx:pt>
          <cx:pt idx="81309">1</cx:pt>
          <cx:pt idx="81310">0</cx:pt>
          <cx:pt idx="81311">0</cx:pt>
          <cx:pt idx="81312">1</cx:pt>
          <cx:pt idx="81313">0</cx:pt>
          <cx:pt idx="81314">0</cx:pt>
          <cx:pt idx="81315">1</cx:pt>
          <cx:pt idx="81316">1</cx:pt>
          <cx:pt idx="81317">0</cx:pt>
          <cx:pt idx="81318">0</cx:pt>
          <cx:pt idx="81319">0</cx:pt>
          <cx:pt idx="81320">0</cx:pt>
          <cx:pt idx="81321">0</cx:pt>
          <cx:pt idx="81322">0</cx:pt>
          <cx:pt idx="81323">1</cx:pt>
          <cx:pt idx="81324">0</cx:pt>
          <cx:pt idx="81325">0</cx:pt>
          <cx:pt idx="81326">1</cx:pt>
          <cx:pt idx="81327">0</cx:pt>
          <cx:pt idx="81328">1</cx:pt>
          <cx:pt idx="81329">0</cx:pt>
          <cx:pt idx="81330">0</cx:pt>
          <cx:pt idx="81331">1</cx:pt>
          <cx:pt idx="81332">0</cx:pt>
          <cx:pt idx="81333">0</cx:pt>
          <cx:pt idx="81334">0</cx:pt>
          <cx:pt idx="81335">0</cx:pt>
          <cx:pt idx="81336">0</cx:pt>
          <cx:pt idx="81337">0</cx:pt>
          <cx:pt idx="81338">0</cx:pt>
          <cx:pt idx="81339">1</cx:pt>
          <cx:pt idx="81340">1</cx:pt>
          <cx:pt idx="81341">1</cx:pt>
          <cx:pt idx="81342">1</cx:pt>
          <cx:pt idx="81343">0</cx:pt>
          <cx:pt idx="81344">1</cx:pt>
          <cx:pt idx="81345">1</cx:pt>
          <cx:pt idx="81346">0</cx:pt>
          <cx:pt idx="81347">0</cx:pt>
          <cx:pt idx="81348">0</cx:pt>
          <cx:pt idx="81349">1</cx:pt>
          <cx:pt idx="81350">1</cx:pt>
          <cx:pt idx="81351">1</cx:pt>
          <cx:pt idx="81352">0</cx:pt>
          <cx:pt idx="81353">0</cx:pt>
          <cx:pt idx="81354">0</cx:pt>
          <cx:pt idx="81355">0</cx:pt>
          <cx:pt idx="81356">0</cx:pt>
          <cx:pt idx="81357">1</cx:pt>
          <cx:pt idx="81358">0</cx:pt>
          <cx:pt idx="81359">1</cx:pt>
          <cx:pt idx="81360">0</cx:pt>
          <cx:pt idx="81361">0</cx:pt>
          <cx:pt idx="81362">1</cx:pt>
          <cx:pt idx="81363">0</cx:pt>
          <cx:pt idx="81364">0</cx:pt>
          <cx:pt idx="81365">0</cx:pt>
          <cx:pt idx="81366">0</cx:pt>
          <cx:pt idx="81367">1</cx:pt>
          <cx:pt idx="81368">1</cx:pt>
          <cx:pt idx="81369">1</cx:pt>
          <cx:pt idx="81370">1</cx:pt>
          <cx:pt idx="81371">0</cx:pt>
          <cx:pt idx="81372">1</cx:pt>
          <cx:pt idx="81373">0</cx:pt>
          <cx:pt idx="81374">1</cx:pt>
          <cx:pt idx="81375">0</cx:pt>
          <cx:pt idx="81376">1</cx:pt>
          <cx:pt idx="81377">1</cx:pt>
          <cx:pt idx="81378">1</cx:pt>
          <cx:pt idx="81379">1</cx:pt>
          <cx:pt idx="81380">0</cx:pt>
          <cx:pt idx="81381">1</cx:pt>
          <cx:pt idx="81382">1</cx:pt>
          <cx:pt idx="81383">1</cx:pt>
          <cx:pt idx="81384">0</cx:pt>
          <cx:pt idx="81385">0</cx:pt>
          <cx:pt idx="81386">1</cx:pt>
          <cx:pt idx="81387">1</cx:pt>
          <cx:pt idx="81388">0</cx:pt>
          <cx:pt idx="81389">1</cx:pt>
          <cx:pt idx="81390">0</cx:pt>
          <cx:pt idx="81391">0</cx:pt>
          <cx:pt idx="81392">0</cx:pt>
          <cx:pt idx="81393">1</cx:pt>
          <cx:pt idx="81394">0</cx:pt>
          <cx:pt idx="81395">0</cx:pt>
          <cx:pt idx="81396">1</cx:pt>
          <cx:pt idx="81397">1</cx:pt>
          <cx:pt idx="81398">1</cx:pt>
          <cx:pt idx="81399">1</cx:pt>
          <cx:pt idx="81400">1</cx:pt>
          <cx:pt idx="81401">0</cx:pt>
          <cx:pt idx="81402">0</cx:pt>
          <cx:pt idx="81403">1</cx:pt>
          <cx:pt idx="81404">0</cx:pt>
          <cx:pt idx="81405">1</cx:pt>
          <cx:pt idx="81406">1</cx:pt>
          <cx:pt idx="81407">0</cx:pt>
          <cx:pt idx="81408">0</cx:pt>
          <cx:pt idx="81409">0</cx:pt>
          <cx:pt idx="81410">0</cx:pt>
          <cx:pt idx="81411">0</cx:pt>
          <cx:pt idx="81412">1</cx:pt>
          <cx:pt idx="81413">0</cx:pt>
          <cx:pt idx="81414">0</cx:pt>
          <cx:pt idx="81415">1</cx:pt>
          <cx:pt idx="81416">0</cx:pt>
          <cx:pt idx="81417">0</cx:pt>
          <cx:pt idx="81418">0</cx:pt>
          <cx:pt idx="81419">1</cx:pt>
          <cx:pt idx="81420">0</cx:pt>
          <cx:pt idx="81421">0</cx:pt>
          <cx:pt idx="81422">0</cx:pt>
          <cx:pt idx="81423">0</cx:pt>
          <cx:pt idx="81424">0</cx:pt>
          <cx:pt idx="81425">1</cx:pt>
          <cx:pt idx="81426">0</cx:pt>
          <cx:pt idx="81427">0</cx:pt>
          <cx:pt idx="81428">1</cx:pt>
          <cx:pt idx="81429">1</cx:pt>
          <cx:pt idx="81430">0</cx:pt>
          <cx:pt idx="81431">0</cx:pt>
          <cx:pt idx="81432">0</cx:pt>
          <cx:pt idx="81433">1</cx:pt>
          <cx:pt idx="81434">0</cx:pt>
          <cx:pt idx="81435">0</cx:pt>
          <cx:pt idx="81436">1</cx:pt>
          <cx:pt idx="81437">0</cx:pt>
          <cx:pt idx="81438">1</cx:pt>
          <cx:pt idx="81439">1</cx:pt>
          <cx:pt idx="81440">0</cx:pt>
          <cx:pt idx="81441">0</cx:pt>
          <cx:pt idx="81442">0</cx:pt>
          <cx:pt idx="81443">0</cx:pt>
          <cx:pt idx="81444">1</cx:pt>
          <cx:pt idx="81445">0</cx:pt>
          <cx:pt idx="81446">1</cx:pt>
          <cx:pt idx="81447">1</cx:pt>
          <cx:pt idx="81448">0</cx:pt>
          <cx:pt idx="81449">0</cx:pt>
          <cx:pt idx="81450">0</cx:pt>
          <cx:pt idx="81451">1</cx:pt>
          <cx:pt idx="81452">1</cx:pt>
          <cx:pt idx="81453">1</cx:pt>
          <cx:pt idx="81454">0</cx:pt>
          <cx:pt idx="81455">1</cx:pt>
          <cx:pt idx="81456">0</cx:pt>
          <cx:pt idx="81457">1</cx:pt>
          <cx:pt idx="81458">0</cx:pt>
          <cx:pt idx="81459">1</cx:pt>
          <cx:pt idx="81460">0</cx:pt>
          <cx:pt idx="81461">0</cx:pt>
          <cx:pt idx="81462">0</cx:pt>
          <cx:pt idx="81463">0</cx:pt>
          <cx:pt idx="81464">0</cx:pt>
          <cx:pt idx="81465">0</cx:pt>
          <cx:pt idx="81466">1</cx:pt>
          <cx:pt idx="81467">0</cx:pt>
          <cx:pt idx="81468">1</cx:pt>
          <cx:pt idx="81469">0</cx:pt>
          <cx:pt idx="81470">1</cx:pt>
          <cx:pt idx="81471">1</cx:pt>
          <cx:pt idx="81472">0</cx:pt>
          <cx:pt idx="81473">1</cx:pt>
          <cx:pt idx="81474">0</cx:pt>
          <cx:pt idx="81475">0</cx:pt>
          <cx:pt idx="81476">0</cx:pt>
          <cx:pt idx="81477">1</cx:pt>
          <cx:pt idx="81478">1</cx:pt>
          <cx:pt idx="81479">0</cx:pt>
          <cx:pt idx="81480">0</cx:pt>
          <cx:pt idx="81481">0</cx:pt>
          <cx:pt idx="81482">1</cx:pt>
          <cx:pt idx="81483">0</cx:pt>
          <cx:pt idx="81484">0</cx:pt>
          <cx:pt idx="81485">1</cx:pt>
          <cx:pt idx="81486">0</cx:pt>
          <cx:pt idx="81487">0</cx:pt>
          <cx:pt idx="81488">0</cx:pt>
          <cx:pt idx="81489">1</cx:pt>
          <cx:pt idx="81490">1</cx:pt>
          <cx:pt idx="81491">1</cx:pt>
          <cx:pt idx="81492">0</cx:pt>
          <cx:pt idx="81493">0</cx:pt>
          <cx:pt idx="81494">1</cx:pt>
          <cx:pt idx="81495">0</cx:pt>
          <cx:pt idx="81496">0</cx:pt>
          <cx:pt idx="81497">0</cx:pt>
          <cx:pt idx="81498">0</cx:pt>
          <cx:pt idx="81499">0</cx:pt>
          <cx:pt idx="81500">0</cx:pt>
          <cx:pt idx="81501">0</cx:pt>
          <cx:pt idx="81502">0</cx:pt>
          <cx:pt idx="81503">1</cx:pt>
          <cx:pt idx="81504">0</cx:pt>
          <cx:pt idx="81505">0</cx:pt>
          <cx:pt idx="81506">1</cx:pt>
          <cx:pt idx="81507">0</cx:pt>
          <cx:pt idx="81508">1</cx:pt>
          <cx:pt idx="81509">1</cx:pt>
          <cx:pt idx="81510">0</cx:pt>
          <cx:pt idx="81511">0</cx:pt>
          <cx:pt idx="81512">1</cx:pt>
          <cx:pt idx="81513">1</cx:pt>
          <cx:pt idx="81514">0</cx:pt>
          <cx:pt idx="81515">0</cx:pt>
          <cx:pt idx="81516">0</cx:pt>
          <cx:pt idx="81517">0</cx:pt>
          <cx:pt idx="81518">0</cx:pt>
          <cx:pt idx="81519">1</cx:pt>
          <cx:pt idx="81520">0</cx:pt>
          <cx:pt idx="81521">1</cx:pt>
          <cx:pt idx="81522">0</cx:pt>
          <cx:pt idx="81523">0</cx:pt>
          <cx:pt idx="81524">1</cx:pt>
          <cx:pt idx="81525">1</cx:pt>
          <cx:pt idx="81526">1</cx:pt>
          <cx:pt idx="81527">0</cx:pt>
          <cx:pt idx="81528">0</cx:pt>
          <cx:pt idx="81529">1</cx:pt>
          <cx:pt idx="81530">0</cx:pt>
          <cx:pt idx="81531">0</cx:pt>
          <cx:pt idx="81532">1</cx:pt>
          <cx:pt idx="81533">0</cx:pt>
          <cx:pt idx="81534">0</cx:pt>
          <cx:pt idx="81535">1</cx:pt>
          <cx:pt idx="81536">0</cx:pt>
          <cx:pt idx="81537">0</cx:pt>
          <cx:pt idx="81538">0</cx:pt>
          <cx:pt idx="81539">0</cx:pt>
          <cx:pt idx="81540">0</cx:pt>
          <cx:pt idx="81541">1</cx:pt>
          <cx:pt idx="81542">1</cx:pt>
          <cx:pt idx="81543">1</cx:pt>
          <cx:pt idx="81544">0</cx:pt>
          <cx:pt idx="81545">1</cx:pt>
          <cx:pt idx="81546">1</cx:pt>
          <cx:pt idx="81547">0</cx:pt>
          <cx:pt idx="81548">0</cx:pt>
          <cx:pt idx="81549">0</cx:pt>
          <cx:pt idx="81550">0</cx:pt>
          <cx:pt idx="81551">0</cx:pt>
          <cx:pt idx="81552">0</cx:pt>
          <cx:pt idx="81553">1</cx:pt>
          <cx:pt idx="81554">0</cx:pt>
          <cx:pt idx="81555">0</cx:pt>
          <cx:pt idx="81556">0</cx:pt>
          <cx:pt idx="81557">0</cx:pt>
          <cx:pt idx="81558">1</cx:pt>
          <cx:pt idx="81559">1</cx:pt>
          <cx:pt idx="81560">0</cx:pt>
          <cx:pt idx="81561">1</cx:pt>
          <cx:pt idx="81562">1</cx:pt>
          <cx:pt idx="81563">1</cx:pt>
          <cx:pt idx="81564">0</cx:pt>
          <cx:pt idx="81565">1</cx:pt>
          <cx:pt idx="81566">0</cx:pt>
          <cx:pt idx="81567">1</cx:pt>
          <cx:pt idx="81568">0</cx:pt>
          <cx:pt idx="81569">0</cx:pt>
          <cx:pt idx="81570">0</cx:pt>
          <cx:pt idx="81571">1</cx:pt>
          <cx:pt idx="81572">0</cx:pt>
          <cx:pt idx="81573">1</cx:pt>
          <cx:pt idx="81574">1</cx:pt>
          <cx:pt idx="81575">1</cx:pt>
          <cx:pt idx="81576">1</cx:pt>
          <cx:pt idx="81577">1</cx:pt>
          <cx:pt idx="81578">1</cx:pt>
          <cx:pt idx="81579">0</cx:pt>
          <cx:pt idx="81580">0</cx:pt>
          <cx:pt idx="81581">0</cx:pt>
          <cx:pt idx="81582">0</cx:pt>
          <cx:pt idx="81583">0</cx:pt>
          <cx:pt idx="81584">0</cx:pt>
          <cx:pt idx="81585">0</cx:pt>
          <cx:pt idx="81586">0</cx:pt>
          <cx:pt idx="81587">1</cx:pt>
          <cx:pt idx="81588">0</cx:pt>
          <cx:pt idx="81589">0</cx:pt>
          <cx:pt idx="81590">0</cx:pt>
          <cx:pt idx="81591">0</cx:pt>
          <cx:pt idx="81592">1</cx:pt>
          <cx:pt idx="81593">1</cx:pt>
          <cx:pt idx="81594">1</cx:pt>
          <cx:pt idx="81595">1</cx:pt>
          <cx:pt idx="81596">1</cx:pt>
          <cx:pt idx="81597">0</cx:pt>
          <cx:pt idx="81598">0</cx:pt>
          <cx:pt idx="81599">0</cx:pt>
          <cx:pt idx="81600">0</cx:pt>
          <cx:pt idx="81601">1</cx:pt>
          <cx:pt idx="81602">1</cx:pt>
          <cx:pt idx="81603">0</cx:pt>
          <cx:pt idx="81604">0</cx:pt>
          <cx:pt idx="81605">0</cx:pt>
          <cx:pt idx="81606">1</cx:pt>
          <cx:pt idx="81607">0</cx:pt>
          <cx:pt idx="81608">1</cx:pt>
          <cx:pt idx="81609">0</cx:pt>
          <cx:pt idx="81610">0</cx:pt>
          <cx:pt idx="81611">1</cx:pt>
          <cx:pt idx="81612">0</cx:pt>
          <cx:pt idx="81613">0</cx:pt>
          <cx:pt idx="81614">0</cx:pt>
          <cx:pt idx="81615">1</cx:pt>
          <cx:pt idx="81616">1</cx:pt>
          <cx:pt idx="81617">0</cx:pt>
          <cx:pt idx="81618">1</cx:pt>
          <cx:pt idx="81619">0</cx:pt>
          <cx:pt idx="81620">0</cx:pt>
          <cx:pt idx="81621">0</cx:pt>
          <cx:pt idx="81622">1</cx:pt>
          <cx:pt idx="81623">0</cx:pt>
          <cx:pt idx="81624">0</cx:pt>
          <cx:pt idx="81625">0</cx:pt>
          <cx:pt idx="81626">1</cx:pt>
          <cx:pt idx="81627">0</cx:pt>
          <cx:pt idx="81628">0</cx:pt>
          <cx:pt idx="81629">0</cx:pt>
          <cx:pt idx="81630">1</cx:pt>
          <cx:pt idx="81631">1</cx:pt>
          <cx:pt idx="81632">0</cx:pt>
          <cx:pt idx="81633">1</cx:pt>
          <cx:pt idx="81634">0</cx:pt>
          <cx:pt idx="81635">1</cx:pt>
          <cx:pt idx="81636">1</cx:pt>
          <cx:pt idx="81637">0</cx:pt>
          <cx:pt idx="81638">1</cx:pt>
          <cx:pt idx="81639">0</cx:pt>
          <cx:pt idx="81640">0</cx:pt>
          <cx:pt idx="81641">1</cx:pt>
          <cx:pt idx="81642">0</cx:pt>
          <cx:pt idx="81643">0</cx:pt>
          <cx:pt idx="81644">0</cx:pt>
          <cx:pt idx="81645">0</cx:pt>
          <cx:pt idx="81646">1</cx:pt>
          <cx:pt idx="81647">1</cx:pt>
          <cx:pt idx="81648">1</cx:pt>
          <cx:pt idx="81649">1</cx:pt>
          <cx:pt idx="81650">1</cx:pt>
          <cx:pt idx="81651">1</cx:pt>
          <cx:pt idx="81652">0</cx:pt>
          <cx:pt idx="81653">0</cx:pt>
          <cx:pt idx="81654">1</cx:pt>
          <cx:pt idx="81655">1</cx:pt>
          <cx:pt idx="81656">0</cx:pt>
          <cx:pt idx="81657">0</cx:pt>
          <cx:pt idx="81658">0</cx:pt>
          <cx:pt idx="81659">0</cx:pt>
          <cx:pt idx="81660">1</cx:pt>
          <cx:pt idx="81661">1</cx:pt>
          <cx:pt idx="81662">0</cx:pt>
          <cx:pt idx="81663">0</cx:pt>
          <cx:pt idx="81664">1</cx:pt>
          <cx:pt idx="81665">0</cx:pt>
          <cx:pt idx="81666">1</cx:pt>
          <cx:pt idx="81667">1</cx:pt>
          <cx:pt idx="81668">0</cx:pt>
          <cx:pt idx="81669">1</cx:pt>
          <cx:pt idx="81670">1</cx:pt>
          <cx:pt idx="81671">1</cx:pt>
          <cx:pt idx="81672">1</cx:pt>
          <cx:pt idx="81673">1</cx:pt>
          <cx:pt idx="81674">1</cx:pt>
          <cx:pt idx="81675">0</cx:pt>
          <cx:pt idx="81676">0</cx:pt>
          <cx:pt idx="81677">0</cx:pt>
          <cx:pt idx="81678">0</cx:pt>
          <cx:pt idx="81679">1</cx:pt>
          <cx:pt idx="81680">1</cx:pt>
          <cx:pt idx="81681">0</cx:pt>
          <cx:pt idx="81682">1</cx:pt>
          <cx:pt idx="81683">0</cx:pt>
          <cx:pt idx="81684">1</cx:pt>
          <cx:pt idx="81685">0</cx:pt>
          <cx:pt idx="81686">0</cx:pt>
          <cx:pt idx="81687">1</cx:pt>
          <cx:pt idx="81688">0</cx:pt>
          <cx:pt idx="81689">1</cx:pt>
          <cx:pt idx="81690">0</cx:pt>
          <cx:pt idx="81691">0</cx:pt>
          <cx:pt idx="81692">1</cx:pt>
          <cx:pt idx="81693">0</cx:pt>
          <cx:pt idx="81694">0</cx:pt>
          <cx:pt idx="81695">0</cx:pt>
          <cx:pt idx="81696">1</cx:pt>
          <cx:pt idx="81697">0</cx:pt>
          <cx:pt idx="81698">0</cx:pt>
          <cx:pt idx="81699">1</cx:pt>
          <cx:pt idx="81700">1</cx:pt>
          <cx:pt idx="81701">1</cx:pt>
          <cx:pt idx="81702">1</cx:pt>
          <cx:pt idx="81703">0</cx:pt>
          <cx:pt idx="81704">1</cx:pt>
          <cx:pt idx="81705">0</cx:pt>
          <cx:pt idx="81706">0</cx:pt>
          <cx:pt idx="81707">1</cx:pt>
          <cx:pt idx="81708">1</cx:pt>
          <cx:pt idx="81709">1</cx:pt>
          <cx:pt idx="81710">0</cx:pt>
          <cx:pt idx="81711">0</cx:pt>
          <cx:pt idx="81712">1</cx:pt>
          <cx:pt idx="81713">1</cx:pt>
          <cx:pt idx="81714">0</cx:pt>
          <cx:pt idx="81715">1</cx:pt>
          <cx:pt idx="81716">1</cx:pt>
          <cx:pt idx="81717">1</cx:pt>
          <cx:pt idx="81718">1</cx:pt>
          <cx:pt idx="81719">0</cx:pt>
          <cx:pt idx="81720">0</cx:pt>
          <cx:pt idx="81721">1</cx:pt>
          <cx:pt idx="81722">1</cx:pt>
          <cx:pt idx="81723">1</cx:pt>
          <cx:pt idx="81724">1</cx:pt>
          <cx:pt idx="81725">1</cx:pt>
          <cx:pt idx="81726">0</cx:pt>
          <cx:pt idx="81727">1</cx:pt>
          <cx:pt idx="81728">1</cx:pt>
          <cx:pt idx="81729">1</cx:pt>
          <cx:pt idx="81730">1</cx:pt>
          <cx:pt idx="81731">0</cx:pt>
          <cx:pt idx="81732">0</cx:pt>
          <cx:pt idx="81733">0</cx:pt>
          <cx:pt idx="81734">1</cx:pt>
          <cx:pt idx="81735">1</cx:pt>
          <cx:pt idx="81736">0</cx:pt>
          <cx:pt idx="81737">1</cx:pt>
          <cx:pt idx="81738">0</cx:pt>
          <cx:pt idx="81739">0</cx:pt>
          <cx:pt idx="81740">1</cx:pt>
          <cx:pt idx="81741">0</cx:pt>
          <cx:pt idx="81742">0</cx:pt>
          <cx:pt idx="81743">0</cx:pt>
          <cx:pt idx="81744">0</cx:pt>
          <cx:pt idx="81745">0</cx:pt>
          <cx:pt idx="81746">0</cx:pt>
          <cx:pt idx="81747">0</cx:pt>
          <cx:pt idx="81748">0</cx:pt>
          <cx:pt idx="81749">1</cx:pt>
          <cx:pt idx="81750">1</cx:pt>
          <cx:pt idx="81751">0</cx:pt>
          <cx:pt idx="81752">1</cx:pt>
          <cx:pt idx="81753">1</cx:pt>
          <cx:pt idx="81754">0</cx:pt>
          <cx:pt idx="81755">0</cx:pt>
          <cx:pt idx="81756">0</cx:pt>
          <cx:pt idx="81757">0</cx:pt>
          <cx:pt idx="81758">1</cx:pt>
          <cx:pt idx="81759">1</cx:pt>
          <cx:pt idx="81760">0</cx:pt>
          <cx:pt idx="81761">1</cx:pt>
          <cx:pt idx="81762">0</cx:pt>
          <cx:pt idx="81763">0</cx:pt>
          <cx:pt idx="81764">0</cx:pt>
          <cx:pt idx="81765">0</cx:pt>
          <cx:pt idx="81766">0</cx:pt>
          <cx:pt idx="81767">0</cx:pt>
          <cx:pt idx="81768">0</cx:pt>
          <cx:pt idx="81769">1</cx:pt>
          <cx:pt idx="81770">0</cx:pt>
          <cx:pt idx="81771">1</cx:pt>
          <cx:pt idx="81772">0</cx:pt>
          <cx:pt idx="81773">1</cx:pt>
          <cx:pt idx="81774">0</cx:pt>
          <cx:pt idx="81775">1</cx:pt>
          <cx:pt idx="81776">1</cx:pt>
          <cx:pt idx="81777">0</cx:pt>
          <cx:pt idx="81778">0</cx:pt>
          <cx:pt idx="81779">1</cx:pt>
          <cx:pt idx="81780">0</cx:pt>
          <cx:pt idx="81781">0</cx:pt>
          <cx:pt idx="81782">0</cx:pt>
          <cx:pt idx="81783">0</cx:pt>
          <cx:pt idx="81784">1</cx:pt>
          <cx:pt idx="81785">0</cx:pt>
          <cx:pt idx="81786">1</cx:pt>
          <cx:pt idx="81787">1</cx:pt>
          <cx:pt idx="81788">1</cx:pt>
          <cx:pt idx="81789">0</cx:pt>
          <cx:pt idx="81790">1</cx:pt>
          <cx:pt idx="81791">0</cx:pt>
          <cx:pt idx="81792">1</cx:pt>
          <cx:pt idx="81793">0</cx:pt>
          <cx:pt idx="81794">1</cx:pt>
          <cx:pt idx="81795">0</cx:pt>
          <cx:pt idx="81796">1</cx:pt>
          <cx:pt idx="81797">0</cx:pt>
          <cx:pt idx="81798">1</cx:pt>
          <cx:pt idx="81799">1</cx:pt>
          <cx:pt idx="81800">1</cx:pt>
          <cx:pt idx="81801">1</cx:pt>
          <cx:pt idx="81802">1</cx:pt>
          <cx:pt idx="81803">1</cx:pt>
          <cx:pt idx="81804">0</cx:pt>
          <cx:pt idx="81805">0</cx:pt>
          <cx:pt idx="81806">0</cx:pt>
          <cx:pt idx="81807">0</cx:pt>
          <cx:pt idx="81808">1</cx:pt>
          <cx:pt idx="81809">1</cx:pt>
          <cx:pt idx="81810">0</cx:pt>
          <cx:pt idx="81811">1</cx:pt>
          <cx:pt idx="81812">0</cx:pt>
          <cx:pt idx="81813">1</cx:pt>
          <cx:pt idx="81814">1</cx:pt>
          <cx:pt idx="81815">0</cx:pt>
          <cx:pt idx="81816">0</cx:pt>
          <cx:pt idx="81817">1</cx:pt>
          <cx:pt idx="81818">0</cx:pt>
          <cx:pt idx="81819">0</cx:pt>
          <cx:pt idx="81820">0</cx:pt>
          <cx:pt idx="81821">1</cx:pt>
          <cx:pt idx="81822">1</cx:pt>
          <cx:pt idx="81823">0</cx:pt>
          <cx:pt idx="81824">1</cx:pt>
          <cx:pt idx="81825">1</cx:pt>
          <cx:pt idx="81826">0</cx:pt>
          <cx:pt idx="81827">1</cx:pt>
          <cx:pt idx="81828">1</cx:pt>
          <cx:pt idx="81829">0</cx:pt>
          <cx:pt idx="81830">0</cx:pt>
          <cx:pt idx="81831">1</cx:pt>
          <cx:pt idx="81832">0</cx:pt>
          <cx:pt idx="81833">1</cx:pt>
          <cx:pt idx="81834">0</cx:pt>
          <cx:pt idx="81835">1</cx:pt>
          <cx:pt idx="81836">0</cx:pt>
          <cx:pt idx="81837">1</cx:pt>
          <cx:pt idx="81838">1</cx:pt>
          <cx:pt idx="81839">1</cx:pt>
          <cx:pt idx="81840">1</cx:pt>
          <cx:pt idx="81841">0</cx:pt>
          <cx:pt idx="81842">0</cx:pt>
          <cx:pt idx="81843">1</cx:pt>
          <cx:pt idx="81844">0</cx:pt>
          <cx:pt idx="81845">1</cx:pt>
          <cx:pt idx="81846">1</cx:pt>
          <cx:pt idx="81847">0</cx:pt>
          <cx:pt idx="81848">1</cx:pt>
          <cx:pt idx="81849">0</cx:pt>
          <cx:pt idx="81850">1</cx:pt>
          <cx:pt idx="81851">0</cx:pt>
          <cx:pt idx="81852">0</cx:pt>
          <cx:pt idx="81853">1</cx:pt>
          <cx:pt idx="81854">0</cx:pt>
          <cx:pt idx="81855">0</cx:pt>
          <cx:pt idx="81856">0</cx:pt>
          <cx:pt idx="81857">0</cx:pt>
          <cx:pt idx="81858">0</cx:pt>
          <cx:pt idx="81859">1</cx:pt>
          <cx:pt idx="81860">1</cx:pt>
          <cx:pt idx="81861">1</cx:pt>
          <cx:pt idx="81862">0</cx:pt>
          <cx:pt idx="81863">1</cx:pt>
          <cx:pt idx="81864">1</cx:pt>
          <cx:pt idx="81865">0</cx:pt>
          <cx:pt idx="81866">1</cx:pt>
          <cx:pt idx="81867">0</cx:pt>
          <cx:pt idx="81868">0</cx:pt>
          <cx:pt idx="81869">1</cx:pt>
          <cx:pt idx="81870">0</cx:pt>
          <cx:pt idx="81871">1</cx:pt>
          <cx:pt idx="81872">0</cx:pt>
          <cx:pt idx="81873">1</cx:pt>
          <cx:pt idx="81874">0</cx:pt>
          <cx:pt idx="81875">0</cx:pt>
          <cx:pt idx="81876">0</cx:pt>
          <cx:pt idx="81877">0</cx:pt>
          <cx:pt idx="81878">1</cx:pt>
          <cx:pt idx="81879">0</cx:pt>
          <cx:pt idx="81880">1</cx:pt>
          <cx:pt idx="81881">1</cx:pt>
          <cx:pt idx="81882">1</cx:pt>
          <cx:pt idx="81883">0</cx:pt>
          <cx:pt idx="81884">1</cx:pt>
          <cx:pt idx="81885">0</cx:pt>
          <cx:pt idx="81886">0</cx:pt>
          <cx:pt idx="81887">0</cx:pt>
          <cx:pt idx="81888">0</cx:pt>
          <cx:pt idx="81889">1</cx:pt>
          <cx:pt idx="81890">1</cx:pt>
          <cx:pt idx="81891">0</cx:pt>
          <cx:pt idx="81892">0</cx:pt>
          <cx:pt idx="81893">0</cx:pt>
          <cx:pt idx="81894">0</cx:pt>
          <cx:pt idx="81895">0</cx:pt>
          <cx:pt idx="81896">0</cx:pt>
          <cx:pt idx="81897">1</cx:pt>
          <cx:pt idx="81898">0</cx:pt>
          <cx:pt idx="81899">0</cx:pt>
          <cx:pt idx="81900">1</cx:pt>
          <cx:pt idx="81901">0</cx:pt>
          <cx:pt idx="81902">1</cx:pt>
          <cx:pt idx="81903">1</cx:pt>
          <cx:pt idx="81904">1</cx:pt>
          <cx:pt idx="81905">1</cx:pt>
          <cx:pt idx="81906">0</cx:pt>
          <cx:pt idx="81907">0</cx:pt>
          <cx:pt idx="81908">1</cx:pt>
          <cx:pt idx="81909">0</cx:pt>
          <cx:pt idx="81910">0</cx:pt>
          <cx:pt idx="81911">0</cx:pt>
          <cx:pt idx="81912">0</cx:pt>
          <cx:pt idx="81913">0</cx:pt>
          <cx:pt idx="81914">0</cx:pt>
          <cx:pt idx="81915">1</cx:pt>
          <cx:pt idx="81916">0</cx:pt>
          <cx:pt idx="81917">1</cx:pt>
          <cx:pt idx="81918">1</cx:pt>
          <cx:pt idx="81919">0</cx:pt>
          <cx:pt idx="81920">0</cx:pt>
          <cx:pt idx="81921">0</cx:pt>
          <cx:pt idx="81922">1</cx:pt>
          <cx:pt idx="81923">1</cx:pt>
          <cx:pt idx="81924">1</cx:pt>
          <cx:pt idx="81925">1</cx:pt>
          <cx:pt idx="81926">1</cx:pt>
          <cx:pt idx="81927">1</cx:pt>
          <cx:pt idx="81928">1</cx:pt>
          <cx:pt idx="81929">0</cx:pt>
          <cx:pt idx="81930">0</cx:pt>
          <cx:pt idx="81931">0</cx:pt>
          <cx:pt idx="81932">0</cx:pt>
          <cx:pt idx="81933">1</cx:pt>
          <cx:pt idx="81934">1</cx:pt>
          <cx:pt idx="81935">1</cx:pt>
          <cx:pt idx="81936">0</cx:pt>
          <cx:pt idx="81937">0</cx:pt>
          <cx:pt idx="81938">0</cx:pt>
          <cx:pt idx="81939">0</cx:pt>
          <cx:pt idx="81940">1</cx:pt>
          <cx:pt idx="81941">0</cx:pt>
          <cx:pt idx="81942">0</cx:pt>
          <cx:pt idx="81943">1</cx:pt>
          <cx:pt idx="81944">0</cx:pt>
          <cx:pt idx="81945">1</cx:pt>
          <cx:pt idx="81946">1</cx:pt>
          <cx:pt idx="81947">1</cx:pt>
          <cx:pt idx="81948">1</cx:pt>
          <cx:pt idx="81949">0</cx:pt>
          <cx:pt idx="81950">1</cx:pt>
          <cx:pt idx="81951">0</cx:pt>
          <cx:pt idx="81952">0</cx:pt>
          <cx:pt idx="81953">0</cx:pt>
          <cx:pt idx="81954">0</cx:pt>
          <cx:pt idx="81955">1</cx:pt>
          <cx:pt idx="81956">0</cx:pt>
          <cx:pt idx="81957">0</cx:pt>
          <cx:pt idx="81958">1</cx:pt>
          <cx:pt idx="81959">1</cx:pt>
          <cx:pt idx="81960">0</cx:pt>
          <cx:pt idx="81961">1</cx:pt>
          <cx:pt idx="81962">1</cx:pt>
          <cx:pt idx="81963">0</cx:pt>
          <cx:pt idx="81964">0</cx:pt>
          <cx:pt idx="81965">0</cx:pt>
          <cx:pt idx="81966">0</cx:pt>
          <cx:pt idx="81967">0</cx:pt>
          <cx:pt idx="81968">1</cx:pt>
          <cx:pt idx="81969">0</cx:pt>
          <cx:pt idx="81970">1</cx:pt>
          <cx:pt idx="81971">1</cx:pt>
          <cx:pt idx="81972">0</cx:pt>
          <cx:pt idx="81973">1</cx:pt>
          <cx:pt idx="81974">1</cx:pt>
          <cx:pt idx="81975">1</cx:pt>
          <cx:pt idx="81976">1</cx:pt>
          <cx:pt idx="81977">0</cx:pt>
          <cx:pt idx="81978">1</cx:pt>
          <cx:pt idx="81979">0</cx:pt>
          <cx:pt idx="81980">0</cx:pt>
          <cx:pt idx="81981">0</cx:pt>
          <cx:pt idx="81982">1</cx:pt>
          <cx:pt idx="81983">1</cx:pt>
          <cx:pt idx="81984">0</cx:pt>
          <cx:pt idx="81985">1</cx:pt>
          <cx:pt idx="81986">0</cx:pt>
          <cx:pt idx="81987">1</cx:pt>
          <cx:pt idx="81988">1</cx:pt>
          <cx:pt idx="81989">0</cx:pt>
          <cx:pt idx="81990">0</cx:pt>
          <cx:pt idx="81991">0</cx:pt>
          <cx:pt idx="81992">0</cx:pt>
          <cx:pt idx="81993">0</cx:pt>
          <cx:pt idx="81994">0</cx:pt>
          <cx:pt idx="81995">1</cx:pt>
          <cx:pt idx="81996">1</cx:pt>
          <cx:pt idx="81997">0</cx:pt>
          <cx:pt idx="81998">1</cx:pt>
          <cx:pt idx="81999">1</cx:pt>
          <cx:pt idx="82000">0</cx:pt>
          <cx:pt idx="82001">1</cx:pt>
          <cx:pt idx="82002">0</cx:pt>
          <cx:pt idx="82003">0</cx:pt>
          <cx:pt idx="82004">0</cx:pt>
          <cx:pt idx="82005">0</cx:pt>
          <cx:pt idx="82006">0</cx:pt>
          <cx:pt idx="82007">0</cx:pt>
          <cx:pt idx="82008">0</cx:pt>
          <cx:pt idx="82009">1</cx:pt>
          <cx:pt idx="82010">0</cx:pt>
          <cx:pt idx="82011">1</cx:pt>
          <cx:pt idx="82012">0</cx:pt>
          <cx:pt idx="82013">1</cx:pt>
          <cx:pt idx="82014">0</cx:pt>
          <cx:pt idx="82015">1</cx:pt>
          <cx:pt idx="82016">0</cx:pt>
          <cx:pt idx="82017">0</cx:pt>
          <cx:pt idx="82018">1</cx:pt>
          <cx:pt idx="82019">1</cx:pt>
          <cx:pt idx="82020">0</cx:pt>
          <cx:pt idx="82021">0</cx:pt>
          <cx:pt idx="82022">0</cx:pt>
          <cx:pt idx="82023">1</cx:pt>
          <cx:pt idx="82024">1</cx:pt>
          <cx:pt idx="82025">0</cx:pt>
          <cx:pt idx="82026">0</cx:pt>
          <cx:pt idx="82027">1</cx:pt>
          <cx:pt idx="82028">1</cx:pt>
          <cx:pt idx="82029">0</cx:pt>
          <cx:pt idx="82030">1</cx:pt>
          <cx:pt idx="82031">0</cx:pt>
          <cx:pt idx="82032">0</cx:pt>
          <cx:pt idx="82033">1</cx:pt>
          <cx:pt idx="82034">0</cx:pt>
          <cx:pt idx="82035">0</cx:pt>
          <cx:pt idx="82036">1</cx:pt>
          <cx:pt idx="82037">0</cx:pt>
          <cx:pt idx="82038">0</cx:pt>
          <cx:pt idx="82039">1</cx:pt>
          <cx:pt idx="82040">0</cx:pt>
          <cx:pt idx="82041">0</cx:pt>
          <cx:pt idx="82042">1</cx:pt>
          <cx:pt idx="82043">0</cx:pt>
          <cx:pt idx="82044">1</cx:pt>
          <cx:pt idx="82045">0</cx:pt>
          <cx:pt idx="82046">1</cx:pt>
          <cx:pt idx="82047">1</cx:pt>
          <cx:pt idx="82048">0</cx:pt>
          <cx:pt idx="82049">1</cx:pt>
          <cx:pt idx="82050">1</cx:pt>
          <cx:pt idx="82051">0</cx:pt>
          <cx:pt idx="82052">1</cx:pt>
          <cx:pt idx="82053">0</cx:pt>
          <cx:pt idx="82054">0</cx:pt>
          <cx:pt idx="82055">0</cx:pt>
          <cx:pt idx="82056">1</cx:pt>
          <cx:pt idx="82057">0</cx:pt>
          <cx:pt idx="82058">1</cx:pt>
          <cx:pt idx="82059">0</cx:pt>
          <cx:pt idx="82060">1</cx:pt>
          <cx:pt idx="82061">0</cx:pt>
          <cx:pt idx="82062">0</cx:pt>
          <cx:pt idx="82063">0</cx:pt>
          <cx:pt idx="82064">0</cx:pt>
          <cx:pt idx="82065">1</cx:pt>
          <cx:pt idx="82066">0</cx:pt>
          <cx:pt idx="82067">1</cx:pt>
          <cx:pt idx="82068">0</cx:pt>
          <cx:pt idx="82069">1</cx:pt>
          <cx:pt idx="82070">1</cx:pt>
          <cx:pt idx="82071">0</cx:pt>
          <cx:pt idx="82072">1</cx:pt>
          <cx:pt idx="82073">0</cx:pt>
          <cx:pt idx="82074">0</cx:pt>
          <cx:pt idx="82075">1</cx:pt>
          <cx:pt idx="82076">1</cx:pt>
          <cx:pt idx="82077">0</cx:pt>
          <cx:pt idx="82078">0</cx:pt>
          <cx:pt idx="82079">1</cx:pt>
          <cx:pt idx="82080">1</cx:pt>
          <cx:pt idx="82081">0</cx:pt>
          <cx:pt idx="82082">0</cx:pt>
          <cx:pt idx="82083">0</cx:pt>
          <cx:pt idx="82084">1</cx:pt>
          <cx:pt idx="82085">0</cx:pt>
          <cx:pt idx="82086">1</cx:pt>
          <cx:pt idx="82087">0</cx:pt>
          <cx:pt idx="82088">0</cx:pt>
          <cx:pt idx="82089">0</cx:pt>
          <cx:pt idx="82090">0</cx:pt>
          <cx:pt idx="82091">1</cx:pt>
          <cx:pt idx="82092">1</cx:pt>
          <cx:pt idx="82093">0</cx:pt>
          <cx:pt idx="82094">0</cx:pt>
          <cx:pt idx="82095">1</cx:pt>
          <cx:pt idx="82096">0</cx:pt>
          <cx:pt idx="82097">1</cx:pt>
          <cx:pt idx="82098">0</cx:pt>
          <cx:pt idx="82099">0</cx:pt>
          <cx:pt idx="82100">0</cx:pt>
          <cx:pt idx="82101">1</cx:pt>
          <cx:pt idx="82102">0</cx:pt>
          <cx:pt idx="82103">1</cx:pt>
          <cx:pt idx="82104">0</cx:pt>
          <cx:pt idx="82105">1</cx:pt>
          <cx:pt idx="82106">0</cx:pt>
          <cx:pt idx="82107">1</cx:pt>
          <cx:pt idx="82108">1</cx:pt>
          <cx:pt idx="82109">1</cx:pt>
          <cx:pt idx="82110">0</cx:pt>
          <cx:pt idx="82111">0</cx:pt>
          <cx:pt idx="82112">0</cx:pt>
          <cx:pt idx="82113">0</cx:pt>
          <cx:pt idx="82114">0</cx:pt>
          <cx:pt idx="82115">1</cx:pt>
          <cx:pt idx="82116">1</cx:pt>
          <cx:pt idx="82117">0</cx:pt>
          <cx:pt idx="82118">0</cx:pt>
          <cx:pt idx="82119">0</cx:pt>
          <cx:pt idx="82120">1</cx:pt>
          <cx:pt idx="82121">0</cx:pt>
          <cx:pt idx="82122">0</cx:pt>
          <cx:pt idx="82123">0</cx:pt>
          <cx:pt idx="82124">0</cx:pt>
          <cx:pt idx="82125">1</cx:pt>
          <cx:pt idx="82126">0</cx:pt>
          <cx:pt idx="82127">1</cx:pt>
          <cx:pt idx="82128">1</cx:pt>
          <cx:pt idx="82129">1</cx:pt>
          <cx:pt idx="82130">1</cx:pt>
          <cx:pt idx="82131">0</cx:pt>
          <cx:pt idx="82132">1</cx:pt>
          <cx:pt idx="82133">0</cx:pt>
          <cx:pt idx="82134">1</cx:pt>
          <cx:pt idx="82135">0</cx:pt>
          <cx:pt idx="82136">0</cx:pt>
          <cx:pt idx="82137">1</cx:pt>
          <cx:pt idx="82138">1</cx:pt>
          <cx:pt idx="82139">0</cx:pt>
          <cx:pt idx="82140">0</cx:pt>
          <cx:pt idx="82141">1</cx:pt>
          <cx:pt idx="82142">1</cx:pt>
          <cx:pt idx="82143">0</cx:pt>
          <cx:pt idx="82144">1</cx:pt>
          <cx:pt idx="82145">0</cx:pt>
          <cx:pt idx="82146">1</cx:pt>
          <cx:pt idx="82147">0</cx:pt>
          <cx:pt idx="82148">1</cx:pt>
          <cx:pt idx="82149">1</cx:pt>
          <cx:pt idx="82150">0</cx:pt>
          <cx:pt idx="82151">0</cx:pt>
          <cx:pt idx="82152">0</cx:pt>
          <cx:pt idx="82153">0</cx:pt>
          <cx:pt idx="82154">0</cx:pt>
          <cx:pt idx="82155">0</cx:pt>
          <cx:pt idx="82156">1</cx:pt>
          <cx:pt idx="82157">1</cx:pt>
          <cx:pt idx="82158">0</cx:pt>
          <cx:pt idx="82159">0</cx:pt>
          <cx:pt idx="82160">1</cx:pt>
          <cx:pt idx="82161">1</cx:pt>
          <cx:pt idx="82162">0</cx:pt>
          <cx:pt idx="82163">0</cx:pt>
          <cx:pt idx="82164">0</cx:pt>
          <cx:pt idx="82165">1</cx:pt>
          <cx:pt idx="82166">1</cx:pt>
          <cx:pt idx="82167">0</cx:pt>
          <cx:pt idx="82168">1</cx:pt>
          <cx:pt idx="82169">1</cx:pt>
          <cx:pt idx="82170">0</cx:pt>
          <cx:pt idx="82171">0</cx:pt>
          <cx:pt idx="82172">0</cx:pt>
          <cx:pt idx="82173">0</cx:pt>
          <cx:pt idx="82174">0</cx:pt>
          <cx:pt idx="82175">1</cx:pt>
          <cx:pt idx="82176">1</cx:pt>
          <cx:pt idx="82177">1</cx:pt>
          <cx:pt idx="82178">1</cx:pt>
          <cx:pt idx="82179">0</cx:pt>
          <cx:pt idx="82180">0</cx:pt>
          <cx:pt idx="82181">1</cx:pt>
          <cx:pt idx="82182">0</cx:pt>
          <cx:pt idx="82183">1</cx:pt>
          <cx:pt idx="82184">0</cx:pt>
          <cx:pt idx="82185">1</cx:pt>
          <cx:pt idx="82186">1</cx:pt>
          <cx:pt idx="82187">0</cx:pt>
          <cx:pt idx="82188">1</cx:pt>
          <cx:pt idx="82189">0</cx:pt>
          <cx:pt idx="82190">0</cx:pt>
          <cx:pt idx="82191">1</cx:pt>
          <cx:pt idx="82192">0</cx:pt>
          <cx:pt idx="82193">0</cx:pt>
          <cx:pt idx="82194">1</cx:pt>
          <cx:pt idx="82195">0</cx:pt>
          <cx:pt idx="82196">0</cx:pt>
          <cx:pt idx="82197">1</cx:pt>
          <cx:pt idx="82198">0</cx:pt>
          <cx:pt idx="82199">0</cx:pt>
          <cx:pt idx="82200">1</cx:pt>
          <cx:pt idx="82201">0</cx:pt>
          <cx:pt idx="82202">0</cx:pt>
          <cx:pt idx="82203">1</cx:pt>
          <cx:pt idx="82204">1</cx:pt>
          <cx:pt idx="82205">1</cx:pt>
          <cx:pt idx="82206">1</cx:pt>
          <cx:pt idx="82207">1</cx:pt>
          <cx:pt idx="82208">0</cx:pt>
          <cx:pt idx="82209">1</cx:pt>
          <cx:pt idx="82210">0</cx:pt>
          <cx:pt idx="82211">0</cx:pt>
          <cx:pt idx="82212">1</cx:pt>
          <cx:pt idx="82213">1</cx:pt>
          <cx:pt idx="82214">1</cx:pt>
          <cx:pt idx="82215">1</cx:pt>
          <cx:pt idx="82216">1</cx:pt>
          <cx:pt idx="82217">0</cx:pt>
          <cx:pt idx="82218">1</cx:pt>
          <cx:pt idx="82219">0</cx:pt>
          <cx:pt idx="82220">1</cx:pt>
          <cx:pt idx="82221">0</cx:pt>
          <cx:pt idx="82222">0</cx:pt>
          <cx:pt idx="82223">1</cx:pt>
          <cx:pt idx="82224">0</cx:pt>
          <cx:pt idx="82225">0</cx:pt>
          <cx:pt idx="82226">0</cx:pt>
          <cx:pt idx="82227">0</cx:pt>
          <cx:pt idx="82228">0</cx:pt>
          <cx:pt idx="82229">0</cx:pt>
          <cx:pt idx="82230">1</cx:pt>
          <cx:pt idx="82231">1</cx:pt>
          <cx:pt idx="82232">1</cx:pt>
          <cx:pt idx="82233">0</cx:pt>
          <cx:pt idx="82234">1</cx:pt>
          <cx:pt idx="82235">1</cx:pt>
          <cx:pt idx="82236">0</cx:pt>
          <cx:pt idx="82237">1</cx:pt>
          <cx:pt idx="82238">1</cx:pt>
          <cx:pt idx="82239">0</cx:pt>
          <cx:pt idx="82240">1</cx:pt>
          <cx:pt idx="82241">0</cx:pt>
          <cx:pt idx="82242">0</cx:pt>
          <cx:pt idx="82243">1</cx:pt>
          <cx:pt idx="82244">0</cx:pt>
          <cx:pt idx="82245">1</cx:pt>
          <cx:pt idx="82246">1</cx:pt>
          <cx:pt idx="82247">1</cx:pt>
          <cx:pt idx="82248">1</cx:pt>
          <cx:pt idx="82249">1</cx:pt>
          <cx:pt idx="82250">0</cx:pt>
          <cx:pt idx="82251">1</cx:pt>
          <cx:pt idx="82252">1</cx:pt>
          <cx:pt idx="82253">1</cx:pt>
          <cx:pt idx="82254">1</cx:pt>
          <cx:pt idx="82255">0</cx:pt>
          <cx:pt idx="82256">0</cx:pt>
          <cx:pt idx="82257">0</cx:pt>
          <cx:pt idx="82258">1</cx:pt>
          <cx:pt idx="82259">0</cx:pt>
          <cx:pt idx="82260">1</cx:pt>
          <cx:pt idx="82261">1</cx:pt>
          <cx:pt idx="82262">1</cx:pt>
          <cx:pt idx="82263">0</cx:pt>
          <cx:pt idx="82264">1</cx:pt>
          <cx:pt idx="82265">1</cx:pt>
          <cx:pt idx="82266">1</cx:pt>
          <cx:pt idx="82267">1</cx:pt>
          <cx:pt idx="82268">0</cx:pt>
          <cx:pt idx="82269">1</cx:pt>
          <cx:pt idx="82270">1</cx:pt>
          <cx:pt idx="82271">1</cx:pt>
          <cx:pt idx="82272">0</cx:pt>
          <cx:pt idx="82273">0</cx:pt>
          <cx:pt idx="82274">1</cx:pt>
          <cx:pt idx="82275">1</cx:pt>
          <cx:pt idx="82276">1</cx:pt>
          <cx:pt idx="82277">0</cx:pt>
          <cx:pt idx="82278">1</cx:pt>
          <cx:pt idx="82279">1</cx:pt>
          <cx:pt idx="82280">1</cx:pt>
          <cx:pt idx="82281">0</cx:pt>
          <cx:pt idx="82282">0</cx:pt>
          <cx:pt idx="82283">1</cx:pt>
          <cx:pt idx="82284">1</cx:pt>
          <cx:pt idx="82285">0</cx:pt>
          <cx:pt idx="82286">1</cx:pt>
          <cx:pt idx="82287">0</cx:pt>
          <cx:pt idx="82288">0</cx:pt>
          <cx:pt idx="82289">0</cx:pt>
          <cx:pt idx="82290">0</cx:pt>
          <cx:pt idx="82291">0</cx:pt>
          <cx:pt idx="82292">0</cx:pt>
          <cx:pt idx="82293">1</cx:pt>
          <cx:pt idx="82294">1</cx:pt>
          <cx:pt idx="82295">0</cx:pt>
          <cx:pt idx="82296">1</cx:pt>
          <cx:pt idx="82297">0</cx:pt>
          <cx:pt idx="82298">1</cx:pt>
          <cx:pt idx="82299">1</cx:pt>
          <cx:pt idx="82300">0</cx:pt>
          <cx:pt idx="82301">1</cx:pt>
          <cx:pt idx="82302">0</cx:pt>
          <cx:pt idx="82303">1</cx:pt>
          <cx:pt idx="82304">1</cx:pt>
          <cx:pt idx="82305">1</cx:pt>
          <cx:pt idx="82306">1</cx:pt>
          <cx:pt idx="82307">1</cx:pt>
          <cx:pt idx="82308">0</cx:pt>
          <cx:pt idx="82309">1</cx:pt>
          <cx:pt idx="82310">0</cx:pt>
          <cx:pt idx="82311">0</cx:pt>
          <cx:pt idx="82312">0</cx:pt>
          <cx:pt idx="82313">1</cx:pt>
          <cx:pt idx="82314">0</cx:pt>
          <cx:pt idx="82315">0</cx:pt>
          <cx:pt idx="82316">0</cx:pt>
          <cx:pt idx="82317">1</cx:pt>
          <cx:pt idx="82318">1</cx:pt>
          <cx:pt idx="82319">0</cx:pt>
          <cx:pt idx="82320">0</cx:pt>
          <cx:pt idx="82321">0</cx:pt>
          <cx:pt idx="82322">0</cx:pt>
          <cx:pt idx="82323">1</cx:pt>
          <cx:pt idx="82324">0</cx:pt>
          <cx:pt idx="82325">1</cx:pt>
          <cx:pt idx="82326">0</cx:pt>
          <cx:pt idx="82327">1</cx:pt>
          <cx:pt idx="82328">1</cx:pt>
          <cx:pt idx="82329">1</cx:pt>
          <cx:pt idx="82330">0</cx:pt>
          <cx:pt idx="82331">0</cx:pt>
          <cx:pt idx="82332">1</cx:pt>
          <cx:pt idx="82333">0</cx:pt>
          <cx:pt idx="82334">0</cx:pt>
          <cx:pt idx="82335">1</cx:pt>
          <cx:pt idx="82336">1</cx:pt>
          <cx:pt idx="82337">0</cx:pt>
          <cx:pt idx="82338">1</cx:pt>
          <cx:pt idx="82339">1</cx:pt>
          <cx:pt idx="82340">0</cx:pt>
          <cx:pt idx="82341">1</cx:pt>
          <cx:pt idx="82342">0</cx:pt>
          <cx:pt idx="82343">0</cx:pt>
          <cx:pt idx="82344">1</cx:pt>
          <cx:pt idx="82345">0</cx:pt>
          <cx:pt idx="82346">0</cx:pt>
          <cx:pt idx="82347">0</cx:pt>
          <cx:pt idx="82348">1</cx:pt>
          <cx:pt idx="82349">1</cx:pt>
          <cx:pt idx="82350">1</cx:pt>
          <cx:pt idx="82351">0</cx:pt>
          <cx:pt idx="82352">1</cx:pt>
          <cx:pt idx="82353">1</cx:pt>
          <cx:pt idx="82354">1</cx:pt>
          <cx:pt idx="82355">0</cx:pt>
          <cx:pt idx="82356">0</cx:pt>
          <cx:pt idx="82357">0</cx:pt>
          <cx:pt idx="82358">0</cx:pt>
          <cx:pt idx="82359">1</cx:pt>
          <cx:pt idx="82360">0</cx:pt>
          <cx:pt idx="82361">1</cx:pt>
          <cx:pt idx="82362">0</cx:pt>
          <cx:pt idx="82363">0</cx:pt>
          <cx:pt idx="82364">0</cx:pt>
          <cx:pt idx="82365">0</cx:pt>
          <cx:pt idx="82366">1</cx:pt>
          <cx:pt idx="82367">1</cx:pt>
          <cx:pt idx="82368">1</cx:pt>
          <cx:pt idx="82369">1</cx:pt>
          <cx:pt idx="82370">1</cx:pt>
          <cx:pt idx="82371">1</cx:pt>
          <cx:pt idx="82372">1</cx:pt>
          <cx:pt idx="82373">1</cx:pt>
          <cx:pt idx="82374">0</cx:pt>
          <cx:pt idx="82375">0</cx:pt>
          <cx:pt idx="82376">1</cx:pt>
          <cx:pt idx="82377">0</cx:pt>
          <cx:pt idx="82378">0</cx:pt>
          <cx:pt idx="82379">1</cx:pt>
          <cx:pt idx="82380">0</cx:pt>
          <cx:pt idx="82381">1</cx:pt>
          <cx:pt idx="82382">0</cx:pt>
          <cx:pt idx="82383">0</cx:pt>
          <cx:pt idx="82384">1</cx:pt>
          <cx:pt idx="82385">0</cx:pt>
          <cx:pt idx="82386">0</cx:pt>
          <cx:pt idx="82387">0</cx:pt>
          <cx:pt idx="82388">0</cx:pt>
          <cx:pt idx="82389">0</cx:pt>
          <cx:pt idx="82390">0</cx:pt>
          <cx:pt idx="82391">1</cx:pt>
          <cx:pt idx="82392">1</cx:pt>
          <cx:pt idx="82393">0</cx:pt>
          <cx:pt idx="82394">0</cx:pt>
          <cx:pt idx="82395">0</cx:pt>
          <cx:pt idx="82396">0</cx:pt>
          <cx:pt idx="82397">1</cx:pt>
          <cx:pt idx="82398">1</cx:pt>
          <cx:pt idx="82399">1</cx:pt>
          <cx:pt idx="82400">0</cx:pt>
          <cx:pt idx="82401">1</cx:pt>
          <cx:pt idx="82402">0</cx:pt>
          <cx:pt idx="82403">1</cx:pt>
          <cx:pt idx="82404">1</cx:pt>
          <cx:pt idx="82405">1</cx:pt>
          <cx:pt idx="82406">1</cx:pt>
          <cx:pt idx="82407">1</cx:pt>
          <cx:pt idx="82408">0</cx:pt>
          <cx:pt idx="82409">1</cx:pt>
          <cx:pt idx="82410">0</cx:pt>
          <cx:pt idx="82411">0</cx:pt>
          <cx:pt idx="82412">0</cx:pt>
          <cx:pt idx="82413">1</cx:pt>
          <cx:pt idx="82414">1</cx:pt>
          <cx:pt idx="82415">0</cx:pt>
          <cx:pt idx="82416">0</cx:pt>
          <cx:pt idx="82417">0</cx:pt>
          <cx:pt idx="82418">1</cx:pt>
          <cx:pt idx="82419">1</cx:pt>
          <cx:pt idx="82420">1</cx:pt>
          <cx:pt idx="82421">1</cx:pt>
          <cx:pt idx="82422">1</cx:pt>
          <cx:pt idx="82423">1</cx:pt>
          <cx:pt idx="82424">0</cx:pt>
          <cx:pt idx="82425">0</cx:pt>
          <cx:pt idx="82426">1</cx:pt>
          <cx:pt idx="82427">1</cx:pt>
          <cx:pt idx="82428">0</cx:pt>
          <cx:pt idx="82429">1</cx:pt>
          <cx:pt idx="82430">0</cx:pt>
          <cx:pt idx="82431">0</cx:pt>
          <cx:pt idx="82432">0</cx:pt>
          <cx:pt idx="82433">0</cx:pt>
          <cx:pt idx="82434">1</cx:pt>
          <cx:pt idx="82435">0</cx:pt>
          <cx:pt idx="82436">0</cx:pt>
          <cx:pt idx="82437">1</cx:pt>
          <cx:pt idx="82438">1</cx:pt>
          <cx:pt idx="82439">1</cx:pt>
          <cx:pt idx="82440">0</cx:pt>
          <cx:pt idx="82441">0</cx:pt>
          <cx:pt idx="82442">0</cx:pt>
          <cx:pt idx="82443">0</cx:pt>
          <cx:pt idx="82444">1</cx:pt>
          <cx:pt idx="82445">0</cx:pt>
          <cx:pt idx="82446">0</cx:pt>
          <cx:pt idx="82447">1</cx:pt>
          <cx:pt idx="82448">0</cx:pt>
          <cx:pt idx="82449">1</cx:pt>
          <cx:pt idx="82450">0</cx:pt>
          <cx:pt idx="82451">0</cx:pt>
          <cx:pt idx="82452">1</cx:pt>
          <cx:pt idx="82453">0</cx:pt>
          <cx:pt idx="82454">0</cx:pt>
          <cx:pt idx="82455">1</cx:pt>
          <cx:pt idx="82456">1</cx:pt>
          <cx:pt idx="82457">0</cx:pt>
          <cx:pt idx="82458">1</cx:pt>
          <cx:pt idx="82459">1</cx:pt>
          <cx:pt idx="82460">0</cx:pt>
          <cx:pt idx="82461">1</cx:pt>
          <cx:pt idx="82462">1</cx:pt>
          <cx:pt idx="82463">1</cx:pt>
          <cx:pt idx="82464">1</cx:pt>
          <cx:pt idx="82465">0</cx:pt>
          <cx:pt idx="82466">1</cx:pt>
          <cx:pt idx="82467">0</cx:pt>
          <cx:pt idx="82468">0</cx:pt>
          <cx:pt idx="82469">0</cx:pt>
          <cx:pt idx="82470">1</cx:pt>
          <cx:pt idx="82471">1</cx:pt>
          <cx:pt idx="82472">0</cx:pt>
          <cx:pt idx="82473">0</cx:pt>
          <cx:pt idx="82474">0</cx:pt>
          <cx:pt idx="82475">0</cx:pt>
          <cx:pt idx="82476">1</cx:pt>
          <cx:pt idx="82477">1</cx:pt>
          <cx:pt idx="82478">1</cx:pt>
          <cx:pt idx="82479">1</cx:pt>
          <cx:pt idx="82480">1</cx:pt>
          <cx:pt idx="82481">1</cx:pt>
          <cx:pt idx="82482">0</cx:pt>
          <cx:pt idx="82483">0</cx:pt>
          <cx:pt idx="82484">0</cx:pt>
          <cx:pt idx="82485">0</cx:pt>
          <cx:pt idx="82486">0</cx:pt>
          <cx:pt idx="82487">1</cx:pt>
          <cx:pt idx="82488">0</cx:pt>
          <cx:pt idx="82489">0</cx:pt>
          <cx:pt idx="82490">1</cx:pt>
          <cx:pt idx="82491">0</cx:pt>
          <cx:pt idx="82492">1</cx:pt>
          <cx:pt idx="82493">1</cx:pt>
          <cx:pt idx="82494">0</cx:pt>
          <cx:pt idx="82495">0</cx:pt>
          <cx:pt idx="82496">0</cx:pt>
          <cx:pt idx="82497">0</cx:pt>
          <cx:pt idx="82498">0</cx:pt>
          <cx:pt idx="82499">0</cx:pt>
          <cx:pt idx="82500">1</cx:pt>
          <cx:pt idx="82501">1</cx:pt>
          <cx:pt idx="82502">1</cx:pt>
          <cx:pt idx="82503">0</cx:pt>
          <cx:pt idx="82504">1</cx:pt>
          <cx:pt idx="82505">0</cx:pt>
          <cx:pt idx="82506">0</cx:pt>
          <cx:pt idx="82507">1</cx:pt>
          <cx:pt idx="82508">1</cx:pt>
          <cx:pt idx="82509">0</cx:pt>
          <cx:pt idx="82510">0</cx:pt>
          <cx:pt idx="82511">1</cx:pt>
          <cx:pt idx="82512">1</cx:pt>
          <cx:pt idx="82513">0</cx:pt>
          <cx:pt idx="82514">0</cx:pt>
          <cx:pt idx="82515">0</cx:pt>
          <cx:pt idx="82516">1</cx:pt>
          <cx:pt idx="82517">0</cx:pt>
          <cx:pt idx="82518">0</cx:pt>
          <cx:pt idx="82519">0</cx:pt>
          <cx:pt idx="82520">1</cx:pt>
          <cx:pt idx="82521">1</cx:pt>
          <cx:pt idx="82522">0</cx:pt>
          <cx:pt idx="82523">1</cx:pt>
          <cx:pt idx="82524">1</cx:pt>
          <cx:pt idx="82525">0</cx:pt>
          <cx:pt idx="82526">0</cx:pt>
          <cx:pt idx="82527">0</cx:pt>
          <cx:pt idx="82528">0</cx:pt>
          <cx:pt idx="82529">1</cx:pt>
          <cx:pt idx="82530">0</cx:pt>
          <cx:pt idx="82531">0</cx:pt>
          <cx:pt idx="82532">1</cx:pt>
          <cx:pt idx="82533">1</cx:pt>
          <cx:pt idx="82534">0</cx:pt>
          <cx:pt idx="82535">1</cx:pt>
          <cx:pt idx="82536">0</cx:pt>
          <cx:pt idx="82537">0</cx:pt>
          <cx:pt idx="82538">0</cx:pt>
          <cx:pt idx="82539">0</cx:pt>
          <cx:pt idx="82540">0</cx:pt>
          <cx:pt idx="82541">0</cx:pt>
          <cx:pt idx="82542">1</cx:pt>
          <cx:pt idx="82543">1</cx:pt>
          <cx:pt idx="82544">0</cx:pt>
          <cx:pt idx="82545">0</cx:pt>
          <cx:pt idx="82546">1</cx:pt>
          <cx:pt idx="82547">1</cx:pt>
          <cx:pt idx="82548">0</cx:pt>
          <cx:pt idx="82549">1</cx:pt>
          <cx:pt idx="82550">1</cx:pt>
          <cx:pt idx="82551">0</cx:pt>
          <cx:pt idx="82552">0</cx:pt>
          <cx:pt idx="82553">0</cx:pt>
          <cx:pt idx="82554">1</cx:pt>
          <cx:pt idx="82555">0</cx:pt>
          <cx:pt idx="82556">0</cx:pt>
          <cx:pt idx="82557">0</cx:pt>
          <cx:pt idx="82558">0</cx:pt>
          <cx:pt idx="82559">0</cx:pt>
          <cx:pt idx="82560">1</cx:pt>
          <cx:pt idx="82561">1</cx:pt>
          <cx:pt idx="82562">1</cx:pt>
          <cx:pt idx="82563">0</cx:pt>
          <cx:pt idx="82564">0</cx:pt>
          <cx:pt idx="82565">1</cx:pt>
          <cx:pt idx="82566">1</cx:pt>
          <cx:pt idx="82567">0</cx:pt>
          <cx:pt idx="82568">1</cx:pt>
          <cx:pt idx="82569">0</cx:pt>
          <cx:pt idx="82570">0</cx:pt>
          <cx:pt idx="82571">1</cx:pt>
          <cx:pt idx="82572">1</cx:pt>
          <cx:pt idx="82573">0</cx:pt>
          <cx:pt idx="82574">1</cx:pt>
          <cx:pt idx="82575">0</cx:pt>
          <cx:pt idx="82576">1</cx:pt>
          <cx:pt idx="82577">0</cx:pt>
          <cx:pt idx="82578">0</cx:pt>
          <cx:pt idx="82579">1</cx:pt>
          <cx:pt idx="82580">0</cx:pt>
          <cx:pt idx="82581">0</cx:pt>
          <cx:pt idx="82582">0</cx:pt>
          <cx:pt idx="82583">0</cx:pt>
          <cx:pt idx="82584">1</cx:pt>
          <cx:pt idx="82585">1</cx:pt>
          <cx:pt idx="82586">0</cx:pt>
          <cx:pt idx="82587">1</cx:pt>
          <cx:pt idx="82588">0</cx:pt>
          <cx:pt idx="82589">0</cx:pt>
          <cx:pt idx="82590">1</cx:pt>
          <cx:pt idx="82591">1</cx:pt>
          <cx:pt idx="82592">0</cx:pt>
          <cx:pt idx="82593">0</cx:pt>
          <cx:pt idx="82594">1</cx:pt>
          <cx:pt idx="82595">0</cx:pt>
          <cx:pt idx="82596">0</cx:pt>
          <cx:pt idx="82597">0</cx:pt>
          <cx:pt idx="82598">0</cx:pt>
          <cx:pt idx="82599">1</cx:pt>
          <cx:pt idx="82600">0</cx:pt>
          <cx:pt idx="82601">1</cx:pt>
          <cx:pt idx="82602">1</cx:pt>
          <cx:pt idx="82603">1</cx:pt>
          <cx:pt idx="82604">0</cx:pt>
          <cx:pt idx="82605">0</cx:pt>
          <cx:pt idx="82606">0</cx:pt>
          <cx:pt idx="82607">1</cx:pt>
          <cx:pt idx="82608">0</cx:pt>
          <cx:pt idx="82609">0</cx:pt>
          <cx:pt idx="82610">0</cx:pt>
          <cx:pt idx="82611">0</cx:pt>
          <cx:pt idx="82612">0</cx:pt>
          <cx:pt idx="82613">1</cx:pt>
          <cx:pt idx="82614">0</cx:pt>
          <cx:pt idx="82615">1</cx:pt>
          <cx:pt idx="82616">0</cx:pt>
          <cx:pt idx="82617">0</cx:pt>
          <cx:pt idx="82618">0</cx:pt>
          <cx:pt idx="82619">1</cx:pt>
          <cx:pt idx="82620">1</cx:pt>
          <cx:pt idx="82621">0</cx:pt>
          <cx:pt idx="82622">1</cx:pt>
          <cx:pt idx="82623">0</cx:pt>
          <cx:pt idx="82624">0</cx:pt>
          <cx:pt idx="82625">0</cx:pt>
          <cx:pt idx="82626">0</cx:pt>
          <cx:pt idx="82627">0</cx:pt>
          <cx:pt idx="82628">0</cx:pt>
          <cx:pt idx="82629">0</cx:pt>
          <cx:pt idx="82630">0</cx:pt>
          <cx:pt idx="82631">0</cx:pt>
          <cx:pt idx="82632">0</cx:pt>
          <cx:pt idx="82633">0</cx:pt>
          <cx:pt idx="82634">0</cx:pt>
          <cx:pt idx="82635">1</cx:pt>
          <cx:pt idx="82636">1</cx:pt>
          <cx:pt idx="82637">1</cx:pt>
          <cx:pt idx="82638">1</cx:pt>
          <cx:pt idx="82639">0</cx:pt>
          <cx:pt idx="82640">1</cx:pt>
          <cx:pt idx="82641">0</cx:pt>
          <cx:pt idx="82642">1</cx:pt>
          <cx:pt idx="82643">0</cx:pt>
          <cx:pt idx="82644">0</cx:pt>
          <cx:pt idx="82645">0</cx:pt>
          <cx:pt idx="82646">0</cx:pt>
          <cx:pt idx="82647">1</cx:pt>
          <cx:pt idx="82648">0</cx:pt>
          <cx:pt idx="82649">0</cx:pt>
          <cx:pt idx="82650">1</cx:pt>
          <cx:pt idx="82651">0</cx:pt>
          <cx:pt idx="82652">1</cx:pt>
          <cx:pt idx="82653">1</cx:pt>
          <cx:pt idx="82654">1</cx:pt>
          <cx:pt idx="82655">0</cx:pt>
          <cx:pt idx="82656">1</cx:pt>
          <cx:pt idx="82657">0</cx:pt>
          <cx:pt idx="82658">1</cx:pt>
          <cx:pt idx="82659">0</cx:pt>
          <cx:pt idx="82660">0</cx:pt>
          <cx:pt idx="82661">0</cx:pt>
          <cx:pt idx="82662">0</cx:pt>
          <cx:pt idx="82663">1</cx:pt>
          <cx:pt idx="82664">0</cx:pt>
          <cx:pt idx="82665">1</cx:pt>
          <cx:pt idx="82666">1</cx:pt>
          <cx:pt idx="82667">1</cx:pt>
          <cx:pt idx="82668">0</cx:pt>
          <cx:pt idx="82669">0</cx:pt>
          <cx:pt idx="82670">0</cx:pt>
          <cx:pt idx="82671">1</cx:pt>
          <cx:pt idx="82672">0</cx:pt>
          <cx:pt idx="82673">1</cx:pt>
          <cx:pt idx="82674">0</cx:pt>
          <cx:pt idx="82675">0</cx:pt>
          <cx:pt idx="82676">1</cx:pt>
          <cx:pt idx="82677">0</cx:pt>
          <cx:pt idx="82678">0</cx:pt>
          <cx:pt idx="82679">0</cx:pt>
          <cx:pt idx="82680">1</cx:pt>
          <cx:pt idx="82681">0</cx:pt>
          <cx:pt idx="82682">1</cx:pt>
          <cx:pt idx="82683">0</cx:pt>
          <cx:pt idx="82684">1</cx:pt>
          <cx:pt idx="82685">0</cx:pt>
          <cx:pt idx="82686">1</cx:pt>
          <cx:pt idx="82687">1</cx:pt>
          <cx:pt idx="82688">1</cx:pt>
          <cx:pt idx="82689">1</cx:pt>
          <cx:pt idx="82690">1</cx:pt>
          <cx:pt idx="82691">0</cx:pt>
          <cx:pt idx="82692">1</cx:pt>
          <cx:pt idx="82693">0</cx:pt>
          <cx:pt idx="82694">0</cx:pt>
          <cx:pt idx="82695">0</cx:pt>
          <cx:pt idx="82696">0</cx:pt>
          <cx:pt idx="82697">0</cx:pt>
          <cx:pt idx="82698">0</cx:pt>
          <cx:pt idx="82699">1</cx:pt>
          <cx:pt idx="82700">0</cx:pt>
          <cx:pt idx="82701">1</cx:pt>
          <cx:pt idx="82702">1</cx:pt>
          <cx:pt idx="82703">1</cx:pt>
          <cx:pt idx="82704">1</cx:pt>
          <cx:pt idx="82705">1</cx:pt>
          <cx:pt idx="82706">1</cx:pt>
          <cx:pt idx="82707">0</cx:pt>
          <cx:pt idx="82708">0</cx:pt>
          <cx:pt idx="82709">0</cx:pt>
          <cx:pt idx="82710">0</cx:pt>
          <cx:pt idx="82711">1</cx:pt>
          <cx:pt idx="82712">0</cx:pt>
          <cx:pt idx="82713">1</cx:pt>
          <cx:pt idx="82714">1</cx:pt>
          <cx:pt idx="82715">0</cx:pt>
          <cx:pt idx="82716">0</cx:pt>
          <cx:pt idx="82717">0</cx:pt>
          <cx:pt idx="82718">0</cx:pt>
          <cx:pt idx="82719">1</cx:pt>
          <cx:pt idx="82720">1</cx:pt>
          <cx:pt idx="82721">0</cx:pt>
          <cx:pt idx="82722">0</cx:pt>
          <cx:pt idx="82723">1</cx:pt>
          <cx:pt idx="82724">1</cx:pt>
          <cx:pt idx="82725">1</cx:pt>
          <cx:pt idx="82726">1</cx:pt>
          <cx:pt idx="82727">0</cx:pt>
          <cx:pt idx="82728">0</cx:pt>
          <cx:pt idx="82729">1</cx:pt>
          <cx:pt idx="82730">1</cx:pt>
          <cx:pt idx="82731">1</cx:pt>
          <cx:pt idx="82732">1</cx:pt>
          <cx:pt idx="82733">1</cx:pt>
          <cx:pt idx="82734">0</cx:pt>
          <cx:pt idx="82735">1</cx:pt>
          <cx:pt idx="82736">0</cx:pt>
          <cx:pt idx="82737">0</cx:pt>
          <cx:pt idx="82738">0</cx:pt>
          <cx:pt idx="82739">0</cx:pt>
          <cx:pt idx="82740">0</cx:pt>
          <cx:pt idx="82741">1</cx:pt>
          <cx:pt idx="82742">1</cx:pt>
          <cx:pt idx="82743">0</cx:pt>
          <cx:pt idx="82744">0</cx:pt>
          <cx:pt idx="82745">0</cx:pt>
          <cx:pt idx="82746">0</cx:pt>
          <cx:pt idx="82747">1</cx:pt>
          <cx:pt idx="82748">0</cx:pt>
          <cx:pt idx="82749">1</cx:pt>
          <cx:pt idx="82750">1</cx:pt>
          <cx:pt idx="82751">1</cx:pt>
          <cx:pt idx="82752">0</cx:pt>
          <cx:pt idx="82753">1</cx:pt>
          <cx:pt idx="82754">0</cx:pt>
          <cx:pt idx="82755">1</cx:pt>
          <cx:pt idx="82756">0</cx:pt>
          <cx:pt idx="82757">0</cx:pt>
          <cx:pt idx="82758">0</cx:pt>
          <cx:pt idx="82759">1</cx:pt>
          <cx:pt idx="82760">0</cx:pt>
          <cx:pt idx="82761">0</cx:pt>
          <cx:pt idx="82762">0</cx:pt>
          <cx:pt idx="82763">1</cx:pt>
          <cx:pt idx="82764">1</cx:pt>
          <cx:pt idx="82765">1</cx:pt>
          <cx:pt idx="82766">0</cx:pt>
          <cx:pt idx="82767">0</cx:pt>
          <cx:pt idx="82768">0</cx:pt>
          <cx:pt idx="82769">1</cx:pt>
          <cx:pt idx="82770">1</cx:pt>
          <cx:pt idx="82771">0</cx:pt>
          <cx:pt idx="82772">0</cx:pt>
          <cx:pt idx="82773">0</cx:pt>
          <cx:pt idx="82774">0</cx:pt>
          <cx:pt idx="82775">0</cx:pt>
          <cx:pt idx="82776">1</cx:pt>
          <cx:pt idx="82777">1</cx:pt>
          <cx:pt idx="82778">1</cx:pt>
          <cx:pt idx="82779">0</cx:pt>
          <cx:pt idx="82780">0</cx:pt>
          <cx:pt idx="82781">0</cx:pt>
          <cx:pt idx="82782">0</cx:pt>
          <cx:pt idx="82783">1</cx:pt>
          <cx:pt idx="82784">0</cx:pt>
          <cx:pt idx="82785">0</cx:pt>
          <cx:pt idx="82786">1</cx:pt>
          <cx:pt idx="82787">0</cx:pt>
          <cx:pt idx="82788">0</cx:pt>
          <cx:pt idx="82789">1</cx:pt>
          <cx:pt idx="82790">0</cx:pt>
          <cx:pt idx="82791">1</cx:pt>
          <cx:pt idx="82792">1</cx:pt>
          <cx:pt idx="82793">0</cx:pt>
          <cx:pt idx="82794">0</cx:pt>
          <cx:pt idx="82795">0</cx:pt>
          <cx:pt idx="82796">1</cx:pt>
          <cx:pt idx="82797">1</cx:pt>
          <cx:pt idx="82798">0</cx:pt>
          <cx:pt idx="82799">0</cx:pt>
          <cx:pt idx="82800">1</cx:pt>
          <cx:pt idx="82801">1</cx:pt>
          <cx:pt idx="82802">1</cx:pt>
          <cx:pt idx="82803">1</cx:pt>
          <cx:pt idx="82804">0</cx:pt>
          <cx:pt idx="82805">1</cx:pt>
          <cx:pt idx="82806">0</cx:pt>
          <cx:pt idx="82807">1</cx:pt>
          <cx:pt idx="82808">0</cx:pt>
          <cx:pt idx="82809">1</cx:pt>
          <cx:pt idx="82810">0</cx:pt>
          <cx:pt idx="82811">0</cx:pt>
          <cx:pt idx="82812">0</cx:pt>
          <cx:pt idx="82813">0</cx:pt>
          <cx:pt idx="82814">0</cx:pt>
          <cx:pt idx="82815">1</cx:pt>
          <cx:pt idx="82816">0</cx:pt>
          <cx:pt idx="82817">0</cx:pt>
          <cx:pt idx="82818">1</cx:pt>
          <cx:pt idx="82819">0</cx:pt>
          <cx:pt idx="82820">1</cx:pt>
          <cx:pt idx="82821">0</cx:pt>
          <cx:pt idx="82822">1</cx:pt>
          <cx:pt idx="82823">1</cx:pt>
          <cx:pt idx="82824">1</cx:pt>
          <cx:pt idx="82825">0</cx:pt>
          <cx:pt idx="82826">0</cx:pt>
          <cx:pt idx="82827">0</cx:pt>
          <cx:pt idx="82828">0</cx:pt>
          <cx:pt idx="82829">0</cx:pt>
          <cx:pt idx="82830">0</cx:pt>
          <cx:pt idx="82831">0</cx:pt>
          <cx:pt idx="82832">1</cx:pt>
          <cx:pt idx="82833">0</cx:pt>
          <cx:pt idx="82834">1</cx:pt>
          <cx:pt idx="82835">0</cx:pt>
          <cx:pt idx="82836">1</cx:pt>
          <cx:pt idx="82837">0</cx:pt>
          <cx:pt idx="82838">0</cx:pt>
          <cx:pt idx="82839">1</cx:pt>
          <cx:pt idx="82840">1</cx:pt>
          <cx:pt idx="82841">1</cx:pt>
          <cx:pt idx="82842">0</cx:pt>
          <cx:pt idx="82843">0</cx:pt>
          <cx:pt idx="82844">1</cx:pt>
          <cx:pt idx="82845">0</cx:pt>
          <cx:pt idx="82846">0</cx:pt>
          <cx:pt idx="82847">0</cx:pt>
          <cx:pt idx="82848">0</cx:pt>
          <cx:pt idx="82849">0</cx:pt>
          <cx:pt idx="82850">0</cx:pt>
          <cx:pt idx="82851">1</cx:pt>
          <cx:pt idx="82852">0</cx:pt>
          <cx:pt idx="82853">1</cx:pt>
          <cx:pt idx="82854">0</cx:pt>
          <cx:pt idx="82855">0</cx:pt>
          <cx:pt idx="82856">1</cx:pt>
          <cx:pt idx="82857">0</cx:pt>
          <cx:pt idx="82858">1</cx:pt>
          <cx:pt idx="82859">0</cx:pt>
          <cx:pt idx="82860">0</cx:pt>
          <cx:pt idx="82861">0</cx:pt>
          <cx:pt idx="82862">1</cx:pt>
          <cx:pt idx="82863">1</cx:pt>
          <cx:pt idx="82864">0</cx:pt>
          <cx:pt idx="82865">0</cx:pt>
          <cx:pt idx="82866">0</cx:pt>
          <cx:pt idx="82867">0</cx:pt>
          <cx:pt idx="82868">0</cx:pt>
          <cx:pt idx="82869">0</cx:pt>
          <cx:pt idx="82870">1</cx:pt>
          <cx:pt idx="82871">0</cx:pt>
          <cx:pt idx="82872">0</cx:pt>
          <cx:pt idx="82873">1</cx:pt>
          <cx:pt idx="82874">0</cx:pt>
          <cx:pt idx="82875">0</cx:pt>
          <cx:pt idx="82876">1</cx:pt>
          <cx:pt idx="82877">1</cx:pt>
          <cx:pt idx="82878">0</cx:pt>
          <cx:pt idx="82879">0</cx:pt>
          <cx:pt idx="82880">0</cx:pt>
          <cx:pt idx="82881">1</cx:pt>
          <cx:pt idx="82882">0</cx:pt>
          <cx:pt idx="82883">0</cx:pt>
          <cx:pt idx="82884">1</cx:pt>
          <cx:pt idx="82885">1</cx:pt>
          <cx:pt idx="82886">0</cx:pt>
          <cx:pt idx="82887">0</cx:pt>
          <cx:pt idx="82888">1</cx:pt>
          <cx:pt idx="82889">1</cx:pt>
          <cx:pt idx="82890">1</cx:pt>
          <cx:pt idx="82891">0</cx:pt>
          <cx:pt idx="82892">0</cx:pt>
          <cx:pt idx="82893">0</cx:pt>
          <cx:pt idx="82894">0</cx:pt>
          <cx:pt idx="82895">0</cx:pt>
          <cx:pt idx="82896">0</cx:pt>
          <cx:pt idx="82897">1</cx:pt>
          <cx:pt idx="82898">0</cx:pt>
          <cx:pt idx="82899">0</cx:pt>
          <cx:pt idx="82900">0</cx:pt>
          <cx:pt idx="82901">1</cx:pt>
          <cx:pt idx="82902">0</cx:pt>
          <cx:pt idx="82903">0</cx:pt>
          <cx:pt idx="82904">1</cx:pt>
          <cx:pt idx="82905">0</cx:pt>
          <cx:pt idx="82906">1</cx:pt>
          <cx:pt idx="82907">0</cx:pt>
          <cx:pt idx="82908">0</cx:pt>
          <cx:pt idx="82909">1</cx:pt>
          <cx:pt idx="82910">0</cx:pt>
          <cx:pt idx="82911">1</cx:pt>
          <cx:pt idx="82912">0</cx:pt>
          <cx:pt idx="82913">0</cx:pt>
          <cx:pt idx="82914">1</cx:pt>
          <cx:pt idx="82915">1</cx:pt>
          <cx:pt idx="82916">1</cx:pt>
          <cx:pt idx="82917">0</cx:pt>
          <cx:pt idx="82918">0</cx:pt>
          <cx:pt idx="82919">1</cx:pt>
          <cx:pt idx="82920">0</cx:pt>
          <cx:pt idx="82921">1</cx:pt>
          <cx:pt idx="82922">1</cx:pt>
          <cx:pt idx="82923">1</cx:pt>
          <cx:pt idx="82924">1</cx:pt>
          <cx:pt idx="82925">1</cx:pt>
          <cx:pt idx="82926">1</cx:pt>
          <cx:pt idx="82927">1</cx:pt>
          <cx:pt idx="82928">0</cx:pt>
          <cx:pt idx="82929">1</cx:pt>
          <cx:pt idx="82930">1</cx:pt>
          <cx:pt idx="82931">1</cx:pt>
          <cx:pt idx="82932">1</cx:pt>
          <cx:pt idx="82933">0</cx:pt>
          <cx:pt idx="82934">0</cx:pt>
          <cx:pt idx="82935">0</cx:pt>
          <cx:pt idx="82936">1</cx:pt>
          <cx:pt idx="82937">0</cx:pt>
          <cx:pt idx="82938">1</cx:pt>
          <cx:pt idx="82939">0</cx:pt>
          <cx:pt idx="82940">1</cx:pt>
          <cx:pt idx="82941">1</cx:pt>
          <cx:pt idx="82942">1</cx:pt>
          <cx:pt idx="82943">1</cx:pt>
          <cx:pt idx="82944">0</cx:pt>
          <cx:pt idx="82945">0</cx:pt>
          <cx:pt idx="82946">1</cx:pt>
          <cx:pt idx="82947">0</cx:pt>
          <cx:pt idx="82948">1</cx:pt>
          <cx:pt idx="82949">1</cx:pt>
          <cx:pt idx="82950">0</cx:pt>
          <cx:pt idx="82951">0</cx:pt>
          <cx:pt idx="82952">1</cx:pt>
          <cx:pt idx="82953">0</cx:pt>
          <cx:pt idx="82954">0</cx:pt>
          <cx:pt idx="82955">0</cx:pt>
          <cx:pt idx="82956">0</cx:pt>
          <cx:pt idx="82957">0</cx:pt>
          <cx:pt idx="82958">0</cx:pt>
          <cx:pt idx="82959">1</cx:pt>
          <cx:pt idx="82960">1</cx:pt>
          <cx:pt idx="82961">0</cx:pt>
          <cx:pt idx="82962">1</cx:pt>
          <cx:pt idx="82963">1</cx:pt>
          <cx:pt idx="82964">0</cx:pt>
          <cx:pt idx="82965">1</cx:pt>
          <cx:pt idx="82966">0</cx:pt>
          <cx:pt idx="82967">0</cx:pt>
          <cx:pt idx="82968">0</cx:pt>
          <cx:pt idx="82969">1</cx:pt>
          <cx:pt idx="82970">1</cx:pt>
          <cx:pt idx="82971">0</cx:pt>
          <cx:pt idx="82972">0</cx:pt>
          <cx:pt idx="82973">0</cx:pt>
          <cx:pt idx="82974">1</cx:pt>
          <cx:pt idx="82975">1</cx:pt>
          <cx:pt idx="82976">0</cx:pt>
          <cx:pt idx="82977">0</cx:pt>
          <cx:pt idx="82978">1</cx:pt>
          <cx:pt idx="82979">0</cx:pt>
          <cx:pt idx="82980">1</cx:pt>
          <cx:pt idx="82981">0</cx:pt>
          <cx:pt idx="82982">0</cx:pt>
          <cx:pt idx="82983">0</cx:pt>
          <cx:pt idx="82984">1</cx:pt>
          <cx:pt idx="82985">0</cx:pt>
          <cx:pt idx="82986">0</cx:pt>
          <cx:pt idx="82987">0</cx:pt>
          <cx:pt idx="82988">1</cx:pt>
          <cx:pt idx="82989">0</cx:pt>
          <cx:pt idx="82990">0</cx:pt>
          <cx:pt idx="82991">1</cx:pt>
          <cx:pt idx="82992">0</cx:pt>
          <cx:pt idx="82993">1</cx:pt>
          <cx:pt idx="82994">1</cx:pt>
          <cx:pt idx="82995">0</cx:pt>
          <cx:pt idx="82996">0</cx:pt>
          <cx:pt idx="82997">1</cx:pt>
          <cx:pt idx="82998">0</cx:pt>
          <cx:pt idx="82999">0</cx:pt>
          <cx:pt idx="83000">1</cx:pt>
          <cx:pt idx="83001">1</cx:pt>
          <cx:pt idx="83002">1</cx:pt>
          <cx:pt idx="83003">0</cx:pt>
          <cx:pt idx="83004">0</cx:pt>
          <cx:pt idx="83005">0</cx:pt>
          <cx:pt idx="83006">0</cx:pt>
          <cx:pt idx="83007">0</cx:pt>
          <cx:pt idx="83008">0</cx:pt>
          <cx:pt idx="83009">0</cx:pt>
          <cx:pt idx="83010">0</cx:pt>
          <cx:pt idx="83011">0</cx:pt>
          <cx:pt idx="83012">0</cx:pt>
          <cx:pt idx="83013">0</cx:pt>
          <cx:pt idx="83014">0</cx:pt>
          <cx:pt idx="83015">0</cx:pt>
          <cx:pt idx="83016">1</cx:pt>
          <cx:pt idx="83017">0</cx:pt>
          <cx:pt idx="83018">0</cx:pt>
          <cx:pt idx="83019">0</cx:pt>
          <cx:pt idx="83020">0</cx:pt>
          <cx:pt idx="83021">0</cx:pt>
          <cx:pt idx="83022">0</cx:pt>
          <cx:pt idx="83023">0</cx:pt>
          <cx:pt idx="83024">0</cx:pt>
          <cx:pt idx="83025">0</cx:pt>
          <cx:pt idx="83026">0</cx:pt>
          <cx:pt idx="83027">0</cx:pt>
          <cx:pt idx="83028">0</cx:pt>
          <cx:pt idx="83029">0</cx:pt>
          <cx:pt idx="83030">1</cx:pt>
          <cx:pt idx="83031">1</cx:pt>
          <cx:pt idx="83032">0</cx:pt>
          <cx:pt idx="83033">1</cx:pt>
          <cx:pt idx="83034">0</cx:pt>
          <cx:pt idx="83035">1</cx:pt>
          <cx:pt idx="83036">1</cx:pt>
          <cx:pt idx="83037">1</cx:pt>
          <cx:pt idx="83038">1</cx:pt>
          <cx:pt idx="83039">0</cx:pt>
          <cx:pt idx="83040">0</cx:pt>
          <cx:pt idx="83041">1</cx:pt>
          <cx:pt idx="83042">1</cx:pt>
          <cx:pt idx="83043">0</cx:pt>
          <cx:pt idx="83044">1</cx:pt>
          <cx:pt idx="83045">0</cx:pt>
          <cx:pt idx="83046">0</cx:pt>
          <cx:pt idx="83047">1</cx:pt>
          <cx:pt idx="83048">0</cx:pt>
          <cx:pt idx="83049">0</cx:pt>
          <cx:pt idx="83050">1</cx:pt>
          <cx:pt idx="83051">0</cx:pt>
          <cx:pt idx="83052">1</cx:pt>
          <cx:pt idx="83053">1</cx:pt>
          <cx:pt idx="83054">0</cx:pt>
          <cx:pt idx="83055">0</cx:pt>
          <cx:pt idx="83056">1</cx:pt>
          <cx:pt idx="83057">1</cx:pt>
          <cx:pt idx="83058">0</cx:pt>
          <cx:pt idx="83059">1</cx:pt>
          <cx:pt idx="83060">0</cx:pt>
          <cx:pt idx="83061">1</cx:pt>
          <cx:pt idx="83062">0</cx:pt>
          <cx:pt idx="83063">1</cx:pt>
          <cx:pt idx="83064">0</cx:pt>
          <cx:pt idx="83065">1</cx:pt>
          <cx:pt idx="83066">1</cx:pt>
          <cx:pt idx="83067">1</cx:pt>
          <cx:pt idx="83068">0</cx:pt>
          <cx:pt idx="83069">0</cx:pt>
          <cx:pt idx="83070">0</cx:pt>
          <cx:pt idx="83071">0</cx:pt>
          <cx:pt idx="83072">0</cx:pt>
          <cx:pt idx="83073">0</cx:pt>
          <cx:pt idx="83074">1</cx:pt>
          <cx:pt idx="83075">1</cx:pt>
          <cx:pt idx="83076">0</cx:pt>
          <cx:pt idx="83077">0</cx:pt>
          <cx:pt idx="83078">0</cx:pt>
          <cx:pt idx="83079">1</cx:pt>
          <cx:pt idx="83080">1</cx:pt>
          <cx:pt idx="83081">1</cx:pt>
          <cx:pt idx="83082">1</cx:pt>
          <cx:pt idx="83083">1</cx:pt>
          <cx:pt idx="83084">0</cx:pt>
          <cx:pt idx="83085">1</cx:pt>
          <cx:pt idx="83086">0</cx:pt>
          <cx:pt idx="83087">0</cx:pt>
          <cx:pt idx="83088">1</cx:pt>
          <cx:pt idx="83089">1</cx:pt>
          <cx:pt idx="83090">0</cx:pt>
          <cx:pt idx="83091">1</cx:pt>
          <cx:pt idx="83092">1</cx:pt>
          <cx:pt idx="83093">0</cx:pt>
          <cx:pt idx="83094">0</cx:pt>
          <cx:pt idx="83095">0</cx:pt>
          <cx:pt idx="83096">0</cx:pt>
          <cx:pt idx="83097">0</cx:pt>
          <cx:pt idx="83098">1</cx:pt>
          <cx:pt idx="83099">0</cx:pt>
          <cx:pt idx="83100">0</cx:pt>
          <cx:pt idx="83101">1</cx:pt>
          <cx:pt idx="83102">0</cx:pt>
          <cx:pt idx="83103">0</cx:pt>
          <cx:pt idx="83104">1</cx:pt>
          <cx:pt idx="83105">0</cx:pt>
          <cx:pt idx="83106">1</cx:pt>
          <cx:pt idx="83107">0</cx:pt>
          <cx:pt idx="83108">1</cx:pt>
          <cx:pt idx="83109">0</cx:pt>
          <cx:pt idx="83110">1</cx:pt>
          <cx:pt idx="83111">1</cx:pt>
          <cx:pt idx="83112">0</cx:pt>
          <cx:pt idx="83113">0</cx:pt>
          <cx:pt idx="83114">0</cx:pt>
          <cx:pt idx="83115">1</cx:pt>
          <cx:pt idx="83116">0</cx:pt>
          <cx:pt idx="83117">0</cx:pt>
          <cx:pt idx="83118">0</cx:pt>
          <cx:pt idx="83119">1</cx:pt>
          <cx:pt idx="83120">0</cx:pt>
          <cx:pt idx="83121">0</cx:pt>
          <cx:pt idx="83122">1</cx:pt>
          <cx:pt idx="83123">1</cx:pt>
          <cx:pt idx="83124">0</cx:pt>
          <cx:pt idx="83125">1</cx:pt>
          <cx:pt idx="83126">0</cx:pt>
          <cx:pt idx="83127">1</cx:pt>
          <cx:pt idx="83128">0</cx:pt>
          <cx:pt idx="83129">1</cx:pt>
          <cx:pt idx="83130">0</cx:pt>
          <cx:pt idx="83131">1</cx:pt>
          <cx:pt idx="83132">1</cx:pt>
          <cx:pt idx="83133">1</cx:pt>
          <cx:pt idx="83134">1</cx:pt>
          <cx:pt idx="83135">1</cx:pt>
          <cx:pt idx="83136">0</cx:pt>
          <cx:pt idx="83137">1</cx:pt>
          <cx:pt idx="83138">1</cx:pt>
          <cx:pt idx="83139">0</cx:pt>
          <cx:pt idx="83140">1</cx:pt>
          <cx:pt idx="83141">1</cx:pt>
          <cx:pt idx="83142">1</cx:pt>
          <cx:pt idx="83143">0</cx:pt>
          <cx:pt idx="83144">0</cx:pt>
          <cx:pt idx="83145">1</cx:pt>
          <cx:pt idx="83146">1</cx:pt>
          <cx:pt idx="83147">1</cx:pt>
          <cx:pt idx="83148">0</cx:pt>
          <cx:pt idx="83149">1</cx:pt>
          <cx:pt idx="83150">0</cx:pt>
          <cx:pt idx="83151">0</cx:pt>
          <cx:pt idx="83152">0</cx:pt>
          <cx:pt idx="83153">0</cx:pt>
          <cx:pt idx="83154">0</cx:pt>
          <cx:pt idx="83155">0</cx:pt>
          <cx:pt idx="83156">1</cx:pt>
          <cx:pt idx="83157">0</cx:pt>
          <cx:pt idx="83158">0</cx:pt>
          <cx:pt idx="83159">1</cx:pt>
          <cx:pt idx="83160">0</cx:pt>
          <cx:pt idx="83161">1</cx:pt>
          <cx:pt idx="83162">0</cx:pt>
          <cx:pt idx="83163">0</cx:pt>
          <cx:pt idx="83164">1</cx:pt>
          <cx:pt idx="83165">0</cx:pt>
          <cx:pt idx="83166">0</cx:pt>
          <cx:pt idx="83167">0</cx:pt>
          <cx:pt idx="83168">0</cx:pt>
          <cx:pt idx="83169">0</cx:pt>
          <cx:pt idx="83170">1</cx:pt>
          <cx:pt idx="83171">1</cx:pt>
          <cx:pt idx="83172">1</cx:pt>
          <cx:pt idx="83173">1</cx:pt>
          <cx:pt idx="83174">1</cx:pt>
          <cx:pt idx="83175">0</cx:pt>
          <cx:pt idx="83176">1</cx:pt>
          <cx:pt idx="83177">1</cx:pt>
          <cx:pt idx="83178">0</cx:pt>
          <cx:pt idx="83179">0</cx:pt>
          <cx:pt idx="83180">1</cx:pt>
          <cx:pt idx="83181">0</cx:pt>
          <cx:pt idx="83182">0</cx:pt>
          <cx:pt idx="83183">0</cx:pt>
          <cx:pt idx="83184">0</cx:pt>
          <cx:pt idx="83185">1</cx:pt>
          <cx:pt idx="83186">0</cx:pt>
          <cx:pt idx="83187">1</cx:pt>
          <cx:pt idx="83188">0</cx:pt>
          <cx:pt idx="83189">1</cx:pt>
          <cx:pt idx="83190">1</cx:pt>
          <cx:pt idx="83191">1</cx:pt>
          <cx:pt idx="83192">0</cx:pt>
          <cx:pt idx="83193">1</cx:pt>
          <cx:pt idx="83194">1</cx:pt>
          <cx:pt idx="83195">1</cx:pt>
          <cx:pt idx="83196">0</cx:pt>
          <cx:pt idx="83197">0</cx:pt>
          <cx:pt idx="83198">1</cx:pt>
          <cx:pt idx="83199">1</cx:pt>
          <cx:pt idx="83200">0</cx:pt>
          <cx:pt idx="83201">0</cx:pt>
          <cx:pt idx="83202">0</cx:pt>
          <cx:pt idx="83203">0</cx:pt>
          <cx:pt idx="83204">0</cx:pt>
          <cx:pt idx="83205">1</cx:pt>
          <cx:pt idx="83206">0</cx:pt>
          <cx:pt idx="83207">0</cx:pt>
          <cx:pt idx="83208">0</cx:pt>
          <cx:pt idx="83209">1</cx:pt>
          <cx:pt idx="83210">0</cx:pt>
          <cx:pt idx="83211">0</cx:pt>
          <cx:pt idx="83212">0</cx:pt>
          <cx:pt idx="83213">0</cx:pt>
          <cx:pt idx="83214">0</cx:pt>
          <cx:pt idx="83215">1</cx:pt>
          <cx:pt idx="83216">0</cx:pt>
          <cx:pt idx="83217">0</cx:pt>
          <cx:pt idx="83218">0</cx:pt>
          <cx:pt idx="83219">1</cx:pt>
          <cx:pt idx="83220">1</cx:pt>
          <cx:pt idx="83221">0</cx:pt>
          <cx:pt idx="83222">1</cx:pt>
          <cx:pt idx="83223">1</cx:pt>
          <cx:pt idx="83224">0</cx:pt>
          <cx:pt idx="83225">1</cx:pt>
          <cx:pt idx="83226">1</cx:pt>
          <cx:pt idx="83227">1</cx:pt>
          <cx:pt idx="83228">1</cx:pt>
          <cx:pt idx="83229">0</cx:pt>
          <cx:pt idx="83230">0</cx:pt>
          <cx:pt idx="83231">0</cx:pt>
          <cx:pt idx="83232">0</cx:pt>
          <cx:pt idx="83233">0</cx:pt>
          <cx:pt idx="83234">1</cx:pt>
          <cx:pt idx="83235">1</cx:pt>
          <cx:pt idx="83236">1</cx:pt>
          <cx:pt idx="83237">0</cx:pt>
          <cx:pt idx="83238">0</cx:pt>
          <cx:pt idx="83239">0</cx:pt>
          <cx:pt idx="83240">1</cx:pt>
          <cx:pt idx="83241">1</cx:pt>
          <cx:pt idx="83242">1</cx:pt>
          <cx:pt idx="83243">0</cx:pt>
          <cx:pt idx="83244">1</cx:pt>
          <cx:pt idx="83245">0</cx:pt>
          <cx:pt idx="83246">1</cx:pt>
          <cx:pt idx="83247">1</cx:pt>
          <cx:pt idx="83248">0</cx:pt>
          <cx:pt idx="83249">1</cx:pt>
          <cx:pt idx="83250">0</cx:pt>
          <cx:pt idx="83251">0</cx:pt>
          <cx:pt idx="83252">1</cx:pt>
          <cx:pt idx="83253">0</cx:pt>
          <cx:pt idx="83254">1</cx:pt>
          <cx:pt idx="83255">0</cx:pt>
          <cx:pt idx="83256">0</cx:pt>
          <cx:pt idx="83257">0</cx:pt>
          <cx:pt idx="83258">1</cx:pt>
          <cx:pt idx="83259">1</cx:pt>
          <cx:pt idx="83260">0</cx:pt>
          <cx:pt idx="83261">0</cx:pt>
          <cx:pt idx="83262">0</cx:pt>
          <cx:pt idx="83263">0</cx:pt>
          <cx:pt idx="83264">1</cx:pt>
          <cx:pt idx="83265">1</cx:pt>
          <cx:pt idx="83266">0</cx:pt>
          <cx:pt idx="83267">1</cx:pt>
          <cx:pt idx="83268">1</cx:pt>
          <cx:pt idx="83269">0</cx:pt>
          <cx:pt idx="83270">0</cx:pt>
          <cx:pt idx="83271">0</cx:pt>
          <cx:pt idx="83272">0</cx:pt>
          <cx:pt idx="83273">1</cx:pt>
          <cx:pt idx="83274">1</cx:pt>
          <cx:pt idx="83275">0</cx:pt>
          <cx:pt idx="83276">1</cx:pt>
          <cx:pt idx="83277">0</cx:pt>
          <cx:pt idx="83278">0</cx:pt>
          <cx:pt idx="83279">0</cx:pt>
          <cx:pt idx="83280">1</cx:pt>
          <cx:pt idx="83281">0</cx:pt>
          <cx:pt idx="83282">0</cx:pt>
          <cx:pt idx="83283">1</cx:pt>
          <cx:pt idx="83284">0</cx:pt>
          <cx:pt idx="83285">0</cx:pt>
          <cx:pt idx="83286">0</cx:pt>
          <cx:pt idx="83287">1</cx:pt>
          <cx:pt idx="83288">1</cx:pt>
          <cx:pt idx="83289">1</cx:pt>
          <cx:pt idx="83290">1</cx:pt>
          <cx:pt idx="83291">0</cx:pt>
          <cx:pt idx="83292">0</cx:pt>
          <cx:pt idx="83293">1</cx:pt>
          <cx:pt idx="83294">1</cx:pt>
          <cx:pt idx="83295">0</cx:pt>
          <cx:pt idx="83296">0</cx:pt>
          <cx:pt idx="83297">0</cx:pt>
          <cx:pt idx="83298">1</cx:pt>
          <cx:pt idx="83299">0</cx:pt>
          <cx:pt idx="83300">0</cx:pt>
          <cx:pt idx="83301">1</cx:pt>
          <cx:pt idx="83302">1</cx:pt>
          <cx:pt idx="83303">0</cx:pt>
          <cx:pt idx="83304">0</cx:pt>
          <cx:pt idx="83305">0</cx:pt>
          <cx:pt idx="83306">0</cx:pt>
          <cx:pt idx="83307">1</cx:pt>
          <cx:pt idx="83308">1</cx:pt>
          <cx:pt idx="83309">0</cx:pt>
          <cx:pt idx="83310">0</cx:pt>
          <cx:pt idx="83311">0</cx:pt>
          <cx:pt idx="83312">0</cx:pt>
          <cx:pt idx="83313">0</cx:pt>
          <cx:pt idx="83314">1</cx:pt>
          <cx:pt idx="83315">0</cx:pt>
          <cx:pt idx="83316">1</cx:pt>
          <cx:pt idx="83317">0</cx:pt>
          <cx:pt idx="83318">1</cx:pt>
          <cx:pt idx="83319">0</cx:pt>
          <cx:pt idx="83320">1</cx:pt>
          <cx:pt idx="83321">1</cx:pt>
          <cx:pt idx="83322">0</cx:pt>
          <cx:pt idx="83323">0</cx:pt>
          <cx:pt idx="83324">0</cx:pt>
          <cx:pt idx="83325">1</cx:pt>
          <cx:pt idx="83326">1</cx:pt>
          <cx:pt idx="83327">0</cx:pt>
          <cx:pt idx="83328">0</cx:pt>
          <cx:pt idx="83329">0</cx:pt>
          <cx:pt idx="83330">1</cx:pt>
          <cx:pt idx="83331">1</cx:pt>
          <cx:pt idx="83332">0</cx:pt>
          <cx:pt idx="83333">0</cx:pt>
          <cx:pt idx="83334">1</cx:pt>
          <cx:pt idx="83335">1</cx:pt>
          <cx:pt idx="83336">1</cx:pt>
          <cx:pt idx="83337">0</cx:pt>
          <cx:pt idx="83338">0</cx:pt>
          <cx:pt idx="83339">0</cx:pt>
          <cx:pt idx="83340">0</cx:pt>
          <cx:pt idx="83341">1</cx:pt>
          <cx:pt idx="83342">0</cx:pt>
          <cx:pt idx="83343">0</cx:pt>
          <cx:pt idx="83344">1</cx:pt>
          <cx:pt idx="83345">0</cx:pt>
          <cx:pt idx="83346">0</cx:pt>
          <cx:pt idx="83347">1</cx:pt>
          <cx:pt idx="83348">0</cx:pt>
          <cx:pt idx="83349">0</cx:pt>
          <cx:pt idx="83350">0</cx:pt>
          <cx:pt idx="83351">0</cx:pt>
          <cx:pt idx="83352">0</cx:pt>
          <cx:pt idx="83353">1</cx:pt>
          <cx:pt idx="83354">0</cx:pt>
          <cx:pt idx="83355">0</cx:pt>
          <cx:pt idx="83356">1</cx:pt>
          <cx:pt idx="83357">0</cx:pt>
          <cx:pt idx="83358">0</cx:pt>
          <cx:pt idx="83359">0</cx:pt>
          <cx:pt idx="83360">0</cx:pt>
          <cx:pt idx="83361">0</cx:pt>
          <cx:pt idx="83362">0</cx:pt>
          <cx:pt idx="83363">0</cx:pt>
          <cx:pt idx="83364">1</cx:pt>
          <cx:pt idx="83365">1</cx:pt>
          <cx:pt idx="83366">0</cx:pt>
          <cx:pt idx="83367">1</cx:pt>
          <cx:pt idx="83368">0</cx:pt>
          <cx:pt idx="83369">0</cx:pt>
          <cx:pt idx="83370">0</cx:pt>
          <cx:pt idx="83371">0</cx:pt>
          <cx:pt idx="83372">0</cx:pt>
          <cx:pt idx="83373">0</cx:pt>
          <cx:pt idx="83374">1</cx:pt>
          <cx:pt idx="83375">0</cx:pt>
          <cx:pt idx="83376">0</cx:pt>
          <cx:pt idx="83377">0</cx:pt>
          <cx:pt idx="83378">0</cx:pt>
          <cx:pt idx="83379">1</cx:pt>
          <cx:pt idx="83380">0</cx:pt>
          <cx:pt idx="83381">0</cx:pt>
          <cx:pt idx="83382">0</cx:pt>
          <cx:pt idx="83383">0</cx:pt>
          <cx:pt idx="83384">0</cx:pt>
          <cx:pt idx="83385">1</cx:pt>
          <cx:pt idx="83386">1</cx:pt>
          <cx:pt idx="83387">0</cx:pt>
          <cx:pt idx="83388">1</cx:pt>
          <cx:pt idx="83389">0</cx:pt>
          <cx:pt idx="83390">0</cx:pt>
          <cx:pt idx="83391">0</cx:pt>
          <cx:pt idx="83392">0</cx:pt>
          <cx:pt idx="83393">0</cx:pt>
          <cx:pt idx="83394">0</cx:pt>
          <cx:pt idx="83395">0</cx:pt>
          <cx:pt idx="83396">1</cx:pt>
          <cx:pt idx="83397">0</cx:pt>
          <cx:pt idx="83398">0</cx:pt>
          <cx:pt idx="83399">1</cx:pt>
          <cx:pt idx="83400">0</cx:pt>
          <cx:pt idx="83401">0</cx:pt>
          <cx:pt idx="83402">1</cx:pt>
          <cx:pt idx="83403">0</cx:pt>
          <cx:pt idx="83404">1</cx:pt>
          <cx:pt idx="83405">1</cx:pt>
          <cx:pt idx="83406">0</cx:pt>
          <cx:pt idx="83407">0</cx:pt>
          <cx:pt idx="83408">0</cx:pt>
          <cx:pt idx="83409">1</cx:pt>
          <cx:pt idx="83410">0</cx:pt>
          <cx:pt idx="83411">0</cx:pt>
          <cx:pt idx="83412">0</cx:pt>
          <cx:pt idx="83413">0</cx:pt>
          <cx:pt idx="83414">1</cx:pt>
          <cx:pt idx="83415">0</cx:pt>
          <cx:pt idx="83416">1</cx:pt>
          <cx:pt idx="83417">1</cx:pt>
          <cx:pt idx="83418">0</cx:pt>
          <cx:pt idx="83419">0</cx:pt>
          <cx:pt idx="83420">0</cx:pt>
          <cx:pt idx="83421">1</cx:pt>
          <cx:pt idx="83422">1</cx:pt>
          <cx:pt idx="83423">1</cx:pt>
          <cx:pt idx="83424">0</cx:pt>
          <cx:pt idx="83425">1</cx:pt>
          <cx:pt idx="83426">1</cx:pt>
          <cx:pt idx="83427">0</cx:pt>
          <cx:pt idx="83428">0</cx:pt>
          <cx:pt idx="83429">1</cx:pt>
          <cx:pt idx="83430">1</cx:pt>
          <cx:pt idx="83431">1</cx:pt>
          <cx:pt idx="83432">0</cx:pt>
          <cx:pt idx="83433">1</cx:pt>
          <cx:pt idx="83434">0</cx:pt>
          <cx:pt idx="83435">0</cx:pt>
          <cx:pt idx="83436">0</cx:pt>
          <cx:pt idx="83437">0</cx:pt>
          <cx:pt idx="83438">1</cx:pt>
          <cx:pt idx="83439">0</cx:pt>
          <cx:pt idx="83440">1</cx:pt>
          <cx:pt idx="83441">1</cx:pt>
          <cx:pt idx="83442">1</cx:pt>
          <cx:pt idx="83443">0</cx:pt>
          <cx:pt idx="83444">0</cx:pt>
          <cx:pt idx="83445">0</cx:pt>
          <cx:pt idx="83446">0</cx:pt>
          <cx:pt idx="83447">0</cx:pt>
          <cx:pt idx="83448">0</cx:pt>
          <cx:pt idx="83449">0</cx:pt>
          <cx:pt idx="83450">1</cx:pt>
          <cx:pt idx="83451">1</cx:pt>
          <cx:pt idx="83452">0</cx:pt>
          <cx:pt idx="83453">0</cx:pt>
          <cx:pt idx="83454">0</cx:pt>
          <cx:pt idx="83455">1</cx:pt>
          <cx:pt idx="83456">1</cx:pt>
          <cx:pt idx="83457">1</cx:pt>
          <cx:pt idx="83458">0</cx:pt>
          <cx:pt idx="83459">0</cx:pt>
          <cx:pt idx="83460">0</cx:pt>
          <cx:pt idx="83461">0</cx:pt>
          <cx:pt idx="83462">0</cx:pt>
          <cx:pt idx="83463">0</cx:pt>
          <cx:pt idx="83464">1</cx:pt>
          <cx:pt idx="83465">1</cx:pt>
          <cx:pt idx="83466">1</cx:pt>
          <cx:pt idx="83467">0</cx:pt>
          <cx:pt idx="83468">0</cx:pt>
          <cx:pt idx="83469">0</cx:pt>
          <cx:pt idx="83470">0</cx:pt>
          <cx:pt idx="83471">1</cx:pt>
          <cx:pt idx="83472">1</cx:pt>
          <cx:pt idx="83473">1</cx:pt>
          <cx:pt idx="83474">1</cx:pt>
          <cx:pt idx="83475">0</cx:pt>
          <cx:pt idx="83476">0</cx:pt>
          <cx:pt idx="83477">0</cx:pt>
          <cx:pt idx="83478">0</cx:pt>
          <cx:pt idx="83479">0</cx:pt>
          <cx:pt idx="83480">0</cx:pt>
          <cx:pt idx="83481">0</cx:pt>
          <cx:pt idx="83482">1</cx:pt>
          <cx:pt idx="83483">1</cx:pt>
          <cx:pt idx="83484">0</cx:pt>
          <cx:pt idx="83485">0</cx:pt>
          <cx:pt idx="83486">0</cx:pt>
          <cx:pt idx="83487">0</cx:pt>
          <cx:pt idx="83488">0</cx:pt>
          <cx:pt idx="83489">0</cx:pt>
          <cx:pt idx="83490">1</cx:pt>
          <cx:pt idx="83491">1</cx:pt>
          <cx:pt idx="83492">1</cx:pt>
          <cx:pt idx="83493">0</cx:pt>
          <cx:pt idx="83494">1</cx:pt>
          <cx:pt idx="83495">0</cx:pt>
          <cx:pt idx="83496">0</cx:pt>
          <cx:pt idx="83497">0</cx:pt>
          <cx:pt idx="83498">0</cx:pt>
          <cx:pt idx="83499">0</cx:pt>
          <cx:pt idx="83500">0</cx:pt>
          <cx:pt idx="83501">1</cx:pt>
          <cx:pt idx="83502">1</cx:pt>
          <cx:pt idx="83503">1</cx:pt>
          <cx:pt idx="83504">0</cx:pt>
          <cx:pt idx="83505">1</cx:pt>
          <cx:pt idx="83506">0</cx:pt>
          <cx:pt idx="83507">0</cx:pt>
          <cx:pt idx="83508">1</cx:pt>
          <cx:pt idx="83509">0</cx:pt>
          <cx:pt idx="83510">0</cx:pt>
          <cx:pt idx="83511">0</cx:pt>
          <cx:pt idx="83512">1</cx:pt>
          <cx:pt idx="83513">1</cx:pt>
          <cx:pt idx="83514">1</cx:pt>
          <cx:pt idx="83515">0</cx:pt>
          <cx:pt idx="83516">1</cx:pt>
          <cx:pt idx="83517">0</cx:pt>
          <cx:pt idx="83518">1</cx:pt>
          <cx:pt idx="83519">0</cx:pt>
          <cx:pt idx="83520">0</cx:pt>
          <cx:pt idx="83521">0</cx:pt>
          <cx:pt idx="83522">1</cx:pt>
          <cx:pt idx="83523">1</cx:pt>
          <cx:pt idx="83524">1</cx:pt>
          <cx:pt idx="83525">1</cx:pt>
          <cx:pt idx="83526">0</cx:pt>
          <cx:pt idx="83527">0</cx:pt>
          <cx:pt idx="83528">1</cx:pt>
          <cx:pt idx="83529">1</cx:pt>
          <cx:pt idx="83530">1</cx:pt>
          <cx:pt idx="83531">0</cx:pt>
          <cx:pt idx="83532">1</cx:pt>
          <cx:pt idx="83533">0</cx:pt>
          <cx:pt idx="83534">0</cx:pt>
          <cx:pt idx="83535">0</cx:pt>
          <cx:pt idx="83536">0</cx:pt>
          <cx:pt idx="83537">1</cx:pt>
          <cx:pt idx="83538">0</cx:pt>
          <cx:pt idx="83539">1</cx:pt>
          <cx:pt idx="83540">1</cx:pt>
          <cx:pt idx="83541">1</cx:pt>
          <cx:pt idx="83542">1</cx:pt>
          <cx:pt idx="83543">1</cx:pt>
          <cx:pt idx="83544">0</cx:pt>
          <cx:pt idx="83545">0</cx:pt>
          <cx:pt idx="83546">0</cx:pt>
          <cx:pt idx="83547">1</cx:pt>
          <cx:pt idx="83548">0</cx:pt>
          <cx:pt idx="83549">0</cx:pt>
          <cx:pt idx="83550">0</cx:pt>
          <cx:pt idx="83551">0</cx:pt>
          <cx:pt idx="83552">1</cx:pt>
          <cx:pt idx="83553">0</cx:pt>
          <cx:pt idx="83554">0</cx:pt>
          <cx:pt idx="83555">0</cx:pt>
          <cx:pt idx="83556">0</cx:pt>
          <cx:pt idx="83557">1</cx:pt>
          <cx:pt idx="83558">0</cx:pt>
          <cx:pt idx="83559">0</cx:pt>
          <cx:pt idx="83560">1</cx:pt>
          <cx:pt idx="83561">1</cx:pt>
          <cx:pt idx="83562">0</cx:pt>
          <cx:pt idx="83563">0</cx:pt>
          <cx:pt idx="83564">1</cx:pt>
          <cx:pt idx="83565">0</cx:pt>
          <cx:pt idx="83566">0</cx:pt>
          <cx:pt idx="83567">1</cx:pt>
          <cx:pt idx="83568">1</cx:pt>
          <cx:pt idx="83569">1</cx:pt>
          <cx:pt idx="83570">1</cx:pt>
          <cx:pt idx="83571">1</cx:pt>
          <cx:pt idx="83572">0</cx:pt>
          <cx:pt idx="83573">0</cx:pt>
          <cx:pt idx="83574">0</cx:pt>
          <cx:pt idx="83575">1</cx:pt>
          <cx:pt idx="83576">1</cx:pt>
          <cx:pt idx="83577">0</cx:pt>
          <cx:pt idx="83578">1</cx:pt>
          <cx:pt idx="83579">0</cx:pt>
          <cx:pt idx="83580">0</cx:pt>
          <cx:pt idx="83581">0</cx:pt>
          <cx:pt idx="83582">0</cx:pt>
          <cx:pt idx="83583">0</cx:pt>
          <cx:pt idx="83584">1</cx:pt>
          <cx:pt idx="83585">0</cx:pt>
          <cx:pt idx="83586">0</cx:pt>
          <cx:pt idx="83587">0</cx:pt>
          <cx:pt idx="83588">0</cx:pt>
          <cx:pt idx="83589">1</cx:pt>
          <cx:pt idx="83590">1</cx:pt>
          <cx:pt idx="83591">1</cx:pt>
          <cx:pt idx="83592">1</cx:pt>
          <cx:pt idx="83593">1</cx:pt>
          <cx:pt idx="83594">1</cx:pt>
          <cx:pt idx="83595">0</cx:pt>
          <cx:pt idx="83596">0</cx:pt>
          <cx:pt idx="83597">1</cx:pt>
          <cx:pt idx="83598">0</cx:pt>
          <cx:pt idx="83599">1</cx:pt>
          <cx:pt idx="83600">0</cx:pt>
          <cx:pt idx="83601">1</cx:pt>
          <cx:pt idx="83602">1</cx:pt>
          <cx:pt idx="83603">1</cx:pt>
          <cx:pt idx="83604">0</cx:pt>
          <cx:pt idx="83605">0</cx:pt>
          <cx:pt idx="83606">0</cx:pt>
          <cx:pt idx="83607">0</cx:pt>
          <cx:pt idx="83608">1</cx:pt>
          <cx:pt idx="83609">0</cx:pt>
          <cx:pt idx="83610">1</cx:pt>
          <cx:pt idx="83611">1</cx:pt>
          <cx:pt idx="83612">1</cx:pt>
          <cx:pt idx="83613">0</cx:pt>
          <cx:pt idx="83614">0</cx:pt>
          <cx:pt idx="83615">1</cx:pt>
          <cx:pt idx="83616">0</cx:pt>
          <cx:pt idx="83617">0</cx:pt>
          <cx:pt idx="83618">1</cx:pt>
          <cx:pt idx="83619">0</cx:pt>
          <cx:pt idx="83620">0</cx:pt>
          <cx:pt idx="83621">1</cx:pt>
          <cx:pt idx="83622">0</cx:pt>
          <cx:pt idx="83623">0</cx:pt>
          <cx:pt idx="83624">0</cx:pt>
          <cx:pt idx="83625">1</cx:pt>
          <cx:pt idx="83626">1</cx:pt>
          <cx:pt idx="83627">0</cx:pt>
          <cx:pt idx="83628">0</cx:pt>
          <cx:pt idx="83629">1</cx:pt>
          <cx:pt idx="83630">0</cx:pt>
          <cx:pt idx="83631">0</cx:pt>
          <cx:pt idx="83632">1</cx:pt>
          <cx:pt idx="83633">0</cx:pt>
          <cx:pt idx="83634">0</cx:pt>
          <cx:pt idx="83635">0</cx:pt>
          <cx:pt idx="83636">0</cx:pt>
          <cx:pt idx="83637">1</cx:pt>
          <cx:pt idx="83638">0</cx:pt>
          <cx:pt idx="83639">1</cx:pt>
          <cx:pt idx="83640">0</cx:pt>
          <cx:pt idx="83641">0</cx:pt>
          <cx:pt idx="83642">0</cx:pt>
          <cx:pt idx="83643">1</cx:pt>
          <cx:pt idx="83644">0</cx:pt>
          <cx:pt idx="83645">0</cx:pt>
          <cx:pt idx="83646">0</cx:pt>
          <cx:pt idx="83647">0</cx:pt>
          <cx:pt idx="83648">1</cx:pt>
          <cx:pt idx="83649">0</cx:pt>
          <cx:pt idx="83650">0</cx:pt>
          <cx:pt idx="83651">1</cx:pt>
          <cx:pt idx="83652">0</cx:pt>
          <cx:pt idx="83653">0</cx:pt>
          <cx:pt idx="83654">0</cx:pt>
          <cx:pt idx="83655">1</cx:pt>
          <cx:pt idx="83656">0</cx:pt>
          <cx:pt idx="83657">0</cx:pt>
          <cx:pt idx="83658">1</cx:pt>
          <cx:pt idx="83659">0</cx:pt>
          <cx:pt idx="83660">1</cx:pt>
          <cx:pt idx="83661">1</cx:pt>
          <cx:pt idx="83662">1</cx:pt>
          <cx:pt idx="83663">0</cx:pt>
          <cx:pt idx="83664">1</cx:pt>
          <cx:pt idx="83665">1</cx:pt>
          <cx:pt idx="83666">0</cx:pt>
          <cx:pt idx="83667">0</cx:pt>
          <cx:pt idx="83668">1</cx:pt>
          <cx:pt idx="83669">0</cx:pt>
          <cx:pt idx="83670">0</cx:pt>
          <cx:pt idx="83671">0</cx:pt>
          <cx:pt idx="83672">1</cx:pt>
          <cx:pt idx="83673">1</cx:pt>
          <cx:pt idx="83674">0</cx:pt>
          <cx:pt idx="83675">1</cx:pt>
          <cx:pt idx="83676">0</cx:pt>
          <cx:pt idx="83677">1</cx:pt>
          <cx:pt idx="83678">0</cx:pt>
          <cx:pt idx="83679">0</cx:pt>
          <cx:pt idx="83680">1</cx:pt>
          <cx:pt idx="83681">0</cx:pt>
          <cx:pt idx="83682">1</cx:pt>
          <cx:pt idx="83683">0</cx:pt>
          <cx:pt idx="83684">1</cx:pt>
          <cx:pt idx="83685">0</cx:pt>
          <cx:pt idx="83686">1</cx:pt>
          <cx:pt idx="83687">0</cx:pt>
          <cx:pt idx="83688">0</cx:pt>
          <cx:pt idx="83689">0</cx:pt>
          <cx:pt idx="83690">1</cx:pt>
          <cx:pt idx="83691">0</cx:pt>
          <cx:pt idx="83692">1</cx:pt>
          <cx:pt idx="83693">1</cx:pt>
          <cx:pt idx="83694">0</cx:pt>
          <cx:pt idx="83695">0</cx:pt>
          <cx:pt idx="83696">0</cx:pt>
          <cx:pt idx="83697">0</cx:pt>
          <cx:pt idx="83698">1</cx:pt>
          <cx:pt idx="83699">0</cx:pt>
          <cx:pt idx="83700">0</cx:pt>
          <cx:pt idx="83701">0</cx:pt>
          <cx:pt idx="83702">1</cx:pt>
          <cx:pt idx="83703">1</cx:pt>
          <cx:pt idx="83704">1</cx:pt>
          <cx:pt idx="83705">0</cx:pt>
          <cx:pt idx="83706">0</cx:pt>
          <cx:pt idx="83707">0</cx:pt>
          <cx:pt idx="83708">0</cx:pt>
          <cx:pt idx="83709">0</cx:pt>
          <cx:pt idx="83710">1</cx:pt>
          <cx:pt idx="83711">0</cx:pt>
          <cx:pt idx="83712">0</cx:pt>
          <cx:pt idx="83713">1</cx:pt>
          <cx:pt idx="83714">1</cx:pt>
          <cx:pt idx="83715">0</cx:pt>
          <cx:pt idx="83716">0</cx:pt>
          <cx:pt idx="83717">1</cx:pt>
          <cx:pt idx="83718">1</cx:pt>
          <cx:pt idx="83719">1</cx:pt>
          <cx:pt idx="83720">0</cx:pt>
          <cx:pt idx="83721">1</cx:pt>
          <cx:pt idx="83722">0</cx:pt>
          <cx:pt idx="83723">0</cx:pt>
          <cx:pt idx="83724">1</cx:pt>
          <cx:pt idx="83725">0</cx:pt>
          <cx:pt idx="83726">0</cx:pt>
          <cx:pt idx="83727">0</cx:pt>
          <cx:pt idx="83728">0</cx:pt>
          <cx:pt idx="83729">0</cx:pt>
          <cx:pt idx="83730">0</cx:pt>
          <cx:pt idx="83731">1</cx:pt>
          <cx:pt idx="83732">0</cx:pt>
          <cx:pt idx="83733">1</cx:pt>
          <cx:pt idx="83734">0</cx:pt>
          <cx:pt idx="83735">1</cx:pt>
          <cx:pt idx="83736">0</cx:pt>
          <cx:pt idx="83737">0</cx:pt>
          <cx:pt idx="83738">0</cx:pt>
          <cx:pt idx="83739">0</cx:pt>
          <cx:pt idx="83740">1</cx:pt>
          <cx:pt idx="83741">0</cx:pt>
          <cx:pt idx="83742">1</cx:pt>
          <cx:pt idx="83743">1</cx:pt>
          <cx:pt idx="83744">1</cx:pt>
          <cx:pt idx="83745">0</cx:pt>
          <cx:pt idx="83746">0</cx:pt>
          <cx:pt idx="83747">0</cx:pt>
          <cx:pt idx="83748">1</cx:pt>
          <cx:pt idx="83749">1</cx:pt>
          <cx:pt idx="83750">0</cx:pt>
          <cx:pt idx="83751">0</cx:pt>
          <cx:pt idx="83752">1</cx:pt>
          <cx:pt idx="83753">0</cx:pt>
          <cx:pt idx="83754">0</cx:pt>
          <cx:pt idx="83755">0</cx:pt>
          <cx:pt idx="83756">1</cx:pt>
          <cx:pt idx="83757">0</cx:pt>
          <cx:pt idx="83758">1</cx:pt>
          <cx:pt idx="83759">0</cx:pt>
          <cx:pt idx="83760">0</cx:pt>
          <cx:pt idx="83761">0</cx:pt>
          <cx:pt idx="83762">0</cx:pt>
          <cx:pt idx="83763">1</cx:pt>
          <cx:pt idx="83764">1</cx:pt>
          <cx:pt idx="83765">0</cx:pt>
          <cx:pt idx="83766">0</cx:pt>
          <cx:pt idx="83767">0</cx:pt>
          <cx:pt idx="83768">1</cx:pt>
          <cx:pt idx="83769">1</cx:pt>
          <cx:pt idx="83770">1</cx:pt>
          <cx:pt idx="83771">1</cx:pt>
          <cx:pt idx="83772">0</cx:pt>
          <cx:pt idx="83773">1</cx:pt>
          <cx:pt idx="83774">0</cx:pt>
          <cx:pt idx="83775">1</cx:pt>
          <cx:pt idx="83776">1</cx:pt>
          <cx:pt idx="83777">0</cx:pt>
          <cx:pt idx="83778">1</cx:pt>
          <cx:pt idx="83779">1</cx:pt>
          <cx:pt idx="83780">0</cx:pt>
          <cx:pt idx="83781">1</cx:pt>
          <cx:pt idx="83782">0</cx:pt>
          <cx:pt idx="83783">1</cx:pt>
          <cx:pt idx="83784">0</cx:pt>
          <cx:pt idx="83785">1</cx:pt>
          <cx:pt idx="83786">0</cx:pt>
          <cx:pt idx="83787">0</cx:pt>
          <cx:pt idx="83788">0</cx:pt>
          <cx:pt idx="83789">1</cx:pt>
          <cx:pt idx="83790">0</cx:pt>
          <cx:pt idx="83791">1</cx:pt>
          <cx:pt idx="83792">0</cx:pt>
          <cx:pt idx="83793">1</cx:pt>
          <cx:pt idx="83794">1</cx:pt>
          <cx:pt idx="83795">1</cx:pt>
          <cx:pt idx="83796">1</cx:pt>
          <cx:pt idx="83797">0</cx:pt>
          <cx:pt idx="83798">0</cx:pt>
          <cx:pt idx="83799">1</cx:pt>
          <cx:pt idx="83800">0</cx:pt>
          <cx:pt idx="83801">1</cx:pt>
          <cx:pt idx="83802">1</cx:pt>
          <cx:pt idx="83803">1</cx:pt>
          <cx:pt idx="83804">0</cx:pt>
          <cx:pt idx="83805">0</cx:pt>
          <cx:pt idx="83806">0</cx:pt>
          <cx:pt idx="83807">0</cx:pt>
          <cx:pt idx="83808">1</cx:pt>
          <cx:pt idx="83809">0</cx:pt>
          <cx:pt idx="83810">1</cx:pt>
          <cx:pt idx="83811">0</cx:pt>
          <cx:pt idx="83812">0</cx:pt>
          <cx:pt idx="83813">1</cx:pt>
          <cx:pt idx="83814">1</cx:pt>
          <cx:pt idx="83815">1</cx:pt>
          <cx:pt idx="83816">1</cx:pt>
          <cx:pt idx="83817">0</cx:pt>
          <cx:pt idx="83818">1</cx:pt>
          <cx:pt idx="83819">0</cx:pt>
          <cx:pt idx="83820">1</cx:pt>
          <cx:pt idx="83821">0</cx:pt>
          <cx:pt idx="83822">0</cx:pt>
          <cx:pt idx="83823">0</cx:pt>
          <cx:pt idx="83824">0</cx:pt>
          <cx:pt idx="83825">0</cx:pt>
          <cx:pt idx="83826">1</cx:pt>
          <cx:pt idx="83827">0</cx:pt>
          <cx:pt idx="83828">1</cx:pt>
          <cx:pt idx="83829">0</cx:pt>
          <cx:pt idx="83830">0</cx:pt>
          <cx:pt idx="83831">0</cx:pt>
          <cx:pt idx="83832">0</cx:pt>
          <cx:pt idx="83833">1</cx:pt>
          <cx:pt idx="83834">1</cx:pt>
          <cx:pt idx="83835">0</cx:pt>
          <cx:pt idx="83836">1</cx:pt>
          <cx:pt idx="83837">0</cx:pt>
          <cx:pt idx="83838">0</cx:pt>
          <cx:pt idx="83839">0</cx:pt>
          <cx:pt idx="83840">1</cx:pt>
          <cx:pt idx="83841">1</cx:pt>
          <cx:pt idx="83842">0</cx:pt>
          <cx:pt idx="83843">1</cx:pt>
          <cx:pt idx="83844">1</cx:pt>
          <cx:pt idx="83845">0</cx:pt>
          <cx:pt idx="83846">1</cx:pt>
          <cx:pt idx="83847">0</cx:pt>
          <cx:pt idx="83848">0</cx:pt>
          <cx:pt idx="83849">1</cx:pt>
          <cx:pt idx="83850">0</cx:pt>
          <cx:pt idx="83851">0</cx:pt>
          <cx:pt idx="83852">0</cx:pt>
          <cx:pt idx="83853">1</cx:pt>
          <cx:pt idx="83854">0</cx:pt>
          <cx:pt idx="83855">0</cx:pt>
          <cx:pt idx="83856">1</cx:pt>
          <cx:pt idx="83857">0</cx:pt>
          <cx:pt idx="83858">1</cx:pt>
          <cx:pt idx="83859">1</cx:pt>
          <cx:pt idx="83860">0</cx:pt>
          <cx:pt idx="83861">0</cx:pt>
          <cx:pt idx="83862">1</cx:pt>
          <cx:pt idx="83863">0</cx:pt>
          <cx:pt idx="83864">0</cx:pt>
          <cx:pt idx="83865">1</cx:pt>
          <cx:pt idx="83866">0</cx:pt>
          <cx:pt idx="83867">0</cx:pt>
          <cx:pt idx="83868">0</cx:pt>
          <cx:pt idx="83869">1</cx:pt>
          <cx:pt idx="83870">1</cx:pt>
          <cx:pt idx="83871">1</cx:pt>
          <cx:pt idx="83872">0</cx:pt>
          <cx:pt idx="83873">0</cx:pt>
          <cx:pt idx="83874">0</cx:pt>
          <cx:pt idx="83875">0</cx:pt>
          <cx:pt idx="83876">1</cx:pt>
          <cx:pt idx="83877">1</cx:pt>
          <cx:pt idx="83878">1</cx:pt>
          <cx:pt idx="83879">0</cx:pt>
          <cx:pt idx="83880">0</cx:pt>
          <cx:pt idx="83881">1</cx:pt>
          <cx:pt idx="83882">1</cx:pt>
          <cx:pt idx="83883">1</cx:pt>
          <cx:pt idx="83884">1</cx:pt>
          <cx:pt idx="83885">0</cx:pt>
          <cx:pt idx="83886">1</cx:pt>
          <cx:pt idx="83887">0</cx:pt>
          <cx:pt idx="83888">0</cx:pt>
          <cx:pt idx="83889">0</cx:pt>
          <cx:pt idx="83890">0</cx:pt>
          <cx:pt idx="83891">0</cx:pt>
          <cx:pt idx="83892">0</cx:pt>
          <cx:pt idx="83893">1</cx:pt>
          <cx:pt idx="83894">1</cx:pt>
          <cx:pt idx="83895">1</cx:pt>
          <cx:pt idx="83896">1</cx:pt>
          <cx:pt idx="83897">0</cx:pt>
          <cx:pt idx="83898">0</cx:pt>
          <cx:pt idx="83899">0</cx:pt>
          <cx:pt idx="83900">0</cx:pt>
          <cx:pt idx="83901">1</cx:pt>
          <cx:pt idx="83902">0</cx:pt>
          <cx:pt idx="83903">0</cx:pt>
          <cx:pt idx="83904">0</cx:pt>
          <cx:pt idx="83905">0</cx:pt>
          <cx:pt idx="83906">1</cx:pt>
          <cx:pt idx="83907">0</cx:pt>
          <cx:pt idx="83908">0</cx:pt>
          <cx:pt idx="83909">0</cx:pt>
          <cx:pt idx="83910">0</cx:pt>
          <cx:pt idx="83911">1</cx:pt>
          <cx:pt idx="83912">1</cx:pt>
          <cx:pt idx="83913">0</cx:pt>
          <cx:pt idx="83914">1</cx:pt>
          <cx:pt idx="83915">0</cx:pt>
          <cx:pt idx="83916">1</cx:pt>
          <cx:pt idx="83917">1</cx:pt>
          <cx:pt idx="83918">0</cx:pt>
          <cx:pt idx="83919">0</cx:pt>
          <cx:pt idx="83920">1</cx:pt>
          <cx:pt idx="83921">0</cx:pt>
          <cx:pt idx="83922">1</cx:pt>
          <cx:pt idx="83923">0</cx:pt>
          <cx:pt idx="83924">1</cx:pt>
          <cx:pt idx="83925">0</cx:pt>
          <cx:pt idx="83926">0</cx:pt>
          <cx:pt idx="83927">0</cx:pt>
          <cx:pt idx="83928">0</cx:pt>
          <cx:pt idx="83929">0</cx:pt>
          <cx:pt idx="83930">0</cx:pt>
          <cx:pt idx="83931">1</cx:pt>
          <cx:pt idx="83932">0</cx:pt>
          <cx:pt idx="83933">1</cx:pt>
          <cx:pt idx="83934">1</cx:pt>
          <cx:pt idx="83935">1</cx:pt>
          <cx:pt idx="83936">1</cx:pt>
          <cx:pt idx="83937">0</cx:pt>
          <cx:pt idx="83938">1</cx:pt>
          <cx:pt idx="83939">1</cx:pt>
          <cx:pt idx="83940">0</cx:pt>
          <cx:pt idx="83941">1</cx:pt>
          <cx:pt idx="83942">0</cx:pt>
          <cx:pt idx="83943">1</cx:pt>
          <cx:pt idx="83944">1</cx:pt>
          <cx:pt idx="83945">0</cx:pt>
          <cx:pt idx="83946">0</cx:pt>
          <cx:pt idx="83947">0</cx:pt>
          <cx:pt idx="83948">0</cx:pt>
          <cx:pt idx="83949">0</cx:pt>
          <cx:pt idx="83950">0</cx:pt>
          <cx:pt idx="83951">1</cx:pt>
          <cx:pt idx="83952">0</cx:pt>
          <cx:pt idx="83953">0</cx:pt>
          <cx:pt idx="83954">1</cx:pt>
          <cx:pt idx="83955">0</cx:pt>
          <cx:pt idx="83956">0</cx:pt>
          <cx:pt idx="83957">0</cx:pt>
          <cx:pt idx="83958">1</cx:pt>
          <cx:pt idx="83959">0</cx:pt>
          <cx:pt idx="83960">0</cx:pt>
          <cx:pt idx="83961">0</cx:pt>
          <cx:pt idx="83962">1</cx:pt>
          <cx:pt idx="83963">0</cx:pt>
          <cx:pt idx="83964">0</cx:pt>
          <cx:pt idx="83965">0</cx:pt>
          <cx:pt idx="83966">0</cx:pt>
          <cx:pt idx="83967">1</cx:pt>
          <cx:pt idx="83968">0</cx:pt>
          <cx:pt idx="83969">0</cx:pt>
          <cx:pt idx="83970">0</cx:pt>
          <cx:pt idx="83971">1</cx:pt>
          <cx:pt idx="83972">0</cx:pt>
          <cx:pt idx="83973">1</cx:pt>
          <cx:pt idx="83974">0</cx:pt>
          <cx:pt idx="83975">0</cx:pt>
          <cx:pt idx="83976">1</cx:pt>
          <cx:pt idx="83977">1</cx:pt>
          <cx:pt idx="83978">0</cx:pt>
          <cx:pt idx="83979">0</cx:pt>
          <cx:pt idx="83980">1</cx:pt>
          <cx:pt idx="83981">0</cx:pt>
          <cx:pt idx="83982">1</cx:pt>
          <cx:pt idx="83983">1</cx:pt>
          <cx:pt idx="83984">0</cx:pt>
          <cx:pt idx="83985">0</cx:pt>
          <cx:pt idx="83986">1</cx:pt>
          <cx:pt idx="83987">1</cx:pt>
          <cx:pt idx="83988">0</cx:pt>
          <cx:pt idx="83989">0</cx:pt>
          <cx:pt idx="83990">1</cx:pt>
          <cx:pt idx="83991">0</cx:pt>
          <cx:pt idx="83992">0</cx:pt>
          <cx:pt idx="83993">0</cx:pt>
          <cx:pt idx="83994">1</cx:pt>
          <cx:pt idx="83995">1</cx:pt>
          <cx:pt idx="83996">1</cx:pt>
          <cx:pt idx="83997">0</cx:pt>
          <cx:pt idx="83998">1</cx:pt>
          <cx:pt idx="83999">1</cx:pt>
          <cx:pt idx="84000">1</cx:pt>
          <cx:pt idx="84001">1</cx:pt>
          <cx:pt idx="84002">1</cx:pt>
          <cx:pt idx="84003">0</cx:pt>
          <cx:pt idx="84004">0</cx:pt>
          <cx:pt idx="84005">0</cx:pt>
          <cx:pt idx="84006">0</cx:pt>
          <cx:pt idx="84007">1</cx:pt>
          <cx:pt idx="84008">1</cx:pt>
          <cx:pt idx="84009">1</cx:pt>
          <cx:pt idx="84010">0</cx:pt>
          <cx:pt idx="84011">0</cx:pt>
          <cx:pt idx="84012">0</cx:pt>
          <cx:pt idx="84013">0</cx:pt>
          <cx:pt idx="84014">0</cx:pt>
          <cx:pt idx="84015">0</cx:pt>
          <cx:pt idx="84016">1</cx:pt>
          <cx:pt idx="84017">0</cx:pt>
          <cx:pt idx="84018">0</cx:pt>
          <cx:pt idx="84019">0</cx:pt>
          <cx:pt idx="84020">0</cx:pt>
          <cx:pt idx="84021">0</cx:pt>
          <cx:pt idx="84022">1</cx:pt>
          <cx:pt idx="84023">1</cx:pt>
          <cx:pt idx="84024">0</cx:pt>
          <cx:pt idx="84025">1</cx:pt>
          <cx:pt idx="84026">1</cx:pt>
          <cx:pt idx="84027">0</cx:pt>
          <cx:pt idx="84028">1</cx:pt>
          <cx:pt idx="84029">0</cx:pt>
          <cx:pt idx="84030">1</cx:pt>
          <cx:pt idx="84031">0</cx:pt>
          <cx:pt idx="84032">0</cx:pt>
          <cx:pt idx="84033">1</cx:pt>
          <cx:pt idx="84034">1</cx:pt>
          <cx:pt idx="84035">0</cx:pt>
          <cx:pt idx="84036">1</cx:pt>
          <cx:pt idx="84037">1</cx:pt>
          <cx:pt idx="84038">0</cx:pt>
          <cx:pt idx="84039">1</cx:pt>
          <cx:pt idx="84040">0</cx:pt>
          <cx:pt idx="84041">1</cx:pt>
          <cx:pt idx="84042">0</cx:pt>
          <cx:pt idx="84043">0</cx:pt>
          <cx:pt idx="84044">1</cx:pt>
          <cx:pt idx="84045">0</cx:pt>
          <cx:pt idx="84046">0</cx:pt>
          <cx:pt idx="84047">1</cx:pt>
          <cx:pt idx="84048">1</cx:pt>
          <cx:pt idx="84049">0</cx:pt>
          <cx:pt idx="84050">1</cx:pt>
          <cx:pt idx="84051">0</cx:pt>
          <cx:pt idx="84052">1</cx:pt>
          <cx:pt idx="84053">0</cx:pt>
          <cx:pt idx="84054">1</cx:pt>
          <cx:pt idx="84055">1</cx:pt>
          <cx:pt idx="84056">1</cx:pt>
          <cx:pt idx="84057">1</cx:pt>
          <cx:pt idx="84058">0</cx:pt>
          <cx:pt idx="84059">0</cx:pt>
          <cx:pt idx="84060">0</cx:pt>
          <cx:pt idx="84061">0</cx:pt>
          <cx:pt idx="84062">0</cx:pt>
          <cx:pt idx="84063">0</cx:pt>
          <cx:pt idx="84064">1</cx:pt>
          <cx:pt idx="84065">1</cx:pt>
          <cx:pt idx="84066">0</cx:pt>
          <cx:pt idx="84067">0</cx:pt>
          <cx:pt idx="84068">0</cx:pt>
          <cx:pt idx="84069">1</cx:pt>
          <cx:pt idx="84070">0</cx:pt>
          <cx:pt idx="84071">1</cx:pt>
          <cx:pt idx="84072">0</cx:pt>
          <cx:pt idx="84073">0</cx:pt>
          <cx:pt idx="84074">0</cx:pt>
          <cx:pt idx="84075">1</cx:pt>
          <cx:pt idx="84076">0</cx:pt>
          <cx:pt idx="84077">0</cx:pt>
          <cx:pt idx="84078">1</cx:pt>
          <cx:pt idx="84079">0</cx:pt>
          <cx:pt idx="84080">0</cx:pt>
          <cx:pt idx="84081">1</cx:pt>
          <cx:pt idx="84082">0</cx:pt>
          <cx:pt idx="84083">0</cx:pt>
          <cx:pt idx="84084">0</cx:pt>
          <cx:pt idx="84085">1</cx:pt>
          <cx:pt idx="84086">1</cx:pt>
          <cx:pt idx="84087">0</cx:pt>
          <cx:pt idx="84088">0</cx:pt>
          <cx:pt idx="84089">1</cx:pt>
          <cx:pt idx="84090">1</cx:pt>
          <cx:pt idx="84091">1</cx:pt>
          <cx:pt idx="84092">0</cx:pt>
          <cx:pt idx="84093">0</cx:pt>
          <cx:pt idx="84094">0</cx:pt>
          <cx:pt idx="84095">0</cx:pt>
          <cx:pt idx="84096">0</cx:pt>
          <cx:pt idx="84097">0</cx:pt>
          <cx:pt idx="84098">0</cx:pt>
          <cx:pt idx="84099">1</cx:pt>
          <cx:pt idx="84100">1</cx:pt>
          <cx:pt idx="84101">0</cx:pt>
          <cx:pt idx="84102">1</cx:pt>
          <cx:pt idx="84103">0</cx:pt>
          <cx:pt idx="84104">0</cx:pt>
          <cx:pt idx="84105">1</cx:pt>
          <cx:pt idx="84106">1</cx:pt>
          <cx:pt idx="84107">1</cx:pt>
          <cx:pt idx="84108">1</cx:pt>
          <cx:pt idx="84109">1</cx:pt>
          <cx:pt idx="84110">0</cx:pt>
          <cx:pt idx="84111">0</cx:pt>
          <cx:pt idx="84112">0</cx:pt>
          <cx:pt idx="84113">0</cx:pt>
          <cx:pt idx="84114">0</cx:pt>
          <cx:pt idx="84115">0</cx:pt>
          <cx:pt idx="84116">0</cx:pt>
          <cx:pt idx="84117">1</cx:pt>
          <cx:pt idx="84118">0</cx:pt>
          <cx:pt idx="84119">0</cx:pt>
          <cx:pt idx="84120">1</cx:pt>
          <cx:pt idx="84121">0</cx:pt>
          <cx:pt idx="84122">0</cx:pt>
          <cx:pt idx="84123">1</cx:pt>
          <cx:pt idx="84124">1</cx:pt>
          <cx:pt idx="84125">0</cx:pt>
          <cx:pt idx="84126">0</cx:pt>
          <cx:pt idx="84127">0</cx:pt>
          <cx:pt idx="84128">0</cx:pt>
          <cx:pt idx="84129">0</cx:pt>
          <cx:pt idx="84130">0</cx:pt>
          <cx:pt idx="84131">0</cx:pt>
          <cx:pt idx="84132">1</cx:pt>
          <cx:pt idx="84133">1</cx:pt>
          <cx:pt idx="84134">0</cx:pt>
          <cx:pt idx="84135">1</cx:pt>
          <cx:pt idx="84136">1</cx:pt>
          <cx:pt idx="84137">0</cx:pt>
          <cx:pt idx="84138">0</cx:pt>
          <cx:pt idx="84139">1</cx:pt>
          <cx:pt idx="84140">1</cx:pt>
          <cx:pt idx="84141">0</cx:pt>
          <cx:pt idx="84142">0</cx:pt>
          <cx:pt idx="84143">0</cx:pt>
          <cx:pt idx="84144">1</cx:pt>
          <cx:pt idx="84145">0</cx:pt>
          <cx:pt idx="84146">0</cx:pt>
          <cx:pt idx="84147">0</cx:pt>
          <cx:pt idx="84148">1</cx:pt>
          <cx:pt idx="84149">1</cx:pt>
          <cx:pt idx="84150">1</cx:pt>
          <cx:pt idx="84151">1</cx:pt>
          <cx:pt idx="84152">0</cx:pt>
          <cx:pt idx="84153">1</cx:pt>
          <cx:pt idx="84154">0</cx:pt>
          <cx:pt idx="84155">0</cx:pt>
          <cx:pt idx="84156">0</cx:pt>
          <cx:pt idx="84157">0</cx:pt>
          <cx:pt idx="84158">1</cx:pt>
          <cx:pt idx="84159">1</cx:pt>
          <cx:pt idx="84160">0</cx:pt>
          <cx:pt idx="84161">1</cx:pt>
          <cx:pt idx="84162">0</cx:pt>
          <cx:pt idx="84163">1</cx:pt>
          <cx:pt idx="84164">1</cx:pt>
          <cx:pt idx="84165">1</cx:pt>
          <cx:pt idx="84166">1</cx:pt>
          <cx:pt idx="84167">0</cx:pt>
          <cx:pt idx="84168">0</cx:pt>
          <cx:pt idx="84169">1</cx:pt>
          <cx:pt idx="84170">1</cx:pt>
          <cx:pt idx="84171">1</cx:pt>
          <cx:pt idx="84172">0</cx:pt>
          <cx:pt idx="84173">1</cx:pt>
          <cx:pt idx="84174">1</cx:pt>
          <cx:pt idx="84175">0</cx:pt>
          <cx:pt idx="84176">0</cx:pt>
          <cx:pt idx="84177">0</cx:pt>
          <cx:pt idx="84178">0</cx:pt>
          <cx:pt idx="84179">0</cx:pt>
          <cx:pt idx="84180">1</cx:pt>
          <cx:pt idx="84181">1</cx:pt>
          <cx:pt idx="84182">0</cx:pt>
          <cx:pt idx="84183">1</cx:pt>
          <cx:pt idx="84184">0</cx:pt>
          <cx:pt idx="84185">0</cx:pt>
          <cx:pt idx="84186">1</cx:pt>
          <cx:pt idx="84187">0</cx:pt>
          <cx:pt idx="84188">1</cx:pt>
          <cx:pt idx="84189">1</cx:pt>
          <cx:pt idx="84190">0</cx:pt>
          <cx:pt idx="84191">0</cx:pt>
          <cx:pt idx="84192">1</cx:pt>
          <cx:pt idx="84193">1</cx:pt>
          <cx:pt idx="84194">1</cx:pt>
          <cx:pt idx="84195">0</cx:pt>
          <cx:pt idx="84196">0</cx:pt>
          <cx:pt idx="84197">0</cx:pt>
          <cx:pt idx="84198">1</cx:pt>
          <cx:pt idx="84199">1</cx:pt>
          <cx:pt idx="84200">0</cx:pt>
          <cx:pt idx="84201">0</cx:pt>
          <cx:pt idx="84202">0</cx:pt>
          <cx:pt idx="84203">0</cx:pt>
          <cx:pt idx="84204">0</cx:pt>
          <cx:pt idx="84205">1</cx:pt>
          <cx:pt idx="84206">1</cx:pt>
          <cx:pt idx="84207">0</cx:pt>
          <cx:pt idx="84208">0</cx:pt>
          <cx:pt idx="84209">1</cx:pt>
          <cx:pt idx="84210">1</cx:pt>
          <cx:pt idx="84211">1</cx:pt>
          <cx:pt idx="84212">0</cx:pt>
          <cx:pt idx="84213">1</cx:pt>
          <cx:pt idx="84214">1</cx:pt>
          <cx:pt idx="84215">1</cx:pt>
          <cx:pt idx="84216">0</cx:pt>
          <cx:pt idx="84217">0</cx:pt>
          <cx:pt idx="84218">0</cx:pt>
          <cx:pt idx="84219">1</cx:pt>
          <cx:pt idx="84220">1</cx:pt>
          <cx:pt idx="84221">1</cx:pt>
          <cx:pt idx="84222">0</cx:pt>
          <cx:pt idx="84223">0</cx:pt>
          <cx:pt idx="84224">0</cx:pt>
          <cx:pt idx="84225">0</cx:pt>
          <cx:pt idx="84226">0</cx:pt>
          <cx:pt idx="84227">0</cx:pt>
          <cx:pt idx="84228">0</cx:pt>
          <cx:pt idx="84229">0</cx:pt>
          <cx:pt idx="84230">0</cx:pt>
          <cx:pt idx="84231">0</cx:pt>
          <cx:pt idx="84232">1</cx:pt>
          <cx:pt idx="84233">0</cx:pt>
          <cx:pt idx="84234">1</cx:pt>
          <cx:pt idx="84235">0</cx:pt>
          <cx:pt idx="84236">1</cx:pt>
          <cx:pt idx="84237">0</cx:pt>
          <cx:pt idx="84238">1</cx:pt>
          <cx:pt idx="84239">1</cx:pt>
          <cx:pt idx="84240">1</cx:pt>
          <cx:pt idx="84241">0</cx:pt>
          <cx:pt idx="84242">0</cx:pt>
          <cx:pt idx="84243">1</cx:pt>
          <cx:pt idx="84244">0</cx:pt>
          <cx:pt idx="84245">1</cx:pt>
          <cx:pt idx="84246">1</cx:pt>
          <cx:pt idx="84247">0</cx:pt>
          <cx:pt idx="84248">1</cx:pt>
          <cx:pt idx="84249">0</cx:pt>
          <cx:pt idx="84250">0</cx:pt>
          <cx:pt idx="84251">1</cx:pt>
          <cx:pt idx="84252">0</cx:pt>
          <cx:pt idx="84253">0</cx:pt>
          <cx:pt idx="84254">0</cx:pt>
          <cx:pt idx="84255">0</cx:pt>
          <cx:pt idx="84256">1</cx:pt>
          <cx:pt idx="84257">0</cx:pt>
          <cx:pt idx="84258">0</cx:pt>
          <cx:pt idx="84259">1</cx:pt>
          <cx:pt idx="84260">0</cx:pt>
          <cx:pt idx="84261">0</cx:pt>
          <cx:pt idx="84262">0</cx:pt>
          <cx:pt idx="84263">1</cx:pt>
          <cx:pt idx="84264">0</cx:pt>
          <cx:pt idx="84265">1</cx:pt>
          <cx:pt idx="84266">0</cx:pt>
          <cx:pt idx="84267">1</cx:pt>
          <cx:pt idx="84268">0</cx:pt>
          <cx:pt idx="84269">0</cx:pt>
          <cx:pt idx="84270">0</cx:pt>
          <cx:pt idx="84271">1</cx:pt>
          <cx:pt idx="84272">1</cx:pt>
          <cx:pt idx="84273">0</cx:pt>
          <cx:pt idx="84274">1</cx:pt>
          <cx:pt idx="84275">0</cx:pt>
          <cx:pt idx="84276">0</cx:pt>
          <cx:pt idx="84277">0</cx:pt>
          <cx:pt idx="84278">1</cx:pt>
          <cx:pt idx="84279">1</cx:pt>
          <cx:pt idx="84280">1</cx:pt>
          <cx:pt idx="84281">1</cx:pt>
          <cx:pt idx="84282">0</cx:pt>
          <cx:pt idx="84283">0</cx:pt>
          <cx:pt idx="84284">1</cx:pt>
          <cx:pt idx="84285">0</cx:pt>
          <cx:pt idx="84286">0</cx:pt>
          <cx:pt idx="84287">0</cx:pt>
          <cx:pt idx="84288">0</cx:pt>
          <cx:pt idx="84289">1</cx:pt>
          <cx:pt idx="84290">1</cx:pt>
          <cx:pt idx="84291">0</cx:pt>
          <cx:pt idx="84292">1</cx:pt>
          <cx:pt idx="84293">1</cx:pt>
          <cx:pt idx="84294">0</cx:pt>
          <cx:pt idx="84295">1</cx:pt>
          <cx:pt idx="84296">0</cx:pt>
          <cx:pt idx="84297">0</cx:pt>
          <cx:pt idx="84298">0</cx:pt>
          <cx:pt idx="84299">1</cx:pt>
          <cx:pt idx="84300">0</cx:pt>
          <cx:pt idx="84301">0</cx:pt>
          <cx:pt idx="84302">0</cx:pt>
          <cx:pt idx="84303">0</cx:pt>
          <cx:pt idx="84304">1</cx:pt>
          <cx:pt idx="84305">0</cx:pt>
          <cx:pt idx="84306">0</cx:pt>
          <cx:pt idx="84307">1</cx:pt>
          <cx:pt idx="84308">0</cx:pt>
          <cx:pt idx="84309">0</cx:pt>
          <cx:pt idx="84310">1</cx:pt>
          <cx:pt idx="84311">0</cx:pt>
          <cx:pt idx="84312">0</cx:pt>
          <cx:pt idx="84313">0</cx:pt>
          <cx:pt idx="84314">0</cx:pt>
          <cx:pt idx="84315">1</cx:pt>
          <cx:pt idx="84316">1</cx:pt>
          <cx:pt idx="84317">0</cx:pt>
          <cx:pt idx="84318">1</cx:pt>
          <cx:pt idx="84319">1</cx:pt>
          <cx:pt idx="84320">0</cx:pt>
          <cx:pt idx="84321">0</cx:pt>
          <cx:pt idx="84322">1</cx:pt>
          <cx:pt idx="84323">1</cx:pt>
          <cx:pt idx="84324">0</cx:pt>
          <cx:pt idx="84325">0</cx:pt>
          <cx:pt idx="84326">0</cx:pt>
          <cx:pt idx="84327">1</cx:pt>
          <cx:pt idx="84328">0</cx:pt>
          <cx:pt idx="84329">0</cx:pt>
          <cx:pt idx="84330">0</cx:pt>
          <cx:pt idx="84331">1</cx:pt>
          <cx:pt idx="84332">0</cx:pt>
          <cx:pt idx="84333">1</cx:pt>
          <cx:pt idx="84334">0</cx:pt>
          <cx:pt idx="84335">0</cx:pt>
          <cx:pt idx="84336">0</cx:pt>
          <cx:pt idx="84337">0</cx:pt>
          <cx:pt idx="84338">1</cx:pt>
          <cx:pt idx="84339">0</cx:pt>
          <cx:pt idx="84340">0</cx:pt>
          <cx:pt idx="84341">0</cx:pt>
          <cx:pt idx="84342">0</cx:pt>
          <cx:pt idx="84343">0</cx:pt>
          <cx:pt idx="84344">1</cx:pt>
          <cx:pt idx="84345">0</cx:pt>
          <cx:pt idx="84346">1</cx:pt>
          <cx:pt idx="84347">1</cx:pt>
          <cx:pt idx="84348">0</cx:pt>
          <cx:pt idx="84349">0</cx:pt>
          <cx:pt idx="84350">0</cx:pt>
          <cx:pt idx="84351">1</cx:pt>
          <cx:pt idx="84352">1</cx:pt>
          <cx:pt idx="84353">1</cx:pt>
          <cx:pt idx="84354">1</cx:pt>
          <cx:pt idx="84355">0</cx:pt>
          <cx:pt idx="84356">0</cx:pt>
          <cx:pt idx="84357">0</cx:pt>
          <cx:pt idx="84358">1</cx:pt>
          <cx:pt idx="84359">0</cx:pt>
          <cx:pt idx="84360">0</cx:pt>
          <cx:pt idx="84361">0</cx:pt>
          <cx:pt idx="84362">1</cx:pt>
          <cx:pt idx="84363">0</cx:pt>
          <cx:pt idx="84364">0</cx:pt>
          <cx:pt idx="84365">0</cx:pt>
          <cx:pt idx="84366">0</cx:pt>
          <cx:pt idx="84367">0</cx:pt>
          <cx:pt idx="84368">0</cx:pt>
          <cx:pt idx="84369">0</cx:pt>
          <cx:pt idx="84370">1</cx:pt>
          <cx:pt idx="84371">1</cx:pt>
          <cx:pt idx="84372">0</cx:pt>
          <cx:pt idx="84373">1</cx:pt>
          <cx:pt idx="84374">0</cx:pt>
          <cx:pt idx="84375">0</cx:pt>
          <cx:pt idx="84376">0</cx:pt>
          <cx:pt idx="84377">1</cx:pt>
          <cx:pt idx="84378">0</cx:pt>
          <cx:pt idx="84379">1</cx:pt>
          <cx:pt idx="84380">0</cx:pt>
          <cx:pt idx="84381">0</cx:pt>
          <cx:pt idx="84382">1</cx:pt>
          <cx:pt idx="84383">0</cx:pt>
          <cx:pt idx="84384">0</cx:pt>
          <cx:pt idx="84385">1</cx:pt>
          <cx:pt idx="84386">0</cx:pt>
          <cx:pt idx="84387">0</cx:pt>
          <cx:pt idx="84388">1</cx:pt>
          <cx:pt idx="84389">0</cx:pt>
          <cx:pt idx="84390">0</cx:pt>
          <cx:pt idx="84391">0</cx:pt>
          <cx:pt idx="84392">0</cx:pt>
          <cx:pt idx="84393">1</cx:pt>
          <cx:pt idx="84394">0</cx:pt>
          <cx:pt idx="84395">0</cx:pt>
          <cx:pt idx="84396">1</cx:pt>
          <cx:pt idx="84397">0</cx:pt>
          <cx:pt idx="84398">0</cx:pt>
          <cx:pt idx="84399">1</cx:pt>
          <cx:pt idx="84400">0</cx:pt>
          <cx:pt idx="84401">0</cx:pt>
          <cx:pt idx="84402">0</cx:pt>
          <cx:pt idx="84403">1</cx:pt>
          <cx:pt idx="84404">0</cx:pt>
          <cx:pt idx="84405">0</cx:pt>
          <cx:pt idx="84406">0</cx:pt>
          <cx:pt idx="84407">1</cx:pt>
          <cx:pt idx="84408">0</cx:pt>
          <cx:pt idx="84409">0</cx:pt>
          <cx:pt idx="84410">0</cx:pt>
          <cx:pt idx="84411">0</cx:pt>
          <cx:pt idx="84412">1</cx:pt>
          <cx:pt idx="84413">1</cx:pt>
          <cx:pt idx="84414">1</cx:pt>
          <cx:pt idx="84415">1</cx:pt>
          <cx:pt idx="84416">0</cx:pt>
          <cx:pt idx="84417">0</cx:pt>
          <cx:pt idx="84418">0</cx:pt>
          <cx:pt idx="84419">0</cx:pt>
          <cx:pt idx="84420">0</cx:pt>
          <cx:pt idx="84421">1</cx:pt>
          <cx:pt idx="84422">0</cx:pt>
          <cx:pt idx="84423">1</cx:pt>
          <cx:pt idx="84424">1</cx:pt>
          <cx:pt idx="84425">0</cx:pt>
          <cx:pt idx="84426">1</cx:pt>
          <cx:pt idx="84427">0</cx:pt>
          <cx:pt idx="84428">0</cx:pt>
          <cx:pt idx="84429">0</cx:pt>
          <cx:pt idx="84430">1</cx:pt>
          <cx:pt idx="84431">0</cx:pt>
          <cx:pt idx="84432">0</cx:pt>
          <cx:pt idx="84433">1</cx:pt>
          <cx:pt idx="84434">0</cx:pt>
          <cx:pt idx="84435">0</cx:pt>
          <cx:pt idx="84436">0</cx:pt>
          <cx:pt idx="84437">0</cx:pt>
          <cx:pt idx="84438">1</cx:pt>
          <cx:pt idx="84439">1</cx:pt>
          <cx:pt idx="84440">1</cx:pt>
          <cx:pt idx="84441">0</cx:pt>
          <cx:pt idx="84442">0</cx:pt>
          <cx:pt idx="84443">0</cx:pt>
          <cx:pt idx="84444">0</cx:pt>
          <cx:pt idx="84445">1</cx:pt>
          <cx:pt idx="84446">0</cx:pt>
          <cx:pt idx="84447">0</cx:pt>
          <cx:pt idx="84448">1</cx:pt>
          <cx:pt idx="84449">0</cx:pt>
          <cx:pt idx="84450">0</cx:pt>
          <cx:pt idx="84451">1</cx:pt>
          <cx:pt idx="84452">1</cx:pt>
          <cx:pt idx="84453">1</cx:pt>
          <cx:pt idx="84454">1</cx:pt>
          <cx:pt idx="84455">0</cx:pt>
          <cx:pt idx="84456">1</cx:pt>
          <cx:pt idx="84457">0</cx:pt>
          <cx:pt idx="84458">0</cx:pt>
          <cx:pt idx="84459">1</cx:pt>
          <cx:pt idx="84460">1</cx:pt>
          <cx:pt idx="84461">1</cx:pt>
          <cx:pt idx="84462">0</cx:pt>
          <cx:pt idx="84463">1</cx:pt>
          <cx:pt idx="84464">1</cx:pt>
          <cx:pt idx="84465">0</cx:pt>
          <cx:pt idx="84466">1</cx:pt>
          <cx:pt idx="84467">1</cx:pt>
          <cx:pt idx="84468">1</cx:pt>
          <cx:pt idx="84469">1</cx:pt>
          <cx:pt idx="84470">1</cx:pt>
          <cx:pt idx="84471">0</cx:pt>
          <cx:pt idx="84472">0</cx:pt>
          <cx:pt idx="84473">1</cx:pt>
          <cx:pt idx="84474">0</cx:pt>
          <cx:pt idx="84475">0</cx:pt>
          <cx:pt idx="84476">1</cx:pt>
          <cx:pt idx="84477">1</cx:pt>
          <cx:pt idx="84478">1</cx:pt>
          <cx:pt idx="84479">0</cx:pt>
          <cx:pt idx="84480">1</cx:pt>
          <cx:pt idx="84481">0</cx:pt>
          <cx:pt idx="84482">0</cx:pt>
          <cx:pt idx="84483">1</cx:pt>
          <cx:pt idx="84484">0</cx:pt>
          <cx:pt idx="84485">0</cx:pt>
          <cx:pt idx="84486">1</cx:pt>
          <cx:pt idx="84487">0</cx:pt>
          <cx:pt idx="84488">1</cx:pt>
          <cx:pt idx="84489">1</cx:pt>
          <cx:pt idx="84490">1</cx:pt>
          <cx:pt idx="84491">1</cx:pt>
          <cx:pt idx="84492">1</cx:pt>
          <cx:pt idx="84493">1</cx:pt>
          <cx:pt idx="84494">1</cx:pt>
          <cx:pt idx="84495">0</cx:pt>
          <cx:pt idx="84496">0</cx:pt>
          <cx:pt idx="84497">0</cx:pt>
          <cx:pt idx="84498">1</cx:pt>
          <cx:pt idx="84499">0</cx:pt>
          <cx:pt idx="84500">0</cx:pt>
          <cx:pt idx="84501">0</cx:pt>
          <cx:pt idx="84502">0</cx:pt>
          <cx:pt idx="84503">1</cx:pt>
          <cx:pt idx="84504">1</cx:pt>
          <cx:pt idx="84505">1</cx:pt>
          <cx:pt idx="84506">1</cx:pt>
          <cx:pt idx="84507">0</cx:pt>
          <cx:pt idx="84508">1</cx:pt>
          <cx:pt idx="84509">0</cx:pt>
          <cx:pt idx="84510">0</cx:pt>
          <cx:pt idx="84511">0</cx:pt>
          <cx:pt idx="84512">0</cx:pt>
          <cx:pt idx="84513">1</cx:pt>
          <cx:pt idx="84514">1</cx:pt>
          <cx:pt idx="84515">0</cx:pt>
          <cx:pt idx="84516">0</cx:pt>
          <cx:pt idx="84517">1</cx:pt>
          <cx:pt idx="84518">0</cx:pt>
          <cx:pt idx="84519">0</cx:pt>
          <cx:pt idx="84520">1</cx:pt>
          <cx:pt idx="84521">0</cx:pt>
          <cx:pt idx="84522">0</cx:pt>
          <cx:pt idx="84523">0</cx:pt>
          <cx:pt idx="84524">0</cx:pt>
          <cx:pt idx="84525">1</cx:pt>
          <cx:pt idx="84526">0</cx:pt>
          <cx:pt idx="84527">1</cx:pt>
          <cx:pt idx="84528">0</cx:pt>
          <cx:pt idx="84529">1</cx:pt>
          <cx:pt idx="84530">0</cx:pt>
          <cx:pt idx="84531">0</cx:pt>
          <cx:pt idx="84532">0</cx:pt>
          <cx:pt idx="84533">1</cx:pt>
          <cx:pt idx="84534">0</cx:pt>
          <cx:pt idx="84535">1</cx:pt>
          <cx:pt idx="84536">1</cx:pt>
          <cx:pt idx="84537">1</cx:pt>
          <cx:pt idx="84538">0</cx:pt>
          <cx:pt idx="84539">0</cx:pt>
          <cx:pt idx="84540">0</cx:pt>
          <cx:pt idx="84541">0</cx:pt>
          <cx:pt idx="84542">1</cx:pt>
          <cx:pt idx="84543">1</cx:pt>
          <cx:pt idx="84544">0</cx:pt>
          <cx:pt idx="84545">0</cx:pt>
          <cx:pt idx="84546">0</cx:pt>
          <cx:pt idx="84547">1</cx:pt>
          <cx:pt idx="84548">0</cx:pt>
          <cx:pt idx="84549">1</cx:pt>
          <cx:pt idx="84550">1</cx:pt>
          <cx:pt idx="84551">0</cx:pt>
          <cx:pt idx="84552">1</cx:pt>
          <cx:pt idx="84553">1</cx:pt>
          <cx:pt idx="84554">0</cx:pt>
          <cx:pt idx="84555">0</cx:pt>
          <cx:pt idx="84556">1</cx:pt>
          <cx:pt idx="84557">1</cx:pt>
          <cx:pt idx="84558">0</cx:pt>
          <cx:pt idx="84559">0</cx:pt>
          <cx:pt idx="84560">0</cx:pt>
          <cx:pt idx="84561">0</cx:pt>
          <cx:pt idx="84562">1</cx:pt>
          <cx:pt idx="84563">0</cx:pt>
          <cx:pt idx="84564">0</cx:pt>
          <cx:pt idx="84565">0</cx:pt>
          <cx:pt idx="84566">0</cx:pt>
          <cx:pt idx="84567">0</cx:pt>
          <cx:pt idx="84568">0</cx:pt>
          <cx:pt idx="84569">1</cx:pt>
          <cx:pt idx="84570">1</cx:pt>
          <cx:pt idx="84571">1</cx:pt>
          <cx:pt idx="84572">0</cx:pt>
          <cx:pt idx="84573">0</cx:pt>
          <cx:pt idx="84574">0</cx:pt>
          <cx:pt idx="84575">1</cx:pt>
          <cx:pt idx="84576">1</cx:pt>
          <cx:pt idx="84577">0</cx:pt>
          <cx:pt idx="84578">0</cx:pt>
          <cx:pt idx="84579">1</cx:pt>
          <cx:pt idx="84580">0</cx:pt>
          <cx:pt idx="84581">0</cx:pt>
          <cx:pt idx="84582">1</cx:pt>
          <cx:pt idx="84583">0</cx:pt>
          <cx:pt idx="84584">1</cx:pt>
          <cx:pt idx="84585">1</cx:pt>
          <cx:pt idx="84586">1</cx:pt>
          <cx:pt idx="84587">0</cx:pt>
          <cx:pt idx="84588">0</cx:pt>
          <cx:pt idx="84589">0</cx:pt>
          <cx:pt idx="84590">0</cx:pt>
          <cx:pt idx="84591">0</cx:pt>
          <cx:pt idx="84592">0</cx:pt>
          <cx:pt idx="84593">1</cx:pt>
          <cx:pt idx="84594">0</cx:pt>
          <cx:pt idx="84595">1</cx:pt>
          <cx:pt idx="84596">0</cx:pt>
          <cx:pt idx="84597">0</cx:pt>
          <cx:pt idx="84598">1</cx:pt>
          <cx:pt idx="84599">0</cx:pt>
          <cx:pt idx="84600">0</cx:pt>
          <cx:pt idx="84601">1</cx:pt>
          <cx:pt idx="84602">1</cx:pt>
          <cx:pt idx="84603">1</cx:pt>
          <cx:pt idx="84604">0</cx:pt>
          <cx:pt idx="84605">1</cx:pt>
          <cx:pt idx="84606">0</cx:pt>
          <cx:pt idx="84607">1</cx:pt>
          <cx:pt idx="84608">1</cx:pt>
          <cx:pt idx="84609">1</cx:pt>
          <cx:pt idx="84610">1</cx:pt>
          <cx:pt idx="84611">1</cx:pt>
          <cx:pt idx="84612">1</cx:pt>
          <cx:pt idx="84613">1</cx:pt>
          <cx:pt idx="84614">0</cx:pt>
          <cx:pt idx="84615">1</cx:pt>
          <cx:pt idx="84616">0</cx:pt>
          <cx:pt idx="84617">0</cx:pt>
          <cx:pt idx="84618">0</cx:pt>
          <cx:pt idx="84619">0</cx:pt>
          <cx:pt idx="84620">0</cx:pt>
          <cx:pt idx="84621">1</cx:pt>
          <cx:pt idx="84622">1</cx:pt>
          <cx:pt idx="84623">1</cx:pt>
          <cx:pt idx="84624">0</cx:pt>
          <cx:pt idx="84625">0</cx:pt>
          <cx:pt idx="84626">0</cx:pt>
          <cx:pt idx="84627">0</cx:pt>
          <cx:pt idx="84628">1</cx:pt>
          <cx:pt idx="84629">1</cx:pt>
          <cx:pt idx="84630">1</cx:pt>
          <cx:pt idx="84631">0</cx:pt>
          <cx:pt idx="84632">0</cx:pt>
          <cx:pt idx="84633">0</cx:pt>
          <cx:pt idx="84634">1</cx:pt>
          <cx:pt idx="84635">1</cx:pt>
          <cx:pt idx="84636">0</cx:pt>
          <cx:pt idx="84637">0</cx:pt>
          <cx:pt idx="84638">1</cx:pt>
          <cx:pt idx="84639">1</cx:pt>
          <cx:pt idx="84640">1</cx:pt>
          <cx:pt idx="84641">0</cx:pt>
          <cx:pt idx="84642">1</cx:pt>
          <cx:pt idx="84643">1</cx:pt>
          <cx:pt idx="84644">0</cx:pt>
          <cx:pt idx="84645">1</cx:pt>
          <cx:pt idx="84646">0</cx:pt>
          <cx:pt idx="84647">1</cx:pt>
          <cx:pt idx="84648">1</cx:pt>
          <cx:pt idx="84649">1</cx:pt>
          <cx:pt idx="84650">0</cx:pt>
          <cx:pt idx="84651">0</cx:pt>
          <cx:pt idx="84652">1</cx:pt>
          <cx:pt idx="84653">0</cx:pt>
          <cx:pt idx="84654">0</cx:pt>
          <cx:pt idx="84655">1</cx:pt>
          <cx:pt idx="84656">1</cx:pt>
          <cx:pt idx="84657">0</cx:pt>
          <cx:pt idx="84658">1</cx:pt>
          <cx:pt idx="84659">1</cx:pt>
          <cx:pt idx="84660">0</cx:pt>
          <cx:pt idx="84661">0</cx:pt>
          <cx:pt idx="84662">0</cx:pt>
          <cx:pt idx="84663">1</cx:pt>
          <cx:pt idx="84664">0</cx:pt>
          <cx:pt idx="84665">1</cx:pt>
          <cx:pt idx="84666">1</cx:pt>
          <cx:pt idx="84667">1</cx:pt>
          <cx:pt idx="84668">1</cx:pt>
          <cx:pt idx="84669">1</cx:pt>
          <cx:pt idx="84670">1</cx:pt>
          <cx:pt idx="84671">0</cx:pt>
          <cx:pt idx="84672">0</cx:pt>
          <cx:pt idx="84673">1</cx:pt>
          <cx:pt idx="84674">0</cx:pt>
          <cx:pt idx="84675">1</cx:pt>
          <cx:pt idx="84676">0</cx:pt>
          <cx:pt idx="84677">0</cx:pt>
          <cx:pt idx="84678">0</cx:pt>
          <cx:pt idx="84679">0</cx:pt>
          <cx:pt idx="84680">1</cx:pt>
          <cx:pt idx="84681">1</cx:pt>
          <cx:pt idx="84682">0</cx:pt>
          <cx:pt idx="84683">1</cx:pt>
          <cx:pt idx="84684">1</cx:pt>
          <cx:pt idx="84685">0</cx:pt>
          <cx:pt idx="84686">0</cx:pt>
          <cx:pt idx="84687">1</cx:pt>
          <cx:pt idx="84688">0</cx:pt>
          <cx:pt idx="84689">0</cx:pt>
          <cx:pt idx="84690">1</cx:pt>
          <cx:pt idx="84691">0</cx:pt>
          <cx:pt idx="84692">0</cx:pt>
          <cx:pt idx="84693">1</cx:pt>
          <cx:pt idx="84694">0</cx:pt>
          <cx:pt idx="84695">1</cx:pt>
          <cx:pt idx="84696">1</cx:pt>
          <cx:pt idx="84697">0</cx:pt>
          <cx:pt idx="84698">1</cx:pt>
          <cx:pt idx="84699">1</cx:pt>
          <cx:pt idx="84700">0</cx:pt>
          <cx:pt idx="84701">0</cx:pt>
          <cx:pt idx="84702">1</cx:pt>
          <cx:pt idx="84703">0</cx:pt>
          <cx:pt idx="84704">0</cx:pt>
          <cx:pt idx="84705">1</cx:pt>
          <cx:pt idx="84706">0</cx:pt>
          <cx:pt idx="84707">0</cx:pt>
          <cx:pt idx="84708">0</cx:pt>
          <cx:pt idx="84709">0</cx:pt>
          <cx:pt idx="84710">0</cx:pt>
          <cx:pt idx="84711">0</cx:pt>
          <cx:pt idx="84712">0</cx:pt>
          <cx:pt idx="84713">0</cx:pt>
          <cx:pt idx="84714">1</cx:pt>
          <cx:pt idx="84715">0</cx:pt>
          <cx:pt idx="84716">0</cx:pt>
          <cx:pt idx="84717">0</cx:pt>
          <cx:pt idx="84718">0</cx:pt>
          <cx:pt idx="84719">0</cx:pt>
          <cx:pt idx="84720">0</cx:pt>
          <cx:pt idx="84721">1</cx:pt>
          <cx:pt idx="84722">0</cx:pt>
          <cx:pt idx="84723">1</cx:pt>
          <cx:pt idx="84724">0</cx:pt>
          <cx:pt idx="84725">0</cx:pt>
          <cx:pt idx="84726">0</cx:pt>
          <cx:pt idx="84727">0</cx:pt>
          <cx:pt idx="84728">1</cx:pt>
          <cx:pt idx="84729">1</cx:pt>
          <cx:pt idx="84730">1</cx:pt>
          <cx:pt idx="84731">1</cx:pt>
          <cx:pt idx="84732">0</cx:pt>
          <cx:pt idx="84733">0</cx:pt>
          <cx:pt idx="84734">0</cx:pt>
          <cx:pt idx="84735">0</cx:pt>
          <cx:pt idx="84736">1</cx:pt>
          <cx:pt idx="84737">0</cx:pt>
          <cx:pt idx="84738">0</cx:pt>
          <cx:pt idx="84739">0</cx:pt>
          <cx:pt idx="84740">1</cx:pt>
          <cx:pt idx="84741">1</cx:pt>
          <cx:pt idx="84742">1</cx:pt>
          <cx:pt idx="84743">0</cx:pt>
          <cx:pt idx="84744">1</cx:pt>
          <cx:pt idx="84745">0</cx:pt>
          <cx:pt idx="84746">1</cx:pt>
          <cx:pt idx="84747">0</cx:pt>
          <cx:pt idx="84748">0</cx:pt>
          <cx:pt idx="84749">0</cx:pt>
          <cx:pt idx="84750">0</cx:pt>
          <cx:pt idx="84751">0</cx:pt>
          <cx:pt idx="84752">0</cx:pt>
          <cx:pt idx="84753">1</cx:pt>
          <cx:pt idx="84754">1</cx:pt>
          <cx:pt idx="84755">0</cx:pt>
          <cx:pt idx="84756">1</cx:pt>
          <cx:pt idx="84757">0</cx:pt>
          <cx:pt idx="84758">0</cx:pt>
          <cx:pt idx="84759">1</cx:pt>
          <cx:pt idx="84760">1</cx:pt>
          <cx:pt idx="84761">0</cx:pt>
          <cx:pt idx="84762">1</cx:pt>
          <cx:pt idx="84763">0</cx:pt>
          <cx:pt idx="84764">1</cx:pt>
          <cx:pt idx="84765">1</cx:pt>
          <cx:pt idx="84766">0</cx:pt>
          <cx:pt idx="84767">1</cx:pt>
          <cx:pt idx="84768">0</cx:pt>
          <cx:pt idx="84769">1</cx:pt>
          <cx:pt idx="84770">0</cx:pt>
          <cx:pt idx="84771">1</cx:pt>
          <cx:pt idx="84772">0</cx:pt>
          <cx:pt idx="84773">1</cx:pt>
          <cx:pt idx="84774">0</cx:pt>
          <cx:pt idx="84775">0</cx:pt>
          <cx:pt idx="84776">1</cx:pt>
          <cx:pt idx="84777">0</cx:pt>
          <cx:pt idx="84778">1</cx:pt>
          <cx:pt idx="84779">1</cx:pt>
          <cx:pt idx="84780">1</cx:pt>
          <cx:pt idx="84781">0</cx:pt>
          <cx:pt idx="84782">0</cx:pt>
          <cx:pt idx="84783">1</cx:pt>
          <cx:pt idx="84784">1</cx:pt>
          <cx:pt idx="84785">1</cx:pt>
          <cx:pt idx="84786">1</cx:pt>
          <cx:pt idx="84787">0</cx:pt>
          <cx:pt idx="84788">0</cx:pt>
          <cx:pt idx="84789">0</cx:pt>
          <cx:pt idx="84790">1</cx:pt>
          <cx:pt idx="84791">1</cx:pt>
          <cx:pt idx="84792">0</cx:pt>
          <cx:pt idx="84793">1</cx:pt>
          <cx:pt idx="84794">1</cx:pt>
          <cx:pt idx="84795">0</cx:pt>
          <cx:pt idx="84796">0</cx:pt>
          <cx:pt idx="84797">0</cx:pt>
          <cx:pt idx="84798">0</cx:pt>
          <cx:pt idx="84799">0</cx:pt>
          <cx:pt idx="84800">0</cx:pt>
          <cx:pt idx="84801">1</cx:pt>
          <cx:pt idx="84802">0</cx:pt>
          <cx:pt idx="84803">0</cx:pt>
          <cx:pt idx="84804">0</cx:pt>
          <cx:pt idx="84805">0</cx:pt>
          <cx:pt idx="84806">1</cx:pt>
          <cx:pt idx="84807">0</cx:pt>
          <cx:pt idx="84808">0</cx:pt>
          <cx:pt idx="84809">0</cx:pt>
          <cx:pt idx="84810">0</cx:pt>
          <cx:pt idx="84811">0</cx:pt>
          <cx:pt idx="84812">0</cx:pt>
          <cx:pt idx="84813">0</cx:pt>
          <cx:pt idx="84814">0</cx:pt>
          <cx:pt idx="84815">0</cx:pt>
          <cx:pt idx="84816">1</cx:pt>
          <cx:pt idx="84817">1</cx:pt>
          <cx:pt idx="84818">0</cx:pt>
          <cx:pt idx="84819">0</cx:pt>
          <cx:pt idx="84820">0</cx:pt>
          <cx:pt idx="84821">1</cx:pt>
          <cx:pt idx="84822">0</cx:pt>
          <cx:pt idx="84823">1</cx:pt>
          <cx:pt idx="84824">1</cx:pt>
          <cx:pt idx="84825">0</cx:pt>
          <cx:pt idx="84826">1</cx:pt>
          <cx:pt idx="84827">0</cx:pt>
          <cx:pt idx="84828">0</cx:pt>
          <cx:pt idx="84829">1</cx:pt>
          <cx:pt idx="84830">0</cx:pt>
          <cx:pt idx="84831">0</cx:pt>
          <cx:pt idx="84832">1</cx:pt>
          <cx:pt idx="84833">1</cx:pt>
          <cx:pt idx="84834">0</cx:pt>
          <cx:pt idx="84835">1</cx:pt>
          <cx:pt idx="84836">1</cx:pt>
          <cx:pt idx="84837">0</cx:pt>
          <cx:pt idx="84838">0</cx:pt>
          <cx:pt idx="84839">1</cx:pt>
          <cx:pt idx="84840">1</cx:pt>
          <cx:pt idx="84841">1</cx:pt>
          <cx:pt idx="84842">1</cx:pt>
          <cx:pt idx="84843">0</cx:pt>
          <cx:pt idx="84844">0</cx:pt>
          <cx:pt idx="84845">1</cx:pt>
          <cx:pt idx="84846">0</cx:pt>
          <cx:pt idx="84847">1</cx:pt>
          <cx:pt idx="84848">1</cx:pt>
          <cx:pt idx="84849">1</cx:pt>
          <cx:pt idx="84850">0</cx:pt>
          <cx:pt idx="84851">0</cx:pt>
          <cx:pt idx="84852">0</cx:pt>
          <cx:pt idx="84853">0</cx:pt>
          <cx:pt idx="84854">1</cx:pt>
          <cx:pt idx="84855">1</cx:pt>
          <cx:pt idx="84856">1</cx:pt>
          <cx:pt idx="84857">0</cx:pt>
          <cx:pt idx="84858">0</cx:pt>
          <cx:pt idx="84859">0</cx:pt>
          <cx:pt idx="84860">0</cx:pt>
          <cx:pt idx="84861">0</cx:pt>
          <cx:pt idx="84862">1</cx:pt>
          <cx:pt idx="84863">1</cx:pt>
          <cx:pt idx="84864">0</cx:pt>
          <cx:pt idx="84865">1</cx:pt>
          <cx:pt idx="84866">0</cx:pt>
          <cx:pt idx="84867">0</cx:pt>
          <cx:pt idx="84868">0</cx:pt>
          <cx:pt idx="84869">0</cx:pt>
          <cx:pt idx="84870">0</cx:pt>
          <cx:pt idx="84871">0</cx:pt>
          <cx:pt idx="84872">1</cx:pt>
          <cx:pt idx="84873">1</cx:pt>
          <cx:pt idx="84874">0</cx:pt>
          <cx:pt idx="84875">0</cx:pt>
          <cx:pt idx="84876">0</cx:pt>
          <cx:pt idx="84877">1</cx:pt>
          <cx:pt idx="84878">0</cx:pt>
          <cx:pt idx="84879">1</cx:pt>
          <cx:pt idx="84880">1</cx:pt>
          <cx:pt idx="84881">0</cx:pt>
          <cx:pt idx="84882">1</cx:pt>
          <cx:pt idx="84883">0</cx:pt>
          <cx:pt idx="84884">0</cx:pt>
          <cx:pt idx="84885">0</cx:pt>
          <cx:pt idx="84886">1</cx:pt>
          <cx:pt idx="84887">0</cx:pt>
          <cx:pt idx="84888">0</cx:pt>
          <cx:pt idx="84889">1</cx:pt>
          <cx:pt idx="84890">1</cx:pt>
          <cx:pt idx="84891">1</cx:pt>
          <cx:pt idx="84892">0</cx:pt>
          <cx:pt idx="84893">1</cx:pt>
          <cx:pt idx="84894">0</cx:pt>
          <cx:pt idx="84895">0</cx:pt>
          <cx:pt idx="84896">0</cx:pt>
          <cx:pt idx="84897">0</cx:pt>
          <cx:pt idx="84898">0</cx:pt>
          <cx:pt idx="84899">1</cx:pt>
          <cx:pt idx="84900">0</cx:pt>
          <cx:pt idx="84901">1</cx:pt>
          <cx:pt idx="84902">0</cx:pt>
          <cx:pt idx="84903">0</cx:pt>
          <cx:pt idx="84904">0</cx:pt>
          <cx:pt idx="84905">0</cx:pt>
          <cx:pt idx="84906">0</cx:pt>
          <cx:pt idx="84907">0</cx:pt>
          <cx:pt idx="84908">1</cx:pt>
          <cx:pt idx="84909">0</cx:pt>
          <cx:pt idx="84910">0</cx:pt>
          <cx:pt idx="84911">0</cx:pt>
          <cx:pt idx="84912">0</cx:pt>
          <cx:pt idx="84913">1</cx:pt>
          <cx:pt idx="84914">0</cx:pt>
          <cx:pt idx="84915">0</cx:pt>
          <cx:pt idx="84916">0</cx:pt>
          <cx:pt idx="84917">0</cx:pt>
          <cx:pt idx="84918">1</cx:pt>
          <cx:pt idx="84919">1</cx:pt>
          <cx:pt idx="84920">1</cx:pt>
          <cx:pt idx="84921">1</cx:pt>
          <cx:pt idx="84922">0</cx:pt>
          <cx:pt idx="84923">0</cx:pt>
          <cx:pt idx="84924">0</cx:pt>
          <cx:pt idx="84925">0</cx:pt>
          <cx:pt idx="84926">0</cx:pt>
          <cx:pt idx="84927">1</cx:pt>
          <cx:pt idx="84928">0</cx:pt>
          <cx:pt idx="84929">0</cx:pt>
          <cx:pt idx="84930">0</cx:pt>
          <cx:pt idx="84931">0</cx:pt>
          <cx:pt idx="84932">0</cx:pt>
          <cx:pt idx="84933">0</cx:pt>
          <cx:pt idx="84934">1</cx:pt>
          <cx:pt idx="84935">1</cx:pt>
          <cx:pt idx="84936">0</cx:pt>
          <cx:pt idx="84937">0</cx:pt>
          <cx:pt idx="84938">0</cx:pt>
          <cx:pt idx="84939">0</cx:pt>
          <cx:pt idx="84940">0</cx:pt>
          <cx:pt idx="84941">0</cx:pt>
          <cx:pt idx="84942">1</cx:pt>
          <cx:pt idx="84943">0</cx:pt>
          <cx:pt idx="84944">0</cx:pt>
          <cx:pt idx="84945">0</cx:pt>
          <cx:pt idx="84946">1</cx:pt>
          <cx:pt idx="84947">1</cx:pt>
          <cx:pt idx="84948">0</cx:pt>
          <cx:pt idx="84949">1</cx:pt>
          <cx:pt idx="84950">1</cx:pt>
          <cx:pt idx="84951">1</cx:pt>
          <cx:pt idx="84952">0</cx:pt>
          <cx:pt idx="84953">0</cx:pt>
          <cx:pt idx="84954">0</cx:pt>
          <cx:pt idx="84955">0</cx:pt>
          <cx:pt idx="84956">1</cx:pt>
          <cx:pt idx="84957">0</cx:pt>
          <cx:pt idx="84958">0</cx:pt>
          <cx:pt idx="84959">1</cx:pt>
          <cx:pt idx="84960">0</cx:pt>
          <cx:pt idx="84961">0</cx:pt>
          <cx:pt idx="84962">1</cx:pt>
          <cx:pt idx="84963">0</cx:pt>
          <cx:pt idx="84964">0</cx:pt>
          <cx:pt idx="84965">1</cx:pt>
          <cx:pt idx="84966">1</cx:pt>
          <cx:pt idx="84967">1</cx:pt>
          <cx:pt idx="84968">1</cx:pt>
          <cx:pt idx="84969">0</cx:pt>
          <cx:pt idx="84970">1</cx:pt>
          <cx:pt idx="84971">0</cx:pt>
          <cx:pt idx="84972">1</cx:pt>
          <cx:pt idx="84973">0</cx:pt>
          <cx:pt idx="84974">0</cx:pt>
          <cx:pt idx="84975">1</cx:pt>
          <cx:pt idx="84976">0</cx:pt>
          <cx:pt idx="84977">0</cx:pt>
          <cx:pt idx="84978">0</cx:pt>
          <cx:pt idx="84979">1</cx:pt>
          <cx:pt idx="84980">1</cx:pt>
          <cx:pt idx="84981">1</cx:pt>
          <cx:pt idx="84982">0</cx:pt>
          <cx:pt idx="84983">1</cx:pt>
          <cx:pt idx="84984">1</cx:pt>
          <cx:pt idx="84985">0</cx:pt>
          <cx:pt idx="84986">1</cx:pt>
          <cx:pt idx="84987">0</cx:pt>
          <cx:pt idx="84988">1</cx:pt>
          <cx:pt idx="84989">0</cx:pt>
          <cx:pt idx="84990">1</cx:pt>
          <cx:pt idx="84991">1</cx:pt>
          <cx:pt idx="84992">1</cx:pt>
          <cx:pt idx="84993">1</cx:pt>
          <cx:pt idx="84994">1</cx:pt>
          <cx:pt idx="84995">1</cx:pt>
          <cx:pt idx="84996">1</cx:pt>
          <cx:pt idx="84997">0</cx:pt>
          <cx:pt idx="84998">0</cx:pt>
          <cx:pt idx="84999">0</cx:pt>
          <cx:pt idx="85000">0</cx:pt>
          <cx:pt idx="85001">1</cx:pt>
          <cx:pt idx="85002">0</cx:pt>
          <cx:pt idx="85003">0</cx:pt>
          <cx:pt idx="85004">0</cx:pt>
          <cx:pt idx="85005">0</cx:pt>
          <cx:pt idx="85006">0</cx:pt>
          <cx:pt idx="85007">0</cx:pt>
          <cx:pt idx="85008">1</cx:pt>
          <cx:pt idx="85009">0</cx:pt>
          <cx:pt idx="85010">0</cx:pt>
          <cx:pt idx="85011">1</cx:pt>
          <cx:pt idx="85012">0</cx:pt>
          <cx:pt idx="85013">0</cx:pt>
          <cx:pt idx="85014">1</cx:pt>
          <cx:pt idx="85015">0</cx:pt>
          <cx:pt idx="85016">0</cx:pt>
          <cx:pt idx="85017">1</cx:pt>
          <cx:pt idx="85018">0</cx:pt>
          <cx:pt idx="85019">0</cx:pt>
          <cx:pt idx="85020">0</cx:pt>
          <cx:pt idx="85021">1</cx:pt>
          <cx:pt idx="85022">0</cx:pt>
          <cx:pt idx="85023">0</cx:pt>
          <cx:pt idx="85024">0</cx:pt>
          <cx:pt idx="85025">0</cx:pt>
          <cx:pt idx="85026">0</cx:pt>
          <cx:pt idx="85027">0</cx:pt>
          <cx:pt idx="85028">0</cx:pt>
          <cx:pt idx="85029">1</cx:pt>
          <cx:pt idx="85030">1</cx:pt>
          <cx:pt idx="85031">1</cx:pt>
          <cx:pt idx="85032">1</cx:pt>
          <cx:pt idx="85033">0</cx:pt>
          <cx:pt idx="85034">0</cx:pt>
          <cx:pt idx="85035">1</cx:pt>
          <cx:pt idx="85036">1</cx:pt>
          <cx:pt idx="85037">0</cx:pt>
          <cx:pt idx="85038">0</cx:pt>
          <cx:pt idx="85039">0</cx:pt>
          <cx:pt idx="85040">1</cx:pt>
          <cx:pt idx="85041">0</cx:pt>
          <cx:pt idx="85042">0</cx:pt>
          <cx:pt idx="85043">0</cx:pt>
          <cx:pt idx="85044">0</cx:pt>
          <cx:pt idx="85045">1</cx:pt>
          <cx:pt idx="85046">0</cx:pt>
          <cx:pt idx="85047">1</cx:pt>
          <cx:pt idx="85048">1</cx:pt>
          <cx:pt idx="85049">1</cx:pt>
          <cx:pt idx="85050">0</cx:pt>
          <cx:pt idx="85051">0</cx:pt>
          <cx:pt idx="85052">1</cx:pt>
          <cx:pt idx="85053">0</cx:pt>
          <cx:pt idx="85054">1</cx:pt>
          <cx:pt idx="85055">0</cx:pt>
          <cx:pt idx="85056">0</cx:pt>
          <cx:pt idx="85057">0</cx:pt>
          <cx:pt idx="85058">0</cx:pt>
          <cx:pt idx="85059">1</cx:pt>
          <cx:pt idx="85060">0</cx:pt>
          <cx:pt idx="85061">0</cx:pt>
          <cx:pt idx="85062">0</cx:pt>
          <cx:pt idx="85063">0</cx:pt>
          <cx:pt idx="85064">1</cx:pt>
          <cx:pt idx="85065">0</cx:pt>
          <cx:pt idx="85066">0</cx:pt>
          <cx:pt idx="85067">1</cx:pt>
          <cx:pt idx="85068">1</cx:pt>
          <cx:pt idx="85069">1</cx:pt>
          <cx:pt idx="85070">0</cx:pt>
          <cx:pt idx="85071">0</cx:pt>
          <cx:pt idx="85072">0</cx:pt>
          <cx:pt idx="85073">0</cx:pt>
          <cx:pt idx="85074">0</cx:pt>
          <cx:pt idx="85075">1</cx:pt>
          <cx:pt idx="85076">0</cx:pt>
          <cx:pt idx="85077">1</cx:pt>
          <cx:pt idx="85078">1</cx:pt>
          <cx:pt idx="85079">1</cx:pt>
          <cx:pt idx="85080">1</cx:pt>
          <cx:pt idx="85081">0</cx:pt>
          <cx:pt idx="85082">1</cx:pt>
          <cx:pt idx="85083">0</cx:pt>
          <cx:pt idx="85084">0</cx:pt>
          <cx:pt idx="85085">0</cx:pt>
          <cx:pt idx="85086">0</cx:pt>
          <cx:pt idx="85087">0</cx:pt>
          <cx:pt idx="85088">1</cx:pt>
          <cx:pt idx="85089">1</cx:pt>
          <cx:pt idx="85090">0</cx:pt>
          <cx:pt idx="85091">0</cx:pt>
          <cx:pt idx="85092">1</cx:pt>
          <cx:pt idx="85093">0</cx:pt>
          <cx:pt idx="85094">0</cx:pt>
          <cx:pt idx="85095">0</cx:pt>
          <cx:pt idx="85096">1</cx:pt>
          <cx:pt idx="85097">0</cx:pt>
          <cx:pt idx="85098">0</cx:pt>
          <cx:pt idx="85099">1</cx:pt>
          <cx:pt idx="85100">0</cx:pt>
          <cx:pt idx="85101">0</cx:pt>
          <cx:pt idx="85102">1</cx:pt>
          <cx:pt idx="85103">0</cx:pt>
          <cx:pt idx="85104">1</cx:pt>
          <cx:pt idx="85105">1</cx:pt>
          <cx:pt idx="85106">0</cx:pt>
          <cx:pt idx="85107">0</cx:pt>
          <cx:pt idx="85108">0</cx:pt>
          <cx:pt idx="85109">0</cx:pt>
          <cx:pt idx="85110">0</cx:pt>
          <cx:pt idx="85111">1</cx:pt>
          <cx:pt idx="85112">1</cx:pt>
          <cx:pt idx="85113">1</cx:pt>
          <cx:pt idx="85114">0</cx:pt>
          <cx:pt idx="85115">0</cx:pt>
          <cx:pt idx="85116">1</cx:pt>
          <cx:pt idx="85117">0</cx:pt>
          <cx:pt idx="85118">0</cx:pt>
          <cx:pt idx="85119">0</cx:pt>
          <cx:pt idx="85120">1</cx:pt>
          <cx:pt idx="85121">1</cx:pt>
          <cx:pt idx="85122">0</cx:pt>
          <cx:pt idx="85123">0</cx:pt>
          <cx:pt idx="85124">1</cx:pt>
          <cx:pt idx="85125">0</cx:pt>
          <cx:pt idx="85126">1</cx:pt>
          <cx:pt idx="85127">1</cx:pt>
          <cx:pt idx="85128">0</cx:pt>
          <cx:pt idx="85129">0</cx:pt>
          <cx:pt idx="85130">1</cx:pt>
          <cx:pt idx="85131">0</cx:pt>
          <cx:pt idx="85132">1</cx:pt>
          <cx:pt idx="85133">0</cx:pt>
          <cx:pt idx="85134">0</cx:pt>
          <cx:pt idx="85135">1</cx:pt>
          <cx:pt idx="85136">0</cx:pt>
          <cx:pt idx="85137">1</cx:pt>
          <cx:pt idx="85138">0</cx:pt>
          <cx:pt idx="85139">0</cx:pt>
          <cx:pt idx="85140">0</cx:pt>
          <cx:pt idx="85141">1</cx:pt>
          <cx:pt idx="85142">1</cx:pt>
          <cx:pt idx="85143">1</cx:pt>
          <cx:pt idx="85144">1</cx:pt>
          <cx:pt idx="85145">1</cx:pt>
          <cx:pt idx="85146">1</cx:pt>
          <cx:pt idx="85147">0</cx:pt>
          <cx:pt idx="85148">0</cx:pt>
          <cx:pt idx="85149">0</cx:pt>
          <cx:pt idx="85150">0</cx:pt>
          <cx:pt idx="85151">0</cx:pt>
          <cx:pt idx="85152">0</cx:pt>
          <cx:pt idx="85153">0</cx:pt>
          <cx:pt idx="85154">1</cx:pt>
          <cx:pt idx="85155">0</cx:pt>
          <cx:pt idx="85156">1</cx:pt>
          <cx:pt idx="85157">0</cx:pt>
          <cx:pt idx="85158">0</cx:pt>
          <cx:pt idx="85159">1</cx:pt>
          <cx:pt idx="85160">0</cx:pt>
          <cx:pt idx="85161">0</cx:pt>
          <cx:pt idx="85162">1</cx:pt>
          <cx:pt idx="85163">1</cx:pt>
          <cx:pt idx="85164">1</cx:pt>
          <cx:pt idx="85165">0</cx:pt>
          <cx:pt idx="85166">0</cx:pt>
          <cx:pt idx="85167">1</cx:pt>
          <cx:pt idx="85168">1</cx:pt>
          <cx:pt idx="85169">1</cx:pt>
          <cx:pt idx="85170">0</cx:pt>
          <cx:pt idx="85171">1</cx:pt>
          <cx:pt idx="85172">1</cx:pt>
          <cx:pt idx="85173">0</cx:pt>
          <cx:pt idx="85174">1</cx:pt>
          <cx:pt idx="85175">0</cx:pt>
          <cx:pt idx="85176">1</cx:pt>
          <cx:pt idx="85177">0</cx:pt>
          <cx:pt idx="85178">1</cx:pt>
          <cx:pt idx="85179">0</cx:pt>
          <cx:pt idx="85180">1</cx:pt>
          <cx:pt idx="85181">1</cx:pt>
          <cx:pt idx="85182">0</cx:pt>
          <cx:pt idx="85183">0</cx:pt>
          <cx:pt idx="85184">0</cx:pt>
          <cx:pt idx="85185">0</cx:pt>
          <cx:pt idx="85186">0</cx:pt>
          <cx:pt idx="85187">1</cx:pt>
          <cx:pt idx="85188">1</cx:pt>
          <cx:pt idx="85189">0</cx:pt>
          <cx:pt idx="85190">0</cx:pt>
          <cx:pt idx="85191">1</cx:pt>
          <cx:pt idx="85192">0</cx:pt>
          <cx:pt idx="85193">1</cx:pt>
          <cx:pt idx="85194">0</cx:pt>
          <cx:pt idx="85195">1</cx:pt>
          <cx:pt idx="85196">0</cx:pt>
          <cx:pt idx="85197">0</cx:pt>
          <cx:pt idx="85198">0</cx:pt>
          <cx:pt idx="85199">1</cx:pt>
          <cx:pt idx="85200">0</cx:pt>
          <cx:pt idx="85201">1</cx:pt>
          <cx:pt idx="85202">0</cx:pt>
          <cx:pt idx="85203">0</cx:pt>
          <cx:pt idx="85204">0</cx:pt>
          <cx:pt idx="85205">1</cx:pt>
          <cx:pt idx="85206">0</cx:pt>
          <cx:pt idx="85207">0</cx:pt>
          <cx:pt idx="85208">0</cx:pt>
          <cx:pt idx="85209">1</cx:pt>
          <cx:pt idx="85210">0</cx:pt>
          <cx:pt idx="85211">0</cx:pt>
          <cx:pt idx="85212">0</cx:pt>
          <cx:pt idx="85213">1</cx:pt>
          <cx:pt idx="85214">0</cx:pt>
          <cx:pt idx="85215">0</cx:pt>
          <cx:pt idx="85216">0</cx:pt>
          <cx:pt idx="85217">1</cx:pt>
          <cx:pt idx="85218">1</cx:pt>
          <cx:pt idx="85219">0</cx:pt>
          <cx:pt idx="85220">0</cx:pt>
          <cx:pt idx="85221">0</cx:pt>
          <cx:pt idx="85222">1</cx:pt>
          <cx:pt idx="85223">1</cx:pt>
          <cx:pt idx="85224">0</cx:pt>
          <cx:pt idx="85225">1</cx:pt>
          <cx:pt idx="85226">0</cx:pt>
          <cx:pt idx="85227">0</cx:pt>
          <cx:pt idx="85228">1</cx:pt>
          <cx:pt idx="85229">0</cx:pt>
          <cx:pt idx="85230">0</cx:pt>
          <cx:pt idx="85231">0</cx:pt>
          <cx:pt idx="85232">0</cx:pt>
          <cx:pt idx="85233">0</cx:pt>
          <cx:pt idx="85234">0</cx:pt>
          <cx:pt idx="85235">0</cx:pt>
          <cx:pt idx="85236">0</cx:pt>
          <cx:pt idx="85237">0</cx:pt>
          <cx:pt idx="85238">0</cx:pt>
          <cx:pt idx="85239">0</cx:pt>
          <cx:pt idx="85240">1</cx:pt>
          <cx:pt idx="85241">0</cx:pt>
          <cx:pt idx="85242">0</cx:pt>
          <cx:pt idx="85243">0</cx:pt>
          <cx:pt idx="85244">0</cx:pt>
          <cx:pt idx="85245">0</cx:pt>
          <cx:pt idx="85246">0</cx:pt>
          <cx:pt idx="85247">0</cx:pt>
          <cx:pt idx="85248">1</cx:pt>
          <cx:pt idx="85249">0</cx:pt>
          <cx:pt idx="85250">0</cx:pt>
          <cx:pt idx="85251">1</cx:pt>
          <cx:pt idx="85252">0</cx:pt>
          <cx:pt idx="85253">0</cx:pt>
          <cx:pt idx="85254">0</cx:pt>
          <cx:pt idx="85255">1</cx:pt>
          <cx:pt idx="85256">0</cx:pt>
          <cx:pt idx="85257">1</cx:pt>
          <cx:pt idx="85258">0</cx:pt>
          <cx:pt idx="85259">0</cx:pt>
          <cx:pt idx="85260">0</cx:pt>
          <cx:pt idx="85261">1</cx:pt>
          <cx:pt idx="85262">0</cx:pt>
          <cx:pt idx="85263">1</cx:pt>
          <cx:pt idx="85264">0</cx:pt>
          <cx:pt idx="85265">1</cx:pt>
          <cx:pt idx="85266">1</cx:pt>
          <cx:pt idx="85267">0</cx:pt>
          <cx:pt idx="85268">0</cx:pt>
          <cx:pt idx="85269">0</cx:pt>
          <cx:pt idx="85270">0</cx:pt>
          <cx:pt idx="85271">1</cx:pt>
          <cx:pt idx="85272">1</cx:pt>
          <cx:pt idx="85273">0</cx:pt>
          <cx:pt idx="85274">0</cx:pt>
          <cx:pt idx="85275">0</cx:pt>
          <cx:pt idx="85276">1</cx:pt>
          <cx:pt idx="85277">0</cx:pt>
          <cx:pt idx="85278">1</cx:pt>
          <cx:pt idx="85279">1</cx:pt>
          <cx:pt idx="85280">0</cx:pt>
          <cx:pt idx="85281">0</cx:pt>
          <cx:pt idx="85282">0</cx:pt>
          <cx:pt idx="85283">0</cx:pt>
          <cx:pt idx="85284">0</cx:pt>
          <cx:pt idx="85285">1</cx:pt>
          <cx:pt idx="85286">0</cx:pt>
          <cx:pt idx="85287">0</cx:pt>
          <cx:pt idx="85288">1</cx:pt>
          <cx:pt idx="85289">0</cx:pt>
          <cx:pt idx="85290">0</cx:pt>
          <cx:pt idx="85291">1</cx:pt>
          <cx:pt idx="85292">0</cx:pt>
          <cx:pt idx="85293">1</cx:pt>
          <cx:pt idx="85294">0</cx:pt>
          <cx:pt idx="85295">1</cx:pt>
          <cx:pt idx="85296">1</cx:pt>
          <cx:pt idx="85297">0</cx:pt>
          <cx:pt idx="85298">0</cx:pt>
          <cx:pt idx="85299">1</cx:pt>
          <cx:pt idx="85300">0</cx:pt>
          <cx:pt idx="85301">1</cx:pt>
          <cx:pt idx="85302">1</cx:pt>
          <cx:pt idx="85303">0</cx:pt>
          <cx:pt idx="85304">0</cx:pt>
          <cx:pt idx="85305">1</cx:pt>
          <cx:pt idx="85306">1</cx:pt>
          <cx:pt idx="85307">0</cx:pt>
          <cx:pt idx="85308">1</cx:pt>
          <cx:pt idx="85309">1</cx:pt>
          <cx:pt idx="85310">0</cx:pt>
          <cx:pt idx="85311">0</cx:pt>
          <cx:pt idx="85312">0</cx:pt>
          <cx:pt idx="85313">0</cx:pt>
          <cx:pt idx="85314">1</cx:pt>
          <cx:pt idx="85315">0</cx:pt>
          <cx:pt idx="85316">0</cx:pt>
          <cx:pt idx="85317">1</cx:pt>
          <cx:pt idx="85318">0</cx:pt>
          <cx:pt idx="85319">0</cx:pt>
          <cx:pt idx="85320">0</cx:pt>
          <cx:pt idx="85321">0</cx:pt>
          <cx:pt idx="85322">1</cx:pt>
          <cx:pt idx="85323">1</cx:pt>
          <cx:pt idx="85324">0</cx:pt>
          <cx:pt idx="85325">1</cx:pt>
          <cx:pt idx="85326">1</cx:pt>
          <cx:pt idx="85327">0</cx:pt>
          <cx:pt idx="85328">1</cx:pt>
          <cx:pt idx="85329">0</cx:pt>
          <cx:pt idx="85330">0</cx:pt>
          <cx:pt idx="85331">0</cx:pt>
          <cx:pt idx="85332">1</cx:pt>
          <cx:pt idx="85333">1</cx:pt>
          <cx:pt idx="85334">1</cx:pt>
          <cx:pt idx="85335">1</cx:pt>
          <cx:pt idx="85336">0</cx:pt>
          <cx:pt idx="85337">1</cx:pt>
          <cx:pt idx="85338">1</cx:pt>
          <cx:pt idx="85339">0</cx:pt>
          <cx:pt idx="85340">1</cx:pt>
          <cx:pt idx="85341">1</cx:pt>
          <cx:pt idx="85342">0</cx:pt>
          <cx:pt idx="85343">1</cx:pt>
          <cx:pt idx="85344">0</cx:pt>
          <cx:pt idx="85345">1</cx:pt>
          <cx:pt idx="85346">0</cx:pt>
          <cx:pt idx="85347">1</cx:pt>
          <cx:pt idx="85348">1</cx:pt>
          <cx:pt idx="85349">1</cx:pt>
          <cx:pt idx="85350">0</cx:pt>
          <cx:pt idx="85351">0</cx:pt>
          <cx:pt idx="85352">1</cx:pt>
          <cx:pt idx="85353">0</cx:pt>
          <cx:pt idx="85354">1</cx:pt>
          <cx:pt idx="85355">1</cx:pt>
          <cx:pt idx="85356">1</cx:pt>
          <cx:pt idx="85357">0</cx:pt>
          <cx:pt idx="85358">1</cx:pt>
          <cx:pt idx="85359">0</cx:pt>
          <cx:pt idx="85360">1</cx:pt>
          <cx:pt idx="85361">0</cx:pt>
          <cx:pt idx="85362">1</cx:pt>
          <cx:pt idx="85363">1</cx:pt>
          <cx:pt idx="85364">0</cx:pt>
          <cx:pt idx="85365">1</cx:pt>
          <cx:pt idx="85366">1</cx:pt>
          <cx:pt idx="85367">0</cx:pt>
          <cx:pt idx="85368">0</cx:pt>
          <cx:pt idx="85369">0</cx:pt>
          <cx:pt idx="85370">1</cx:pt>
          <cx:pt idx="85371">0</cx:pt>
          <cx:pt idx="85372">1</cx:pt>
          <cx:pt idx="85373">0</cx:pt>
          <cx:pt idx="85374">0</cx:pt>
          <cx:pt idx="85375">0</cx:pt>
          <cx:pt idx="85376">1</cx:pt>
          <cx:pt idx="85377">1</cx:pt>
          <cx:pt idx="85378">0</cx:pt>
          <cx:pt idx="85379">1</cx:pt>
          <cx:pt idx="85380">0</cx:pt>
          <cx:pt idx="85381">1</cx:pt>
          <cx:pt idx="85382">0</cx:pt>
          <cx:pt idx="85383">0</cx:pt>
          <cx:pt idx="85384">0</cx:pt>
          <cx:pt idx="85385">0</cx:pt>
          <cx:pt idx="85386">1</cx:pt>
          <cx:pt idx="85387">1</cx:pt>
          <cx:pt idx="85388">0</cx:pt>
          <cx:pt idx="85389">1</cx:pt>
          <cx:pt idx="85390">0</cx:pt>
          <cx:pt idx="85391">0</cx:pt>
          <cx:pt idx="85392">1</cx:pt>
          <cx:pt idx="85393">0</cx:pt>
          <cx:pt idx="85394">0</cx:pt>
          <cx:pt idx="85395">0</cx:pt>
          <cx:pt idx="85396">0</cx:pt>
          <cx:pt idx="85397">0</cx:pt>
          <cx:pt idx="85398">0</cx:pt>
          <cx:pt idx="85399">0</cx:pt>
          <cx:pt idx="85400">0</cx:pt>
          <cx:pt idx="85401">0</cx:pt>
          <cx:pt idx="85402">1</cx:pt>
          <cx:pt idx="85403">1</cx:pt>
          <cx:pt idx="85404">1</cx:pt>
          <cx:pt idx="85405">1</cx:pt>
          <cx:pt idx="85406">1</cx:pt>
          <cx:pt idx="85407">0</cx:pt>
          <cx:pt idx="85408">0</cx:pt>
          <cx:pt idx="85409">1</cx:pt>
          <cx:pt idx="85410">1</cx:pt>
          <cx:pt idx="85411">1</cx:pt>
          <cx:pt idx="85412">0</cx:pt>
          <cx:pt idx="85413">0</cx:pt>
          <cx:pt idx="85414">0</cx:pt>
          <cx:pt idx="85415">0</cx:pt>
          <cx:pt idx="85416">1</cx:pt>
          <cx:pt idx="85417">0</cx:pt>
          <cx:pt idx="85418">1</cx:pt>
          <cx:pt idx="85419">1</cx:pt>
          <cx:pt idx="85420">0</cx:pt>
          <cx:pt idx="85421">1</cx:pt>
          <cx:pt idx="85422">0</cx:pt>
          <cx:pt idx="85423">0</cx:pt>
          <cx:pt idx="85424">0</cx:pt>
          <cx:pt idx="85425">0</cx:pt>
          <cx:pt idx="85426">1</cx:pt>
          <cx:pt idx="85427">0</cx:pt>
          <cx:pt idx="85428">0</cx:pt>
          <cx:pt idx="85429">1</cx:pt>
          <cx:pt idx="85430">1</cx:pt>
          <cx:pt idx="85431">0</cx:pt>
          <cx:pt idx="85432">1</cx:pt>
          <cx:pt idx="85433">0</cx:pt>
          <cx:pt idx="85434">0</cx:pt>
          <cx:pt idx="85435">0</cx:pt>
          <cx:pt idx="85436">1</cx:pt>
          <cx:pt idx="85437">1</cx:pt>
          <cx:pt idx="85438">1</cx:pt>
          <cx:pt idx="85439">1</cx:pt>
          <cx:pt idx="85440">1</cx:pt>
          <cx:pt idx="85441">1</cx:pt>
          <cx:pt idx="85442">0</cx:pt>
          <cx:pt idx="85443">0</cx:pt>
          <cx:pt idx="85444">0</cx:pt>
          <cx:pt idx="85445">0</cx:pt>
          <cx:pt idx="85446">1</cx:pt>
          <cx:pt idx="85447">0</cx:pt>
          <cx:pt idx="85448">1</cx:pt>
          <cx:pt idx="85449">0</cx:pt>
          <cx:pt idx="85450">0</cx:pt>
          <cx:pt idx="85451">0</cx:pt>
          <cx:pt idx="85452">0</cx:pt>
          <cx:pt idx="85453">0</cx:pt>
          <cx:pt idx="85454">0</cx:pt>
          <cx:pt idx="85455">0</cx:pt>
          <cx:pt idx="85456">0</cx:pt>
          <cx:pt idx="85457">0</cx:pt>
          <cx:pt idx="85458">0</cx:pt>
          <cx:pt idx="85459">0</cx:pt>
          <cx:pt idx="85460">0</cx:pt>
          <cx:pt idx="85461">0</cx:pt>
          <cx:pt idx="85462">1</cx:pt>
          <cx:pt idx="85463">0</cx:pt>
          <cx:pt idx="85464">1</cx:pt>
          <cx:pt idx="85465">0</cx:pt>
          <cx:pt idx="85466">1</cx:pt>
          <cx:pt idx="85467">0</cx:pt>
          <cx:pt idx="85468">0</cx:pt>
          <cx:pt idx="85469">1</cx:pt>
          <cx:pt idx="85470">0</cx:pt>
          <cx:pt idx="85471">0</cx:pt>
          <cx:pt idx="85472">1</cx:pt>
          <cx:pt idx="85473">0</cx:pt>
          <cx:pt idx="85474">0</cx:pt>
          <cx:pt idx="85475">0</cx:pt>
          <cx:pt idx="85476">1</cx:pt>
          <cx:pt idx="85477">1</cx:pt>
          <cx:pt idx="85478">1</cx:pt>
          <cx:pt idx="85479">0</cx:pt>
          <cx:pt idx="85480">0</cx:pt>
          <cx:pt idx="85481">0</cx:pt>
          <cx:pt idx="85482">0</cx:pt>
          <cx:pt idx="85483">1</cx:pt>
          <cx:pt idx="85484">1</cx:pt>
          <cx:pt idx="85485">0</cx:pt>
          <cx:pt idx="85486">1</cx:pt>
          <cx:pt idx="85487">0</cx:pt>
          <cx:pt idx="85488">1</cx:pt>
          <cx:pt idx="85489">0</cx:pt>
          <cx:pt idx="85490">1</cx:pt>
          <cx:pt idx="85491">0</cx:pt>
          <cx:pt idx="85492">1</cx:pt>
          <cx:pt idx="85493">0</cx:pt>
          <cx:pt idx="85494">1</cx:pt>
          <cx:pt idx="85495">1</cx:pt>
          <cx:pt idx="85496">0</cx:pt>
          <cx:pt idx="85497">1</cx:pt>
          <cx:pt idx="85498">0</cx:pt>
          <cx:pt idx="85499">1</cx:pt>
          <cx:pt idx="85500">1</cx:pt>
          <cx:pt idx="85501">0</cx:pt>
          <cx:pt idx="85502">0</cx:pt>
          <cx:pt idx="85503">0</cx:pt>
          <cx:pt idx="85504">0</cx:pt>
          <cx:pt idx="85505">0</cx:pt>
          <cx:pt idx="85506">0</cx:pt>
          <cx:pt idx="85507">1</cx:pt>
          <cx:pt idx="85508">0</cx:pt>
          <cx:pt idx="85509">1</cx:pt>
          <cx:pt idx="85510">0</cx:pt>
          <cx:pt idx="85511">1</cx:pt>
          <cx:pt idx="85512">0</cx:pt>
          <cx:pt idx="85513">0</cx:pt>
          <cx:pt idx="85514">1</cx:pt>
          <cx:pt idx="85515">0</cx:pt>
          <cx:pt idx="85516">0</cx:pt>
          <cx:pt idx="85517">1</cx:pt>
          <cx:pt idx="85518">0</cx:pt>
          <cx:pt idx="85519">0</cx:pt>
          <cx:pt idx="85520">1</cx:pt>
          <cx:pt idx="85521">0</cx:pt>
          <cx:pt idx="85522">1</cx:pt>
          <cx:pt idx="85523">1</cx:pt>
          <cx:pt idx="85524">0</cx:pt>
          <cx:pt idx="85525">0</cx:pt>
          <cx:pt idx="85526">1</cx:pt>
          <cx:pt idx="85527">0</cx:pt>
          <cx:pt idx="85528">1</cx:pt>
          <cx:pt idx="85529">1</cx:pt>
          <cx:pt idx="85530">0</cx:pt>
          <cx:pt idx="85531">1</cx:pt>
          <cx:pt idx="85532">0</cx:pt>
          <cx:pt idx="85533">1</cx:pt>
          <cx:pt idx="85534">0</cx:pt>
          <cx:pt idx="85535">0</cx:pt>
          <cx:pt idx="85536">1</cx:pt>
          <cx:pt idx="85537">1</cx:pt>
          <cx:pt idx="85538">1</cx:pt>
          <cx:pt idx="85539">0</cx:pt>
          <cx:pt idx="85540">0</cx:pt>
          <cx:pt idx="85541">0</cx:pt>
          <cx:pt idx="85542">1</cx:pt>
          <cx:pt idx="85543">0</cx:pt>
          <cx:pt idx="85544">1</cx:pt>
          <cx:pt idx="85545">0</cx:pt>
          <cx:pt idx="85546">0</cx:pt>
          <cx:pt idx="85547">0</cx:pt>
          <cx:pt idx="85548">0</cx:pt>
          <cx:pt idx="85549">1</cx:pt>
          <cx:pt idx="85550">0</cx:pt>
          <cx:pt idx="85551">0</cx:pt>
          <cx:pt idx="85552">1</cx:pt>
          <cx:pt idx="85553">1</cx:pt>
          <cx:pt idx="85554">1</cx:pt>
          <cx:pt idx="85555">0</cx:pt>
          <cx:pt idx="85556">1</cx:pt>
          <cx:pt idx="85557">0</cx:pt>
          <cx:pt idx="85558">0</cx:pt>
          <cx:pt idx="85559">0</cx:pt>
          <cx:pt idx="85560">0</cx:pt>
          <cx:pt idx="85561">0</cx:pt>
          <cx:pt idx="85562">0</cx:pt>
          <cx:pt idx="85563">0</cx:pt>
          <cx:pt idx="85564">1</cx:pt>
          <cx:pt idx="85565">1</cx:pt>
          <cx:pt idx="85566">1</cx:pt>
          <cx:pt idx="85567">0</cx:pt>
          <cx:pt idx="85568">0</cx:pt>
          <cx:pt idx="85569">0</cx:pt>
          <cx:pt idx="85570">1</cx:pt>
          <cx:pt idx="85571">1</cx:pt>
          <cx:pt idx="85572">0</cx:pt>
          <cx:pt idx="85573">0</cx:pt>
          <cx:pt idx="85574">0</cx:pt>
          <cx:pt idx="85575">1</cx:pt>
          <cx:pt idx="85576">0</cx:pt>
          <cx:pt idx="85577">1</cx:pt>
          <cx:pt idx="85578">1</cx:pt>
          <cx:pt idx="85579">0</cx:pt>
          <cx:pt idx="85580">0</cx:pt>
          <cx:pt idx="85581">1</cx:pt>
          <cx:pt idx="85582">1</cx:pt>
          <cx:pt idx="85583">1</cx:pt>
          <cx:pt idx="85584">0</cx:pt>
          <cx:pt idx="85585">1</cx:pt>
          <cx:pt idx="85586">0</cx:pt>
          <cx:pt idx="85587">0</cx:pt>
          <cx:pt idx="85588">1</cx:pt>
          <cx:pt idx="85589">0</cx:pt>
          <cx:pt idx="85590">0</cx:pt>
          <cx:pt idx="85591">0</cx:pt>
          <cx:pt idx="85592">1</cx:pt>
          <cx:pt idx="85593">0</cx:pt>
          <cx:pt idx="85594">0</cx:pt>
          <cx:pt idx="85595">1</cx:pt>
          <cx:pt idx="85596">1</cx:pt>
          <cx:pt idx="85597">1</cx:pt>
          <cx:pt idx="85598">1</cx:pt>
          <cx:pt idx="85599">1</cx:pt>
          <cx:pt idx="85600">0</cx:pt>
          <cx:pt idx="85601">1</cx:pt>
          <cx:pt idx="85602">1</cx:pt>
          <cx:pt idx="85603">0</cx:pt>
          <cx:pt idx="85604">0</cx:pt>
          <cx:pt idx="85605">1</cx:pt>
          <cx:pt idx="85606">0</cx:pt>
          <cx:pt idx="85607">1</cx:pt>
          <cx:pt idx="85608">0</cx:pt>
          <cx:pt idx="85609">0</cx:pt>
          <cx:pt idx="85610">1</cx:pt>
          <cx:pt idx="85611">0</cx:pt>
          <cx:pt idx="85612">1</cx:pt>
          <cx:pt idx="85613">0</cx:pt>
          <cx:pt idx="85614">1</cx:pt>
          <cx:pt idx="85615">1</cx:pt>
          <cx:pt idx="85616">1</cx:pt>
          <cx:pt idx="85617">1</cx:pt>
          <cx:pt idx="85618">0</cx:pt>
          <cx:pt idx="85619">0</cx:pt>
          <cx:pt idx="85620">1</cx:pt>
          <cx:pt idx="85621">0</cx:pt>
          <cx:pt idx="85622">1</cx:pt>
          <cx:pt idx="85623">0</cx:pt>
          <cx:pt idx="85624">0</cx:pt>
          <cx:pt idx="85625">0</cx:pt>
          <cx:pt idx="85626">0</cx:pt>
          <cx:pt idx="85627">1</cx:pt>
          <cx:pt idx="85628">1</cx:pt>
          <cx:pt idx="85629">0</cx:pt>
          <cx:pt idx="85630">1</cx:pt>
          <cx:pt idx="85631">0</cx:pt>
          <cx:pt idx="85632">0</cx:pt>
          <cx:pt idx="85633">1</cx:pt>
          <cx:pt idx="85634">1</cx:pt>
          <cx:pt idx="85635">1</cx:pt>
          <cx:pt idx="85636">0</cx:pt>
          <cx:pt idx="85637">0</cx:pt>
          <cx:pt idx="85638">1</cx:pt>
          <cx:pt idx="85639">1</cx:pt>
          <cx:pt idx="85640">0</cx:pt>
          <cx:pt idx="85641">1</cx:pt>
          <cx:pt idx="85642">1</cx:pt>
          <cx:pt idx="85643">0</cx:pt>
          <cx:pt idx="85644">0</cx:pt>
          <cx:pt idx="85645">0</cx:pt>
          <cx:pt idx="85646">0</cx:pt>
          <cx:pt idx="85647">0</cx:pt>
          <cx:pt idx="85648">0</cx:pt>
          <cx:pt idx="85649">1</cx:pt>
          <cx:pt idx="85650">1</cx:pt>
          <cx:pt idx="85651">1</cx:pt>
          <cx:pt idx="85652">0</cx:pt>
          <cx:pt idx="85653">1</cx:pt>
          <cx:pt idx="85654">0</cx:pt>
          <cx:pt idx="85655">1</cx:pt>
          <cx:pt idx="85656">1</cx:pt>
          <cx:pt idx="85657">0</cx:pt>
          <cx:pt idx="85658">1</cx:pt>
          <cx:pt idx="85659">1</cx:pt>
          <cx:pt idx="85660">1</cx:pt>
          <cx:pt idx="85661">0</cx:pt>
          <cx:pt idx="85662">0</cx:pt>
          <cx:pt idx="85663">0</cx:pt>
          <cx:pt idx="85664">0</cx:pt>
          <cx:pt idx="85665">0</cx:pt>
          <cx:pt idx="85666">1</cx:pt>
          <cx:pt idx="85667">1</cx:pt>
          <cx:pt idx="85668">0</cx:pt>
          <cx:pt idx="85669">1</cx:pt>
          <cx:pt idx="85670">0</cx:pt>
          <cx:pt idx="85671">0</cx:pt>
          <cx:pt idx="85672">0</cx:pt>
          <cx:pt idx="85673">1</cx:pt>
          <cx:pt idx="85674">0</cx:pt>
          <cx:pt idx="85675">0</cx:pt>
          <cx:pt idx="85676">0</cx:pt>
          <cx:pt idx="85677">0</cx:pt>
          <cx:pt idx="85678">0</cx:pt>
          <cx:pt idx="85679">1</cx:pt>
          <cx:pt idx="85680">1</cx:pt>
          <cx:pt idx="85681">1</cx:pt>
          <cx:pt idx="85682">0</cx:pt>
          <cx:pt idx="85683">0</cx:pt>
          <cx:pt idx="85684">0</cx:pt>
          <cx:pt idx="85685">1</cx:pt>
          <cx:pt idx="85686">0</cx:pt>
          <cx:pt idx="85687">0</cx:pt>
          <cx:pt idx="85688">0</cx:pt>
          <cx:pt idx="85689">1</cx:pt>
          <cx:pt idx="85690">0</cx:pt>
          <cx:pt idx="85691">0</cx:pt>
          <cx:pt idx="85692">0</cx:pt>
          <cx:pt idx="85693">0</cx:pt>
          <cx:pt idx="85694">0</cx:pt>
          <cx:pt idx="85695">0</cx:pt>
          <cx:pt idx="85696">0</cx:pt>
          <cx:pt idx="85697">1</cx:pt>
          <cx:pt idx="85698">1</cx:pt>
          <cx:pt idx="85699">0</cx:pt>
          <cx:pt idx="85700">0</cx:pt>
          <cx:pt idx="85701">0</cx:pt>
          <cx:pt idx="85702">0</cx:pt>
          <cx:pt idx="85703">1</cx:pt>
          <cx:pt idx="85704">1</cx:pt>
          <cx:pt idx="85705">0</cx:pt>
          <cx:pt idx="85706">1</cx:pt>
          <cx:pt idx="85707">1</cx:pt>
          <cx:pt idx="85708">1</cx:pt>
          <cx:pt idx="85709">1</cx:pt>
          <cx:pt idx="85710">0</cx:pt>
          <cx:pt idx="85711">1</cx:pt>
          <cx:pt idx="85712">0</cx:pt>
          <cx:pt idx="85713">0</cx:pt>
          <cx:pt idx="85714">0</cx:pt>
          <cx:pt idx="85715">1</cx:pt>
          <cx:pt idx="85716">1</cx:pt>
          <cx:pt idx="85717">1</cx:pt>
          <cx:pt idx="85718">1</cx:pt>
          <cx:pt idx="85719">1</cx:pt>
          <cx:pt idx="85720">1</cx:pt>
          <cx:pt idx="85721">0</cx:pt>
          <cx:pt idx="85722">1</cx:pt>
          <cx:pt idx="85723">1</cx:pt>
          <cx:pt idx="85724">1</cx:pt>
          <cx:pt idx="85725">1</cx:pt>
          <cx:pt idx="85726">0</cx:pt>
          <cx:pt idx="85727">1</cx:pt>
          <cx:pt idx="85728">0</cx:pt>
          <cx:pt idx="85729">0</cx:pt>
          <cx:pt idx="85730">1</cx:pt>
          <cx:pt idx="85731">0</cx:pt>
          <cx:pt idx="85732">0</cx:pt>
          <cx:pt idx="85733">1</cx:pt>
          <cx:pt idx="85734">0</cx:pt>
          <cx:pt idx="85735">0</cx:pt>
          <cx:pt idx="85736">0</cx:pt>
          <cx:pt idx="85737">0</cx:pt>
          <cx:pt idx="85738">1</cx:pt>
          <cx:pt idx="85739">1</cx:pt>
          <cx:pt idx="85740">1</cx:pt>
          <cx:pt idx="85741">0</cx:pt>
          <cx:pt idx="85742">1</cx:pt>
          <cx:pt idx="85743">0</cx:pt>
          <cx:pt idx="85744">0</cx:pt>
          <cx:pt idx="85745">0</cx:pt>
          <cx:pt idx="85746">1</cx:pt>
          <cx:pt idx="85747">0</cx:pt>
          <cx:pt idx="85748">1</cx:pt>
          <cx:pt idx="85749">0</cx:pt>
          <cx:pt idx="85750">0</cx:pt>
          <cx:pt idx="85751">0</cx:pt>
          <cx:pt idx="85752">0</cx:pt>
          <cx:pt idx="85753">1</cx:pt>
          <cx:pt idx="85754">0</cx:pt>
          <cx:pt idx="85755">1</cx:pt>
          <cx:pt idx="85756">1</cx:pt>
          <cx:pt idx="85757">1</cx:pt>
          <cx:pt idx="85758">0</cx:pt>
          <cx:pt idx="85759">0</cx:pt>
          <cx:pt idx="85760">0</cx:pt>
          <cx:pt idx="85761">0</cx:pt>
          <cx:pt idx="85762">1</cx:pt>
          <cx:pt idx="85763">1</cx:pt>
          <cx:pt idx="85764">0</cx:pt>
          <cx:pt idx="85765">0</cx:pt>
          <cx:pt idx="85766">1</cx:pt>
          <cx:pt idx="85767">1</cx:pt>
          <cx:pt idx="85768">1</cx:pt>
          <cx:pt idx="85769">0</cx:pt>
          <cx:pt idx="85770">0</cx:pt>
          <cx:pt idx="85771">0</cx:pt>
          <cx:pt idx="85772">1</cx:pt>
          <cx:pt idx="85773">1</cx:pt>
          <cx:pt idx="85774">0</cx:pt>
          <cx:pt idx="85775">0</cx:pt>
          <cx:pt idx="85776">1</cx:pt>
          <cx:pt idx="85777">0</cx:pt>
          <cx:pt idx="85778">0</cx:pt>
          <cx:pt idx="85779">1</cx:pt>
          <cx:pt idx="85780">1</cx:pt>
          <cx:pt idx="85781">0</cx:pt>
          <cx:pt idx="85782">1</cx:pt>
          <cx:pt idx="85783">0</cx:pt>
          <cx:pt idx="85784">0</cx:pt>
          <cx:pt idx="85785">0</cx:pt>
          <cx:pt idx="85786">1</cx:pt>
          <cx:pt idx="85787">1</cx:pt>
          <cx:pt idx="85788">0</cx:pt>
          <cx:pt idx="85789">0</cx:pt>
          <cx:pt idx="85790">1</cx:pt>
          <cx:pt idx="85791">0</cx:pt>
          <cx:pt idx="85792">1</cx:pt>
          <cx:pt idx="85793">0</cx:pt>
          <cx:pt idx="85794">1</cx:pt>
          <cx:pt idx="85795">1</cx:pt>
          <cx:pt idx="85796">1</cx:pt>
          <cx:pt idx="85797">1</cx:pt>
          <cx:pt idx="85798">0</cx:pt>
          <cx:pt idx="85799">0</cx:pt>
          <cx:pt idx="85800">1</cx:pt>
          <cx:pt idx="85801">0</cx:pt>
          <cx:pt idx="85802">1</cx:pt>
          <cx:pt idx="85803">0</cx:pt>
          <cx:pt idx="85804">1</cx:pt>
          <cx:pt idx="85805">0</cx:pt>
          <cx:pt idx="85806">1</cx:pt>
          <cx:pt idx="85807">0</cx:pt>
          <cx:pt idx="85808">1</cx:pt>
          <cx:pt idx="85809">1</cx:pt>
          <cx:pt idx="85810">0</cx:pt>
          <cx:pt idx="85811">1</cx:pt>
          <cx:pt idx="85812">0</cx:pt>
          <cx:pt idx="85813">0</cx:pt>
          <cx:pt idx="85814">1</cx:pt>
          <cx:pt idx="85815">0</cx:pt>
          <cx:pt idx="85816">0</cx:pt>
          <cx:pt idx="85817">1</cx:pt>
          <cx:pt idx="85818">0</cx:pt>
          <cx:pt idx="85819">0</cx:pt>
          <cx:pt idx="85820">1</cx:pt>
          <cx:pt idx="85821">1</cx:pt>
          <cx:pt idx="85822">0</cx:pt>
          <cx:pt idx="85823">1</cx:pt>
          <cx:pt idx="85824">0</cx:pt>
          <cx:pt idx="85825">0</cx:pt>
          <cx:pt idx="85826">0</cx:pt>
          <cx:pt idx="85827">0</cx:pt>
          <cx:pt idx="85828">1</cx:pt>
          <cx:pt idx="85829">0</cx:pt>
          <cx:pt idx="85830">0</cx:pt>
          <cx:pt idx="85831">0</cx:pt>
          <cx:pt idx="85832">0</cx:pt>
          <cx:pt idx="85833">1</cx:pt>
          <cx:pt idx="85834">0</cx:pt>
          <cx:pt idx="85835">0</cx:pt>
          <cx:pt idx="85836">0</cx:pt>
          <cx:pt idx="85837">0</cx:pt>
          <cx:pt idx="85838">0</cx:pt>
          <cx:pt idx="85839">1</cx:pt>
          <cx:pt idx="85840">1</cx:pt>
          <cx:pt idx="85841">0</cx:pt>
          <cx:pt idx="85842">0</cx:pt>
          <cx:pt idx="85843">0</cx:pt>
          <cx:pt idx="85844">0</cx:pt>
          <cx:pt idx="85845">1</cx:pt>
          <cx:pt idx="85846">0</cx:pt>
          <cx:pt idx="85847">0</cx:pt>
          <cx:pt idx="85848">1</cx:pt>
          <cx:pt idx="85849">0</cx:pt>
          <cx:pt idx="85850">0</cx:pt>
          <cx:pt idx="85851">1</cx:pt>
          <cx:pt idx="85852">1</cx:pt>
          <cx:pt idx="85853">0</cx:pt>
          <cx:pt idx="85854">0</cx:pt>
          <cx:pt idx="85855">0</cx:pt>
          <cx:pt idx="85856">1</cx:pt>
          <cx:pt idx="85857">1</cx:pt>
          <cx:pt idx="85858">0</cx:pt>
          <cx:pt idx="85859">1</cx:pt>
          <cx:pt idx="85860">1</cx:pt>
          <cx:pt idx="85861">0</cx:pt>
          <cx:pt idx="85862">1</cx:pt>
          <cx:pt idx="85863">1</cx:pt>
          <cx:pt idx="85864">0</cx:pt>
          <cx:pt idx="85865">0</cx:pt>
          <cx:pt idx="85866">1</cx:pt>
          <cx:pt idx="85867">0</cx:pt>
          <cx:pt idx="85868">0</cx:pt>
          <cx:pt idx="85869">0</cx:pt>
          <cx:pt idx="85870">0</cx:pt>
          <cx:pt idx="85871">0</cx:pt>
          <cx:pt idx="85872">0</cx:pt>
          <cx:pt idx="85873">0</cx:pt>
          <cx:pt idx="85874">0</cx:pt>
          <cx:pt idx="85875">0</cx:pt>
          <cx:pt idx="85876">1</cx:pt>
          <cx:pt idx="85877">0</cx:pt>
          <cx:pt idx="85878">0</cx:pt>
          <cx:pt idx="85879">1</cx:pt>
          <cx:pt idx="85880">1</cx:pt>
          <cx:pt idx="85881">0</cx:pt>
          <cx:pt idx="85882">1</cx:pt>
          <cx:pt idx="85883">1</cx:pt>
          <cx:pt idx="85884">0</cx:pt>
          <cx:pt idx="85885">0</cx:pt>
          <cx:pt idx="85886">0</cx:pt>
          <cx:pt idx="85887">1</cx:pt>
          <cx:pt idx="85888">0</cx:pt>
          <cx:pt idx="85889">1</cx:pt>
          <cx:pt idx="85890">0</cx:pt>
          <cx:pt idx="85891">1</cx:pt>
          <cx:pt idx="85892">1</cx:pt>
          <cx:pt idx="85893">1</cx:pt>
          <cx:pt idx="85894">1</cx:pt>
          <cx:pt idx="85895">0</cx:pt>
          <cx:pt idx="85896">0</cx:pt>
          <cx:pt idx="85897">0</cx:pt>
          <cx:pt idx="85898">0</cx:pt>
          <cx:pt idx="85899">1</cx:pt>
          <cx:pt idx="85900">1</cx:pt>
          <cx:pt idx="85901">1</cx:pt>
          <cx:pt idx="85902">0</cx:pt>
          <cx:pt idx="85903">1</cx:pt>
          <cx:pt idx="85904">1</cx:pt>
          <cx:pt idx="85905">0</cx:pt>
          <cx:pt idx="85906">0</cx:pt>
          <cx:pt idx="85907">1</cx:pt>
          <cx:pt idx="85908">1</cx:pt>
          <cx:pt idx="85909">0</cx:pt>
          <cx:pt idx="85910">1</cx:pt>
          <cx:pt idx="85911">1</cx:pt>
          <cx:pt idx="85912">1</cx:pt>
          <cx:pt idx="85913">1</cx:pt>
          <cx:pt idx="85914">1</cx:pt>
          <cx:pt idx="85915">0</cx:pt>
          <cx:pt idx="85916">1</cx:pt>
          <cx:pt idx="85917">0</cx:pt>
          <cx:pt idx="85918">0</cx:pt>
          <cx:pt idx="85919">0</cx:pt>
          <cx:pt idx="85920">1</cx:pt>
          <cx:pt idx="85921">0</cx:pt>
          <cx:pt idx="85922">0</cx:pt>
          <cx:pt idx="85923">0</cx:pt>
          <cx:pt idx="85924">0</cx:pt>
          <cx:pt idx="85925">1</cx:pt>
          <cx:pt idx="85926">1</cx:pt>
          <cx:pt idx="85927">1</cx:pt>
          <cx:pt idx="85928">1</cx:pt>
          <cx:pt idx="85929">0</cx:pt>
          <cx:pt idx="85930">0</cx:pt>
          <cx:pt idx="85931">1</cx:pt>
          <cx:pt idx="85932">1</cx:pt>
          <cx:pt idx="85933">1</cx:pt>
          <cx:pt idx="85934">1</cx:pt>
          <cx:pt idx="85935">0</cx:pt>
          <cx:pt idx="85936">0</cx:pt>
          <cx:pt idx="85937">0</cx:pt>
          <cx:pt idx="85938">1</cx:pt>
          <cx:pt idx="85939">1</cx:pt>
          <cx:pt idx="85940">0</cx:pt>
          <cx:pt idx="85941">0</cx:pt>
          <cx:pt idx="85942">0</cx:pt>
          <cx:pt idx="85943">0</cx:pt>
          <cx:pt idx="85944">0</cx:pt>
          <cx:pt idx="85945">1</cx:pt>
          <cx:pt idx="85946">1</cx:pt>
          <cx:pt idx="85947">0</cx:pt>
          <cx:pt idx="85948">0</cx:pt>
          <cx:pt idx="85949">0</cx:pt>
          <cx:pt idx="85950">0</cx:pt>
          <cx:pt idx="85951">0</cx:pt>
          <cx:pt idx="85952">1</cx:pt>
          <cx:pt idx="85953">0</cx:pt>
          <cx:pt idx="85954">0</cx:pt>
          <cx:pt idx="85955">1</cx:pt>
          <cx:pt idx="85956">1</cx:pt>
          <cx:pt idx="85957">1</cx:pt>
          <cx:pt idx="85958">1</cx:pt>
          <cx:pt idx="85959">0</cx:pt>
          <cx:pt idx="85960">0</cx:pt>
          <cx:pt idx="85961">0</cx:pt>
          <cx:pt idx="85962">1</cx:pt>
          <cx:pt idx="85963">1</cx:pt>
          <cx:pt idx="85964">1</cx:pt>
          <cx:pt idx="85965">0</cx:pt>
          <cx:pt idx="85966">1</cx:pt>
          <cx:pt idx="85967">1</cx:pt>
          <cx:pt idx="85968">1</cx:pt>
          <cx:pt idx="85969">1</cx:pt>
          <cx:pt idx="85970">1</cx:pt>
          <cx:pt idx="85971">0</cx:pt>
          <cx:pt idx="85972">1</cx:pt>
          <cx:pt idx="85973">1</cx:pt>
          <cx:pt idx="85974">0</cx:pt>
          <cx:pt idx="85975">1</cx:pt>
          <cx:pt idx="85976">0</cx:pt>
          <cx:pt idx="85977">1</cx:pt>
          <cx:pt idx="85978">1</cx:pt>
          <cx:pt idx="85979">1</cx:pt>
          <cx:pt idx="85980">0</cx:pt>
          <cx:pt idx="85981">1</cx:pt>
          <cx:pt idx="85982">1</cx:pt>
          <cx:pt idx="85983">1</cx:pt>
          <cx:pt idx="85984">0</cx:pt>
          <cx:pt idx="85985">1</cx:pt>
          <cx:pt idx="85986">1</cx:pt>
          <cx:pt idx="85987">1</cx:pt>
          <cx:pt idx="85988">0</cx:pt>
          <cx:pt idx="85989">1</cx:pt>
          <cx:pt idx="85990">0</cx:pt>
          <cx:pt idx="85991">0</cx:pt>
          <cx:pt idx="85992">1</cx:pt>
          <cx:pt idx="85993">0</cx:pt>
          <cx:pt idx="85994">1</cx:pt>
          <cx:pt idx="85995">0</cx:pt>
          <cx:pt idx="85996">1</cx:pt>
          <cx:pt idx="85997">0</cx:pt>
          <cx:pt idx="85998">1</cx:pt>
          <cx:pt idx="85999">0</cx:pt>
          <cx:pt idx="86000">1</cx:pt>
          <cx:pt idx="86001">0</cx:pt>
          <cx:pt idx="86002">1</cx:pt>
          <cx:pt idx="86003">0</cx:pt>
          <cx:pt idx="86004">1</cx:pt>
          <cx:pt idx="86005">0</cx:pt>
          <cx:pt idx="86006">0</cx:pt>
          <cx:pt idx="86007">0</cx:pt>
          <cx:pt idx="86008">0</cx:pt>
          <cx:pt idx="86009">0</cx:pt>
          <cx:pt idx="86010">0</cx:pt>
          <cx:pt idx="86011">0</cx:pt>
          <cx:pt idx="86012">1</cx:pt>
          <cx:pt idx="86013">0</cx:pt>
          <cx:pt idx="86014">0</cx:pt>
          <cx:pt idx="86015">1</cx:pt>
          <cx:pt idx="86016">0</cx:pt>
          <cx:pt idx="86017">0</cx:pt>
          <cx:pt idx="86018">0</cx:pt>
          <cx:pt idx="86019">0</cx:pt>
          <cx:pt idx="86020">1</cx:pt>
          <cx:pt idx="86021">1</cx:pt>
          <cx:pt idx="86022">0</cx:pt>
          <cx:pt idx="86023">0</cx:pt>
          <cx:pt idx="86024">0</cx:pt>
          <cx:pt idx="86025">0</cx:pt>
          <cx:pt idx="86026">0</cx:pt>
          <cx:pt idx="86027">1</cx:pt>
          <cx:pt idx="86028">1</cx:pt>
          <cx:pt idx="86029">0</cx:pt>
          <cx:pt idx="86030">0</cx:pt>
          <cx:pt idx="86031">1</cx:pt>
          <cx:pt idx="86032">1</cx:pt>
          <cx:pt idx="86033">1</cx:pt>
          <cx:pt idx="86034">1</cx:pt>
          <cx:pt idx="86035">0</cx:pt>
          <cx:pt idx="86036">0</cx:pt>
          <cx:pt idx="86037">1</cx:pt>
          <cx:pt idx="86038">1</cx:pt>
          <cx:pt idx="86039">0</cx:pt>
          <cx:pt idx="86040">1</cx:pt>
          <cx:pt idx="86041">0</cx:pt>
          <cx:pt idx="86042">0</cx:pt>
          <cx:pt idx="86043">1</cx:pt>
          <cx:pt idx="86044">0</cx:pt>
          <cx:pt idx="86045">1</cx:pt>
          <cx:pt idx="86046">0</cx:pt>
          <cx:pt idx="86047">1</cx:pt>
          <cx:pt idx="86048">0</cx:pt>
          <cx:pt idx="86049">0</cx:pt>
          <cx:pt idx="86050">0</cx:pt>
          <cx:pt idx="86051">0</cx:pt>
          <cx:pt idx="86052">1</cx:pt>
          <cx:pt idx="86053">1</cx:pt>
          <cx:pt idx="86054">1</cx:pt>
          <cx:pt idx="86055">0</cx:pt>
          <cx:pt idx="86056">1</cx:pt>
          <cx:pt idx="86057">0</cx:pt>
          <cx:pt idx="86058">1</cx:pt>
          <cx:pt idx="86059">0</cx:pt>
          <cx:pt idx="86060">1</cx:pt>
          <cx:pt idx="86061">0</cx:pt>
          <cx:pt idx="86062">0</cx:pt>
          <cx:pt idx="86063">0</cx:pt>
          <cx:pt idx="86064">0</cx:pt>
          <cx:pt idx="86065">1</cx:pt>
          <cx:pt idx="86066">1</cx:pt>
          <cx:pt idx="86067">0</cx:pt>
          <cx:pt idx="86068">0</cx:pt>
          <cx:pt idx="86069">0</cx:pt>
          <cx:pt idx="86070">1</cx:pt>
          <cx:pt idx="86071">1</cx:pt>
          <cx:pt idx="86072">1</cx:pt>
          <cx:pt idx="86073">0</cx:pt>
          <cx:pt idx="86074">0</cx:pt>
          <cx:pt idx="86075">1</cx:pt>
          <cx:pt idx="86076">1</cx:pt>
          <cx:pt idx="86077">0</cx:pt>
          <cx:pt idx="86078">0</cx:pt>
          <cx:pt idx="86079">0</cx:pt>
          <cx:pt idx="86080">0</cx:pt>
          <cx:pt idx="86081">1</cx:pt>
          <cx:pt idx="86082">0</cx:pt>
          <cx:pt idx="86083">0</cx:pt>
          <cx:pt idx="86084">1</cx:pt>
          <cx:pt idx="86085">0</cx:pt>
          <cx:pt idx="86086">0</cx:pt>
          <cx:pt idx="86087">1</cx:pt>
          <cx:pt idx="86088">0</cx:pt>
          <cx:pt idx="86089">0</cx:pt>
          <cx:pt idx="86090">0</cx:pt>
          <cx:pt idx="86091">0</cx:pt>
          <cx:pt idx="86092">0</cx:pt>
          <cx:pt idx="86093">0</cx:pt>
          <cx:pt idx="86094">0</cx:pt>
          <cx:pt idx="86095">1</cx:pt>
          <cx:pt idx="86096">0</cx:pt>
          <cx:pt idx="86097">0</cx:pt>
          <cx:pt idx="86098">0</cx:pt>
          <cx:pt idx="86099">0</cx:pt>
          <cx:pt idx="86100">0</cx:pt>
          <cx:pt idx="86101">1</cx:pt>
          <cx:pt idx="86102">0</cx:pt>
          <cx:pt idx="86103">0</cx:pt>
          <cx:pt idx="86104">1</cx:pt>
          <cx:pt idx="86105">1</cx:pt>
          <cx:pt idx="86106">1</cx:pt>
          <cx:pt idx="86107">1</cx:pt>
          <cx:pt idx="86108">1</cx:pt>
          <cx:pt idx="86109">0</cx:pt>
          <cx:pt idx="86110">0</cx:pt>
          <cx:pt idx="86111">0</cx:pt>
          <cx:pt idx="86112">0</cx:pt>
          <cx:pt idx="86113">1</cx:pt>
          <cx:pt idx="86114">0</cx:pt>
          <cx:pt idx="86115">0</cx:pt>
          <cx:pt idx="86116">0</cx:pt>
          <cx:pt idx="86117">1</cx:pt>
          <cx:pt idx="86118">0</cx:pt>
          <cx:pt idx="86119">0</cx:pt>
          <cx:pt idx="86120">0</cx:pt>
          <cx:pt idx="86121">1</cx:pt>
          <cx:pt idx="86122">0</cx:pt>
          <cx:pt idx="86123">0</cx:pt>
          <cx:pt idx="86124">1</cx:pt>
          <cx:pt idx="86125">1</cx:pt>
          <cx:pt idx="86126">1</cx:pt>
          <cx:pt idx="86127">0</cx:pt>
          <cx:pt idx="86128">0</cx:pt>
          <cx:pt idx="86129">0</cx:pt>
          <cx:pt idx="86130">1</cx:pt>
          <cx:pt idx="86131">0</cx:pt>
          <cx:pt idx="86132">0</cx:pt>
          <cx:pt idx="86133">1</cx:pt>
          <cx:pt idx="86134">0</cx:pt>
          <cx:pt idx="86135">0</cx:pt>
          <cx:pt idx="86136">1</cx:pt>
          <cx:pt idx="86137">1</cx:pt>
          <cx:pt idx="86138">0</cx:pt>
          <cx:pt idx="86139">0</cx:pt>
          <cx:pt idx="86140">0</cx:pt>
          <cx:pt idx="86141">0</cx:pt>
          <cx:pt idx="86142">1</cx:pt>
          <cx:pt idx="86143">1</cx:pt>
          <cx:pt idx="86144">0</cx:pt>
          <cx:pt idx="86145">0</cx:pt>
          <cx:pt idx="86146">0</cx:pt>
          <cx:pt idx="86147">0</cx:pt>
          <cx:pt idx="86148">0</cx:pt>
          <cx:pt idx="86149">0</cx:pt>
          <cx:pt idx="86150">0</cx:pt>
          <cx:pt idx="86151">1</cx:pt>
          <cx:pt idx="86152">0</cx:pt>
          <cx:pt idx="86153">1</cx:pt>
          <cx:pt idx="86154">0</cx:pt>
          <cx:pt idx="86155">1</cx:pt>
          <cx:pt idx="86156">1</cx:pt>
          <cx:pt idx="86157">1</cx:pt>
          <cx:pt idx="86158">0</cx:pt>
          <cx:pt idx="86159">1</cx:pt>
          <cx:pt idx="86160">1</cx:pt>
          <cx:pt idx="86161">0</cx:pt>
          <cx:pt idx="86162">1</cx:pt>
          <cx:pt idx="86163">1</cx:pt>
          <cx:pt idx="86164">0</cx:pt>
          <cx:pt idx="86165">0</cx:pt>
          <cx:pt idx="86166">1</cx:pt>
          <cx:pt idx="86167">0</cx:pt>
          <cx:pt idx="86168">0</cx:pt>
          <cx:pt idx="86169">0</cx:pt>
          <cx:pt idx="86170">1</cx:pt>
          <cx:pt idx="86171">0</cx:pt>
          <cx:pt idx="86172">1</cx:pt>
          <cx:pt idx="86173">1</cx:pt>
          <cx:pt idx="86174">0</cx:pt>
          <cx:pt idx="86175">0</cx:pt>
          <cx:pt idx="86176">0</cx:pt>
          <cx:pt idx="86177">1</cx:pt>
          <cx:pt idx="86178">0</cx:pt>
          <cx:pt idx="86179">0</cx:pt>
          <cx:pt idx="86180">0</cx:pt>
          <cx:pt idx="86181">0</cx:pt>
          <cx:pt idx="86182">0</cx:pt>
          <cx:pt idx="86183">0</cx:pt>
          <cx:pt idx="86184">1</cx:pt>
          <cx:pt idx="86185">1</cx:pt>
          <cx:pt idx="86186">1</cx:pt>
          <cx:pt idx="86187">1</cx:pt>
          <cx:pt idx="86188">1</cx:pt>
          <cx:pt idx="86189">1</cx:pt>
          <cx:pt idx="86190">0</cx:pt>
          <cx:pt idx="86191">1</cx:pt>
          <cx:pt idx="86192">0</cx:pt>
          <cx:pt idx="86193">1</cx:pt>
          <cx:pt idx="86194">0</cx:pt>
          <cx:pt idx="86195">0</cx:pt>
          <cx:pt idx="86196">0</cx:pt>
          <cx:pt idx="86197">1</cx:pt>
          <cx:pt idx="86198">0</cx:pt>
          <cx:pt idx="86199">1</cx:pt>
          <cx:pt idx="86200">0</cx:pt>
          <cx:pt idx="86201">0</cx:pt>
          <cx:pt idx="86202">0</cx:pt>
          <cx:pt idx="86203">0</cx:pt>
          <cx:pt idx="86204">0</cx:pt>
          <cx:pt idx="86205">0</cx:pt>
          <cx:pt idx="86206">1</cx:pt>
          <cx:pt idx="86207">0</cx:pt>
          <cx:pt idx="86208">0</cx:pt>
          <cx:pt idx="86209">0</cx:pt>
          <cx:pt idx="86210">0</cx:pt>
          <cx:pt idx="86211">1</cx:pt>
          <cx:pt idx="86212">0</cx:pt>
          <cx:pt idx="86213">0</cx:pt>
          <cx:pt idx="86214">0</cx:pt>
          <cx:pt idx="86215">0</cx:pt>
          <cx:pt idx="86216">1</cx:pt>
          <cx:pt idx="86217">0</cx:pt>
          <cx:pt idx="86218">1</cx:pt>
          <cx:pt idx="86219">1</cx:pt>
          <cx:pt idx="86220">0</cx:pt>
          <cx:pt idx="86221">1</cx:pt>
          <cx:pt idx="86222">0</cx:pt>
          <cx:pt idx="86223">1</cx:pt>
          <cx:pt idx="86224">0</cx:pt>
          <cx:pt idx="86225">0</cx:pt>
          <cx:pt idx="86226">0</cx:pt>
          <cx:pt idx="86227">1</cx:pt>
          <cx:pt idx="86228">1</cx:pt>
          <cx:pt idx="86229">1</cx:pt>
          <cx:pt idx="86230">0</cx:pt>
          <cx:pt idx="86231">0</cx:pt>
          <cx:pt idx="86232">0</cx:pt>
          <cx:pt idx="86233">0</cx:pt>
          <cx:pt idx="86234">0</cx:pt>
          <cx:pt idx="86235">0</cx:pt>
          <cx:pt idx="86236">0</cx:pt>
          <cx:pt idx="86237">0</cx:pt>
          <cx:pt idx="86238">0</cx:pt>
          <cx:pt idx="86239">0</cx:pt>
          <cx:pt idx="86240">0</cx:pt>
          <cx:pt idx="86241">0</cx:pt>
          <cx:pt idx="86242">0</cx:pt>
          <cx:pt idx="86243">0</cx:pt>
          <cx:pt idx="86244">0</cx:pt>
          <cx:pt idx="86245">1</cx:pt>
          <cx:pt idx="86246">1</cx:pt>
          <cx:pt idx="86247">1</cx:pt>
          <cx:pt idx="86248">0</cx:pt>
          <cx:pt idx="86249">1</cx:pt>
          <cx:pt idx="86250">1</cx:pt>
          <cx:pt idx="86251">1</cx:pt>
          <cx:pt idx="86252">0</cx:pt>
          <cx:pt idx="86253">0</cx:pt>
          <cx:pt idx="86254">0</cx:pt>
          <cx:pt idx="86255">1</cx:pt>
          <cx:pt idx="86256">0</cx:pt>
          <cx:pt idx="86257">0</cx:pt>
          <cx:pt idx="86258">1</cx:pt>
          <cx:pt idx="86259">0</cx:pt>
          <cx:pt idx="86260">1</cx:pt>
          <cx:pt idx="86261">0</cx:pt>
          <cx:pt idx="86262">0</cx:pt>
          <cx:pt idx="86263">0</cx:pt>
          <cx:pt idx="86264">0</cx:pt>
          <cx:pt idx="86265">0</cx:pt>
          <cx:pt idx="86266">1</cx:pt>
          <cx:pt idx="86267">1</cx:pt>
          <cx:pt idx="86268">1</cx:pt>
          <cx:pt idx="86269">0</cx:pt>
          <cx:pt idx="86270">1</cx:pt>
          <cx:pt idx="86271">0</cx:pt>
          <cx:pt idx="86272">1</cx:pt>
          <cx:pt idx="86273">0</cx:pt>
          <cx:pt idx="86274">1</cx:pt>
          <cx:pt idx="86275">1</cx:pt>
          <cx:pt idx="86276">0</cx:pt>
          <cx:pt idx="86277">0</cx:pt>
          <cx:pt idx="86278">0</cx:pt>
          <cx:pt idx="86279">0</cx:pt>
          <cx:pt idx="86280">0</cx:pt>
          <cx:pt idx="86281">0</cx:pt>
          <cx:pt idx="86282">0</cx:pt>
          <cx:pt idx="86283">1</cx:pt>
          <cx:pt idx="86284">0</cx:pt>
          <cx:pt idx="86285">0</cx:pt>
          <cx:pt idx="86286">1</cx:pt>
          <cx:pt idx="86287">0</cx:pt>
          <cx:pt idx="86288">1</cx:pt>
          <cx:pt idx="86289">1</cx:pt>
          <cx:pt idx="86290">0</cx:pt>
          <cx:pt idx="86291">1</cx:pt>
          <cx:pt idx="86292">0</cx:pt>
          <cx:pt idx="86293">0</cx:pt>
          <cx:pt idx="86294">1</cx:pt>
          <cx:pt idx="86295">0</cx:pt>
          <cx:pt idx="86296">1</cx:pt>
          <cx:pt idx="86297">1</cx:pt>
          <cx:pt idx="86298">0</cx:pt>
          <cx:pt idx="86299">1</cx:pt>
          <cx:pt idx="86300">0</cx:pt>
          <cx:pt idx="86301">0</cx:pt>
          <cx:pt idx="86302">0</cx:pt>
          <cx:pt idx="86303">1</cx:pt>
          <cx:pt idx="86304">1</cx:pt>
          <cx:pt idx="86305">1</cx:pt>
          <cx:pt idx="86306">1</cx:pt>
          <cx:pt idx="86307">1</cx:pt>
          <cx:pt idx="86308">0</cx:pt>
          <cx:pt idx="86309">1</cx:pt>
          <cx:pt idx="86310">0</cx:pt>
          <cx:pt idx="86311">0</cx:pt>
          <cx:pt idx="86312">1</cx:pt>
          <cx:pt idx="86313">1</cx:pt>
          <cx:pt idx="86314">1</cx:pt>
          <cx:pt idx="86315">1</cx:pt>
          <cx:pt idx="86316">0</cx:pt>
          <cx:pt idx="86317">1</cx:pt>
          <cx:pt idx="86318">1</cx:pt>
          <cx:pt idx="86319">1</cx:pt>
          <cx:pt idx="86320">1</cx:pt>
          <cx:pt idx="86321">0</cx:pt>
          <cx:pt idx="86322">0</cx:pt>
          <cx:pt idx="86323">0</cx:pt>
          <cx:pt idx="86324">0</cx:pt>
          <cx:pt idx="86325">0</cx:pt>
          <cx:pt idx="86326">1</cx:pt>
          <cx:pt idx="86327">0</cx:pt>
          <cx:pt idx="86328">1</cx:pt>
          <cx:pt idx="86329">0</cx:pt>
          <cx:pt idx="86330">0</cx:pt>
          <cx:pt idx="86331">1</cx:pt>
          <cx:pt idx="86332">0</cx:pt>
          <cx:pt idx="86333">0</cx:pt>
          <cx:pt idx="86334">1</cx:pt>
          <cx:pt idx="86335">1</cx:pt>
          <cx:pt idx="86336">0</cx:pt>
          <cx:pt idx="86337">0</cx:pt>
          <cx:pt idx="86338">0</cx:pt>
          <cx:pt idx="86339">1</cx:pt>
          <cx:pt idx="86340">0</cx:pt>
          <cx:pt idx="86341">1</cx:pt>
          <cx:pt idx="86342">0</cx:pt>
          <cx:pt idx="86343">1</cx:pt>
          <cx:pt idx="86344">1</cx:pt>
          <cx:pt idx="86345">0</cx:pt>
          <cx:pt idx="86346">1</cx:pt>
          <cx:pt idx="86347">0</cx:pt>
          <cx:pt idx="86348">0</cx:pt>
          <cx:pt idx="86349">1</cx:pt>
          <cx:pt idx="86350">1</cx:pt>
          <cx:pt idx="86351">1</cx:pt>
          <cx:pt idx="86352">0</cx:pt>
          <cx:pt idx="86353">1</cx:pt>
          <cx:pt idx="86354">0</cx:pt>
          <cx:pt idx="86355">1</cx:pt>
          <cx:pt idx="86356">0</cx:pt>
          <cx:pt idx="86357">1</cx:pt>
          <cx:pt idx="86358">0</cx:pt>
          <cx:pt idx="86359">0</cx:pt>
          <cx:pt idx="86360">0</cx:pt>
          <cx:pt idx="86361">0</cx:pt>
          <cx:pt idx="86362">1</cx:pt>
          <cx:pt idx="86363">1</cx:pt>
          <cx:pt idx="86364">1</cx:pt>
          <cx:pt idx="86365">0</cx:pt>
          <cx:pt idx="86366">0</cx:pt>
          <cx:pt idx="86367">0</cx:pt>
          <cx:pt idx="86368">0</cx:pt>
          <cx:pt idx="86369">0</cx:pt>
          <cx:pt idx="86370">1</cx:pt>
          <cx:pt idx="86371">0</cx:pt>
          <cx:pt idx="86372">0</cx:pt>
          <cx:pt idx="86373">0</cx:pt>
          <cx:pt idx="86374">0</cx:pt>
          <cx:pt idx="86375">0</cx:pt>
          <cx:pt idx="86376">0</cx:pt>
          <cx:pt idx="86377">0</cx:pt>
          <cx:pt idx="86378">0</cx:pt>
          <cx:pt idx="86379">0</cx:pt>
          <cx:pt idx="86380">0</cx:pt>
          <cx:pt idx="86381">1</cx:pt>
          <cx:pt idx="86382">0</cx:pt>
          <cx:pt idx="86383">0</cx:pt>
          <cx:pt idx="86384">1</cx:pt>
          <cx:pt idx="86385">0</cx:pt>
          <cx:pt idx="86386">0</cx:pt>
          <cx:pt idx="86387">1</cx:pt>
          <cx:pt idx="86388">1</cx:pt>
          <cx:pt idx="86389">0</cx:pt>
          <cx:pt idx="86390">1</cx:pt>
          <cx:pt idx="86391">0</cx:pt>
          <cx:pt idx="86392">0</cx:pt>
          <cx:pt idx="86393">0</cx:pt>
          <cx:pt idx="86394">1</cx:pt>
          <cx:pt idx="86395">1</cx:pt>
          <cx:pt idx="86396">0</cx:pt>
          <cx:pt idx="86397">1</cx:pt>
          <cx:pt idx="86398">1</cx:pt>
          <cx:pt idx="86399">0</cx:pt>
          <cx:pt idx="86400">1</cx:pt>
          <cx:pt idx="86401">0</cx:pt>
          <cx:pt idx="86402">1</cx:pt>
          <cx:pt idx="86403">0</cx:pt>
          <cx:pt idx="86404">1</cx:pt>
          <cx:pt idx="86405">0</cx:pt>
          <cx:pt idx="86406">1</cx:pt>
          <cx:pt idx="86407">1</cx:pt>
          <cx:pt idx="86408">0</cx:pt>
          <cx:pt idx="86409">1</cx:pt>
          <cx:pt idx="86410">0</cx:pt>
          <cx:pt idx="86411">0</cx:pt>
          <cx:pt idx="86412">1</cx:pt>
          <cx:pt idx="86413">0</cx:pt>
          <cx:pt idx="86414">0</cx:pt>
          <cx:pt idx="86415">0</cx:pt>
          <cx:pt idx="86416">0</cx:pt>
          <cx:pt idx="86417">1</cx:pt>
          <cx:pt idx="86418">1</cx:pt>
          <cx:pt idx="86419">1</cx:pt>
          <cx:pt idx="86420">1</cx:pt>
          <cx:pt idx="86421">1</cx:pt>
          <cx:pt idx="86422">0</cx:pt>
          <cx:pt idx="86423">1</cx:pt>
          <cx:pt idx="86424">1</cx:pt>
          <cx:pt idx="86425">1</cx:pt>
          <cx:pt idx="86426">1</cx:pt>
          <cx:pt idx="86427">1</cx:pt>
          <cx:pt idx="86428">1</cx:pt>
          <cx:pt idx="86429">1</cx:pt>
          <cx:pt idx="86430">0</cx:pt>
          <cx:pt idx="86431">0</cx:pt>
          <cx:pt idx="86432">1</cx:pt>
          <cx:pt idx="86433">0</cx:pt>
          <cx:pt idx="86434">0</cx:pt>
          <cx:pt idx="86435">0</cx:pt>
          <cx:pt idx="86436">1</cx:pt>
          <cx:pt idx="86437">1</cx:pt>
          <cx:pt idx="86438">0</cx:pt>
          <cx:pt idx="86439">0</cx:pt>
          <cx:pt idx="86440">1</cx:pt>
          <cx:pt idx="86441">0</cx:pt>
          <cx:pt idx="86442">0</cx:pt>
          <cx:pt idx="86443">1</cx:pt>
          <cx:pt idx="86444">1</cx:pt>
          <cx:pt idx="86445">0</cx:pt>
          <cx:pt idx="86446">1</cx:pt>
          <cx:pt idx="86447">1</cx:pt>
          <cx:pt idx="86448">1</cx:pt>
          <cx:pt idx="86449">1</cx:pt>
          <cx:pt idx="86450">0</cx:pt>
          <cx:pt idx="86451">1</cx:pt>
          <cx:pt idx="86452">0</cx:pt>
          <cx:pt idx="86453">1</cx:pt>
          <cx:pt idx="86454">0</cx:pt>
          <cx:pt idx="86455">0</cx:pt>
          <cx:pt idx="86456">1</cx:pt>
          <cx:pt idx="86457">1</cx:pt>
          <cx:pt idx="86458">1</cx:pt>
          <cx:pt idx="86459">0</cx:pt>
          <cx:pt idx="86460">0</cx:pt>
          <cx:pt idx="86461">1</cx:pt>
          <cx:pt idx="86462">0</cx:pt>
          <cx:pt idx="86463">0</cx:pt>
          <cx:pt idx="86464">1</cx:pt>
          <cx:pt idx="86465">1</cx:pt>
          <cx:pt idx="86466">1</cx:pt>
          <cx:pt idx="86467">0</cx:pt>
          <cx:pt idx="86468">1</cx:pt>
          <cx:pt idx="86469">1</cx:pt>
          <cx:pt idx="86470">0</cx:pt>
          <cx:pt idx="86471">1</cx:pt>
          <cx:pt idx="86472">0</cx:pt>
          <cx:pt idx="86473">0</cx:pt>
          <cx:pt idx="86474">1</cx:pt>
          <cx:pt idx="86475">0</cx:pt>
          <cx:pt idx="86476">0</cx:pt>
          <cx:pt idx="86477">1</cx:pt>
          <cx:pt idx="86478">0</cx:pt>
          <cx:pt idx="86479">1</cx:pt>
          <cx:pt idx="86480">0</cx:pt>
          <cx:pt idx="86481">0</cx:pt>
          <cx:pt idx="86482">0</cx:pt>
          <cx:pt idx="86483">0</cx:pt>
          <cx:pt idx="86484">1</cx:pt>
          <cx:pt idx="86485">1</cx:pt>
          <cx:pt idx="86486">1</cx:pt>
          <cx:pt idx="86487">0</cx:pt>
          <cx:pt idx="86488">0</cx:pt>
          <cx:pt idx="86489">0</cx:pt>
          <cx:pt idx="86490">0</cx:pt>
          <cx:pt idx="86491">1</cx:pt>
          <cx:pt idx="86492">1</cx:pt>
          <cx:pt idx="86493">0</cx:pt>
          <cx:pt idx="86494">0</cx:pt>
          <cx:pt idx="86495">1</cx:pt>
          <cx:pt idx="86496">0</cx:pt>
          <cx:pt idx="86497">0</cx:pt>
          <cx:pt idx="86498">0</cx:pt>
          <cx:pt idx="86499">1</cx:pt>
          <cx:pt idx="86500">0</cx:pt>
          <cx:pt idx="86501">0</cx:pt>
          <cx:pt idx="86502">0</cx:pt>
          <cx:pt idx="86503">1</cx:pt>
          <cx:pt idx="86504">1</cx:pt>
          <cx:pt idx="86505">1</cx:pt>
          <cx:pt idx="86506">0</cx:pt>
          <cx:pt idx="86507">1</cx:pt>
          <cx:pt idx="86508">1</cx:pt>
          <cx:pt idx="86509">0</cx:pt>
          <cx:pt idx="86510">0</cx:pt>
          <cx:pt idx="86511">0</cx:pt>
          <cx:pt idx="86512">0</cx:pt>
          <cx:pt idx="86513">0</cx:pt>
          <cx:pt idx="86514">0</cx:pt>
          <cx:pt idx="86515">0</cx:pt>
          <cx:pt idx="86516">0</cx:pt>
          <cx:pt idx="86517">0</cx:pt>
          <cx:pt idx="86518">0</cx:pt>
          <cx:pt idx="86519">1</cx:pt>
          <cx:pt idx="86520">1</cx:pt>
          <cx:pt idx="86521">0</cx:pt>
          <cx:pt idx="86522">0</cx:pt>
          <cx:pt idx="86523">0</cx:pt>
          <cx:pt idx="86524">1</cx:pt>
          <cx:pt idx="86525">0</cx:pt>
          <cx:pt idx="86526">0</cx:pt>
          <cx:pt idx="86527">0</cx:pt>
          <cx:pt idx="86528">1</cx:pt>
          <cx:pt idx="86529">0</cx:pt>
          <cx:pt idx="86530">1</cx:pt>
          <cx:pt idx="86531">0</cx:pt>
          <cx:pt idx="86532">0</cx:pt>
          <cx:pt idx="86533">0</cx:pt>
          <cx:pt idx="86534">1</cx:pt>
          <cx:pt idx="86535">1</cx:pt>
          <cx:pt idx="86536">0</cx:pt>
          <cx:pt idx="86537">1</cx:pt>
          <cx:pt idx="86538">1</cx:pt>
          <cx:pt idx="86539">0</cx:pt>
          <cx:pt idx="86540">0</cx:pt>
          <cx:pt idx="86541">1</cx:pt>
          <cx:pt idx="86542">0</cx:pt>
          <cx:pt idx="86543">0</cx:pt>
          <cx:pt idx="86544">0</cx:pt>
          <cx:pt idx="86545">0</cx:pt>
          <cx:pt idx="86546">1</cx:pt>
          <cx:pt idx="86547">0</cx:pt>
          <cx:pt idx="86548">1</cx:pt>
          <cx:pt idx="86549">0</cx:pt>
          <cx:pt idx="86550">0</cx:pt>
          <cx:pt idx="86551">1</cx:pt>
          <cx:pt idx="86552">0</cx:pt>
          <cx:pt idx="86553">0</cx:pt>
          <cx:pt idx="86554">1</cx:pt>
          <cx:pt idx="86555">1</cx:pt>
          <cx:pt idx="86556">0</cx:pt>
          <cx:pt idx="86557">1</cx:pt>
          <cx:pt idx="86558">1</cx:pt>
          <cx:pt idx="86559">0</cx:pt>
          <cx:pt idx="86560">0</cx:pt>
          <cx:pt idx="86561">1</cx:pt>
          <cx:pt idx="86562">0</cx:pt>
          <cx:pt idx="86563">0</cx:pt>
          <cx:pt idx="86564">0</cx:pt>
          <cx:pt idx="86565">0</cx:pt>
          <cx:pt idx="86566">1</cx:pt>
          <cx:pt idx="86567">0</cx:pt>
          <cx:pt idx="86568">0</cx:pt>
          <cx:pt idx="86569">1</cx:pt>
          <cx:pt idx="86570">0</cx:pt>
          <cx:pt idx="86571">1</cx:pt>
          <cx:pt idx="86572">0</cx:pt>
          <cx:pt idx="86573">1</cx:pt>
          <cx:pt idx="86574">0</cx:pt>
          <cx:pt idx="86575">1</cx:pt>
          <cx:pt idx="86576">1</cx:pt>
          <cx:pt idx="86577">1</cx:pt>
          <cx:pt idx="86578">1</cx:pt>
          <cx:pt idx="86579">0</cx:pt>
          <cx:pt idx="86580">0</cx:pt>
          <cx:pt idx="86581">1</cx:pt>
          <cx:pt idx="86582">1</cx:pt>
          <cx:pt idx="86583">0</cx:pt>
          <cx:pt idx="86584">0</cx:pt>
          <cx:pt idx="86585">1</cx:pt>
          <cx:pt idx="86586">1</cx:pt>
          <cx:pt idx="86587">1</cx:pt>
          <cx:pt idx="86588">1</cx:pt>
          <cx:pt idx="86589">0</cx:pt>
          <cx:pt idx="86590">0</cx:pt>
          <cx:pt idx="86591">0</cx:pt>
          <cx:pt idx="86592">0</cx:pt>
          <cx:pt idx="86593">0</cx:pt>
          <cx:pt idx="86594">1</cx:pt>
          <cx:pt idx="86595">0</cx:pt>
          <cx:pt idx="86596">0</cx:pt>
          <cx:pt idx="86597">0</cx:pt>
          <cx:pt idx="86598">1</cx:pt>
          <cx:pt idx="86599">0</cx:pt>
          <cx:pt idx="86600">0</cx:pt>
          <cx:pt idx="86601">0</cx:pt>
          <cx:pt idx="86602">1</cx:pt>
          <cx:pt idx="86603">0</cx:pt>
          <cx:pt idx="86604">1</cx:pt>
          <cx:pt idx="86605">1</cx:pt>
          <cx:pt idx="86606">0</cx:pt>
          <cx:pt idx="86607">0</cx:pt>
          <cx:pt idx="86608">1</cx:pt>
          <cx:pt idx="86609">1</cx:pt>
          <cx:pt idx="86610">1</cx:pt>
          <cx:pt idx="86611">1</cx:pt>
          <cx:pt idx="86612">0</cx:pt>
          <cx:pt idx="86613">0</cx:pt>
          <cx:pt idx="86614">0</cx:pt>
          <cx:pt idx="86615">1</cx:pt>
          <cx:pt idx="86616">0</cx:pt>
          <cx:pt idx="86617">0</cx:pt>
          <cx:pt idx="86618">1</cx:pt>
          <cx:pt idx="86619">0</cx:pt>
          <cx:pt idx="86620">0</cx:pt>
          <cx:pt idx="86621">0</cx:pt>
          <cx:pt idx="86622">1</cx:pt>
          <cx:pt idx="86623">0</cx:pt>
          <cx:pt idx="86624">0</cx:pt>
          <cx:pt idx="86625">0</cx:pt>
          <cx:pt idx="86626">1</cx:pt>
          <cx:pt idx="86627">0</cx:pt>
          <cx:pt idx="86628">0</cx:pt>
          <cx:pt idx="86629">1</cx:pt>
          <cx:pt idx="86630">1</cx:pt>
          <cx:pt idx="86631">0</cx:pt>
          <cx:pt idx="86632">1</cx:pt>
          <cx:pt idx="86633">0</cx:pt>
          <cx:pt idx="86634">1</cx:pt>
          <cx:pt idx="86635">1</cx:pt>
          <cx:pt idx="86636">1</cx:pt>
          <cx:pt idx="86637">0</cx:pt>
          <cx:pt idx="86638">0</cx:pt>
          <cx:pt idx="86639">0</cx:pt>
          <cx:pt idx="86640">1</cx:pt>
          <cx:pt idx="86641">1</cx:pt>
          <cx:pt idx="86642">0</cx:pt>
          <cx:pt idx="86643">0</cx:pt>
          <cx:pt idx="86644">0</cx:pt>
          <cx:pt idx="86645">1</cx:pt>
          <cx:pt idx="86646">1</cx:pt>
          <cx:pt idx="86647">0</cx:pt>
          <cx:pt idx="86648">0</cx:pt>
          <cx:pt idx="86649">1</cx:pt>
          <cx:pt idx="86650">0</cx:pt>
          <cx:pt idx="86651">0</cx:pt>
          <cx:pt idx="86652">0</cx:pt>
          <cx:pt idx="86653">0</cx:pt>
          <cx:pt idx="86654">1</cx:pt>
          <cx:pt idx="86655">1</cx:pt>
          <cx:pt idx="86656">1</cx:pt>
          <cx:pt idx="86657">0</cx:pt>
          <cx:pt idx="86658">0</cx:pt>
          <cx:pt idx="86659">0</cx:pt>
          <cx:pt idx="86660">0</cx:pt>
          <cx:pt idx="86661">0</cx:pt>
          <cx:pt idx="86662">0</cx:pt>
          <cx:pt idx="86663">1</cx:pt>
          <cx:pt idx="86664">0</cx:pt>
          <cx:pt idx="86665">1</cx:pt>
          <cx:pt idx="86666">0</cx:pt>
          <cx:pt idx="86667">1</cx:pt>
          <cx:pt idx="86668">0</cx:pt>
          <cx:pt idx="86669">0</cx:pt>
          <cx:pt idx="86670">0</cx:pt>
          <cx:pt idx="86671">1</cx:pt>
          <cx:pt idx="86672">0</cx:pt>
          <cx:pt idx="86673">0</cx:pt>
          <cx:pt idx="86674">1</cx:pt>
          <cx:pt idx="86675">1</cx:pt>
          <cx:pt idx="86676">0</cx:pt>
          <cx:pt idx="86677">1</cx:pt>
          <cx:pt idx="86678">0</cx:pt>
          <cx:pt idx="86679">0</cx:pt>
          <cx:pt idx="86680">0</cx:pt>
          <cx:pt idx="86681">0</cx:pt>
          <cx:pt idx="86682">1</cx:pt>
          <cx:pt idx="86683">1</cx:pt>
          <cx:pt idx="86684">1</cx:pt>
          <cx:pt idx="86685">0</cx:pt>
          <cx:pt idx="86686">0</cx:pt>
          <cx:pt idx="86687">0</cx:pt>
          <cx:pt idx="86688">0</cx:pt>
          <cx:pt idx="86689">0</cx:pt>
          <cx:pt idx="86690">1</cx:pt>
          <cx:pt idx="86691">1</cx:pt>
          <cx:pt idx="86692">0</cx:pt>
          <cx:pt idx="86693">0</cx:pt>
          <cx:pt idx="86694">1</cx:pt>
          <cx:pt idx="86695">0</cx:pt>
          <cx:pt idx="86696">1</cx:pt>
          <cx:pt idx="86697">0</cx:pt>
          <cx:pt idx="86698">1</cx:pt>
          <cx:pt idx="86699">0</cx:pt>
          <cx:pt idx="86700">0</cx:pt>
          <cx:pt idx="86701">0</cx:pt>
          <cx:pt idx="86702">1</cx:pt>
          <cx:pt idx="86703">0</cx:pt>
          <cx:pt idx="86704">1</cx:pt>
          <cx:pt idx="86705">0</cx:pt>
          <cx:pt idx="86706">1</cx:pt>
          <cx:pt idx="86707">0</cx:pt>
          <cx:pt idx="86708">0</cx:pt>
          <cx:pt idx="86709">1</cx:pt>
          <cx:pt idx="86710">0</cx:pt>
          <cx:pt idx="86711">1</cx:pt>
          <cx:pt idx="86712">1</cx:pt>
          <cx:pt idx="86713">1</cx:pt>
          <cx:pt idx="86714">0</cx:pt>
          <cx:pt idx="86715">0</cx:pt>
          <cx:pt idx="86716">0</cx:pt>
          <cx:pt idx="86717">1</cx:pt>
          <cx:pt idx="86718">0</cx:pt>
          <cx:pt idx="86719">0</cx:pt>
          <cx:pt idx="86720">1</cx:pt>
          <cx:pt idx="86721">1</cx:pt>
          <cx:pt idx="86722">1</cx:pt>
          <cx:pt idx="86723">0</cx:pt>
          <cx:pt idx="86724">1</cx:pt>
          <cx:pt idx="86725">0</cx:pt>
          <cx:pt idx="86726">1</cx:pt>
          <cx:pt idx="86727">0</cx:pt>
          <cx:pt idx="86728">1</cx:pt>
          <cx:pt idx="86729">0</cx:pt>
          <cx:pt idx="86730">1</cx:pt>
          <cx:pt idx="86731">0</cx:pt>
          <cx:pt idx="86732">0</cx:pt>
          <cx:pt idx="86733">0</cx:pt>
          <cx:pt idx="86734">1</cx:pt>
          <cx:pt idx="86735">0</cx:pt>
          <cx:pt idx="86736">0</cx:pt>
          <cx:pt idx="86737">1</cx:pt>
          <cx:pt idx="86738">0</cx:pt>
          <cx:pt idx="86739">0</cx:pt>
          <cx:pt idx="86740">0</cx:pt>
          <cx:pt idx="86741">0</cx:pt>
          <cx:pt idx="86742">0</cx:pt>
          <cx:pt idx="86743">0</cx:pt>
          <cx:pt idx="86744">0</cx:pt>
          <cx:pt idx="86745">0</cx:pt>
          <cx:pt idx="86746">0</cx:pt>
          <cx:pt idx="86747">0</cx:pt>
          <cx:pt idx="86748">0</cx:pt>
          <cx:pt idx="86749">0</cx:pt>
          <cx:pt idx="86750">0</cx:pt>
          <cx:pt idx="86751">0</cx:pt>
          <cx:pt idx="86752">1</cx:pt>
          <cx:pt idx="86753">0</cx:pt>
          <cx:pt idx="86754">1</cx:pt>
          <cx:pt idx="86755">1</cx:pt>
          <cx:pt idx="86756">0</cx:pt>
          <cx:pt idx="86757">1</cx:pt>
          <cx:pt idx="86758">1</cx:pt>
          <cx:pt idx="86759">0</cx:pt>
          <cx:pt idx="86760">0</cx:pt>
          <cx:pt idx="86761">0</cx:pt>
          <cx:pt idx="86762">1</cx:pt>
          <cx:pt idx="86763">1</cx:pt>
          <cx:pt idx="86764">1</cx:pt>
          <cx:pt idx="86765">0</cx:pt>
          <cx:pt idx="86766">0</cx:pt>
          <cx:pt idx="86767">0</cx:pt>
          <cx:pt idx="86768">0</cx:pt>
          <cx:pt idx="86769">0</cx:pt>
          <cx:pt idx="86770">0</cx:pt>
          <cx:pt idx="86771">0</cx:pt>
          <cx:pt idx="86772">0</cx:pt>
          <cx:pt idx="86773">0</cx:pt>
          <cx:pt idx="86774">0</cx:pt>
          <cx:pt idx="86775">0</cx:pt>
          <cx:pt idx="86776">0</cx:pt>
          <cx:pt idx="86777">0</cx:pt>
          <cx:pt idx="86778">1</cx:pt>
          <cx:pt idx="86779">1</cx:pt>
          <cx:pt idx="86780">1</cx:pt>
          <cx:pt idx="86781">1</cx:pt>
          <cx:pt idx="86782">0</cx:pt>
          <cx:pt idx="86783">1</cx:pt>
          <cx:pt idx="86784">1</cx:pt>
          <cx:pt idx="86785">1</cx:pt>
          <cx:pt idx="86786">1</cx:pt>
          <cx:pt idx="86787">0</cx:pt>
          <cx:pt idx="86788">1</cx:pt>
          <cx:pt idx="86789">1</cx:pt>
          <cx:pt idx="86790">1</cx:pt>
          <cx:pt idx="86791">0</cx:pt>
          <cx:pt idx="86792">0</cx:pt>
          <cx:pt idx="86793">1</cx:pt>
          <cx:pt idx="86794">0</cx:pt>
          <cx:pt idx="86795">0</cx:pt>
          <cx:pt idx="86796">0</cx:pt>
          <cx:pt idx="86797">0</cx:pt>
          <cx:pt idx="86798">1</cx:pt>
          <cx:pt idx="86799">1</cx:pt>
          <cx:pt idx="86800">1</cx:pt>
          <cx:pt idx="86801">0</cx:pt>
          <cx:pt idx="86802">0</cx:pt>
          <cx:pt idx="86803">0</cx:pt>
          <cx:pt idx="86804">0</cx:pt>
          <cx:pt idx="86805">0</cx:pt>
          <cx:pt idx="86806">0</cx:pt>
          <cx:pt idx="86807">0</cx:pt>
          <cx:pt idx="86808">0</cx:pt>
          <cx:pt idx="86809">0</cx:pt>
          <cx:pt idx="86810">0</cx:pt>
          <cx:pt idx="86811">1</cx:pt>
          <cx:pt idx="86812">0</cx:pt>
          <cx:pt idx="86813">0</cx:pt>
          <cx:pt idx="86814">0</cx:pt>
          <cx:pt idx="86815">1</cx:pt>
          <cx:pt idx="86816">0</cx:pt>
          <cx:pt idx="86817">0</cx:pt>
          <cx:pt idx="86818">1</cx:pt>
          <cx:pt idx="86819">0</cx:pt>
          <cx:pt idx="86820">0</cx:pt>
          <cx:pt idx="86821">0</cx:pt>
          <cx:pt idx="86822">1</cx:pt>
          <cx:pt idx="86823">0</cx:pt>
          <cx:pt idx="86824">0</cx:pt>
          <cx:pt idx="86825">0</cx:pt>
          <cx:pt idx="86826">0</cx:pt>
          <cx:pt idx="86827">1</cx:pt>
          <cx:pt idx="86828">0</cx:pt>
          <cx:pt idx="86829">1</cx:pt>
          <cx:pt idx="86830">0</cx:pt>
          <cx:pt idx="86831">1</cx:pt>
          <cx:pt idx="86832">1</cx:pt>
          <cx:pt idx="86833">1</cx:pt>
          <cx:pt idx="86834">1</cx:pt>
          <cx:pt idx="86835">0</cx:pt>
          <cx:pt idx="86836">0</cx:pt>
          <cx:pt idx="86837">0</cx:pt>
          <cx:pt idx="86838">0</cx:pt>
          <cx:pt idx="86839">0</cx:pt>
          <cx:pt idx="86840">0</cx:pt>
          <cx:pt idx="86841">0</cx:pt>
          <cx:pt idx="86842">0</cx:pt>
          <cx:pt idx="86843">0</cx:pt>
          <cx:pt idx="86844">0</cx:pt>
          <cx:pt idx="86845">1</cx:pt>
          <cx:pt idx="86846">1</cx:pt>
          <cx:pt idx="86847">1</cx:pt>
          <cx:pt idx="86848">0</cx:pt>
          <cx:pt idx="86849">1</cx:pt>
          <cx:pt idx="86850">1</cx:pt>
          <cx:pt idx="86851">0</cx:pt>
          <cx:pt idx="86852">1</cx:pt>
          <cx:pt idx="86853">1</cx:pt>
          <cx:pt idx="86854">0</cx:pt>
          <cx:pt idx="86855">1</cx:pt>
          <cx:pt idx="86856">0</cx:pt>
          <cx:pt idx="86857">0</cx:pt>
          <cx:pt idx="86858">0</cx:pt>
          <cx:pt idx="86859">1</cx:pt>
          <cx:pt idx="86860">1</cx:pt>
          <cx:pt idx="86861">1</cx:pt>
          <cx:pt idx="86862">1</cx:pt>
          <cx:pt idx="86863">1</cx:pt>
          <cx:pt idx="86864">0</cx:pt>
          <cx:pt idx="86865">0</cx:pt>
          <cx:pt idx="86866">0</cx:pt>
          <cx:pt idx="86867">0</cx:pt>
          <cx:pt idx="86868">1</cx:pt>
          <cx:pt idx="86869">1</cx:pt>
          <cx:pt idx="86870">1</cx:pt>
          <cx:pt idx="86871">1</cx:pt>
          <cx:pt idx="86872">1</cx:pt>
          <cx:pt idx="86873">1</cx:pt>
          <cx:pt idx="86874">1</cx:pt>
          <cx:pt idx="86875">1</cx:pt>
          <cx:pt idx="86876">0</cx:pt>
          <cx:pt idx="86877">0</cx:pt>
          <cx:pt idx="86878">0</cx:pt>
          <cx:pt idx="86879">0</cx:pt>
          <cx:pt idx="86880">0</cx:pt>
          <cx:pt idx="86881">1</cx:pt>
          <cx:pt idx="86882">1</cx:pt>
          <cx:pt idx="86883">1</cx:pt>
          <cx:pt idx="86884">0</cx:pt>
          <cx:pt idx="86885">1</cx:pt>
          <cx:pt idx="86886">1</cx:pt>
          <cx:pt idx="86887">1</cx:pt>
          <cx:pt idx="86888">1</cx:pt>
          <cx:pt idx="86889">0</cx:pt>
          <cx:pt idx="86890">1</cx:pt>
          <cx:pt idx="86891">1</cx:pt>
          <cx:pt idx="86892">0</cx:pt>
          <cx:pt idx="86893">0</cx:pt>
          <cx:pt idx="86894">0</cx:pt>
          <cx:pt idx="86895">0</cx:pt>
          <cx:pt idx="86896">1</cx:pt>
          <cx:pt idx="86897">1</cx:pt>
          <cx:pt idx="86898">0</cx:pt>
          <cx:pt idx="86899">0</cx:pt>
          <cx:pt idx="86900">0</cx:pt>
          <cx:pt idx="86901">1</cx:pt>
          <cx:pt idx="86902">0</cx:pt>
          <cx:pt idx="86903">1</cx:pt>
          <cx:pt idx="86904">1</cx:pt>
          <cx:pt idx="86905">1</cx:pt>
          <cx:pt idx="86906">1</cx:pt>
          <cx:pt idx="86907">0</cx:pt>
          <cx:pt idx="86908">1</cx:pt>
          <cx:pt idx="86909">0</cx:pt>
          <cx:pt idx="86910">0</cx:pt>
          <cx:pt idx="86911">0</cx:pt>
          <cx:pt idx="86912">1</cx:pt>
          <cx:pt idx="86913">1</cx:pt>
          <cx:pt idx="86914">1</cx:pt>
          <cx:pt idx="86915">0</cx:pt>
          <cx:pt idx="86916">0</cx:pt>
          <cx:pt idx="86917">1</cx:pt>
          <cx:pt idx="86918">1</cx:pt>
          <cx:pt idx="86919">0</cx:pt>
          <cx:pt idx="86920">0</cx:pt>
          <cx:pt idx="86921">0</cx:pt>
          <cx:pt idx="86922">0</cx:pt>
          <cx:pt idx="86923">0</cx:pt>
          <cx:pt idx="86924">0</cx:pt>
          <cx:pt idx="86925">0</cx:pt>
          <cx:pt idx="86926">0</cx:pt>
          <cx:pt idx="86927">1</cx:pt>
          <cx:pt idx="86928">1</cx:pt>
          <cx:pt idx="86929">1</cx:pt>
          <cx:pt idx="86930">1</cx:pt>
          <cx:pt idx="86931">0</cx:pt>
          <cx:pt idx="86932">1</cx:pt>
          <cx:pt idx="86933">0</cx:pt>
          <cx:pt idx="86934">1</cx:pt>
          <cx:pt idx="86935">0</cx:pt>
          <cx:pt idx="86936">1</cx:pt>
          <cx:pt idx="86937">0</cx:pt>
          <cx:pt idx="86938">1</cx:pt>
          <cx:pt idx="86939">0</cx:pt>
          <cx:pt idx="86940">0</cx:pt>
          <cx:pt idx="86941">0</cx:pt>
          <cx:pt idx="86942">0</cx:pt>
          <cx:pt idx="86943">1</cx:pt>
          <cx:pt idx="86944">0</cx:pt>
          <cx:pt idx="86945">0</cx:pt>
          <cx:pt idx="86946">0</cx:pt>
          <cx:pt idx="86947">1</cx:pt>
          <cx:pt idx="86948">1</cx:pt>
          <cx:pt idx="86949">0</cx:pt>
          <cx:pt idx="86950">1</cx:pt>
          <cx:pt idx="86951">0</cx:pt>
          <cx:pt idx="86952">0</cx:pt>
          <cx:pt idx="86953">0</cx:pt>
          <cx:pt idx="86954">1</cx:pt>
          <cx:pt idx="86955">1</cx:pt>
          <cx:pt idx="86956">1</cx:pt>
          <cx:pt idx="86957">0</cx:pt>
          <cx:pt idx="86958">1</cx:pt>
          <cx:pt idx="86959">0</cx:pt>
          <cx:pt idx="86960">1</cx:pt>
          <cx:pt idx="86961">0</cx:pt>
          <cx:pt idx="86962">1</cx:pt>
          <cx:pt idx="86963">1</cx:pt>
          <cx:pt idx="86964">0</cx:pt>
          <cx:pt idx="86965">0</cx:pt>
          <cx:pt idx="86966">0</cx:pt>
          <cx:pt idx="86967">0</cx:pt>
          <cx:pt idx="86968">0</cx:pt>
          <cx:pt idx="86969">0</cx:pt>
          <cx:pt idx="86970">0</cx:pt>
          <cx:pt idx="86971">0</cx:pt>
          <cx:pt idx="86972">1</cx:pt>
          <cx:pt idx="86973">1</cx:pt>
          <cx:pt idx="86974">1</cx:pt>
          <cx:pt idx="86975">0</cx:pt>
          <cx:pt idx="86976">1</cx:pt>
          <cx:pt idx="86977">0</cx:pt>
          <cx:pt idx="86978">0</cx:pt>
          <cx:pt idx="86979">0</cx:pt>
          <cx:pt idx="86980">1</cx:pt>
          <cx:pt idx="86981">1</cx:pt>
          <cx:pt idx="86982">0</cx:pt>
          <cx:pt idx="86983">1</cx:pt>
          <cx:pt idx="86984">1</cx:pt>
          <cx:pt idx="86985">0</cx:pt>
          <cx:pt idx="86986">0</cx:pt>
          <cx:pt idx="86987">1</cx:pt>
          <cx:pt idx="86988">0</cx:pt>
          <cx:pt idx="86989">1</cx:pt>
          <cx:pt idx="86990">0</cx:pt>
          <cx:pt idx="86991">1</cx:pt>
          <cx:pt idx="86992">1</cx:pt>
          <cx:pt idx="86993">0</cx:pt>
          <cx:pt idx="86994">0</cx:pt>
          <cx:pt idx="86995">1</cx:pt>
          <cx:pt idx="86996">0</cx:pt>
          <cx:pt idx="86997">0</cx:pt>
          <cx:pt idx="86998">1</cx:pt>
          <cx:pt idx="86999">1</cx:pt>
          <cx:pt idx="87000">1</cx:pt>
          <cx:pt idx="87001">1</cx:pt>
          <cx:pt idx="87002">0</cx:pt>
          <cx:pt idx="87003">0</cx:pt>
          <cx:pt idx="87004">0</cx:pt>
          <cx:pt idx="87005">1</cx:pt>
          <cx:pt idx="87006">1</cx:pt>
          <cx:pt idx="87007">1</cx:pt>
          <cx:pt idx="87008">0</cx:pt>
          <cx:pt idx="87009">0</cx:pt>
          <cx:pt idx="87010">1</cx:pt>
          <cx:pt idx="87011">0</cx:pt>
          <cx:pt idx="87012">1</cx:pt>
          <cx:pt idx="87013">1</cx:pt>
          <cx:pt idx="87014">1</cx:pt>
          <cx:pt idx="87015">0</cx:pt>
          <cx:pt idx="87016">1</cx:pt>
          <cx:pt idx="87017">1</cx:pt>
          <cx:pt idx="87018">1</cx:pt>
          <cx:pt idx="87019">0</cx:pt>
          <cx:pt idx="87020">0</cx:pt>
          <cx:pt idx="87021">0</cx:pt>
          <cx:pt idx="87022">1</cx:pt>
          <cx:pt idx="87023">0</cx:pt>
          <cx:pt idx="87024">1</cx:pt>
          <cx:pt idx="87025">1</cx:pt>
          <cx:pt idx="87026">0</cx:pt>
          <cx:pt idx="87027">0</cx:pt>
          <cx:pt idx="87028">0</cx:pt>
          <cx:pt idx="87029">0</cx:pt>
          <cx:pt idx="87030">0</cx:pt>
          <cx:pt idx="87031">0</cx:pt>
          <cx:pt idx="87032">0</cx:pt>
          <cx:pt idx="87033">1</cx:pt>
          <cx:pt idx="87034">1</cx:pt>
          <cx:pt idx="87035">0</cx:pt>
          <cx:pt idx="87036">1</cx:pt>
          <cx:pt idx="87037">1</cx:pt>
          <cx:pt idx="87038">0</cx:pt>
          <cx:pt idx="87039">0</cx:pt>
          <cx:pt idx="87040">0</cx:pt>
          <cx:pt idx="87041">1</cx:pt>
          <cx:pt idx="87042">1</cx:pt>
          <cx:pt idx="87043">1</cx:pt>
          <cx:pt idx="87044">0</cx:pt>
          <cx:pt idx="87045">1</cx:pt>
          <cx:pt idx="87046">0</cx:pt>
          <cx:pt idx="87047">1</cx:pt>
          <cx:pt idx="87048">1</cx:pt>
          <cx:pt idx="87049">1</cx:pt>
          <cx:pt idx="87050">0</cx:pt>
          <cx:pt idx="87051">0</cx:pt>
          <cx:pt idx="87052">0</cx:pt>
          <cx:pt idx="87053">0</cx:pt>
          <cx:pt idx="87054">0</cx:pt>
          <cx:pt idx="87055">1</cx:pt>
          <cx:pt idx="87056">1</cx:pt>
          <cx:pt idx="87057">0</cx:pt>
          <cx:pt idx="87058">1</cx:pt>
          <cx:pt idx="87059">0</cx:pt>
          <cx:pt idx="87060">0</cx:pt>
          <cx:pt idx="87061">1</cx:pt>
          <cx:pt idx="87062">0</cx:pt>
          <cx:pt idx="87063">1</cx:pt>
          <cx:pt idx="87064">0</cx:pt>
          <cx:pt idx="87065">1</cx:pt>
          <cx:pt idx="87066">0</cx:pt>
          <cx:pt idx="87067">0</cx:pt>
          <cx:pt idx="87068">1</cx:pt>
          <cx:pt idx="87069">0</cx:pt>
          <cx:pt idx="87070">0</cx:pt>
          <cx:pt idx="87071">0</cx:pt>
          <cx:pt idx="87072">0</cx:pt>
          <cx:pt idx="87073">1</cx:pt>
          <cx:pt idx="87074">0</cx:pt>
          <cx:pt idx="87075">0</cx:pt>
          <cx:pt idx="87076">0</cx:pt>
          <cx:pt idx="87077">0</cx:pt>
          <cx:pt idx="87078">0</cx:pt>
          <cx:pt idx="87079">0</cx:pt>
          <cx:pt idx="87080">0</cx:pt>
          <cx:pt idx="87081">1</cx:pt>
          <cx:pt idx="87082">1</cx:pt>
          <cx:pt idx="87083">1</cx:pt>
          <cx:pt idx="87084">1</cx:pt>
          <cx:pt idx="87085">1</cx:pt>
          <cx:pt idx="87086">0</cx:pt>
          <cx:pt idx="87087">0</cx:pt>
          <cx:pt idx="87088">0</cx:pt>
          <cx:pt idx="87089">0</cx:pt>
          <cx:pt idx="87090">1</cx:pt>
          <cx:pt idx="87091">0</cx:pt>
          <cx:pt idx="87092">0</cx:pt>
          <cx:pt idx="87093">0</cx:pt>
          <cx:pt idx="87094">1</cx:pt>
          <cx:pt idx="87095">0</cx:pt>
          <cx:pt idx="87096">0</cx:pt>
          <cx:pt idx="87097">1</cx:pt>
          <cx:pt idx="87098">0</cx:pt>
          <cx:pt idx="87099">1</cx:pt>
          <cx:pt idx="87100">1</cx:pt>
          <cx:pt idx="87101">0</cx:pt>
          <cx:pt idx="87102">1</cx:pt>
          <cx:pt idx="87103">0</cx:pt>
          <cx:pt idx="87104">1</cx:pt>
          <cx:pt idx="87105">0</cx:pt>
          <cx:pt idx="87106">0</cx:pt>
          <cx:pt idx="87107">1</cx:pt>
          <cx:pt idx="87108">1</cx:pt>
          <cx:pt idx="87109">1</cx:pt>
          <cx:pt idx="87110">0</cx:pt>
          <cx:pt idx="87111">1</cx:pt>
          <cx:pt idx="87112">0</cx:pt>
          <cx:pt idx="87113">0</cx:pt>
          <cx:pt idx="87114">0</cx:pt>
          <cx:pt idx="87115">0</cx:pt>
          <cx:pt idx="87116">1</cx:pt>
          <cx:pt idx="87117">0</cx:pt>
          <cx:pt idx="87118">1</cx:pt>
          <cx:pt idx="87119">1</cx:pt>
          <cx:pt idx="87120">0</cx:pt>
          <cx:pt idx="87121">1</cx:pt>
          <cx:pt idx="87122">0</cx:pt>
          <cx:pt idx="87123">1</cx:pt>
          <cx:pt idx="87124">1</cx:pt>
          <cx:pt idx="87125">0</cx:pt>
          <cx:pt idx="87126">1</cx:pt>
          <cx:pt idx="87127">1</cx:pt>
          <cx:pt idx="87128">1</cx:pt>
          <cx:pt idx="87129">1</cx:pt>
          <cx:pt idx="87130">0</cx:pt>
          <cx:pt idx="87131">0</cx:pt>
          <cx:pt idx="87132">0</cx:pt>
          <cx:pt idx="87133">1</cx:pt>
          <cx:pt idx="87134">1</cx:pt>
          <cx:pt idx="87135">0</cx:pt>
          <cx:pt idx="87136">1</cx:pt>
          <cx:pt idx="87137">1</cx:pt>
          <cx:pt idx="87138">1</cx:pt>
          <cx:pt idx="87139">0</cx:pt>
          <cx:pt idx="87140">1</cx:pt>
          <cx:pt idx="87141">1</cx:pt>
          <cx:pt idx="87142">0</cx:pt>
          <cx:pt idx="87143">0</cx:pt>
          <cx:pt idx="87144">1</cx:pt>
          <cx:pt idx="87145">0</cx:pt>
          <cx:pt idx="87146">0</cx:pt>
          <cx:pt idx="87147">1</cx:pt>
          <cx:pt idx="87148">1</cx:pt>
          <cx:pt idx="87149">0</cx:pt>
          <cx:pt idx="87150">0</cx:pt>
          <cx:pt idx="87151">0</cx:pt>
          <cx:pt idx="87152">0</cx:pt>
          <cx:pt idx="87153">0</cx:pt>
          <cx:pt idx="87154">1</cx:pt>
          <cx:pt idx="87155">0</cx:pt>
          <cx:pt idx="87156">1</cx:pt>
          <cx:pt idx="87157">1</cx:pt>
          <cx:pt idx="87158">0</cx:pt>
          <cx:pt idx="87159">1</cx:pt>
          <cx:pt idx="87160">0</cx:pt>
          <cx:pt idx="87161">0</cx:pt>
          <cx:pt idx="87162">1</cx:pt>
          <cx:pt idx="87163">0</cx:pt>
          <cx:pt idx="87164">0</cx:pt>
          <cx:pt idx="87165">1</cx:pt>
          <cx:pt idx="87166">0</cx:pt>
          <cx:pt idx="87167">0</cx:pt>
          <cx:pt idx="87168">0</cx:pt>
          <cx:pt idx="87169">0</cx:pt>
          <cx:pt idx="87170">1</cx:pt>
          <cx:pt idx="87171">0</cx:pt>
          <cx:pt idx="87172">0</cx:pt>
          <cx:pt idx="87173">1</cx:pt>
          <cx:pt idx="87174">0</cx:pt>
          <cx:pt idx="87175">0</cx:pt>
          <cx:pt idx="87176">0</cx:pt>
          <cx:pt idx="87177">0</cx:pt>
          <cx:pt idx="87178">0</cx:pt>
          <cx:pt idx="87179">0</cx:pt>
          <cx:pt idx="87180">1</cx:pt>
          <cx:pt idx="87181">0</cx:pt>
          <cx:pt idx="87182">1</cx:pt>
          <cx:pt idx="87183">0</cx:pt>
          <cx:pt idx="87184">0</cx:pt>
          <cx:pt idx="87185">0</cx:pt>
          <cx:pt idx="87186">1</cx:pt>
          <cx:pt idx="87187">0</cx:pt>
          <cx:pt idx="87188">1</cx:pt>
          <cx:pt idx="87189">0</cx:pt>
          <cx:pt idx="87190">0</cx:pt>
          <cx:pt idx="87191">1</cx:pt>
          <cx:pt idx="87192">1</cx:pt>
          <cx:pt idx="87193">0</cx:pt>
          <cx:pt idx="87194">0</cx:pt>
          <cx:pt idx="87195">1</cx:pt>
          <cx:pt idx="87196">1</cx:pt>
          <cx:pt idx="87197">0</cx:pt>
          <cx:pt idx="87198">0</cx:pt>
          <cx:pt idx="87199">0</cx:pt>
          <cx:pt idx="87200">0</cx:pt>
          <cx:pt idx="87201">1</cx:pt>
          <cx:pt idx="87202">1</cx:pt>
          <cx:pt idx="87203">1</cx:pt>
          <cx:pt idx="87204">0</cx:pt>
          <cx:pt idx="87205">0</cx:pt>
          <cx:pt idx="87206">0</cx:pt>
          <cx:pt idx="87207">1</cx:pt>
          <cx:pt idx="87208">0</cx:pt>
          <cx:pt idx="87209">0</cx:pt>
          <cx:pt idx="87210">0</cx:pt>
          <cx:pt idx="87211">0</cx:pt>
          <cx:pt idx="87212">0</cx:pt>
          <cx:pt idx="87213">0</cx:pt>
          <cx:pt idx="87214">1</cx:pt>
          <cx:pt idx="87215">1</cx:pt>
          <cx:pt idx="87216">1</cx:pt>
          <cx:pt idx="87217">1</cx:pt>
          <cx:pt idx="87218">0</cx:pt>
          <cx:pt idx="87219">1</cx:pt>
          <cx:pt idx="87220">1</cx:pt>
          <cx:pt idx="87221">0</cx:pt>
          <cx:pt idx="87222">1</cx:pt>
          <cx:pt idx="87223">1</cx:pt>
          <cx:pt idx="87224">1</cx:pt>
          <cx:pt idx="87225">0</cx:pt>
          <cx:pt idx="87226">0</cx:pt>
          <cx:pt idx="87227">1</cx:pt>
          <cx:pt idx="87228">0</cx:pt>
          <cx:pt idx="87229">1</cx:pt>
          <cx:pt idx="87230">0</cx:pt>
          <cx:pt idx="87231">0</cx:pt>
          <cx:pt idx="87232">1</cx:pt>
          <cx:pt idx="87233">1</cx:pt>
          <cx:pt idx="87234">1</cx:pt>
          <cx:pt idx="87235">0</cx:pt>
          <cx:pt idx="87236">0</cx:pt>
          <cx:pt idx="87237">1</cx:pt>
          <cx:pt idx="87238">1</cx:pt>
          <cx:pt idx="87239">1</cx:pt>
          <cx:pt idx="87240">1</cx:pt>
          <cx:pt idx="87241">0</cx:pt>
          <cx:pt idx="87242">0</cx:pt>
          <cx:pt idx="87243">0</cx:pt>
          <cx:pt idx="87244">1</cx:pt>
          <cx:pt idx="87245">1</cx:pt>
          <cx:pt idx="87246">0</cx:pt>
          <cx:pt idx="87247">1</cx:pt>
          <cx:pt idx="87248">0</cx:pt>
          <cx:pt idx="87249">0</cx:pt>
          <cx:pt idx="87250">0</cx:pt>
          <cx:pt idx="87251">0</cx:pt>
          <cx:pt idx="87252">0</cx:pt>
          <cx:pt idx="87253">0</cx:pt>
          <cx:pt idx="87254">0</cx:pt>
          <cx:pt idx="87255">1</cx:pt>
          <cx:pt idx="87256">0</cx:pt>
          <cx:pt idx="87257">0</cx:pt>
          <cx:pt idx="87258">0</cx:pt>
          <cx:pt idx="87259">1</cx:pt>
          <cx:pt idx="87260">0</cx:pt>
          <cx:pt idx="87261">0</cx:pt>
          <cx:pt idx="87262">1</cx:pt>
          <cx:pt idx="87263">0</cx:pt>
          <cx:pt idx="87264">0</cx:pt>
          <cx:pt idx="87265">0</cx:pt>
          <cx:pt idx="87266">0</cx:pt>
          <cx:pt idx="87267">0</cx:pt>
          <cx:pt idx="87268">1</cx:pt>
          <cx:pt idx="87269">1</cx:pt>
          <cx:pt idx="87270">1</cx:pt>
          <cx:pt idx="87271">0</cx:pt>
          <cx:pt idx="87272">0</cx:pt>
          <cx:pt idx="87273">0</cx:pt>
          <cx:pt idx="87274">1</cx:pt>
          <cx:pt idx="87275">0</cx:pt>
          <cx:pt idx="87276">0</cx:pt>
          <cx:pt idx="87277">1</cx:pt>
          <cx:pt idx="87278">0</cx:pt>
          <cx:pt idx="87279">0</cx:pt>
          <cx:pt idx="87280">0</cx:pt>
          <cx:pt idx="87281">0</cx:pt>
          <cx:pt idx="87282">0</cx:pt>
          <cx:pt idx="87283">0</cx:pt>
          <cx:pt idx="87284">0</cx:pt>
          <cx:pt idx="87285">0</cx:pt>
          <cx:pt idx="87286">0</cx:pt>
          <cx:pt idx="87287">0</cx:pt>
          <cx:pt idx="87288">0</cx:pt>
          <cx:pt idx="87289">0</cx:pt>
          <cx:pt idx="87290">1</cx:pt>
          <cx:pt idx="87291">0</cx:pt>
          <cx:pt idx="87292">0</cx:pt>
          <cx:pt idx="87293">1</cx:pt>
          <cx:pt idx="87294">0</cx:pt>
          <cx:pt idx="87295">0</cx:pt>
          <cx:pt idx="87296">0</cx:pt>
          <cx:pt idx="87297">1</cx:pt>
          <cx:pt idx="87298">0</cx:pt>
          <cx:pt idx="87299">0</cx:pt>
          <cx:pt idx="87300">1</cx:pt>
          <cx:pt idx="87301">1</cx:pt>
          <cx:pt idx="87302">1</cx:pt>
          <cx:pt idx="87303">0</cx:pt>
          <cx:pt idx="87304">0</cx:pt>
          <cx:pt idx="87305">0</cx:pt>
          <cx:pt idx="87306">0</cx:pt>
          <cx:pt idx="87307">0</cx:pt>
          <cx:pt idx="87308">1</cx:pt>
          <cx:pt idx="87309">1</cx:pt>
          <cx:pt idx="87310">1</cx:pt>
          <cx:pt idx="87311">1</cx:pt>
          <cx:pt idx="87312">0</cx:pt>
          <cx:pt idx="87313">0</cx:pt>
          <cx:pt idx="87314">0</cx:pt>
          <cx:pt idx="87315">0</cx:pt>
          <cx:pt idx="87316">0</cx:pt>
          <cx:pt idx="87317">1</cx:pt>
          <cx:pt idx="87318">1</cx:pt>
          <cx:pt idx="87319">1</cx:pt>
          <cx:pt idx="87320">0</cx:pt>
          <cx:pt idx="87321">0</cx:pt>
          <cx:pt idx="87322">0</cx:pt>
          <cx:pt idx="87323">0</cx:pt>
          <cx:pt idx="87324">1</cx:pt>
          <cx:pt idx="87325">0</cx:pt>
          <cx:pt idx="87326">0</cx:pt>
          <cx:pt idx="87327">0</cx:pt>
          <cx:pt idx="87328">1</cx:pt>
          <cx:pt idx="87329">0</cx:pt>
          <cx:pt idx="87330">0</cx:pt>
          <cx:pt idx="87331">1</cx:pt>
          <cx:pt idx="87332">1</cx:pt>
          <cx:pt idx="87333">0</cx:pt>
          <cx:pt idx="87334">0</cx:pt>
          <cx:pt idx="87335">0</cx:pt>
          <cx:pt idx="87336">0</cx:pt>
          <cx:pt idx="87337">1</cx:pt>
          <cx:pt idx="87338">1</cx:pt>
          <cx:pt idx="87339">0</cx:pt>
          <cx:pt idx="87340">0</cx:pt>
          <cx:pt idx="87341">0</cx:pt>
          <cx:pt idx="87342">0</cx:pt>
          <cx:pt idx="87343">0</cx:pt>
          <cx:pt idx="87344">0</cx:pt>
          <cx:pt idx="87345">0</cx:pt>
          <cx:pt idx="87346">1</cx:pt>
          <cx:pt idx="87347">0</cx:pt>
          <cx:pt idx="87348">1</cx:pt>
          <cx:pt idx="87349">0</cx:pt>
          <cx:pt idx="87350">0</cx:pt>
          <cx:pt idx="87351">1</cx:pt>
          <cx:pt idx="87352">0</cx:pt>
          <cx:pt idx="87353">0</cx:pt>
          <cx:pt idx="87354">0</cx:pt>
          <cx:pt idx="87355">0</cx:pt>
          <cx:pt idx="87356">0</cx:pt>
          <cx:pt idx="87357">1</cx:pt>
          <cx:pt idx="87358">0</cx:pt>
          <cx:pt idx="87359">1</cx:pt>
          <cx:pt idx="87360">0</cx:pt>
          <cx:pt idx="87361">0</cx:pt>
          <cx:pt idx="87362">1</cx:pt>
          <cx:pt idx="87363">0</cx:pt>
          <cx:pt idx="87364">1</cx:pt>
          <cx:pt idx="87365">1</cx:pt>
          <cx:pt idx="87366">0</cx:pt>
          <cx:pt idx="87367">1</cx:pt>
          <cx:pt idx="87368">0</cx:pt>
          <cx:pt idx="87369">1</cx:pt>
          <cx:pt idx="87370">0</cx:pt>
          <cx:pt idx="87371">0</cx:pt>
          <cx:pt idx="87372">0</cx:pt>
          <cx:pt idx="87373">0</cx:pt>
          <cx:pt idx="87374">0</cx:pt>
          <cx:pt idx="87375">1</cx:pt>
          <cx:pt idx="87376">0</cx:pt>
          <cx:pt idx="87377">1</cx:pt>
          <cx:pt idx="87378">1</cx:pt>
          <cx:pt idx="87379">1</cx:pt>
          <cx:pt idx="87380">0</cx:pt>
          <cx:pt idx="87381">1</cx:pt>
          <cx:pt idx="87382">0</cx:pt>
          <cx:pt idx="87383">0</cx:pt>
          <cx:pt idx="87384">1</cx:pt>
          <cx:pt idx="87385">0</cx:pt>
          <cx:pt idx="87386">0</cx:pt>
          <cx:pt idx="87387">0</cx:pt>
          <cx:pt idx="87388">1</cx:pt>
          <cx:pt idx="87389">0</cx:pt>
          <cx:pt idx="87390">0</cx:pt>
          <cx:pt idx="87391">1</cx:pt>
          <cx:pt idx="87392">0</cx:pt>
          <cx:pt idx="87393">1</cx:pt>
          <cx:pt idx="87394">0</cx:pt>
          <cx:pt idx="87395">0</cx:pt>
          <cx:pt idx="87396">0</cx:pt>
          <cx:pt idx="87397">1</cx:pt>
          <cx:pt idx="87398">1</cx:pt>
          <cx:pt idx="87399">0</cx:pt>
          <cx:pt idx="87400">0</cx:pt>
          <cx:pt idx="87401">1</cx:pt>
          <cx:pt idx="87402">1</cx:pt>
          <cx:pt idx="87403">0</cx:pt>
          <cx:pt idx="87404">0</cx:pt>
          <cx:pt idx="87405">1</cx:pt>
          <cx:pt idx="87406">0</cx:pt>
          <cx:pt idx="87407">0</cx:pt>
          <cx:pt idx="87408">0</cx:pt>
          <cx:pt idx="87409">0</cx:pt>
          <cx:pt idx="87410">0</cx:pt>
          <cx:pt idx="87411">0</cx:pt>
          <cx:pt idx="87412">0</cx:pt>
          <cx:pt idx="87413">1</cx:pt>
          <cx:pt idx="87414">1</cx:pt>
          <cx:pt idx="87415">0</cx:pt>
          <cx:pt idx="87416">1</cx:pt>
          <cx:pt idx="87417">1</cx:pt>
          <cx:pt idx="87418">1</cx:pt>
          <cx:pt idx="87419">1</cx:pt>
          <cx:pt idx="87420">1</cx:pt>
          <cx:pt idx="87421">0</cx:pt>
          <cx:pt idx="87422">0</cx:pt>
          <cx:pt idx="87423">1</cx:pt>
          <cx:pt idx="87424">1</cx:pt>
          <cx:pt idx="87425">1</cx:pt>
          <cx:pt idx="87426">1</cx:pt>
          <cx:pt idx="87427">1</cx:pt>
          <cx:pt idx="87428">1</cx:pt>
          <cx:pt idx="87429">1</cx:pt>
          <cx:pt idx="87430">1</cx:pt>
          <cx:pt idx="87431">0</cx:pt>
          <cx:pt idx="87432">0</cx:pt>
          <cx:pt idx="87433">1</cx:pt>
          <cx:pt idx="87434">1</cx:pt>
          <cx:pt idx="87435">0</cx:pt>
          <cx:pt idx="87436">1</cx:pt>
          <cx:pt idx="87437">1</cx:pt>
          <cx:pt idx="87438">0</cx:pt>
          <cx:pt idx="87439">1</cx:pt>
          <cx:pt idx="87440">1</cx:pt>
          <cx:pt idx="87441">0</cx:pt>
          <cx:pt idx="87442">0</cx:pt>
          <cx:pt idx="87443">0</cx:pt>
          <cx:pt idx="87444">1</cx:pt>
          <cx:pt idx="87445">1</cx:pt>
          <cx:pt idx="87446">1</cx:pt>
          <cx:pt idx="87447">1</cx:pt>
          <cx:pt idx="87448">0</cx:pt>
          <cx:pt idx="87449">0</cx:pt>
          <cx:pt idx="87450">1</cx:pt>
          <cx:pt idx="87451">0</cx:pt>
          <cx:pt idx="87452">1</cx:pt>
          <cx:pt idx="87453">0</cx:pt>
          <cx:pt idx="87454">0</cx:pt>
          <cx:pt idx="87455">0</cx:pt>
          <cx:pt idx="87456">1</cx:pt>
          <cx:pt idx="87457">0</cx:pt>
          <cx:pt idx="87458">0</cx:pt>
          <cx:pt idx="87459">0</cx:pt>
          <cx:pt idx="87460">0</cx:pt>
          <cx:pt idx="87461">0</cx:pt>
          <cx:pt idx="87462">1</cx:pt>
          <cx:pt idx="87463">1</cx:pt>
          <cx:pt idx="87464">1</cx:pt>
          <cx:pt idx="87465">1</cx:pt>
          <cx:pt idx="87466">1</cx:pt>
          <cx:pt idx="87467">1</cx:pt>
          <cx:pt idx="87468">0</cx:pt>
          <cx:pt idx="87469">0</cx:pt>
          <cx:pt idx="87470">1</cx:pt>
          <cx:pt idx="87471">0</cx:pt>
          <cx:pt idx="87472">0</cx:pt>
          <cx:pt idx="87473">1</cx:pt>
          <cx:pt idx="87474">0</cx:pt>
          <cx:pt idx="87475">1</cx:pt>
          <cx:pt idx="87476">1</cx:pt>
          <cx:pt idx="87477">1</cx:pt>
          <cx:pt idx="87478">1</cx:pt>
          <cx:pt idx="87479">0</cx:pt>
          <cx:pt idx="87480">0</cx:pt>
          <cx:pt idx="87481">1</cx:pt>
          <cx:pt idx="87482">0</cx:pt>
          <cx:pt idx="87483">0</cx:pt>
          <cx:pt idx="87484">1</cx:pt>
          <cx:pt idx="87485">1</cx:pt>
          <cx:pt idx="87486">0</cx:pt>
          <cx:pt idx="87487">0</cx:pt>
          <cx:pt idx="87488">0</cx:pt>
          <cx:pt idx="87489">1</cx:pt>
          <cx:pt idx="87490">1</cx:pt>
          <cx:pt idx="87491">1</cx:pt>
          <cx:pt idx="87492">0</cx:pt>
          <cx:pt idx="87493">1</cx:pt>
          <cx:pt idx="87494">0</cx:pt>
          <cx:pt idx="87495">1</cx:pt>
          <cx:pt idx="87496">0</cx:pt>
          <cx:pt idx="87497">0</cx:pt>
          <cx:pt idx="87498">0</cx:pt>
          <cx:pt idx="87499">0</cx:pt>
          <cx:pt idx="87500">0</cx:pt>
          <cx:pt idx="87501">0</cx:pt>
          <cx:pt idx="87502">1</cx:pt>
          <cx:pt idx="87503">1</cx:pt>
          <cx:pt idx="87504">0</cx:pt>
          <cx:pt idx="87505">1</cx:pt>
          <cx:pt idx="87506">1</cx:pt>
          <cx:pt idx="87507">0</cx:pt>
          <cx:pt idx="87508">0</cx:pt>
          <cx:pt idx="87509">0</cx:pt>
          <cx:pt idx="87510">1</cx:pt>
          <cx:pt idx="87511">0</cx:pt>
          <cx:pt idx="87512">1</cx:pt>
          <cx:pt idx="87513">1</cx:pt>
          <cx:pt idx="87514">0</cx:pt>
          <cx:pt idx="87515">1</cx:pt>
          <cx:pt idx="87516">0</cx:pt>
          <cx:pt idx="87517">1</cx:pt>
          <cx:pt idx="87518">0</cx:pt>
          <cx:pt idx="87519">1</cx:pt>
          <cx:pt idx="87520">0</cx:pt>
          <cx:pt idx="87521">0</cx:pt>
          <cx:pt idx="87522">0</cx:pt>
          <cx:pt idx="87523">0</cx:pt>
          <cx:pt idx="87524">1</cx:pt>
          <cx:pt idx="87525">1</cx:pt>
          <cx:pt idx="87526">0</cx:pt>
          <cx:pt idx="87527">0</cx:pt>
          <cx:pt idx="87528">1</cx:pt>
          <cx:pt idx="87529">1</cx:pt>
          <cx:pt idx="87530">1</cx:pt>
          <cx:pt idx="87531">1</cx:pt>
          <cx:pt idx="87532">0</cx:pt>
          <cx:pt idx="87533">1</cx:pt>
          <cx:pt idx="87534">1</cx:pt>
          <cx:pt idx="87535">0</cx:pt>
          <cx:pt idx="87536">1</cx:pt>
          <cx:pt idx="87537">1</cx:pt>
          <cx:pt idx="87538">0</cx:pt>
          <cx:pt idx="87539">1</cx:pt>
          <cx:pt idx="87540">1</cx:pt>
          <cx:pt idx="87541">0</cx:pt>
          <cx:pt idx="87542">0</cx:pt>
          <cx:pt idx="87543">0</cx:pt>
          <cx:pt idx="87544">1</cx:pt>
          <cx:pt idx="87545">0</cx:pt>
          <cx:pt idx="87546">0</cx:pt>
          <cx:pt idx="87547">0</cx:pt>
          <cx:pt idx="87548">1</cx:pt>
          <cx:pt idx="87549">0</cx:pt>
          <cx:pt idx="87550">1</cx:pt>
          <cx:pt idx="87551">0</cx:pt>
          <cx:pt idx="87552">0</cx:pt>
          <cx:pt idx="87553">0</cx:pt>
          <cx:pt idx="87554">1</cx:pt>
          <cx:pt idx="87555">1</cx:pt>
          <cx:pt idx="87556">0</cx:pt>
          <cx:pt idx="87557">0</cx:pt>
          <cx:pt idx="87558">1</cx:pt>
          <cx:pt idx="87559">0</cx:pt>
          <cx:pt idx="87560">0</cx:pt>
          <cx:pt idx="87561">0</cx:pt>
          <cx:pt idx="87562">0</cx:pt>
          <cx:pt idx="87563">1</cx:pt>
          <cx:pt idx="87564">0</cx:pt>
          <cx:pt idx="87565">0</cx:pt>
          <cx:pt idx="87566">1</cx:pt>
          <cx:pt idx="87567">0</cx:pt>
          <cx:pt idx="87568">1</cx:pt>
          <cx:pt idx="87569">1</cx:pt>
          <cx:pt idx="87570">0</cx:pt>
          <cx:pt idx="87571">0</cx:pt>
          <cx:pt idx="87572">0</cx:pt>
          <cx:pt idx="87573">0</cx:pt>
          <cx:pt idx="87574">1</cx:pt>
          <cx:pt idx="87575">0</cx:pt>
          <cx:pt idx="87576">1</cx:pt>
          <cx:pt idx="87577">0</cx:pt>
          <cx:pt idx="87578">1</cx:pt>
          <cx:pt idx="87579">0</cx:pt>
          <cx:pt idx="87580">1</cx:pt>
          <cx:pt idx="87581">0</cx:pt>
          <cx:pt idx="87582">1</cx:pt>
          <cx:pt idx="87583">1</cx:pt>
          <cx:pt idx="87584">1</cx:pt>
          <cx:pt idx="87585">0</cx:pt>
          <cx:pt idx="87586">0</cx:pt>
          <cx:pt idx="87587">0</cx:pt>
          <cx:pt idx="87588">0</cx:pt>
          <cx:pt idx="87589">1</cx:pt>
          <cx:pt idx="87590">0</cx:pt>
          <cx:pt idx="87591">1</cx:pt>
          <cx:pt idx="87592">0</cx:pt>
          <cx:pt idx="87593">0</cx:pt>
          <cx:pt idx="87594">0</cx:pt>
          <cx:pt idx="87595">1</cx:pt>
          <cx:pt idx="87596">0</cx:pt>
          <cx:pt idx="87597">0</cx:pt>
          <cx:pt idx="87598">0</cx:pt>
          <cx:pt idx="87599">1</cx:pt>
          <cx:pt idx="87600">0</cx:pt>
          <cx:pt idx="87601">1</cx:pt>
          <cx:pt idx="87602">0</cx:pt>
          <cx:pt idx="87603">0</cx:pt>
          <cx:pt idx="87604">0</cx:pt>
          <cx:pt idx="87605">0</cx:pt>
          <cx:pt idx="87606">0</cx:pt>
          <cx:pt idx="87607">1</cx:pt>
          <cx:pt idx="87608">1</cx:pt>
          <cx:pt idx="87609">1</cx:pt>
          <cx:pt idx="87610">0</cx:pt>
          <cx:pt idx="87611">0</cx:pt>
          <cx:pt idx="87612">1</cx:pt>
          <cx:pt idx="87613">0</cx:pt>
          <cx:pt idx="87614">0</cx:pt>
          <cx:pt idx="87615">0</cx:pt>
          <cx:pt idx="87616">0</cx:pt>
          <cx:pt idx="87617">0</cx:pt>
          <cx:pt idx="87618">1</cx:pt>
          <cx:pt idx="87619">1</cx:pt>
          <cx:pt idx="87620">1</cx:pt>
          <cx:pt idx="87621">0</cx:pt>
          <cx:pt idx="87622">0</cx:pt>
          <cx:pt idx="87623">1</cx:pt>
          <cx:pt idx="87624">1</cx:pt>
          <cx:pt idx="87625">0</cx:pt>
          <cx:pt idx="87626">0</cx:pt>
          <cx:pt idx="87627">1</cx:pt>
          <cx:pt idx="87628">0</cx:pt>
          <cx:pt idx="87629">1</cx:pt>
          <cx:pt idx="87630">0</cx:pt>
          <cx:pt idx="87631">0</cx:pt>
          <cx:pt idx="87632">1</cx:pt>
          <cx:pt idx="87633">0</cx:pt>
          <cx:pt idx="87634">1</cx:pt>
          <cx:pt idx="87635">0</cx:pt>
          <cx:pt idx="87636">0</cx:pt>
          <cx:pt idx="87637">1</cx:pt>
          <cx:pt idx="87638">1</cx:pt>
          <cx:pt idx="87639">0</cx:pt>
          <cx:pt idx="87640">0</cx:pt>
          <cx:pt idx="87641">0</cx:pt>
          <cx:pt idx="87642">0</cx:pt>
          <cx:pt idx="87643">1</cx:pt>
          <cx:pt idx="87644">1</cx:pt>
          <cx:pt idx="87645">0</cx:pt>
          <cx:pt idx="87646">0</cx:pt>
          <cx:pt idx="87647">1</cx:pt>
          <cx:pt idx="87648">0</cx:pt>
          <cx:pt idx="87649">0</cx:pt>
          <cx:pt idx="87650">1</cx:pt>
          <cx:pt idx="87651">0</cx:pt>
          <cx:pt idx="87652">0</cx:pt>
          <cx:pt idx="87653">0</cx:pt>
          <cx:pt idx="87654">0</cx:pt>
          <cx:pt idx="87655">0</cx:pt>
          <cx:pt idx="87656">0</cx:pt>
          <cx:pt idx="87657">1</cx:pt>
          <cx:pt idx="87658">1</cx:pt>
          <cx:pt idx="87659">1</cx:pt>
          <cx:pt idx="87660">1</cx:pt>
          <cx:pt idx="87661">0</cx:pt>
          <cx:pt idx="87662">0</cx:pt>
          <cx:pt idx="87663">0</cx:pt>
          <cx:pt idx="87664">0</cx:pt>
          <cx:pt idx="87665">1</cx:pt>
          <cx:pt idx="87666">0</cx:pt>
          <cx:pt idx="87667">1</cx:pt>
          <cx:pt idx="87668">0</cx:pt>
          <cx:pt idx="87669">1</cx:pt>
          <cx:pt idx="87670">0</cx:pt>
          <cx:pt idx="87671">0</cx:pt>
          <cx:pt idx="87672">0</cx:pt>
          <cx:pt idx="87673">1</cx:pt>
          <cx:pt idx="87674">0</cx:pt>
          <cx:pt idx="87675">0</cx:pt>
          <cx:pt idx="87676">0</cx:pt>
          <cx:pt idx="87677">1</cx:pt>
          <cx:pt idx="87678">1</cx:pt>
          <cx:pt idx="87679">0</cx:pt>
          <cx:pt idx="87680">0</cx:pt>
          <cx:pt idx="87681">1</cx:pt>
          <cx:pt idx="87682">1</cx:pt>
          <cx:pt idx="87683">1</cx:pt>
          <cx:pt idx="87684">1</cx:pt>
          <cx:pt idx="87685">0</cx:pt>
          <cx:pt idx="87686">0</cx:pt>
          <cx:pt idx="87687">0</cx:pt>
          <cx:pt idx="87688">0</cx:pt>
          <cx:pt idx="87689">0</cx:pt>
          <cx:pt idx="87690">1</cx:pt>
          <cx:pt idx="87691">0</cx:pt>
          <cx:pt idx="87692">0</cx:pt>
          <cx:pt idx="87693">1</cx:pt>
          <cx:pt idx="87694">0</cx:pt>
          <cx:pt idx="87695">0</cx:pt>
          <cx:pt idx="87696">1</cx:pt>
          <cx:pt idx="87697">0</cx:pt>
          <cx:pt idx="87698">0</cx:pt>
          <cx:pt idx="87699">1</cx:pt>
          <cx:pt idx="87700">0</cx:pt>
          <cx:pt idx="87701">0</cx:pt>
          <cx:pt idx="87702">0</cx:pt>
          <cx:pt idx="87703">0</cx:pt>
          <cx:pt idx="87704">0</cx:pt>
          <cx:pt idx="87705">1</cx:pt>
          <cx:pt idx="87706">1</cx:pt>
          <cx:pt idx="87707">0</cx:pt>
          <cx:pt idx="87708">1</cx:pt>
          <cx:pt idx="87709">0</cx:pt>
          <cx:pt idx="87710">1</cx:pt>
          <cx:pt idx="87711">0</cx:pt>
          <cx:pt idx="87712">1</cx:pt>
          <cx:pt idx="87713">1</cx:pt>
          <cx:pt idx="87714">1</cx:pt>
          <cx:pt idx="87715">0</cx:pt>
          <cx:pt idx="87716">0</cx:pt>
          <cx:pt idx="87717">0</cx:pt>
          <cx:pt idx="87718">0</cx:pt>
          <cx:pt idx="87719">1</cx:pt>
          <cx:pt idx="87720">0</cx:pt>
          <cx:pt idx="87721">1</cx:pt>
          <cx:pt idx="87722">0</cx:pt>
          <cx:pt idx="87723">0</cx:pt>
          <cx:pt idx="87724">0</cx:pt>
          <cx:pt idx="87725">1</cx:pt>
          <cx:pt idx="87726">1</cx:pt>
          <cx:pt idx="87727">0</cx:pt>
          <cx:pt idx="87728">1</cx:pt>
          <cx:pt idx="87729">1</cx:pt>
          <cx:pt idx="87730">1</cx:pt>
          <cx:pt idx="87731">0</cx:pt>
          <cx:pt idx="87732">1</cx:pt>
          <cx:pt idx="87733">1</cx:pt>
          <cx:pt idx="87734">1</cx:pt>
          <cx:pt idx="87735">0</cx:pt>
          <cx:pt idx="87736">0</cx:pt>
          <cx:pt idx="87737">1</cx:pt>
          <cx:pt idx="87738">0</cx:pt>
          <cx:pt idx="87739">0</cx:pt>
          <cx:pt idx="87740">0</cx:pt>
          <cx:pt idx="87741">1</cx:pt>
          <cx:pt idx="87742">1</cx:pt>
          <cx:pt idx="87743">1</cx:pt>
          <cx:pt idx="87744">0</cx:pt>
          <cx:pt idx="87745">0</cx:pt>
          <cx:pt idx="87746">1</cx:pt>
          <cx:pt idx="87747">0</cx:pt>
          <cx:pt idx="87748">1</cx:pt>
          <cx:pt idx="87749">0</cx:pt>
          <cx:pt idx="87750">0</cx:pt>
          <cx:pt idx="87751">0</cx:pt>
          <cx:pt idx="87752">0</cx:pt>
          <cx:pt idx="87753">1</cx:pt>
          <cx:pt idx="87754">0</cx:pt>
          <cx:pt idx="87755">1</cx:pt>
          <cx:pt idx="87756">0</cx:pt>
          <cx:pt idx="87757">0</cx:pt>
          <cx:pt idx="87758">0</cx:pt>
          <cx:pt idx="87759">1</cx:pt>
          <cx:pt idx="87760">1</cx:pt>
          <cx:pt idx="87761">1</cx:pt>
          <cx:pt idx="87762">0</cx:pt>
          <cx:pt idx="87763">0</cx:pt>
          <cx:pt idx="87764">1</cx:pt>
          <cx:pt idx="87765">1</cx:pt>
          <cx:pt idx="87766">1</cx:pt>
          <cx:pt idx="87767">0</cx:pt>
          <cx:pt idx="87768">0</cx:pt>
          <cx:pt idx="87769">1</cx:pt>
          <cx:pt idx="87770">1</cx:pt>
          <cx:pt idx="87771">1</cx:pt>
          <cx:pt idx="87772">0</cx:pt>
          <cx:pt idx="87773">1</cx:pt>
          <cx:pt idx="87774">1</cx:pt>
          <cx:pt idx="87775">0</cx:pt>
          <cx:pt idx="87776">0</cx:pt>
          <cx:pt idx="87777">0</cx:pt>
          <cx:pt idx="87778">0</cx:pt>
          <cx:pt idx="87779">0</cx:pt>
          <cx:pt idx="87780">0</cx:pt>
          <cx:pt idx="87781">0</cx:pt>
          <cx:pt idx="87782">0</cx:pt>
          <cx:pt idx="87783">0</cx:pt>
          <cx:pt idx="87784">1</cx:pt>
          <cx:pt idx="87785">1</cx:pt>
          <cx:pt idx="87786">1</cx:pt>
          <cx:pt idx="87787">1</cx:pt>
          <cx:pt idx="87788">1</cx:pt>
          <cx:pt idx="87789">1</cx:pt>
          <cx:pt idx="87790">0</cx:pt>
          <cx:pt idx="87791">1</cx:pt>
          <cx:pt idx="87792">0</cx:pt>
          <cx:pt idx="87793">1</cx:pt>
          <cx:pt idx="87794">0</cx:pt>
          <cx:pt idx="87795">1</cx:pt>
          <cx:pt idx="87796">0</cx:pt>
          <cx:pt idx="87797">1</cx:pt>
          <cx:pt idx="87798">0</cx:pt>
          <cx:pt idx="87799">0</cx:pt>
          <cx:pt idx="87800">1</cx:pt>
          <cx:pt idx="87801">0</cx:pt>
          <cx:pt idx="87802">0</cx:pt>
          <cx:pt idx="87803">0</cx:pt>
          <cx:pt idx="87804">1</cx:pt>
          <cx:pt idx="87805">0</cx:pt>
          <cx:pt idx="87806">1</cx:pt>
          <cx:pt idx="87807">0</cx:pt>
          <cx:pt idx="87808">0</cx:pt>
          <cx:pt idx="87809">1</cx:pt>
          <cx:pt idx="87810">0</cx:pt>
          <cx:pt idx="87811">1</cx:pt>
          <cx:pt idx="87812">1</cx:pt>
          <cx:pt idx="87813">0</cx:pt>
          <cx:pt idx="87814">0</cx:pt>
          <cx:pt idx="87815">0</cx:pt>
          <cx:pt idx="87816">0</cx:pt>
          <cx:pt idx="87817">0</cx:pt>
          <cx:pt idx="87818">0</cx:pt>
          <cx:pt idx="87819">1</cx:pt>
          <cx:pt idx="87820">1</cx:pt>
          <cx:pt idx="87821">1</cx:pt>
          <cx:pt idx="87822">1</cx:pt>
          <cx:pt idx="87823">1</cx:pt>
          <cx:pt idx="87824">1</cx:pt>
          <cx:pt idx="87825">0</cx:pt>
          <cx:pt idx="87826">0</cx:pt>
          <cx:pt idx="87827">0</cx:pt>
          <cx:pt idx="87828">0</cx:pt>
          <cx:pt idx="87829">1</cx:pt>
          <cx:pt idx="87830">1</cx:pt>
          <cx:pt idx="87831">1</cx:pt>
          <cx:pt idx="87832">0</cx:pt>
          <cx:pt idx="87833">0</cx:pt>
          <cx:pt idx="87834">1</cx:pt>
          <cx:pt idx="87835">1</cx:pt>
          <cx:pt idx="87836">0</cx:pt>
          <cx:pt idx="87837">0</cx:pt>
          <cx:pt idx="87838">1</cx:pt>
          <cx:pt idx="87839">0</cx:pt>
          <cx:pt idx="87840">0</cx:pt>
          <cx:pt idx="87841">0</cx:pt>
          <cx:pt idx="87842">0</cx:pt>
          <cx:pt idx="87843">1</cx:pt>
          <cx:pt idx="87844">1</cx:pt>
          <cx:pt idx="87845">1</cx:pt>
          <cx:pt idx="87846">0</cx:pt>
          <cx:pt idx="87847">0</cx:pt>
          <cx:pt idx="87848">0</cx:pt>
          <cx:pt idx="87849">0</cx:pt>
          <cx:pt idx="87850">1</cx:pt>
          <cx:pt idx="87851">0</cx:pt>
          <cx:pt idx="87852">0</cx:pt>
          <cx:pt idx="87853">1</cx:pt>
          <cx:pt idx="87854">0</cx:pt>
          <cx:pt idx="87855">0</cx:pt>
          <cx:pt idx="87856">0</cx:pt>
          <cx:pt idx="87857">1</cx:pt>
          <cx:pt idx="87858">1</cx:pt>
          <cx:pt idx="87859">1</cx:pt>
          <cx:pt idx="87860">1</cx:pt>
          <cx:pt idx="87861">1</cx:pt>
          <cx:pt idx="87862">1</cx:pt>
          <cx:pt idx="87863">1</cx:pt>
          <cx:pt idx="87864">0</cx:pt>
          <cx:pt idx="87865">1</cx:pt>
          <cx:pt idx="87866">0</cx:pt>
          <cx:pt idx="87867">1</cx:pt>
          <cx:pt idx="87868">1</cx:pt>
          <cx:pt idx="87869">0</cx:pt>
          <cx:pt idx="87870">0</cx:pt>
          <cx:pt idx="87871">0</cx:pt>
          <cx:pt idx="87872">1</cx:pt>
          <cx:pt idx="87873">1</cx:pt>
          <cx:pt idx="87874">0</cx:pt>
          <cx:pt idx="87875">1</cx:pt>
          <cx:pt idx="87876">0</cx:pt>
          <cx:pt idx="87877">0</cx:pt>
          <cx:pt idx="87878">0</cx:pt>
          <cx:pt idx="87879">1</cx:pt>
          <cx:pt idx="87880">1</cx:pt>
          <cx:pt idx="87881">0</cx:pt>
          <cx:pt idx="87882">1</cx:pt>
          <cx:pt idx="87883">1</cx:pt>
          <cx:pt idx="87884">0</cx:pt>
          <cx:pt idx="87885">0</cx:pt>
          <cx:pt idx="87886">0</cx:pt>
          <cx:pt idx="87887">1</cx:pt>
          <cx:pt idx="87888">1</cx:pt>
          <cx:pt idx="87889">1</cx:pt>
          <cx:pt idx="87890">1</cx:pt>
          <cx:pt idx="87891">0</cx:pt>
          <cx:pt idx="87892">1</cx:pt>
          <cx:pt idx="87893">1</cx:pt>
          <cx:pt idx="87894">0</cx:pt>
          <cx:pt idx="87895">0</cx:pt>
          <cx:pt idx="87896">0</cx:pt>
          <cx:pt idx="87897">1</cx:pt>
          <cx:pt idx="87898">1</cx:pt>
          <cx:pt idx="87899">1</cx:pt>
          <cx:pt idx="87900">0</cx:pt>
          <cx:pt idx="87901">0</cx:pt>
          <cx:pt idx="87902">0</cx:pt>
          <cx:pt idx="87903">0</cx:pt>
          <cx:pt idx="87904">1</cx:pt>
          <cx:pt idx="87905">1</cx:pt>
          <cx:pt idx="87906">1</cx:pt>
          <cx:pt idx="87907">0</cx:pt>
          <cx:pt idx="87908">0</cx:pt>
          <cx:pt idx="87909">0</cx:pt>
          <cx:pt idx="87910">1</cx:pt>
          <cx:pt idx="87911">1</cx:pt>
          <cx:pt idx="87912">0</cx:pt>
          <cx:pt idx="87913">1</cx:pt>
          <cx:pt idx="87914">0</cx:pt>
          <cx:pt idx="87915">1</cx:pt>
          <cx:pt idx="87916">0</cx:pt>
          <cx:pt idx="87917">0</cx:pt>
          <cx:pt idx="87918">0</cx:pt>
          <cx:pt idx="87919">1</cx:pt>
          <cx:pt idx="87920">1</cx:pt>
          <cx:pt idx="87921">1</cx:pt>
          <cx:pt idx="87922">0</cx:pt>
          <cx:pt idx="87923">0</cx:pt>
          <cx:pt idx="87924">0</cx:pt>
          <cx:pt idx="87925">0</cx:pt>
          <cx:pt idx="87926">0</cx:pt>
          <cx:pt idx="87927">1</cx:pt>
          <cx:pt idx="87928">0</cx:pt>
          <cx:pt idx="87929">1</cx:pt>
          <cx:pt idx="87930">0</cx:pt>
          <cx:pt idx="87931">0</cx:pt>
          <cx:pt idx="87932">0</cx:pt>
          <cx:pt idx="87933">1</cx:pt>
          <cx:pt idx="87934">0</cx:pt>
          <cx:pt idx="87935">0</cx:pt>
          <cx:pt idx="87936">1</cx:pt>
          <cx:pt idx="87937">0</cx:pt>
          <cx:pt idx="87938">1</cx:pt>
          <cx:pt idx="87939">0</cx:pt>
          <cx:pt idx="87940">1</cx:pt>
          <cx:pt idx="87941">1</cx:pt>
          <cx:pt idx="87942">0</cx:pt>
          <cx:pt idx="87943">1</cx:pt>
          <cx:pt idx="87944">1</cx:pt>
          <cx:pt idx="87945">1</cx:pt>
          <cx:pt idx="87946">0</cx:pt>
          <cx:pt idx="87947">1</cx:pt>
          <cx:pt idx="87948">1</cx:pt>
          <cx:pt idx="87949">0</cx:pt>
          <cx:pt idx="87950">0</cx:pt>
          <cx:pt idx="87951">0</cx:pt>
          <cx:pt idx="87952">0</cx:pt>
          <cx:pt idx="87953">1</cx:pt>
          <cx:pt idx="87954">0</cx:pt>
          <cx:pt idx="87955">0</cx:pt>
          <cx:pt idx="87956">1</cx:pt>
          <cx:pt idx="87957">1</cx:pt>
          <cx:pt idx="87958">0</cx:pt>
          <cx:pt idx="87959">0</cx:pt>
          <cx:pt idx="87960">0</cx:pt>
          <cx:pt idx="87961">1</cx:pt>
          <cx:pt idx="87962">0</cx:pt>
          <cx:pt idx="87963">1</cx:pt>
          <cx:pt idx="87964">0</cx:pt>
          <cx:pt idx="87965">0</cx:pt>
          <cx:pt idx="87966">0</cx:pt>
          <cx:pt idx="87967">1</cx:pt>
          <cx:pt idx="87968">0</cx:pt>
          <cx:pt idx="87969">0</cx:pt>
          <cx:pt idx="87970">1</cx:pt>
          <cx:pt idx="87971">1</cx:pt>
          <cx:pt idx="87972">1</cx:pt>
          <cx:pt idx="87973">1</cx:pt>
          <cx:pt idx="87974">0</cx:pt>
          <cx:pt idx="87975">1</cx:pt>
          <cx:pt idx="87976">1</cx:pt>
          <cx:pt idx="87977">1</cx:pt>
          <cx:pt idx="87978">1</cx:pt>
          <cx:pt idx="87979">0</cx:pt>
          <cx:pt idx="87980">0</cx:pt>
          <cx:pt idx="87981">0</cx:pt>
          <cx:pt idx="87982">1</cx:pt>
          <cx:pt idx="87983">0</cx:pt>
          <cx:pt idx="87984">1</cx:pt>
          <cx:pt idx="87985">0</cx:pt>
          <cx:pt idx="87986">0</cx:pt>
          <cx:pt idx="87987">0</cx:pt>
          <cx:pt idx="87988">0</cx:pt>
          <cx:pt idx="87989">0</cx:pt>
          <cx:pt idx="87990">0</cx:pt>
          <cx:pt idx="87991">0</cx:pt>
          <cx:pt idx="87992">0</cx:pt>
          <cx:pt idx="87993">1</cx:pt>
          <cx:pt idx="87994">0</cx:pt>
          <cx:pt idx="87995">0</cx:pt>
          <cx:pt idx="87996">0</cx:pt>
          <cx:pt idx="87997">1</cx:pt>
          <cx:pt idx="87998">0</cx:pt>
          <cx:pt idx="87999">0</cx:pt>
          <cx:pt idx="88000">0</cx:pt>
          <cx:pt idx="88001">1</cx:pt>
          <cx:pt idx="88002">1</cx:pt>
          <cx:pt idx="88003">0</cx:pt>
          <cx:pt idx="88004">0</cx:pt>
          <cx:pt idx="88005">0</cx:pt>
          <cx:pt idx="88006">1</cx:pt>
          <cx:pt idx="88007">0</cx:pt>
          <cx:pt idx="88008">0</cx:pt>
          <cx:pt idx="88009">1</cx:pt>
          <cx:pt idx="88010">1</cx:pt>
          <cx:pt idx="88011">0</cx:pt>
          <cx:pt idx="88012">0</cx:pt>
          <cx:pt idx="88013">0</cx:pt>
          <cx:pt idx="88014">1</cx:pt>
          <cx:pt idx="88015">1</cx:pt>
          <cx:pt idx="88016">1</cx:pt>
          <cx:pt idx="88017">1</cx:pt>
          <cx:pt idx="88018">1</cx:pt>
          <cx:pt idx="88019">0</cx:pt>
          <cx:pt idx="88020">0</cx:pt>
          <cx:pt idx="88021">1</cx:pt>
          <cx:pt idx="88022">1</cx:pt>
          <cx:pt idx="88023">0</cx:pt>
          <cx:pt idx="88024">1</cx:pt>
          <cx:pt idx="88025">1</cx:pt>
          <cx:pt idx="88026">0</cx:pt>
          <cx:pt idx="88027">1</cx:pt>
          <cx:pt idx="88028">1</cx:pt>
          <cx:pt idx="88029">1</cx:pt>
          <cx:pt idx="88030">0</cx:pt>
          <cx:pt idx="88031">0</cx:pt>
          <cx:pt idx="88032">1</cx:pt>
          <cx:pt idx="88033">0</cx:pt>
          <cx:pt idx="88034">0</cx:pt>
          <cx:pt idx="88035">0</cx:pt>
          <cx:pt idx="88036">0</cx:pt>
          <cx:pt idx="88037">0</cx:pt>
          <cx:pt idx="88038">0</cx:pt>
          <cx:pt idx="88039">0</cx:pt>
          <cx:pt idx="88040">1</cx:pt>
          <cx:pt idx="88041">1</cx:pt>
          <cx:pt idx="88042">0</cx:pt>
          <cx:pt idx="88043">0</cx:pt>
          <cx:pt idx="88044">0</cx:pt>
          <cx:pt idx="88045">0</cx:pt>
          <cx:pt idx="88046">0</cx:pt>
          <cx:pt idx="88047">1</cx:pt>
          <cx:pt idx="88048">0</cx:pt>
          <cx:pt idx="88049">1</cx:pt>
          <cx:pt idx="88050">0</cx:pt>
          <cx:pt idx="88051">0</cx:pt>
          <cx:pt idx="88052">1</cx:pt>
          <cx:pt idx="88053">0</cx:pt>
          <cx:pt idx="88054">1</cx:pt>
          <cx:pt idx="88055">0</cx:pt>
          <cx:pt idx="88056">1</cx:pt>
          <cx:pt idx="88057">0</cx:pt>
          <cx:pt idx="88058">0</cx:pt>
          <cx:pt idx="88059">0</cx:pt>
          <cx:pt idx="88060">0</cx:pt>
          <cx:pt idx="88061">1</cx:pt>
          <cx:pt idx="88062">0</cx:pt>
          <cx:pt idx="88063">0</cx:pt>
          <cx:pt idx="88064">0</cx:pt>
          <cx:pt idx="88065">0</cx:pt>
          <cx:pt idx="88066">0</cx:pt>
          <cx:pt idx="88067">0</cx:pt>
          <cx:pt idx="88068">1</cx:pt>
          <cx:pt idx="88069">0</cx:pt>
          <cx:pt idx="88070">0</cx:pt>
          <cx:pt idx="88071">0</cx:pt>
          <cx:pt idx="88072">0</cx:pt>
          <cx:pt idx="88073">0</cx:pt>
          <cx:pt idx="88074">1</cx:pt>
          <cx:pt idx="88075">0</cx:pt>
          <cx:pt idx="88076">1</cx:pt>
          <cx:pt idx="88077">1</cx:pt>
          <cx:pt idx="88078">0</cx:pt>
          <cx:pt idx="88079">1</cx:pt>
          <cx:pt idx="88080">0</cx:pt>
          <cx:pt idx="88081">1</cx:pt>
          <cx:pt idx="88082">0</cx:pt>
          <cx:pt idx="88083">0</cx:pt>
          <cx:pt idx="88084">1</cx:pt>
          <cx:pt idx="88085">1</cx:pt>
          <cx:pt idx="88086">0</cx:pt>
          <cx:pt idx="88087">1</cx:pt>
          <cx:pt idx="88088">0</cx:pt>
          <cx:pt idx="88089">0</cx:pt>
          <cx:pt idx="88090">0</cx:pt>
          <cx:pt idx="88091">0</cx:pt>
          <cx:pt idx="88092">1</cx:pt>
          <cx:pt idx="88093">1</cx:pt>
          <cx:pt idx="88094">1</cx:pt>
          <cx:pt idx="88095">0</cx:pt>
          <cx:pt idx="88096">1</cx:pt>
          <cx:pt idx="88097">0</cx:pt>
          <cx:pt idx="88098">1</cx:pt>
          <cx:pt idx="88099">1</cx:pt>
          <cx:pt idx="88100">1</cx:pt>
          <cx:pt idx="88101">0</cx:pt>
          <cx:pt idx="88102">0</cx:pt>
          <cx:pt idx="88103">0</cx:pt>
          <cx:pt idx="88104">0</cx:pt>
          <cx:pt idx="88105">1</cx:pt>
          <cx:pt idx="88106">1</cx:pt>
          <cx:pt idx="88107">0</cx:pt>
          <cx:pt idx="88108">1</cx:pt>
          <cx:pt idx="88109">0</cx:pt>
          <cx:pt idx="88110">0</cx:pt>
          <cx:pt idx="88111">0</cx:pt>
          <cx:pt idx="88112">0</cx:pt>
          <cx:pt idx="88113">0</cx:pt>
          <cx:pt idx="88114">0</cx:pt>
          <cx:pt idx="88115">0</cx:pt>
          <cx:pt idx="88116">0</cx:pt>
          <cx:pt idx="88117">0</cx:pt>
          <cx:pt idx="88118">0</cx:pt>
          <cx:pt idx="88119">0</cx:pt>
          <cx:pt idx="88120">0</cx:pt>
          <cx:pt idx="88121">0</cx:pt>
          <cx:pt idx="88122">0</cx:pt>
          <cx:pt idx="88123">1</cx:pt>
          <cx:pt idx="88124">0</cx:pt>
          <cx:pt idx="88125">0</cx:pt>
          <cx:pt idx="88126">1</cx:pt>
          <cx:pt idx="88127">0</cx:pt>
          <cx:pt idx="88128">1</cx:pt>
          <cx:pt idx="88129">1</cx:pt>
          <cx:pt idx="88130">1</cx:pt>
          <cx:pt idx="88131">0</cx:pt>
          <cx:pt idx="88132">0</cx:pt>
          <cx:pt idx="88133">1</cx:pt>
          <cx:pt idx="88134">0</cx:pt>
          <cx:pt idx="88135">0</cx:pt>
          <cx:pt idx="88136">0</cx:pt>
          <cx:pt idx="88137">1</cx:pt>
          <cx:pt idx="88138">1</cx:pt>
          <cx:pt idx="88139">0</cx:pt>
          <cx:pt idx="88140">0</cx:pt>
          <cx:pt idx="88141">1</cx:pt>
          <cx:pt idx="88142">0</cx:pt>
          <cx:pt idx="88143">0</cx:pt>
          <cx:pt idx="88144">1</cx:pt>
          <cx:pt idx="88145">0</cx:pt>
          <cx:pt idx="88146">1</cx:pt>
          <cx:pt idx="88147">1</cx:pt>
          <cx:pt idx="88148">1</cx:pt>
          <cx:pt idx="88149">0</cx:pt>
          <cx:pt idx="88150">0</cx:pt>
          <cx:pt idx="88151">1</cx:pt>
          <cx:pt idx="88152">0</cx:pt>
          <cx:pt idx="88153">1</cx:pt>
          <cx:pt idx="88154">1</cx:pt>
          <cx:pt idx="88155">1</cx:pt>
          <cx:pt idx="88156">0</cx:pt>
          <cx:pt idx="88157">0</cx:pt>
          <cx:pt idx="88158">1</cx:pt>
          <cx:pt idx="88159">0</cx:pt>
          <cx:pt idx="88160">0</cx:pt>
          <cx:pt idx="88161">0</cx:pt>
          <cx:pt idx="88162">0</cx:pt>
          <cx:pt idx="88163">0</cx:pt>
          <cx:pt idx="88164">0</cx:pt>
          <cx:pt idx="88165">1</cx:pt>
          <cx:pt idx="88166">0</cx:pt>
          <cx:pt idx="88167">1</cx:pt>
          <cx:pt idx="88168">1</cx:pt>
          <cx:pt idx="88169">1</cx:pt>
          <cx:pt idx="88170">0</cx:pt>
          <cx:pt idx="88171">1</cx:pt>
          <cx:pt idx="88172">1</cx:pt>
          <cx:pt idx="88173">0</cx:pt>
          <cx:pt idx="88174">0</cx:pt>
          <cx:pt idx="88175">0</cx:pt>
          <cx:pt idx="88176">1</cx:pt>
          <cx:pt idx="88177">0</cx:pt>
          <cx:pt idx="88178">0</cx:pt>
          <cx:pt idx="88179">0</cx:pt>
          <cx:pt idx="88180">1</cx:pt>
          <cx:pt idx="88181">1</cx:pt>
          <cx:pt idx="88182">1</cx:pt>
          <cx:pt idx="88183">0</cx:pt>
          <cx:pt idx="88184">0</cx:pt>
          <cx:pt idx="88185">1</cx:pt>
          <cx:pt idx="88186">0</cx:pt>
          <cx:pt idx="88187">1</cx:pt>
          <cx:pt idx="88188">0</cx:pt>
          <cx:pt idx="88189">0</cx:pt>
          <cx:pt idx="88190">1</cx:pt>
          <cx:pt idx="88191">0</cx:pt>
          <cx:pt idx="88192">0</cx:pt>
          <cx:pt idx="88193">1</cx:pt>
          <cx:pt idx="88194">0</cx:pt>
          <cx:pt idx="88195">1</cx:pt>
          <cx:pt idx="88196">0</cx:pt>
          <cx:pt idx="88197">1</cx:pt>
          <cx:pt idx="88198">0</cx:pt>
          <cx:pt idx="88199">0</cx:pt>
          <cx:pt idx="88200">0</cx:pt>
          <cx:pt idx="88201">1</cx:pt>
          <cx:pt idx="88202">0</cx:pt>
          <cx:pt idx="88203">1</cx:pt>
          <cx:pt idx="88204">0</cx:pt>
          <cx:pt idx="88205">1</cx:pt>
          <cx:pt idx="88206">0</cx:pt>
          <cx:pt idx="88207">0</cx:pt>
          <cx:pt idx="88208">0</cx:pt>
          <cx:pt idx="88209">1</cx:pt>
          <cx:pt idx="88210">1</cx:pt>
          <cx:pt idx="88211">0</cx:pt>
          <cx:pt idx="88212">0</cx:pt>
          <cx:pt idx="88213">1</cx:pt>
          <cx:pt idx="88214">1</cx:pt>
          <cx:pt idx="88215">1</cx:pt>
          <cx:pt idx="88216">0</cx:pt>
          <cx:pt idx="88217">1</cx:pt>
          <cx:pt idx="88218">0</cx:pt>
          <cx:pt idx="88219">0</cx:pt>
          <cx:pt idx="88220">1</cx:pt>
          <cx:pt idx="88221">1</cx:pt>
          <cx:pt idx="88222">0</cx:pt>
          <cx:pt idx="88223">0</cx:pt>
          <cx:pt idx="88224">0</cx:pt>
          <cx:pt idx="88225">0</cx:pt>
          <cx:pt idx="88226">0</cx:pt>
          <cx:pt idx="88227">1</cx:pt>
          <cx:pt idx="88228">1</cx:pt>
          <cx:pt idx="88229">0</cx:pt>
          <cx:pt idx="88230">1</cx:pt>
          <cx:pt idx="88231">1</cx:pt>
          <cx:pt idx="88232">0</cx:pt>
          <cx:pt idx="88233">0</cx:pt>
          <cx:pt idx="88234">0</cx:pt>
          <cx:pt idx="88235">1</cx:pt>
          <cx:pt idx="88236">0</cx:pt>
          <cx:pt idx="88237">0</cx:pt>
          <cx:pt idx="88238">0</cx:pt>
          <cx:pt idx="88239">0</cx:pt>
          <cx:pt idx="88240">0</cx:pt>
          <cx:pt idx="88241">0</cx:pt>
          <cx:pt idx="88242">0</cx:pt>
          <cx:pt idx="88243">0</cx:pt>
          <cx:pt idx="88244">0</cx:pt>
          <cx:pt idx="88245">0</cx:pt>
          <cx:pt idx="88246">1</cx:pt>
          <cx:pt idx="88247">1</cx:pt>
          <cx:pt idx="88248">1</cx:pt>
          <cx:pt idx="88249">0</cx:pt>
          <cx:pt idx="88250">0</cx:pt>
          <cx:pt idx="88251">1</cx:pt>
          <cx:pt idx="88252">0</cx:pt>
          <cx:pt idx="88253">1</cx:pt>
          <cx:pt idx="88254">0</cx:pt>
          <cx:pt idx="88255">1</cx:pt>
          <cx:pt idx="88256">0</cx:pt>
          <cx:pt idx="88257">0</cx:pt>
          <cx:pt idx="88258">1</cx:pt>
          <cx:pt idx="88259">1</cx:pt>
          <cx:pt idx="88260">1</cx:pt>
          <cx:pt idx="88261">0</cx:pt>
          <cx:pt idx="88262">1</cx:pt>
          <cx:pt idx="88263">0</cx:pt>
          <cx:pt idx="88264">1</cx:pt>
          <cx:pt idx="88265">1</cx:pt>
          <cx:pt idx="88266">0</cx:pt>
          <cx:pt idx="88267">0</cx:pt>
          <cx:pt idx="88268">1</cx:pt>
          <cx:pt idx="88269">1</cx:pt>
          <cx:pt idx="88270">0</cx:pt>
          <cx:pt idx="88271">0</cx:pt>
          <cx:pt idx="88272">0</cx:pt>
          <cx:pt idx="88273">0</cx:pt>
          <cx:pt idx="88274">0</cx:pt>
          <cx:pt idx="88275">1</cx:pt>
          <cx:pt idx="88276">1</cx:pt>
          <cx:pt idx="88277">1</cx:pt>
          <cx:pt idx="88278">1</cx:pt>
          <cx:pt idx="88279">1</cx:pt>
          <cx:pt idx="88280">1</cx:pt>
          <cx:pt idx="88281">0</cx:pt>
          <cx:pt idx="88282">0</cx:pt>
          <cx:pt idx="88283">1</cx:pt>
          <cx:pt idx="88284">0</cx:pt>
          <cx:pt idx="88285">1</cx:pt>
          <cx:pt idx="88286">1</cx:pt>
          <cx:pt idx="88287">1</cx:pt>
          <cx:pt idx="88288">0</cx:pt>
          <cx:pt idx="88289">1</cx:pt>
          <cx:pt idx="88290">0</cx:pt>
          <cx:pt idx="88291">0</cx:pt>
          <cx:pt idx="88292">0</cx:pt>
          <cx:pt idx="88293">1</cx:pt>
          <cx:pt idx="88294">0</cx:pt>
          <cx:pt idx="88295">0</cx:pt>
          <cx:pt idx="88296">1</cx:pt>
          <cx:pt idx="88297">1</cx:pt>
          <cx:pt idx="88298">0</cx:pt>
          <cx:pt idx="88299">1</cx:pt>
          <cx:pt idx="88300">1</cx:pt>
          <cx:pt idx="88301">0</cx:pt>
          <cx:pt idx="88302">1</cx:pt>
          <cx:pt idx="88303">1</cx:pt>
          <cx:pt idx="88304">1</cx:pt>
          <cx:pt idx="88305">0</cx:pt>
          <cx:pt idx="88306">0</cx:pt>
          <cx:pt idx="88307">0</cx:pt>
          <cx:pt idx="88308">0</cx:pt>
          <cx:pt idx="88309">1</cx:pt>
          <cx:pt idx="88310">1</cx:pt>
          <cx:pt idx="88311">1</cx:pt>
          <cx:pt idx="88312">0</cx:pt>
          <cx:pt idx="88313">0</cx:pt>
          <cx:pt idx="88314">1</cx:pt>
          <cx:pt idx="88315">1</cx:pt>
          <cx:pt idx="88316">0</cx:pt>
          <cx:pt idx="88317">0</cx:pt>
          <cx:pt idx="88318">1</cx:pt>
          <cx:pt idx="88319">0</cx:pt>
          <cx:pt idx="88320">1</cx:pt>
          <cx:pt idx="88321">1</cx:pt>
          <cx:pt idx="88322">1</cx:pt>
          <cx:pt idx="88323">1</cx:pt>
          <cx:pt idx="88324">0</cx:pt>
          <cx:pt idx="88325">1</cx:pt>
          <cx:pt idx="88326">1</cx:pt>
          <cx:pt idx="88327">0</cx:pt>
          <cx:pt idx="88328">0</cx:pt>
          <cx:pt idx="88329">1</cx:pt>
          <cx:pt idx="88330">1</cx:pt>
          <cx:pt idx="88331">1</cx:pt>
          <cx:pt idx="88332">1</cx:pt>
          <cx:pt idx="88333">0</cx:pt>
          <cx:pt idx="88334">0</cx:pt>
          <cx:pt idx="88335">1</cx:pt>
          <cx:pt idx="88336">0</cx:pt>
          <cx:pt idx="88337">1</cx:pt>
          <cx:pt idx="88338">1</cx:pt>
          <cx:pt idx="88339">0</cx:pt>
          <cx:pt idx="88340">1</cx:pt>
          <cx:pt idx="88341">1</cx:pt>
          <cx:pt idx="88342">1</cx:pt>
          <cx:pt idx="88343">0</cx:pt>
          <cx:pt idx="88344">0</cx:pt>
          <cx:pt idx="88345">0</cx:pt>
          <cx:pt idx="88346">1</cx:pt>
          <cx:pt idx="88347">1</cx:pt>
          <cx:pt idx="88348">0</cx:pt>
          <cx:pt idx="88349">0</cx:pt>
          <cx:pt idx="88350">0</cx:pt>
          <cx:pt idx="88351">0</cx:pt>
          <cx:pt idx="88352">0</cx:pt>
          <cx:pt idx="88353">0</cx:pt>
          <cx:pt idx="88354">0</cx:pt>
          <cx:pt idx="88355">1</cx:pt>
          <cx:pt idx="88356">0</cx:pt>
          <cx:pt idx="88357">1</cx:pt>
          <cx:pt idx="88358">1</cx:pt>
          <cx:pt idx="88359">0</cx:pt>
          <cx:pt idx="88360">1</cx:pt>
          <cx:pt idx="88361">1</cx:pt>
          <cx:pt idx="88362">0</cx:pt>
          <cx:pt idx="88363">1</cx:pt>
          <cx:pt idx="88364">0</cx:pt>
          <cx:pt idx="88365">1</cx:pt>
          <cx:pt idx="88366">1</cx:pt>
          <cx:pt idx="88367">0</cx:pt>
          <cx:pt idx="88368">0</cx:pt>
          <cx:pt idx="88369">1</cx:pt>
          <cx:pt idx="88370">0</cx:pt>
          <cx:pt idx="88371">1</cx:pt>
          <cx:pt idx="88372">1</cx:pt>
          <cx:pt idx="88373">1</cx:pt>
          <cx:pt idx="88374">0</cx:pt>
          <cx:pt idx="88375">1</cx:pt>
          <cx:pt idx="88376">0</cx:pt>
          <cx:pt idx="88377">0</cx:pt>
          <cx:pt idx="88378">1</cx:pt>
          <cx:pt idx="88379">0</cx:pt>
          <cx:pt idx="88380">1</cx:pt>
          <cx:pt idx="88381">0</cx:pt>
          <cx:pt idx="88382">0</cx:pt>
          <cx:pt idx="88383">0</cx:pt>
          <cx:pt idx="88384">0</cx:pt>
          <cx:pt idx="88385">1</cx:pt>
          <cx:pt idx="88386">1</cx:pt>
          <cx:pt idx="88387">0</cx:pt>
          <cx:pt idx="88388">0</cx:pt>
          <cx:pt idx="88389">0</cx:pt>
          <cx:pt idx="88390">1</cx:pt>
          <cx:pt idx="88391">1</cx:pt>
          <cx:pt idx="88392">0</cx:pt>
          <cx:pt idx="88393">0</cx:pt>
          <cx:pt idx="88394">0</cx:pt>
          <cx:pt idx="88395">0</cx:pt>
          <cx:pt idx="88396">0</cx:pt>
          <cx:pt idx="88397">0</cx:pt>
          <cx:pt idx="88398">0</cx:pt>
          <cx:pt idx="88399">1</cx:pt>
          <cx:pt idx="88400">1</cx:pt>
          <cx:pt idx="88401">0</cx:pt>
          <cx:pt idx="88402">0</cx:pt>
          <cx:pt idx="88403">0</cx:pt>
          <cx:pt idx="88404">1</cx:pt>
          <cx:pt idx="88405">0</cx:pt>
          <cx:pt idx="88406">1</cx:pt>
          <cx:pt idx="88407">1</cx:pt>
          <cx:pt idx="88408">0</cx:pt>
          <cx:pt idx="88409">1</cx:pt>
          <cx:pt idx="88410">0</cx:pt>
          <cx:pt idx="88411">1</cx:pt>
          <cx:pt idx="88412">0</cx:pt>
          <cx:pt idx="88413">0</cx:pt>
          <cx:pt idx="88414">0</cx:pt>
          <cx:pt idx="88415">1</cx:pt>
          <cx:pt idx="88416">0</cx:pt>
          <cx:pt idx="88417">0</cx:pt>
          <cx:pt idx="88418">1</cx:pt>
          <cx:pt idx="88419">0</cx:pt>
          <cx:pt idx="88420">1</cx:pt>
          <cx:pt idx="88421">0</cx:pt>
          <cx:pt idx="88422">1</cx:pt>
          <cx:pt idx="88423">1</cx:pt>
          <cx:pt idx="88424">0</cx:pt>
          <cx:pt idx="88425">1</cx:pt>
          <cx:pt idx="88426">0</cx:pt>
          <cx:pt idx="88427">1</cx:pt>
          <cx:pt idx="88428">1</cx:pt>
          <cx:pt idx="88429">0</cx:pt>
          <cx:pt idx="88430">0</cx:pt>
          <cx:pt idx="88431">1</cx:pt>
          <cx:pt idx="88432">0</cx:pt>
          <cx:pt idx="88433">1</cx:pt>
          <cx:pt idx="88434">0</cx:pt>
          <cx:pt idx="88435">0</cx:pt>
          <cx:pt idx="88436">0</cx:pt>
          <cx:pt idx="88437">1</cx:pt>
          <cx:pt idx="88438">0</cx:pt>
          <cx:pt idx="88439">0</cx:pt>
          <cx:pt idx="88440">1</cx:pt>
          <cx:pt idx="88441">1</cx:pt>
          <cx:pt idx="88442">1</cx:pt>
          <cx:pt idx="88443">0</cx:pt>
          <cx:pt idx="88444">1</cx:pt>
          <cx:pt idx="88445">1</cx:pt>
          <cx:pt idx="88446">1</cx:pt>
          <cx:pt idx="88447">0</cx:pt>
          <cx:pt idx="88448">1</cx:pt>
          <cx:pt idx="88449">0</cx:pt>
          <cx:pt idx="88450">1</cx:pt>
          <cx:pt idx="88451">0</cx:pt>
          <cx:pt idx="88452">0</cx:pt>
          <cx:pt idx="88453">0</cx:pt>
          <cx:pt idx="88454">0</cx:pt>
          <cx:pt idx="88455">0</cx:pt>
          <cx:pt idx="88456">0</cx:pt>
          <cx:pt idx="88457">0</cx:pt>
          <cx:pt idx="88458">0</cx:pt>
          <cx:pt idx="88459">0</cx:pt>
          <cx:pt idx="88460">0</cx:pt>
          <cx:pt idx="88461">0</cx:pt>
          <cx:pt idx="88462">0</cx:pt>
          <cx:pt idx="88463">1</cx:pt>
          <cx:pt idx="88464">0</cx:pt>
          <cx:pt idx="88465">0</cx:pt>
          <cx:pt idx="88466">1</cx:pt>
          <cx:pt idx="88467">1</cx:pt>
          <cx:pt idx="88468">1</cx:pt>
          <cx:pt idx="88469">0</cx:pt>
          <cx:pt idx="88470">0</cx:pt>
          <cx:pt idx="88471">1</cx:pt>
          <cx:pt idx="88472">1</cx:pt>
          <cx:pt idx="88473">0</cx:pt>
          <cx:pt idx="88474">0</cx:pt>
          <cx:pt idx="88475">1</cx:pt>
          <cx:pt idx="88476">0</cx:pt>
          <cx:pt idx="88477">0</cx:pt>
          <cx:pt idx="88478">1</cx:pt>
          <cx:pt idx="88479">1</cx:pt>
          <cx:pt idx="88480">0</cx:pt>
          <cx:pt idx="88481">0</cx:pt>
          <cx:pt idx="88482">0</cx:pt>
          <cx:pt idx="88483">1</cx:pt>
          <cx:pt idx="88484">1</cx:pt>
          <cx:pt idx="88485">1</cx:pt>
          <cx:pt idx="88486">1</cx:pt>
          <cx:pt idx="88487">0</cx:pt>
          <cx:pt idx="88488">0</cx:pt>
          <cx:pt idx="88489">1</cx:pt>
          <cx:pt idx="88490">1</cx:pt>
          <cx:pt idx="88491">0</cx:pt>
          <cx:pt idx="88492">0</cx:pt>
          <cx:pt idx="88493">1</cx:pt>
          <cx:pt idx="88494">0</cx:pt>
          <cx:pt idx="88495">0</cx:pt>
          <cx:pt idx="88496">0</cx:pt>
          <cx:pt idx="88497">1</cx:pt>
          <cx:pt idx="88498">0</cx:pt>
          <cx:pt idx="88499">1</cx:pt>
          <cx:pt idx="88500">1</cx:pt>
          <cx:pt idx="88501">1</cx:pt>
          <cx:pt idx="88502">0</cx:pt>
          <cx:pt idx="88503">1</cx:pt>
          <cx:pt idx="88504">0</cx:pt>
          <cx:pt idx="88505">1</cx:pt>
          <cx:pt idx="88506">0</cx:pt>
          <cx:pt idx="88507">0</cx:pt>
          <cx:pt idx="88508">1</cx:pt>
          <cx:pt idx="88509">1</cx:pt>
          <cx:pt idx="88510">1</cx:pt>
          <cx:pt idx="88511">0</cx:pt>
          <cx:pt idx="88512">0</cx:pt>
          <cx:pt idx="88513">0</cx:pt>
          <cx:pt idx="88514">0</cx:pt>
          <cx:pt idx="88515">0</cx:pt>
          <cx:pt idx="88516">0</cx:pt>
          <cx:pt idx="88517">0</cx:pt>
          <cx:pt idx="88518">1</cx:pt>
          <cx:pt idx="88519">0</cx:pt>
          <cx:pt idx="88520">1</cx:pt>
          <cx:pt idx="88521">1</cx:pt>
          <cx:pt idx="88522">0</cx:pt>
          <cx:pt idx="88523">1</cx:pt>
          <cx:pt idx="88524">1</cx:pt>
          <cx:pt idx="88525">1</cx:pt>
          <cx:pt idx="88526">1</cx:pt>
          <cx:pt idx="88527">1</cx:pt>
          <cx:pt idx="88528">1</cx:pt>
          <cx:pt idx="88529">0</cx:pt>
          <cx:pt idx="88530">0</cx:pt>
          <cx:pt idx="88531">0</cx:pt>
          <cx:pt idx="88532">1</cx:pt>
          <cx:pt idx="88533">0</cx:pt>
          <cx:pt idx="88534">0</cx:pt>
          <cx:pt idx="88535">1</cx:pt>
          <cx:pt idx="88536">1</cx:pt>
          <cx:pt idx="88537">0</cx:pt>
          <cx:pt idx="88538">1</cx:pt>
          <cx:pt idx="88539">0</cx:pt>
          <cx:pt idx="88540">0</cx:pt>
          <cx:pt idx="88541">0</cx:pt>
          <cx:pt idx="88542">0</cx:pt>
          <cx:pt idx="88543">1</cx:pt>
          <cx:pt idx="88544">1</cx:pt>
          <cx:pt idx="88545">0</cx:pt>
          <cx:pt idx="88546">1</cx:pt>
          <cx:pt idx="88547">0</cx:pt>
          <cx:pt idx="88548">1</cx:pt>
          <cx:pt idx="88549">1</cx:pt>
          <cx:pt idx="88550">1</cx:pt>
          <cx:pt idx="88551">1</cx:pt>
          <cx:pt idx="88552">1</cx:pt>
          <cx:pt idx="88553">0</cx:pt>
          <cx:pt idx="88554">1</cx:pt>
          <cx:pt idx="88555">1</cx:pt>
          <cx:pt idx="88556">0</cx:pt>
          <cx:pt idx="88557">1</cx:pt>
          <cx:pt idx="88558">1</cx:pt>
          <cx:pt idx="88559">0</cx:pt>
          <cx:pt idx="88560">1</cx:pt>
          <cx:pt idx="88561">0</cx:pt>
          <cx:pt idx="88562">1</cx:pt>
          <cx:pt idx="88563">1</cx:pt>
          <cx:pt idx="88564">1</cx:pt>
          <cx:pt idx="88565">0</cx:pt>
          <cx:pt idx="88566">0</cx:pt>
          <cx:pt idx="88567">0</cx:pt>
          <cx:pt idx="88568">0</cx:pt>
          <cx:pt idx="88569">1</cx:pt>
          <cx:pt idx="88570">1</cx:pt>
          <cx:pt idx="88571">0</cx:pt>
          <cx:pt idx="88572">0</cx:pt>
          <cx:pt idx="88573">0</cx:pt>
          <cx:pt idx="88574">1</cx:pt>
          <cx:pt idx="88575">1</cx:pt>
          <cx:pt idx="88576">0</cx:pt>
          <cx:pt idx="88577">1</cx:pt>
          <cx:pt idx="88578">1</cx:pt>
          <cx:pt idx="88579">0</cx:pt>
          <cx:pt idx="88580">1</cx:pt>
          <cx:pt idx="88581">0</cx:pt>
          <cx:pt idx="88582">0</cx:pt>
          <cx:pt idx="88583">0</cx:pt>
          <cx:pt idx="88584">1</cx:pt>
          <cx:pt idx="88585">0</cx:pt>
          <cx:pt idx="88586">0</cx:pt>
          <cx:pt idx="88587">0</cx:pt>
          <cx:pt idx="88588">1</cx:pt>
          <cx:pt idx="88589">1</cx:pt>
          <cx:pt idx="88590">0</cx:pt>
          <cx:pt idx="88591">0</cx:pt>
          <cx:pt idx="88592">0</cx:pt>
          <cx:pt idx="88593">0</cx:pt>
          <cx:pt idx="88594">1</cx:pt>
          <cx:pt idx="88595">0</cx:pt>
          <cx:pt idx="88596">1</cx:pt>
          <cx:pt idx="88597">0</cx:pt>
          <cx:pt idx="88598">0</cx:pt>
          <cx:pt idx="88599">1</cx:pt>
          <cx:pt idx="88600">0</cx:pt>
          <cx:pt idx="88601">0</cx:pt>
          <cx:pt idx="88602">1</cx:pt>
          <cx:pt idx="88603">0</cx:pt>
          <cx:pt idx="88604">1</cx:pt>
          <cx:pt idx="88605">0</cx:pt>
          <cx:pt idx="88606">1</cx:pt>
          <cx:pt idx="88607">0</cx:pt>
          <cx:pt idx="88608">0</cx:pt>
          <cx:pt idx="88609">0</cx:pt>
          <cx:pt idx="88610">0</cx:pt>
          <cx:pt idx="88611">0</cx:pt>
          <cx:pt idx="88612">1</cx:pt>
          <cx:pt idx="88613">0</cx:pt>
          <cx:pt idx="88614">1</cx:pt>
          <cx:pt idx="88615">1</cx:pt>
          <cx:pt idx="88616">0</cx:pt>
          <cx:pt idx="88617">1</cx:pt>
          <cx:pt idx="88618">0</cx:pt>
          <cx:pt idx="88619">0</cx:pt>
          <cx:pt idx="88620">1</cx:pt>
          <cx:pt idx="88621">1</cx:pt>
          <cx:pt idx="88622">0</cx:pt>
          <cx:pt idx="88623">1</cx:pt>
          <cx:pt idx="88624">0</cx:pt>
          <cx:pt idx="88625">1</cx:pt>
          <cx:pt idx="88626">1</cx:pt>
          <cx:pt idx="88627">1</cx:pt>
          <cx:pt idx="88628">1</cx:pt>
          <cx:pt idx="88629">1</cx:pt>
          <cx:pt idx="88630">1</cx:pt>
          <cx:pt idx="88631">0</cx:pt>
          <cx:pt idx="88632">1</cx:pt>
          <cx:pt idx="88633">1</cx:pt>
          <cx:pt idx="88634">1</cx:pt>
          <cx:pt idx="88635">1</cx:pt>
          <cx:pt idx="88636">0</cx:pt>
          <cx:pt idx="88637">1</cx:pt>
          <cx:pt idx="88638">0</cx:pt>
          <cx:pt idx="88639">0</cx:pt>
          <cx:pt idx="88640">0</cx:pt>
          <cx:pt idx="88641">1</cx:pt>
          <cx:pt idx="88642">1</cx:pt>
          <cx:pt idx="88643">0</cx:pt>
          <cx:pt idx="88644">1</cx:pt>
          <cx:pt idx="88645">0</cx:pt>
          <cx:pt idx="88646">1</cx:pt>
          <cx:pt idx="88647">1</cx:pt>
          <cx:pt idx="88648">0</cx:pt>
          <cx:pt idx="88649">1</cx:pt>
          <cx:pt idx="88650">1</cx:pt>
          <cx:pt idx="88651">1</cx:pt>
          <cx:pt idx="88652">0</cx:pt>
          <cx:pt idx="88653">1</cx:pt>
          <cx:pt idx="88654">0</cx:pt>
          <cx:pt idx="88655">0</cx:pt>
          <cx:pt idx="88656">0</cx:pt>
          <cx:pt idx="88657">0</cx:pt>
          <cx:pt idx="88658">1</cx:pt>
          <cx:pt idx="88659">1</cx:pt>
          <cx:pt idx="88660">0</cx:pt>
          <cx:pt idx="88661">0</cx:pt>
          <cx:pt idx="88662">1</cx:pt>
          <cx:pt idx="88663">0</cx:pt>
          <cx:pt idx="88664">0</cx:pt>
          <cx:pt idx="88665">1</cx:pt>
          <cx:pt idx="88666">0</cx:pt>
          <cx:pt idx="88667">0</cx:pt>
          <cx:pt idx="88668">1</cx:pt>
          <cx:pt idx="88669">0</cx:pt>
          <cx:pt idx="88670">0</cx:pt>
          <cx:pt idx="88671">0</cx:pt>
          <cx:pt idx="88672">0</cx:pt>
          <cx:pt idx="88673">1</cx:pt>
          <cx:pt idx="88674">0</cx:pt>
          <cx:pt idx="88675">0</cx:pt>
          <cx:pt idx="88676">1</cx:pt>
          <cx:pt idx="88677">0</cx:pt>
          <cx:pt idx="88678">0</cx:pt>
          <cx:pt idx="88679">1</cx:pt>
          <cx:pt idx="88680">1</cx:pt>
          <cx:pt idx="88681">0</cx:pt>
          <cx:pt idx="88682">0</cx:pt>
          <cx:pt idx="88683">1</cx:pt>
          <cx:pt idx="88684">1</cx:pt>
          <cx:pt idx="88685">1</cx:pt>
          <cx:pt idx="88686">1</cx:pt>
          <cx:pt idx="88687">1</cx:pt>
          <cx:pt idx="88688">1</cx:pt>
          <cx:pt idx="88689">0</cx:pt>
          <cx:pt idx="88690">0</cx:pt>
          <cx:pt idx="88691">1</cx:pt>
          <cx:pt idx="88692">0</cx:pt>
          <cx:pt idx="88693">0</cx:pt>
          <cx:pt idx="88694">0</cx:pt>
          <cx:pt idx="88695">1</cx:pt>
          <cx:pt idx="88696">0</cx:pt>
          <cx:pt idx="88697">0</cx:pt>
          <cx:pt idx="88698">0</cx:pt>
          <cx:pt idx="88699">1</cx:pt>
          <cx:pt idx="88700">1</cx:pt>
          <cx:pt idx="88701">1</cx:pt>
          <cx:pt idx="88702">1</cx:pt>
          <cx:pt idx="88703">1</cx:pt>
          <cx:pt idx="88704">1</cx:pt>
          <cx:pt idx="88705">0</cx:pt>
          <cx:pt idx="88706">0</cx:pt>
          <cx:pt idx="88707">0</cx:pt>
          <cx:pt idx="88708">0</cx:pt>
          <cx:pt idx="88709">0</cx:pt>
          <cx:pt idx="88710">0</cx:pt>
          <cx:pt idx="88711">0</cx:pt>
          <cx:pt idx="88712">1</cx:pt>
          <cx:pt idx="88713">1</cx:pt>
          <cx:pt idx="88714">0</cx:pt>
          <cx:pt idx="88715">1</cx:pt>
          <cx:pt idx="88716">1</cx:pt>
          <cx:pt idx="88717">1</cx:pt>
          <cx:pt idx="88718">0</cx:pt>
          <cx:pt idx="88719">0</cx:pt>
          <cx:pt idx="88720">0</cx:pt>
          <cx:pt idx="88721">0</cx:pt>
          <cx:pt idx="88722">0</cx:pt>
          <cx:pt idx="88723">1</cx:pt>
          <cx:pt idx="88724">1</cx:pt>
          <cx:pt idx="88725">0</cx:pt>
          <cx:pt idx="88726">1</cx:pt>
          <cx:pt idx="88727">1</cx:pt>
          <cx:pt idx="88728">0</cx:pt>
          <cx:pt idx="88729">0</cx:pt>
          <cx:pt idx="88730">1</cx:pt>
          <cx:pt idx="88731">0</cx:pt>
          <cx:pt idx="88732">1</cx:pt>
          <cx:pt idx="88733">0</cx:pt>
          <cx:pt idx="88734">0</cx:pt>
          <cx:pt idx="88735">0</cx:pt>
          <cx:pt idx="88736">1</cx:pt>
          <cx:pt idx="88737">1</cx:pt>
          <cx:pt idx="88738">1</cx:pt>
          <cx:pt idx="88739">1</cx:pt>
          <cx:pt idx="88740">0</cx:pt>
          <cx:pt idx="88741">1</cx:pt>
          <cx:pt idx="88742">1</cx:pt>
          <cx:pt idx="88743">1</cx:pt>
          <cx:pt idx="88744">1</cx:pt>
          <cx:pt idx="88745">0</cx:pt>
          <cx:pt idx="88746">0</cx:pt>
          <cx:pt idx="88747">0</cx:pt>
          <cx:pt idx="88748">0</cx:pt>
          <cx:pt idx="88749">0</cx:pt>
          <cx:pt idx="88750">1</cx:pt>
          <cx:pt idx="88751">1</cx:pt>
          <cx:pt idx="88752">0</cx:pt>
          <cx:pt idx="88753">0</cx:pt>
          <cx:pt idx="88754">1</cx:pt>
          <cx:pt idx="88755">0</cx:pt>
          <cx:pt idx="88756">0</cx:pt>
          <cx:pt idx="88757">0</cx:pt>
          <cx:pt idx="88758">1</cx:pt>
          <cx:pt idx="88759">1</cx:pt>
          <cx:pt idx="88760">0</cx:pt>
          <cx:pt idx="88761">0</cx:pt>
          <cx:pt idx="88762">1</cx:pt>
          <cx:pt idx="88763">1</cx:pt>
          <cx:pt idx="88764">0</cx:pt>
          <cx:pt idx="88765">0</cx:pt>
          <cx:pt idx="88766">0</cx:pt>
          <cx:pt idx="88767">0</cx:pt>
          <cx:pt idx="88768">0</cx:pt>
          <cx:pt idx="88769">0</cx:pt>
          <cx:pt idx="88770">1</cx:pt>
          <cx:pt idx="88771">0</cx:pt>
          <cx:pt idx="88772">1</cx:pt>
          <cx:pt idx="88773">0</cx:pt>
          <cx:pt idx="88774">1</cx:pt>
          <cx:pt idx="88775">1</cx:pt>
          <cx:pt idx="88776">0</cx:pt>
          <cx:pt idx="88777">0</cx:pt>
          <cx:pt idx="88778">0</cx:pt>
          <cx:pt idx="88779">0</cx:pt>
          <cx:pt idx="88780">1</cx:pt>
          <cx:pt idx="88781">1</cx:pt>
          <cx:pt idx="88782">1</cx:pt>
          <cx:pt idx="88783">0</cx:pt>
          <cx:pt idx="88784">1</cx:pt>
          <cx:pt idx="88785">0</cx:pt>
          <cx:pt idx="88786">1</cx:pt>
          <cx:pt idx="88787">1</cx:pt>
          <cx:pt idx="88788">1</cx:pt>
          <cx:pt idx="88789">0</cx:pt>
          <cx:pt idx="88790">1</cx:pt>
          <cx:pt idx="88791">0</cx:pt>
          <cx:pt idx="88792">1</cx:pt>
          <cx:pt idx="88793">1</cx:pt>
          <cx:pt idx="88794">0</cx:pt>
          <cx:pt idx="88795">1</cx:pt>
          <cx:pt idx="88796">0</cx:pt>
          <cx:pt idx="88797">0</cx:pt>
          <cx:pt idx="88798">0</cx:pt>
          <cx:pt idx="88799">0</cx:pt>
          <cx:pt idx="88800">1</cx:pt>
          <cx:pt idx="88801">0</cx:pt>
          <cx:pt idx="88802">1</cx:pt>
          <cx:pt idx="88803">0</cx:pt>
          <cx:pt idx="88804">1</cx:pt>
          <cx:pt idx="88805">0</cx:pt>
          <cx:pt idx="88806">0</cx:pt>
          <cx:pt idx="88807">1</cx:pt>
          <cx:pt idx="88808">1</cx:pt>
          <cx:pt idx="88809">0</cx:pt>
          <cx:pt idx="88810">0</cx:pt>
          <cx:pt idx="88811">0</cx:pt>
          <cx:pt idx="88812">0</cx:pt>
          <cx:pt idx="88813">0</cx:pt>
          <cx:pt idx="88814">1</cx:pt>
          <cx:pt idx="88815">1</cx:pt>
          <cx:pt idx="88816">0</cx:pt>
          <cx:pt idx="88817">0</cx:pt>
          <cx:pt idx="88818">1</cx:pt>
          <cx:pt idx="88819">1</cx:pt>
          <cx:pt idx="88820">0</cx:pt>
          <cx:pt idx="88821">1</cx:pt>
          <cx:pt idx="88822">0</cx:pt>
          <cx:pt idx="88823">0</cx:pt>
          <cx:pt idx="88824">0</cx:pt>
          <cx:pt idx="88825">1</cx:pt>
          <cx:pt idx="88826">0</cx:pt>
          <cx:pt idx="88827">0</cx:pt>
          <cx:pt idx="88828">1</cx:pt>
          <cx:pt idx="88829">0</cx:pt>
          <cx:pt idx="88830">0</cx:pt>
          <cx:pt idx="88831">0</cx:pt>
          <cx:pt idx="88832">0</cx:pt>
          <cx:pt idx="88833">0</cx:pt>
          <cx:pt idx="88834">0</cx:pt>
          <cx:pt idx="88835">1</cx:pt>
          <cx:pt idx="88836">1</cx:pt>
          <cx:pt idx="88837">0</cx:pt>
          <cx:pt idx="88838">1</cx:pt>
          <cx:pt idx="88839">1</cx:pt>
          <cx:pt idx="88840">0</cx:pt>
          <cx:pt idx="88841">1</cx:pt>
          <cx:pt idx="88842">1</cx:pt>
          <cx:pt idx="88843">0</cx:pt>
          <cx:pt idx="88844">0</cx:pt>
          <cx:pt idx="88845">1</cx:pt>
          <cx:pt idx="88846">1</cx:pt>
          <cx:pt idx="88847">1</cx:pt>
          <cx:pt idx="88848">0</cx:pt>
          <cx:pt idx="88849">1</cx:pt>
          <cx:pt idx="88850">0</cx:pt>
          <cx:pt idx="88851">0</cx:pt>
          <cx:pt idx="88852">0</cx:pt>
          <cx:pt idx="88853">1</cx:pt>
          <cx:pt idx="88854">1</cx:pt>
          <cx:pt idx="88855">0</cx:pt>
          <cx:pt idx="88856">0</cx:pt>
          <cx:pt idx="88857">0</cx:pt>
          <cx:pt idx="88858">1</cx:pt>
          <cx:pt idx="88859">0</cx:pt>
          <cx:pt idx="88860">1</cx:pt>
          <cx:pt idx="88861">1</cx:pt>
          <cx:pt idx="88862">0</cx:pt>
          <cx:pt idx="88863">1</cx:pt>
          <cx:pt idx="88864">0</cx:pt>
          <cx:pt idx="88865">1</cx:pt>
          <cx:pt idx="88866">0</cx:pt>
          <cx:pt idx="88867">1</cx:pt>
          <cx:pt idx="88868">1</cx:pt>
          <cx:pt idx="88869">0</cx:pt>
          <cx:pt idx="88870">0</cx:pt>
          <cx:pt idx="88871">0</cx:pt>
          <cx:pt idx="88872">1</cx:pt>
          <cx:pt idx="88873">1</cx:pt>
          <cx:pt idx="88874">0</cx:pt>
          <cx:pt idx="88875">1</cx:pt>
          <cx:pt idx="88876">1</cx:pt>
          <cx:pt idx="88877">0</cx:pt>
          <cx:pt idx="88878">1</cx:pt>
          <cx:pt idx="88879">0</cx:pt>
          <cx:pt idx="88880">0</cx:pt>
          <cx:pt idx="88881">0</cx:pt>
          <cx:pt idx="88882">1</cx:pt>
          <cx:pt idx="88883">1</cx:pt>
          <cx:pt idx="88884">0</cx:pt>
          <cx:pt idx="88885">1</cx:pt>
          <cx:pt idx="88886">0</cx:pt>
          <cx:pt idx="88887">1</cx:pt>
          <cx:pt idx="88888">0</cx:pt>
          <cx:pt idx="88889">1</cx:pt>
          <cx:pt idx="88890">0</cx:pt>
          <cx:pt idx="88891">0</cx:pt>
          <cx:pt idx="88892">1</cx:pt>
          <cx:pt idx="88893">1</cx:pt>
          <cx:pt idx="88894">0</cx:pt>
          <cx:pt idx="88895">0</cx:pt>
          <cx:pt idx="88896">1</cx:pt>
          <cx:pt idx="88897">1</cx:pt>
          <cx:pt idx="88898">0</cx:pt>
          <cx:pt idx="88899">0</cx:pt>
          <cx:pt idx="88900">1</cx:pt>
          <cx:pt idx="88901">0</cx:pt>
          <cx:pt idx="88902">1</cx:pt>
          <cx:pt idx="88903">1</cx:pt>
          <cx:pt idx="88904">0</cx:pt>
          <cx:pt idx="88905">0</cx:pt>
          <cx:pt idx="88906">0</cx:pt>
          <cx:pt idx="88907">1</cx:pt>
          <cx:pt idx="88908">0</cx:pt>
          <cx:pt idx="88909">0</cx:pt>
          <cx:pt idx="88910">1</cx:pt>
          <cx:pt idx="88911">0</cx:pt>
          <cx:pt idx="88912">1</cx:pt>
          <cx:pt idx="88913">0</cx:pt>
          <cx:pt idx="88914">1</cx:pt>
          <cx:pt idx="88915">1</cx:pt>
          <cx:pt idx="88916">1</cx:pt>
          <cx:pt idx="88917">0</cx:pt>
          <cx:pt idx="88918">1</cx:pt>
          <cx:pt idx="88919">0</cx:pt>
          <cx:pt idx="88920">1</cx:pt>
          <cx:pt idx="88921">0</cx:pt>
          <cx:pt idx="88922">0</cx:pt>
          <cx:pt idx="88923">1</cx:pt>
          <cx:pt idx="88924">0</cx:pt>
          <cx:pt idx="88925">0</cx:pt>
          <cx:pt idx="88926">1</cx:pt>
          <cx:pt idx="88927">1</cx:pt>
          <cx:pt idx="88928">0</cx:pt>
          <cx:pt idx="88929">1</cx:pt>
          <cx:pt idx="88930">0</cx:pt>
          <cx:pt idx="88931">0</cx:pt>
          <cx:pt idx="88932">1</cx:pt>
          <cx:pt idx="88933">1</cx:pt>
          <cx:pt idx="88934">1</cx:pt>
          <cx:pt idx="88935">0</cx:pt>
          <cx:pt idx="88936">1</cx:pt>
          <cx:pt idx="88937">1</cx:pt>
          <cx:pt idx="88938">1</cx:pt>
          <cx:pt idx="88939">1</cx:pt>
          <cx:pt idx="88940">0</cx:pt>
          <cx:pt idx="88941">1</cx:pt>
          <cx:pt idx="88942">1</cx:pt>
          <cx:pt idx="88943">0</cx:pt>
          <cx:pt idx="88944">0</cx:pt>
          <cx:pt idx="88945">0</cx:pt>
          <cx:pt idx="88946">1</cx:pt>
          <cx:pt idx="88947">1</cx:pt>
          <cx:pt idx="88948">0</cx:pt>
          <cx:pt idx="88949">0</cx:pt>
          <cx:pt idx="88950">0</cx:pt>
          <cx:pt idx="88951">1</cx:pt>
          <cx:pt idx="88952">1</cx:pt>
          <cx:pt idx="88953">1</cx:pt>
          <cx:pt idx="88954">1</cx:pt>
          <cx:pt idx="88955">1</cx:pt>
          <cx:pt idx="88956">1</cx:pt>
          <cx:pt idx="88957">1</cx:pt>
          <cx:pt idx="88958">0</cx:pt>
          <cx:pt idx="88959">1</cx:pt>
          <cx:pt idx="88960">0</cx:pt>
          <cx:pt idx="88961">1</cx:pt>
          <cx:pt idx="88962">1</cx:pt>
          <cx:pt idx="88963">0</cx:pt>
          <cx:pt idx="88964">0</cx:pt>
          <cx:pt idx="88965">0</cx:pt>
          <cx:pt idx="88966">1</cx:pt>
          <cx:pt idx="88967">0</cx:pt>
          <cx:pt idx="88968">0</cx:pt>
          <cx:pt idx="88969">0</cx:pt>
          <cx:pt idx="88970">0</cx:pt>
          <cx:pt idx="88971">1</cx:pt>
          <cx:pt idx="88972">0</cx:pt>
          <cx:pt idx="88973">1</cx:pt>
          <cx:pt idx="88974">0</cx:pt>
          <cx:pt idx="88975">0</cx:pt>
          <cx:pt idx="88976">1</cx:pt>
          <cx:pt idx="88977">1</cx:pt>
          <cx:pt idx="88978">1</cx:pt>
          <cx:pt idx="88979">1</cx:pt>
          <cx:pt idx="88980">1</cx:pt>
          <cx:pt idx="88981">1</cx:pt>
          <cx:pt idx="88982">0</cx:pt>
          <cx:pt idx="88983">1</cx:pt>
          <cx:pt idx="88984">0</cx:pt>
          <cx:pt idx="88985">0</cx:pt>
          <cx:pt idx="88986">0</cx:pt>
          <cx:pt idx="88987">1</cx:pt>
          <cx:pt idx="88988">1</cx:pt>
          <cx:pt idx="88989">1</cx:pt>
          <cx:pt idx="88990">0</cx:pt>
          <cx:pt idx="88991">1</cx:pt>
          <cx:pt idx="88992">0</cx:pt>
          <cx:pt idx="88993">0</cx:pt>
          <cx:pt idx="88994">0</cx:pt>
          <cx:pt idx="88995">0</cx:pt>
          <cx:pt idx="88996">1</cx:pt>
          <cx:pt idx="88997">0</cx:pt>
          <cx:pt idx="88998">1</cx:pt>
          <cx:pt idx="88999">0</cx:pt>
          <cx:pt idx="89000">1</cx:pt>
          <cx:pt idx="89001">1</cx:pt>
          <cx:pt idx="89002">0</cx:pt>
          <cx:pt idx="89003">0</cx:pt>
          <cx:pt idx="89004">1</cx:pt>
          <cx:pt idx="89005">0</cx:pt>
          <cx:pt idx="89006">0</cx:pt>
          <cx:pt idx="89007">0</cx:pt>
          <cx:pt idx="89008">1</cx:pt>
          <cx:pt idx="89009">0</cx:pt>
          <cx:pt idx="89010">1</cx:pt>
          <cx:pt idx="89011">1</cx:pt>
          <cx:pt idx="89012">0</cx:pt>
          <cx:pt idx="89013">0</cx:pt>
          <cx:pt idx="89014">0</cx:pt>
          <cx:pt idx="89015">0</cx:pt>
          <cx:pt idx="89016">1</cx:pt>
          <cx:pt idx="89017">0</cx:pt>
          <cx:pt idx="89018">1</cx:pt>
          <cx:pt idx="89019">0</cx:pt>
          <cx:pt idx="89020">0</cx:pt>
          <cx:pt idx="89021">0</cx:pt>
          <cx:pt idx="89022">1</cx:pt>
          <cx:pt idx="89023">1</cx:pt>
          <cx:pt idx="89024">0</cx:pt>
          <cx:pt idx="89025">0</cx:pt>
          <cx:pt idx="89026">0</cx:pt>
          <cx:pt idx="89027">0</cx:pt>
          <cx:pt idx="89028">0</cx:pt>
          <cx:pt idx="89029">0</cx:pt>
          <cx:pt idx="89030">1</cx:pt>
          <cx:pt idx="89031">0</cx:pt>
          <cx:pt idx="89032">0</cx:pt>
          <cx:pt idx="89033">1</cx:pt>
          <cx:pt idx="89034">0</cx:pt>
          <cx:pt idx="89035">0</cx:pt>
          <cx:pt idx="89036">0</cx:pt>
          <cx:pt idx="89037">1</cx:pt>
          <cx:pt idx="89038">0</cx:pt>
          <cx:pt idx="89039">1</cx:pt>
          <cx:pt idx="89040">0</cx:pt>
          <cx:pt idx="89041">0</cx:pt>
          <cx:pt idx="89042">1</cx:pt>
          <cx:pt idx="89043">0</cx:pt>
          <cx:pt idx="89044">0</cx:pt>
          <cx:pt idx="89045">0</cx:pt>
          <cx:pt idx="89046">1</cx:pt>
          <cx:pt idx="89047">0</cx:pt>
          <cx:pt idx="89048">1</cx:pt>
          <cx:pt idx="89049">0</cx:pt>
          <cx:pt idx="89050">0</cx:pt>
          <cx:pt idx="89051">1</cx:pt>
          <cx:pt idx="89052">0</cx:pt>
          <cx:pt idx="89053">0</cx:pt>
          <cx:pt idx="89054">0</cx:pt>
          <cx:pt idx="89055">1</cx:pt>
          <cx:pt idx="89056">0</cx:pt>
          <cx:pt idx="89057">0</cx:pt>
          <cx:pt idx="89058">0</cx:pt>
          <cx:pt idx="89059">0</cx:pt>
          <cx:pt idx="89060">1</cx:pt>
          <cx:pt idx="89061">0</cx:pt>
          <cx:pt idx="89062">1</cx:pt>
          <cx:pt idx="89063">1</cx:pt>
          <cx:pt idx="89064">0</cx:pt>
          <cx:pt idx="89065">1</cx:pt>
          <cx:pt idx="89066">1</cx:pt>
          <cx:pt idx="89067">1</cx:pt>
          <cx:pt idx="89068">0</cx:pt>
          <cx:pt idx="89069">1</cx:pt>
          <cx:pt idx="89070">0</cx:pt>
          <cx:pt idx="89071">0</cx:pt>
          <cx:pt idx="89072">0</cx:pt>
          <cx:pt idx="89073">1</cx:pt>
          <cx:pt idx="89074">1</cx:pt>
          <cx:pt idx="89075">0</cx:pt>
          <cx:pt idx="89076">0</cx:pt>
          <cx:pt idx="89077">0</cx:pt>
          <cx:pt idx="89078">1</cx:pt>
          <cx:pt idx="89079">0</cx:pt>
          <cx:pt idx="89080">0</cx:pt>
          <cx:pt idx="89081">0</cx:pt>
          <cx:pt idx="89082">0</cx:pt>
          <cx:pt idx="89083">1</cx:pt>
          <cx:pt idx="89084">0</cx:pt>
          <cx:pt idx="89085">0</cx:pt>
          <cx:pt idx="89086">1</cx:pt>
          <cx:pt idx="89087">0</cx:pt>
          <cx:pt idx="89088">0</cx:pt>
          <cx:pt idx="89089">0</cx:pt>
          <cx:pt idx="89090">0</cx:pt>
          <cx:pt idx="89091">0</cx:pt>
          <cx:pt idx="89092">0</cx:pt>
          <cx:pt idx="89093">1</cx:pt>
          <cx:pt idx="89094">1</cx:pt>
          <cx:pt idx="89095">1</cx:pt>
          <cx:pt idx="89096">0</cx:pt>
          <cx:pt idx="89097">0</cx:pt>
          <cx:pt idx="89098">0</cx:pt>
          <cx:pt idx="89099">0</cx:pt>
          <cx:pt idx="89100">0</cx:pt>
          <cx:pt idx="89101">0</cx:pt>
          <cx:pt idx="89102">1</cx:pt>
          <cx:pt idx="89103">0</cx:pt>
          <cx:pt idx="89104">1</cx:pt>
          <cx:pt idx="89105">0</cx:pt>
          <cx:pt idx="89106">0</cx:pt>
          <cx:pt idx="89107">1</cx:pt>
          <cx:pt idx="89108">0</cx:pt>
          <cx:pt idx="89109">0</cx:pt>
          <cx:pt idx="89110">1</cx:pt>
          <cx:pt idx="89111">1</cx:pt>
          <cx:pt idx="89112">1</cx:pt>
          <cx:pt idx="89113">0</cx:pt>
          <cx:pt idx="89114">0</cx:pt>
          <cx:pt idx="89115">0</cx:pt>
          <cx:pt idx="89116">0</cx:pt>
          <cx:pt idx="89117">0</cx:pt>
          <cx:pt idx="89118">1</cx:pt>
          <cx:pt idx="89119">0</cx:pt>
          <cx:pt idx="89120">0</cx:pt>
          <cx:pt idx="89121">1</cx:pt>
          <cx:pt idx="89122">0</cx:pt>
          <cx:pt idx="89123">1</cx:pt>
          <cx:pt idx="89124">0</cx:pt>
          <cx:pt idx="89125">0</cx:pt>
          <cx:pt idx="89126">1</cx:pt>
          <cx:pt idx="89127">1</cx:pt>
          <cx:pt idx="89128">0</cx:pt>
          <cx:pt idx="89129">0</cx:pt>
          <cx:pt idx="89130">0</cx:pt>
          <cx:pt idx="89131">0</cx:pt>
          <cx:pt idx="89132">1</cx:pt>
          <cx:pt idx="89133">0</cx:pt>
          <cx:pt idx="89134">0</cx:pt>
          <cx:pt idx="89135">0</cx:pt>
          <cx:pt idx="89136">0</cx:pt>
          <cx:pt idx="89137">1</cx:pt>
          <cx:pt idx="89138">1</cx:pt>
          <cx:pt idx="89139">1</cx:pt>
          <cx:pt idx="89140">1</cx:pt>
          <cx:pt idx="89141">0</cx:pt>
          <cx:pt idx="89142">0</cx:pt>
          <cx:pt idx="89143">1</cx:pt>
          <cx:pt idx="89144">0</cx:pt>
          <cx:pt idx="89145">0</cx:pt>
          <cx:pt idx="89146">0</cx:pt>
          <cx:pt idx="89147">1</cx:pt>
          <cx:pt idx="89148">0</cx:pt>
          <cx:pt idx="89149">1</cx:pt>
          <cx:pt idx="89150">0</cx:pt>
          <cx:pt idx="89151">1</cx:pt>
          <cx:pt idx="89152">1</cx:pt>
          <cx:pt idx="89153">0</cx:pt>
          <cx:pt idx="89154">0</cx:pt>
          <cx:pt idx="89155">0</cx:pt>
          <cx:pt idx="89156">0</cx:pt>
          <cx:pt idx="89157">1</cx:pt>
          <cx:pt idx="89158">0</cx:pt>
          <cx:pt idx="89159">0</cx:pt>
          <cx:pt idx="89160">1</cx:pt>
          <cx:pt idx="89161">1</cx:pt>
          <cx:pt idx="89162">0</cx:pt>
          <cx:pt idx="89163">0</cx:pt>
          <cx:pt idx="89164">0</cx:pt>
          <cx:pt idx="89165">1</cx:pt>
          <cx:pt idx="89166">0</cx:pt>
          <cx:pt idx="89167">1</cx:pt>
          <cx:pt idx="89168">1</cx:pt>
          <cx:pt idx="89169">0</cx:pt>
          <cx:pt idx="89170">0</cx:pt>
          <cx:pt idx="89171">0</cx:pt>
          <cx:pt idx="89172">1</cx:pt>
          <cx:pt idx="89173">1</cx:pt>
          <cx:pt idx="89174">1</cx:pt>
          <cx:pt idx="89175">0</cx:pt>
          <cx:pt idx="89176">0</cx:pt>
          <cx:pt idx="89177">1</cx:pt>
          <cx:pt idx="89178">1</cx:pt>
          <cx:pt idx="89179">1</cx:pt>
          <cx:pt idx="89180">0</cx:pt>
          <cx:pt idx="89181">0</cx:pt>
          <cx:pt idx="89182">1</cx:pt>
          <cx:pt idx="89183">0</cx:pt>
          <cx:pt idx="89184">1</cx:pt>
          <cx:pt idx="89185">0</cx:pt>
          <cx:pt idx="89186">0</cx:pt>
          <cx:pt idx="89187">1</cx:pt>
          <cx:pt idx="89188">0</cx:pt>
          <cx:pt idx="89189">1</cx:pt>
          <cx:pt idx="89190">1</cx:pt>
          <cx:pt idx="89191">0</cx:pt>
          <cx:pt idx="89192">1</cx:pt>
          <cx:pt idx="89193">0</cx:pt>
          <cx:pt idx="89194">0</cx:pt>
          <cx:pt idx="89195">0</cx:pt>
          <cx:pt idx="89196">1</cx:pt>
          <cx:pt idx="89197">0</cx:pt>
          <cx:pt idx="89198">1</cx:pt>
          <cx:pt idx="89199">0</cx:pt>
          <cx:pt idx="89200">1</cx:pt>
          <cx:pt idx="89201">1</cx:pt>
          <cx:pt idx="89202">0</cx:pt>
          <cx:pt idx="89203">0</cx:pt>
          <cx:pt idx="89204">1</cx:pt>
          <cx:pt idx="89205">0</cx:pt>
          <cx:pt idx="89206">1</cx:pt>
          <cx:pt idx="89207">1</cx:pt>
          <cx:pt idx="89208">0</cx:pt>
          <cx:pt idx="89209">1</cx:pt>
          <cx:pt idx="89210">0</cx:pt>
          <cx:pt idx="89211">0</cx:pt>
          <cx:pt idx="89212">0</cx:pt>
          <cx:pt idx="89213">0</cx:pt>
          <cx:pt idx="89214">1</cx:pt>
          <cx:pt idx="89215">1</cx:pt>
          <cx:pt idx="89216">1</cx:pt>
          <cx:pt idx="89217">0</cx:pt>
          <cx:pt idx="89218">0</cx:pt>
          <cx:pt idx="89219">1</cx:pt>
          <cx:pt idx="89220">1</cx:pt>
          <cx:pt idx="89221">1</cx:pt>
          <cx:pt idx="89222">1</cx:pt>
          <cx:pt idx="89223">1</cx:pt>
          <cx:pt idx="89224">1</cx:pt>
          <cx:pt idx="89225">1</cx:pt>
          <cx:pt idx="89226">0</cx:pt>
          <cx:pt idx="89227">0</cx:pt>
          <cx:pt idx="89228">1</cx:pt>
          <cx:pt idx="89229">1</cx:pt>
          <cx:pt idx="89230">1</cx:pt>
          <cx:pt idx="89231">1</cx:pt>
          <cx:pt idx="89232">0</cx:pt>
          <cx:pt idx="89233">0</cx:pt>
          <cx:pt idx="89234">0</cx:pt>
          <cx:pt idx="89235">0</cx:pt>
          <cx:pt idx="89236">1</cx:pt>
          <cx:pt idx="89237">1</cx:pt>
          <cx:pt idx="89238">1</cx:pt>
          <cx:pt idx="89239">0</cx:pt>
          <cx:pt idx="89240">1</cx:pt>
          <cx:pt idx="89241">1</cx:pt>
          <cx:pt idx="89242">0</cx:pt>
          <cx:pt idx="89243">1</cx:pt>
          <cx:pt idx="89244">0</cx:pt>
          <cx:pt idx="89245">0</cx:pt>
          <cx:pt idx="89246">1</cx:pt>
          <cx:pt idx="89247">1</cx:pt>
          <cx:pt idx="89248">0</cx:pt>
          <cx:pt idx="89249">1</cx:pt>
          <cx:pt idx="89250">0</cx:pt>
          <cx:pt idx="89251">1</cx:pt>
          <cx:pt idx="89252">1</cx:pt>
          <cx:pt idx="89253">0</cx:pt>
          <cx:pt idx="89254">1</cx:pt>
          <cx:pt idx="89255">0</cx:pt>
          <cx:pt idx="89256">1</cx:pt>
          <cx:pt idx="89257">1</cx:pt>
          <cx:pt idx="89258">0</cx:pt>
          <cx:pt idx="89259">0</cx:pt>
          <cx:pt idx="89260">1</cx:pt>
          <cx:pt idx="89261">0</cx:pt>
          <cx:pt idx="89262">0</cx:pt>
          <cx:pt idx="89263">0</cx:pt>
          <cx:pt idx="89264">1</cx:pt>
          <cx:pt idx="89265">1</cx:pt>
          <cx:pt idx="89266">0</cx:pt>
          <cx:pt idx="89267">1</cx:pt>
          <cx:pt idx="89268">0</cx:pt>
          <cx:pt idx="89269">0</cx:pt>
          <cx:pt idx="89270">1</cx:pt>
          <cx:pt idx="89271">0</cx:pt>
          <cx:pt idx="89272">1</cx:pt>
          <cx:pt idx="89273">0</cx:pt>
          <cx:pt idx="89274">0</cx:pt>
          <cx:pt idx="89275">0</cx:pt>
          <cx:pt idx="89276">0</cx:pt>
          <cx:pt idx="89277">1</cx:pt>
          <cx:pt idx="89278">0</cx:pt>
          <cx:pt idx="89279">1</cx:pt>
          <cx:pt idx="89280">1</cx:pt>
          <cx:pt idx="89281">0</cx:pt>
          <cx:pt idx="89282">1</cx:pt>
          <cx:pt idx="89283">0</cx:pt>
          <cx:pt idx="89284">0</cx:pt>
          <cx:pt idx="89285">0</cx:pt>
          <cx:pt idx="89286">0</cx:pt>
          <cx:pt idx="89287">0</cx:pt>
          <cx:pt idx="89288">0</cx:pt>
          <cx:pt idx="89289">0</cx:pt>
          <cx:pt idx="89290">1</cx:pt>
          <cx:pt idx="89291">0</cx:pt>
          <cx:pt idx="89292">0</cx:pt>
          <cx:pt idx="89293">0</cx:pt>
          <cx:pt idx="89294">0</cx:pt>
          <cx:pt idx="89295">0</cx:pt>
          <cx:pt idx="89296">1</cx:pt>
          <cx:pt idx="89297">1</cx:pt>
          <cx:pt idx="89298">0</cx:pt>
          <cx:pt idx="89299">1</cx:pt>
          <cx:pt idx="89300">0</cx:pt>
          <cx:pt idx="89301">0</cx:pt>
          <cx:pt idx="89302">0</cx:pt>
          <cx:pt idx="89303">0</cx:pt>
          <cx:pt idx="89304">0</cx:pt>
          <cx:pt idx="89305">0</cx:pt>
          <cx:pt idx="89306">0</cx:pt>
          <cx:pt idx="89307">0</cx:pt>
          <cx:pt idx="89308">1</cx:pt>
          <cx:pt idx="89309">0</cx:pt>
          <cx:pt idx="89310">0</cx:pt>
          <cx:pt idx="89311">0</cx:pt>
          <cx:pt idx="89312">1</cx:pt>
          <cx:pt idx="89313">0</cx:pt>
          <cx:pt idx="89314">0</cx:pt>
          <cx:pt idx="89315">0</cx:pt>
          <cx:pt idx="89316">1</cx:pt>
          <cx:pt idx="89317">0</cx:pt>
          <cx:pt idx="89318">1</cx:pt>
          <cx:pt idx="89319">1</cx:pt>
          <cx:pt idx="89320">1</cx:pt>
          <cx:pt idx="89321">0</cx:pt>
          <cx:pt idx="89322">0</cx:pt>
          <cx:pt idx="89323">0</cx:pt>
          <cx:pt idx="89324">0</cx:pt>
          <cx:pt idx="89325">0</cx:pt>
          <cx:pt idx="89326">0</cx:pt>
          <cx:pt idx="89327">0</cx:pt>
          <cx:pt idx="89328">0</cx:pt>
          <cx:pt idx="89329">0</cx:pt>
          <cx:pt idx="89330">0</cx:pt>
          <cx:pt idx="89331">0</cx:pt>
          <cx:pt idx="89332">0</cx:pt>
          <cx:pt idx="89333">1</cx:pt>
          <cx:pt idx="89334">0</cx:pt>
          <cx:pt idx="89335">0</cx:pt>
          <cx:pt idx="89336">1</cx:pt>
          <cx:pt idx="89337">1</cx:pt>
          <cx:pt idx="89338">1</cx:pt>
          <cx:pt idx="89339">1</cx:pt>
          <cx:pt idx="89340">0</cx:pt>
          <cx:pt idx="89341">1</cx:pt>
          <cx:pt idx="89342">0</cx:pt>
          <cx:pt idx="89343">0</cx:pt>
          <cx:pt idx="89344">1</cx:pt>
          <cx:pt idx="89345">0</cx:pt>
          <cx:pt idx="89346">1</cx:pt>
          <cx:pt idx="89347">1</cx:pt>
          <cx:pt idx="89348">0</cx:pt>
          <cx:pt idx="89349">0</cx:pt>
          <cx:pt idx="89350">1</cx:pt>
          <cx:pt idx="89351">0</cx:pt>
          <cx:pt idx="89352">1</cx:pt>
          <cx:pt idx="89353">1</cx:pt>
          <cx:pt idx="89354">0</cx:pt>
          <cx:pt idx="89355">1</cx:pt>
          <cx:pt idx="89356">0</cx:pt>
          <cx:pt idx="89357">1</cx:pt>
          <cx:pt idx="89358">1</cx:pt>
          <cx:pt idx="89359">0</cx:pt>
          <cx:pt idx="89360">1</cx:pt>
          <cx:pt idx="89361">1</cx:pt>
          <cx:pt idx="89362">0</cx:pt>
          <cx:pt idx="89363">0</cx:pt>
          <cx:pt idx="89364">1</cx:pt>
          <cx:pt idx="89365">0</cx:pt>
          <cx:pt idx="89366">1</cx:pt>
          <cx:pt idx="89367">1</cx:pt>
          <cx:pt idx="89368">0</cx:pt>
          <cx:pt idx="89369">1</cx:pt>
          <cx:pt idx="89370">0</cx:pt>
          <cx:pt idx="89371">0</cx:pt>
          <cx:pt idx="89372">1</cx:pt>
          <cx:pt idx="89373">0</cx:pt>
          <cx:pt idx="89374">0</cx:pt>
          <cx:pt idx="89375">0</cx:pt>
          <cx:pt idx="89376">1</cx:pt>
          <cx:pt idx="89377">1</cx:pt>
          <cx:pt idx="89378">0</cx:pt>
          <cx:pt idx="89379">1</cx:pt>
          <cx:pt idx="89380">0</cx:pt>
          <cx:pt idx="89381">1</cx:pt>
          <cx:pt idx="89382">1</cx:pt>
          <cx:pt idx="89383">1</cx:pt>
          <cx:pt idx="89384">0</cx:pt>
          <cx:pt idx="89385">0</cx:pt>
          <cx:pt idx="89386">1</cx:pt>
          <cx:pt idx="89387">0</cx:pt>
          <cx:pt idx="89388">0</cx:pt>
          <cx:pt idx="89389">1</cx:pt>
          <cx:pt idx="89390">0</cx:pt>
          <cx:pt idx="89391">1</cx:pt>
          <cx:pt idx="89392">0</cx:pt>
          <cx:pt idx="89393">0</cx:pt>
          <cx:pt idx="89394">1</cx:pt>
          <cx:pt idx="89395">1</cx:pt>
          <cx:pt idx="89396">1</cx:pt>
          <cx:pt idx="89397">0</cx:pt>
          <cx:pt idx="89398">1</cx:pt>
          <cx:pt idx="89399">0</cx:pt>
          <cx:pt idx="89400">0</cx:pt>
          <cx:pt idx="89401">1</cx:pt>
          <cx:pt idx="89402">0</cx:pt>
          <cx:pt idx="89403">0</cx:pt>
          <cx:pt idx="89404">0</cx:pt>
          <cx:pt idx="89405">0</cx:pt>
          <cx:pt idx="89406">1</cx:pt>
          <cx:pt idx="89407">1</cx:pt>
          <cx:pt idx="89408">0</cx:pt>
          <cx:pt idx="89409">0</cx:pt>
          <cx:pt idx="89410">0</cx:pt>
          <cx:pt idx="89411">1</cx:pt>
          <cx:pt idx="89412">1</cx:pt>
          <cx:pt idx="89413">0</cx:pt>
          <cx:pt idx="89414">1</cx:pt>
          <cx:pt idx="89415">0</cx:pt>
          <cx:pt idx="89416">1</cx:pt>
          <cx:pt idx="89417">1</cx:pt>
          <cx:pt idx="89418">0</cx:pt>
          <cx:pt idx="89419">1</cx:pt>
          <cx:pt idx="89420">0</cx:pt>
          <cx:pt idx="89421">0</cx:pt>
          <cx:pt idx="89422">0</cx:pt>
          <cx:pt idx="89423">0</cx:pt>
          <cx:pt idx="89424">1</cx:pt>
          <cx:pt idx="89425">0</cx:pt>
          <cx:pt idx="89426">0</cx:pt>
          <cx:pt idx="89427">1</cx:pt>
          <cx:pt idx="89428">1</cx:pt>
          <cx:pt idx="89429">1</cx:pt>
          <cx:pt idx="89430">0</cx:pt>
          <cx:pt idx="89431">0</cx:pt>
          <cx:pt idx="89432">1</cx:pt>
          <cx:pt idx="89433">0</cx:pt>
          <cx:pt idx="89434">0</cx:pt>
          <cx:pt idx="89435">1</cx:pt>
          <cx:pt idx="89436">0</cx:pt>
          <cx:pt idx="89437">0</cx:pt>
          <cx:pt idx="89438">1</cx:pt>
          <cx:pt idx="89439">1</cx:pt>
          <cx:pt idx="89440">1</cx:pt>
          <cx:pt idx="89441">0</cx:pt>
          <cx:pt idx="89442">0</cx:pt>
          <cx:pt idx="89443">0</cx:pt>
          <cx:pt idx="89444">0</cx:pt>
          <cx:pt idx="89445">0</cx:pt>
          <cx:pt idx="89446">0</cx:pt>
          <cx:pt idx="89447">1</cx:pt>
          <cx:pt idx="89448">1</cx:pt>
          <cx:pt idx="89449">0</cx:pt>
          <cx:pt idx="89450">1</cx:pt>
          <cx:pt idx="89451">1</cx:pt>
          <cx:pt idx="89452">1</cx:pt>
          <cx:pt idx="89453">1</cx:pt>
          <cx:pt idx="89454">1</cx:pt>
          <cx:pt idx="89455">0</cx:pt>
          <cx:pt idx="89456">0</cx:pt>
          <cx:pt idx="89457">1</cx:pt>
          <cx:pt idx="89458">0</cx:pt>
          <cx:pt idx="89459">0</cx:pt>
          <cx:pt idx="89460">1</cx:pt>
          <cx:pt idx="89461">1</cx:pt>
          <cx:pt idx="89462">1</cx:pt>
          <cx:pt idx="89463">0</cx:pt>
          <cx:pt idx="89464">1</cx:pt>
          <cx:pt idx="89465">0</cx:pt>
          <cx:pt idx="89466">1</cx:pt>
          <cx:pt idx="89467">0</cx:pt>
          <cx:pt idx="89468">0</cx:pt>
          <cx:pt idx="89469">0</cx:pt>
          <cx:pt idx="89470">0</cx:pt>
          <cx:pt idx="89471">0</cx:pt>
          <cx:pt idx="89472">0</cx:pt>
          <cx:pt idx="89473">0</cx:pt>
          <cx:pt idx="89474">0</cx:pt>
          <cx:pt idx="89475">0</cx:pt>
          <cx:pt idx="89476">1</cx:pt>
          <cx:pt idx="89477">0</cx:pt>
          <cx:pt idx="89478">0</cx:pt>
          <cx:pt idx="89479">0</cx:pt>
          <cx:pt idx="89480">0</cx:pt>
          <cx:pt idx="89481">0</cx:pt>
          <cx:pt idx="89482">0</cx:pt>
          <cx:pt idx="89483">0</cx:pt>
          <cx:pt idx="89484">0</cx:pt>
          <cx:pt idx="89485">0</cx:pt>
          <cx:pt idx="89486">1</cx:pt>
          <cx:pt idx="89487">0</cx:pt>
          <cx:pt idx="89488">1</cx:pt>
          <cx:pt idx="89489">0</cx:pt>
          <cx:pt idx="89490">0</cx:pt>
          <cx:pt idx="89491">0</cx:pt>
          <cx:pt idx="89492">1</cx:pt>
          <cx:pt idx="89493">1</cx:pt>
          <cx:pt idx="89494">1</cx:pt>
          <cx:pt idx="89495">0</cx:pt>
          <cx:pt idx="89496">0</cx:pt>
          <cx:pt idx="89497">0</cx:pt>
          <cx:pt idx="89498">1</cx:pt>
          <cx:pt idx="89499">0</cx:pt>
          <cx:pt idx="89500">1</cx:pt>
          <cx:pt idx="89501">1</cx:pt>
          <cx:pt idx="89502">0</cx:pt>
          <cx:pt idx="89503">0</cx:pt>
          <cx:pt idx="89504">0</cx:pt>
          <cx:pt idx="89505">0</cx:pt>
          <cx:pt idx="89506">0</cx:pt>
          <cx:pt idx="89507">1</cx:pt>
          <cx:pt idx="89508">0</cx:pt>
          <cx:pt idx="89509">0</cx:pt>
          <cx:pt idx="89510">0</cx:pt>
          <cx:pt idx="89511">0</cx:pt>
          <cx:pt idx="89512">1</cx:pt>
          <cx:pt idx="89513">0</cx:pt>
          <cx:pt idx="89514">1</cx:pt>
          <cx:pt idx="89515">1</cx:pt>
          <cx:pt idx="89516">1</cx:pt>
          <cx:pt idx="89517">0</cx:pt>
          <cx:pt idx="89518">0</cx:pt>
          <cx:pt idx="89519">0</cx:pt>
          <cx:pt idx="89520">0</cx:pt>
          <cx:pt idx="89521">0</cx:pt>
          <cx:pt idx="89522">1</cx:pt>
          <cx:pt idx="89523">1</cx:pt>
          <cx:pt idx="89524">0</cx:pt>
          <cx:pt idx="89525">1</cx:pt>
          <cx:pt idx="89526">0</cx:pt>
          <cx:pt idx="89527">1</cx:pt>
          <cx:pt idx="89528">1</cx:pt>
          <cx:pt idx="89529">1</cx:pt>
          <cx:pt idx="89530">0</cx:pt>
          <cx:pt idx="89531">0</cx:pt>
          <cx:pt idx="89532">1</cx:pt>
          <cx:pt idx="89533">1</cx:pt>
          <cx:pt idx="89534">0</cx:pt>
          <cx:pt idx="89535">1</cx:pt>
          <cx:pt idx="89536">0</cx:pt>
          <cx:pt idx="89537">0</cx:pt>
          <cx:pt idx="89538">1</cx:pt>
          <cx:pt idx="89539">0</cx:pt>
          <cx:pt idx="89540">0</cx:pt>
          <cx:pt idx="89541">1</cx:pt>
          <cx:pt idx="89542">0</cx:pt>
          <cx:pt idx="89543">0</cx:pt>
          <cx:pt idx="89544">0</cx:pt>
          <cx:pt idx="89545">0</cx:pt>
          <cx:pt idx="89546">0</cx:pt>
          <cx:pt idx="89547">0</cx:pt>
          <cx:pt idx="89548">1</cx:pt>
          <cx:pt idx="89549">1</cx:pt>
          <cx:pt idx="89550">0</cx:pt>
          <cx:pt idx="89551">1</cx:pt>
          <cx:pt idx="89552">0</cx:pt>
          <cx:pt idx="89553">1</cx:pt>
          <cx:pt idx="89554">0</cx:pt>
          <cx:pt idx="89555">1</cx:pt>
          <cx:pt idx="89556">0</cx:pt>
          <cx:pt idx="89557">1</cx:pt>
          <cx:pt idx="89558">0</cx:pt>
          <cx:pt idx="89559">1</cx:pt>
          <cx:pt idx="89560">1</cx:pt>
          <cx:pt idx="89561">0</cx:pt>
          <cx:pt idx="89562">1</cx:pt>
          <cx:pt idx="89563">1</cx:pt>
          <cx:pt idx="89564">0</cx:pt>
          <cx:pt idx="89565">0</cx:pt>
          <cx:pt idx="89566">1</cx:pt>
          <cx:pt idx="89567">1</cx:pt>
          <cx:pt idx="89568">1</cx:pt>
          <cx:pt idx="89569">0</cx:pt>
          <cx:pt idx="89570">1</cx:pt>
          <cx:pt idx="89571">0</cx:pt>
          <cx:pt idx="89572">0</cx:pt>
          <cx:pt idx="89573">0</cx:pt>
          <cx:pt idx="89574">0</cx:pt>
          <cx:pt idx="89575">0</cx:pt>
          <cx:pt idx="89576">0</cx:pt>
          <cx:pt idx="89577">1</cx:pt>
          <cx:pt idx="89578">1</cx:pt>
          <cx:pt idx="89579">0</cx:pt>
          <cx:pt idx="89580">1</cx:pt>
          <cx:pt idx="89581">1</cx:pt>
          <cx:pt idx="89582">0</cx:pt>
          <cx:pt idx="89583">1</cx:pt>
          <cx:pt idx="89584">1</cx:pt>
          <cx:pt idx="89585">1</cx:pt>
          <cx:pt idx="89586">0</cx:pt>
          <cx:pt idx="89587">0</cx:pt>
          <cx:pt idx="89588">0</cx:pt>
          <cx:pt idx="89589">1</cx:pt>
          <cx:pt idx="89590">1</cx:pt>
          <cx:pt idx="89591">1</cx:pt>
          <cx:pt idx="89592">1</cx:pt>
          <cx:pt idx="89593">0</cx:pt>
          <cx:pt idx="89594">0</cx:pt>
          <cx:pt idx="89595">0</cx:pt>
          <cx:pt idx="89596">0</cx:pt>
          <cx:pt idx="89597">0</cx:pt>
          <cx:pt idx="89598">0</cx:pt>
          <cx:pt idx="89599">1</cx:pt>
          <cx:pt idx="89600">0</cx:pt>
          <cx:pt idx="89601">1</cx:pt>
          <cx:pt idx="89602">0</cx:pt>
          <cx:pt idx="89603">1</cx:pt>
          <cx:pt idx="89604">1</cx:pt>
          <cx:pt idx="89605">0</cx:pt>
          <cx:pt idx="89606">0</cx:pt>
          <cx:pt idx="89607">1</cx:pt>
          <cx:pt idx="89608">1</cx:pt>
          <cx:pt idx="89609">0</cx:pt>
          <cx:pt idx="89610">1</cx:pt>
          <cx:pt idx="89611">1</cx:pt>
          <cx:pt idx="89612">0</cx:pt>
          <cx:pt idx="89613">0</cx:pt>
          <cx:pt idx="89614">1</cx:pt>
          <cx:pt idx="89615">1</cx:pt>
          <cx:pt idx="89616">0</cx:pt>
          <cx:pt idx="89617">0</cx:pt>
          <cx:pt idx="89618">1</cx:pt>
          <cx:pt idx="89619">0</cx:pt>
          <cx:pt idx="89620">1</cx:pt>
          <cx:pt idx="89621">0</cx:pt>
          <cx:pt idx="89622">0</cx:pt>
          <cx:pt idx="89623">1</cx:pt>
          <cx:pt idx="89624">0</cx:pt>
          <cx:pt idx="89625">1</cx:pt>
          <cx:pt idx="89626">0</cx:pt>
          <cx:pt idx="89627">1</cx:pt>
          <cx:pt idx="89628">1</cx:pt>
          <cx:pt idx="89629">0</cx:pt>
          <cx:pt idx="89630">0</cx:pt>
          <cx:pt idx="89631">0</cx:pt>
          <cx:pt idx="89632">0</cx:pt>
          <cx:pt idx="89633">0</cx:pt>
          <cx:pt idx="89634">0</cx:pt>
          <cx:pt idx="89635">0</cx:pt>
          <cx:pt idx="89636">1</cx:pt>
          <cx:pt idx="89637">1</cx:pt>
          <cx:pt idx="89638">0</cx:pt>
          <cx:pt idx="89639">0</cx:pt>
          <cx:pt idx="89640">0</cx:pt>
          <cx:pt idx="89641">0</cx:pt>
          <cx:pt idx="89642">0</cx:pt>
          <cx:pt idx="89643">0</cx:pt>
          <cx:pt idx="89644">0</cx:pt>
          <cx:pt idx="89645">0</cx:pt>
          <cx:pt idx="89646">1</cx:pt>
          <cx:pt idx="89647">1</cx:pt>
          <cx:pt idx="89648">1</cx:pt>
          <cx:pt idx="89649">0</cx:pt>
          <cx:pt idx="89650">0</cx:pt>
          <cx:pt idx="89651">0</cx:pt>
          <cx:pt idx="89652">1</cx:pt>
          <cx:pt idx="89653">0</cx:pt>
          <cx:pt idx="89654">1</cx:pt>
          <cx:pt idx="89655">1</cx:pt>
          <cx:pt idx="89656">0</cx:pt>
          <cx:pt idx="89657">0</cx:pt>
          <cx:pt idx="89658">0</cx:pt>
          <cx:pt idx="89659">1</cx:pt>
          <cx:pt idx="89660">1</cx:pt>
          <cx:pt idx="89661">1</cx:pt>
          <cx:pt idx="89662">1</cx:pt>
          <cx:pt idx="89663">1</cx:pt>
          <cx:pt idx="89664">1</cx:pt>
          <cx:pt idx="89665">0</cx:pt>
          <cx:pt idx="89666">0</cx:pt>
          <cx:pt idx="89667">1</cx:pt>
          <cx:pt idx="89668">1</cx:pt>
          <cx:pt idx="89669">1</cx:pt>
          <cx:pt idx="89670">0</cx:pt>
          <cx:pt idx="89671">0</cx:pt>
          <cx:pt idx="89672">1</cx:pt>
          <cx:pt idx="89673">1</cx:pt>
          <cx:pt idx="89674">1</cx:pt>
          <cx:pt idx="89675">0</cx:pt>
          <cx:pt idx="89676">1</cx:pt>
          <cx:pt idx="89677">1</cx:pt>
          <cx:pt idx="89678">0</cx:pt>
          <cx:pt idx="89679">0</cx:pt>
          <cx:pt idx="89680">0</cx:pt>
          <cx:pt idx="89681">1</cx:pt>
          <cx:pt idx="89682">0</cx:pt>
          <cx:pt idx="89683">1</cx:pt>
          <cx:pt idx="89684">1</cx:pt>
          <cx:pt idx="89685">1</cx:pt>
          <cx:pt idx="89686">1</cx:pt>
          <cx:pt idx="89687">0</cx:pt>
          <cx:pt idx="89688">0</cx:pt>
          <cx:pt idx="89689">1</cx:pt>
          <cx:pt idx="89690">1</cx:pt>
          <cx:pt idx="89691">1</cx:pt>
          <cx:pt idx="89692">0</cx:pt>
          <cx:pt idx="89693">0</cx:pt>
          <cx:pt idx="89694">0</cx:pt>
          <cx:pt idx="89695">1</cx:pt>
          <cx:pt idx="89696">1</cx:pt>
          <cx:pt idx="89697">0</cx:pt>
          <cx:pt idx="89698">1</cx:pt>
          <cx:pt idx="89699">0</cx:pt>
          <cx:pt idx="89700">0</cx:pt>
          <cx:pt idx="89701">0</cx:pt>
          <cx:pt idx="89702">1</cx:pt>
          <cx:pt idx="89703">1</cx:pt>
          <cx:pt idx="89704">0</cx:pt>
          <cx:pt idx="89705">0</cx:pt>
          <cx:pt idx="89706">1</cx:pt>
          <cx:pt idx="89707">0</cx:pt>
          <cx:pt idx="89708">0</cx:pt>
          <cx:pt idx="89709">0</cx:pt>
          <cx:pt idx="89710">0</cx:pt>
          <cx:pt idx="89711">1</cx:pt>
          <cx:pt idx="89712">1</cx:pt>
          <cx:pt idx="89713">0</cx:pt>
          <cx:pt idx="89714">0</cx:pt>
          <cx:pt idx="89715">0</cx:pt>
          <cx:pt idx="89716">1</cx:pt>
          <cx:pt idx="89717">0</cx:pt>
          <cx:pt idx="89718">1</cx:pt>
          <cx:pt idx="89719">0</cx:pt>
          <cx:pt idx="89720">0</cx:pt>
          <cx:pt idx="89721">1</cx:pt>
          <cx:pt idx="89722">0</cx:pt>
          <cx:pt idx="89723">1</cx:pt>
          <cx:pt idx="89724">0</cx:pt>
          <cx:pt idx="89725">0</cx:pt>
          <cx:pt idx="89726">0</cx:pt>
          <cx:pt idx="89727">0</cx:pt>
          <cx:pt idx="89728">1</cx:pt>
          <cx:pt idx="89729">0</cx:pt>
          <cx:pt idx="89730">1</cx:pt>
          <cx:pt idx="89731">1</cx:pt>
          <cx:pt idx="89732">1</cx:pt>
          <cx:pt idx="89733">1</cx:pt>
          <cx:pt idx="89734">0</cx:pt>
          <cx:pt idx="89735">0</cx:pt>
          <cx:pt idx="89736">0</cx:pt>
          <cx:pt idx="89737">0</cx:pt>
          <cx:pt idx="89738">0</cx:pt>
          <cx:pt idx="89739">1</cx:pt>
          <cx:pt idx="89740">0</cx:pt>
          <cx:pt idx="89741">0</cx:pt>
          <cx:pt idx="89742">1</cx:pt>
          <cx:pt idx="89743">1</cx:pt>
          <cx:pt idx="89744">0</cx:pt>
          <cx:pt idx="89745">0</cx:pt>
          <cx:pt idx="89746">1</cx:pt>
          <cx:pt idx="89747">0</cx:pt>
          <cx:pt idx="89748">0</cx:pt>
          <cx:pt idx="89749">1</cx:pt>
          <cx:pt idx="89750">1</cx:pt>
          <cx:pt idx="89751">1</cx:pt>
          <cx:pt idx="89752">1</cx:pt>
          <cx:pt idx="89753">0</cx:pt>
          <cx:pt idx="89754">0</cx:pt>
          <cx:pt idx="89755">1</cx:pt>
          <cx:pt idx="89756">1</cx:pt>
          <cx:pt idx="89757">1</cx:pt>
          <cx:pt idx="89758">1</cx:pt>
          <cx:pt idx="89759">1</cx:pt>
          <cx:pt idx="89760">0</cx:pt>
          <cx:pt idx="89761">1</cx:pt>
          <cx:pt idx="89762">1</cx:pt>
          <cx:pt idx="89763">0</cx:pt>
          <cx:pt idx="89764">1</cx:pt>
          <cx:pt idx="89765">1</cx:pt>
          <cx:pt idx="89766">1</cx:pt>
          <cx:pt idx="89767">1</cx:pt>
          <cx:pt idx="89768">0</cx:pt>
          <cx:pt idx="89769">1</cx:pt>
          <cx:pt idx="89770">1</cx:pt>
          <cx:pt idx="89771">0</cx:pt>
          <cx:pt idx="89772">0</cx:pt>
          <cx:pt idx="89773">0</cx:pt>
          <cx:pt idx="89774">0</cx:pt>
          <cx:pt idx="89775">1</cx:pt>
          <cx:pt idx="89776">1</cx:pt>
          <cx:pt idx="89777">0</cx:pt>
          <cx:pt idx="89778">1</cx:pt>
          <cx:pt idx="89779">0</cx:pt>
          <cx:pt idx="89780">0</cx:pt>
          <cx:pt idx="89781">1</cx:pt>
          <cx:pt idx="89782">1</cx:pt>
          <cx:pt idx="89783">0</cx:pt>
          <cx:pt idx="89784">0</cx:pt>
          <cx:pt idx="89785">0</cx:pt>
          <cx:pt idx="89786">0</cx:pt>
          <cx:pt idx="89787">1</cx:pt>
          <cx:pt idx="89788">0</cx:pt>
          <cx:pt idx="89789">1</cx:pt>
          <cx:pt idx="89790">1</cx:pt>
          <cx:pt idx="89791">0</cx:pt>
          <cx:pt idx="89792">1</cx:pt>
          <cx:pt idx="89793">0</cx:pt>
          <cx:pt idx="89794">1</cx:pt>
          <cx:pt idx="89795">1</cx:pt>
          <cx:pt idx="89796">1</cx:pt>
          <cx:pt idx="89797">1</cx:pt>
          <cx:pt idx="89798">0</cx:pt>
          <cx:pt idx="89799">0</cx:pt>
          <cx:pt idx="89800">0</cx:pt>
          <cx:pt idx="89801">1</cx:pt>
          <cx:pt idx="89802">0</cx:pt>
          <cx:pt idx="89803">1</cx:pt>
          <cx:pt idx="89804">0</cx:pt>
          <cx:pt idx="89805">0</cx:pt>
          <cx:pt idx="89806">0</cx:pt>
          <cx:pt idx="89807">0</cx:pt>
          <cx:pt idx="89808">1</cx:pt>
          <cx:pt idx="89809">0</cx:pt>
          <cx:pt idx="89810">0</cx:pt>
          <cx:pt idx="89811">1</cx:pt>
          <cx:pt idx="89812">0</cx:pt>
          <cx:pt idx="89813">0</cx:pt>
          <cx:pt idx="89814">1</cx:pt>
          <cx:pt idx="89815">0</cx:pt>
          <cx:pt idx="89816">0</cx:pt>
          <cx:pt idx="89817">0</cx:pt>
          <cx:pt idx="89818">1</cx:pt>
          <cx:pt idx="89819">0</cx:pt>
          <cx:pt idx="89820">1</cx:pt>
          <cx:pt idx="89821">0</cx:pt>
          <cx:pt idx="89822">1</cx:pt>
          <cx:pt idx="89823">1</cx:pt>
          <cx:pt idx="89824">1</cx:pt>
          <cx:pt idx="89825">1</cx:pt>
          <cx:pt idx="89826">1</cx:pt>
          <cx:pt idx="89827">0</cx:pt>
          <cx:pt idx="89828">0</cx:pt>
          <cx:pt idx="89829">0</cx:pt>
          <cx:pt idx="89830">1</cx:pt>
          <cx:pt idx="89831">1</cx:pt>
          <cx:pt idx="89832">0</cx:pt>
          <cx:pt idx="89833">0</cx:pt>
          <cx:pt idx="89834">1</cx:pt>
          <cx:pt idx="89835">0</cx:pt>
          <cx:pt idx="89836">0</cx:pt>
          <cx:pt idx="89837">0</cx:pt>
          <cx:pt idx="89838">1</cx:pt>
          <cx:pt idx="89839">0</cx:pt>
          <cx:pt idx="89840">1</cx:pt>
          <cx:pt idx="89841">1</cx:pt>
          <cx:pt idx="89842">0</cx:pt>
          <cx:pt idx="89843">0</cx:pt>
          <cx:pt idx="89844">1</cx:pt>
          <cx:pt idx="89845">0</cx:pt>
          <cx:pt idx="89846">0</cx:pt>
          <cx:pt idx="89847">0</cx:pt>
          <cx:pt idx="89848">0</cx:pt>
          <cx:pt idx="89849">1</cx:pt>
          <cx:pt idx="89850">0</cx:pt>
          <cx:pt idx="89851">1</cx:pt>
          <cx:pt idx="89852">0</cx:pt>
          <cx:pt idx="89853">1</cx:pt>
          <cx:pt idx="89854">0</cx:pt>
          <cx:pt idx="89855">1</cx:pt>
          <cx:pt idx="89856">0</cx:pt>
          <cx:pt idx="89857">1</cx:pt>
          <cx:pt idx="89858">0</cx:pt>
          <cx:pt idx="89859">0</cx:pt>
          <cx:pt idx="89860">1</cx:pt>
          <cx:pt idx="89861">0</cx:pt>
          <cx:pt idx="89862">1</cx:pt>
          <cx:pt idx="89863">0</cx:pt>
          <cx:pt idx="89864">0</cx:pt>
          <cx:pt idx="89865">1</cx:pt>
          <cx:pt idx="89866">0</cx:pt>
          <cx:pt idx="89867">0</cx:pt>
          <cx:pt idx="89868">1</cx:pt>
          <cx:pt idx="89869">1</cx:pt>
          <cx:pt idx="89870">1</cx:pt>
          <cx:pt idx="89871">0</cx:pt>
          <cx:pt idx="89872">0</cx:pt>
          <cx:pt idx="89873">0</cx:pt>
          <cx:pt idx="89874">0</cx:pt>
          <cx:pt idx="89875">1</cx:pt>
          <cx:pt idx="89876">1</cx:pt>
          <cx:pt idx="89877">0</cx:pt>
          <cx:pt idx="89878">0</cx:pt>
          <cx:pt idx="89879">0</cx:pt>
          <cx:pt idx="89880">0</cx:pt>
          <cx:pt idx="89881">1</cx:pt>
          <cx:pt idx="89882">1</cx:pt>
          <cx:pt idx="89883">1</cx:pt>
          <cx:pt idx="89884">1</cx:pt>
          <cx:pt idx="89885">1</cx:pt>
          <cx:pt idx="89886">0</cx:pt>
          <cx:pt idx="89887">0</cx:pt>
          <cx:pt idx="89888">1</cx:pt>
          <cx:pt idx="89889">0</cx:pt>
          <cx:pt idx="89890">0</cx:pt>
          <cx:pt idx="89891">0</cx:pt>
          <cx:pt idx="89892">1</cx:pt>
          <cx:pt idx="89893">0</cx:pt>
          <cx:pt idx="89894">0</cx:pt>
          <cx:pt idx="89895">0</cx:pt>
          <cx:pt idx="89896">0</cx:pt>
          <cx:pt idx="89897">1</cx:pt>
          <cx:pt idx="89898">0</cx:pt>
          <cx:pt idx="89899">0</cx:pt>
          <cx:pt idx="89900">0</cx:pt>
          <cx:pt idx="89901">1</cx:pt>
          <cx:pt idx="89902">1</cx:pt>
          <cx:pt idx="89903">1</cx:pt>
          <cx:pt idx="89904">1</cx:pt>
          <cx:pt idx="89905">0</cx:pt>
          <cx:pt idx="89906">1</cx:pt>
          <cx:pt idx="89907">1</cx:pt>
          <cx:pt idx="89908">1</cx:pt>
          <cx:pt idx="89909">0</cx:pt>
          <cx:pt idx="89910">1</cx:pt>
          <cx:pt idx="89911">0</cx:pt>
          <cx:pt idx="89912">1</cx:pt>
          <cx:pt idx="89913">1</cx:pt>
          <cx:pt idx="89914">0</cx:pt>
          <cx:pt idx="89915">1</cx:pt>
          <cx:pt idx="89916">0</cx:pt>
          <cx:pt idx="89917">0</cx:pt>
          <cx:pt idx="89918">1</cx:pt>
          <cx:pt idx="89919">1</cx:pt>
          <cx:pt idx="89920">0</cx:pt>
          <cx:pt idx="89921">1</cx:pt>
          <cx:pt idx="89922">1</cx:pt>
          <cx:pt idx="89923">1</cx:pt>
          <cx:pt idx="89924">1</cx:pt>
          <cx:pt idx="89925">0</cx:pt>
          <cx:pt idx="89926">1</cx:pt>
          <cx:pt idx="89927">1</cx:pt>
          <cx:pt idx="89928">1</cx:pt>
          <cx:pt idx="89929">1</cx:pt>
          <cx:pt idx="89930">1</cx:pt>
          <cx:pt idx="89931">0</cx:pt>
          <cx:pt idx="89932">1</cx:pt>
          <cx:pt idx="89933">1</cx:pt>
          <cx:pt idx="89934">1</cx:pt>
          <cx:pt idx="89935">0</cx:pt>
          <cx:pt idx="89936">1</cx:pt>
          <cx:pt idx="89937">1</cx:pt>
          <cx:pt idx="89938">0</cx:pt>
          <cx:pt idx="89939">1</cx:pt>
          <cx:pt idx="89940">1</cx:pt>
          <cx:pt idx="89941">1</cx:pt>
          <cx:pt idx="89942">1</cx:pt>
          <cx:pt idx="89943">0</cx:pt>
          <cx:pt idx="89944">0</cx:pt>
          <cx:pt idx="89945">0</cx:pt>
          <cx:pt idx="89946">1</cx:pt>
          <cx:pt idx="89947">0</cx:pt>
          <cx:pt idx="89948">1</cx:pt>
          <cx:pt idx="89949">0</cx:pt>
          <cx:pt idx="89950">1</cx:pt>
          <cx:pt idx="89951">0</cx:pt>
          <cx:pt idx="89952">0</cx:pt>
          <cx:pt idx="89953">1</cx:pt>
          <cx:pt idx="89954">0</cx:pt>
          <cx:pt idx="89955">0</cx:pt>
          <cx:pt idx="89956">0</cx:pt>
          <cx:pt idx="89957">1</cx:pt>
          <cx:pt idx="89958">1</cx:pt>
          <cx:pt idx="89959">1</cx:pt>
          <cx:pt idx="89960">1</cx:pt>
          <cx:pt idx="89961">0</cx:pt>
          <cx:pt idx="89962">0</cx:pt>
          <cx:pt idx="89963">0</cx:pt>
          <cx:pt idx="89964">0</cx:pt>
          <cx:pt idx="89965">0</cx:pt>
          <cx:pt idx="89966">0</cx:pt>
          <cx:pt idx="89967">0</cx:pt>
          <cx:pt idx="89968">0</cx:pt>
          <cx:pt idx="89969">1</cx:pt>
          <cx:pt idx="89970">1</cx:pt>
          <cx:pt idx="89971">1</cx:pt>
          <cx:pt idx="89972">1</cx:pt>
          <cx:pt idx="89973">1</cx:pt>
          <cx:pt idx="89974">0</cx:pt>
          <cx:pt idx="89975">0</cx:pt>
          <cx:pt idx="89976">0</cx:pt>
          <cx:pt idx="89977">1</cx:pt>
          <cx:pt idx="89978">1</cx:pt>
          <cx:pt idx="89979">0</cx:pt>
          <cx:pt idx="89980">0</cx:pt>
          <cx:pt idx="89981">1</cx:pt>
          <cx:pt idx="89982">0</cx:pt>
          <cx:pt idx="89983">0</cx:pt>
          <cx:pt idx="89984">0</cx:pt>
          <cx:pt idx="89985">1</cx:pt>
          <cx:pt idx="89986">1</cx:pt>
          <cx:pt idx="89987">0</cx:pt>
          <cx:pt idx="89988">0</cx:pt>
          <cx:pt idx="89989">1</cx:pt>
          <cx:pt idx="89990">0</cx:pt>
          <cx:pt idx="89991">0</cx:pt>
          <cx:pt idx="89992">0</cx:pt>
          <cx:pt idx="89993">0</cx:pt>
          <cx:pt idx="89994">0</cx:pt>
          <cx:pt idx="89995">1</cx:pt>
          <cx:pt idx="89996">1</cx:pt>
          <cx:pt idx="89997">0</cx:pt>
          <cx:pt idx="89998">0</cx:pt>
          <cx:pt idx="89999">1</cx:pt>
          <cx:pt idx="90000">0</cx:pt>
          <cx:pt idx="90001">0</cx:pt>
          <cx:pt idx="90002">1</cx:pt>
          <cx:pt idx="90003">1</cx:pt>
          <cx:pt idx="90004">1</cx:pt>
          <cx:pt idx="90005">0</cx:pt>
          <cx:pt idx="90006">1</cx:pt>
          <cx:pt idx="90007">0</cx:pt>
          <cx:pt idx="90008">0</cx:pt>
          <cx:pt idx="90009">0</cx:pt>
          <cx:pt idx="90010">0</cx:pt>
          <cx:pt idx="90011">1</cx:pt>
          <cx:pt idx="90012">0</cx:pt>
          <cx:pt idx="90013">1</cx:pt>
          <cx:pt idx="90014">1</cx:pt>
          <cx:pt idx="90015">0</cx:pt>
          <cx:pt idx="90016">1</cx:pt>
          <cx:pt idx="90017">0</cx:pt>
          <cx:pt idx="90018">1</cx:pt>
          <cx:pt idx="90019">1</cx:pt>
          <cx:pt idx="90020">0</cx:pt>
          <cx:pt idx="90021">0</cx:pt>
          <cx:pt idx="90022">0</cx:pt>
          <cx:pt idx="90023">0</cx:pt>
          <cx:pt idx="90024">1</cx:pt>
          <cx:pt idx="90025">0</cx:pt>
          <cx:pt idx="90026">0</cx:pt>
          <cx:pt idx="90027">1</cx:pt>
          <cx:pt idx="90028">0</cx:pt>
          <cx:pt idx="90029">0</cx:pt>
          <cx:pt idx="90030">0</cx:pt>
          <cx:pt idx="90031">0</cx:pt>
          <cx:pt idx="90032">0</cx:pt>
          <cx:pt idx="90033">1</cx:pt>
          <cx:pt idx="90034">1</cx:pt>
          <cx:pt idx="90035">0</cx:pt>
          <cx:pt idx="90036">0</cx:pt>
          <cx:pt idx="90037">0</cx:pt>
          <cx:pt idx="90038">1</cx:pt>
          <cx:pt idx="90039">0</cx:pt>
          <cx:pt idx="90040">0</cx:pt>
          <cx:pt idx="90041">0</cx:pt>
          <cx:pt idx="90042">0</cx:pt>
          <cx:pt idx="90043">1</cx:pt>
          <cx:pt idx="90044">0</cx:pt>
          <cx:pt idx="90045">0</cx:pt>
          <cx:pt idx="90046">0</cx:pt>
          <cx:pt idx="90047">1</cx:pt>
          <cx:pt idx="90048">0</cx:pt>
          <cx:pt idx="90049">1</cx:pt>
          <cx:pt idx="90050">0</cx:pt>
          <cx:pt idx="90051">0</cx:pt>
          <cx:pt idx="90052">0</cx:pt>
          <cx:pt idx="90053">1</cx:pt>
          <cx:pt idx="90054">0</cx:pt>
          <cx:pt idx="90055">1</cx:pt>
          <cx:pt idx="90056">1</cx:pt>
          <cx:pt idx="90057">0</cx:pt>
          <cx:pt idx="90058">0</cx:pt>
          <cx:pt idx="90059">0</cx:pt>
          <cx:pt idx="90060">1</cx:pt>
          <cx:pt idx="90061">0</cx:pt>
          <cx:pt idx="90062">1</cx:pt>
          <cx:pt idx="90063">0</cx:pt>
          <cx:pt idx="90064">0</cx:pt>
          <cx:pt idx="90065">1</cx:pt>
          <cx:pt idx="90066">1</cx:pt>
          <cx:pt idx="90067">0</cx:pt>
          <cx:pt idx="90068">0</cx:pt>
          <cx:pt idx="90069">0</cx:pt>
          <cx:pt idx="90070">1</cx:pt>
          <cx:pt idx="90071">1</cx:pt>
          <cx:pt idx="90072">1</cx:pt>
          <cx:pt idx="90073">0</cx:pt>
          <cx:pt idx="90074">0</cx:pt>
          <cx:pt idx="90075">1</cx:pt>
          <cx:pt idx="90076">1</cx:pt>
          <cx:pt idx="90077">1</cx:pt>
          <cx:pt idx="90078">0</cx:pt>
          <cx:pt idx="90079">0</cx:pt>
          <cx:pt idx="90080">0</cx:pt>
          <cx:pt idx="90081">1</cx:pt>
          <cx:pt idx="90082">1</cx:pt>
          <cx:pt idx="90083">0</cx:pt>
          <cx:pt idx="90084">0</cx:pt>
          <cx:pt idx="90085">1</cx:pt>
          <cx:pt idx="90086">0</cx:pt>
          <cx:pt idx="90087">1</cx:pt>
          <cx:pt idx="90088">0</cx:pt>
          <cx:pt idx="90089">1</cx:pt>
          <cx:pt idx="90090">1</cx:pt>
          <cx:pt idx="90091">0</cx:pt>
          <cx:pt idx="90092">0</cx:pt>
          <cx:pt idx="90093">1</cx:pt>
          <cx:pt idx="90094">1</cx:pt>
          <cx:pt idx="90095">1</cx:pt>
          <cx:pt idx="90096">0</cx:pt>
          <cx:pt idx="90097">0</cx:pt>
          <cx:pt idx="90098">0</cx:pt>
          <cx:pt idx="90099">0</cx:pt>
          <cx:pt idx="90100">1</cx:pt>
          <cx:pt idx="90101">1</cx:pt>
          <cx:pt idx="90102">1</cx:pt>
          <cx:pt idx="90103">1</cx:pt>
          <cx:pt idx="90104">0</cx:pt>
          <cx:pt idx="90105">1</cx:pt>
          <cx:pt idx="90106">0</cx:pt>
          <cx:pt idx="90107">0</cx:pt>
          <cx:pt idx="90108">1</cx:pt>
          <cx:pt idx="90109">1</cx:pt>
          <cx:pt idx="90110">1</cx:pt>
          <cx:pt idx="90111">0</cx:pt>
          <cx:pt idx="90112">0</cx:pt>
          <cx:pt idx="90113">0</cx:pt>
          <cx:pt idx="90114">1</cx:pt>
          <cx:pt idx="90115">0</cx:pt>
          <cx:pt idx="90116">0</cx:pt>
          <cx:pt idx="90117">1</cx:pt>
          <cx:pt idx="90118">1</cx:pt>
          <cx:pt idx="90119">1</cx:pt>
          <cx:pt idx="90120">0</cx:pt>
          <cx:pt idx="90121">1</cx:pt>
          <cx:pt idx="90122">0</cx:pt>
          <cx:pt idx="90123">1</cx:pt>
          <cx:pt idx="90124">0</cx:pt>
          <cx:pt idx="90125">0</cx:pt>
          <cx:pt idx="90126">0</cx:pt>
          <cx:pt idx="90127">1</cx:pt>
          <cx:pt idx="90128">1</cx:pt>
          <cx:pt idx="90129">1</cx:pt>
          <cx:pt idx="90130">0</cx:pt>
          <cx:pt idx="90131">0</cx:pt>
          <cx:pt idx="90132">1</cx:pt>
          <cx:pt idx="90133">0</cx:pt>
          <cx:pt idx="90134">1</cx:pt>
          <cx:pt idx="90135">1</cx:pt>
          <cx:pt idx="90136">0</cx:pt>
          <cx:pt idx="90137">0</cx:pt>
          <cx:pt idx="90138">0</cx:pt>
          <cx:pt idx="90139">0</cx:pt>
          <cx:pt idx="90140">0</cx:pt>
          <cx:pt idx="90141">0</cx:pt>
          <cx:pt idx="90142">1</cx:pt>
          <cx:pt idx="90143">1</cx:pt>
          <cx:pt idx="90144">0</cx:pt>
          <cx:pt idx="90145">1</cx:pt>
          <cx:pt idx="90146">1</cx:pt>
          <cx:pt idx="90147">0</cx:pt>
          <cx:pt idx="90148">0</cx:pt>
          <cx:pt idx="90149">1</cx:pt>
          <cx:pt idx="90150">0</cx:pt>
          <cx:pt idx="90151">1</cx:pt>
          <cx:pt idx="90152">1</cx:pt>
          <cx:pt idx="90153">0</cx:pt>
          <cx:pt idx="90154">0</cx:pt>
          <cx:pt idx="90155">0</cx:pt>
          <cx:pt idx="90156">1</cx:pt>
          <cx:pt idx="90157">1</cx:pt>
          <cx:pt idx="90158">1</cx:pt>
          <cx:pt idx="90159">0</cx:pt>
          <cx:pt idx="90160">1</cx:pt>
          <cx:pt idx="90161">1</cx:pt>
          <cx:pt idx="90162">1</cx:pt>
          <cx:pt idx="90163">0</cx:pt>
          <cx:pt idx="90164">0</cx:pt>
          <cx:pt idx="90165">0</cx:pt>
          <cx:pt idx="90166">1</cx:pt>
          <cx:pt idx="90167">0</cx:pt>
          <cx:pt idx="90168">0</cx:pt>
          <cx:pt idx="90169">1</cx:pt>
          <cx:pt idx="90170">1</cx:pt>
          <cx:pt idx="90171">0</cx:pt>
          <cx:pt idx="90172">0</cx:pt>
          <cx:pt idx="90173">0</cx:pt>
          <cx:pt idx="90174">1</cx:pt>
          <cx:pt idx="90175">0</cx:pt>
          <cx:pt idx="90176">0</cx:pt>
          <cx:pt idx="90177">0</cx:pt>
          <cx:pt idx="90178">0</cx:pt>
          <cx:pt idx="90179">0</cx:pt>
          <cx:pt idx="90180">1</cx:pt>
          <cx:pt idx="90181">1</cx:pt>
          <cx:pt idx="90182">1</cx:pt>
          <cx:pt idx="90183">1</cx:pt>
          <cx:pt idx="90184">1</cx:pt>
          <cx:pt idx="90185">0</cx:pt>
          <cx:pt idx="90186">1</cx:pt>
          <cx:pt idx="90187">1</cx:pt>
          <cx:pt idx="90188">0</cx:pt>
          <cx:pt idx="90189">1</cx:pt>
          <cx:pt idx="90190">0</cx:pt>
          <cx:pt idx="90191">0</cx:pt>
          <cx:pt idx="90192">0</cx:pt>
          <cx:pt idx="90193">0</cx:pt>
          <cx:pt idx="90194">1</cx:pt>
          <cx:pt idx="90195">0</cx:pt>
          <cx:pt idx="90196">1</cx:pt>
          <cx:pt idx="90197">1</cx:pt>
          <cx:pt idx="90198">1</cx:pt>
          <cx:pt idx="90199">0</cx:pt>
          <cx:pt idx="90200">1</cx:pt>
          <cx:pt idx="90201">0</cx:pt>
          <cx:pt idx="90202">1</cx:pt>
          <cx:pt idx="90203">0</cx:pt>
          <cx:pt idx="90204">1</cx:pt>
          <cx:pt idx="90205">1</cx:pt>
          <cx:pt idx="90206">1</cx:pt>
          <cx:pt idx="90207">1</cx:pt>
          <cx:pt idx="90208">1</cx:pt>
          <cx:pt idx="90209">0</cx:pt>
          <cx:pt idx="90210">1</cx:pt>
          <cx:pt idx="90211">1</cx:pt>
          <cx:pt idx="90212">1</cx:pt>
          <cx:pt idx="90213">1</cx:pt>
          <cx:pt idx="90214">1</cx:pt>
          <cx:pt idx="90215">0</cx:pt>
          <cx:pt idx="90216">0</cx:pt>
          <cx:pt idx="90217">0</cx:pt>
          <cx:pt idx="90218">1</cx:pt>
          <cx:pt idx="90219">0</cx:pt>
          <cx:pt idx="90220">1</cx:pt>
          <cx:pt idx="90221">0</cx:pt>
          <cx:pt idx="90222">0</cx:pt>
          <cx:pt idx="90223">0</cx:pt>
          <cx:pt idx="90224">0</cx:pt>
          <cx:pt idx="90225">0</cx:pt>
          <cx:pt idx="90226">1</cx:pt>
          <cx:pt idx="90227">0</cx:pt>
          <cx:pt idx="90228">1</cx:pt>
          <cx:pt idx="90229">0</cx:pt>
          <cx:pt idx="90230">0</cx:pt>
          <cx:pt idx="90231">0</cx:pt>
          <cx:pt idx="90232">1</cx:pt>
          <cx:pt idx="90233">1</cx:pt>
          <cx:pt idx="90234">0</cx:pt>
          <cx:pt idx="90235">0</cx:pt>
          <cx:pt idx="90236">0</cx:pt>
          <cx:pt idx="90237">0</cx:pt>
          <cx:pt idx="90238">1</cx:pt>
          <cx:pt idx="90239">1</cx:pt>
          <cx:pt idx="90240">1</cx:pt>
          <cx:pt idx="90241">0</cx:pt>
          <cx:pt idx="90242">0</cx:pt>
          <cx:pt idx="90243">1</cx:pt>
          <cx:pt idx="90244">1</cx:pt>
          <cx:pt idx="90245">1</cx:pt>
          <cx:pt idx="90246">1</cx:pt>
          <cx:pt idx="90247">1</cx:pt>
          <cx:pt idx="90248">1</cx:pt>
          <cx:pt idx="90249">1</cx:pt>
          <cx:pt idx="90250">1</cx:pt>
          <cx:pt idx="90251">0</cx:pt>
          <cx:pt idx="90252">1</cx:pt>
          <cx:pt idx="90253">0</cx:pt>
          <cx:pt idx="90254">0</cx:pt>
          <cx:pt idx="90255">0</cx:pt>
          <cx:pt idx="90256">1</cx:pt>
          <cx:pt idx="90257">1</cx:pt>
          <cx:pt idx="90258">1</cx:pt>
          <cx:pt idx="90259">1</cx:pt>
          <cx:pt idx="90260">0</cx:pt>
          <cx:pt idx="90261">1</cx:pt>
          <cx:pt idx="90262">0</cx:pt>
          <cx:pt idx="90263">1</cx:pt>
          <cx:pt idx="90264">1</cx:pt>
          <cx:pt idx="90265">1</cx:pt>
          <cx:pt idx="90266">0</cx:pt>
          <cx:pt idx="90267">0</cx:pt>
          <cx:pt idx="90268">1</cx:pt>
          <cx:pt idx="90269">0</cx:pt>
          <cx:pt idx="90270">0</cx:pt>
          <cx:pt idx="90271">1</cx:pt>
          <cx:pt idx="90272">1</cx:pt>
          <cx:pt idx="90273">0</cx:pt>
          <cx:pt idx="90274">1</cx:pt>
          <cx:pt idx="90275">0</cx:pt>
          <cx:pt idx="90276">1</cx:pt>
          <cx:pt idx="90277">1</cx:pt>
          <cx:pt idx="90278">1</cx:pt>
          <cx:pt idx="90279">0</cx:pt>
          <cx:pt idx="90280">1</cx:pt>
          <cx:pt idx="90281">1</cx:pt>
          <cx:pt idx="90282">0</cx:pt>
          <cx:pt idx="90283">0</cx:pt>
          <cx:pt idx="90284">0</cx:pt>
          <cx:pt idx="90285">0</cx:pt>
          <cx:pt idx="90286">0</cx:pt>
          <cx:pt idx="90287">1</cx:pt>
          <cx:pt idx="90288">0</cx:pt>
          <cx:pt idx="90289">0</cx:pt>
          <cx:pt idx="90290">1</cx:pt>
          <cx:pt idx="90291">0</cx:pt>
          <cx:pt idx="90292">0</cx:pt>
          <cx:pt idx="90293">1</cx:pt>
          <cx:pt idx="90294">1</cx:pt>
          <cx:pt idx="90295">0</cx:pt>
          <cx:pt idx="90296">1</cx:pt>
          <cx:pt idx="90297">1</cx:pt>
          <cx:pt idx="90298">0</cx:pt>
          <cx:pt idx="90299">0</cx:pt>
          <cx:pt idx="90300">0</cx:pt>
          <cx:pt idx="90301">0</cx:pt>
          <cx:pt idx="90302">0</cx:pt>
          <cx:pt idx="90303">1</cx:pt>
          <cx:pt idx="90304">0</cx:pt>
          <cx:pt idx="90305">1</cx:pt>
          <cx:pt idx="90306">1</cx:pt>
          <cx:pt idx="90307">0</cx:pt>
          <cx:pt idx="90308">0</cx:pt>
          <cx:pt idx="90309">1</cx:pt>
          <cx:pt idx="90310">1</cx:pt>
          <cx:pt idx="90311">1</cx:pt>
          <cx:pt idx="90312">1</cx:pt>
          <cx:pt idx="90313">1</cx:pt>
          <cx:pt idx="90314">1</cx:pt>
          <cx:pt idx="90315">0</cx:pt>
          <cx:pt idx="90316">0</cx:pt>
          <cx:pt idx="90317">0</cx:pt>
          <cx:pt idx="90318">0</cx:pt>
          <cx:pt idx="90319">0</cx:pt>
          <cx:pt idx="90320">0</cx:pt>
          <cx:pt idx="90321">1</cx:pt>
          <cx:pt idx="90322">1</cx:pt>
          <cx:pt idx="90323">1</cx:pt>
          <cx:pt idx="90324">1</cx:pt>
          <cx:pt idx="90325">1</cx:pt>
          <cx:pt idx="90326">1</cx:pt>
          <cx:pt idx="90327">0</cx:pt>
          <cx:pt idx="90328">1</cx:pt>
          <cx:pt idx="90329">0</cx:pt>
          <cx:pt idx="90330">1</cx:pt>
          <cx:pt idx="90331">1</cx:pt>
          <cx:pt idx="90332">0</cx:pt>
          <cx:pt idx="90333">0</cx:pt>
          <cx:pt idx="90334">1</cx:pt>
          <cx:pt idx="90335">0</cx:pt>
          <cx:pt idx="90336">1</cx:pt>
          <cx:pt idx="90337">1</cx:pt>
          <cx:pt idx="90338">1</cx:pt>
          <cx:pt idx="90339">0</cx:pt>
          <cx:pt idx="90340">1</cx:pt>
          <cx:pt idx="90341">0</cx:pt>
          <cx:pt idx="90342">1</cx:pt>
          <cx:pt idx="90343">0</cx:pt>
          <cx:pt idx="90344">0</cx:pt>
          <cx:pt idx="90345">0</cx:pt>
          <cx:pt idx="90346">1</cx:pt>
          <cx:pt idx="90347">1</cx:pt>
          <cx:pt idx="90348">1</cx:pt>
          <cx:pt idx="90349">0</cx:pt>
          <cx:pt idx="90350">1</cx:pt>
          <cx:pt idx="90351">0</cx:pt>
          <cx:pt idx="90352">1</cx:pt>
          <cx:pt idx="90353">0</cx:pt>
          <cx:pt idx="90354">0</cx:pt>
          <cx:pt idx="90355">1</cx:pt>
          <cx:pt idx="90356">1</cx:pt>
          <cx:pt idx="90357">0</cx:pt>
          <cx:pt idx="90358">1</cx:pt>
          <cx:pt idx="90359">0</cx:pt>
          <cx:pt idx="90360">0</cx:pt>
          <cx:pt idx="90361">0</cx:pt>
          <cx:pt idx="90362">0</cx:pt>
          <cx:pt idx="90363">0</cx:pt>
          <cx:pt idx="90364">1</cx:pt>
          <cx:pt idx="90365">1</cx:pt>
          <cx:pt idx="90366">0</cx:pt>
          <cx:pt idx="90367">1</cx:pt>
          <cx:pt idx="90368">1</cx:pt>
          <cx:pt idx="90369">1</cx:pt>
          <cx:pt idx="90370">0</cx:pt>
          <cx:pt idx="90371">0</cx:pt>
          <cx:pt idx="90372">0</cx:pt>
          <cx:pt idx="90373">0</cx:pt>
          <cx:pt idx="90374">1</cx:pt>
          <cx:pt idx="90375">0</cx:pt>
          <cx:pt idx="90376">1</cx:pt>
          <cx:pt idx="90377">0</cx:pt>
          <cx:pt idx="90378">1</cx:pt>
          <cx:pt idx="90379">0</cx:pt>
          <cx:pt idx="90380">1</cx:pt>
          <cx:pt idx="90381">1</cx:pt>
          <cx:pt idx="90382">1</cx:pt>
          <cx:pt idx="90383">0</cx:pt>
          <cx:pt idx="90384">1</cx:pt>
          <cx:pt idx="90385">1</cx:pt>
          <cx:pt idx="90386">0</cx:pt>
          <cx:pt idx="90387">1</cx:pt>
          <cx:pt idx="90388">0</cx:pt>
          <cx:pt idx="90389">0</cx:pt>
          <cx:pt idx="90390">1</cx:pt>
          <cx:pt idx="90391">1</cx:pt>
          <cx:pt idx="90392">1</cx:pt>
          <cx:pt idx="90393">1</cx:pt>
          <cx:pt idx="90394">1</cx:pt>
          <cx:pt idx="90395">0</cx:pt>
          <cx:pt idx="90396">1</cx:pt>
          <cx:pt idx="90397">1</cx:pt>
          <cx:pt idx="90398">0</cx:pt>
          <cx:pt idx="90399">1</cx:pt>
          <cx:pt idx="90400">0</cx:pt>
          <cx:pt idx="90401">1</cx:pt>
          <cx:pt idx="90402">1</cx:pt>
          <cx:pt idx="90403">0</cx:pt>
          <cx:pt idx="90404">1</cx:pt>
          <cx:pt idx="90405">1</cx:pt>
          <cx:pt idx="90406">0</cx:pt>
          <cx:pt idx="90407">1</cx:pt>
          <cx:pt idx="90408">0</cx:pt>
          <cx:pt idx="90409">0</cx:pt>
          <cx:pt idx="90410">1</cx:pt>
          <cx:pt idx="90411">1</cx:pt>
          <cx:pt idx="90412">0</cx:pt>
          <cx:pt idx="90413">1</cx:pt>
          <cx:pt idx="90414">1</cx:pt>
          <cx:pt idx="90415">1</cx:pt>
          <cx:pt idx="90416">1</cx:pt>
          <cx:pt idx="90417">1</cx:pt>
          <cx:pt idx="90418">0</cx:pt>
          <cx:pt idx="90419">1</cx:pt>
          <cx:pt idx="90420">0</cx:pt>
          <cx:pt idx="90421">1</cx:pt>
          <cx:pt idx="90422">1</cx:pt>
          <cx:pt idx="90423">0</cx:pt>
          <cx:pt idx="90424">0</cx:pt>
          <cx:pt idx="90425">0</cx:pt>
          <cx:pt idx="90426">0</cx:pt>
          <cx:pt idx="90427">0</cx:pt>
          <cx:pt idx="90428">0</cx:pt>
          <cx:pt idx="90429">0</cx:pt>
          <cx:pt idx="90430">0</cx:pt>
          <cx:pt idx="90431">1</cx:pt>
          <cx:pt idx="90432">0</cx:pt>
          <cx:pt idx="90433">0</cx:pt>
          <cx:pt idx="90434">0</cx:pt>
          <cx:pt idx="90435">0</cx:pt>
          <cx:pt idx="90436">0</cx:pt>
          <cx:pt idx="90437">1</cx:pt>
          <cx:pt idx="90438">0</cx:pt>
          <cx:pt idx="90439">1</cx:pt>
          <cx:pt idx="90440">0</cx:pt>
          <cx:pt idx="90441">1</cx:pt>
          <cx:pt idx="90442">0</cx:pt>
          <cx:pt idx="90443">1</cx:pt>
          <cx:pt idx="90444">0</cx:pt>
          <cx:pt idx="90445">0</cx:pt>
          <cx:pt idx="90446">1</cx:pt>
          <cx:pt idx="90447">0</cx:pt>
          <cx:pt idx="90448">1</cx:pt>
          <cx:pt idx="90449">1</cx:pt>
          <cx:pt idx="90450">1</cx:pt>
          <cx:pt idx="90451">0</cx:pt>
          <cx:pt idx="90452">1</cx:pt>
          <cx:pt idx="90453">1</cx:pt>
          <cx:pt idx="90454">1</cx:pt>
          <cx:pt idx="90455">1</cx:pt>
          <cx:pt idx="90456">0</cx:pt>
          <cx:pt idx="90457">1</cx:pt>
          <cx:pt idx="90458">1</cx:pt>
          <cx:pt idx="90459">0</cx:pt>
          <cx:pt idx="90460">0</cx:pt>
          <cx:pt idx="90461">1</cx:pt>
          <cx:pt idx="90462">1</cx:pt>
          <cx:pt idx="90463">0</cx:pt>
          <cx:pt idx="90464">1</cx:pt>
          <cx:pt idx="90465">0</cx:pt>
          <cx:pt idx="90466">1</cx:pt>
          <cx:pt idx="90467">1</cx:pt>
          <cx:pt idx="90468">1</cx:pt>
          <cx:pt idx="90469">1</cx:pt>
          <cx:pt idx="90470">1</cx:pt>
          <cx:pt idx="90471">0</cx:pt>
          <cx:pt idx="90472">1</cx:pt>
          <cx:pt idx="90473">0</cx:pt>
          <cx:pt idx="90474">1</cx:pt>
          <cx:pt idx="90475">1</cx:pt>
          <cx:pt idx="90476">0</cx:pt>
          <cx:pt idx="90477">0</cx:pt>
          <cx:pt idx="90478">0</cx:pt>
          <cx:pt idx="90479">0</cx:pt>
          <cx:pt idx="90480">1</cx:pt>
          <cx:pt idx="90481">1</cx:pt>
          <cx:pt idx="90482">1</cx:pt>
          <cx:pt idx="90483">0</cx:pt>
          <cx:pt idx="90484">0</cx:pt>
          <cx:pt idx="90485">1</cx:pt>
          <cx:pt idx="90486">1</cx:pt>
          <cx:pt idx="90487">0</cx:pt>
          <cx:pt idx="90488">1</cx:pt>
          <cx:pt idx="90489">1</cx:pt>
          <cx:pt idx="90490">0</cx:pt>
          <cx:pt idx="90491">0</cx:pt>
          <cx:pt idx="90492">0</cx:pt>
          <cx:pt idx="90493">0</cx:pt>
          <cx:pt idx="90494">1</cx:pt>
          <cx:pt idx="90495">1</cx:pt>
          <cx:pt idx="90496">0</cx:pt>
          <cx:pt idx="90497">0</cx:pt>
          <cx:pt idx="90498">1</cx:pt>
          <cx:pt idx="90499">0</cx:pt>
          <cx:pt idx="90500">1</cx:pt>
          <cx:pt idx="90501">0</cx:pt>
          <cx:pt idx="90502">1</cx:pt>
          <cx:pt idx="90503">1</cx:pt>
          <cx:pt idx="90504">0</cx:pt>
          <cx:pt idx="90505">1</cx:pt>
          <cx:pt idx="90506">1</cx:pt>
          <cx:pt idx="90507">0</cx:pt>
          <cx:pt idx="90508">0</cx:pt>
          <cx:pt idx="90509">1</cx:pt>
          <cx:pt idx="90510">1</cx:pt>
          <cx:pt idx="90511">1</cx:pt>
          <cx:pt idx="90512">1</cx:pt>
          <cx:pt idx="90513">1</cx:pt>
          <cx:pt idx="90514">1</cx:pt>
          <cx:pt idx="90515">1</cx:pt>
          <cx:pt idx="90516">1</cx:pt>
          <cx:pt idx="90517">0</cx:pt>
          <cx:pt idx="90518">0</cx:pt>
          <cx:pt idx="90519">0</cx:pt>
          <cx:pt idx="90520">0</cx:pt>
          <cx:pt idx="90521">1</cx:pt>
          <cx:pt idx="90522">0</cx:pt>
          <cx:pt idx="90523">0</cx:pt>
          <cx:pt idx="90524">1</cx:pt>
          <cx:pt idx="90525">0</cx:pt>
          <cx:pt idx="90526">0</cx:pt>
          <cx:pt idx="90527">0</cx:pt>
          <cx:pt idx="90528">1</cx:pt>
          <cx:pt idx="90529">1</cx:pt>
          <cx:pt idx="90530">0</cx:pt>
          <cx:pt idx="90531">0</cx:pt>
          <cx:pt idx="90532">1</cx:pt>
          <cx:pt idx="90533">0</cx:pt>
          <cx:pt idx="90534">1</cx:pt>
          <cx:pt idx="90535">0</cx:pt>
          <cx:pt idx="90536">0</cx:pt>
          <cx:pt idx="90537">0</cx:pt>
          <cx:pt idx="90538">0</cx:pt>
          <cx:pt idx="90539">0</cx:pt>
          <cx:pt idx="90540">1</cx:pt>
          <cx:pt idx="90541">0</cx:pt>
          <cx:pt idx="90542">0</cx:pt>
          <cx:pt idx="90543">0</cx:pt>
          <cx:pt idx="90544">0</cx:pt>
          <cx:pt idx="90545">1</cx:pt>
          <cx:pt idx="90546">1</cx:pt>
          <cx:pt idx="90547">0</cx:pt>
          <cx:pt idx="90548">0</cx:pt>
          <cx:pt idx="90549">1</cx:pt>
          <cx:pt idx="90550">0</cx:pt>
          <cx:pt idx="90551">1</cx:pt>
          <cx:pt idx="90552">0</cx:pt>
          <cx:pt idx="90553">0</cx:pt>
          <cx:pt idx="90554">0</cx:pt>
          <cx:pt idx="90555">1</cx:pt>
          <cx:pt idx="90556">1</cx:pt>
          <cx:pt idx="90557">0</cx:pt>
          <cx:pt idx="90558">0</cx:pt>
          <cx:pt idx="90559">0</cx:pt>
          <cx:pt idx="90560">1</cx:pt>
          <cx:pt idx="90561">1</cx:pt>
          <cx:pt idx="90562">0</cx:pt>
          <cx:pt idx="90563">0</cx:pt>
          <cx:pt idx="90564">1</cx:pt>
          <cx:pt idx="90565">1</cx:pt>
          <cx:pt idx="90566">1</cx:pt>
          <cx:pt idx="90567">1</cx:pt>
          <cx:pt idx="90568">1</cx:pt>
          <cx:pt idx="90569">1</cx:pt>
          <cx:pt idx="90570">0</cx:pt>
          <cx:pt idx="90571">0</cx:pt>
          <cx:pt idx="90572">0</cx:pt>
          <cx:pt idx="90573">0</cx:pt>
          <cx:pt idx="90574">1</cx:pt>
          <cx:pt idx="90575">0</cx:pt>
          <cx:pt idx="90576">0</cx:pt>
          <cx:pt idx="90577">0</cx:pt>
          <cx:pt idx="90578">0</cx:pt>
          <cx:pt idx="90579">1</cx:pt>
          <cx:pt idx="90580">0</cx:pt>
          <cx:pt idx="90581">0</cx:pt>
          <cx:pt idx="90582">0</cx:pt>
          <cx:pt idx="90583">0</cx:pt>
          <cx:pt idx="90584">0</cx:pt>
          <cx:pt idx="90585">0</cx:pt>
          <cx:pt idx="90586">0</cx:pt>
          <cx:pt idx="90587">1</cx:pt>
          <cx:pt idx="90588">0</cx:pt>
          <cx:pt idx="90589">1</cx:pt>
          <cx:pt idx="90590">0</cx:pt>
          <cx:pt idx="90591">0</cx:pt>
          <cx:pt idx="90592">0</cx:pt>
          <cx:pt idx="90593">0</cx:pt>
          <cx:pt idx="90594">0</cx:pt>
          <cx:pt idx="90595">1</cx:pt>
          <cx:pt idx="90596">0</cx:pt>
          <cx:pt idx="90597">1</cx:pt>
          <cx:pt idx="90598">1</cx:pt>
          <cx:pt idx="90599">1</cx:pt>
          <cx:pt idx="90600">1</cx:pt>
          <cx:pt idx="90601">1</cx:pt>
          <cx:pt idx="90602">0</cx:pt>
          <cx:pt idx="90603">1</cx:pt>
          <cx:pt idx="90604">0</cx:pt>
          <cx:pt idx="90605">1</cx:pt>
          <cx:pt idx="90606">0</cx:pt>
          <cx:pt idx="90607">1</cx:pt>
          <cx:pt idx="90608">1</cx:pt>
          <cx:pt idx="90609">0</cx:pt>
          <cx:pt idx="90610">1</cx:pt>
          <cx:pt idx="90611">0</cx:pt>
          <cx:pt idx="90612">1</cx:pt>
          <cx:pt idx="90613">1</cx:pt>
          <cx:pt idx="90614">1</cx:pt>
          <cx:pt idx="90615">0</cx:pt>
          <cx:pt idx="90616">0</cx:pt>
          <cx:pt idx="90617">0</cx:pt>
          <cx:pt idx="90618">0</cx:pt>
          <cx:pt idx="90619">1</cx:pt>
          <cx:pt idx="90620">1</cx:pt>
          <cx:pt idx="90621">1</cx:pt>
          <cx:pt idx="90622">0</cx:pt>
          <cx:pt idx="90623">1</cx:pt>
          <cx:pt idx="90624">1</cx:pt>
          <cx:pt idx="90625">0</cx:pt>
          <cx:pt idx="90626">1</cx:pt>
          <cx:pt idx="90627">0</cx:pt>
          <cx:pt idx="90628">1</cx:pt>
          <cx:pt idx="90629">0</cx:pt>
          <cx:pt idx="90630">1</cx:pt>
          <cx:pt idx="90631">1</cx:pt>
          <cx:pt idx="90632">1</cx:pt>
          <cx:pt idx="90633">0</cx:pt>
          <cx:pt idx="90634">1</cx:pt>
          <cx:pt idx="90635">0</cx:pt>
          <cx:pt idx="90636">1</cx:pt>
          <cx:pt idx="90637">0</cx:pt>
          <cx:pt idx="90638">1</cx:pt>
          <cx:pt idx="90639">0</cx:pt>
          <cx:pt idx="90640">1</cx:pt>
          <cx:pt idx="90641">0</cx:pt>
          <cx:pt idx="90642">0</cx:pt>
          <cx:pt idx="90643">1</cx:pt>
          <cx:pt idx="90644">1</cx:pt>
          <cx:pt idx="90645">1</cx:pt>
          <cx:pt idx="90646">0</cx:pt>
          <cx:pt idx="90647">0</cx:pt>
          <cx:pt idx="90648">1</cx:pt>
          <cx:pt idx="90649">1</cx:pt>
          <cx:pt idx="90650">0</cx:pt>
          <cx:pt idx="90651">1</cx:pt>
          <cx:pt idx="90652">0</cx:pt>
          <cx:pt idx="90653">0</cx:pt>
          <cx:pt idx="90654">1</cx:pt>
          <cx:pt idx="90655">0</cx:pt>
          <cx:pt idx="90656">0</cx:pt>
          <cx:pt idx="90657">0</cx:pt>
          <cx:pt idx="90658">1</cx:pt>
          <cx:pt idx="90659">0</cx:pt>
          <cx:pt idx="90660">1</cx:pt>
          <cx:pt idx="90661">0</cx:pt>
          <cx:pt idx="90662">0</cx:pt>
          <cx:pt idx="90663">1</cx:pt>
          <cx:pt idx="90664">1</cx:pt>
          <cx:pt idx="90665">1</cx:pt>
          <cx:pt idx="90666">1</cx:pt>
          <cx:pt idx="90667">1</cx:pt>
          <cx:pt idx="90668">0</cx:pt>
          <cx:pt idx="90669">0</cx:pt>
          <cx:pt idx="90670">1</cx:pt>
          <cx:pt idx="90671">1</cx:pt>
          <cx:pt idx="90672">1</cx:pt>
          <cx:pt idx="90673">0</cx:pt>
          <cx:pt idx="90674">1</cx:pt>
          <cx:pt idx="90675">0</cx:pt>
          <cx:pt idx="90676">1</cx:pt>
          <cx:pt idx="90677">0</cx:pt>
          <cx:pt idx="90678">1</cx:pt>
          <cx:pt idx="90679">1</cx:pt>
          <cx:pt idx="90680">0</cx:pt>
          <cx:pt idx="90681">1</cx:pt>
          <cx:pt idx="90682">0</cx:pt>
          <cx:pt idx="90683">0</cx:pt>
          <cx:pt idx="90684">0</cx:pt>
          <cx:pt idx="90685">0</cx:pt>
          <cx:pt idx="90686">1</cx:pt>
          <cx:pt idx="90687">0</cx:pt>
          <cx:pt idx="90688">0</cx:pt>
          <cx:pt idx="90689">1</cx:pt>
          <cx:pt idx="90690">0</cx:pt>
          <cx:pt idx="90691">0</cx:pt>
          <cx:pt idx="90692">0</cx:pt>
          <cx:pt idx="90693">0</cx:pt>
          <cx:pt idx="90694">0</cx:pt>
          <cx:pt idx="90695">0</cx:pt>
          <cx:pt idx="90696">0</cx:pt>
          <cx:pt idx="90697">0</cx:pt>
          <cx:pt idx="90698">1</cx:pt>
          <cx:pt idx="90699">1</cx:pt>
          <cx:pt idx="90700">0</cx:pt>
          <cx:pt idx="90701">1</cx:pt>
          <cx:pt idx="90702">0</cx:pt>
          <cx:pt idx="90703">0</cx:pt>
          <cx:pt idx="90704">0</cx:pt>
          <cx:pt idx="90705">1</cx:pt>
          <cx:pt idx="90706">1</cx:pt>
          <cx:pt idx="90707">0</cx:pt>
          <cx:pt idx="90708">1</cx:pt>
          <cx:pt idx="90709">1</cx:pt>
          <cx:pt idx="90710">1</cx:pt>
          <cx:pt idx="90711">0</cx:pt>
          <cx:pt idx="90712">0</cx:pt>
          <cx:pt idx="90713">0</cx:pt>
          <cx:pt idx="90714">0</cx:pt>
          <cx:pt idx="90715">1</cx:pt>
          <cx:pt idx="90716">1</cx:pt>
          <cx:pt idx="90717">1</cx:pt>
          <cx:pt idx="90718">1</cx:pt>
          <cx:pt idx="90719">0</cx:pt>
          <cx:pt idx="90720">0</cx:pt>
          <cx:pt idx="90721">0</cx:pt>
          <cx:pt idx="90722">0</cx:pt>
          <cx:pt idx="90723">1</cx:pt>
          <cx:pt idx="90724">0</cx:pt>
          <cx:pt idx="90725">1</cx:pt>
          <cx:pt idx="90726">1</cx:pt>
          <cx:pt idx="90727">1</cx:pt>
          <cx:pt idx="90728">0</cx:pt>
          <cx:pt idx="90729">1</cx:pt>
          <cx:pt idx="90730">1</cx:pt>
          <cx:pt idx="90731">1</cx:pt>
          <cx:pt idx="90732">0</cx:pt>
          <cx:pt idx="90733">0</cx:pt>
          <cx:pt idx="90734">0</cx:pt>
          <cx:pt idx="90735">0</cx:pt>
          <cx:pt idx="90736">1</cx:pt>
          <cx:pt idx="90737">1</cx:pt>
          <cx:pt idx="90738">1</cx:pt>
          <cx:pt idx="90739">1</cx:pt>
          <cx:pt idx="90740">1</cx:pt>
          <cx:pt idx="90741">1</cx:pt>
          <cx:pt idx="90742">0</cx:pt>
          <cx:pt idx="90743">0</cx:pt>
          <cx:pt idx="90744">1</cx:pt>
          <cx:pt idx="90745">0</cx:pt>
          <cx:pt idx="90746">1</cx:pt>
          <cx:pt idx="90747">0</cx:pt>
          <cx:pt idx="90748">0</cx:pt>
          <cx:pt idx="90749">0</cx:pt>
          <cx:pt idx="90750">0</cx:pt>
          <cx:pt idx="90751">0</cx:pt>
          <cx:pt idx="90752">0</cx:pt>
          <cx:pt idx="90753">0</cx:pt>
          <cx:pt idx="90754">0</cx:pt>
          <cx:pt idx="90755">0</cx:pt>
          <cx:pt idx="90756">1</cx:pt>
          <cx:pt idx="90757">1</cx:pt>
          <cx:pt idx="90758">0</cx:pt>
          <cx:pt idx="90759">1</cx:pt>
          <cx:pt idx="90760">0</cx:pt>
          <cx:pt idx="90761">1</cx:pt>
          <cx:pt idx="90762">1</cx:pt>
          <cx:pt idx="90763">1</cx:pt>
          <cx:pt idx="90764">1</cx:pt>
          <cx:pt idx="90765">0</cx:pt>
          <cx:pt idx="90766">0</cx:pt>
          <cx:pt idx="90767">0</cx:pt>
          <cx:pt idx="90768">0</cx:pt>
          <cx:pt idx="90769">1</cx:pt>
          <cx:pt idx="90770">0</cx:pt>
          <cx:pt idx="90771">0</cx:pt>
          <cx:pt idx="90772">1</cx:pt>
          <cx:pt idx="90773">1</cx:pt>
          <cx:pt idx="90774">1</cx:pt>
          <cx:pt idx="90775">0</cx:pt>
          <cx:pt idx="90776">0</cx:pt>
          <cx:pt idx="90777">0</cx:pt>
          <cx:pt idx="90778">0</cx:pt>
          <cx:pt idx="90779">0</cx:pt>
          <cx:pt idx="90780">0</cx:pt>
          <cx:pt idx="90781">1</cx:pt>
          <cx:pt idx="90782">0</cx:pt>
          <cx:pt idx="90783">0</cx:pt>
          <cx:pt idx="90784">1</cx:pt>
          <cx:pt idx="90785">0</cx:pt>
          <cx:pt idx="90786">1</cx:pt>
          <cx:pt idx="90787">0</cx:pt>
          <cx:pt idx="90788">0</cx:pt>
          <cx:pt idx="90789">0</cx:pt>
          <cx:pt idx="90790">1</cx:pt>
          <cx:pt idx="90791">0</cx:pt>
          <cx:pt idx="90792">0</cx:pt>
          <cx:pt idx="90793">0</cx:pt>
          <cx:pt idx="90794">0</cx:pt>
          <cx:pt idx="90795">1</cx:pt>
          <cx:pt idx="90796">1</cx:pt>
          <cx:pt idx="90797">1</cx:pt>
          <cx:pt idx="90798">1</cx:pt>
          <cx:pt idx="90799">0</cx:pt>
          <cx:pt idx="90800">0</cx:pt>
          <cx:pt idx="90801">0</cx:pt>
          <cx:pt idx="90802">0</cx:pt>
          <cx:pt idx="90803">0</cx:pt>
          <cx:pt idx="90804">1</cx:pt>
          <cx:pt idx="90805">1</cx:pt>
          <cx:pt idx="90806">0</cx:pt>
          <cx:pt idx="90807">1</cx:pt>
          <cx:pt idx="90808">1</cx:pt>
          <cx:pt idx="90809">0</cx:pt>
          <cx:pt idx="90810">0</cx:pt>
          <cx:pt idx="90811">1</cx:pt>
          <cx:pt idx="90812">0</cx:pt>
          <cx:pt idx="90813">1</cx:pt>
          <cx:pt idx="90814">1</cx:pt>
          <cx:pt idx="90815">1</cx:pt>
          <cx:pt idx="90816">1</cx:pt>
          <cx:pt idx="90817">1</cx:pt>
          <cx:pt idx="90818">0</cx:pt>
          <cx:pt idx="90819">1</cx:pt>
          <cx:pt idx="90820">0</cx:pt>
          <cx:pt idx="90821">1</cx:pt>
          <cx:pt idx="90822">1</cx:pt>
          <cx:pt idx="90823">0</cx:pt>
          <cx:pt idx="90824">0</cx:pt>
          <cx:pt idx="90825">0</cx:pt>
          <cx:pt idx="90826">1</cx:pt>
          <cx:pt idx="90827">0</cx:pt>
          <cx:pt idx="90828">1</cx:pt>
          <cx:pt idx="90829">0</cx:pt>
          <cx:pt idx="90830">0</cx:pt>
          <cx:pt idx="90831">1</cx:pt>
          <cx:pt idx="90832">1</cx:pt>
          <cx:pt idx="90833">1</cx:pt>
          <cx:pt idx="90834">1</cx:pt>
          <cx:pt idx="90835">0</cx:pt>
          <cx:pt idx="90836">1</cx:pt>
          <cx:pt idx="90837">0</cx:pt>
          <cx:pt idx="90838">0</cx:pt>
          <cx:pt idx="90839">1</cx:pt>
          <cx:pt idx="90840">1</cx:pt>
          <cx:pt idx="90841">0</cx:pt>
          <cx:pt idx="90842">1</cx:pt>
          <cx:pt idx="90843">1</cx:pt>
          <cx:pt idx="90844">0</cx:pt>
          <cx:pt idx="90845">0</cx:pt>
          <cx:pt idx="90846">1</cx:pt>
          <cx:pt idx="90847">0</cx:pt>
          <cx:pt idx="90848">0</cx:pt>
          <cx:pt idx="90849">1</cx:pt>
          <cx:pt idx="90850">0</cx:pt>
          <cx:pt idx="90851">1</cx:pt>
          <cx:pt idx="90852">0</cx:pt>
          <cx:pt idx="90853">0</cx:pt>
          <cx:pt idx="90854">1</cx:pt>
          <cx:pt idx="90855">1</cx:pt>
          <cx:pt idx="90856">0</cx:pt>
          <cx:pt idx="90857">1</cx:pt>
          <cx:pt idx="90858">0</cx:pt>
          <cx:pt idx="90859">0</cx:pt>
          <cx:pt idx="90860">0</cx:pt>
          <cx:pt idx="90861">0</cx:pt>
          <cx:pt idx="90862">0</cx:pt>
          <cx:pt idx="90863">0</cx:pt>
          <cx:pt idx="90864">0</cx:pt>
          <cx:pt idx="90865">0</cx:pt>
          <cx:pt idx="90866">0</cx:pt>
          <cx:pt idx="90867">0</cx:pt>
          <cx:pt idx="90868">0</cx:pt>
          <cx:pt idx="90869">1</cx:pt>
          <cx:pt idx="90870">0</cx:pt>
          <cx:pt idx="90871">0</cx:pt>
          <cx:pt idx="90872">0</cx:pt>
          <cx:pt idx="90873">0</cx:pt>
          <cx:pt idx="90874">0</cx:pt>
          <cx:pt idx="90875">1</cx:pt>
          <cx:pt idx="90876">1</cx:pt>
          <cx:pt idx="90877">0</cx:pt>
          <cx:pt idx="90878">0</cx:pt>
          <cx:pt idx="90879">1</cx:pt>
          <cx:pt idx="90880">0</cx:pt>
          <cx:pt idx="90881">1</cx:pt>
          <cx:pt idx="90882">1</cx:pt>
          <cx:pt idx="90883">1</cx:pt>
          <cx:pt idx="90884">1</cx:pt>
          <cx:pt idx="90885">0</cx:pt>
          <cx:pt idx="90886">1</cx:pt>
          <cx:pt idx="90887">1</cx:pt>
          <cx:pt idx="90888">1</cx:pt>
          <cx:pt idx="90889">0</cx:pt>
          <cx:pt idx="90890">0</cx:pt>
          <cx:pt idx="90891">1</cx:pt>
          <cx:pt idx="90892">1</cx:pt>
          <cx:pt idx="90893">0</cx:pt>
          <cx:pt idx="90894">1</cx:pt>
          <cx:pt idx="90895">0</cx:pt>
          <cx:pt idx="90896">0</cx:pt>
          <cx:pt idx="90897">1</cx:pt>
          <cx:pt idx="90898">0</cx:pt>
          <cx:pt idx="90899">0</cx:pt>
          <cx:pt idx="90900">0</cx:pt>
          <cx:pt idx="90901">0</cx:pt>
          <cx:pt idx="90902">1</cx:pt>
          <cx:pt idx="90903">1</cx:pt>
          <cx:pt idx="90904">0</cx:pt>
          <cx:pt idx="90905">1</cx:pt>
          <cx:pt idx="90906">0</cx:pt>
          <cx:pt idx="90907">0</cx:pt>
          <cx:pt idx="90908">1</cx:pt>
          <cx:pt idx="90909">0</cx:pt>
          <cx:pt idx="90910">0</cx:pt>
          <cx:pt idx="90911">0</cx:pt>
          <cx:pt idx="90912">0</cx:pt>
          <cx:pt idx="90913">1</cx:pt>
          <cx:pt idx="90914">1</cx:pt>
          <cx:pt idx="90915">0</cx:pt>
          <cx:pt idx="90916">0</cx:pt>
          <cx:pt idx="90917">1</cx:pt>
          <cx:pt idx="90918">0</cx:pt>
          <cx:pt idx="90919">1</cx:pt>
          <cx:pt idx="90920">1</cx:pt>
          <cx:pt idx="90921">0</cx:pt>
          <cx:pt idx="90922">0</cx:pt>
          <cx:pt idx="90923">0</cx:pt>
          <cx:pt idx="90924">0</cx:pt>
          <cx:pt idx="90925">1</cx:pt>
          <cx:pt idx="90926">0</cx:pt>
          <cx:pt idx="90927">1</cx:pt>
          <cx:pt idx="90928">1</cx:pt>
          <cx:pt idx="90929">1</cx:pt>
          <cx:pt idx="90930">0</cx:pt>
          <cx:pt idx="90931">1</cx:pt>
          <cx:pt idx="90932">1</cx:pt>
          <cx:pt idx="90933">0</cx:pt>
          <cx:pt idx="90934">0</cx:pt>
          <cx:pt idx="90935">1</cx:pt>
          <cx:pt idx="90936">0</cx:pt>
          <cx:pt idx="90937">1</cx:pt>
          <cx:pt idx="90938">1</cx:pt>
          <cx:pt idx="90939">1</cx:pt>
          <cx:pt idx="90940">1</cx:pt>
          <cx:pt idx="90941">1</cx:pt>
          <cx:pt idx="90942">0</cx:pt>
          <cx:pt idx="90943">1</cx:pt>
          <cx:pt idx="90944">1</cx:pt>
          <cx:pt idx="90945">1</cx:pt>
          <cx:pt idx="90946">1</cx:pt>
          <cx:pt idx="90947">1</cx:pt>
          <cx:pt idx="90948">0</cx:pt>
          <cx:pt idx="90949">1</cx:pt>
          <cx:pt idx="90950">1</cx:pt>
          <cx:pt idx="90951">1</cx:pt>
          <cx:pt idx="90952">0</cx:pt>
          <cx:pt idx="90953">0</cx:pt>
          <cx:pt idx="90954">0</cx:pt>
          <cx:pt idx="90955">0</cx:pt>
          <cx:pt idx="90956">0</cx:pt>
          <cx:pt idx="90957">1</cx:pt>
          <cx:pt idx="90958">0</cx:pt>
          <cx:pt idx="90959">1</cx:pt>
          <cx:pt idx="90960">1</cx:pt>
          <cx:pt idx="90961">0</cx:pt>
          <cx:pt idx="90962">0</cx:pt>
          <cx:pt idx="90963">0</cx:pt>
          <cx:pt idx="90964">0</cx:pt>
          <cx:pt idx="90965">1</cx:pt>
          <cx:pt idx="90966">1</cx:pt>
          <cx:pt idx="90967">0</cx:pt>
          <cx:pt idx="90968">1</cx:pt>
          <cx:pt idx="90969">0</cx:pt>
          <cx:pt idx="90970">0</cx:pt>
          <cx:pt idx="90971">0</cx:pt>
          <cx:pt idx="90972">1</cx:pt>
          <cx:pt idx="90973">0</cx:pt>
          <cx:pt idx="90974">1</cx:pt>
          <cx:pt idx="90975">1</cx:pt>
          <cx:pt idx="90976">0</cx:pt>
          <cx:pt idx="90977">1</cx:pt>
          <cx:pt idx="90978">0</cx:pt>
          <cx:pt idx="90979">0</cx:pt>
          <cx:pt idx="90980">1</cx:pt>
          <cx:pt idx="90981">0</cx:pt>
          <cx:pt idx="90982">1</cx:pt>
          <cx:pt idx="90983">1</cx:pt>
          <cx:pt idx="90984">0</cx:pt>
          <cx:pt idx="90985">0</cx:pt>
          <cx:pt idx="90986">0</cx:pt>
          <cx:pt idx="90987">1</cx:pt>
          <cx:pt idx="90988">1</cx:pt>
          <cx:pt idx="90989">1</cx:pt>
          <cx:pt idx="90990">0</cx:pt>
          <cx:pt idx="90991">1</cx:pt>
          <cx:pt idx="90992">0</cx:pt>
          <cx:pt idx="90993">0</cx:pt>
          <cx:pt idx="90994">0</cx:pt>
          <cx:pt idx="90995">0</cx:pt>
          <cx:pt idx="90996">0</cx:pt>
          <cx:pt idx="90997">0</cx:pt>
          <cx:pt idx="90998">0</cx:pt>
          <cx:pt idx="90999">0</cx:pt>
          <cx:pt idx="91000">0</cx:pt>
          <cx:pt idx="91001">1</cx:pt>
          <cx:pt idx="91002">1</cx:pt>
          <cx:pt idx="91003">0</cx:pt>
          <cx:pt idx="91004">0</cx:pt>
          <cx:pt idx="91005">0</cx:pt>
          <cx:pt idx="91006">0</cx:pt>
          <cx:pt idx="91007">0</cx:pt>
          <cx:pt idx="91008">0</cx:pt>
          <cx:pt idx="91009">0</cx:pt>
          <cx:pt idx="91010">1</cx:pt>
          <cx:pt idx="91011">1</cx:pt>
          <cx:pt idx="91012">0</cx:pt>
          <cx:pt idx="91013">0</cx:pt>
          <cx:pt idx="91014">0</cx:pt>
          <cx:pt idx="91015">0</cx:pt>
          <cx:pt idx="91016">0</cx:pt>
          <cx:pt idx="91017">1</cx:pt>
          <cx:pt idx="91018">0</cx:pt>
          <cx:pt idx="91019">0</cx:pt>
          <cx:pt idx="91020">0</cx:pt>
          <cx:pt idx="91021">0</cx:pt>
          <cx:pt idx="91022">0</cx:pt>
          <cx:pt idx="91023">1</cx:pt>
          <cx:pt idx="91024">1</cx:pt>
          <cx:pt idx="91025">0</cx:pt>
          <cx:pt idx="91026">0</cx:pt>
          <cx:pt idx="91027">0</cx:pt>
          <cx:pt idx="91028">0</cx:pt>
          <cx:pt idx="91029">1</cx:pt>
          <cx:pt idx="91030">1</cx:pt>
          <cx:pt idx="91031">0</cx:pt>
          <cx:pt idx="91032">1</cx:pt>
          <cx:pt idx="91033">1</cx:pt>
          <cx:pt idx="91034">0</cx:pt>
          <cx:pt idx="91035">0</cx:pt>
          <cx:pt idx="91036">0</cx:pt>
          <cx:pt idx="91037">0</cx:pt>
          <cx:pt idx="91038">0</cx:pt>
          <cx:pt idx="91039">0</cx:pt>
          <cx:pt idx="91040">0</cx:pt>
          <cx:pt idx="91041">1</cx:pt>
          <cx:pt idx="91042">1</cx:pt>
          <cx:pt idx="91043">0</cx:pt>
          <cx:pt idx="91044">0</cx:pt>
          <cx:pt idx="91045">0</cx:pt>
          <cx:pt idx="91046">1</cx:pt>
          <cx:pt idx="91047">0</cx:pt>
          <cx:pt idx="91048">1</cx:pt>
          <cx:pt idx="91049">0</cx:pt>
          <cx:pt idx="91050">0</cx:pt>
          <cx:pt idx="91051">0</cx:pt>
          <cx:pt idx="91052">0</cx:pt>
          <cx:pt idx="91053">0</cx:pt>
          <cx:pt idx="91054">0</cx:pt>
          <cx:pt idx="91055">0</cx:pt>
          <cx:pt idx="91056">0</cx:pt>
          <cx:pt idx="91057">0</cx:pt>
          <cx:pt idx="91058">1</cx:pt>
          <cx:pt idx="91059">1</cx:pt>
          <cx:pt idx="91060">1</cx:pt>
          <cx:pt idx="91061">1</cx:pt>
          <cx:pt idx="91062">1</cx:pt>
          <cx:pt idx="91063">1</cx:pt>
          <cx:pt idx="91064">1</cx:pt>
          <cx:pt idx="91065">0</cx:pt>
          <cx:pt idx="91066">0</cx:pt>
          <cx:pt idx="91067">1</cx:pt>
          <cx:pt idx="91068">1</cx:pt>
          <cx:pt idx="91069">0</cx:pt>
          <cx:pt idx="91070">1</cx:pt>
          <cx:pt idx="91071">0</cx:pt>
          <cx:pt idx="91072">0</cx:pt>
          <cx:pt idx="91073">0</cx:pt>
          <cx:pt idx="91074">0</cx:pt>
          <cx:pt idx="91075">1</cx:pt>
          <cx:pt idx="91076">0</cx:pt>
          <cx:pt idx="91077">0</cx:pt>
          <cx:pt idx="91078">0</cx:pt>
          <cx:pt idx="91079">1</cx:pt>
          <cx:pt idx="91080">0</cx:pt>
          <cx:pt idx="91081">0</cx:pt>
          <cx:pt idx="91082">1</cx:pt>
          <cx:pt idx="91083">0</cx:pt>
          <cx:pt idx="91084">0</cx:pt>
          <cx:pt idx="91085">0</cx:pt>
          <cx:pt idx="91086">0</cx:pt>
          <cx:pt idx="91087">0</cx:pt>
          <cx:pt idx="91088">1</cx:pt>
          <cx:pt idx="91089">1</cx:pt>
          <cx:pt idx="91090">0</cx:pt>
          <cx:pt idx="91091">1</cx:pt>
          <cx:pt idx="91092">1</cx:pt>
          <cx:pt idx="91093">1</cx:pt>
          <cx:pt idx="91094">0</cx:pt>
          <cx:pt idx="91095">1</cx:pt>
          <cx:pt idx="91096">1</cx:pt>
          <cx:pt idx="91097">0</cx:pt>
          <cx:pt idx="91098">1</cx:pt>
          <cx:pt idx="91099">0</cx:pt>
          <cx:pt idx="91100">0</cx:pt>
          <cx:pt idx="91101">0</cx:pt>
          <cx:pt idx="91102">0</cx:pt>
          <cx:pt idx="91103">1</cx:pt>
          <cx:pt idx="91104">0</cx:pt>
          <cx:pt idx="91105">0</cx:pt>
          <cx:pt idx="91106">1</cx:pt>
          <cx:pt idx="91107">0</cx:pt>
          <cx:pt idx="91108">0</cx:pt>
          <cx:pt idx="91109">0</cx:pt>
          <cx:pt idx="91110">0</cx:pt>
          <cx:pt idx="91111">0</cx:pt>
          <cx:pt idx="91112">0</cx:pt>
          <cx:pt idx="91113">1</cx:pt>
          <cx:pt idx="91114">0</cx:pt>
          <cx:pt idx="91115">1</cx:pt>
          <cx:pt idx="91116">0</cx:pt>
          <cx:pt idx="91117">0</cx:pt>
          <cx:pt idx="91118">0</cx:pt>
          <cx:pt idx="91119">1</cx:pt>
          <cx:pt idx="91120">0</cx:pt>
          <cx:pt idx="91121">0</cx:pt>
          <cx:pt idx="91122">0</cx:pt>
          <cx:pt idx="91123">1</cx:pt>
          <cx:pt idx="91124">0</cx:pt>
          <cx:pt idx="91125">0</cx:pt>
          <cx:pt idx="91126">0</cx:pt>
          <cx:pt idx="91127">0</cx:pt>
          <cx:pt idx="91128">0</cx:pt>
          <cx:pt idx="91129">0</cx:pt>
          <cx:pt idx="91130">0</cx:pt>
          <cx:pt idx="91131">0</cx:pt>
          <cx:pt idx="91132">0</cx:pt>
          <cx:pt idx="91133">0</cx:pt>
          <cx:pt idx="91134">0</cx:pt>
          <cx:pt idx="91135">0</cx:pt>
          <cx:pt idx="91136">0</cx:pt>
          <cx:pt idx="91137">0</cx:pt>
          <cx:pt idx="91138">1</cx:pt>
          <cx:pt idx="91139">0</cx:pt>
          <cx:pt idx="91140">0</cx:pt>
          <cx:pt idx="91141">1</cx:pt>
          <cx:pt idx="91142">0</cx:pt>
          <cx:pt idx="91143">1</cx:pt>
          <cx:pt idx="91144">1</cx:pt>
          <cx:pt idx="91145">1</cx:pt>
          <cx:pt idx="91146">1</cx:pt>
          <cx:pt idx="91147">1</cx:pt>
          <cx:pt idx="91148">1</cx:pt>
          <cx:pt idx="91149">0</cx:pt>
          <cx:pt idx="91150">1</cx:pt>
          <cx:pt idx="91151">1</cx:pt>
          <cx:pt idx="91152">1</cx:pt>
          <cx:pt idx="91153">0</cx:pt>
          <cx:pt idx="91154">1</cx:pt>
          <cx:pt idx="91155">1</cx:pt>
          <cx:pt idx="91156">1</cx:pt>
          <cx:pt idx="91157">0</cx:pt>
          <cx:pt idx="91158">1</cx:pt>
          <cx:pt idx="91159">0</cx:pt>
          <cx:pt idx="91160">0</cx:pt>
          <cx:pt idx="91161">0</cx:pt>
          <cx:pt idx="91162">0</cx:pt>
          <cx:pt idx="91163">0</cx:pt>
          <cx:pt idx="91164">0</cx:pt>
          <cx:pt idx="91165">0</cx:pt>
          <cx:pt idx="91166">0</cx:pt>
          <cx:pt idx="91167">0</cx:pt>
          <cx:pt idx="91168">1</cx:pt>
          <cx:pt idx="91169">1</cx:pt>
          <cx:pt idx="91170">1</cx:pt>
          <cx:pt idx="91171">0</cx:pt>
          <cx:pt idx="91172">1</cx:pt>
          <cx:pt idx="91173">0</cx:pt>
          <cx:pt idx="91174">1</cx:pt>
          <cx:pt idx="91175">0</cx:pt>
          <cx:pt idx="91176">0</cx:pt>
          <cx:pt idx="91177">1</cx:pt>
          <cx:pt idx="91178">0</cx:pt>
          <cx:pt idx="91179">1</cx:pt>
          <cx:pt idx="91180">0</cx:pt>
          <cx:pt idx="91181">1</cx:pt>
          <cx:pt idx="91182">0</cx:pt>
          <cx:pt idx="91183">1</cx:pt>
          <cx:pt idx="91184">1</cx:pt>
          <cx:pt idx="91185">0</cx:pt>
          <cx:pt idx="91186">1</cx:pt>
          <cx:pt idx="91187">0</cx:pt>
          <cx:pt idx="91188">1</cx:pt>
          <cx:pt idx="91189">1</cx:pt>
          <cx:pt idx="91190">0</cx:pt>
          <cx:pt idx="91191">1</cx:pt>
          <cx:pt idx="91192">0</cx:pt>
          <cx:pt idx="91193">1</cx:pt>
          <cx:pt idx="91194">0</cx:pt>
          <cx:pt idx="91195">0</cx:pt>
          <cx:pt idx="91196">1</cx:pt>
          <cx:pt idx="91197">1</cx:pt>
          <cx:pt idx="91198">1</cx:pt>
          <cx:pt idx="91199">0</cx:pt>
          <cx:pt idx="91200">1</cx:pt>
          <cx:pt idx="91201">1</cx:pt>
          <cx:pt idx="91202">1</cx:pt>
          <cx:pt idx="91203">1</cx:pt>
          <cx:pt idx="91204">0</cx:pt>
          <cx:pt idx="91205">0</cx:pt>
          <cx:pt idx="91206">0</cx:pt>
          <cx:pt idx="91207">1</cx:pt>
          <cx:pt idx="91208">1</cx:pt>
          <cx:pt idx="91209">0</cx:pt>
          <cx:pt idx="91210">0</cx:pt>
          <cx:pt idx="91211">0</cx:pt>
          <cx:pt idx="91212">0</cx:pt>
          <cx:pt idx="91213">1</cx:pt>
          <cx:pt idx="91214">0</cx:pt>
          <cx:pt idx="91215">0</cx:pt>
          <cx:pt idx="91216">1</cx:pt>
          <cx:pt idx="91217">0</cx:pt>
          <cx:pt idx="91218">1</cx:pt>
          <cx:pt idx="91219">0</cx:pt>
          <cx:pt idx="91220">1</cx:pt>
          <cx:pt idx="91221">0</cx:pt>
          <cx:pt idx="91222">1</cx:pt>
          <cx:pt idx="91223">0</cx:pt>
          <cx:pt idx="91224">0</cx:pt>
          <cx:pt idx="91225">1</cx:pt>
          <cx:pt idx="91226">0</cx:pt>
          <cx:pt idx="91227">0</cx:pt>
          <cx:pt idx="91228">0</cx:pt>
          <cx:pt idx="91229">0</cx:pt>
          <cx:pt idx="91230">0</cx:pt>
          <cx:pt idx="91231">1</cx:pt>
          <cx:pt idx="91232">1</cx:pt>
          <cx:pt idx="91233">1</cx:pt>
          <cx:pt idx="91234">0</cx:pt>
          <cx:pt idx="91235">0</cx:pt>
          <cx:pt idx="91236">0</cx:pt>
          <cx:pt idx="91237">0</cx:pt>
          <cx:pt idx="91238">1</cx:pt>
          <cx:pt idx="91239">0</cx:pt>
          <cx:pt idx="91240">1</cx:pt>
          <cx:pt idx="91241">0</cx:pt>
          <cx:pt idx="91242">1</cx:pt>
          <cx:pt idx="91243">0</cx:pt>
          <cx:pt idx="91244">0</cx:pt>
          <cx:pt idx="91245">0</cx:pt>
          <cx:pt idx="91246">0</cx:pt>
          <cx:pt idx="91247">0</cx:pt>
          <cx:pt idx="91248">0</cx:pt>
          <cx:pt idx="91249">0</cx:pt>
          <cx:pt idx="91250">1</cx:pt>
          <cx:pt idx="91251">1</cx:pt>
          <cx:pt idx="91252">0</cx:pt>
          <cx:pt idx="91253">1</cx:pt>
          <cx:pt idx="91254">1</cx:pt>
          <cx:pt idx="91255">1</cx:pt>
          <cx:pt idx="91256">0</cx:pt>
          <cx:pt idx="91257">0</cx:pt>
          <cx:pt idx="91258">0</cx:pt>
          <cx:pt idx="91259">0</cx:pt>
          <cx:pt idx="91260">1</cx:pt>
          <cx:pt idx="91261">1</cx:pt>
          <cx:pt idx="91262">1</cx:pt>
          <cx:pt idx="91263">0</cx:pt>
          <cx:pt idx="91264">0</cx:pt>
          <cx:pt idx="91265">0</cx:pt>
          <cx:pt idx="91266">0</cx:pt>
          <cx:pt idx="91267">1</cx:pt>
          <cx:pt idx="91268">0</cx:pt>
          <cx:pt idx="91269">0</cx:pt>
          <cx:pt idx="91270">1</cx:pt>
          <cx:pt idx="91271">0</cx:pt>
          <cx:pt idx="91272">1</cx:pt>
          <cx:pt idx="91273">0</cx:pt>
          <cx:pt idx="91274">1</cx:pt>
          <cx:pt idx="91275">1</cx:pt>
          <cx:pt idx="91276">1</cx:pt>
          <cx:pt idx="91277">0</cx:pt>
          <cx:pt idx="91278">1</cx:pt>
          <cx:pt idx="91279">0</cx:pt>
          <cx:pt idx="91280">0</cx:pt>
          <cx:pt idx="91281">0</cx:pt>
          <cx:pt idx="91282">0</cx:pt>
          <cx:pt idx="91283">0</cx:pt>
          <cx:pt idx="91284">1</cx:pt>
          <cx:pt idx="91285">0</cx:pt>
          <cx:pt idx="91286">0</cx:pt>
          <cx:pt idx="91287">0</cx:pt>
          <cx:pt idx="91288">0</cx:pt>
          <cx:pt idx="91289">1</cx:pt>
          <cx:pt idx="91290">0</cx:pt>
          <cx:pt idx="91291">1</cx:pt>
          <cx:pt idx="91292">0</cx:pt>
          <cx:pt idx="91293">1</cx:pt>
          <cx:pt idx="91294">0</cx:pt>
          <cx:pt idx="91295">0</cx:pt>
          <cx:pt idx="91296">0</cx:pt>
          <cx:pt idx="91297">0</cx:pt>
          <cx:pt idx="91298">1</cx:pt>
          <cx:pt idx="91299">1</cx:pt>
          <cx:pt idx="91300">0</cx:pt>
          <cx:pt idx="91301">0</cx:pt>
          <cx:pt idx="91302">0</cx:pt>
          <cx:pt idx="91303">0</cx:pt>
          <cx:pt idx="91304">1</cx:pt>
          <cx:pt idx="91305">1</cx:pt>
          <cx:pt idx="91306">0</cx:pt>
          <cx:pt idx="91307">1</cx:pt>
          <cx:pt idx="91308">0</cx:pt>
          <cx:pt idx="91309">0</cx:pt>
          <cx:pt idx="91310">0</cx:pt>
          <cx:pt idx="91311">0</cx:pt>
          <cx:pt idx="91312">0</cx:pt>
          <cx:pt idx="91313">0</cx:pt>
          <cx:pt idx="91314">0</cx:pt>
          <cx:pt idx="91315">0</cx:pt>
          <cx:pt idx="91316">1</cx:pt>
          <cx:pt idx="91317">1</cx:pt>
          <cx:pt idx="91318">0</cx:pt>
          <cx:pt idx="91319">0</cx:pt>
          <cx:pt idx="91320">0</cx:pt>
          <cx:pt idx="91321">1</cx:pt>
          <cx:pt idx="91322">0</cx:pt>
          <cx:pt idx="91323">0</cx:pt>
          <cx:pt idx="91324">1</cx:pt>
          <cx:pt idx="91325">0</cx:pt>
          <cx:pt idx="91326">1</cx:pt>
          <cx:pt idx="91327">0</cx:pt>
          <cx:pt idx="91328">0</cx:pt>
          <cx:pt idx="91329">1</cx:pt>
          <cx:pt idx="91330">1</cx:pt>
          <cx:pt idx="91331">1</cx:pt>
          <cx:pt idx="91332">1</cx:pt>
          <cx:pt idx="91333">0</cx:pt>
          <cx:pt idx="91334">0</cx:pt>
          <cx:pt idx="91335">0</cx:pt>
          <cx:pt idx="91336">1</cx:pt>
          <cx:pt idx="91337">1</cx:pt>
          <cx:pt idx="91338">1</cx:pt>
          <cx:pt idx="91339">0</cx:pt>
          <cx:pt idx="91340">1</cx:pt>
          <cx:pt idx="91341">1</cx:pt>
          <cx:pt idx="91342">0</cx:pt>
          <cx:pt idx="91343">0</cx:pt>
          <cx:pt idx="91344">1</cx:pt>
          <cx:pt idx="91345">0</cx:pt>
          <cx:pt idx="91346">0</cx:pt>
          <cx:pt idx="91347">1</cx:pt>
          <cx:pt idx="91348">1</cx:pt>
          <cx:pt idx="91349">0</cx:pt>
          <cx:pt idx="91350">1</cx:pt>
          <cx:pt idx="91351">0</cx:pt>
          <cx:pt idx="91352">1</cx:pt>
          <cx:pt idx="91353">0</cx:pt>
          <cx:pt idx="91354">0</cx:pt>
          <cx:pt idx="91355">1</cx:pt>
          <cx:pt idx="91356">0</cx:pt>
          <cx:pt idx="91357">0</cx:pt>
          <cx:pt idx="91358">0</cx:pt>
          <cx:pt idx="91359">0</cx:pt>
          <cx:pt idx="91360">1</cx:pt>
          <cx:pt idx="91361">0</cx:pt>
          <cx:pt idx="91362">0</cx:pt>
          <cx:pt idx="91363">0</cx:pt>
          <cx:pt idx="91364">0</cx:pt>
          <cx:pt idx="91365">1</cx:pt>
          <cx:pt idx="91366">1</cx:pt>
          <cx:pt idx="91367">0</cx:pt>
          <cx:pt idx="91368">1</cx:pt>
          <cx:pt idx="91369">0</cx:pt>
          <cx:pt idx="91370">0</cx:pt>
          <cx:pt idx="91371">0</cx:pt>
          <cx:pt idx="91372">1</cx:pt>
          <cx:pt idx="91373">0</cx:pt>
          <cx:pt idx="91374">1</cx:pt>
          <cx:pt idx="91375">1</cx:pt>
          <cx:pt idx="91376">1</cx:pt>
          <cx:pt idx="91377">1</cx:pt>
          <cx:pt idx="91378">0</cx:pt>
          <cx:pt idx="91379">0</cx:pt>
          <cx:pt idx="91380">0</cx:pt>
          <cx:pt idx="91381">0</cx:pt>
          <cx:pt idx="91382">1</cx:pt>
          <cx:pt idx="91383">0</cx:pt>
          <cx:pt idx="91384">1</cx:pt>
          <cx:pt idx="91385">1</cx:pt>
          <cx:pt idx="91386">0</cx:pt>
          <cx:pt idx="91387">1</cx:pt>
          <cx:pt idx="91388">1</cx:pt>
          <cx:pt idx="91389">0</cx:pt>
          <cx:pt idx="91390">0</cx:pt>
          <cx:pt idx="91391">1</cx:pt>
          <cx:pt idx="91392">0</cx:pt>
          <cx:pt idx="91393">1</cx:pt>
          <cx:pt idx="91394">1</cx:pt>
          <cx:pt idx="91395">0</cx:pt>
          <cx:pt idx="91396">0</cx:pt>
          <cx:pt idx="91397">1</cx:pt>
          <cx:pt idx="91398">1</cx:pt>
          <cx:pt idx="91399">0</cx:pt>
          <cx:pt idx="91400">0</cx:pt>
          <cx:pt idx="91401">1</cx:pt>
          <cx:pt idx="91402">1</cx:pt>
          <cx:pt idx="91403">0</cx:pt>
          <cx:pt idx="91404">1</cx:pt>
          <cx:pt idx="91405">0</cx:pt>
          <cx:pt idx="91406">1</cx:pt>
          <cx:pt idx="91407">1</cx:pt>
          <cx:pt idx="91408">0</cx:pt>
          <cx:pt idx="91409">0</cx:pt>
          <cx:pt idx="91410">1</cx:pt>
          <cx:pt idx="91411">0</cx:pt>
          <cx:pt idx="91412">0</cx:pt>
          <cx:pt idx="91413">0</cx:pt>
          <cx:pt idx="91414">1</cx:pt>
          <cx:pt idx="91415">0</cx:pt>
          <cx:pt idx="91416">0</cx:pt>
          <cx:pt idx="91417">1</cx:pt>
          <cx:pt idx="91418">1</cx:pt>
          <cx:pt idx="91419">0</cx:pt>
          <cx:pt idx="91420">0</cx:pt>
          <cx:pt idx="91421">1</cx:pt>
          <cx:pt idx="91422">1</cx:pt>
          <cx:pt idx="91423">1</cx:pt>
          <cx:pt idx="91424">0</cx:pt>
          <cx:pt idx="91425">0</cx:pt>
          <cx:pt idx="91426">0</cx:pt>
          <cx:pt idx="91427">0</cx:pt>
          <cx:pt idx="91428">0</cx:pt>
          <cx:pt idx="91429">0</cx:pt>
          <cx:pt idx="91430">1</cx:pt>
          <cx:pt idx="91431">0</cx:pt>
          <cx:pt idx="91432">1</cx:pt>
          <cx:pt idx="91433">1</cx:pt>
          <cx:pt idx="91434">0</cx:pt>
          <cx:pt idx="91435">1</cx:pt>
          <cx:pt idx="91436">1</cx:pt>
          <cx:pt idx="91437">0</cx:pt>
          <cx:pt idx="91438">0</cx:pt>
          <cx:pt idx="91439">1</cx:pt>
          <cx:pt idx="91440">0</cx:pt>
          <cx:pt idx="91441">0</cx:pt>
          <cx:pt idx="91442">1</cx:pt>
          <cx:pt idx="91443">0</cx:pt>
          <cx:pt idx="91444">1</cx:pt>
          <cx:pt idx="91445">1</cx:pt>
          <cx:pt idx="91446">0</cx:pt>
          <cx:pt idx="91447">1</cx:pt>
          <cx:pt idx="91448">0</cx:pt>
          <cx:pt idx="91449">0</cx:pt>
          <cx:pt idx="91450">0</cx:pt>
          <cx:pt idx="91451">0</cx:pt>
          <cx:pt idx="91452">0</cx:pt>
          <cx:pt idx="91453">0</cx:pt>
          <cx:pt idx="91454">0</cx:pt>
          <cx:pt idx="91455">1</cx:pt>
          <cx:pt idx="91456">0</cx:pt>
          <cx:pt idx="91457">0</cx:pt>
          <cx:pt idx="91458">0</cx:pt>
          <cx:pt idx="91459">0</cx:pt>
          <cx:pt idx="91460">0</cx:pt>
          <cx:pt idx="91461">0</cx:pt>
          <cx:pt idx="91462">1</cx:pt>
          <cx:pt idx="91463">1</cx:pt>
          <cx:pt idx="91464">1</cx:pt>
          <cx:pt idx="91465">0</cx:pt>
          <cx:pt idx="91466">1</cx:pt>
          <cx:pt idx="91467">1</cx:pt>
          <cx:pt idx="91468">0</cx:pt>
          <cx:pt idx="91469">1</cx:pt>
          <cx:pt idx="91470">1</cx:pt>
          <cx:pt idx="91471">0</cx:pt>
          <cx:pt idx="91472">0</cx:pt>
          <cx:pt idx="91473">0</cx:pt>
          <cx:pt idx="91474">0</cx:pt>
          <cx:pt idx="91475">1</cx:pt>
          <cx:pt idx="91476">1</cx:pt>
          <cx:pt idx="91477">0</cx:pt>
          <cx:pt idx="91478">0</cx:pt>
          <cx:pt idx="91479">1</cx:pt>
          <cx:pt idx="91480">1</cx:pt>
          <cx:pt idx="91481">0</cx:pt>
          <cx:pt idx="91482">1</cx:pt>
          <cx:pt idx="91483">1</cx:pt>
          <cx:pt idx="91484">1</cx:pt>
          <cx:pt idx="91485">0</cx:pt>
          <cx:pt idx="91486">0</cx:pt>
          <cx:pt idx="91487">0</cx:pt>
          <cx:pt idx="91488">0</cx:pt>
          <cx:pt idx="91489">1</cx:pt>
          <cx:pt idx="91490">1</cx:pt>
          <cx:pt idx="91491">0</cx:pt>
          <cx:pt idx="91492">0</cx:pt>
          <cx:pt idx="91493">1</cx:pt>
          <cx:pt idx="91494">1</cx:pt>
          <cx:pt idx="91495">1</cx:pt>
          <cx:pt idx="91496">0</cx:pt>
          <cx:pt idx="91497">0</cx:pt>
          <cx:pt idx="91498">0</cx:pt>
          <cx:pt idx="91499">0</cx:pt>
          <cx:pt idx="91500">1</cx:pt>
          <cx:pt idx="91501">0</cx:pt>
          <cx:pt idx="91502">0</cx:pt>
          <cx:pt idx="91503">0</cx:pt>
          <cx:pt idx="91504">0</cx:pt>
          <cx:pt idx="91505">1</cx:pt>
          <cx:pt idx="91506">0</cx:pt>
          <cx:pt idx="91507">0</cx:pt>
          <cx:pt idx="91508">0</cx:pt>
          <cx:pt idx="91509">0</cx:pt>
          <cx:pt idx="91510">0</cx:pt>
          <cx:pt idx="91511">1</cx:pt>
          <cx:pt idx="91512">1</cx:pt>
          <cx:pt idx="91513">0</cx:pt>
          <cx:pt idx="91514">0</cx:pt>
          <cx:pt idx="91515">0</cx:pt>
          <cx:pt idx="91516">1</cx:pt>
          <cx:pt idx="91517">0</cx:pt>
          <cx:pt idx="91518">0</cx:pt>
          <cx:pt idx="91519">1</cx:pt>
          <cx:pt idx="91520">0</cx:pt>
          <cx:pt idx="91521">1</cx:pt>
          <cx:pt idx="91522">1</cx:pt>
          <cx:pt idx="91523">1</cx:pt>
          <cx:pt idx="91524">0</cx:pt>
          <cx:pt idx="91525">0</cx:pt>
          <cx:pt idx="91526">0</cx:pt>
          <cx:pt idx="91527">0</cx:pt>
          <cx:pt idx="91528">0</cx:pt>
          <cx:pt idx="91529">1</cx:pt>
          <cx:pt idx="91530">0</cx:pt>
          <cx:pt idx="91531">1</cx:pt>
          <cx:pt idx="91532">0</cx:pt>
          <cx:pt idx="91533">0</cx:pt>
          <cx:pt idx="91534">1</cx:pt>
          <cx:pt idx="91535">0</cx:pt>
          <cx:pt idx="91536">1</cx:pt>
          <cx:pt idx="91537">0</cx:pt>
          <cx:pt idx="91538">1</cx:pt>
          <cx:pt idx="91539">1</cx:pt>
          <cx:pt idx="91540">0</cx:pt>
          <cx:pt idx="91541">0</cx:pt>
          <cx:pt idx="91542">1</cx:pt>
          <cx:pt idx="91543">1</cx:pt>
          <cx:pt idx="91544">0</cx:pt>
          <cx:pt idx="91545">0</cx:pt>
          <cx:pt idx="91546">1</cx:pt>
          <cx:pt idx="91547">0</cx:pt>
          <cx:pt idx="91548">0</cx:pt>
          <cx:pt idx="91549">0</cx:pt>
          <cx:pt idx="91550">0</cx:pt>
          <cx:pt idx="91551">1</cx:pt>
          <cx:pt idx="91552">0</cx:pt>
          <cx:pt idx="91553">0</cx:pt>
          <cx:pt idx="91554">0</cx:pt>
          <cx:pt idx="91555">0</cx:pt>
          <cx:pt idx="91556">0</cx:pt>
          <cx:pt idx="91557">0</cx:pt>
          <cx:pt idx="91558">0</cx:pt>
          <cx:pt idx="91559">1</cx:pt>
          <cx:pt idx="91560">0</cx:pt>
          <cx:pt idx="91561">0</cx:pt>
          <cx:pt idx="91562">0</cx:pt>
          <cx:pt idx="91563">1</cx:pt>
          <cx:pt idx="91564">1</cx:pt>
          <cx:pt idx="91565">1</cx:pt>
          <cx:pt idx="91566">0</cx:pt>
          <cx:pt idx="91567">0</cx:pt>
          <cx:pt idx="91568">1</cx:pt>
          <cx:pt idx="91569">0</cx:pt>
          <cx:pt idx="91570">0</cx:pt>
          <cx:pt idx="91571">1</cx:pt>
          <cx:pt idx="91572">0</cx:pt>
          <cx:pt idx="91573">0</cx:pt>
          <cx:pt idx="91574">0</cx:pt>
          <cx:pt idx="91575">1</cx:pt>
          <cx:pt idx="91576">0</cx:pt>
          <cx:pt idx="91577">0</cx:pt>
          <cx:pt idx="91578">0</cx:pt>
          <cx:pt idx="91579">0</cx:pt>
          <cx:pt idx="91580">1</cx:pt>
          <cx:pt idx="91581">1</cx:pt>
          <cx:pt idx="91582">0</cx:pt>
          <cx:pt idx="91583">1</cx:pt>
          <cx:pt idx="91584">1</cx:pt>
          <cx:pt idx="91585">1</cx:pt>
          <cx:pt idx="91586">1</cx:pt>
          <cx:pt idx="91587">1</cx:pt>
          <cx:pt idx="91588">0</cx:pt>
          <cx:pt idx="91589">0</cx:pt>
          <cx:pt idx="91590">1</cx:pt>
          <cx:pt idx="91591">1</cx:pt>
          <cx:pt idx="91592">0</cx:pt>
          <cx:pt idx="91593">1</cx:pt>
          <cx:pt idx="91594">0</cx:pt>
          <cx:pt idx="91595">0</cx:pt>
          <cx:pt idx="91596">1</cx:pt>
          <cx:pt idx="91597">1</cx:pt>
          <cx:pt idx="91598">0</cx:pt>
          <cx:pt idx="91599">1</cx:pt>
          <cx:pt idx="91600">1</cx:pt>
          <cx:pt idx="91601">0</cx:pt>
          <cx:pt idx="91602">0</cx:pt>
          <cx:pt idx="91603">1</cx:pt>
          <cx:pt idx="91604">1</cx:pt>
          <cx:pt idx="91605">0</cx:pt>
          <cx:pt idx="91606">0</cx:pt>
          <cx:pt idx="91607">0</cx:pt>
          <cx:pt idx="91608">0</cx:pt>
          <cx:pt idx="91609">1</cx:pt>
          <cx:pt idx="91610">0</cx:pt>
          <cx:pt idx="91611">0</cx:pt>
          <cx:pt idx="91612">0</cx:pt>
          <cx:pt idx="91613">0</cx:pt>
          <cx:pt idx="91614">1</cx:pt>
          <cx:pt idx="91615">1</cx:pt>
          <cx:pt idx="91616">1</cx:pt>
          <cx:pt idx="91617">0</cx:pt>
          <cx:pt idx="91618">1</cx:pt>
          <cx:pt idx="91619">1</cx:pt>
          <cx:pt idx="91620">0</cx:pt>
          <cx:pt idx="91621">1</cx:pt>
          <cx:pt idx="91622">0</cx:pt>
          <cx:pt idx="91623">0</cx:pt>
          <cx:pt idx="91624">0</cx:pt>
          <cx:pt idx="91625">1</cx:pt>
          <cx:pt idx="91626">0</cx:pt>
          <cx:pt idx="91627">0</cx:pt>
          <cx:pt idx="91628">0</cx:pt>
          <cx:pt idx="91629">0</cx:pt>
          <cx:pt idx="91630">1</cx:pt>
          <cx:pt idx="91631">0</cx:pt>
          <cx:pt idx="91632">1</cx:pt>
          <cx:pt idx="91633">1</cx:pt>
          <cx:pt idx="91634">1</cx:pt>
          <cx:pt idx="91635">1</cx:pt>
          <cx:pt idx="91636">1</cx:pt>
          <cx:pt idx="91637">0</cx:pt>
          <cx:pt idx="91638">1</cx:pt>
          <cx:pt idx="91639">0</cx:pt>
          <cx:pt idx="91640">1</cx:pt>
          <cx:pt idx="91641">0</cx:pt>
          <cx:pt idx="91642">1</cx:pt>
          <cx:pt idx="91643">1</cx:pt>
          <cx:pt idx="91644">0</cx:pt>
          <cx:pt idx="91645">1</cx:pt>
          <cx:pt idx="91646">1</cx:pt>
          <cx:pt idx="91647">1</cx:pt>
          <cx:pt idx="91648">0</cx:pt>
          <cx:pt idx="91649">1</cx:pt>
          <cx:pt idx="91650">0</cx:pt>
          <cx:pt idx="91651">0</cx:pt>
          <cx:pt idx="91652">1</cx:pt>
          <cx:pt idx="91653">1</cx:pt>
          <cx:pt idx="91654">0</cx:pt>
          <cx:pt idx="91655">0</cx:pt>
          <cx:pt idx="91656">1</cx:pt>
          <cx:pt idx="91657">1</cx:pt>
          <cx:pt idx="91658">0</cx:pt>
          <cx:pt idx="91659">0</cx:pt>
          <cx:pt idx="91660">0</cx:pt>
          <cx:pt idx="91661">0</cx:pt>
          <cx:pt idx="91662">1</cx:pt>
          <cx:pt idx="91663">0</cx:pt>
          <cx:pt idx="91664">0</cx:pt>
          <cx:pt idx="91665">1</cx:pt>
          <cx:pt idx="91666">1</cx:pt>
          <cx:pt idx="91667">1</cx:pt>
          <cx:pt idx="91668">0</cx:pt>
          <cx:pt idx="91669">0</cx:pt>
          <cx:pt idx="91670">1</cx:pt>
          <cx:pt idx="91671">0</cx:pt>
          <cx:pt idx="91672">1</cx:pt>
          <cx:pt idx="91673">0</cx:pt>
          <cx:pt idx="91674">0</cx:pt>
          <cx:pt idx="91675">0</cx:pt>
          <cx:pt idx="91676">0</cx:pt>
          <cx:pt idx="91677">1</cx:pt>
          <cx:pt idx="91678">1</cx:pt>
          <cx:pt idx="91679">0</cx:pt>
          <cx:pt idx="91680">0</cx:pt>
          <cx:pt idx="91681">0</cx:pt>
          <cx:pt idx="91682">0</cx:pt>
          <cx:pt idx="91683">0</cx:pt>
          <cx:pt idx="91684">1</cx:pt>
          <cx:pt idx="91685">1</cx:pt>
          <cx:pt idx="91686">1</cx:pt>
          <cx:pt idx="91687">1</cx:pt>
          <cx:pt idx="91688">1</cx:pt>
          <cx:pt idx="91689">0</cx:pt>
          <cx:pt idx="91690">1</cx:pt>
          <cx:pt idx="91691">1</cx:pt>
          <cx:pt idx="91692">0</cx:pt>
          <cx:pt idx="91693">0</cx:pt>
          <cx:pt idx="91694">0</cx:pt>
          <cx:pt idx="91695">1</cx:pt>
          <cx:pt idx="91696">0</cx:pt>
          <cx:pt idx="91697">1</cx:pt>
          <cx:pt idx="91698">1</cx:pt>
          <cx:pt idx="91699">1</cx:pt>
          <cx:pt idx="91700">0</cx:pt>
          <cx:pt idx="91701">0</cx:pt>
          <cx:pt idx="91702">1</cx:pt>
          <cx:pt idx="91703">0</cx:pt>
          <cx:pt idx="91704">1</cx:pt>
          <cx:pt idx="91705">1</cx:pt>
          <cx:pt idx="91706">1</cx:pt>
          <cx:pt idx="91707">0</cx:pt>
          <cx:pt idx="91708">0</cx:pt>
          <cx:pt idx="91709">0</cx:pt>
          <cx:pt idx="91710">1</cx:pt>
          <cx:pt idx="91711">1</cx:pt>
          <cx:pt idx="91712">1</cx:pt>
          <cx:pt idx="91713">0</cx:pt>
          <cx:pt idx="91714">1</cx:pt>
          <cx:pt idx="91715">1</cx:pt>
          <cx:pt idx="91716">1</cx:pt>
          <cx:pt idx="91717">0</cx:pt>
          <cx:pt idx="91718">1</cx:pt>
          <cx:pt idx="91719">1</cx:pt>
          <cx:pt idx="91720">0</cx:pt>
          <cx:pt idx="91721">0</cx:pt>
          <cx:pt idx="91722">0</cx:pt>
          <cx:pt idx="91723">1</cx:pt>
          <cx:pt idx="91724">0</cx:pt>
          <cx:pt idx="91725">1</cx:pt>
          <cx:pt idx="91726">0</cx:pt>
          <cx:pt idx="91727">0</cx:pt>
          <cx:pt idx="91728">1</cx:pt>
          <cx:pt idx="91729">0</cx:pt>
          <cx:pt idx="91730">0</cx:pt>
          <cx:pt idx="91731">1</cx:pt>
          <cx:pt idx="91732">1</cx:pt>
          <cx:pt idx="91733">1</cx:pt>
          <cx:pt idx="91734">1</cx:pt>
          <cx:pt idx="91735">1</cx:pt>
          <cx:pt idx="91736">0</cx:pt>
          <cx:pt idx="91737">1</cx:pt>
          <cx:pt idx="91738">1</cx:pt>
          <cx:pt idx="91739">0</cx:pt>
          <cx:pt idx="91740">1</cx:pt>
          <cx:pt idx="91741">0</cx:pt>
          <cx:pt idx="91742">0</cx:pt>
          <cx:pt idx="91743">1</cx:pt>
          <cx:pt idx="91744">0</cx:pt>
          <cx:pt idx="91745">1</cx:pt>
          <cx:pt idx="91746">1</cx:pt>
          <cx:pt idx="91747">0</cx:pt>
          <cx:pt idx="91748">1</cx:pt>
          <cx:pt idx="91749">1</cx:pt>
          <cx:pt idx="91750">1</cx:pt>
          <cx:pt idx="91751">1</cx:pt>
          <cx:pt idx="91752">1</cx:pt>
          <cx:pt idx="91753">0</cx:pt>
          <cx:pt idx="91754">0</cx:pt>
          <cx:pt idx="91755">0</cx:pt>
          <cx:pt idx="91756">0</cx:pt>
          <cx:pt idx="91757">1</cx:pt>
          <cx:pt idx="91758">0</cx:pt>
          <cx:pt idx="91759">0</cx:pt>
          <cx:pt idx="91760">0</cx:pt>
          <cx:pt idx="91761">1</cx:pt>
          <cx:pt idx="91762">1</cx:pt>
          <cx:pt idx="91763">0</cx:pt>
          <cx:pt idx="91764">0</cx:pt>
          <cx:pt idx="91765">1</cx:pt>
          <cx:pt idx="91766">1</cx:pt>
          <cx:pt idx="91767">1</cx:pt>
          <cx:pt idx="91768">0</cx:pt>
          <cx:pt idx="91769">0</cx:pt>
          <cx:pt idx="91770">1</cx:pt>
          <cx:pt idx="91771">1</cx:pt>
          <cx:pt idx="91772">0</cx:pt>
          <cx:pt idx="91773">0</cx:pt>
          <cx:pt idx="91774">1</cx:pt>
          <cx:pt idx="91775">0</cx:pt>
          <cx:pt idx="91776">1</cx:pt>
          <cx:pt idx="91777">1</cx:pt>
          <cx:pt idx="91778">1</cx:pt>
          <cx:pt idx="91779">0</cx:pt>
          <cx:pt idx="91780">0</cx:pt>
          <cx:pt idx="91781">0</cx:pt>
          <cx:pt idx="91782">0</cx:pt>
          <cx:pt idx="91783">1</cx:pt>
          <cx:pt idx="91784">0</cx:pt>
          <cx:pt idx="91785">0</cx:pt>
          <cx:pt idx="91786">0</cx:pt>
          <cx:pt idx="91787">1</cx:pt>
          <cx:pt idx="91788">0</cx:pt>
          <cx:pt idx="91789">0</cx:pt>
          <cx:pt idx="91790">0</cx:pt>
          <cx:pt idx="91791">0</cx:pt>
          <cx:pt idx="91792">0</cx:pt>
          <cx:pt idx="91793">1</cx:pt>
          <cx:pt idx="91794">1</cx:pt>
          <cx:pt idx="91795">1</cx:pt>
          <cx:pt idx="91796">1</cx:pt>
          <cx:pt idx="91797">0</cx:pt>
          <cx:pt idx="91798">0</cx:pt>
          <cx:pt idx="91799">0</cx:pt>
          <cx:pt idx="91800">1</cx:pt>
          <cx:pt idx="91801">1</cx:pt>
          <cx:pt idx="91802">0</cx:pt>
          <cx:pt idx="91803">1</cx:pt>
          <cx:pt idx="91804">1</cx:pt>
          <cx:pt idx="91805">1</cx:pt>
          <cx:pt idx="91806">1</cx:pt>
          <cx:pt idx="91807">1</cx:pt>
          <cx:pt idx="91808">1</cx:pt>
          <cx:pt idx="91809">0</cx:pt>
          <cx:pt idx="91810">1</cx:pt>
          <cx:pt idx="91811">1</cx:pt>
          <cx:pt idx="91812">1</cx:pt>
          <cx:pt idx="91813">0</cx:pt>
          <cx:pt idx="91814">1</cx:pt>
          <cx:pt idx="91815">1</cx:pt>
          <cx:pt idx="91816">0</cx:pt>
          <cx:pt idx="91817">0</cx:pt>
          <cx:pt idx="91818">0</cx:pt>
          <cx:pt idx="91819">0</cx:pt>
          <cx:pt idx="91820">0</cx:pt>
          <cx:pt idx="91821">0</cx:pt>
          <cx:pt idx="91822">1</cx:pt>
          <cx:pt idx="91823">0</cx:pt>
          <cx:pt idx="91824">0</cx:pt>
          <cx:pt idx="91825">0</cx:pt>
          <cx:pt idx="91826">0</cx:pt>
          <cx:pt idx="91827">1</cx:pt>
          <cx:pt idx="91828">0</cx:pt>
          <cx:pt idx="91829">0</cx:pt>
          <cx:pt idx="91830">0</cx:pt>
          <cx:pt idx="91831">0</cx:pt>
          <cx:pt idx="91832">0</cx:pt>
          <cx:pt idx="91833">0</cx:pt>
          <cx:pt idx="91834">0</cx:pt>
          <cx:pt idx="91835">0</cx:pt>
          <cx:pt idx="91836">1</cx:pt>
          <cx:pt idx="91837">0</cx:pt>
          <cx:pt idx="91838">0</cx:pt>
          <cx:pt idx="91839">0</cx:pt>
          <cx:pt idx="91840">0</cx:pt>
          <cx:pt idx="91841">0</cx:pt>
          <cx:pt idx="91842">1</cx:pt>
          <cx:pt idx="91843">0</cx:pt>
          <cx:pt idx="91844">0</cx:pt>
          <cx:pt idx="91845">0</cx:pt>
          <cx:pt idx="91846">1</cx:pt>
          <cx:pt idx="91847">1</cx:pt>
          <cx:pt idx="91848">0</cx:pt>
          <cx:pt idx="91849">0</cx:pt>
          <cx:pt idx="91850">1</cx:pt>
          <cx:pt idx="91851">0</cx:pt>
          <cx:pt idx="91852">0</cx:pt>
          <cx:pt idx="91853">1</cx:pt>
          <cx:pt idx="91854">1</cx:pt>
          <cx:pt idx="91855">1</cx:pt>
          <cx:pt idx="91856">0</cx:pt>
          <cx:pt idx="91857">1</cx:pt>
          <cx:pt idx="91858">0</cx:pt>
          <cx:pt idx="91859">0</cx:pt>
          <cx:pt idx="91860">0</cx:pt>
          <cx:pt idx="91861">0</cx:pt>
          <cx:pt idx="91862">0</cx:pt>
          <cx:pt idx="91863">0</cx:pt>
          <cx:pt idx="91864">1</cx:pt>
          <cx:pt idx="91865">0</cx:pt>
          <cx:pt idx="91866">1</cx:pt>
          <cx:pt idx="91867">1</cx:pt>
          <cx:pt idx="91868">0</cx:pt>
          <cx:pt idx="91869">0</cx:pt>
          <cx:pt idx="91870">0</cx:pt>
          <cx:pt idx="91871">1</cx:pt>
          <cx:pt idx="91872">0</cx:pt>
          <cx:pt idx="91873">0</cx:pt>
          <cx:pt idx="91874">0</cx:pt>
          <cx:pt idx="91875">0</cx:pt>
          <cx:pt idx="91876">0</cx:pt>
          <cx:pt idx="91877">1</cx:pt>
          <cx:pt idx="91878">0</cx:pt>
          <cx:pt idx="91879">0</cx:pt>
          <cx:pt idx="91880">0</cx:pt>
          <cx:pt idx="91881">0</cx:pt>
          <cx:pt idx="91882">0</cx:pt>
          <cx:pt idx="91883">1</cx:pt>
          <cx:pt idx="91884">1</cx:pt>
          <cx:pt idx="91885">0</cx:pt>
          <cx:pt idx="91886">0</cx:pt>
          <cx:pt idx="91887">1</cx:pt>
          <cx:pt idx="91888">1</cx:pt>
          <cx:pt idx="91889">1</cx:pt>
          <cx:pt idx="91890">0</cx:pt>
          <cx:pt idx="91891">0</cx:pt>
          <cx:pt idx="91892">0</cx:pt>
          <cx:pt idx="91893">0</cx:pt>
          <cx:pt idx="91894">1</cx:pt>
          <cx:pt idx="91895">0</cx:pt>
          <cx:pt idx="91896">1</cx:pt>
          <cx:pt idx="91897">0</cx:pt>
          <cx:pt idx="91898">0</cx:pt>
          <cx:pt idx="91899">1</cx:pt>
          <cx:pt idx="91900">1</cx:pt>
          <cx:pt idx="91901">0</cx:pt>
          <cx:pt idx="91902">0</cx:pt>
          <cx:pt idx="91903">0</cx:pt>
          <cx:pt idx="91904">0</cx:pt>
          <cx:pt idx="91905">1</cx:pt>
          <cx:pt idx="91906">1</cx:pt>
          <cx:pt idx="91907">0</cx:pt>
          <cx:pt idx="91908">0</cx:pt>
          <cx:pt idx="91909">0</cx:pt>
          <cx:pt idx="91910">1</cx:pt>
          <cx:pt idx="91911">0</cx:pt>
          <cx:pt idx="91912">0</cx:pt>
          <cx:pt idx="91913">1</cx:pt>
          <cx:pt idx="91914">0</cx:pt>
          <cx:pt idx="91915">1</cx:pt>
          <cx:pt idx="91916">0</cx:pt>
          <cx:pt idx="91917">1</cx:pt>
          <cx:pt idx="91918">1</cx:pt>
          <cx:pt idx="91919">1</cx:pt>
          <cx:pt idx="91920">0</cx:pt>
          <cx:pt idx="91921">0</cx:pt>
          <cx:pt idx="91922">0</cx:pt>
          <cx:pt idx="91923">1</cx:pt>
          <cx:pt idx="91924">0</cx:pt>
          <cx:pt idx="91925">0</cx:pt>
          <cx:pt idx="91926">1</cx:pt>
          <cx:pt idx="91927">0</cx:pt>
          <cx:pt idx="91928">0</cx:pt>
          <cx:pt idx="91929">1</cx:pt>
          <cx:pt idx="91930">0</cx:pt>
          <cx:pt idx="91931">0</cx:pt>
          <cx:pt idx="91932">1</cx:pt>
          <cx:pt idx="91933">1</cx:pt>
          <cx:pt idx="91934">0</cx:pt>
          <cx:pt idx="91935">1</cx:pt>
          <cx:pt idx="91936">1</cx:pt>
          <cx:pt idx="91937">0</cx:pt>
          <cx:pt idx="91938">1</cx:pt>
          <cx:pt idx="91939">1</cx:pt>
          <cx:pt idx="91940">1</cx:pt>
          <cx:pt idx="91941">1</cx:pt>
          <cx:pt idx="91942">1</cx:pt>
          <cx:pt idx="91943">0</cx:pt>
          <cx:pt idx="91944">0</cx:pt>
          <cx:pt idx="91945">0</cx:pt>
          <cx:pt idx="91946">0</cx:pt>
          <cx:pt idx="91947">1</cx:pt>
          <cx:pt idx="91948">0</cx:pt>
          <cx:pt idx="91949">1</cx:pt>
          <cx:pt idx="91950">1</cx:pt>
          <cx:pt idx="91951">1</cx:pt>
          <cx:pt idx="91952">1</cx:pt>
          <cx:pt idx="91953">1</cx:pt>
          <cx:pt idx="91954">0</cx:pt>
          <cx:pt idx="91955">0</cx:pt>
          <cx:pt idx="91956">0</cx:pt>
          <cx:pt idx="91957">1</cx:pt>
          <cx:pt idx="91958">1</cx:pt>
          <cx:pt idx="91959">1</cx:pt>
          <cx:pt idx="91960">1</cx:pt>
          <cx:pt idx="91961">1</cx:pt>
          <cx:pt idx="91962">1</cx:pt>
          <cx:pt idx="91963">0</cx:pt>
          <cx:pt idx="91964">0</cx:pt>
          <cx:pt idx="91965">1</cx:pt>
          <cx:pt idx="91966">0</cx:pt>
          <cx:pt idx="91967">1</cx:pt>
          <cx:pt idx="91968">0</cx:pt>
          <cx:pt idx="91969">1</cx:pt>
          <cx:pt idx="91970">0</cx:pt>
          <cx:pt idx="91971">0</cx:pt>
          <cx:pt idx="91972">1</cx:pt>
          <cx:pt idx="91973">1</cx:pt>
          <cx:pt idx="91974">0</cx:pt>
          <cx:pt idx="91975">1</cx:pt>
          <cx:pt idx="91976">0</cx:pt>
          <cx:pt idx="91977">1</cx:pt>
          <cx:pt idx="91978">0</cx:pt>
          <cx:pt idx="91979">1</cx:pt>
          <cx:pt idx="91980">0</cx:pt>
          <cx:pt idx="91981">1</cx:pt>
          <cx:pt idx="91982">0</cx:pt>
          <cx:pt idx="91983">1</cx:pt>
          <cx:pt idx="91984">1</cx:pt>
          <cx:pt idx="91985">0</cx:pt>
          <cx:pt idx="91986">0</cx:pt>
          <cx:pt idx="91987">0</cx:pt>
          <cx:pt idx="91988">0</cx:pt>
          <cx:pt idx="91989">1</cx:pt>
          <cx:pt idx="91990">0</cx:pt>
          <cx:pt idx="91991">0</cx:pt>
          <cx:pt idx="91992">0</cx:pt>
          <cx:pt idx="91993">0</cx:pt>
          <cx:pt idx="91994">1</cx:pt>
          <cx:pt idx="91995">1</cx:pt>
          <cx:pt idx="91996">1</cx:pt>
          <cx:pt idx="91997">1</cx:pt>
          <cx:pt idx="91998">0</cx:pt>
          <cx:pt idx="91999">1</cx:pt>
          <cx:pt idx="92000">0</cx:pt>
          <cx:pt idx="92001">0</cx:pt>
          <cx:pt idx="92002">0</cx:pt>
          <cx:pt idx="92003">1</cx:pt>
          <cx:pt idx="92004">1</cx:pt>
          <cx:pt idx="92005">1</cx:pt>
          <cx:pt idx="92006">0</cx:pt>
          <cx:pt idx="92007">1</cx:pt>
          <cx:pt idx="92008">1</cx:pt>
          <cx:pt idx="92009">0</cx:pt>
          <cx:pt idx="92010">1</cx:pt>
          <cx:pt idx="92011">0</cx:pt>
          <cx:pt idx="92012">1</cx:pt>
          <cx:pt idx="92013">1</cx:pt>
          <cx:pt idx="92014">1</cx:pt>
          <cx:pt idx="92015">1</cx:pt>
          <cx:pt idx="92016">1</cx:pt>
          <cx:pt idx="92017">0</cx:pt>
          <cx:pt idx="92018">0</cx:pt>
          <cx:pt idx="92019">0</cx:pt>
          <cx:pt idx="92020">1</cx:pt>
          <cx:pt idx="92021">0</cx:pt>
          <cx:pt idx="92022">0</cx:pt>
          <cx:pt idx="92023">1</cx:pt>
          <cx:pt idx="92024">0</cx:pt>
          <cx:pt idx="92025">1</cx:pt>
          <cx:pt idx="92026">0</cx:pt>
          <cx:pt idx="92027">0</cx:pt>
          <cx:pt idx="92028">0</cx:pt>
          <cx:pt idx="92029">1</cx:pt>
          <cx:pt idx="92030">0</cx:pt>
          <cx:pt idx="92031">0</cx:pt>
          <cx:pt idx="92032">0</cx:pt>
          <cx:pt idx="92033">1</cx:pt>
          <cx:pt idx="92034">1</cx:pt>
          <cx:pt idx="92035">1</cx:pt>
          <cx:pt idx="92036">0</cx:pt>
          <cx:pt idx="92037">1</cx:pt>
          <cx:pt idx="92038">1</cx:pt>
          <cx:pt idx="92039">1</cx:pt>
          <cx:pt idx="92040">0</cx:pt>
          <cx:pt idx="92041">0</cx:pt>
          <cx:pt idx="92042">0</cx:pt>
          <cx:pt idx="92043">0</cx:pt>
          <cx:pt idx="92044">0</cx:pt>
          <cx:pt idx="92045">1</cx:pt>
          <cx:pt idx="92046">1</cx:pt>
          <cx:pt idx="92047">0</cx:pt>
          <cx:pt idx="92048">0</cx:pt>
          <cx:pt idx="92049">1</cx:pt>
          <cx:pt idx="92050">0</cx:pt>
          <cx:pt idx="92051">0</cx:pt>
          <cx:pt idx="92052">0</cx:pt>
          <cx:pt idx="92053">1</cx:pt>
          <cx:pt idx="92054">1</cx:pt>
          <cx:pt idx="92055">1</cx:pt>
          <cx:pt idx="92056">0</cx:pt>
          <cx:pt idx="92057">1</cx:pt>
          <cx:pt idx="92058">0</cx:pt>
          <cx:pt idx="92059">1</cx:pt>
          <cx:pt idx="92060">1</cx:pt>
          <cx:pt idx="92061">1</cx:pt>
          <cx:pt idx="92062">0</cx:pt>
          <cx:pt idx="92063">0</cx:pt>
          <cx:pt idx="92064">0</cx:pt>
          <cx:pt idx="92065">0</cx:pt>
          <cx:pt idx="92066">1</cx:pt>
          <cx:pt idx="92067">1</cx:pt>
          <cx:pt idx="92068">1</cx:pt>
          <cx:pt idx="92069">0</cx:pt>
          <cx:pt idx="92070">1</cx:pt>
          <cx:pt idx="92071">0</cx:pt>
          <cx:pt idx="92072">1</cx:pt>
          <cx:pt idx="92073">0</cx:pt>
          <cx:pt idx="92074">0</cx:pt>
          <cx:pt idx="92075">0</cx:pt>
          <cx:pt idx="92076">0</cx:pt>
          <cx:pt idx="92077">1</cx:pt>
          <cx:pt idx="92078">0</cx:pt>
          <cx:pt idx="92079">1</cx:pt>
          <cx:pt idx="92080">0</cx:pt>
          <cx:pt idx="92081">1</cx:pt>
          <cx:pt idx="92082">1</cx:pt>
          <cx:pt idx="92083">0</cx:pt>
          <cx:pt idx="92084">0</cx:pt>
          <cx:pt idx="92085">0</cx:pt>
          <cx:pt idx="92086">0</cx:pt>
          <cx:pt idx="92087">0</cx:pt>
          <cx:pt idx="92088">1</cx:pt>
          <cx:pt idx="92089">0</cx:pt>
          <cx:pt idx="92090">1</cx:pt>
          <cx:pt idx="92091">0</cx:pt>
          <cx:pt idx="92092">1</cx:pt>
          <cx:pt idx="92093">0</cx:pt>
          <cx:pt idx="92094">1</cx:pt>
          <cx:pt idx="92095">0</cx:pt>
          <cx:pt idx="92096">1</cx:pt>
          <cx:pt idx="92097">1</cx:pt>
          <cx:pt idx="92098">1</cx:pt>
          <cx:pt idx="92099">0</cx:pt>
          <cx:pt idx="92100">0</cx:pt>
          <cx:pt idx="92101">0</cx:pt>
          <cx:pt idx="92102">0</cx:pt>
          <cx:pt idx="92103">0</cx:pt>
          <cx:pt idx="92104">1</cx:pt>
          <cx:pt idx="92105">1</cx:pt>
          <cx:pt idx="92106">1</cx:pt>
          <cx:pt idx="92107">0</cx:pt>
          <cx:pt idx="92108">0</cx:pt>
          <cx:pt idx="92109">0</cx:pt>
          <cx:pt idx="92110">1</cx:pt>
          <cx:pt idx="92111">0</cx:pt>
          <cx:pt idx="92112">0</cx:pt>
          <cx:pt idx="92113">0</cx:pt>
          <cx:pt idx="92114">0</cx:pt>
          <cx:pt idx="92115">0</cx:pt>
          <cx:pt idx="92116">0</cx:pt>
          <cx:pt idx="92117">0</cx:pt>
          <cx:pt idx="92118">1</cx:pt>
          <cx:pt idx="92119">0</cx:pt>
          <cx:pt idx="92120">0</cx:pt>
          <cx:pt idx="92121">0</cx:pt>
          <cx:pt idx="92122">1</cx:pt>
          <cx:pt idx="92123">0</cx:pt>
          <cx:pt idx="92124">0</cx:pt>
          <cx:pt idx="92125">1</cx:pt>
          <cx:pt idx="92126">0</cx:pt>
          <cx:pt idx="92127">1</cx:pt>
          <cx:pt idx="92128">0</cx:pt>
          <cx:pt idx="92129">0</cx:pt>
          <cx:pt idx="92130">1</cx:pt>
          <cx:pt idx="92131">0</cx:pt>
          <cx:pt idx="92132">1</cx:pt>
          <cx:pt idx="92133">1</cx:pt>
          <cx:pt idx="92134">0</cx:pt>
          <cx:pt idx="92135">0</cx:pt>
          <cx:pt idx="92136">0</cx:pt>
          <cx:pt idx="92137">0</cx:pt>
          <cx:pt idx="92138">0</cx:pt>
          <cx:pt idx="92139">0</cx:pt>
          <cx:pt idx="92140">1</cx:pt>
          <cx:pt idx="92141">0</cx:pt>
          <cx:pt idx="92142">1</cx:pt>
          <cx:pt idx="92143">1</cx:pt>
          <cx:pt idx="92144">1</cx:pt>
          <cx:pt idx="92145">1</cx:pt>
          <cx:pt idx="92146">0</cx:pt>
          <cx:pt idx="92147">0</cx:pt>
          <cx:pt idx="92148">1</cx:pt>
          <cx:pt idx="92149">0</cx:pt>
          <cx:pt idx="92150">0</cx:pt>
          <cx:pt idx="92151">1</cx:pt>
          <cx:pt idx="92152">1</cx:pt>
          <cx:pt idx="92153">1</cx:pt>
          <cx:pt idx="92154">0</cx:pt>
          <cx:pt idx="92155">0</cx:pt>
          <cx:pt idx="92156">1</cx:pt>
          <cx:pt idx="92157">1</cx:pt>
          <cx:pt idx="92158">1</cx:pt>
          <cx:pt idx="92159">0</cx:pt>
          <cx:pt idx="92160">1</cx:pt>
          <cx:pt idx="92161">1</cx:pt>
          <cx:pt idx="92162">1</cx:pt>
          <cx:pt idx="92163">1</cx:pt>
          <cx:pt idx="92164">0</cx:pt>
          <cx:pt idx="92165">0</cx:pt>
          <cx:pt idx="92166">1</cx:pt>
          <cx:pt idx="92167">0</cx:pt>
          <cx:pt idx="92168">0</cx:pt>
          <cx:pt idx="92169">0</cx:pt>
          <cx:pt idx="92170">0</cx:pt>
          <cx:pt idx="92171">1</cx:pt>
          <cx:pt idx="92172">0</cx:pt>
          <cx:pt idx="92173">0</cx:pt>
          <cx:pt idx="92174">0</cx:pt>
          <cx:pt idx="92175">1</cx:pt>
          <cx:pt idx="92176">0</cx:pt>
          <cx:pt idx="92177">1</cx:pt>
          <cx:pt idx="92178">0</cx:pt>
          <cx:pt idx="92179">1</cx:pt>
          <cx:pt idx="92180">0</cx:pt>
          <cx:pt idx="92181">1</cx:pt>
          <cx:pt idx="92182">1</cx:pt>
          <cx:pt idx="92183">1</cx:pt>
          <cx:pt idx="92184">1</cx:pt>
          <cx:pt idx="92185">1</cx:pt>
          <cx:pt idx="92186">0</cx:pt>
          <cx:pt idx="92187">1</cx:pt>
          <cx:pt idx="92188">0</cx:pt>
          <cx:pt idx="92189">0</cx:pt>
          <cx:pt idx="92190">1</cx:pt>
          <cx:pt idx="92191">0</cx:pt>
          <cx:pt idx="92192">1</cx:pt>
          <cx:pt idx="92193">0</cx:pt>
          <cx:pt idx="92194">0</cx:pt>
          <cx:pt idx="92195">0</cx:pt>
          <cx:pt idx="92196">1</cx:pt>
          <cx:pt idx="92197">1</cx:pt>
          <cx:pt idx="92198">0</cx:pt>
          <cx:pt idx="92199">0</cx:pt>
          <cx:pt idx="92200">0</cx:pt>
          <cx:pt idx="92201">0</cx:pt>
          <cx:pt idx="92202">0</cx:pt>
          <cx:pt idx="92203">0</cx:pt>
          <cx:pt idx="92204">0</cx:pt>
          <cx:pt idx="92205">1</cx:pt>
          <cx:pt idx="92206">0</cx:pt>
          <cx:pt idx="92207">1</cx:pt>
          <cx:pt idx="92208">0</cx:pt>
          <cx:pt idx="92209">0</cx:pt>
          <cx:pt idx="92210">0</cx:pt>
          <cx:pt idx="92211">0</cx:pt>
          <cx:pt idx="92212">1</cx:pt>
          <cx:pt idx="92213">1</cx:pt>
          <cx:pt idx="92214">0</cx:pt>
          <cx:pt idx="92215">1</cx:pt>
          <cx:pt idx="92216">0</cx:pt>
          <cx:pt idx="92217">1</cx:pt>
          <cx:pt idx="92218">0</cx:pt>
          <cx:pt idx="92219">0</cx:pt>
          <cx:pt idx="92220">1</cx:pt>
          <cx:pt idx="92221">1</cx:pt>
          <cx:pt idx="92222">0</cx:pt>
          <cx:pt idx="92223">0</cx:pt>
          <cx:pt idx="92224">1</cx:pt>
          <cx:pt idx="92225">1</cx:pt>
          <cx:pt idx="92226">0</cx:pt>
          <cx:pt idx="92227">1</cx:pt>
          <cx:pt idx="92228">1</cx:pt>
          <cx:pt idx="92229">0</cx:pt>
          <cx:pt idx="92230">1</cx:pt>
          <cx:pt idx="92231">0</cx:pt>
          <cx:pt idx="92232">0</cx:pt>
          <cx:pt idx="92233">1</cx:pt>
          <cx:pt idx="92234">1</cx:pt>
          <cx:pt idx="92235">0</cx:pt>
          <cx:pt idx="92236">0</cx:pt>
          <cx:pt idx="92237">0</cx:pt>
          <cx:pt idx="92238">1</cx:pt>
          <cx:pt idx="92239">1</cx:pt>
          <cx:pt idx="92240">1</cx:pt>
          <cx:pt idx="92241">0</cx:pt>
          <cx:pt idx="92242">0</cx:pt>
          <cx:pt idx="92243">1</cx:pt>
          <cx:pt idx="92244">1</cx:pt>
          <cx:pt idx="92245">1</cx:pt>
          <cx:pt idx="92246">0</cx:pt>
          <cx:pt idx="92247">0</cx:pt>
          <cx:pt idx="92248">0</cx:pt>
          <cx:pt idx="92249">0</cx:pt>
          <cx:pt idx="92250">1</cx:pt>
          <cx:pt idx="92251">0</cx:pt>
          <cx:pt idx="92252">1</cx:pt>
          <cx:pt idx="92253">0</cx:pt>
          <cx:pt idx="92254">0</cx:pt>
          <cx:pt idx="92255">0</cx:pt>
          <cx:pt idx="92256">1</cx:pt>
          <cx:pt idx="92257">0</cx:pt>
          <cx:pt idx="92258">1</cx:pt>
          <cx:pt idx="92259">1</cx:pt>
          <cx:pt idx="92260">1</cx:pt>
          <cx:pt idx="92261">0</cx:pt>
          <cx:pt idx="92262">1</cx:pt>
          <cx:pt idx="92263">0</cx:pt>
          <cx:pt idx="92264">0</cx:pt>
          <cx:pt idx="92265">0</cx:pt>
          <cx:pt idx="92266">0</cx:pt>
          <cx:pt idx="92267">0</cx:pt>
          <cx:pt idx="92268">0</cx:pt>
          <cx:pt idx="92269">0</cx:pt>
          <cx:pt idx="92270">0</cx:pt>
          <cx:pt idx="92271">0</cx:pt>
          <cx:pt idx="92272">0</cx:pt>
          <cx:pt idx="92273">1</cx:pt>
          <cx:pt idx="92274">0</cx:pt>
          <cx:pt idx="92275">0</cx:pt>
          <cx:pt idx="92276">0</cx:pt>
          <cx:pt idx="92277">0</cx:pt>
          <cx:pt idx="92278">1</cx:pt>
          <cx:pt idx="92279">0</cx:pt>
          <cx:pt idx="92280">1</cx:pt>
          <cx:pt idx="92281">1</cx:pt>
          <cx:pt idx="92282">1</cx:pt>
          <cx:pt idx="92283">0</cx:pt>
          <cx:pt idx="92284">0</cx:pt>
          <cx:pt idx="92285">1</cx:pt>
          <cx:pt idx="92286">1</cx:pt>
          <cx:pt idx="92287">1</cx:pt>
          <cx:pt idx="92288">1</cx:pt>
          <cx:pt idx="92289">1</cx:pt>
          <cx:pt idx="92290">1</cx:pt>
          <cx:pt idx="92291">0</cx:pt>
          <cx:pt idx="92292">1</cx:pt>
          <cx:pt idx="92293">0</cx:pt>
          <cx:pt idx="92294">1</cx:pt>
          <cx:pt idx="92295">1</cx:pt>
          <cx:pt idx="92296">0</cx:pt>
          <cx:pt idx="92297">1</cx:pt>
          <cx:pt idx="92298">0</cx:pt>
          <cx:pt idx="92299">0</cx:pt>
          <cx:pt idx="92300">1</cx:pt>
          <cx:pt idx="92301">1</cx:pt>
          <cx:pt idx="92302">1</cx:pt>
          <cx:pt idx="92303">0</cx:pt>
          <cx:pt idx="92304">1</cx:pt>
          <cx:pt idx="92305">0</cx:pt>
          <cx:pt idx="92306">0</cx:pt>
          <cx:pt idx="92307">0</cx:pt>
          <cx:pt idx="92308">0</cx:pt>
          <cx:pt idx="92309">1</cx:pt>
          <cx:pt idx="92310">1</cx:pt>
          <cx:pt idx="92311">0</cx:pt>
          <cx:pt idx="92312">0</cx:pt>
          <cx:pt idx="92313">1</cx:pt>
          <cx:pt idx="92314">1</cx:pt>
          <cx:pt idx="92315">0</cx:pt>
          <cx:pt idx="92316">1</cx:pt>
          <cx:pt idx="92317">1</cx:pt>
          <cx:pt idx="92318">1</cx:pt>
          <cx:pt idx="92319">0</cx:pt>
          <cx:pt idx="92320">0</cx:pt>
          <cx:pt idx="92321">0</cx:pt>
          <cx:pt idx="92322">0</cx:pt>
          <cx:pt idx="92323">1</cx:pt>
          <cx:pt idx="92324">1</cx:pt>
          <cx:pt idx="92325">1</cx:pt>
          <cx:pt idx="92326">1</cx:pt>
          <cx:pt idx="92327">1</cx:pt>
          <cx:pt idx="92328">1</cx:pt>
          <cx:pt idx="92329">1</cx:pt>
          <cx:pt idx="92330">1</cx:pt>
          <cx:pt idx="92331">0</cx:pt>
          <cx:pt idx="92332">1</cx:pt>
          <cx:pt idx="92333">0</cx:pt>
          <cx:pt idx="92334">1</cx:pt>
          <cx:pt idx="92335">0</cx:pt>
          <cx:pt idx="92336">0</cx:pt>
          <cx:pt idx="92337">0</cx:pt>
          <cx:pt idx="92338">0</cx:pt>
          <cx:pt idx="92339">0</cx:pt>
          <cx:pt idx="92340">1</cx:pt>
          <cx:pt idx="92341">1</cx:pt>
          <cx:pt idx="92342">1</cx:pt>
          <cx:pt idx="92343">1</cx:pt>
          <cx:pt idx="92344">1</cx:pt>
          <cx:pt idx="92345">1</cx:pt>
          <cx:pt idx="92346">0</cx:pt>
          <cx:pt idx="92347">0</cx:pt>
          <cx:pt idx="92348">0</cx:pt>
          <cx:pt idx="92349">0</cx:pt>
          <cx:pt idx="92350">0</cx:pt>
          <cx:pt idx="92351">0</cx:pt>
          <cx:pt idx="92352">1</cx:pt>
          <cx:pt idx="92353">0</cx:pt>
          <cx:pt idx="92354">1</cx:pt>
          <cx:pt idx="92355">0</cx:pt>
          <cx:pt idx="92356">0</cx:pt>
          <cx:pt idx="92357">0</cx:pt>
          <cx:pt idx="92358">1</cx:pt>
          <cx:pt idx="92359">1</cx:pt>
          <cx:pt idx="92360">1</cx:pt>
          <cx:pt idx="92361">1</cx:pt>
          <cx:pt idx="92362">0</cx:pt>
          <cx:pt idx="92363">0</cx:pt>
          <cx:pt idx="92364">0</cx:pt>
          <cx:pt idx="92365">0</cx:pt>
          <cx:pt idx="92366">0</cx:pt>
          <cx:pt idx="92367">1</cx:pt>
          <cx:pt idx="92368">0</cx:pt>
          <cx:pt idx="92369">0</cx:pt>
          <cx:pt idx="92370">0</cx:pt>
          <cx:pt idx="92371">1</cx:pt>
          <cx:pt idx="92372">0</cx:pt>
          <cx:pt idx="92373">0</cx:pt>
          <cx:pt idx="92374">0</cx:pt>
          <cx:pt idx="92375">0</cx:pt>
          <cx:pt idx="92376">0</cx:pt>
          <cx:pt idx="92377">1</cx:pt>
          <cx:pt idx="92378">0</cx:pt>
          <cx:pt idx="92379">1</cx:pt>
          <cx:pt idx="92380">0</cx:pt>
          <cx:pt idx="92381">1</cx:pt>
          <cx:pt idx="92382">1</cx:pt>
          <cx:pt idx="92383">0</cx:pt>
          <cx:pt idx="92384">0</cx:pt>
          <cx:pt idx="92385">0</cx:pt>
          <cx:pt idx="92386">0</cx:pt>
          <cx:pt idx="92387">0</cx:pt>
          <cx:pt idx="92388">1</cx:pt>
          <cx:pt idx="92389">0</cx:pt>
          <cx:pt idx="92390">1</cx:pt>
          <cx:pt idx="92391">0</cx:pt>
          <cx:pt idx="92392">1</cx:pt>
          <cx:pt idx="92393">0</cx:pt>
          <cx:pt idx="92394">0</cx:pt>
          <cx:pt idx="92395">0</cx:pt>
          <cx:pt idx="92396">1</cx:pt>
          <cx:pt idx="92397">0</cx:pt>
          <cx:pt idx="92398">1</cx:pt>
          <cx:pt idx="92399">0</cx:pt>
          <cx:pt idx="92400">1</cx:pt>
          <cx:pt idx="92401">0</cx:pt>
          <cx:pt idx="92402">0</cx:pt>
          <cx:pt idx="92403">0</cx:pt>
          <cx:pt idx="92404">1</cx:pt>
          <cx:pt idx="92405">0</cx:pt>
          <cx:pt idx="92406">1</cx:pt>
          <cx:pt idx="92407">0</cx:pt>
          <cx:pt idx="92408">0</cx:pt>
          <cx:pt idx="92409">0</cx:pt>
          <cx:pt idx="92410">1</cx:pt>
          <cx:pt idx="92411">1</cx:pt>
          <cx:pt idx="92412">0</cx:pt>
          <cx:pt idx="92413">1</cx:pt>
          <cx:pt idx="92414">0</cx:pt>
          <cx:pt idx="92415">0</cx:pt>
          <cx:pt idx="92416">1</cx:pt>
          <cx:pt idx="92417">1</cx:pt>
          <cx:pt idx="92418">1</cx:pt>
          <cx:pt idx="92419">0</cx:pt>
          <cx:pt idx="92420">1</cx:pt>
          <cx:pt idx="92421">1</cx:pt>
          <cx:pt idx="92422">1</cx:pt>
          <cx:pt idx="92423">0</cx:pt>
          <cx:pt idx="92424">1</cx:pt>
          <cx:pt idx="92425">1</cx:pt>
          <cx:pt idx="92426">0</cx:pt>
          <cx:pt idx="92427">1</cx:pt>
          <cx:pt idx="92428">0</cx:pt>
          <cx:pt idx="92429">0</cx:pt>
          <cx:pt idx="92430">1</cx:pt>
          <cx:pt idx="92431">0</cx:pt>
          <cx:pt idx="92432">0</cx:pt>
          <cx:pt idx="92433">0</cx:pt>
          <cx:pt idx="92434">0</cx:pt>
          <cx:pt idx="92435">0</cx:pt>
          <cx:pt idx="92436">1</cx:pt>
          <cx:pt idx="92437">0</cx:pt>
          <cx:pt idx="92438">0</cx:pt>
          <cx:pt idx="92439">0</cx:pt>
          <cx:pt idx="92440">1</cx:pt>
          <cx:pt idx="92441">1</cx:pt>
          <cx:pt idx="92442">1</cx:pt>
          <cx:pt idx="92443">1</cx:pt>
          <cx:pt idx="92444">0</cx:pt>
          <cx:pt idx="92445">1</cx:pt>
          <cx:pt idx="92446">0</cx:pt>
          <cx:pt idx="92447">1</cx:pt>
          <cx:pt idx="92448">1</cx:pt>
          <cx:pt idx="92449">0</cx:pt>
          <cx:pt idx="92450">0</cx:pt>
          <cx:pt idx="92451">1</cx:pt>
          <cx:pt idx="92452">1</cx:pt>
          <cx:pt idx="92453">1</cx:pt>
          <cx:pt idx="92454">0</cx:pt>
          <cx:pt idx="92455">0</cx:pt>
          <cx:pt idx="92456">1</cx:pt>
          <cx:pt idx="92457">0</cx:pt>
          <cx:pt idx="92458">0</cx:pt>
          <cx:pt idx="92459">0</cx:pt>
          <cx:pt idx="92460">1</cx:pt>
          <cx:pt idx="92461">0</cx:pt>
          <cx:pt idx="92462">0</cx:pt>
          <cx:pt idx="92463">1</cx:pt>
          <cx:pt idx="92464">0</cx:pt>
          <cx:pt idx="92465">0</cx:pt>
          <cx:pt idx="92466">0</cx:pt>
          <cx:pt idx="92467">0</cx:pt>
          <cx:pt idx="92468">0</cx:pt>
          <cx:pt idx="92469">1</cx:pt>
          <cx:pt idx="92470">1</cx:pt>
          <cx:pt idx="92471">0</cx:pt>
          <cx:pt idx="92472">0</cx:pt>
          <cx:pt idx="92473">0</cx:pt>
          <cx:pt idx="92474">0</cx:pt>
          <cx:pt idx="92475">0</cx:pt>
          <cx:pt idx="92476">0</cx:pt>
          <cx:pt idx="92477">0</cx:pt>
          <cx:pt idx="92478">1</cx:pt>
          <cx:pt idx="92479">1</cx:pt>
          <cx:pt idx="92480">0</cx:pt>
          <cx:pt idx="92481">1</cx:pt>
          <cx:pt idx="92482">1</cx:pt>
          <cx:pt idx="92483">0</cx:pt>
          <cx:pt idx="92484">0</cx:pt>
          <cx:pt idx="92485">0</cx:pt>
          <cx:pt idx="92486">1</cx:pt>
          <cx:pt idx="92487">1</cx:pt>
          <cx:pt idx="92488">1</cx:pt>
          <cx:pt idx="92489">0</cx:pt>
          <cx:pt idx="92490">0</cx:pt>
          <cx:pt idx="92491">0</cx:pt>
          <cx:pt idx="92492">0</cx:pt>
          <cx:pt idx="92493">0</cx:pt>
          <cx:pt idx="92494">0</cx:pt>
          <cx:pt idx="92495">0</cx:pt>
          <cx:pt idx="92496">0</cx:pt>
          <cx:pt idx="92497">1</cx:pt>
          <cx:pt idx="92498">0</cx:pt>
          <cx:pt idx="92499">0</cx:pt>
          <cx:pt idx="92500">0</cx:pt>
          <cx:pt idx="92501">1</cx:pt>
          <cx:pt idx="92502">1</cx:pt>
          <cx:pt idx="92503">1</cx:pt>
          <cx:pt idx="92504">1</cx:pt>
          <cx:pt idx="92505">1</cx:pt>
          <cx:pt idx="92506">0</cx:pt>
          <cx:pt idx="92507">0</cx:pt>
          <cx:pt idx="92508">1</cx:pt>
          <cx:pt idx="92509">1</cx:pt>
          <cx:pt idx="92510">1</cx:pt>
          <cx:pt idx="92511">0</cx:pt>
          <cx:pt idx="92512">0</cx:pt>
          <cx:pt idx="92513">1</cx:pt>
          <cx:pt idx="92514">0</cx:pt>
          <cx:pt idx="92515">1</cx:pt>
          <cx:pt idx="92516">0</cx:pt>
          <cx:pt idx="92517">1</cx:pt>
          <cx:pt idx="92518">1</cx:pt>
          <cx:pt idx="92519">0</cx:pt>
          <cx:pt idx="92520">1</cx:pt>
          <cx:pt idx="92521">0</cx:pt>
          <cx:pt idx="92522">0</cx:pt>
          <cx:pt idx="92523">1</cx:pt>
          <cx:pt idx="92524">0</cx:pt>
          <cx:pt idx="92525">0</cx:pt>
          <cx:pt idx="92526">1</cx:pt>
          <cx:pt idx="92527">0</cx:pt>
          <cx:pt idx="92528">1</cx:pt>
          <cx:pt idx="92529">0</cx:pt>
          <cx:pt idx="92530">0</cx:pt>
          <cx:pt idx="92531">1</cx:pt>
          <cx:pt idx="92532">1</cx:pt>
          <cx:pt idx="92533">0</cx:pt>
          <cx:pt idx="92534">0</cx:pt>
          <cx:pt idx="92535">0</cx:pt>
          <cx:pt idx="92536">0</cx:pt>
          <cx:pt idx="92537">0</cx:pt>
          <cx:pt idx="92538">0</cx:pt>
          <cx:pt idx="92539">0</cx:pt>
          <cx:pt idx="92540">0</cx:pt>
          <cx:pt idx="92541">1</cx:pt>
          <cx:pt idx="92542">1</cx:pt>
          <cx:pt idx="92543">0</cx:pt>
          <cx:pt idx="92544">0</cx:pt>
          <cx:pt idx="92545">1</cx:pt>
          <cx:pt idx="92546">0</cx:pt>
          <cx:pt idx="92547">0</cx:pt>
          <cx:pt idx="92548">1</cx:pt>
          <cx:pt idx="92549">0</cx:pt>
          <cx:pt idx="92550">0</cx:pt>
          <cx:pt idx="92551">1</cx:pt>
          <cx:pt idx="92552">0</cx:pt>
          <cx:pt idx="92553">1</cx:pt>
          <cx:pt idx="92554">0</cx:pt>
          <cx:pt idx="92555">1</cx:pt>
          <cx:pt idx="92556">0</cx:pt>
          <cx:pt idx="92557">0</cx:pt>
          <cx:pt idx="92558">1</cx:pt>
          <cx:pt idx="92559">0</cx:pt>
          <cx:pt idx="92560">1</cx:pt>
          <cx:pt idx="92561">0</cx:pt>
          <cx:pt idx="92562">1</cx:pt>
          <cx:pt idx="92563">0</cx:pt>
          <cx:pt idx="92564">1</cx:pt>
          <cx:pt idx="92565">0</cx:pt>
          <cx:pt idx="92566">0</cx:pt>
          <cx:pt idx="92567">1</cx:pt>
          <cx:pt idx="92568">0</cx:pt>
          <cx:pt idx="92569">0</cx:pt>
          <cx:pt idx="92570">1</cx:pt>
          <cx:pt idx="92571">0</cx:pt>
          <cx:pt idx="92572">0</cx:pt>
          <cx:pt idx="92573">0</cx:pt>
          <cx:pt idx="92574">0</cx:pt>
          <cx:pt idx="92575">0</cx:pt>
          <cx:pt idx="92576">0</cx:pt>
          <cx:pt idx="92577">1</cx:pt>
          <cx:pt idx="92578">0</cx:pt>
          <cx:pt idx="92579">0</cx:pt>
          <cx:pt idx="92580">1</cx:pt>
          <cx:pt idx="92581">1</cx:pt>
          <cx:pt idx="92582">0</cx:pt>
          <cx:pt idx="92583">0</cx:pt>
          <cx:pt idx="92584">0</cx:pt>
          <cx:pt idx="92585">1</cx:pt>
          <cx:pt idx="92586">1</cx:pt>
          <cx:pt idx="92587">0</cx:pt>
          <cx:pt idx="92588">0</cx:pt>
          <cx:pt idx="92589">0</cx:pt>
          <cx:pt idx="92590">0</cx:pt>
          <cx:pt idx="92591">1</cx:pt>
          <cx:pt idx="92592">0</cx:pt>
          <cx:pt idx="92593">1</cx:pt>
          <cx:pt idx="92594">0</cx:pt>
          <cx:pt idx="92595">0</cx:pt>
          <cx:pt idx="92596">0</cx:pt>
          <cx:pt idx="92597">1</cx:pt>
          <cx:pt idx="92598">0</cx:pt>
          <cx:pt idx="92599">0</cx:pt>
          <cx:pt idx="92600">0</cx:pt>
          <cx:pt idx="92601">1</cx:pt>
          <cx:pt idx="92602">1</cx:pt>
          <cx:pt idx="92603">1</cx:pt>
          <cx:pt idx="92604">0</cx:pt>
          <cx:pt idx="92605">0</cx:pt>
          <cx:pt idx="92606">0</cx:pt>
          <cx:pt idx="92607">0</cx:pt>
          <cx:pt idx="92608">0</cx:pt>
          <cx:pt idx="92609">0</cx:pt>
          <cx:pt idx="92610">0</cx:pt>
          <cx:pt idx="92611">1</cx:pt>
          <cx:pt idx="92612">0</cx:pt>
          <cx:pt idx="92613">1</cx:pt>
          <cx:pt idx="92614">1</cx:pt>
          <cx:pt idx="92615">0</cx:pt>
          <cx:pt idx="92616">1</cx:pt>
          <cx:pt idx="92617">1</cx:pt>
          <cx:pt idx="92618">0</cx:pt>
          <cx:pt idx="92619">0</cx:pt>
          <cx:pt idx="92620">1</cx:pt>
          <cx:pt idx="92621">0</cx:pt>
          <cx:pt idx="92622">0</cx:pt>
          <cx:pt idx="92623">1</cx:pt>
          <cx:pt idx="92624">1</cx:pt>
          <cx:pt idx="92625">1</cx:pt>
          <cx:pt idx="92626">0</cx:pt>
          <cx:pt idx="92627">1</cx:pt>
          <cx:pt idx="92628">1</cx:pt>
          <cx:pt idx="92629">1</cx:pt>
          <cx:pt idx="92630">0</cx:pt>
          <cx:pt idx="92631">0</cx:pt>
          <cx:pt idx="92632">0</cx:pt>
          <cx:pt idx="92633">0</cx:pt>
          <cx:pt idx="92634">1</cx:pt>
          <cx:pt idx="92635">0</cx:pt>
          <cx:pt idx="92636">0</cx:pt>
          <cx:pt idx="92637">1</cx:pt>
          <cx:pt idx="92638">0</cx:pt>
          <cx:pt idx="92639">0</cx:pt>
          <cx:pt idx="92640">0</cx:pt>
          <cx:pt idx="92641">1</cx:pt>
          <cx:pt idx="92642">0</cx:pt>
          <cx:pt idx="92643">0</cx:pt>
          <cx:pt idx="92644">1</cx:pt>
          <cx:pt idx="92645">0</cx:pt>
          <cx:pt idx="92646">0</cx:pt>
          <cx:pt idx="92647">0</cx:pt>
          <cx:pt idx="92648">1</cx:pt>
          <cx:pt idx="92649">0</cx:pt>
          <cx:pt idx="92650">0</cx:pt>
          <cx:pt idx="92651">1</cx:pt>
          <cx:pt idx="92652">1</cx:pt>
          <cx:pt idx="92653">0</cx:pt>
          <cx:pt idx="92654">1</cx:pt>
          <cx:pt idx="92655">0</cx:pt>
          <cx:pt idx="92656">1</cx:pt>
          <cx:pt idx="92657">1</cx:pt>
          <cx:pt idx="92658">0</cx:pt>
          <cx:pt idx="92659">0</cx:pt>
          <cx:pt idx="92660">0</cx:pt>
          <cx:pt idx="92661">1</cx:pt>
          <cx:pt idx="92662">0</cx:pt>
          <cx:pt idx="92663">0</cx:pt>
          <cx:pt idx="92664">1</cx:pt>
          <cx:pt idx="92665">0</cx:pt>
          <cx:pt idx="92666">0</cx:pt>
          <cx:pt idx="92667">0</cx:pt>
          <cx:pt idx="92668">0</cx:pt>
          <cx:pt idx="92669">0</cx:pt>
          <cx:pt idx="92670">0</cx:pt>
          <cx:pt idx="92671">1</cx:pt>
          <cx:pt idx="92672">0</cx:pt>
          <cx:pt idx="92673">0</cx:pt>
          <cx:pt idx="92674">0</cx:pt>
          <cx:pt idx="92675">1</cx:pt>
          <cx:pt idx="92676">0</cx:pt>
          <cx:pt idx="92677">0</cx:pt>
          <cx:pt idx="92678">0</cx:pt>
          <cx:pt idx="92679">1</cx:pt>
          <cx:pt idx="92680">1</cx:pt>
          <cx:pt idx="92681">0</cx:pt>
          <cx:pt idx="92682">1</cx:pt>
          <cx:pt idx="92683">0</cx:pt>
          <cx:pt idx="92684">1</cx:pt>
          <cx:pt idx="92685">0</cx:pt>
          <cx:pt idx="92686">0</cx:pt>
          <cx:pt idx="92687">1</cx:pt>
          <cx:pt idx="92688">1</cx:pt>
          <cx:pt idx="92689">0</cx:pt>
          <cx:pt idx="92690">0</cx:pt>
          <cx:pt idx="92691">1</cx:pt>
          <cx:pt idx="92692">0</cx:pt>
          <cx:pt idx="92693">0</cx:pt>
          <cx:pt idx="92694">1</cx:pt>
          <cx:pt idx="92695">1</cx:pt>
          <cx:pt idx="92696">0</cx:pt>
          <cx:pt idx="92697">0</cx:pt>
          <cx:pt idx="92698">0</cx:pt>
          <cx:pt idx="92699">1</cx:pt>
          <cx:pt idx="92700">1</cx:pt>
          <cx:pt idx="92701">1</cx:pt>
          <cx:pt idx="92702">0</cx:pt>
          <cx:pt idx="92703">1</cx:pt>
          <cx:pt idx="92704">0</cx:pt>
          <cx:pt idx="92705">1</cx:pt>
          <cx:pt idx="92706">0</cx:pt>
          <cx:pt idx="92707">1</cx:pt>
          <cx:pt idx="92708">0</cx:pt>
          <cx:pt idx="92709">0</cx:pt>
          <cx:pt idx="92710">1</cx:pt>
          <cx:pt idx="92711">0</cx:pt>
          <cx:pt idx="92712">0</cx:pt>
          <cx:pt idx="92713">0</cx:pt>
          <cx:pt idx="92714">0</cx:pt>
          <cx:pt idx="92715">1</cx:pt>
          <cx:pt idx="92716">0</cx:pt>
          <cx:pt idx="92717">0</cx:pt>
          <cx:pt idx="92718">0</cx:pt>
          <cx:pt idx="92719">1</cx:pt>
          <cx:pt idx="92720">1</cx:pt>
          <cx:pt idx="92721">1</cx:pt>
          <cx:pt idx="92722">0</cx:pt>
          <cx:pt idx="92723">1</cx:pt>
          <cx:pt idx="92724">0</cx:pt>
          <cx:pt idx="92725">0</cx:pt>
          <cx:pt idx="92726">1</cx:pt>
          <cx:pt idx="92727">1</cx:pt>
          <cx:pt idx="92728">1</cx:pt>
          <cx:pt idx="92729">1</cx:pt>
          <cx:pt idx="92730">1</cx:pt>
          <cx:pt idx="92731">1</cx:pt>
          <cx:pt idx="92732">1</cx:pt>
          <cx:pt idx="92733">0</cx:pt>
          <cx:pt idx="92734">0</cx:pt>
          <cx:pt idx="92735">1</cx:pt>
          <cx:pt idx="92736">0</cx:pt>
          <cx:pt idx="92737">0</cx:pt>
          <cx:pt idx="92738">0</cx:pt>
          <cx:pt idx="92739">0</cx:pt>
          <cx:pt idx="92740">1</cx:pt>
          <cx:pt idx="92741">0</cx:pt>
          <cx:pt idx="92742">0</cx:pt>
          <cx:pt idx="92743">0</cx:pt>
          <cx:pt idx="92744">0</cx:pt>
          <cx:pt idx="92745">1</cx:pt>
          <cx:pt idx="92746">0</cx:pt>
          <cx:pt idx="92747">0</cx:pt>
          <cx:pt idx="92748">0</cx:pt>
          <cx:pt idx="92749">0</cx:pt>
          <cx:pt idx="92750">0</cx:pt>
          <cx:pt idx="92751">0</cx:pt>
          <cx:pt idx="92752">0</cx:pt>
          <cx:pt idx="92753">0</cx:pt>
          <cx:pt idx="92754">1</cx:pt>
          <cx:pt idx="92755">1</cx:pt>
          <cx:pt idx="92756">0</cx:pt>
          <cx:pt idx="92757">1</cx:pt>
          <cx:pt idx="92758">1</cx:pt>
          <cx:pt idx="92759">0</cx:pt>
          <cx:pt idx="92760">0</cx:pt>
          <cx:pt idx="92761">0</cx:pt>
          <cx:pt idx="92762">1</cx:pt>
          <cx:pt idx="92763">1</cx:pt>
          <cx:pt idx="92764">0</cx:pt>
          <cx:pt idx="92765">0</cx:pt>
          <cx:pt idx="92766">1</cx:pt>
          <cx:pt idx="92767">0</cx:pt>
          <cx:pt idx="92768">0</cx:pt>
          <cx:pt idx="92769">0</cx:pt>
          <cx:pt idx="92770">0</cx:pt>
          <cx:pt idx="92771">0</cx:pt>
          <cx:pt idx="92772">1</cx:pt>
          <cx:pt idx="92773">0</cx:pt>
          <cx:pt idx="92774">0</cx:pt>
          <cx:pt idx="92775">1</cx:pt>
          <cx:pt idx="92776">0</cx:pt>
          <cx:pt idx="92777">0</cx:pt>
          <cx:pt idx="92778">0</cx:pt>
          <cx:pt idx="92779">0</cx:pt>
          <cx:pt idx="92780">1</cx:pt>
          <cx:pt idx="92781">1</cx:pt>
          <cx:pt idx="92782">1</cx:pt>
          <cx:pt idx="92783">0</cx:pt>
          <cx:pt idx="92784">0</cx:pt>
          <cx:pt idx="92785">0</cx:pt>
          <cx:pt idx="92786">0</cx:pt>
          <cx:pt idx="92787">1</cx:pt>
          <cx:pt idx="92788">0</cx:pt>
          <cx:pt idx="92789">1</cx:pt>
          <cx:pt idx="92790">0</cx:pt>
          <cx:pt idx="92791">0</cx:pt>
          <cx:pt idx="92792">1</cx:pt>
          <cx:pt idx="92793">0</cx:pt>
          <cx:pt idx="92794">0</cx:pt>
          <cx:pt idx="92795">0</cx:pt>
          <cx:pt idx="92796">0</cx:pt>
          <cx:pt idx="92797">0</cx:pt>
          <cx:pt idx="92798">0</cx:pt>
          <cx:pt idx="92799">0</cx:pt>
          <cx:pt idx="92800">0</cx:pt>
          <cx:pt idx="92801">0</cx:pt>
          <cx:pt idx="92802">0</cx:pt>
          <cx:pt idx="92803">0</cx:pt>
          <cx:pt idx="92804">1</cx:pt>
          <cx:pt idx="92805">1</cx:pt>
          <cx:pt idx="92806">0</cx:pt>
          <cx:pt idx="92807">0</cx:pt>
          <cx:pt idx="92808">0</cx:pt>
          <cx:pt idx="92809">0</cx:pt>
          <cx:pt idx="92810">1</cx:pt>
          <cx:pt idx="92811">0</cx:pt>
          <cx:pt idx="92812">0</cx:pt>
          <cx:pt idx="92813">1</cx:pt>
          <cx:pt idx="92814">1</cx:pt>
          <cx:pt idx="92815">1</cx:pt>
          <cx:pt idx="92816">0</cx:pt>
          <cx:pt idx="92817">0</cx:pt>
          <cx:pt idx="92818">0</cx:pt>
          <cx:pt idx="92819">0</cx:pt>
          <cx:pt idx="92820">0</cx:pt>
          <cx:pt idx="92821">0</cx:pt>
          <cx:pt idx="92822">1</cx:pt>
          <cx:pt idx="92823">0</cx:pt>
          <cx:pt idx="92824">0</cx:pt>
          <cx:pt idx="92825">1</cx:pt>
          <cx:pt idx="92826">0</cx:pt>
          <cx:pt idx="92827">1</cx:pt>
          <cx:pt idx="92828">0</cx:pt>
          <cx:pt idx="92829">1</cx:pt>
          <cx:pt idx="92830">0</cx:pt>
          <cx:pt idx="92831">0</cx:pt>
          <cx:pt idx="92832">0</cx:pt>
          <cx:pt idx="92833">0</cx:pt>
          <cx:pt idx="92834">0</cx:pt>
          <cx:pt idx="92835">1</cx:pt>
          <cx:pt idx="92836">0</cx:pt>
          <cx:pt idx="92837">0</cx:pt>
          <cx:pt idx="92838">1</cx:pt>
          <cx:pt idx="92839">0</cx:pt>
          <cx:pt idx="92840">1</cx:pt>
          <cx:pt idx="92841">1</cx:pt>
          <cx:pt idx="92842">1</cx:pt>
          <cx:pt idx="92843">0</cx:pt>
          <cx:pt idx="92844">1</cx:pt>
          <cx:pt idx="92845">1</cx:pt>
          <cx:pt idx="92846">1</cx:pt>
          <cx:pt idx="92847">0</cx:pt>
          <cx:pt idx="92848">0</cx:pt>
          <cx:pt idx="92849">0</cx:pt>
          <cx:pt idx="92850">0</cx:pt>
          <cx:pt idx="92851">0</cx:pt>
          <cx:pt idx="92852">1</cx:pt>
          <cx:pt idx="92853">0</cx:pt>
          <cx:pt idx="92854">0</cx:pt>
          <cx:pt idx="92855">0</cx:pt>
          <cx:pt idx="92856">0</cx:pt>
          <cx:pt idx="92857">1</cx:pt>
          <cx:pt idx="92858">0</cx:pt>
          <cx:pt idx="92859">0</cx:pt>
          <cx:pt idx="92860">0</cx:pt>
          <cx:pt idx="92861">0</cx:pt>
          <cx:pt idx="92862">0</cx:pt>
          <cx:pt idx="92863">0</cx:pt>
          <cx:pt idx="92864">0</cx:pt>
          <cx:pt idx="92865">1</cx:pt>
          <cx:pt idx="92866">0</cx:pt>
          <cx:pt idx="92867">0</cx:pt>
          <cx:pt idx="92868">1</cx:pt>
          <cx:pt idx="92869">0</cx:pt>
          <cx:pt idx="92870">0</cx:pt>
          <cx:pt idx="92871">0</cx:pt>
          <cx:pt idx="92872">0</cx:pt>
          <cx:pt idx="92873">1</cx:pt>
          <cx:pt idx="92874">1</cx:pt>
          <cx:pt idx="92875">1</cx:pt>
          <cx:pt idx="92876">1</cx:pt>
          <cx:pt idx="92877">1</cx:pt>
          <cx:pt idx="92878">1</cx:pt>
          <cx:pt idx="92879">0</cx:pt>
          <cx:pt idx="92880">0</cx:pt>
          <cx:pt idx="92881">1</cx:pt>
          <cx:pt idx="92882">1</cx:pt>
          <cx:pt idx="92883">0</cx:pt>
          <cx:pt idx="92884">1</cx:pt>
          <cx:pt idx="92885">0</cx:pt>
          <cx:pt idx="92886">0</cx:pt>
          <cx:pt idx="92887">1</cx:pt>
          <cx:pt idx="92888">1</cx:pt>
          <cx:pt idx="92889">0</cx:pt>
          <cx:pt idx="92890">1</cx:pt>
          <cx:pt idx="92891">0</cx:pt>
          <cx:pt idx="92892">0</cx:pt>
          <cx:pt idx="92893">0</cx:pt>
          <cx:pt idx="92894">0</cx:pt>
          <cx:pt idx="92895">0</cx:pt>
          <cx:pt idx="92896">0</cx:pt>
          <cx:pt idx="92897">1</cx:pt>
          <cx:pt idx="92898">0</cx:pt>
          <cx:pt idx="92899">1</cx:pt>
          <cx:pt idx="92900">1</cx:pt>
          <cx:pt idx="92901">0</cx:pt>
          <cx:pt idx="92902">1</cx:pt>
          <cx:pt idx="92903">0</cx:pt>
          <cx:pt idx="92904">0</cx:pt>
          <cx:pt idx="92905">0</cx:pt>
          <cx:pt idx="92906">0</cx:pt>
          <cx:pt idx="92907">0</cx:pt>
          <cx:pt idx="92908">1</cx:pt>
          <cx:pt idx="92909">0</cx:pt>
          <cx:pt idx="92910">0</cx:pt>
          <cx:pt idx="92911">1</cx:pt>
          <cx:pt idx="92912">0</cx:pt>
          <cx:pt idx="92913">0</cx:pt>
          <cx:pt idx="92914">0</cx:pt>
          <cx:pt idx="92915">0</cx:pt>
          <cx:pt idx="92916">1</cx:pt>
          <cx:pt idx="92917">0</cx:pt>
          <cx:pt idx="92918">1</cx:pt>
          <cx:pt idx="92919">1</cx:pt>
          <cx:pt idx="92920">1</cx:pt>
          <cx:pt idx="92921">0</cx:pt>
          <cx:pt idx="92922">0</cx:pt>
          <cx:pt idx="92923">0</cx:pt>
          <cx:pt idx="92924">0</cx:pt>
          <cx:pt idx="92925">0</cx:pt>
          <cx:pt idx="92926">0</cx:pt>
          <cx:pt idx="92927">0</cx:pt>
          <cx:pt idx="92928">0</cx:pt>
          <cx:pt idx="92929">0</cx:pt>
          <cx:pt idx="92930">0</cx:pt>
          <cx:pt idx="92931">0</cx:pt>
          <cx:pt idx="92932">0</cx:pt>
          <cx:pt idx="92933">0</cx:pt>
          <cx:pt idx="92934">0</cx:pt>
          <cx:pt idx="92935">0</cx:pt>
          <cx:pt idx="92936">0</cx:pt>
          <cx:pt idx="92937">1</cx:pt>
          <cx:pt idx="92938">1</cx:pt>
          <cx:pt idx="92939">0</cx:pt>
          <cx:pt idx="92940">0</cx:pt>
          <cx:pt idx="92941">0</cx:pt>
          <cx:pt idx="92942">0</cx:pt>
          <cx:pt idx="92943">0</cx:pt>
          <cx:pt idx="92944">0</cx:pt>
          <cx:pt idx="92945">1</cx:pt>
          <cx:pt idx="92946">0</cx:pt>
          <cx:pt idx="92947">1</cx:pt>
          <cx:pt idx="92948">0</cx:pt>
          <cx:pt idx="92949">1</cx:pt>
          <cx:pt idx="92950">1</cx:pt>
          <cx:pt idx="92951">0</cx:pt>
          <cx:pt idx="92952">1</cx:pt>
          <cx:pt idx="92953">1</cx:pt>
          <cx:pt idx="92954">1</cx:pt>
          <cx:pt idx="92955">1</cx:pt>
          <cx:pt idx="92956">1</cx:pt>
          <cx:pt idx="92957">1</cx:pt>
          <cx:pt idx="92958">0</cx:pt>
          <cx:pt idx="92959">0</cx:pt>
          <cx:pt idx="92960">1</cx:pt>
          <cx:pt idx="92961">1</cx:pt>
          <cx:pt idx="92962">1</cx:pt>
          <cx:pt idx="92963">1</cx:pt>
          <cx:pt idx="92964">1</cx:pt>
          <cx:pt idx="92965">1</cx:pt>
          <cx:pt idx="92966">0</cx:pt>
          <cx:pt idx="92967">0</cx:pt>
          <cx:pt idx="92968">1</cx:pt>
          <cx:pt idx="92969">1</cx:pt>
          <cx:pt idx="92970">0</cx:pt>
          <cx:pt idx="92971">1</cx:pt>
          <cx:pt idx="92972">1</cx:pt>
          <cx:pt idx="92973">1</cx:pt>
          <cx:pt idx="92974">0</cx:pt>
          <cx:pt idx="92975">1</cx:pt>
          <cx:pt idx="92976">0</cx:pt>
          <cx:pt idx="92977">0</cx:pt>
          <cx:pt idx="92978">1</cx:pt>
          <cx:pt idx="92979">0</cx:pt>
          <cx:pt idx="92980">0</cx:pt>
          <cx:pt idx="92981">0</cx:pt>
          <cx:pt idx="92982">0</cx:pt>
          <cx:pt idx="92983">1</cx:pt>
          <cx:pt idx="92984">1</cx:pt>
          <cx:pt idx="92985">0</cx:pt>
          <cx:pt idx="92986">0</cx:pt>
          <cx:pt idx="92987">0</cx:pt>
          <cx:pt idx="92988">0</cx:pt>
          <cx:pt idx="92989">1</cx:pt>
          <cx:pt idx="92990">0</cx:pt>
          <cx:pt idx="92991">0</cx:pt>
          <cx:pt idx="92992">1</cx:pt>
          <cx:pt idx="92993">1</cx:pt>
          <cx:pt idx="92994">0</cx:pt>
          <cx:pt idx="92995">0</cx:pt>
          <cx:pt idx="92996">1</cx:pt>
          <cx:pt idx="92997">0</cx:pt>
          <cx:pt idx="92998">0</cx:pt>
          <cx:pt idx="92999">0</cx:pt>
          <cx:pt idx="93000">1</cx:pt>
          <cx:pt idx="93001">0</cx:pt>
          <cx:pt idx="93002">0</cx:pt>
          <cx:pt idx="93003">0</cx:pt>
          <cx:pt idx="93004">1</cx:pt>
          <cx:pt idx="93005">0</cx:pt>
          <cx:pt idx="93006">0</cx:pt>
          <cx:pt idx="93007">0</cx:pt>
          <cx:pt idx="93008">0</cx:pt>
          <cx:pt idx="93009">1</cx:pt>
          <cx:pt idx="93010">0</cx:pt>
          <cx:pt idx="93011">1</cx:pt>
          <cx:pt idx="93012">0</cx:pt>
          <cx:pt idx="93013">0</cx:pt>
          <cx:pt idx="93014">0</cx:pt>
          <cx:pt idx="93015">0</cx:pt>
          <cx:pt idx="93016">0</cx:pt>
          <cx:pt idx="93017">0</cx:pt>
          <cx:pt idx="93018">0</cx:pt>
          <cx:pt idx="93019">0</cx:pt>
          <cx:pt idx="93020">0</cx:pt>
          <cx:pt idx="93021">0</cx:pt>
          <cx:pt idx="93022">1</cx:pt>
          <cx:pt idx="93023">0</cx:pt>
          <cx:pt idx="93024">1</cx:pt>
          <cx:pt idx="93025">0</cx:pt>
          <cx:pt idx="93026">0</cx:pt>
          <cx:pt idx="93027">1</cx:pt>
          <cx:pt idx="93028">0</cx:pt>
          <cx:pt idx="93029">0</cx:pt>
          <cx:pt idx="93030">0</cx:pt>
          <cx:pt idx="93031">1</cx:pt>
          <cx:pt idx="93032">0</cx:pt>
          <cx:pt idx="93033">0</cx:pt>
          <cx:pt idx="93034">0</cx:pt>
          <cx:pt idx="93035">1</cx:pt>
          <cx:pt idx="93036">1</cx:pt>
          <cx:pt idx="93037">0</cx:pt>
          <cx:pt idx="93038">0</cx:pt>
          <cx:pt idx="93039">0</cx:pt>
          <cx:pt idx="93040">1</cx:pt>
          <cx:pt idx="93041">1</cx:pt>
          <cx:pt idx="93042">0</cx:pt>
          <cx:pt idx="93043">0</cx:pt>
          <cx:pt idx="93044">0</cx:pt>
          <cx:pt idx="93045">1</cx:pt>
          <cx:pt idx="93046">0</cx:pt>
          <cx:pt idx="93047">0</cx:pt>
          <cx:pt idx="93048">1</cx:pt>
          <cx:pt idx="93049">1</cx:pt>
          <cx:pt idx="93050">1</cx:pt>
          <cx:pt idx="93051">1</cx:pt>
          <cx:pt idx="93052">1</cx:pt>
          <cx:pt idx="93053">1</cx:pt>
          <cx:pt idx="93054">1</cx:pt>
          <cx:pt idx="93055">0</cx:pt>
          <cx:pt idx="93056">0</cx:pt>
          <cx:pt idx="93057">0</cx:pt>
          <cx:pt idx="93058">1</cx:pt>
          <cx:pt idx="93059">0</cx:pt>
          <cx:pt idx="93060">0</cx:pt>
          <cx:pt idx="93061">0</cx:pt>
          <cx:pt idx="93062">0</cx:pt>
          <cx:pt idx="93063">0</cx:pt>
          <cx:pt idx="93064">1</cx:pt>
          <cx:pt idx="93065">1</cx:pt>
          <cx:pt idx="93066">0</cx:pt>
          <cx:pt idx="93067">0</cx:pt>
          <cx:pt idx="93068">1</cx:pt>
          <cx:pt idx="93069">1</cx:pt>
          <cx:pt idx="93070">0</cx:pt>
          <cx:pt idx="93071">0</cx:pt>
          <cx:pt idx="93072">0</cx:pt>
          <cx:pt idx="93073">0</cx:pt>
          <cx:pt idx="93074">1</cx:pt>
          <cx:pt idx="93075">1</cx:pt>
          <cx:pt idx="93076">1</cx:pt>
          <cx:pt idx="93077">0</cx:pt>
          <cx:pt idx="93078">0</cx:pt>
          <cx:pt idx="93079">0</cx:pt>
          <cx:pt idx="93080">0</cx:pt>
          <cx:pt idx="93081">1</cx:pt>
          <cx:pt idx="93082">0</cx:pt>
          <cx:pt idx="93083">0</cx:pt>
          <cx:pt idx="93084">0</cx:pt>
          <cx:pt idx="93085">0</cx:pt>
          <cx:pt idx="93086">1</cx:pt>
          <cx:pt idx="93087">0</cx:pt>
          <cx:pt idx="93088">0</cx:pt>
          <cx:pt idx="93089">1</cx:pt>
          <cx:pt idx="93090">1</cx:pt>
          <cx:pt idx="93091">1</cx:pt>
          <cx:pt idx="93092">0</cx:pt>
          <cx:pt idx="93093">0</cx:pt>
          <cx:pt idx="93094">0</cx:pt>
          <cx:pt idx="93095">0</cx:pt>
          <cx:pt idx="93096">1</cx:pt>
          <cx:pt idx="93097">0</cx:pt>
          <cx:pt idx="93098">1</cx:pt>
          <cx:pt idx="93099">0</cx:pt>
          <cx:pt idx="93100">0</cx:pt>
          <cx:pt idx="93101">1</cx:pt>
          <cx:pt idx="93102">0</cx:pt>
          <cx:pt idx="93103">0</cx:pt>
          <cx:pt idx="93104">1</cx:pt>
          <cx:pt idx="93105">0</cx:pt>
          <cx:pt idx="93106">0</cx:pt>
          <cx:pt idx="93107">1</cx:pt>
          <cx:pt idx="93108">1</cx:pt>
          <cx:pt idx="93109">0</cx:pt>
          <cx:pt idx="93110">1</cx:pt>
          <cx:pt idx="93111">0</cx:pt>
          <cx:pt idx="93112">0</cx:pt>
          <cx:pt idx="93113">1</cx:pt>
          <cx:pt idx="93114">1</cx:pt>
          <cx:pt idx="93115">0</cx:pt>
          <cx:pt idx="93116">1</cx:pt>
          <cx:pt idx="93117">1</cx:pt>
          <cx:pt idx="93118">1</cx:pt>
          <cx:pt idx="93119">1</cx:pt>
          <cx:pt idx="93120">0</cx:pt>
          <cx:pt idx="93121">0</cx:pt>
          <cx:pt idx="93122">1</cx:pt>
          <cx:pt idx="93123">0</cx:pt>
          <cx:pt idx="93124">1</cx:pt>
          <cx:pt idx="93125">1</cx:pt>
          <cx:pt idx="93126">1</cx:pt>
          <cx:pt idx="93127">0</cx:pt>
          <cx:pt idx="93128">0</cx:pt>
          <cx:pt idx="93129">1</cx:pt>
          <cx:pt idx="93130">1</cx:pt>
          <cx:pt idx="93131">0</cx:pt>
          <cx:pt idx="93132">0</cx:pt>
          <cx:pt idx="93133">0</cx:pt>
          <cx:pt idx="93134">0</cx:pt>
          <cx:pt idx="93135">1</cx:pt>
          <cx:pt idx="93136">0</cx:pt>
          <cx:pt idx="93137">0</cx:pt>
          <cx:pt idx="93138">1</cx:pt>
          <cx:pt idx="93139">1</cx:pt>
          <cx:pt idx="93140">0</cx:pt>
          <cx:pt idx="93141">0</cx:pt>
          <cx:pt idx="93142">0</cx:pt>
          <cx:pt idx="93143">1</cx:pt>
          <cx:pt idx="93144">0</cx:pt>
          <cx:pt idx="93145">0</cx:pt>
          <cx:pt idx="93146">1</cx:pt>
          <cx:pt idx="93147">1</cx:pt>
          <cx:pt idx="93148">1</cx:pt>
          <cx:pt idx="93149">0</cx:pt>
          <cx:pt idx="93150">0</cx:pt>
          <cx:pt idx="93151">1</cx:pt>
          <cx:pt idx="93152">0</cx:pt>
          <cx:pt idx="93153">0</cx:pt>
          <cx:pt idx="93154">0</cx:pt>
          <cx:pt idx="93155">0</cx:pt>
          <cx:pt idx="93156">0</cx:pt>
          <cx:pt idx="93157">1</cx:pt>
          <cx:pt idx="93158">1</cx:pt>
          <cx:pt idx="93159">1</cx:pt>
          <cx:pt idx="93160">1</cx:pt>
          <cx:pt idx="93161">0</cx:pt>
          <cx:pt idx="93162">1</cx:pt>
          <cx:pt idx="93163">0</cx:pt>
          <cx:pt idx="93164">0</cx:pt>
          <cx:pt idx="93165">1</cx:pt>
          <cx:pt idx="93166">0</cx:pt>
          <cx:pt idx="93167">0</cx:pt>
          <cx:pt idx="93168">0</cx:pt>
          <cx:pt idx="93169">0</cx:pt>
          <cx:pt idx="93170">1</cx:pt>
          <cx:pt idx="93171">1</cx:pt>
          <cx:pt idx="93172">1</cx:pt>
          <cx:pt idx="93173">1</cx:pt>
          <cx:pt idx="93174">0</cx:pt>
          <cx:pt idx="93175">0</cx:pt>
          <cx:pt idx="93176">0</cx:pt>
          <cx:pt idx="93177">1</cx:pt>
          <cx:pt idx="93178">0</cx:pt>
          <cx:pt idx="93179">0</cx:pt>
          <cx:pt idx="93180">0</cx:pt>
          <cx:pt idx="93181">0</cx:pt>
          <cx:pt idx="93182">1</cx:pt>
          <cx:pt idx="93183">0</cx:pt>
          <cx:pt idx="93184">0</cx:pt>
          <cx:pt idx="93185">1</cx:pt>
          <cx:pt idx="93186">1</cx:pt>
          <cx:pt idx="93187">1</cx:pt>
          <cx:pt idx="93188">0</cx:pt>
          <cx:pt idx="93189">1</cx:pt>
          <cx:pt idx="93190">0</cx:pt>
          <cx:pt idx="93191">0</cx:pt>
          <cx:pt idx="93192">0</cx:pt>
          <cx:pt idx="93193">1</cx:pt>
          <cx:pt idx="93194">0</cx:pt>
          <cx:pt idx="93195">1</cx:pt>
          <cx:pt idx="93196">1</cx:pt>
          <cx:pt idx="93197">1</cx:pt>
          <cx:pt idx="93198">1</cx:pt>
          <cx:pt idx="93199">0</cx:pt>
          <cx:pt idx="93200">0</cx:pt>
          <cx:pt idx="93201">0</cx:pt>
          <cx:pt idx="93202">1</cx:pt>
          <cx:pt idx="93203">0</cx:pt>
          <cx:pt idx="93204">1</cx:pt>
          <cx:pt idx="93205">0</cx:pt>
          <cx:pt idx="93206">0</cx:pt>
          <cx:pt idx="93207">0</cx:pt>
          <cx:pt idx="93208">1</cx:pt>
          <cx:pt idx="93209">1</cx:pt>
          <cx:pt idx="93210">0</cx:pt>
          <cx:pt idx="93211">1</cx:pt>
          <cx:pt idx="93212">1</cx:pt>
          <cx:pt idx="93213">1</cx:pt>
          <cx:pt idx="93214">1</cx:pt>
          <cx:pt idx="93215">0</cx:pt>
          <cx:pt idx="93216">1</cx:pt>
          <cx:pt idx="93217">1</cx:pt>
          <cx:pt idx="93218">0</cx:pt>
          <cx:pt idx="93219">0</cx:pt>
          <cx:pt idx="93220">0</cx:pt>
          <cx:pt idx="93221">0</cx:pt>
          <cx:pt idx="93222">0</cx:pt>
          <cx:pt idx="93223">1</cx:pt>
          <cx:pt idx="93224">1</cx:pt>
          <cx:pt idx="93225">0</cx:pt>
          <cx:pt idx="93226">0</cx:pt>
          <cx:pt idx="93227">0</cx:pt>
          <cx:pt idx="93228">0</cx:pt>
          <cx:pt idx="93229">0</cx:pt>
          <cx:pt idx="93230">0</cx:pt>
          <cx:pt idx="93231">0</cx:pt>
          <cx:pt idx="93232">1</cx:pt>
          <cx:pt idx="93233">1</cx:pt>
          <cx:pt idx="93234">0</cx:pt>
          <cx:pt idx="93235">0</cx:pt>
          <cx:pt idx="93236">0</cx:pt>
          <cx:pt idx="93237">1</cx:pt>
          <cx:pt idx="93238">0</cx:pt>
          <cx:pt idx="93239">1</cx:pt>
          <cx:pt idx="93240">1</cx:pt>
          <cx:pt idx="93241">0</cx:pt>
          <cx:pt idx="93242">1</cx:pt>
          <cx:pt idx="93243">0</cx:pt>
          <cx:pt idx="93244">0</cx:pt>
          <cx:pt idx="93245">0</cx:pt>
          <cx:pt idx="93246">0</cx:pt>
          <cx:pt idx="93247">0</cx:pt>
          <cx:pt idx="93248">0</cx:pt>
          <cx:pt idx="93249">1</cx:pt>
          <cx:pt idx="93250">0</cx:pt>
          <cx:pt idx="93251">0</cx:pt>
          <cx:pt idx="93252">0</cx:pt>
          <cx:pt idx="93253">0</cx:pt>
          <cx:pt idx="93254">1</cx:pt>
          <cx:pt idx="93255">0</cx:pt>
          <cx:pt idx="93256">1</cx:pt>
          <cx:pt idx="93257">0</cx:pt>
          <cx:pt idx="93258">1</cx:pt>
          <cx:pt idx="93259">0</cx:pt>
          <cx:pt idx="93260">0</cx:pt>
          <cx:pt idx="93261">1</cx:pt>
          <cx:pt idx="93262">0</cx:pt>
          <cx:pt idx="93263">0</cx:pt>
          <cx:pt idx="93264">1</cx:pt>
          <cx:pt idx="93265">1</cx:pt>
          <cx:pt idx="93266">0</cx:pt>
          <cx:pt idx="93267">1</cx:pt>
          <cx:pt idx="93268">0</cx:pt>
          <cx:pt idx="93269">0</cx:pt>
          <cx:pt idx="93270">0</cx:pt>
          <cx:pt idx="93271">1</cx:pt>
          <cx:pt idx="93272">1</cx:pt>
          <cx:pt idx="93273">1</cx:pt>
          <cx:pt idx="93274">1</cx:pt>
          <cx:pt idx="93275">0</cx:pt>
          <cx:pt idx="93276">1</cx:pt>
          <cx:pt idx="93277">1</cx:pt>
          <cx:pt idx="93278">0</cx:pt>
          <cx:pt idx="93279">0</cx:pt>
          <cx:pt idx="93280">1</cx:pt>
          <cx:pt idx="93281">0</cx:pt>
          <cx:pt idx="93282">1</cx:pt>
          <cx:pt idx="93283">0</cx:pt>
          <cx:pt idx="93284">1</cx:pt>
          <cx:pt idx="93285">1</cx:pt>
          <cx:pt idx="93286">0</cx:pt>
          <cx:pt idx="93287">1</cx:pt>
          <cx:pt idx="93288">0</cx:pt>
          <cx:pt idx="93289">0</cx:pt>
          <cx:pt idx="93290">0</cx:pt>
          <cx:pt idx="93291">0</cx:pt>
          <cx:pt idx="93292">0</cx:pt>
          <cx:pt idx="93293">0</cx:pt>
          <cx:pt idx="93294">1</cx:pt>
          <cx:pt idx="93295">1</cx:pt>
          <cx:pt idx="93296">1</cx:pt>
          <cx:pt idx="93297">0</cx:pt>
          <cx:pt idx="93298">1</cx:pt>
          <cx:pt idx="93299">0</cx:pt>
          <cx:pt idx="93300">1</cx:pt>
          <cx:pt idx="93301">1</cx:pt>
          <cx:pt idx="93302">1</cx:pt>
          <cx:pt idx="93303">0</cx:pt>
          <cx:pt idx="93304">0</cx:pt>
          <cx:pt idx="93305">0</cx:pt>
          <cx:pt idx="93306">0</cx:pt>
          <cx:pt idx="93307">0</cx:pt>
          <cx:pt idx="93308">0</cx:pt>
          <cx:pt idx="93309">1</cx:pt>
          <cx:pt idx="93310">0</cx:pt>
          <cx:pt idx="93311">0</cx:pt>
          <cx:pt idx="93312">0</cx:pt>
          <cx:pt idx="93313">1</cx:pt>
          <cx:pt idx="93314">0</cx:pt>
          <cx:pt idx="93315">1</cx:pt>
          <cx:pt idx="93316">0</cx:pt>
          <cx:pt idx="93317">0</cx:pt>
          <cx:pt idx="93318">0</cx:pt>
          <cx:pt idx="93319">1</cx:pt>
          <cx:pt idx="93320">1</cx:pt>
          <cx:pt idx="93321">0</cx:pt>
          <cx:pt idx="93322">0</cx:pt>
          <cx:pt idx="93323">0</cx:pt>
          <cx:pt idx="93324">0</cx:pt>
          <cx:pt idx="93325">0</cx:pt>
          <cx:pt idx="93326">1</cx:pt>
          <cx:pt idx="93327">0</cx:pt>
          <cx:pt idx="93328">0</cx:pt>
          <cx:pt idx="93329">0</cx:pt>
          <cx:pt idx="93330">0</cx:pt>
          <cx:pt idx="93331">1</cx:pt>
          <cx:pt idx="93332">1</cx:pt>
          <cx:pt idx="93333">0</cx:pt>
          <cx:pt idx="93334">1</cx:pt>
          <cx:pt idx="93335">0</cx:pt>
          <cx:pt idx="93336">0</cx:pt>
          <cx:pt idx="93337">0</cx:pt>
          <cx:pt idx="93338">0</cx:pt>
          <cx:pt idx="93339">1</cx:pt>
          <cx:pt idx="93340">0</cx:pt>
          <cx:pt idx="93341">0</cx:pt>
          <cx:pt idx="93342">0</cx:pt>
          <cx:pt idx="93343">1</cx:pt>
          <cx:pt idx="93344">0</cx:pt>
          <cx:pt idx="93345">1</cx:pt>
          <cx:pt idx="93346">0</cx:pt>
          <cx:pt idx="93347">0</cx:pt>
          <cx:pt idx="93348">1</cx:pt>
          <cx:pt idx="93349">0</cx:pt>
          <cx:pt idx="93350">1</cx:pt>
          <cx:pt idx="93351">0</cx:pt>
          <cx:pt idx="93352">1</cx:pt>
          <cx:pt idx="93353">0</cx:pt>
          <cx:pt idx="93354">0</cx:pt>
          <cx:pt idx="93355">0</cx:pt>
          <cx:pt idx="93356">1</cx:pt>
          <cx:pt idx="93357">1</cx:pt>
          <cx:pt idx="93358">0</cx:pt>
          <cx:pt idx="93359">0</cx:pt>
          <cx:pt idx="93360">1</cx:pt>
          <cx:pt idx="93361">1</cx:pt>
          <cx:pt idx="93362">1</cx:pt>
          <cx:pt idx="93363">0</cx:pt>
          <cx:pt idx="93364">1</cx:pt>
          <cx:pt idx="93365">0</cx:pt>
          <cx:pt idx="93366">0</cx:pt>
          <cx:pt idx="93367">0</cx:pt>
          <cx:pt idx="93368">1</cx:pt>
          <cx:pt idx="93369">1</cx:pt>
          <cx:pt idx="93370">0</cx:pt>
          <cx:pt idx="93371">1</cx:pt>
          <cx:pt idx="93372">1</cx:pt>
          <cx:pt idx="93373">0</cx:pt>
          <cx:pt idx="93374">1</cx:pt>
          <cx:pt idx="93375">1</cx:pt>
          <cx:pt idx="93376">0</cx:pt>
          <cx:pt idx="93377">1</cx:pt>
          <cx:pt idx="93378">1</cx:pt>
          <cx:pt idx="93379">0</cx:pt>
          <cx:pt idx="93380">0</cx:pt>
          <cx:pt idx="93381">0</cx:pt>
          <cx:pt idx="93382">0</cx:pt>
          <cx:pt idx="93383">0</cx:pt>
          <cx:pt idx="93384">0</cx:pt>
          <cx:pt idx="93385">1</cx:pt>
          <cx:pt idx="93386">0</cx:pt>
          <cx:pt idx="93387">1</cx:pt>
          <cx:pt idx="93388">1</cx:pt>
          <cx:pt idx="93389">1</cx:pt>
          <cx:pt idx="93390">1</cx:pt>
          <cx:pt idx="93391">0</cx:pt>
          <cx:pt idx="93392">0</cx:pt>
          <cx:pt idx="93393">0</cx:pt>
          <cx:pt idx="93394">0</cx:pt>
          <cx:pt idx="93395">1</cx:pt>
          <cx:pt idx="93396">0</cx:pt>
          <cx:pt idx="93397">0</cx:pt>
          <cx:pt idx="93398">1</cx:pt>
          <cx:pt idx="93399">1</cx:pt>
          <cx:pt idx="93400">1</cx:pt>
          <cx:pt idx="93401">1</cx:pt>
          <cx:pt idx="93402">1</cx:pt>
          <cx:pt idx="93403">0</cx:pt>
          <cx:pt idx="93404">1</cx:pt>
          <cx:pt idx="93405">1</cx:pt>
          <cx:pt idx="93406">0</cx:pt>
          <cx:pt idx="93407">1</cx:pt>
          <cx:pt idx="93408">1</cx:pt>
          <cx:pt idx="93409">1</cx:pt>
          <cx:pt idx="93410">1</cx:pt>
          <cx:pt idx="93411">1</cx:pt>
          <cx:pt idx="93412">1</cx:pt>
          <cx:pt idx="93413">0</cx:pt>
          <cx:pt idx="93414">1</cx:pt>
          <cx:pt idx="93415">1</cx:pt>
          <cx:pt idx="93416">0</cx:pt>
          <cx:pt idx="93417">0</cx:pt>
          <cx:pt idx="93418">1</cx:pt>
          <cx:pt idx="93419">0</cx:pt>
          <cx:pt idx="93420">1</cx:pt>
          <cx:pt idx="93421">0</cx:pt>
          <cx:pt idx="93422">1</cx:pt>
          <cx:pt idx="93423">0</cx:pt>
          <cx:pt idx="93424">0</cx:pt>
          <cx:pt idx="93425">0</cx:pt>
          <cx:pt idx="93426">1</cx:pt>
          <cx:pt idx="93427">0</cx:pt>
          <cx:pt idx="93428">0</cx:pt>
          <cx:pt idx="93429">0</cx:pt>
          <cx:pt idx="93430">1</cx:pt>
          <cx:pt idx="93431">0</cx:pt>
          <cx:pt idx="93432">1</cx:pt>
          <cx:pt idx="93433">0</cx:pt>
          <cx:pt idx="93434">1</cx:pt>
          <cx:pt idx="93435">1</cx:pt>
          <cx:pt idx="93436">0</cx:pt>
          <cx:pt idx="93437">0</cx:pt>
          <cx:pt idx="93438">0</cx:pt>
          <cx:pt idx="93439">0</cx:pt>
          <cx:pt idx="93440">1</cx:pt>
          <cx:pt idx="93441">0</cx:pt>
          <cx:pt idx="93442">0</cx:pt>
          <cx:pt idx="93443">0</cx:pt>
          <cx:pt idx="93444">0</cx:pt>
          <cx:pt idx="93445">1</cx:pt>
          <cx:pt idx="93446">0</cx:pt>
          <cx:pt idx="93447">1</cx:pt>
          <cx:pt idx="93448">0</cx:pt>
          <cx:pt idx="93449">0</cx:pt>
          <cx:pt idx="93450">0</cx:pt>
          <cx:pt idx="93451">0</cx:pt>
          <cx:pt idx="93452">0</cx:pt>
          <cx:pt idx="93453">1</cx:pt>
          <cx:pt idx="93454">0</cx:pt>
          <cx:pt idx="93455">0</cx:pt>
          <cx:pt idx="93456">1</cx:pt>
          <cx:pt idx="93457">0</cx:pt>
          <cx:pt idx="93458">1</cx:pt>
          <cx:pt idx="93459">0</cx:pt>
          <cx:pt idx="93460">0</cx:pt>
          <cx:pt idx="93461">1</cx:pt>
          <cx:pt idx="93462">1</cx:pt>
          <cx:pt idx="93463">1</cx:pt>
          <cx:pt idx="93464">1</cx:pt>
          <cx:pt idx="93465">0</cx:pt>
          <cx:pt idx="93466">1</cx:pt>
          <cx:pt idx="93467">1</cx:pt>
          <cx:pt idx="93468">1</cx:pt>
          <cx:pt idx="93469">1</cx:pt>
          <cx:pt idx="93470">1</cx:pt>
          <cx:pt idx="93471">0</cx:pt>
          <cx:pt idx="93472">1</cx:pt>
          <cx:pt idx="93473">0</cx:pt>
          <cx:pt idx="93474">1</cx:pt>
          <cx:pt idx="93475">0</cx:pt>
          <cx:pt idx="93476">0</cx:pt>
          <cx:pt idx="93477">1</cx:pt>
          <cx:pt idx="93478">1</cx:pt>
          <cx:pt idx="93479">0</cx:pt>
          <cx:pt idx="93480">1</cx:pt>
          <cx:pt idx="93481">0</cx:pt>
          <cx:pt idx="93482">0</cx:pt>
          <cx:pt idx="93483">1</cx:pt>
          <cx:pt idx="93484">0</cx:pt>
          <cx:pt idx="93485">0</cx:pt>
          <cx:pt idx="93486">0</cx:pt>
          <cx:pt idx="93487">0</cx:pt>
          <cx:pt idx="93488">0</cx:pt>
          <cx:pt idx="93489">1</cx:pt>
          <cx:pt idx="93490">0</cx:pt>
          <cx:pt idx="93491">0</cx:pt>
          <cx:pt idx="93492">0</cx:pt>
          <cx:pt idx="93493">0</cx:pt>
          <cx:pt idx="93494">1</cx:pt>
          <cx:pt idx="93495">0</cx:pt>
          <cx:pt idx="93496">1</cx:pt>
          <cx:pt idx="93497">1</cx:pt>
          <cx:pt idx="93498">0</cx:pt>
          <cx:pt idx="93499">1</cx:pt>
          <cx:pt idx="93500">0</cx:pt>
          <cx:pt idx="93501">0</cx:pt>
          <cx:pt idx="93502">1</cx:pt>
          <cx:pt idx="93503">0</cx:pt>
          <cx:pt idx="93504">0</cx:pt>
          <cx:pt idx="93505">0</cx:pt>
          <cx:pt idx="93506">0</cx:pt>
          <cx:pt idx="93507">1</cx:pt>
          <cx:pt idx="93508">0</cx:pt>
          <cx:pt idx="93509">0</cx:pt>
          <cx:pt idx="93510">1</cx:pt>
          <cx:pt idx="93511">1</cx:pt>
          <cx:pt idx="93512">1</cx:pt>
          <cx:pt idx="93513">0</cx:pt>
          <cx:pt idx="93514">0</cx:pt>
          <cx:pt idx="93515">0</cx:pt>
          <cx:pt idx="93516">1</cx:pt>
          <cx:pt idx="93517">1</cx:pt>
          <cx:pt idx="93518">1</cx:pt>
          <cx:pt idx="93519">0</cx:pt>
          <cx:pt idx="93520">1</cx:pt>
          <cx:pt idx="93521">0</cx:pt>
          <cx:pt idx="93522">0</cx:pt>
          <cx:pt idx="93523">0</cx:pt>
          <cx:pt idx="93524">0</cx:pt>
          <cx:pt idx="93525">0</cx:pt>
          <cx:pt idx="93526">0</cx:pt>
          <cx:pt idx="93527">0</cx:pt>
          <cx:pt idx="93528">1</cx:pt>
          <cx:pt idx="93529">0</cx:pt>
          <cx:pt idx="93530">0</cx:pt>
          <cx:pt idx="93531">0</cx:pt>
          <cx:pt idx="93532">0</cx:pt>
          <cx:pt idx="93533">0</cx:pt>
          <cx:pt idx="93534">0</cx:pt>
          <cx:pt idx="93535">1</cx:pt>
          <cx:pt idx="93536">1</cx:pt>
          <cx:pt idx="93537">0</cx:pt>
          <cx:pt idx="93538">1</cx:pt>
          <cx:pt idx="93539">1</cx:pt>
          <cx:pt idx="93540">1</cx:pt>
          <cx:pt idx="93541">0</cx:pt>
          <cx:pt idx="93542">0</cx:pt>
          <cx:pt idx="93543">0</cx:pt>
          <cx:pt idx="93544">0</cx:pt>
          <cx:pt idx="93545">0</cx:pt>
          <cx:pt idx="93546">1</cx:pt>
          <cx:pt idx="93547">1</cx:pt>
          <cx:pt idx="93548">1</cx:pt>
          <cx:pt idx="93549">1</cx:pt>
          <cx:pt idx="93550">0</cx:pt>
          <cx:pt idx="93551">0</cx:pt>
          <cx:pt idx="93552">0</cx:pt>
          <cx:pt idx="93553">1</cx:pt>
          <cx:pt idx="93554">1</cx:pt>
          <cx:pt idx="93555">1</cx:pt>
          <cx:pt idx="93556">1</cx:pt>
          <cx:pt idx="93557">0</cx:pt>
          <cx:pt idx="93558">0</cx:pt>
          <cx:pt idx="93559">0</cx:pt>
          <cx:pt idx="93560">1</cx:pt>
          <cx:pt idx="93561">0</cx:pt>
          <cx:pt idx="93562">0</cx:pt>
          <cx:pt idx="93563">1</cx:pt>
          <cx:pt idx="93564">1</cx:pt>
          <cx:pt idx="93565">0</cx:pt>
          <cx:pt idx="93566">1</cx:pt>
          <cx:pt idx="93567">0</cx:pt>
          <cx:pt idx="93568">1</cx:pt>
          <cx:pt idx="93569">1</cx:pt>
          <cx:pt idx="93570">0</cx:pt>
          <cx:pt idx="93571">1</cx:pt>
          <cx:pt idx="93572">1</cx:pt>
          <cx:pt idx="93573">0</cx:pt>
          <cx:pt idx="93574">1</cx:pt>
          <cx:pt idx="93575">0</cx:pt>
          <cx:pt idx="93576">0</cx:pt>
          <cx:pt idx="93577">0</cx:pt>
          <cx:pt idx="93578">0</cx:pt>
          <cx:pt idx="93579">1</cx:pt>
          <cx:pt idx="93580">0</cx:pt>
          <cx:pt idx="93581">1</cx:pt>
          <cx:pt idx="93582">0</cx:pt>
          <cx:pt idx="93583">1</cx:pt>
          <cx:pt idx="93584">0</cx:pt>
          <cx:pt idx="93585">1</cx:pt>
          <cx:pt idx="93586">0</cx:pt>
          <cx:pt idx="93587">1</cx:pt>
          <cx:pt idx="93588">1</cx:pt>
          <cx:pt idx="93589">0</cx:pt>
          <cx:pt idx="93590">1</cx:pt>
          <cx:pt idx="93591">1</cx:pt>
          <cx:pt idx="93592">0</cx:pt>
          <cx:pt idx="93593">1</cx:pt>
          <cx:pt idx="93594">1</cx:pt>
          <cx:pt idx="93595">0</cx:pt>
          <cx:pt idx="93596">0</cx:pt>
          <cx:pt idx="93597">0</cx:pt>
          <cx:pt idx="93598">0</cx:pt>
          <cx:pt idx="93599">0</cx:pt>
          <cx:pt idx="93600">0</cx:pt>
          <cx:pt idx="93601">1</cx:pt>
          <cx:pt idx="93602">0</cx:pt>
          <cx:pt idx="93603">0</cx:pt>
          <cx:pt idx="93604">0</cx:pt>
          <cx:pt idx="93605">0</cx:pt>
          <cx:pt idx="93606">0</cx:pt>
          <cx:pt idx="93607">0</cx:pt>
          <cx:pt idx="93608">0</cx:pt>
          <cx:pt idx="93609">0</cx:pt>
          <cx:pt idx="93610">1</cx:pt>
          <cx:pt idx="93611">0</cx:pt>
          <cx:pt idx="93612">0</cx:pt>
          <cx:pt idx="93613">1</cx:pt>
          <cx:pt idx="93614">1</cx:pt>
          <cx:pt idx="93615">0</cx:pt>
          <cx:pt idx="93616">1</cx:pt>
          <cx:pt idx="93617">1</cx:pt>
          <cx:pt idx="93618">1</cx:pt>
          <cx:pt idx="93619">0</cx:pt>
          <cx:pt idx="93620">0</cx:pt>
          <cx:pt idx="93621">0</cx:pt>
          <cx:pt idx="93622">0</cx:pt>
          <cx:pt idx="93623">0</cx:pt>
          <cx:pt idx="93624">0</cx:pt>
          <cx:pt idx="93625">1</cx:pt>
          <cx:pt idx="93626">1</cx:pt>
          <cx:pt idx="93627">0</cx:pt>
          <cx:pt idx="93628">1</cx:pt>
          <cx:pt idx="93629">1</cx:pt>
          <cx:pt idx="93630">0</cx:pt>
          <cx:pt idx="93631">0</cx:pt>
          <cx:pt idx="93632">0</cx:pt>
          <cx:pt idx="93633">0</cx:pt>
          <cx:pt idx="93634">0</cx:pt>
          <cx:pt idx="93635">1</cx:pt>
          <cx:pt idx="93636">1</cx:pt>
          <cx:pt idx="93637">1</cx:pt>
          <cx:pt idx="93638">0</cx:pt>
          <cx:pt idx="93639">1</cx:pt>
          <cx:pt idx="93640">1</cx:pt>
          <cx:pt idx="93641">0</cx:pt>
          <cx:pt idx="93642">1</cx:pt>
          <cx:pt idx="93643">0</cx:pt>
          <cx:pt idx="93644">0</cx:pt>
          <cx:pt idx="93645">1</cx:pt>
          <cx:pt idx="93646">1</cx:pt>
          <cx:pt idx="93647">1</cx:pt>
          <cx:pt idx="93648">0</cx:pt>
          <cx:pt idx="93649">1</cx:pt>
          <cx:pt idx="93650">1</cx:pt>
          <cx:pt idx="93651">1</cx:pt>
          <cx:pt idx="93652">1</cx:pt>
          <cx:pt idx="93653">1</cx:pt>
          <cx:pt idx="93654">0</cx:pt>
          <cx:pt idx="93655">1</cx:pt>
          <cx:pt idx="93656">1</cx:pt>
          <cx:pt idx="93657">0</cx:pt>
          <cx:pt idx="93658">0</cx:pt>
          <cx:pt idx="93659">0</cx:pt>
          <cx:pt idx="93660">1</cx:pt>
          <cx:pt idx="93661">0</cx:pt>
          <cx:pt idx="93662">0</cx:pt>
          <cx:pt idx="93663">0</cx:pt>
          <cx:pt idx="93664">0</cx:pt>
          <cx:pt idx="93665">1</cx:pt>
          <cx:pt idx="93666">1</cx:pt>
          <cx:pt idx="93667">1</cx:pt>
          <cx:pt idx="93668">1</cx:pt>
          <cx:pt idx="93669">1</cx:pt>
          <cx:pt idx="93670">1</cx:pt>
          <cx:pt idx="93671">1</cx:pt>
          <cx:pt idx="93672">0</cx:pt>
          <cx:pt idx="93673">0</cx:pt>
          <cx:pt idx="93674">0</cx:pt>
          <cx:pt idx="93675">1</cx:pt>
          <cx:pt idx="93676">0</cx:pt>
          <cx:pt idx="93677">1</cx:pt>
          <cx:pt idx="93678">0</cx:pt>
          <cx:pt idx="93679">1</cx:pt>
          <cx:pt idx="93680">0</cx:pt>
          <cx:pt idx="93681">0</cx:pt>
          <cx:pt idx="93682">0</cx:pt>
          <cx:pt idx="93683">0</cx:pt>
          <cx:pt idx="93684">1</cx:pt>
          <cx:pt idx="93685">0</cx:pt>
          <cx:pt idx="93686">0</cx:pt>
          <cx:pt idx="93687">0</cx:pt>
          <cx:pt idx="93688">0</cx:pt>
          <cx:pt idx="93689">0</cx:pt>
          <cx:pt idx="93690">0</cx:pt>
          <cx:pt idx="93691">0</cx:pt>
          <cx:pt idx="93692">1</cx:pt>
          <cx:pt idx="93693">1</cx:pt>
          <cx:pt idx="93694">1</cx:pt>
          <cx:pt idx="93695">0</cx:pt>
          <cx:pt idx="93696">1</cx:pt>
          <cx:pt idx="93697">0</cx:pt>
          <cx:pt idx="93698">0</cx:pt>
          <cx:pt idx="93699">1</cx:pt>
          <cx:pt idx="93700">0</cx:pt>
          <cx:pt idx="93701">0</cx:pt>
          <cx:pt idx="93702">1</cx:pt>
          <cx:pt idx="93703">0</cx:pt>
          <cx:pt idx="93704">0</cx:pt>
          <cx:pt idx="93705">1</cx:pt>
          <cx:pt idx="93706">0</cx:pt>
          <cx:pt idx="93707">0</cx:pt>
          <cx:pt idx="93708">1</cx:pt>
          <cx:pt idx="93709">0</cx:pt>
          <cx:pt idx="93710">1</cx:pt>
          <cx:pt idx="93711">0</cx:pt>
          <cx:pt idx="93712">1</cx:pt>
          <cx:pt idx="93713">1</cx:pt>
          <cx:pt idx="93714">1</cx:pt>
          <cx:pt idx="93715">0</cx:pt>
          <cx:pt idx="93716">0</cx:pt>
          <cx:pt idx="93717">1</cx:pt>
          <cx:pt idx="93718">1</cx:pt>
          <cx:pt idx="93719">0</cx:pt>
          <cx:pt idx="93720">0</cx:pt>
          <cx:pt idx="93721">1</cx:pt>
          <cx:pt idx="93722">0</cx:pt>
          <cx:pt idx="93723">0</cx:pt>
          <cx:pt idx="93724">1</cx:pt>
          <cx:pt idx="93725">1</cx:pt>
          <cx:pt idx="93726">1</cx:pt>
          <cx:pt idx="93727">1</cx:pt>
          <cx:pt idx="93728">0</cx:pt>
          <cx:pt idx="93729">0</cx:pt>
          <cx:pt idx="93730">0</cx:pt>
          <cx:pt idx="93731">0</cx:pt>
          <cx:pt idx="93732">0</cx:pt>
          <cx:pt idx="93733">0</cx:pt>
          <cx:pt idx="93734">1</cx:pt>
          <cx:pt idx="93735">0</cx:pt>
          <cx:pt idx="93736">0</cx:pt>
          <cx:pt idx="93737">0</cx:pt>
          <cx:pt idx="93738">1</cx:pt>
          <cx:pt idx="93739">0</cx:pt>
          <cx:pt idx="93740">0</cx:pt>
          <cx:pt idx="93741">0</cx:pt>
          <cx:pt idx="93742">0</cx:pt>
          <cx:pt idx="93743">1</cx:pt>
          <cx:pt idx="93744">1</cx:pt>
          <cx:pt idx="93745">1</cx:pt>
          <cx:pt idx="93746">1</cx:pt>
          <cx:pt idx="93747">1</cx:pt>
          <cx:pt idx="93748">1</cx:pt>
          <cx:pt idx="93749">0</cx:pt>
          <cx:pt idx="93750">1</cx:pt>
          <cx:pt idx="93751">0</cx:pt>
          <cx:pt idx="93752">0</cx:pt>
          <cx:pt idx="93753">1</cx:pt>
          <cx:pt idx="93754">0</cx:pt>
          <cx:pt idx="93755">1</cx:pt>
          <cx:pt idx="93756">0</cx:pt>
          <cx:pt idx="93757">0</cx:pt>
          <cx:pt idx="93758">0</cx:pt>
          <cx:pt idx="93759">0</cx:pt>
          <cx:pt idx="93760">1</cx:pt>
          <cx:pt idx="93761">0</cx:pt>
          <cx:pt idx="93762">0</cx:pt>
          <cx:pt idx="93763">0</cx:pt>
          <cx:pt idx="93764">1</cx:pt>
          <cx:pt idx="93765">0</cx:pt>
          <cx:pt idx="93766">0</cx:pt>
          <cx:pt idx="93767">0</cx:pt>
          <cx:pt idx="93768">1</cx:pt>
          <cx:pt idx="93769">1</cx:pt>
          <cx:pt idx="93770">1</cx:pt>
          <cx:pt idx="93771">1</cx:pt>
          <cx:pt idx="93772">0</cx:pt>
          <cx:pt idx="93773">0</cx:pt>
          <cx:pt idx="93774">1</cx:pt>
          <cx:pt idx="93775">0</cx:pt>
          <cx:pt idx="93776">1</cx:pt>
          <cx:pt idx="93777">0</cx:pt>
          <cx:pt idx="93778">1</cx:pt>
          <cx:pt idx="93779">0</cx:pt>
          <cx:pt idx="93780">0</cx:pt>
          <cx:pt idx="93781">1</cx:pt>
          <cx:pt idx="93782">0</cx:pt>
          <cx:pt idx="93783">1</cx:pt>
          <cx:pt idx="93784">1</cx:pt>
          <cx:pt idx="93785">0</cx:pt>
          <cx:pt idx="93786">0</cx:pt>
          <cx:pt idx="93787">0</cx:pt>
          <cx:pt idx="93788">1</cx:pt>
          <cx:pt idx="93789">1</cx:pt>
          <cx:pt idx="93790">1</cx:pt>
          <cx:pt idx="93791">0</cx:pt>
          <cx:pt idx="93792">1</cx:pt>
          <cx:pt idx="93793">1</cx:pt>
          <cx:pt idx="93794">0</cx:pt>
          <cx:pt idx="93795">0</cx:pt>
          <cx:pt idx="93796">1</cx:pt>
          <cx:pt idx="93797">1</cx:pt>
          <cx:pt idx="93798">0</cx:pt>
          <cx:pt idx="93799">1</cx:pt>
          <cx:pt idx="93800">1</cx:pt>
          <cx:pt idx="93801">0</cx:pt>
          <cx:pt idx="93802">1</cx:pt>
          <cx:pt idx="93803">1</cx:pt>
          <cx:pt idx="93804">0</cx:pt>
          <cx:pt idx="93805">0</cx:pt>
          <cx:pt idx="93806">1</cx:pt>
          <cx:pt idx="93807">1</cx:pt>
          <cx:pt idx="93808">0</cx:pt>
          <cx:pt idx="93809">0</cx:pt>
          <cx:pt idx="93810">0</cx:pt>
          <cx:pt idx="93811">0</cx:pt>
          <cx:pt idx="93812">1</cx:pt>
          <cx:pt idx="93813">1</cx:pt>
          <cx:pt idx="93814">1</cx:pt>
          <cx:pt idx="93815">0</cx:pt>
          <cx:pt idx="93816">0</cx:pt>
          <cx:pt idx="93817">1</cx:pt>
          <cx:pt idx="93818">0</cx:pt>
          <cx:pt idx="93819">1</cx:pt>
          <cx:pt idx="93820">0</cx:pt>
          <cx:pt idx="93821">1</cx:pt>
          <cx:pt idx="93822">0</cx:pt>
          <cx:pt idx="93823">0</cx:pt>
          <cx:pt idx="93824">1</cx:pt>
          <cx:pt idx="93825">0</cx:pt>
          <cx:pt idx="93826">0</cx:pt>
          <cx:pt idx="93827">1</cx:pt>
          <cx:pt idx="93828">1</cx:pt>
          <cx:pt idx="93829">0</cx:pt>
          <cx:pt idx="93830">1</cx:pt>
          <cx:pt idx="93831">0</cx:pt>
          <cx:pt idx="93832">0</cx:pt>
          <cx:pt idx="93833">0</cx:pt>
          <cx:pt idx="93834">0</cx:pt>
          <cx:pt idx="93835">1</cx:pt>
          <cx:pt idx="93836">0</cx:pt>
          <cx:pt idx="93837">0</cx:pt>
          <cx:pt idx="93838">1</cx:pt>
          <cx:pt idx="93839">0</cx:pt>
          <cx:pt idx="93840">0</cx:pt>
          <cx:pt idx="93841">1</cx:pt>
          <cx:pt idx="93842">0</cx:pt>
          <cx:pt idx="93843">1</cx:pt>
          <cx:pt idx="93844">0</cx:pt>
          <cx:pt idx="93845">0</cx:pt>
          <cx:pt idx="93846">0</cx:pt>
          <cx:pt idx="93847">1</cx:pt>
          <cx:pt idx="93848">0</cx:pt>
          <cx:pt idx="93849">1</cx:pt>
          <cx:pt idx="93850">0</cx:pt>
          <cx:pt idx="93851">0</cx:pt>
          <cx:pt idx="93852">0</cx:pt>
          <cx:pt idx="93853">0</cx:pt>
          <cx:pt idx="93854">1</cx:pt>
          <cx:pt idx="93855">1</cx:pt>
          <cx:pt idx="93856">0</cx:pt>
          <cx:pt idx="93857">0</cx:pt>
          <cx:pt idx="93858">1</cx:pt>
          <cx:pt idx="93859">0</cx:pt>
          <cx:pt idx="93860">0</cx:pt>
          <cx:pt idx="93861">0</cx:pt>
          <cx:pt idx="93862">0</cx:pt>
          <cx:pt idx="93863">0</cx:pt>
          <cx:pt idx="93864">0</cx:pt>
          <cx:pt idx="93865">0</cx:pt>
          <cx:pt idx="93866">0</cx:pt>
          <cx:pt idx="93867">0</cx:pt>
          <cx:pt idx="93868">0</cx:pt>
          <cx:pt idx="93869">0</cx:pt>
          <cx:pt idx="93870">1</cx:pt>
          <cx:pt idx="93871">0</cx:pt>
          <cx:pt idx="93872">0</cx:pt>
          <cx:pt idx="93873">0</cx:pt>
          <cx:pt idx="93874">0</cx:pt>
          <cx:pt idx="93875">0</cx:pt>
          <cx:pt idx="93876">0</cx:pt>
          <cx:pt idx="93877">0</cx:pt>
          <cx:pt idx="93878">1</cx:pt>
          <cx:pt idx="93879">0</cx:pt>
          <cx:pt idx="93880">0</cx:pt>
          <cx:pt idx="93881">0</cx:pt>
          <cx:pt idx="93882">1</cx:pt>
          <cx:pt idx="93883">0</cx:pt>
          <cx:pt idx="93884">0</cx:pt>
          <cx:pt idx="93885">1</cx:pt>
          <cx:pt idx="93886">0</cx:pt>
          <cx:pt idx="93887">1</cx:pt>
          <cx:pt idx="93888">0</cx:pt>
          <cx:pt idx="93889">0</cx:pt>
          <cx:pt idx="93890">1</cx:pt>
          <cx:pt idx="93891">0</cx:pt>
          <cx:pt idx="93892">1</cx:pt>
          <cx:pt idx="93893">0</cx:pt>
          <cx:pt idx="93894">1</cx:pt>
          <cx:pt idx="93895">1</cx:pt>
          <cx:pt idx="93896">0</cx:pt>
          <cx:pt idx="93897">1</cx:pt>
          <cx:pt idx="93898">0</cx:pt>
          <cx:pt idx="93899">0</cx:pt>
          <cx:pt idx="93900">1</cx:pt>
          <cx:pt idx="93901">0</cx:pt>
          <cx:pt idx="93902">0</cx:pt>
          <cx:pt idx="93903">0</cx:pt>
          <cx:pt idx="93904">0</cx:pt>
          <cx:pt idx="93905">0</cx:pt>
          <cx:pt idx="93906">0</cx:pt>
          <cx:pt idx="93907">1</cx:pt>
          <cx:pt idx="93908">0</cx:pt>
          <cx:pt idx="93909">0</cx:pt>
          <cx:pt idx="93910">0</cx:pt>
          <cx:pt idx="93911">1</cx:pt>
          <cx:pt idx="93912">0</cx:pt>
          <cx:pt idx="93913">0</cx:pt>
          <cx:pt idx="93914">1</cx:pt>
          <cx:pt idx="93915">0</cx:pt>
          <cx:pt idx="93916">1</cx:pt>
          <cx:pt idx="93917">1</cx:pt>
          <cx:pt idx="93918">0</cx:pt>
          <cx:pt idx="93919">1</cx:pt>
          <cx:pt idx="93920">0</cx:pt>
          <cx:pt idx="93921">0</cx:pt>
          <cx:pt idx="93922">1</cx:pt>
          <cx:pt idx="93923">0</cx:pt>
          <cx:pt idx="93924">0</cx:pt>
          <cx:pt idx="93925">1</cx:pt>
          <cx:pt idx="93926">0</cx:pt>
          <cx:pt idx="93927">0</cx:pt>
          <cx:pt idx="93928">0</cx:pt>
          <cx:pt idx="93929">0</cx:pt>
          <cx:pt idx="93930">1</cx:pt>
          <cx:pt idx="93931">0</cx:pt>
          <cx:pt idx="93932">0</cx:pt>
          <cx:pt idx="93933">0</cx:pt>
          <cx:pt idx="93934">1</cx:pt>
          <cx:pt idx="93935">1</cx:pt>
          <cx:pt idx="93936">1</cx:pt>
          <cx:pt idx="93937">0</cx:pt>
          <cx:pt idx="93938">0</cx:pt>
          <cx:pt idx="93939">1</cx:pt>
          <cx:pt idx="93940">1</cx:pt>
          <cx:pt idx="93941">1</cx:pt>
          <cx:pt idx="93942">1</cx:pt>
          <cx:pt idx="93943">1</cx:pt>
          <cx:pt idx="93944">0</cx:pt>
          <cx:pt idx="93945">1</cx:pt>
          <cx:pt idx="93946">0</cx:pt>
          <cx:pt idx="93947">0</cx:pt>
          <cx:pt idx="93948">0</cx:pt>
          <cx:pt idx="93949">1</cx:pt>
          <cx:pt idx="93950">0</cx:pt>
          <cx:pt idx="93951">1</cx:pt>
          <cx:pt idx="93952">1</cx:pt>
          <cx:pt idx="93953">0</cx:pt>
          <cx:pt idx="93954">1</cx:pt>
          <cx:pt idx="93955">1</cx:pt>
          <cx:pt idx="93956">0</cx:pt>
          <cx:pt idx="93957">0</cx:pt>
          <cx:pt idx="93958">1</cx:pt>
          <cx:pt idx="93959">0</cx:pt>
          <cx:pt idx="93960">0</cx:pt>
          <cx:pt idx="93961">0</cx:pt>
          <cx:pt idx="93962">1</cx:pt>
          <cx:pt idx="93963">0</cx:pt>
          <cx:pt idx="93964">1</cx:pt>
          <cx:pt idx="93965">0</cx:pt>
          <cx:pt idx="93966">1</cx:pt>
          <cx:pt idx="93967">1</cx:pt>
          <cx:pt idx="93968">1</cx:pt>
          <cx:pt idx="93969">0</cx:pt>
          <cx:pt idx="93970">0</cx:pt>
          <cx:pt idx="93971">1</cx:pt>
          <cx:pt idx="93972">1</cx:pt>
          <cx:pt idx="93973">0</cx:pt>
          <cx:pt idx="93974">0</cx:pt>
          <cx:pt idx="93975">0</cx:pt>
          <cx:pt idx="93976">0</cx:pt>
          <cx:pt idx="93977">0</cx:pt>
          <cx:pt idx="93978">1</cx:pt>
          <cx:pt idx="93979">1</cx:pt>
          <cx:pt idx="93980">0</cx:pt>
          <cx:pt idx="93981">0</cx:pt>
          <cx:pt idx="93982">1</cx:pt>
          <cx:pt idx="93983">0</cx:pt>
          <cx:pt idx="93984">0</cx:pt>
          <cx:pt idx="93985">0</cx:pt>
          <cx:pt idx="93986">1</cx:pt>
          <cx:pt idx="93987">0</cx:pt>
          <cx:pt idx="93988">1</cx:pt>
          <cx:pt idx="93989">0</cx:pt>
          <cx:pt idx="93990">0</cx:pt>
          <cx:pt idx="93991">1</cx:pt>
          <cx:pt idx="93992">0</cx:pt>
          <cx:pt idx="93993">0</cx:pt>
          <cx:pt idx="93994">0</cx:pt>
          <cx:pt idx="93995">1</cx:pt>
          <cx:pt idx="93996">1</cx:pt>
          <cx:pt idx="93997">1</cx:pt>
          <cx:pt idx="93998">0</cx:pt>
          <cx:pt idx="93999">1</cx:pt>
          <cx:pt idx="94000">1</cx:pt>
          <cx:pt idx="94001">0</cx:pt>
          <cx:pt idx="94002">0</cx:pt>
          <cx:pt idx="94003">1</cx:pt>
          <cx:pt idx="94004">0</cx:pt>
          <cx:pt idx="94005">0</cx:pt>
          <cx:pt idx="94006">0</cx:pt>
          <cx:pt idx="94007">1</cx:pt>
          <cx:pt idx="94008">0</cx:pt>
          <cx:pt idx="94009">0</cx:pt>
          <cx:pt idx="94010">0</cx:pt>
          <cx:pt idx="94011">0</cx:pt>
          <cx:pt idx="94012">0</cx:pt>
          <cx:pt idx="94013">1</cx:pt>
          <cx:pt idx="94014">0</cx:pt>
          <cx:pt idx="94015">0</cx:pt>
          <cx:pt idx="94016">0</cx:pt>
          <cx:pt idx="94017">1</cx:pt>
          <cx:pt idx="94018">0</cx:pt>
          <cx:pt idx="94019">1</cx:pt>
          <cx:pt idx="94020">0</cx:pt>
          <cx:pt idx="94021">0</cx:pt>
          <cx:pt idx="94022">0</cx:pt>
          <cx:pt idx="94023">1</cx:pt>
          <cx:pt idx="94024">0</cx:pt>
          <cx:pt idx="94025">0</cx:pt>
          <cx:pt idx="94026">1</cx:pt>
          <cx:pt idx="94027">0</cx:pt>
          <cx:pt idx="94028">0</cx:pt>
          <cx:pt idx="94029">0</cx:pt>
          <cx:pt idx="94030">1</cx:pt>
          <cx:pt idx="94031">1</cx:pt>
          <cx:pt idx="94032">1</cx:pt>
          <cx:pt idx="94033">1</cx:pt>
          <cx:pt idx="94034">1</cx:pt>
          <cx:pt idx="94035">0</cx:pt>
          <cx:pt idx="94036">1</cx:pt>
          <cx:pt idx="94037">1</cx:pt>
          <cx:pt idx="94038">0</cx:pt>
          <cx:pt idx="94039">1</cx:pt>
          <cx:pt idx="94040">1</cx:pt>
          <cx:pt idx="94041">0</cx:pt>
          <cx:pt idx="94042">1</cx:pt>
          <cx:pt idx="94043">0</cx:pt>
          <cx:pt idx="94044">1</cx:pt>
          <cx:pt idx="94045">1</cx:pt>
          <cx:pt idx="94046">0</cx:pt>
          <cx:pt idx="94047">0</cx:pt>
          <cx:pt idx="94048">0</cx:pt>
          <cx:pt idx="94049">0</cx:pt>
          <cx:pt idx="94050">1</cx:pt>
          <cx:pt idx="94051">1</cx:pt>
          <cx:pt idx="94052">1</cx:pt>
          <cx:pt idx="94053">1</cx:pt>
          <cx:pt idx="94054">1</cx:pt>
          <cx:pt idx="94055">1</cx:pt>
          <cx:pt idx="94056">0</cx:pt>
          <cx:pt idx="94057">1</cx:pt>
          <cx:pt idx="94058">1</cx:pt>
          <cx:pt idx="94059">1</cx:pt>
          <cx:pt idx="94060">0</cx:pt>
          <cx:pt idx="94061">0</cx:pt>
          <cx:pt idx="94062">0</cx:pt>
          <cx:pt idx="94063">0</cx:pt>
          <cx:pt idx="94064">1</cx:pt>
          <cx:pt idx="94065">0</cx:pt>
          <cx:pt idx="94066">1</cx:pt>
          <cx:pt idx="94067">0</cx:pt>
          <cx:pt idx="94068">0</cx:pt>
          <cx:pt idx="94069">0</cx:pt>
          <cx:pt idx="94070">0</cx:pt>
          <cx:pt idx="94071">1</cx:pt>
          <cx:pt idx="94072">0</cx:pt>
          <cx:pt idx="94073">0</cx:pt>
          <cx:pt idx="94074">1</cx:pt>
          <cx:pt idx="94075">0</cx:pt>
          <cx:pt idx="94076">1</cx:pt>
          <cx:pt idx="94077">0</cx:pt>
          <cx:pt idx="94078">0</cx:pt>
          <cx:pt idx="94079">0</cx:pt>
          <cx:pt idx="94080">1</cx:pt>
          <cx:pt idx="94081">0</cx:pt>
          <cx:pt idx="94082">0</cx:pt>
          <cx:pt idx="94083">0</cx:pt>
          <cx:pt idx="94084">0</cx:pt>
          <cx:pt idx="94085">0</cx:pt>
          <cx:pt idx="94086">0</cx:pt>
          <cx:pt idx="94087">0</cx:pt>
          <cx:pt idx="94088">0</cx:pt>
          <cx:pt idx="94089">0</cx:pt>
          <cx:pt idx="94090">1</cx:pt>
          <cx:pt idx="94091">0</cx:pt>
          <cx:pt idx="94092">0</cx:pt>
          <cx:pt idx="94093">1</cx:pt>
          <cx:pt idx="94094">0</cx:pt>
          <cx:pt idx="94095">0</cx:pt>
          <cx:pt idx="94096">1</cx:pt>
          <cx:pt idx="94097">1</cx:pt>
          <cx:pt idx="94098">0</cx:pt>
          <cx:pt idx="94099">0</cx:pt>
          <cx:pt idx="94100">0</cx:pt>
          <cx:pt idx="94101">0</cx:pt>
          <cx:pt idx="94102">0</cx:pt>
          <cx:pt idx="94103">0</cx:pt>
          <cx:pt idx="94104">1</cx:pt>
          <cx:pt idx="94105">1</cx:pt>
          <cx:pt idx="94106">0</cx:pt>
          <cx:pt idx="94107">1</cx:pt>
          <cx:pt idx="94108">0</cx:pt>
          <cx:pt idx="94109">1</cx:pt>
          <cx:pt idx="94110">1</cx:pt>
          <cx:pt idx="94111">0</cx:pt>
          <cx:pt idx="94112">0</cx:pt>
          <cx:pt idx="94113">0</cx:pt>
          <cx:pt idx="94114">0</cx:pt>
          <cx:pt idx="94115">0</cx:pt>
          <cx:pt idx="94116">0</cx:pt>
          <cx:pt idx="94117">1</cx:pt>
          <cx:pt idx="94118">1</cx:pt>
          <cx:pt idx="94119">0</cx:pt>
          <cx:pt idx="94120">0</cx:pt>
          <cx:pt idx="94121">0</cx:pt>
          <cx:pt idx="94122">1</cx:pt>
          <cx:pt idx="94123">1</cx:pt>
          <cx:pt idx="94124">1</cx:pt>
          <cx:pt idx="94125">1</cx:pt>
          <cx:pt idx="94126">0</cx:pt>
          <cx:pt idx="94127">0</cx:pt>
          <cx:pt idx="94128">0</cx:pt>
          <cx:pt idx="94129">0</cx:pt>
          <cx:pt idx="94130">0</cx:pt>
          <cx:pt idx="94131">0</cx:pt>
          <cx:pt idx="94132">0</cx:pt>
          <cx:pt idx="94133">1</cx:pt>
          <cx:pt idx="94134">0</cx:pt>
          <cx:pt idx="94135">0</cx:pt>
          <cx:pt idx="94136">0</cx:pt>
          <cx:pt idx="94137">0</cx:pt>
          <cx:pt idx="94138">0</cx:pt>
          <cx:pt idx="94139">0</cx:pt>
          <cx:pt idx="94140">0</cx:pt>
          <cx:pt idx="94141">1</cx:pt>
          <cx:pt idx="94142">1</cx:pt>
          <cx:pt idx="94143">1</cx:pt>
          <cx:pt idx="94144">0</cx:pt>
          <cx:pt idx="94145">1</cx:pt>
          <cx:pt idx="94146">0</cx:pt>
          <cx:pt idx="94147">1</cx:pt>
          <cx:pt idx="94148">1</cx:pt>
          <cx:pt idx="94149">1</cx:pt>
          <cx:pt idx="94150">0</cx:pt>
          <cx:pt idx="94151">1</cx:pt>
          <cx:pt idx="94152">0</cx:pt>
          <cx:pt idx="94153">0</cx:pt>
          <cx:pt idx="94154">0</cx:pt>
          <cx:pt idx="94155">0</cx:pt>
          <cx:pt idx="94156">1</cx:pt>
          <cx:pt idx="94157">0</cx:pt>
          <cx:pt idx="94158">0</cx:pt>
          <cx:pt idx="94159">0</cx:pt>
          <cx:pt idx="94160">1</cx:pt>
          <cx:pt idx="94161">1</cx:pt>
          <cx:pt idx="94162">0</cx:pt>
          <cx:pt idx="94163">1</cx:pt>
          <cx:pt idx="94164">1</cx:pt>
          <cx:pt idx="94165">0</cx:pt>
          <cx:pt idx="94166">0</cx:pt>
          <cx:pt idx="94167">0</cx:pt>
          <cx:pt idx="94168">0</cx:pt>
          <cx:pt idx="94169">1</cx:pt>
          <cx:pt idx="94170">1</cx:pt>
          <cx:pt idx="94171">0</cx:pt>
          <cx:pt idx="94172">1</cx:pt>
          <cx:pt idx="94173">1</cx:pt>
          <cx:pt idx="94174">1</cx:pt>
          <cx:pt idx="94175">1</cx:pt>
          <cx:pt idx="94176">1</cx:pt>
          <cx:pt idx="94177">0</cx:pt>
          <cx:pt idx="94178">0</cx:pt>
          <cx:pt idx="94179">0</cx:pt>
          <cx:pt idx="94180">1</cx:pt>
          <cx:pt idx="94181">0</cx:pt>
          <cx:pt idx="94182">1</cx:pt>
          <cx:pt idx="94183">1</cx:pt>
          <cx:pt idx="94184">1</cx:pt>
          <cx:pt idx="94185">0</cx:pt>
          <cx:pt idx="94186">0</cx:pt>
          <cx:pt idx="94187">1</cx:pt>
          <cx:pt idx="94188">1</cx:pt>
          <cx:pt idx="94189">0</cx:pt>
          <cx:pt idx="94190">0</cx:pt>
          <cx:pt idx="94191">0</cx:pt>
          <cx:pt idx="94192">0</cx:pt>
          <cx:pt idx="94193">1</cx:pt>
          <cx:pt idx="94194">1</cx:pt>
          <cx:pt idx="94195">0</cx:pt>
          <cx:pt idx="94196">0</cx:pt>
          <cx:pt idx="94197">1</cx:pt>
          <cx:pt idx="94198">1</cx:pt>
          <cx:pt idx="94199">1</cx:pt>
          <cx:pt idx="94200">1</cx:pt>
          <cx:pt idx="94201">0</cx:pt>
          <cx:pt idx="94202">1</cx:pt>
          <cx:pt idx="94203">0</cx:pt>
          <cx:pt idx="94204">0</cx:pt>
          <cx:pt idx="94205">0</cx:pt>
          <cx:pt idx="94206">0</cx:pt>
          <cx:pt idx="94207">1</cx:pt>
          <cx:pt idx="94208">1</cx:pt>
          <cx:pt idx="94209">1</cx:pt>
          <cx:pt idx="94210">0</cx:pt>
          <cx:pt idx="94211">1</cx:pt>
          <cx:pt idx="94212">0</cx:pt>
          <cx:pt idx="94213">0</cx:pt>
          <cx:pt idx="94214">0</cx:pt>
          <cx:pt idx="94215">0</cx:pt>
          <cx:pt idx="94216">1</cx:pt>
          <cx:pt idx="94217">0</cx:pt>
          <cx:pt idx="94218">0</cx:pt>
          <cx:pt idx="94219">1</cx:pt>
          <cx:pt idx="94220">1</cx:pt>
          <cx:pt idx="94221">0</cx:pt>
          <cx:pt idx="94222">0</cx:pt>
          <cx:pt idx="94223">1</cx:pt>
          <cx:pt idx="94224">1</cx:pt>
          <cx:pt idx="94225">0</cx:pt>
          <cx:pt idx="94226">0</cx:pt>
          <cx:pt idx="94227">1</cx:pt>
          <cx:pt idx="94228">1</cx:pt>
          <cx:pt idx="94229">0</cx:pt>
          <cx:pt idx="94230">1</cx:pt>
          <cx:pt idx="94231">1</cx:pt>
          <cx:pt idx="94232">0</cx:pt>
          <cx:pt idx="94233">1</cx:pt>
          <cx:pt idx="94234">1</cx:pt>
          <cx:pt idx="94235">0</cx:pt>
          <cx:pt idx="94236">0</cx:pt>
          <cx:pt idx="94237">0</cx:pt>
          <cx:pt idx="94238">0</cx:pt>
          <cx:pt idx="94239">0</cx:pt>
          <cx:pt idx="94240">0</cx:pt>
          <cx:pt idx="94241">1</cx:pt>
          <cx:pt idx="94242">1</cx:pt>
          <cx:pt idx="94243">0</cx:pt>
          <cx:pt idx="94244">0</cx:pt>
          <cx:pt idx="94245">1</cx:pt>
          <cx:pt idx="94246">1</cx:pt>
          <cx:pt idx="94247">0</cx:pt>
          <cx:pt idx="94248">1</cx:pt>
          <cx:pt idx="94249">1</cx:pt>
          <cx:pt idx="94250">0</cx:pt>
          <cx:pt idx="94251">0</cx:pt>
          <cx:pt idx="94252">0</cx:pt>
          <cx:pt idx="94253">1</cx:pt>
          <cx:pt idx="94254">1</cx:pt>
          <cx:pt idx="94255">1</cx:pt>
          <cx:pt idx="94256">0</cx:pt>
          <cx:pt idx="94257">0</cx:pt>
          <cx:pt idx="94258">0</cx:pt>
          <cx:pt idx="94259">0</cx:pt>
          <cx:pt idx="94260">0</cx:pt>
          <cx:pt idx="94261">0</cx:pt>
          <cx:pt idx="94262">1</cx:pt>
          <cx:pt idx="94263">0</cx:pt>
          <cx:pt idx="94264">1</cx:pt>
          <cx:pt idx="94265">1</cx:pt>
          <cx:pt idx="94266">0</cx:pt>
          <cx:pt idx="94267">0</cx:pt>
          <cx:pt idx="94268">0</cx:pt>
          <cx:pt idx="94269">0</cx:pt>
          <cx:pt idx="94270">1</cx:pt>
          <cx:pt idx="94271">0</cx:pt>
          <cx:pt idx="94272">0</cx:pt>
          <cx:pt idx="94273">0</cx:pt>
          <cx:pt idx="94274">0</cx:pt>
          <cx:pt idx="94275">1</cx:pt>
          <cx:pt idx="94276">0</cx:pt>
          <cx:pt idx="94277">0</cx:pt>
          <cx:pt idx="94278">0</cx:pt>
          <cx:pt idx="94279">0</cx:pt>
          <cx:pt idx="94280">0</cx:pt>
          <cx:pt idx="94281">1</cx:pt>
          <cx:pt idx="94282">0</cx:pt>
          <cx:pt idx="94283">1</cx:pt>
          <cx:pt idx="94284">0</cx:pt>
          <cx:pt idx="94285">1</cx:pt>
          <cx:pt idx="94286">1</cx:pt>
          <cx:pt idx="94287">0</cx:pt>
          <cx:pt idx="94288">0</cx:pt>
          <cx:pt idx="94289">0</cx:pt>
          <cx:pt idx="94290">1</cx:pt>
          <cx:pt idx="94291">0</cx:pt>
          <cx:pt idx="94292">0</cx:pt>
          <cx:pt idx="94293">0</cx:pt>
          <cx:pt idx="94294">0</cx:pt>
          <cx:pt idx="94295">1</cx:pt>
          <cx:pt idx="94296">0</cx:pt>
          <cx:pt idx="94297">0</cx:pt>
          <cx:pt idx="94298">1</cx:pt>
          <cx:pt idx="94299">1</cx:pt>
          <cx:pt idx="94300">1</cx:pt>
          <cx:pt idx="94301">1</cx:pt>
          <cx:pt idx="94302">1</cx:pt>
          <cx:pt idx="94303">0</cx:pt>
          <cx:pt idx="94304">0</cx:pt>
          <cx:pt idx="94305">1</cx:pt>
          <cx:pt idx="94306">1</cx:pt>
          <cx:pt idx="94307">1</cx:pt>
          <cx:pt idx="94308">0</cx:pt>
          <cx:pt idx="94309">1</cx:pt>
          <cx:pt idx="94310">0</cx:pt>
          <cx:pt idx="94311">1</cx:pt>
          <cx:pt idx="94312">1</cx:pt>
          <cx:pt idx="94313">1</cx:pt>
          <cx:pt idx="94314">1</cx:pt>
          <cx:pt idx="94315">0</cx:pt>
          <cx:pt idx="94316">0</cx:pt>
          <cx:pt idx="94317">0</cx:pt>
          <cx:pt idx="94318">0</cx:pt>
          <cx:pt idx="94319">0</cx:pt>
          <cx:pt idx="94320">0</cx:pt>
          <cx:pt idx="94321">1</cx:pt>
          <cx:pt idx="94322">1</cx:pt>
          <cx:pt idx="94323">0</cx:pt>
          <cx:pt idx="94324">0</cx:pt>
          <cx:pt idx="94325">1</cx:pt>
          <cx:pt idx="94326">1</cx:pt>
          <cx:pt idx="94327">1</cx:pt>
          <cx:pt idx="94328">0</cx:pt>
          <cx:pt idx="94329">0</cx:pt>
          <cx:pt idx="94330">0</cx:pt>
          <cx:pt idx="94331">1</cx:pt>
          <cx:pt idx="94332">0</cx:pt>
          <cx:pt idx="94333">0</cx:pt>
          <cx:pt idx="94334">0</cx:pt>
          <cx:pt idx="94335">0</cx:pt>
          <cx:pt idx="94336">0</cx:pt>
          <cx:pt idx="94337">0</cx:pt>
          <cx:pt idx="94338">0</cx:pt>
          <cx:pt idx="94339">0</cx:pt>
          <cx:pt idx="94340">1</cx:pt>
          <cx:pt idx="94341">1</cx:pt>
          <cx:pt idx="94342">1</cx:pt>
          <cx:pt idx="94343">0</cx:pt>
          <cx:pt idx="94344">1</cx:pt>
          <cx:pt idx="94345">0</cx:pt>
          <cx:pt idx="94346">0</cx:pt>
          <cx:pt idx="94347">0</cx:pt>
          <cx:pt idx="94348">0</cx:pt>
          <cx:pt idx="94349">0</cx:pt>
          <cx:pt idx="94350">1</cx:pt>
          <cx:pt idx="94351">0</cx:pt>
          <cx:pt idx="94352">1</cx:pt>
          <cx:pt idx="94353">1</cx:pt>
          <cx:pt idx="94354">0</cx:pt>
          <cx:pt idx="94355">0</cx:pt>
          <cx:pt idx="94356">1</cx:pt>
          <cx:pt idx="94357">1</cx:pt>
          <cx:pt idx="94358">0</cx:pt>
          <cx:pt idx="94359">0</cx:pt>
          <cx:pt idx="94360">0</cx:pt>
          <cx:pt idx="94361">0</cx:pt>
          <cx:pt idx="94362">0</cx:pt>
          <cx:pt idx="94363">0</cx:pt>
          <cx:pt idx="94364">0</cx:pt>
          <cx:pt idx="94365">0</cx:pt>
          <cx:pt idx="94366">1</cx:pt>
          <cx:pt idx="94367">0</cx:pt>
          <cx:pt idx="94368">0</cx:pt>
          <cx:pt idx="94369">0</cx:pt>
          <cx:pt idx="94370">0</cx:pt>
          <cx:pt idx="94371">1</cx:pt>
          <cx:pt idx="94372">1</cx:pt>
          <cx:pt idx="94373">0</cx:pt>
          <cx:pt idx="94374">1</cx:pt>
          <cx:pt idx="94375">1</cx:pt>
          <cx:pt idx="94376">0</cx:pt>
          <cx:pt idx="94377">0</cx:pt>
          <cx:pt idx="94378">0</cx:pt>
          <cx:pt idx="94379">0</cx:pt>
          <cx:pt idx="94380">0</cx:pt>
          <cx:pt idx="94381">0</cx:pt>
          <cx:pt idx="94382">1</cx:pt>
          <cx:pt idx="94383">1</cx:pt>
          <cx:pt idx="94384">0</cx:pt>
          <cx:pt idx="94385">0</cx:pt>
          <cx:pt idx="94386">1</cx:pt>
          <cx:pt idx="94387">1</cx:pt>
          <cx:pt idx="94388">1</cx:pt>
          <cx:pt idx="94389">1</cx:pt>
          <cx:pt idx="94390">0</cx:pt>
          <cx:pt idx="94391">0</cx:pt>
          <cx:pt idx="94392">0</cx:pt>
          <cx:pt idx="94393">1</cx:pt>
          <cx:pt idx="94394">0</cx:pt>
          <cx:pt idx="94395">0</cx:pt>
          <cx:pt idx="94396">1</cx:pt>
          <cx:pt idx="94397">0</cx:pt>
          <cx:pt idx="94398">0</cx:pt>
          <cx:pt idx="94399">1</cx:pt>
          <cx:pt idx="94400">0</cx:pt>
          <cx:pt idx="94401">1</cx:pt>
          <cx:pt idx="94402">0</cx:pt>
          <cx:pt idx="94403">0</cx:pt>
          <cx:pt idx="94404">0</cx:pt>
          <cx:pt idx="94405">0</cx:pt>
          <cx:pt idx="94406">0</cx:pt>
          <cx:pt idx="94407">1</cx:pt>
          <cx:pt idx="94408">0</cx:pt>
          <cx:pt idx="94409">0</cx:pt>
          <cx:pt idx="94410">0</cx:pt>
          <cx:pt idx="94411">1</cx:pt>
          <cx:pt idx="94412">1</cx:pt>
          <cx:pt idx="94413">0</cx:pt>
          <cx:pt idx="94414">1</cx:pt>
          <cx:pt idx="94415">0</cx:pt>
          <cx:pt idx="94416">1</cx:pt>
          <cx:pt idx="94417">1</cx:pt>
          <cx:pt idx="94418">0</cx:pt>
          <cx:pt idx="94419">0</cx:pt>
          <cx:pt idx="94420">0</cx:pt>
          <cx:pt idx="94421">0</cx:pt>
          <cx:pt idx="94422">0</cx:pt>
          <cx:pt idx="94423">0</cx:pt>
          <cx:pt idx="94424">0</cx:pt>
          <cx:pt idx="94425">0</cx:pt>
          <cx:pt idx="94426">1</cx:pt>
          <cx:pt idx="94427">0</cx:pt>
          <cx:pt idx="94428">0</cx:pt>
          <cx:pt idx="94429">0</cx:pt>
          <cx:pt idx="94430">1</cx:pt>
          <cx:pt idx="94431">1</cx:pt>
          <cx:pt idx="94432">0</cx:pt>
          <cx:pt idx="94433">1</cx:pt>
          <cx:pt idx="94434">1</cx:pt>
          <cx:pt idx="94435">0</cx:pt>
          <cx:pt idx="94436">1</cx:pt>
          <cx:pt idx="94437">1</cx:pt>
          <cx:pt idx="94438">1</cx:pt>
          <cx:pt idx="94439">0</cx:pt>
          <cx:pt idx="94440">0</cx:pt>
          <cx:pt idx="94441">0</cx:pt>
          <cx:pt idx="94442">1</cx:pt>
          <cx:pt idx="94443">1</cx:pt>
          <cx:pt idx="94444">1</cx:pt>
          <cx:pt idx="94445">1</cx:pt>
          <cx:pt idx="94446">1</cx:pt>
          <cx:pt idx="94447">1</cx:pt>
          <cx:pt idx="94448">0</cx:pt>
          <cx:pt idx="94449">1</cx:pt>
          <cx:pt idx="94450">0</cx:pt>
          <cx:pt idx="94451">0</cx:pt>
          <cx:pt idx="94452">0</cx:pt>
          <cx:pt idx="94453">0</cx:pt>
          <cx:pt idx="94454">1</cx:pt>
          <cx:pt idx="94455">0</cx:pt>
          <cx:pt idx="94456">0</cx:pt>
          <cx:pt idx="94457">0</cx:pt>
          <cx:pt idx="94458">0</cx:pt>
          <cx:pt idx="94459">1</cx:pt>
          <cx:pt idx="94460">1</cx:pt>
          <cx:pt idx="94461">1</cx:pt>
          <cx:pt idx="94462">1</cx:pt>
          <cx:pt idx="94463">0</cx:pt>
          <cx:pt idx="94464">0</cx:pt>
          <cx:pt idx="94465">0</cx:pt>
          <cx:pt idx="94466">0</cx:pt>
          <cx:pt idx="94467">1</cx:pt>
          <cx:pt idx="94468">1</cx:pt>
          <cx:pt idx="94469">0</cx:pt>
          <cx:pt idx="94470">1</cx:pt>
          <cx:pt idx="94471">1</cx:pt>
          <cx:pt idx="94472">1</cx:pt>
          <cx:pt idx="94473">0</cx:pt>
          <cx:pt idx="94474">0</cx:pt>
          <cx:pt idx="94475">0</cx:pt>
          <cx:pt idx="94476">1</cx:pt>
          <cx:pt idx="94477">1</cx:pt>
          <cx:pt idx="94478">1</cx:pt>
          <cx:pt idx="94479">1</cx:pt>
          <cx:pt idx="94480">1</cx:pt>
          <cx:pt idx="94481">1</cx:pt>
          <cx:pt idx="94482">1</cx:pt>
          <cx:pt idx="94483">1</cx:pt>
          <cx:pt idx="94484">0</cx:pt>
          <cx:pt idx="94485">1</cx:pt>
          <cx:pt idx="94486">0</cx:pt>
          <cx:pt idx="94487">1</cx:pt>
          <cx:pt idx="94488">1</cx:pt>
          <cx:pt idx="94489">1</cx:pt>
          <cx:pt idx="94490">0</cx:pt>
          <cx:pt idx="94491">0</cx:pt>
          <cx:pt idx="94492">1</cx:pt>
          <cx:pt idx="94493">0</cx:pt>
          <cx:pt idx="94494">0</cx:pt>
          <cx:pt idx="94495">1</cx:pt>
          <cx:pt idx="94496">0</cx:pt>
          <cx:pt idx="94497">0</cx:pt>
          <cx:pt idx="94498">1</cx:pt>
          <cx:pt idx="94499">0</cx:pt>
          <cx:pt idx="94500">1</cx:pt>
          <cx:pt idx="94501">1</cx:pt>
          <cx:pt idx="94502">0</cx:pt>
          <cx:pt idx="94503">1</cx:pt>
          <cx:pt idx="94504">0</cx:pt>
          <cx:pt idx="94505">0</cx:pt>
          <cx:pt idx="94506">0</cx:pt>
          <cx:pt idx="94507">0</cx:pt>
          <cx:pt idx="94508">1</cx:pt>
          <cx:pt idx="94509">1</cx:pt>
          <cx:pt idx="94510">1</cx:pt>
          <cx:pt idx="94511">1</cx:pt>
          <cx:pt idx="94512">0</cx:pt>
          <cx:pt idx="94513">0</cx:pt>
          <cx:pt idx="94514">1</cx:pt>
          <cx:pt idx="94515">0</cx:pt>
          <cx:pt idx="94516">0</cx:pt>
          <cx:pt idx="94517">0</cx:pt>
          <cx:pt idx="94518">0</cx:pt>
          <cx:pt idx="94519">0</cx:pt>
          <cx:pt idx="94520">0</cx:pt>
          <cx:pt idx="94521">0</cx:pt>
          <cx:pt idx="94522">0</cx:pt>
          <cx:pt idx="94523">1</cx:pt>
          <cx:pt idx="94524">0</cx:pt>
          <cx:pt idx="94525">0</cx:pt>
          <cx:pt idx="94526">1</cx:pt>
          <cx:pt idx="94527">0</cx:pt>
          <cx:pt idx="94528">0</cx:pt>
          <cx:pt idx="94529">0</cx:pt>
          <cx:pt idx="94530">0</cx:pt>
          <cx:pt idx="94531">0</cx:pt>
          <cx:pt idx="94532">0</cx:pt>
          <cx:pt idx="94533">0</cx:pt>
          <cx:pt idx="94534">0</cx:pt>
          <cx:pt idx="94535">0</cx:pt>
          <cx:pt idx="94536">1</cx:pt>
          <cx:pt idx="94537">0</cx:pt>
          <cx:pt idx="94538">1</cx:pt>
          <cx:pt idx="94539">1</cx:pt>
          <cx:pt idx="94540">1</cx:pt>
          <cx:pt idx="94541">0</cx:pt>
          <cx:pt idx="94542">1</cx:pt>
          <cx:pt idx="94543">0</cx:pt>
          <cx:pt idx="94544">1</cx:pt>
          <cx:pt idx="94545">1</cx:pt>
          <cx:pt idx="94546">0</cx:pt>
          <cx:pt idx="94547">1</cx:pt>
          <cx:pt idx="94548">1</cx:pt>
          <cx:pt idx="94549">1</cx:pt>
          <cx:pt idx="94550">1</cx:pt>
          <cx:pt idx="94551">0</cx:pt>
          <cx:pt idx="94552">1</cx:pt>
          <cx:pt idx="94553">1</cx:pt>
          <cx:pt idx="94554">0</cx:pt>
          <cx:pt idx="94555">0</cx:pt>
          <cx:pt idx="94556">0</cx:pt>
          <cx:pt idx="94557">0</cx:pt>
          <cx:pt idx="94558">0</cx:pt>
          <cx:pt idx="94559">0</cx:pt>
          <cx:pt idx="94560">1</cx:pt>
          <cx:pt idx="94561">0</cx:pt>
          <cx:pt idx="94562">0</cx:pt>
          <cx:pt idx="94563">0</cx:pt>
          <cx:pt idx="94564">1</cx:pt>
          <cx:pt idx="94565">1</cx:pt>
          <cx:pt idx="94566">0</cx:pt>
          <cx:pt idx="94567">0</cx:pt>
          <cx:pt idx="94568">0</cx:pt>
          <cx:pt idx="94569">1</cx:pt>
          <cx:pt idx="94570">0</cx:pt>
          <cx:pt idx="94571">1</cx:pt>
          <cx:pt idx="94572">0</cx:pt>
          <cx:pt idx="94573">1</cx:pt>
          <cx:pt idx="94574">1</cx:pt>
          <cx:pt idx="94575">0</cx:pt>
          <cx:pt idx="94576">1</cx:pt>
          <cx:pt idx="94577">0</cx:pt>
          <cx:pt idx="94578">0</cx:pt>
          <cx:pt idx="94579">0</cx:pt>
          <cx:pt idx="94580">0</cx:pt>
          <cx:pt idx="94581">0</cx:pt>
          <cx:pt idx="94582">1</cx:pt>
          <cx:pt idx="94583">0</cx:pt>
          <cx:pt idx="94584">0</cx:pt>
          <cx:pt idx="94585">0</cx:pt>
          <cx:pt idx="94586">0</cx:pt>
          <cx:pt idx="94587">0</cx:pt>
          <cx:pt idx="94588">0</cx:pt>
          <cx:pt idx="94589">0</cx:pt>
          <cx:pt idx="94590">0</cx:pt>
          <cx:pt idx="94591">1</cx:pt>
          <cx:pt idx="94592">0</cx:pt>
          <cx:pt idx="94593">0</cx:pt>
          <cx:pt idx="94594">0</cx:pt>
          <cx:pt idx="94595">1</cx:pt>
          <cx:pt idx="94596">0</cx:pt>
          <cx:pt idx="94597">0</cx:pt>
          <cx:pt idx="94598">1</cx:pt>
          <cx:pt idx="94599">1</cx:pt>
          <cx:pt idx="94600">0</cx:pt>
          <cx:pt idx="94601">0</cx:pt>
          <cx:pt idx="94602">0</cx:pt>
          <cx:pt idx="94603">0</cx:pt>
          <cx:pt idx="94604">1</cx:pt>
          <cx:pt idx="94605">1</cx:pt>
          <cx:pt idx="94606">1</cx:pt>
          <cx:pt idx="94607">1</cx:pt>
          <cx:pt idx="94608">1</cx:pt>
          <cx:pt idx="94609">0</cx:pt>
          <cx:pt idx="94610">1</cx:pt>
          <cx:pt idx="94611">0</cx:pt>
          <cx:pt idx="94612">1</cx:pt>
          <cx:pt idx="94613">1</cx:pt>
          <cx:pt idx="94614">1</cx:pt>
          <cx:pt idx="94615">0</cx:pt>
          <cx:pt idx="94616">0</cx:pt>
          <cx:pt idx="94617">1</cx:pt>
          <cx:pt idx="94618">1</cx:pt>
          <cx:pt idx="94619">1</cx:pt>
          <cx:pt idx="94620">0</cx:pt>
          <cx:pt idx="94621">0</cx:pt>
          <cx:pt idx="94622">0</cx:pt>
          <cx:pt idx="94623">0</cx:pt>
          <cx:pt idx="94624">0</cx:pt>
          <cx:pt idx="94625">0</cx:pt>
          <cx:pt idx="94626">1</cx:pt>
          <cx:pt idx="94627">0</cx:pt>
          <cx:pt idx="94628">0</cx:pt>
          <cx:pt idx="94629">0</cx:pt>
          <cx:pt idx="94630">1</cx:pt>
          <cx:pt idx="94631">0</cx:pt>
          <cx:pt idx="94632">0</cx:pt>
          <cx:pt idx="94633">0</cx:pt>
          <cx:pt idx="94634">0</cx:pt>
          <cx:pt idx="94635">1</cx:pt>
          <cx:pt idx="94636">0</cx:pt>
          <cx:pt idx="94637">1</cx:pt>
          <cx:pt idx="94638">1</cx:pt>
          <cx:pt idx="94639">1</cx:pt>
          <cx:pt idx="94640">0</cx:pt>
          <cx:pt idx="94641">0</cx:pt>
          <cx:pt idx="94642">0</cx:pt>
          <cx:pt idx="94643">1</cx:pt>
          <cx:pt idx="94644">0</cx:pt>
          <cx:pt idx="94645">1</cx:pt>
          <cx:pt idx="94646">1</cx:pt>
          <cx:pt idx="94647">0</cx:pt>
          <cx:pt idx="94648">1</cx:pt>
          <cx:pt idx="94649">0</cx:pt>
          <cx:pt idx="94650">0</cx:pt>
          <cx:pt idx="94651">0</cx:pt>
          <cx:pt idx="94652">1</cx:pt>
          <cx:pt idx="94653">1</cx:pt>
          <cx:pt idx="94654">1</cx:pt>
          <cx:pt idx="94655">0</cx:pt>
          <cx:pt idx="94656">0</cx:pt>
          <cx:pt idx="94657">1</cx:pt>
          <cx:pt idx="94658">0</cx:pt>
          <cx:pt idx="94659">1</cx:pt>
          <cx:pt idx="94660">1</cx:pt>
          <cx:pt idx="94661">0</cx:pt>
          <cx:pt idx="94662">0</cx:pt>
          <cx:pt idx="94663">0</cx:pt>
          <cx:pt idx="94664">0</cx:pt>
          <cx:pt idx="94665">0</cx:pt>
          <cx:pt idx="94666">1</cx:pt>
          <cx:pt idx="94667">0</cx:pt>
          <cx:pt idx="94668">1</cx:pt>
          <cx:pt idx="94669">0</cx:pt>
          <cx:pt idx="94670">0</cx:pt>
          <cx:pt idx="94671">1</cx:pt>
          <cx:pt idx="94672">1</cx:pt>
          <cx:pt idx="94673">0</cx:pt>
          <cx:pt idx="94674">1</cx:pt>
          <cx:pt idx="94675">1</cx:pt>
          <cx:pt idx="94676">1</cx:pt>
          <cx:pt idx="94677">1</cx:pt>
          <cx:pt idx="94678">0</cx:pt>
          <cx:pt idx="94679">0</cx:pt>
          <cx:pt idx="94680">0</cx:pt>
          <cx:pt idx="94681">0</cx:pt>
          <cx:pt idx="94682">1</cx:pt>
          <cx:pt idx="94683">1</cx:pt>
          <cx:pt idx="94684">0</cx:pt>
          <cx:pt idx="94685">1</cx:pt>
          <cx:pt idx="94686">1</cx:pt>
          <cx:pt idx="94687">0</cx:pt>
          <cx:pt idx="94688">0</cx:pt>
          <cx:pt idx="94689">1</cx:pt>
          <cx:pt idx="94690">1</cx:pt>
          <cx:pt idx="94691">1</cx:pt>
          <cx:pt idx="94692">1</cx:pt>
          <cx:pt idx="94693">0</cx:pt>
          <cx:pt idx="94694">0</cx:pt>
          <cx:pt idx="94695">1</cx:pt>
          <cx:pt idx="94696">0</cx:pt>
          <cx:pt idx="94697">0</cx:pt>
          <cx:pt idx="94698">1</cx:pt>
          <cx:pt idx="94699">1</cx:pt>
          <cx:pt idx="94700">1</cx:pt>
          <cx:pt idx="94701">1</cx:pt>
          <cx:pt idx="94702">0</cx:pt>
          <cx:pt idx="94703">0</cx:pt>
          <cx:pt idx="94704">0</cx:pt>
          <cx:pt idx="94705">0</cx:pt>
          <cx:pt idx="94706">1</cx:pt>
          <cx:pt idx="94707">0</cx:pt>
          <cx:pt idx="94708">0</cx:pt>
          <cx:pt idx="94709">1</cx:pt>
          <cx:pt idx="94710">0</cx:pt>
          <cx:pt idx="94711">0</cx:pt>
          <cx:pt idx="94712">1</cx:pt>
          <cx:pt idx="94713">1</cx:pt>
          <cx:pt idx="94714">0</cx:pt>
          <cx:pt idx="94715">1</cx:pt>
          <cx:pt idx="94716">0</cx:pt>
          <cx:pt idx="94717">1</cx:pt>
          <cx:pt idx="94718">0</cx:pt>
          <cx:pt idx="94719">0</cx:pt>
          <cx:pt idx="94720">1</cx:pt>
          <cx:pt idx="94721">1</cx:pt>
          <cx:pt idx="94722">0</cx:pt>
          <cx:pt idx="94723">0</cx:pt>
          <cx:pt idx="94724">0</cx:pt>
          <cx:pt idx="94725">1</cx:pt>
          <cx:pt idx="94726">1</cx:pt>
          <cx:pt idx="94727">1</cx:pt>
          <cx:pt idx="94728">1</cx:pt>
          <cx:pt idx="94729">1</cx:pt>
          <cx:pt idx="94730">0</cx:pt>
          <cx:pt idx="94731">0</cx:pt>
          <cx:pt idx="94732">1</cx:pt>
          <cx:pt idx="94733">0</cx:pt>
          <cx:pt idx="94734">1</cx:pt>
          <cx:pt idx="94735">0</cx:pt>
          <cx:pt idx="94736">0</cx:pt>
          <cx:pt idx="94737">0</cx:pt>
          <cx:pt idx="94738">1</cx:pt>
          <cx:pt idx="94739">1</cx:pt>
          <cx:pt idx="94740">0</cx:pt>
          <cx:pt idx="94741">0</cx:pt>
          <cx:pt idx="94742">1</cx:pt>
          <cx:pt idx="94743">1</cx:pt>
          <cx:pt idx="94744">0</cx:pt>
          <cx:pt idx="94745">1</cx:pt>
          <cx:pt idx="94746">0</cx:pt>
          <cx:pt idx="94747">0</cx:pt>
          <cx:pt idx="94748">1</cx:pt>
          <cx:pt idx="94749">0</cx:pt>
          <cx:pt idx="94750">1</cx:pt>
          <cx:pt idx="94751">1</cx:pt>
          <cx:pt idx="94752">0</cx:pt>
          <cx:pt idx="94753">1</cx:pt>
          <cx:pt idx="94754">1</cx:pt>
          <cx:pt idx="94755">0</cx:pt>
          <cx:pt idx="94756">0</cx:pt>
          <cx:pt idx="94757">0</cx:pt>
          <cx:pt idx="94758">0</cx:pt>
          <cx:pt idx="94759">1</cx:pt>
          <cx:pt idx="94760">1</cx:pt>
          <cx:pt idx="94761">0</cx:pt>
          <cx:pt idx="94762">1</cx:pt>
          <cx:pt idx="94763">1</cx:pt>
          <cx:pt idx="94764">0</cx:pt>
          <cx:pt idx="94765">1</cx:pt>
          <cx:pt idx="94766">1</cx:pt>
          <cx:pt idx="94767">0</cx:pt>
          <cx:pt idx="94768">0</cx:pt>
          <cx:pt idx="94769">0</cx:pt>
          <cx:pt idx="94770">0</cx:pt>
          <cx:pt idx="94771">1</cx:pt>
          <cx:pt idx="94772">1</cx:pt>
          <cx:pt idx="94773">0</cx:pt>
          <cx:pt idx="94774">1</cx:pt>
          <cx:pt idx="94775">0</cx:pt>
          <cx:pt idx="94776">0</cx:pt>
          <cx:pt idx="94777">1</cx:pt>
          <cx:pt idx="94778">0</cx:pt>
          <cx:pt idx="94779">1</cx:pt>
          <cx:pt idx="94780">0</cx:pt>
          <cx:pt idx="94781">0</cx:pt>
          <cx:pt idx="94782">1</cx:pt>
          <cx:pt idx="94783">0</cx:pt>
          <cx:pt idx="94784">1</cx:pt>
          <cx:pt idx="94785">1</cx:pt>
          <cx:pt idx="94786">0</cx:pt>
          <cx:pt idx="94787">0</cx:pt>
          <cx:pt idx="94788">0</cx:pt>
          <cx:pt idx="94789">1</cx:pt>
          <cx:pt idx="94790">1</cx:pt>
          <cx:pt idx="94791">1</cx:pt>
          <cx:pt idx="94792">1</cx:pt>
          <cx:pt idx="94793">1</cx:pt>
          <cx:pt idx="94794">0</cx:pt>
          <cx:pt idx="94795">0</cx:pt>
          <cx:pt idx="94796">0</cx:pt>
          <cx:pt idx="94797">0</cx:pt>
          <cx:pt idx="94798">0</cx:pt>
          <cx:pt idx="94799">0</cx:pt>
          <cx:pt idx="94800">0</cx:pt>
          <cx:pt idx="94801">1</cx:pt>
          <cx:pt idx="94802">0</cx:pt>
          <cx:pt idx="94803">1</cx:pt>
          <cx:pt idx="94804">1</cx:pt>
          <cx:pt idx="94805">1</cx:pt>
          <cx:pt idx="94806">1</cx:pt>
          <cx:pt idx="94807">0</cx:pt>
          <cx:pt idx="94808">0</cx:pt>
          <cx:pt idx="94809">1</cx:pt>
          <cx:pt idx="94810">1</cx:pt>
          <cx:pt idx="94811">1</cx:pt>
          <cx:pt idx="94812">0</cx:pt>
          <cx:pt idx="94813">0</cx:pt>
          <cx:pt idx="94814">1</cx:pt>
          <cx:pt idx="94815">0</cx:pt>
          <cx:pt idx="94816">0</cx:pt>
          <cx:pt idx="94817">1</cx:pt>
          <cx:pt idx="94818">0</cx:pt>
          <cx:pt idx="94819">0</cx:pt>
          <cx:pt idx="94820">0</cx:pt>
          <cx:pt idx="94821">1</cx:pt>
          <cx:pt idx="94822">1</cx:pt>
          <cx:pt idx="94823">0</cx:pt>
          <cx:pt idx="94824">1</cx:pt>
          <cx:pt idx="94825">0</cx:pt>
          <cx:pt idx="94826">0</cx:pt>
          <cx:pt idx="94827">1</cx:pt>
          <cx:pt idx="94828">1</cx:pt>
          <cx:pt idx="94829">1</cx:pt>
          <cx:pt idx="94830">0</cx:pt>
          <cx:pt idx="94831">0</cx:pt>
          <cx:pt idx="94832">0</cx:pt>
          <cx:pt idx="94833">0</cx:pt>
          <cx:pt idx="94834">1</cx:pt>
          <cx:pt idx="94835">0</cx:pt>
          <cx:pt idx="94836">1</cx:pt>
          <cx:pt idx="94837">0</cx:pt>
          <cx:pt idx="94838">0</cx:pt>
          <cx:pt idx="94839">1</cx:pt>
          <cx:pt idx="94840">0</cx:pt>
          <cx:pt idx="94841">1</cx:pt>
          <cx:pt idx="94842">0</cx:pt>
          <cx:pt idx="94843">1</cx:pt>
          <cx:pt idx="94844">0</cx:pt>
          <cx:pt idx="94845">0</cx:pt>
          <cx:pt idx="94846">0</cx:pt>
          <cx:pt idx="94847">0</cx:pt>
          <cx:pt idx="94848">0</cx:pt>
          <cx:pt idx="94849">1</cx:pt>
          <cx:pt idx="94850">0</cx:pt>
          <cx:pt idx="94851">0</cx:pt>
          <cx:pt idx="94852">0</cx:pt>
          <cx:pt idx="94853">0</cx:pt>
          <cx:pt idx="94854">0</cx:pt>
          <cx:pt idx="94855">0</cx:pt>
          <cx:pt idx="94856">0</cx:pt>
          <cx:pt idx="94857">1</cx:pt>
          <cx:pt idx="94858">0</cx:pt>
          <cx:pt idx="94859">1</cx:pt>
          <cx:pt idx="94860">0</cx:pt>
          <cx:pt idx="94861">0</cx:pt>
          <cx:pt idx="94862">0</cx:pt>
          <cx:pt idx="94863">1</cx:pt>
          <cx:pt idx="94864">1</cx:pt>
          <cx:pt idx="94865">1</cx:pt>
          <cx:pt idx="94866">0</cx:pt>
          <cx:pt idx="94867">1</cx:pt>
          <cx:pt idx="94868">1</cx:pt>
          <cx:pt idx="94869">1</cx:pt>
          <cx:pt idx="94870">1</cx:pt>
          <cx:pt idx="94871">0</cx:pt>
          <cx:pt idx="94872">0</cx:pt>
          <cx:pt idx="94873">1</cx:pt>
          <cx:pt idx="94874">1</cx:pt>
          <cx:pt idx="94875">1</cx:pt>
          <cx:pt idx="94876">0</cx:pt>
          <cx:pt idx="94877">1</cx:pt>
          <cx:pt idx="94878">0</cx:pt>
          <cx:pt idx="94879">1</cx:pt>
          <cx:pt idx="94880">0</cx:pt>
          <cx:pt idx="94881">1</cx:pt>
          <cx:pt idx="94882">1</cx:pt>
          <cx:pt idx="94883">0</cx:pt>
          <cx:pt idx="94884">0</cx:pt>
          <cx:pt idx="94885">0</cx:pt>
          <cx:pt idx="94886">0</cx:pt>
          <cx:pt idx="94887">1</cx:pt>
          <cx:pt idx="94888">1</cx:pt>
          <cx:pt idx="94889">1</cx:pt>
          <cx:pt idx="94890">0</cx:pt>
          <cx:pt idx="94891">0</cx:pt>
          <cx:pt idx="94892">1</cx:pt>
          <cx:pt idx="94893">1</cx:pt>
          <cx:pt idx="94894">0</cx:pt>
          <cx:pt idx="94895">0</cx:pt>
          <cx:pt idx="94896">1</cx:pt>
          <cx:pt idx="94897">1</cx:pt>
          <cx:pt idx="94898">0</cx:pt>
          <cx:pt idx="94899">0</cx:pt>
          <cx:pt idx="94900">0</cx:pt>
          <cx:pt idx="94901">0</cx:pt>
          <cx:pt idx="94902">0</cx:pt>
          <cx:pt idx="94903">0</cx:pt>
          <cx:pt idx="94904">0</cx:pt>
          <cx:pt idx="94905">0</cx:pt>
          <cx:pt idx="94906">0</cx:pt>
          <cx:pt idx="94907">0</cx:pt>
          <cx:pt idx="94908">0</cx:pt>
          <cx:pt idx="94909">0</cx:pt>
          <cx:pt idx="94910">0</cx:pt>
          <cx:pt idx="94911">1</cx:pt>
          <cx:pt idx="94912">0</cx:pt>
          <cx:pt idx="94913">1</cx:pt>
          <cx:pt idx="94914">1</cx:pt>
          <cx:pt idx="94915">0</cx:pt>
          <cx:pt idx="94916">0</cx:pt>
          <cx:pt idx="94917">1</cx:pt>
          <cx:pt idx="94918">0</cx:pt>
          <cx:pt idx="94919">1</cx:pt>
          <cx:pt idx="94920">0</cx:pt>
          <cx:pt idx="94921">0</cx:pt>
          <cx:pt idx="94922">0</cx:pt>
          <cx:pt idx="94923">0</cx:pt>
          <cx:pt idx="94924">1</cx:pt>
          <cx:pt idx="94925">0</cx:pt>
          <cx:pt idx="94926">1</cx:pt>
          <cx:pt idx="94927">1</cx:pt>
          <cx:pt idx="94928">1</cx:pt>
          <cx:pt idx="94929">0</cx:pt>
          <cx:pt idx="94930">1</cx:pt>
          <cx:pt idx="94931">1</cx:pt>
          <cx:pt idx="94932">1</cx:pt>
          <cx:pt idx="94933">0</cx:pt>
          <cx:pt idx="94934">0</cx:pt>
          <cx:pt idx="94935">0</cx:pt>
          <cx:pt idx="94936">1</cx:pt>
          <cx:pt idx="94937">1</cx:pt>
          <cx:pt idx="94938">0</cx:pt>
          <cx:pt idx="94939">0</cx:pt>
          <cx:pt idx="94940">1</cx:pt>
          <cx:pt idx="94941">0</cx:pt>
          <cx:pt idx="94942">1</cx:pt>
          <cx:pt idx="94943">1</cx:pt>
          <cx:pt idx="94944">0</cx:pt>
          <cx:pt idx="94945">1</cx:pt>
          <cx:pt idx="94946">0</cx:pt>
          <cx:pt idx="94947">1</cx:pt>
          <cx:pt idx="94948">1</cx:pt>
          <cx:pt idx="94949">0</cx:pt>
          <cx:pt idx="94950">1</cx:pt>
          <cx:pt idx="94951">0</cx:pt>
          <cx:pt idx="94952">0</cx:pt>
          <cx:pt idx="94953">1</cx:pt>
          <cx:pt idx="94954">0</cx:pt>
          <cx:pt idx="94955">0</cx:pt>
          <cx:pt idx="94956">1</cx:pt>
          <cx:pt idx="94957">0</cx:pt>
          <cx:pt idx="94958">0</cx:pt>
          <cx:pt idx="94959">1</cx:pt>
          <cx:pt idx="94960">0</cx:pt>
          <cx:pt idx="94961">0</cx:pt>
          <cx:pt idx="94962">1</cx:pt>
          <cx:pt idx="94963">1</cx:pt>
          <cx:pt idx="94964">0</cx:pt>
          <cx:pt idx="94965">1</cx:pt>
          <cx:pt idx="94966">1</cx:pt>
          <cx:pt idx="94967">0</cx:pt>
          <cx:pt idx="94968">0</cx:pt>
          <cx:pt idx="94969">1</cx:pt>
          <cx:pt idx="94970">1</cx:pt>
          <cx:pt idx="94971">0</cx:pt>
          <cx:pt idx="94972">0</cx:pt>
          <cx:pt idx="94973">0</cx:pt>
          <cx:pt idx="94974">1</cx:pt>
          <cx:pt idx="94975">1</cx:pt>
          <cx:pt idx="94976">1</cx:pt>
          <cx:pt idx="94977">1</cx:pt>
          <cx:pt idx="94978">1</cx:pt>
          <cx:pt idx="94979">1</cx:pt>
          <cx:pt idx="94980">1</cx:pt>
          <cx:pt idx="94981">0</cx:pt>
          <cx:pt idx="94982">1</cx:pt>
          <cx:pt idx="94983">1</cx:pt>
          <cx:pt idx="94984">0</cx:pt>
          <cx:pt idx="94985">0</cx:pt>
          <cx:pt idx="94986">0</cx:pt>
          <cx:pt idx="94987">0</cx:pt>
          <cx:pt idx="94988">1</cx:pt>
          <cx:pt idx="94989">0</cx:pt>
          <cx:pt idx="94990">1</cx:pt>
          <cx:pt idx="94991">1</cx:pt>
          <cx:pt idx="94992">1</cx:pt>
          <cx:pt idx="94993">0</cx:pt>
          <cx:pt idx="94994">1</cx:pt>
          <cx:pt idx="94995">0</cx:pt>
          <cx:pt idx="94996">1</cx:pt>
          <cx:pt idx="94997">1</cx:pt>
          <cx:pt idx="94998">0</cx:pt>
          <cx:pt idx="94999">1</cx:pt>
          <cx:pt idx="95000">0</cx:pt>
          <cx:pt idx="95001">1</cx:pt>
          <cx:pt idx="95002">0</cx:pt>
          <cx:pt idx="95003">0</cx:pt>
          <cx:pt idx="95004">0</cx:pt>
          <cx:pt idx="95005">0</cx:pt>
          <cx:pt idx="95006">1</cx:pt>
          <cx:pt idx="95007">0</cx:pt>
          <cx:pt idx="95008">0</cx:pt>
          <cx:pt idx="95009">0</cx:pt>
          <cx:pt idx="95010">0</cx:pt>
          <cx:pt idx="95011">1</cx:pt>
          <cx:pt idx="95012">0</cx:pt>
          <cx:pt idx="95013">1</cx:pt>
          <cx:pt idx="95014">0</cx:pt>
          <cx:pt idx="95015">0</cx:pt>
          <cx:pt idx="95016">0</cx:pt>
          <cx:pt idx="95017">0</cx:pt>
          <cx:pt idx="95018">1</cx:pt>
          <cx:pt idx="95019">1</cx:pt>
          <cx:pt idx="95020">0</cx:pt>
          <cx:pt idx="95021">1</cx:pt>
          <cx:pt idx="95022">1</cx:pt>
          <cx:pt idx="95023">1</cx:pt>
          <cx:pt idx="95024">1</cx:pt>
          <cx:pt idx="95025">0</cx:pt>
          <cx:pt idx="95026">1</cx:pt>
          <cx:pt idx="95027">0</cx:pt>
          <cx:pt idx="95028">1</cx:pt>
          <cx:pt idx="95029">0</cx:pt>
          <cx:pt idx="95030">0</cx:pt>
          <cx:pt idx="95031">0</cx:pt>
          <cx:pt idx="95032">0</cx:pt>
          <cx:pt idx="95033">0</cx:pt>
          <cx:pt idx="95034">0</cx:pt>
          <cx:pt idx="95035">0</cx:pt>
          <cx:pt idx="95036">1</cx:pt>
          <cx:pt idx="95037">0</cx:pt>
          <cx:pt idx="95038">1</cx:pt>
          <cx:pt idx="95039">1</cx:pt>
          <cx:pt idx="95040">1</cx:pt>
          <cx:pt idx="95041">0</cx:pt>
          <cx:pt idx="95042">0</cx:pt>
          <cx:pt idx="95043">1</cx:pt>
          <cx:pt idx="95044">1</cx:pt>
          <cx:pt idx="95045">0</cx:pt>
          <cx:pt idx="95046">0</cx:pt>
          <cx:pt idx="95047">0</cx:pt>
          <cx:pt idx="95048">0</cx:pt>
          <cx:pt idx="95049">1</cx:pt>
          <cx:pt idx="95050">0</cx:pt>
          <cx:pt idx="95051">1</cx:pt>
          <cx:pt idx="95052">1</cx:pt>
          <cx:pt idx="95053">0</cx:pt>
          <cx:pt idx="95054">0</cx:pt>
          <cx:pt idx="95055">0</cx:pt>
          <cx:pt idx="95056">1</cx:pt>
          <cx:pt idx="95057">0</cx:pt>
          <cx:pt idx="95058">0</cx:pt>
          <cx:pt idx="95059">0</cx:pt>
          <cx:pt idx="95060">1</cx:pt>
          <cx:pt idx="95061">1</cx:pt>
          <cx:pt idx="95062">0</cx:pt>
          <cx:pt idx="95063">0</cx:pt>
          <cx:pt idx="95064">0</cx:pt>
          <cx:pt idx="95065">0</cx:pt>
          <cx:pt idx="95066">1</cx:pt>
          <cx:pt idx="95067">0</cx:pt>
          <cx:pt idx="95068">1</cx:pt>
          <cx:pt idx="95069">0</cx:pt>
          <cx:pt idx="95070">0</cx:pt>
          <cx:pt idx="95071">1</cx:pt>
          <cx:pt idx="95072">0</cx:pt>
          <cx:pt idx="95073">1</cx:pt>
          <cx:pt idx="95074">0</cx:pt>
          <cx:pt idx="95075">1</cx:pt>
          <cx:pt idx="95076">0</cx:pt>
          <cx:pt idx="95077">0</cx:pt>
          <cx:pt idx="95078">1</cx:pt>
          <cx:pt idx="95079">1</cx:pt>
          <cx:pt idx="95080">0</cx:pt>
          <cx:pt idx="95081">0</cx:pt>
          <cx:pt idx="95082">0</cx:pt>
          <cx:pt idx="95083">0</cx:pt>
          <cx:pt idx="95084">0</cx:pt>
          <cx:pt idx="95085">1</cx:pt>
          <cx:pt idx="95086">0</cx:pt>
          <cx:pt idx="95087">1</cx:pt>
          <cx:pt idx="95088">1</cx:pt>
          <cx:pt idx="95089">0</cx:pt>
          <cx:pt idx="95090">0</cx:pt>
          <cx:pt idx="95091">1</cx:pt>
          <cx:pt idx="95092">1</cx:pt>
          <cx:pt idx="95093">0</cx:pt>
          <cx:pt idx="95094">0</cx:pt>
          <cx:pt idx="95095">1</cx:pt>
          <cx:pt idx="95096">0</cx:pt>
          <cx:pt idx="95097">1</cx:pt>
          <cx:pt idx="95098">1</cx:pt>
          <cx:pt idx="95099">0</cx:pt>
          <cx:pt idx="95100">1</cx:pt>
          <cx:pt idx="95101">0</cx:pt>
          <cx:pt idx="95102">0</cx:pt>
          <cx:pt idx="95103">1</cx:pt>
          <cx:pt idx="95104">1</cx:pt>
          <cx:pt idx="95105">0</cx:pt>
          <cx:pt idx="95106">0</cx:pt>
          <cx:pt idx="95107">0</cx:pt>
          <cx:pt idx="95108">0</cx:pt>
          <cx:pt idx="95109">1</cx:pt>
          <cx:pt idx="95110">1</cx:pt>
          <cx:pt idx="95111">0</cx:pt>
          <cx:pt idx="95112">0</cx:pt>
          <cx:pt idx="95113">0</cx:pt>
          <cx:pt idx="95114">0</cx:pt>
          <cx:pt idx="95115">0</cx:pt>
          <cx:pt idx="95116">1</cx:pt>
          <cx:pt idx="95117">0</cx:pt>
          <cx:pt idx="95118">0</cx:pt>
          <cx:pt idx="95119">1</cx:pt>
          <cx:pt idx="95120">0</cx:pt>
          <cx:pt idx="95121">0</cx:pt>
          <cx:pt idx="95122">0</cx:pt>
          <cx:pt idx="95123">0</cx:pt>
          <cx:pt idx="95124">0</cx:pt>
          <cx:pt idx="95125">0</cx:pt>
          <cx:pt idx="95126">0</cx:pt>
          <cx:pt idx="95127">0</cx:pt>
          <cx:pt idx="95128">1</cx:pt>
          <cx:pt idx="95129">0</cx:pt>
          <cx:pt idx="95130">1</cx:pt>
          <cx:pt idx="95131">1</cx:pt>
          <cx:pt idx="95132">1</cx:pt>
          <cx:pt idx="95133">0</cx:pt>
          <cx:pt idx="95134">1</cx:pt>
          <cx:pt idx="95135">1</cx:pt>
          <cx:pt idx="95136">0</cx:pt>
          <cx:pt idx="95137">0</cx:pt>
          <cx:pt idx="95138">1</cx:pt>
          <cx:pt idx="95139">0</cx:pt>
          <cx:pt idx="95140">0</cx:pt>
          <cx:pt idx="95141">0</cx:pt>
          <cx:pt idx="95142">0</cx:pt>
          <cx:pt idx="95143">0</cx:pt>
          <cx:pt idx="95144">0</cx:pt>
          <cx:pt idx="95145">0</cx:pt>
          <cx:pt idx="95146">0</cx:pt>
          <cx:pt idx="95147">1</cx:pt>
          <cx:pt idx="95148">1</cx:pt>
          <cx:pt idx="95149">0</cx:pt>
          <cx:pt idx="95150">0</cx:pt>
          <cx:pt idx="95151">0</cx:pt>
          <cx:pt idx="95152">0</cx:pt>
          <cx:pt idx="95153">0</cx:pt>
          <cx:pt idx="95154">1</cx:pt>
          <cx:pt idx="95155">0</cx:pt>
          <cx:pt idx="95156">1</cx:pt>
          <cx:pt idx="95157">1</cx:pt>
          <cx:pt idx="95158">0</cx:pt>
          <cx:pt idx="95159">1</cx:pt>
          <cx:pt idx="95160">1</cx:pt>
          <cx:pt idx="95161">1</cx:pt>
          <cx:pt idx="95162">1</cx:pt>
          <cx:pt idx="95163">0</cx:pt>
          <cx:pt idx="95164">1</cx:pt>
          <cx:pt idx="95165">0</cx:pt>
          <cx:pt idx="95166">1</cx:pt>
          <cx:pt idx="95167">0</cx:pt>
          <cx:pt idx="95168">0</cx:pt>
          <cx:pt idx="95169">0</cx:pt>
          <cx:pt idx="95170">0</cx:pt>
          <cx:pt idx="95171">0</cx:pt>
          <cx:pt idx="95172">0</cx:pt>
          <cx:pt idx="95173">0</cx:pt>
          <cx:pt idx="95174">0</cx:pt>
          <cx:pt idx="95175">0</cx:pt>
          <cx:pt idx="95176">0</cx:pt>
          <cx:pt idx="95177">1</cx:pt>
          <cx:pt idx="95178">1</cx:pt>
          <cx:pt idx="95179">0</cx:pt>
          <cx:pt idx="95180">1</cx:pt>
          <cx:pt idx="95181">1</cx:pt>
          <cx:pt idx="95182">0</cx:pt>
          <cx:pt idx="95183">1</cx:pt>
          <cx:pt idx="95184">0</cx:pt>
          <cx:pt idx="95185">0</cx:pt>
          <cx:pt idx="95186">1</cx:pt>
          <cx:pt idx="95187">1</cx:pt>
          <cx:pt idx="95188">0</cx:pt>
          <cx:pt idx="95189">1</cx:pt>
          <cx:pt idx="95190">0</cx:pt>
          <cx:pt idx="95191">0</cx:pt>
          <cx:pt idx="95192">0</cx:pt>
          <cx:pt idx="95193">0</cx:pt>
          <cx:pt idx="95194">1</cx:pt>
          <cx:pt idx="95195">0</cx:pt>
          <cx:pt idx="95196">1</cx:pt>
          <cx:pt idx="95197">1</cx:pt>
          <cx:pt idx="95198">1</cx:pt>
          <cx:pt idx="95199">1</cx:pt>
          <cx:pt idx="95200">0</cx:pt>
          <cx:pt idx="95201">0</cx:pt>
          <cx:pt idx="95202">1</cx:pt>
          <cx:pt idx="95203">1</cx:pt>
          <cx:pt idx="95204">0</cx:pt>
          <cx:pt idx="95205">1</cx:pt>
          <cx:pt idx="95206">1</cx:pt>
          <cx:pt idx="95207">0</cx:pt>
          <cx:pt idx="95208">1</cx:pt>
          <cx:pt idx="95209">0</cx:pt>
          <cx:pt idx="95210">0</cx:pt>
          <cx:pt idx="95211">1</cx:pt>
          <cx:pt idx="95212">0</cx:pt>
          <cx:pt idx="95213">1</cx:pt>
          <cx:pt idx="95214">0</cx:pt>
          <cx:pt idx="95215">1</cx:pt>
          <cx:pt idx="95216">0</cx:pt>
          <cx:pt idx="95217">0</cx:pt>
          <cx:pt idx="95218">0</cx:pt>
          <cx:pt idx="95219">1</cx:pt>
          <cx:pt idx="95220">1</cx:pt>
          <cx:pt idx="95221">0</cx:pt>
          <cx:pt idx="95222">1</cx:pt>
          <cx:pt idx="95223">0</cx:pt>
          <cx:pt idx="95224">1</cx:pt>
          <cx:pt idx="95225">0</cx:pt>
          <cx:pt idx="95226">1</cx:pt>
          <cx:pt idx="95227">1</cx:pt>
          <cx:pt idx="95228">0</cx:pt>
          <cx:pt idx="95229">1</cx:pt>
          <cx:pt idx="95230">0</cx:pt>
          <cx:pt idx="95231">0</cx:pt>
          <cx:pt idx="95232">0</cx:pt>
          <cx:pt idx="95233">0</cx:pt>
          <cx:pt idx="95234">1</cx:pt>
          <cx:pt idx="95235">1</cx:pt>
          <cx:pt idx="95236">1</cx:pt>
          <cx:pt idx="95237">0</cx:pt>
          <cx:pt idx="95238">0</cx:pt>
          <cx:pt idx="95239">1</cx:pt>
          <cx:pt idx="95240">0</cx:pt>
          <cx:pt idx="95241">1</cx:pt>
          <cx:pt idx="95242">1</cx:pt>
          <cx:pt idx="95243">0</cx:pt>
          <cx:pt idx="95244">0</cx:pt>
          <cx:pt idx="95245">0</cx:pt>
          <cx:pt idx="95246">1</cx:pt>
          <cx:pt idx="95247">0</cx:pt>
          <cx:pt idx="95248">1</cx:pt>
          <cx:pt idx="95249">0</cx:pt>
          <cx:pt idx="95250">0</cx:pt>
          <cx:pt idx="95251">0</cx:pt>
          <cx:pt idx="95252">0</cx:pt>
          <cx:pt idx="95253">1</cx:pt>
          <cx:pt idx="95254">0</cx:pt>
          <cx:pt idx="95255">0</cx:pt>
          <cx:pt idx="95256">0</cx:pt>
          <cx:pt idx="95257">1</cx:pt>
          <cx:pt idx="95258">0</cx:pt>
          <cx:pt idx="95259">0</cx:pt>
          <cx:pt idx="95260">1</cx:pt>
          <cx:pt idx="95261">1</cx:pt>
          <cx:pt idx="95262">1</cx:pt>
          <cx:pt idx="95263">1</cx:pt>
          <cx:pt idx="95264">1</cx:pt>
          <cx:pt idx="95265">1</cx:pt>
          <cx:pt idx="95266">0</cx:pt>
          <cx:pt idx="95267">0</cx:pt>
          <cx:pt idx="95268">0</cx:pt>
          <cx:pt idx="95269">0</cx:pt>
          <cx:pt idx="95270">1</cx:pt>
          <cx:pt idx="95271">0</cx:pt>
          <cx:pt idx="95272">0</cx:pt>
          <cx:pt idx="95273">0</cx:pt>
          <cx:pt idx="95274">0</cx:pt>
          <cx:pt idx="95275">0</cx:pt>
          <cx:pt idx="95276">0</cx:pt>
          <cx:pt idx="95277">0</cx:pt>
          <cx:pt idx="95278">0</cx:pt>
          <cx:pt idx="95279">1</cx:pt>
          <cx:pt idx="95280">1</cx:pt>
          <cx:pt idx="95281">0</cx:pt>
          <cx:pt idx="95282">0</cx:pt>
          <cx:pt idx="95283">0</cx:pt>
          <cx:pt idx="95284">0</cx:pt>
          <cx:pt idx="95285">1</cx:pt>
          <cx:pt idx="95286">1</cx:pt>
          <cx:pt idx="95287">0</cx:pt>
          <cx:pt idx="95288">1</cx:pt>
          <cx:pt idx="95289">0</cx:pt>
          <cx:pt idx="95290">0</cx:pt>
          <cx:pt idx="95291">0</cx:pt>
          <cx:pt idx="95292">0</cx:pt>
          <cx:pt idx="95293">0</cx:pt>
          <cx:pt idx="95294">0</cx:pt>
          <cx:pt idx="95295">0</cx:pt>
          <cx:pt idx="95296">0</cx:pt>
          <cx:pt idx="95297">1</cx:pt>
          <cx:pt idx="95298">0</cx:pt>
          <cx:pt idx="95299">0</cx:pt>
          <cx:pt idx="95300">1</cx:pt>
          <cx:pt idx="95301">0</cx:pt>
          <cx:pt idx="95302">0</cx:pt>
          <cx:pt idx="95303">1</cx:pt>
          <cx:pt idx="95304">0</cx:pt>
          <cx:pt idx="95305">0</cx:pt>
          <cx:pt idx="95306">1</cx:pt>
          <cx:pt idx="95307">1</cx:pt>
          <cx:pt idx="95308">0</cx:pt>
          <cx:pt idx="95309">1</cx:pt>
          <cx:pt idx="95310">1</cx:pt>
          <cx:pt idx="95311">1</cx:pt>
          <cx:pt idx="95312">0</cx:pt>
          <cx:pt idx="95313">1</cx:pt>
          <cx:pt idx="95314">0</cx:pt>
          <cx:pt idx="95315">0</cx:pt>
          <cx:pt idx="95316">1</cx:pt>
          <cx:pt idx="95317">0</cx:pt>
          <cx:pt idx="95318">0</cx:pt>
          <cx:pt idx="95319">1</cx:pt>
          <cx:pt idx="95320">1</cx:pt>
          <cx:pt idx="95321">1</cx:pt>
          <cx:pt idx="95322">1</cx:pt>
          <cx:pt idx="95323">0</cx:pt>
          <cx:pt idx="95324">0</cx:pt>
          <cx:pt idx="95325">1</cx:pt>
          <cx:pt idx="95326">0</cx:pt>
          <cx:pt idx="95327">0</cx:pt>
          <cx:pt idx="95328">0</cx:pt>
          <cx:pt idx="95329">1</cx:pt>
          <cx:pt idx="95330">0</cx:pt>
          <cx:pt idx="95331">1</cx:pt>
          <cx:pt idx="95332">0</cx:pt>
          <cx:pt idx="95333">1</cx:pt>
          <cx:pt idx="95334">1</cx:pt>
          <cx:pt idx="95335">0</cx:pt>
          <cx:pt idx="95336">1</cx:pt>
          <cx:pt idx="95337">0</cx:pt>
          <cx:pt idx="95338">1</cx:pt>
          <cx:pt idx="95339">1</cx:pt>
          <cx:pt idx="95340">1</cx:pt>
          <cx:pt idx="95341">0</cx:pt>
          <cx:pt idx="95342">1</cx:pt>
          <cx:pt idx="95343">1</cx:pt>
          <cx:pt idx="95344">1</cx:pt>
          <cx:pt idx="95345">0</cx:pt>
          <cx:pt idx="95346">0</cx:pt>
          <cx:pt idx="95347">0</cx:pt>
          <cx:pt idx="95348">1</cx:pt>
          <cx:pt idx="95349">0</cx:pt>
          <cx:pt idx="95350">0</cx:pt>
          <cx:pt idx="95351">0</cx:pt>
          <cx:pt idx="95352">1</cx:pt>
          <cx:pt idx="95353">0</cx:pt>
          <cx:pt idx="95354">1</cx:pt>
          <cx:pt idx="95355">0</cx:pt>
          <cx:pt idx="95356">0</cx:pt>
          <cx:pt idx="95357">0</cx:pt>
          <cx:pt idx="95358">0</cx:pt>
          <cx:pt idx="95359">1</cx:pt>
          <cx:pt idx="95360">0</cx:pt>
          <cx:pt idx="95361">1</cx:pt>
          <cx:pt idx="95362">1</cx:pt>
          <cx:pt idx="95363">0</cx:pt>
          <cx:pt idx="95364">1</cx:pt>
          <cx:pt idx="95365">0</cx:pt>
          <cx:pt idx="95366">1</cx:pt>
          <cx:pt idx="95367">1</cx:pt>
          <cx:pt idx="95368">0</cx:pt>
          <cx:pt idx="95369">1</cx:pt>
          <cx:pt idx="95370">0</cx:pt>
          <cx:pt idx="95371">0</cx:pt>
          <cx:pt idx="95372">0</cx:pt>
          <cx:pt idx="95373">1</cx:pt>
          <cx:pt idx="95374">1</cx:pt>
          <cx:pt idx="95375">1</cx:pt>
          <cx:pt idx="95376">0</cx:pt>
          <cx:pt idx="95377">0</cx:pt>
          <cx:pt idx="95378">0</cx:pt>
          <cx:pt idx="95379">0</cx:pt>
          <cx:pt idx="95380">1</cx:pt>
          <cx:pt idx="95381">0</cx:pt>
          <cx:pt idx="95382">1</cx:pt>
          <cx:pt idx="95383">0</cx:pt>
          <cx:pt idx="95384">0</cx:pt>
          <cx:pt idx="95385">1</cx:pt>
          <cx:pt idx="95386">1</cx:pt>
          <cx:pt idx="95387">1</cx:pt>
          <cx:pt idx="95388">0</cx:pt>
          <cx:pt idx="95389">0</cx:pt>
          <cx:pt idx="95390">1</cx:pt>
          <cx:pt idx="95391">1</cx:pt>
          <cx:pt idx="95392">1</cx:pt>
          <cx:pt idx="95393">0</cx:pt>
          <cx:pt idx="95394">0</cx:pt>
          <cx:pt idx="95395">0</cx:pt>
          <cx:pt idx="95396">1</cx:pt>
          <cx:pt idx="95397">1</cx:pt>
          <cx:pt idx="95398">1</cx:pt>
          <cx:pt idx="95399">0</cx:pt>
          <cx:pt idx="95400">1</cx:pt>
          <cx:pt idx="95401">0</cx:pt>
          <cx:pt idx="95402">1</cx:pt>
          <cx:pt idx="95403">0</cx:pt>
          <cx:pt idx="95404">1</cx:pt>
          <cx:pt idx="95405">0</cx:pt>
          <cx:pt idx="95406">0</cx:pt>
          <cx:pt idx="95407">1</cx:pt>
          <cx:pt idx="95408">0</cx:pt>
          <cx:pt idx="95409">0</cx:pt>
          <cx:pt idx="95410">0</cx:pt>
          <cx:pt idx="95411">0</cx:pt>
          <cx:pt idx="95412">1</cx:pt>
          <cx:pt idx="95413">0</cx:pt>
          <cx:pt idx="95414">0</cx:pt>
          <cx:pt idx="95415">1</cx:pt>
          <cx:pt idx="95416">0</cx:pt>
          <cx:pt idx="95417">0</cx:pt>
          <cx:pt idx="95418">1</cx:pt>
          <cx:pt idx="95419">0</cx:pt>
          <cx:pt idx="95420">0</cx:pt>
          <cx:pt idx="95421">0</cx:pt>
          <cx:pt idx="95422">1</cx:pt>
          <cx:pt idx="95423">0</cx:pt>
          <cx:pt idx="95424">0</cx:pt>
          <cx:pt idx="95425">1</cx:pt>
          <cx:pt idx="95426">0</cx:pt>
          <cx:pt idx="95427">1</cx:pt>
          <cx:pt idx="95428">0</cx:pt>
          <cx:pt idx="95429">1</cx:pt>
          <cx:pt idx="95430">1</cx:pt>
          <cx:pt idx="95431">0</cx:pt>
          <cx:pt idx="95432">1</cx:pt>
          <cx:pt idx="95433">0</cx:pt>
          <cx:pt idx="95434">0</cx:pt>
          <cx:pt idx="95435">0</cx:pt>
          <cx:pt idx="95436">0</cx:pt>
          <cx:pt idx="95437">0</cx:pt>
          <cx:pt idx="95438">0</cx:pt>
          <cx:pt idx="95439">0</cx:pt>
          <cx:pt idx="95440">0</cx:pt>
          <cx:pt idx="95441">0</cx:pt>
          <cx:pt idx="95442">1</cx:pt>
          <cx:pt idx="95443">0</cx:pt>
          <cx:pt idx="95444">0</cx:pt>
          <cx:pt idx="95445">0</cx:pt>
          <cx:pt idx="95446">0</cx:pt>
          <cx:pt idx="95447">0</cx:pt>
          <cx:pt idx="95448">0</cx:pt>
          <cx:pt idx="95449">1</cx:pt>
          <cx:pt idx="95450">0</cx:pt>
          <cx:pt idx="95451">0</cx:pt>
          <cx:pt idx="95452">0</cx:pt>
          <cx:pt idx="95453">1</cx:pt>
          <cx:pt idx="95454">1</cx:pt>
          <cx:pt idx="95455">0</cx:pt>
          <cx:pt idx="95456">1</cx:pt>
          <cx:pt idx="95457">0</cx:pt>
          <cx:pt idx="95458">0</cx:pt>
          <cx:pt idx="95459">0</cx:pt>
          <cx:pt idx="95460">1</cx:pt>
          <cx:pt idx="95461">1</cx:pt>
          <cx:pt idx="95462">0</cx:pt>
          <cx:pt idx="95463">0</cx:pt>
          <cx:pt idx="95464">1</cx:pt>
          <cx:pt idx="95465">0</cx:pt>
          <cx:pt idx="95466">0</cx:pt>
          <cx:pt idx="95467">0</cx:pt>
          <cx:pt idx="95468">0</cx:pt>
          <cx:pt idx="95469">1</cx:pt>
          <cx:pt idx="95470">0</cx:pt>
          <cx:pt idx="95471">0</cx:pt>
          <cx:pt idx="95472">1</cx:pt>
          <cx:pt idx="95473">0</cx:pt>
          <cx:pt idx="95474">1</cx:pt>
          <cx:pt idx="95475">1</cx:pt>
          <cx:pt idx="95476">0</cx:pt>
          <cx:pt idx="95477">0</cx:pt>
          <cx:pt idx="95478">0</cx:pt>
          <cx:pt idx="95479">1</cx:pt>
          <cx:pt idx="95480">0</cx:pt>
          <cx:pt idx="95481">0</cx:pt>
          <cx:pt idx="95482">1</cx:pt>
          <cx:pt idx="95483">0</cx:pt>
          <cx:pt idx="95484">1</cx:pt>
          <cx:pt idx="95485">0</cx:pt>
          <cx:pt idx="95486">1</cx:pt>
          <cx:pt idx="95487">1</cx:pt>
          <cx:pt idx="95488">0</cx:pt>
          <cx:pt idx="95489">1</cx:pt>
          <cx:pt idx="95490">1</cx:pt>
          <cx:pt idx="95491">0</cx:pt>
          <cx:pt idx="95492">1</cx:pt>
          <cx:pt idx="95493">0</cx:pt>
          <cx:pt idx="95494">1</cx:pt>
          <cx:pt idx="95495">1</cx:pt>
          <cx:pt idx="95496">0</cx:pt>
          <cx:pt idx="95497">1</cx:pt>
          <cx:pt idx="95498">0</cx:pt>
          <cx:pt idx="95499">1</cx:pt>
          <cx:pt idx="95500">0</cx:pt>
          <cx:pt idx="95501">1</cx:pt>
          <cx:pt idx="95502">1</cx:pt>
          <cx:pt idx="95503">0</cx:pt>
          <cx:pt idx="95504">0</cx:pt>
          <cx:pt idx="95505">0</cx:pt>
          <cx:pt idx="95506">0</cx:pt>
          <cx:pt idx="95507">0</cx:pt>
          <cx:pt idx="95508">1</cx:pt>
          <cx:pt idx="95509">0</cx:pt>
          <cx:pt idx="95510">0</cx:pt>
          <cx:pt idx="95511">0</cx:pt>
          <cx:pt idx="95512">0</cx:pt>
          <cx:pt idx="95513">1</cx:pt>
          <cx:pt idx="95514">0</cx:pt>
          <cx:pt idx="95515">0</cx:pt>
          <cx:pt idx="95516">0</cx:pt>
          <cx:pt idx="95517">1</cx:pt>
          <cx:pt idx="95518">0</cx:pt>
          <cx:pt idx="95519">0</cx:pt>
          <cx:pt idx="95520">0</cx:pt>
          <cx:pt idx="95521">1</cx:pt>
          <cx:pt idx="95522">1</cx:pt>
          <cx:pt idx="95523">0</cx:pt>
          <cx:pt idx="95524">0</cx:pt>
          <cx:pt idx="95525">1</cx:pt>
          <cx:pt idx="95526">0</cx:pt>
          <cx:pt idx="95527">1</cx:pt>
          <cx:pt idx="95528">1</cx:pt>
          <cx:pt idx="95529">0</cx:pt>
          <cx:pt idx="95530">1</cx:pt>
          <cx:pt idx="95531">0</cx:pt>
          <cx:pt idx="95532">0</cx:pt>
          <cx:pt idx="95533">0</cx:pt>
          <cx:pt idx="95534">0</cx:pt>
          <cx:pt idx="95535">0</cx:pt>
          <cx:pt idx="95536">0</cx:pt>
          <cx:pt idx="95537">0</cx:pt>
          <cx:pt idx="95538">0</cx:pt>
          <cx:pt idx="95539">0</cx:pt>
          <cx:pt idx="95540">1</cx:pt>
          <cx:pt idx="95541">1</cx:pt>
          <cx:pt idx="95542">0</cx:pt>
          <cx:pt idx="95543">0</cx:pt>
          <cx:pt idx="95544">0</cx:pt>
          <cx:pt idx="95545">1</cx:pt>
          <cx:pt idx="95546">0</cx:pt>
          <cx:pt idx="95547">0</cx:pt>
          <cx:pt idx="95548">0</cx:pt>
          <cx:pt idx="95549">1</cx:pt>
          <cx:pt idx="95550">1</cx:pt>
          <cx:pt idx="95551">0</cx:pt>
          <cx:pt idx="95552">1</cx:pt>
          <cx:pt idx="95553">0</cx:pt>
          <cx:pt idx="95554">1</cx:pt>
          <cx:pt idx="95555">0</cx:pt>
          <cx:pt idx="95556">0</cx:pt>
          <cx:pt idx="95557">1</cx:pt>
          <cx:pt idx="95558">1</cx:pt>
          <cx:pt idx="95559">0</cx:pt>
          <cx:pt idx="95560">0</cx:pt>
          <cx:pt idx="95561">0</cx:pt>
          <cx:pt idx="95562">0</cx:pt>
          <cx:pt idx="95563">0</cx:pt>
          <cx:pt idx="95564">0</cx:pt>
          <cx:pt idx="95565">1</cx:pt>
          <cx:pt idx="95566">0</cx:pt>
          <cx:pt idx="95567">0</cx:pt>
          <cx:pt idx="95568">0</cx:pt>
          <cx:pt idx="95569">1</cx:pt>
          <cx:pt idx="95570">1</cx:pt>
          <cx:pt idx="95571">0</cx:pt>
          <cx:pt idx="95572">1</cx:pt>
          <cx:pt idx="95573">1</cx:pt>
          <cx:pt idx="95574">1</cx:pt>
          <cx:pt idx="95575">1</cx:pt>
          <cx:pt idx="95576">0</cx:pt>
          <cx:pt idx="95577">1</cx:pt>
          <cx:pt idx="95578">0</cx:pt>
          <cx:pt idx="95579">0</cx:pt>
          <cx:pt idx="95580">0</cx:pt>
          <cx:pt idx="95581">1</cx:pt>
          <cx:pt idx="95582">0</cx:pt>
          <cx:pt idx="95583">1</cx:pt>
          <cx:pt idx="95584">1</cx:pt>
          <cx:pt idx="95585">1</cx:pt>
          <cx:pt idx="95586">0</cx:pt>
          <cx:pt idx="95587">1</cx:pt>
          <cx:pt idx="95588">1</cx:pt>
          <cx:pt idx="95589">0</cx:pt>
          <cx:pt idx="95590">0</cx:pt>
          <cx:pt idx="95591">1</cx:pt>
          <cx:pt idx="95592">0</cx:pt>
          <cx:pt idx="95593">0</cx:pt>
          <cx:pt idx="95594">0</cx:pt>
          <cx:pt idx="95595">1</cx:pt>
          <cx:pt idx="95596">0</cx:pt>
          <cx:pt idx="95597">1</cx:pt>
          <cx:pt idx="95598">1</cx:pt>
          <cx:pt idx="95599">1</cx:pt>
          <cx:pt idx="95600">1</cx:pt>
          <cx:pt idx="95601">1</cx:pt>
          <cx:pt idx="95602">0</cx:pt>
          <cx:pt idx="95603">1</cx:pt>
          <cx:pt idx="95604">1</cx:pt>
          <cx:pt idx="95605">1</cx:pt>
          <cx:pt idx="95606">0</cx:pt>
          <cx:pt idx="95607">0</cx:pt>
          <cx:pt idx="95608">1</cx:pt>
          <cx:pt idx="95609">0</cx:pt>
          <cx:pt idx="95610">1</cx:pt>
          <cx:pt idx="95611">0</cx:pt>
          <cx:pt idx="95612">0</cx:pt>
          <cx:pt idx="95613">1</cx:pt>
          <cx:pt idx="95614">1</cx:pt>
          <cx:pt idx="95615">0</cx:pt>
          <cx:pt idx="95616">1</cx:pt>
          <cx:pt idx="95617">0</cx:pt>
          <cx:pt idx="95618">0</cx:pt>
          <cx:pt idx="95619">0</cx:pt>
          <cx:pt idx="95620">1</cx:pt>
          <cx:pt idx="95621">1</cx:pt>
          <cx:pt idx="95622">1</cx:pt>
          <cx:pt idx="95623">1</cx:pt>
          <cx:pt idx="95624">1</cx:pt>
          <cx:pt idx="95625">1</cx:pt>
          <cx:pt idx="95626">0</cx:pt>
          <cx:pt idx="95627">1</cx:pt>
          <cx:pt idx="95628">0</cx:pt>
          <cx:pt idx="95629">1</cx:pt>
          <cx:pt idx="95630">0</cx:pt>
          <cx:pt idx="95631">0</cx:pt>
          <cx:pt idx="95632">0</cx:pt>
          <cx:pt idx="95633">0</cx:pt>
          <cx:pt idx="95634">0</cx:pt>
          <cx:pt idx="95635">1</cx:pt>
          <cx:pt idx="95636">1</cx:pt>
          <cx:pt idx="95637">0</cx:pt>
          <cx:pt idx="95638">1</cx:pt>
          <cx:pt idx="95639">0</cx:pt>
          <cx:pt idx="95640">1</cx:pt>
          <cx:pt idx="95641">0</cx:pt>
          <cx:pt idx="95642">0</cx:pt>
          <cx:pt idx="95643">0</cx:pt>
          <cx:pt idx="95644">1</cx:pt>
          <cx:pt idx="95645">1</cx:pt>
          <cx:pt idx="95646">0</cx:pt>
          <cx:pt idx="95647">1</cx:pt>
          <cx:pt idx="95648">0</cx:pt>
          <cx:pt idx="95649">1</cx:pt>
          <cx:pt idx="95650">0</cx:pt>
          <cx:pt idx="95651">0</cx:pt>
          <cx:pt idx="95652">0</cx:pt>
          <cx:pt idx="95653">1</cx:pt>
          <cx:pt idx="95654">1</cx:pt>
          <cx:pt idx="95655">0</cx:pt>
          <cx:pt idx="95656">1</cx:pt>
          <cx:pt idx="95657">0</cx:pt>
          <cx:pt idx="95658">1</cx:pt>
          <cx:pt idx="95659">0</cx:pt>
          <cx:pt idx="95660">1</cx:pt>
          <cx:pt idx="95661">0</cx:pt>
          <cx:pt idx="95662">0</cx:pt>
          <cx:pt idx="95663">0</cx:pt>
          <cx:pt idx="95664">1</cx:pt>
          <cx:pt idx="95665">1</cx:pt>
          <cx:pt idx="95666">0</cx:pt>
          <cx:pt idx="95667">0</cx:pt>
          <cx:pt idx="95668">1</cx:pt>
          <cx:pt idx="95669">1</cx:pt>
          <cx:pt idx="95670">1</cx:pt>
          <cx:pt idx="95671">0</cx:pt>
          <cx:pt idx="95672">1</cx:pt>
          <cx:pt idx="95673">0</cx:pt>
          <cx:pt idx="95674">0</cx:pt>
          <cx:pt idx="95675">0</cx:pt>
          <cx:pt idx="95676">1</cx:pt>
          <cx:pt idx="95677">0</cx:pt>
          <cx:pt idx="95678">0</cx:pt>
          <cx:pt idx="95679">0</cx:pt>
          <cx:pt idx="95680">1</cx:pt>
          <cx:pt idx="95681">1</cx:pt>
          <cx:pt idx="95682">1</cx:pt>
          <cx:pt idx="95683">0</cx:pt>
          <cx:pt idx="95684">0</cx:pt>
          <cx:pt idx="95685">1</cx:pt>
          <cx:pt idx="95686">0</cx:pt>
          <cx:pt idx="95687">0</cx:pt>
          <cx:pt idx="95688">1</cx:pt>
          <cx:pt idx="95689">0</cx:pt>
          <cx:pt idx="95690">0</cx:pt>
          <cx:pt idx="95691">0</cx:pt>
          <cx:pt idx="95692">0</cx:pt>
          <cx:pt idx="95693">1</cx:pt>
          <cx:pt idx="95694">1</cx:pt>
          <cx:pt idx="95695">0</cx:pt>
          <cx:pt idx="95696">0</cx:pt>
          <cx:pt idx="95697">0</cx:pt>
          <cx:pt idx="95698">1</cx:pt>
          <cx:pt idx="95699">0</cx:pt>
          <cx:pt idx="95700">1</cx:pt>
          <cx:pt idx="95701">0</cx:pt>
          <cx:pt idx="95702">1</cx:pt>
          <cx:pt idx="95703">1</cx:pt>
          <cx:pt idx="95704">0</cx:pt>
          <cx:pt idx="95705">0</cx:pt>
          <cx:pt idx="95706">0</cx:pt>
          <cx:pt idx="95707">0</cx:pt>
          <cx:pt idx="95708">1</cx:pt>
          <cx:pt idx="95709">0</cx:pt>
          <cx:pt idx="95710">1</cx:pt>
          <cx:pt idx="95711">0</cx:pt>
          <cx:pt idx="95712">1</cx:pt>
          <cx:pt idx="95713">0</cx:pt>
          <cx:pt idx="95714">1</cx:pt>
          <cx:pt idx="95715">1</cx:pt>
          <cx:pt idx="95716">0</cx:pt>
          <cx:pt idx="95717">1</cx:pt>
          <cx:pt idx="95718">1</cx:pt>
          <cx:pt idx="95719">1</cx:pt>
          <cx:pt idx="95720">0</cx:pt>
          <cx:pt idx="95721">1</cx:pt>
          <cx:pt idx="95722">0</cx:pt>
          <cx:pt idx="95723">1</cx:pt>
          <cx:pt idx="95724">1</cx:pt>
          <cx:pt idx="95725">0</cx:pt>
          <cx:pt idx="95726">0</cx:pt>
          <cx:pt idx="95727">0</cx:pt>
          <cx:pt idx="95728">0</cx:pt>
          <cx:pt idx="95729">0</cx:pt>
          <cx:pt idx="95730">0</cx:pt>
          <cx:pt idx="95731">0</cx:pt>
          <cx:pt idx="95732">0</cx:pt>
          <cx:pt idx="95733">1</cx:pt>
          <cx:pt idx="95734">1</cx:pt>
          <cx:pt idx="95735">0</cx:pt>
          <cx:pt idx="95736">1</cx:pt>
          <cx:pt idx="95737">1</cx:pt>
          <cx:pt idx="95738">1</cx:pt>
          <cx:pt idx="95739">0</cx:pt>
          <cx:pt idx="95740">0</cx:pt>
          <cx:pt idx="95741">0</cx:pt>
          <cx:pt idx="95742">1</cx:pt>
          <cx:pt idx="95743">1</cx:pt>
          <cx:pt idx="95744">1</cx:pt>
          <cx:pt idx="95745">0</cx:pt>
          <cx:pt idx="95746">1</cx:pt>
          <cx:pt idx="95747">0</cx:pt>
          <cx:pt idx="95748">1</cx:pt>
          <cx:pt idx="95749">1</cx:pt>
          <cx:pt idx="95750">0</cx:pt>
          <cx:pt idx="95751">0</cx:pt>
          <cx:pt idx="95752">1</cx:pt>
          <cx:pt idx="95753">0</cx:pt>
          <cx:pt idx="95754">1</cx:pt>
          <cx:pt idx="95755">0</cx:pt>
          <cx:pt idx="95756">0</cx:pt>
          <cx:pt idx="95757">1</cx:pt>
          <cx:pt idx="95758">1</cx:pt>
          <cx:pt idx="95759">1</cx:pt>
          <cx:pt idx="95760">0</cx:pt>
          <cx:pt idx="95761">1</cx:pt>
          <cx:pt idx="95762">1</cx:pt>
          <cx:pt idx="95763">0</cx:pt>
          <cx:pt idx="95764">0</cx:pt>
          <cx:pt idx="95765">1</cx:pt>
          <cx:pt idx="95766">1</cx:pt>
          <cx:pt idx="95767">1</cx:pt>
          <cx:pt idx="95768">0</cx:pt>
          <cx:pt idx="95769">1</cx:pt>
          <cx:pt idx="95770">1</cx:pt>
          <cx:pt idx="95771">0</cx:pt>
          <cx:pt idx="95772">0</cx:pt>
          <cx:pt idx="95773">0</cx:pt>
          <cx:pt idx="95774">0</cx:pt>
          <cx:pt idx="95775">0</cx:pt>
          <cx:pt idx="95776">1</cx:pt>
          <cx:pt idx="95777">1</cx:pt>
          <cx:pt idx="95778">1</cx:pt>
          <cx:pt idx="95779">0</cx:pt>
          <cx:pt idx="95780">1</cx:pt>
          <cx:pt idx="95781">0</cx:pt>
          <cx:pt idx="95782">0</cx:pt>
          <cx:pt idx="95783">1</cx:pt>
          <cx:pt idx="95784">1</cx:pt>
          <cx:pt idx="95785">0</cx:pt>
          <cx:pt idx="95786">0</cx:pt>
          <cx:pt idx="95787">1</cx:pt>
          <cx:pt idx="95788">1</cx:pt>
          <cx:pt idx="95789">0</cx:pt>
          <cx:pt idx="95790">1</cx:pt>
          <cx:pt idx="95791">0</cx:pt>
          <cx:pt idx="95792">0</cx:pt>
          <cx:pt idx="95793">0</cx:pt>
          <cx:pt idx="95794">1</cx:pt>
          <cx:pt idx="95795">1</cx:pt>
          <cx:pt idx="95796">0</cx:pt>
          <cx:pt idx="95797">1</cx:pt>
          <cx:pt idx="95798">0</cx:pt>
          <cx:pt idx="95799">0</cx:pt>
          <cx:pt idx="95800">1</cx:pt>
          <cx:pt idx="95801">0</cx:pt>
          <cx:pt idx="95802">0</cx:pt>
          <cx:pt idx="95803">0</cx:pt>
          <cx:pt idx="95804">0</cx:pt>
          <cx:pt idx="95805">1</cx:pt>
          <cx:pt idx="95806">1</cx:pt>
          <cx:pt idx="95807">0</cx:pt>
          <cx:pt idx="95808">0</cx:pt>
          <cx:pt idx="95809">0</cx:pt>
          <cx:pt idx="95810">0</cx:pt>
          <cx:pt idx="95811">1</cx:pt>
          <cx:pt idx="95812">0</cx:pt>
          <cx:pt idx="95813">0</cx:pt>
          <cx:pt idx="95814">0</cx:pt>
          <cx:pt idx="95815">0</cx:pt>
          <cx:pt idx="95816">0</cx:pt>
          <cx:pt idx="95817">1</cx:pt>
          <cx:pt idx="95818">0</cx:pt>
          <cx:pt idx="95819">0</cx:pt>
          <cx:pt idx="95820">0</cx:pt>
          <cx:pt idx="95821">1</cx:pt>
          <cx:pt idx="95822">0</cx:pt>
          <cx:pt idx="95823">1</cx:pt>
          <cx:pt idx="95824">0</cx:pt>
          <cx:pt idx="95825">1</cx:pt>
          <cx:pt idx="95826">1</cx:pt>
          <cx:pt idx="95827">0</cx:pt>
          <cx:pt idx="95828">0</cx:pt>
          <cx:pt idx="95829">1</cx:pt>
          <cx:pt idx="95830">1</cx:pt>
          <cx:pt idx="95831">1</cx:pt>
          <cx:pt idx="95832">0</cx:pt>
          <cx:pt idx="95833">0</cx:pt>
          <cx:pt idx="95834">0</cx:pt>
          <cx:pt idx="95835">0</cx:pt>
          <cx:pt idx="95836">1</cx:pt>
          <cx:pt idx="95837">0</cx:pt>
          <cx:pt idx="95838">1</cx:pt>
          <cx:pt idx="95839">1</cx:pt>
          <cx:pt idx="95840">0</cx:pt>
          <cx:pt idx="95841">0</cx:pt>
          <cx:pt idx="95842">1</cx:pt>
          <cx:pt idx="95843">1</cx:pt>
          <cx:pt idx="95844">0</cx:pt>
          <cx:pt idx="95845">1</cx:pt>
          <cx:pt idx="95846">1</cx:pt>
          <cx:pt idx="95847">0</cx:pt>
          <cx:pt idx="95848">0</cx:pt>
          <cx:pt idx="95849">0</cx:pt>
          <cx:pt idx="95850">0</cx:pt>
          <cx:pt idx="95851">1</cx:pt>
          <cx:pt idx="95852">0</cx:pt>
          <cx:pt idx="95853">1</cx:pt>
          <cx:pt idx="95854">0</cx:pt>
          <cx:pt idx="95855">1</cx:pt>
          <cx:pt idx="95856">0</cx:pt>
          <cx:pt idx="95857">1</cx:pt>
          <cx:pt idx="95858">1</cx:pt>
          <cx:pt idx="95859">0</cx:pt>
          <cx:pt idx="95860">0</cx:pt>
          <cx:pt idx="95861">0</cx:pt>
          <cx:pt idx="95862">0</cx:pt>
          <cx:pt idx="95863">0</cx:pt>
          <cx:pt idx="95864">1</cx:pt>
          <cx:pt idx="95865">1</cx:pt>
          <cx:pt idx="95866">1</cx:pt>
          <cx:pt idx="95867">0</cx:pt>
          <cx:pt idx="95868">1</cx:pt>
          <cx:pt idx="95869">1</cx:pt>
          <cx:pt idx="95870">1</cx:pt>
          <cx:pt idx="95871">1</cx:pt>
          <cx:pt idx="95872">0</cx:pt>
          <cx:pt idx="95873">1</cx:pt>
          <cx:pt idx="95874">0</cx:pt>
          <cx:pt idx="95875">0</cx:pt>
          <cx:pt idx="95876">0</cx:pt>
          <cx:pt idx="95877">1</cx:pt>
          <cx:pt idx="95878">1</cx:pt>
          <cx:pt idx="95879">0</cx:pt>
          <cx:pt idx="95880">1</cx:pt>
          <cx:pt idx="95881">0</cx:pt>
          <cx:pt idx="95882">0</cx:pt>
          <cx:pt idx="95883">0</cx:pt>
          <cx:pt idx="95884">0</cx:pt>
          <cx:pt idx="95885">1</cx:pt>
          <cx:pt idx="95886">1</cx:pt>
          <cx:pt idx="95887">0</cx:pt>
          <cx:pt idx="95888">0</cx:pt>
          <cx:pt idx="95889">1</cx:pt>
          <cx:pt idx="95890">1</cx:pt>
          <cx:pt idx="95891">0</cx:pt>
          <cx:pt idx="95892">1</cx:pt>
          <cx:pt idx="95893">0</cx:pt>
          <cx:pt idx="95894">1</cx:pt>
          <cx:pt idx="95895">1</cx:pt>
          <cx:pt idx="95896">0</cx:pt>
          <cx:pt idx="95897">0</cx:pt>
          <cx:pt idx="95898">1</cx:pt>
          <cx:pt idx="95899">0</cx:pt>
          <cx:pt idx="95900">0</cx:pt>
          <cx:pt idx="95901">0</cx:pt>
          <cx:pt idx="95902">1</cx:pt>
          <cx:pt idx="95903">1</cx:pt>
          <cx:pt idx="95904">1</cx:pt>
          <cx:pt idx="95905">0</cx:pt>
          <cx:pt idx="95906">0</cx:pt>
          <cx:pt idx="95907">1</cx:pt>
          <cx:pt idx="95908">1</cx:pt>
          <cx:pt idx="95909">1</cx:pt>
          <cx:pt idx="95910">1</cx:pt>
          <cx:pt idx="95911">1</cx:pt>
          <cx:pt idx="95912">1</cx:pt>
          <cx:pt idx="95913">0</cx:pt>
          <cx:pt idx="95914">1</cx:pt>
          <cx:pt idx="95915">1</cx:pt>
          <cx:pt idx="95916">0</cx:pt>
          <cx:pt idx="95917">0</cx:pt>
          <cx:pt idx="95918">1</cx:pt>
          <cx:pt idx="95919">0</cx:pt>
          <cx:pt idx="95920">0</cx:pt>
          <cx:pt idx="95921">0</cx:pt>
          <cx:pt idx="95922">1</cx:pt>
          <cx:pt idx="95923">0</cx:pt>
          <cx:pt idx="95924">1</cx:pt>
          <cx:pt idx="95925">0</cx:pt>
          <cx:pt idx="95926">0</cx:pt>
          <cx:pt idx="95927">0</cx:pt>
          <cx:pt idx="95928">0</cx:pt>
          <cx:pt idx="95929">0</cx:pt>
          <cx:pt idx="95930">1</cx:pt>
          <cx:pt idx="95931">1</cx:pt>
          <cx:pt idx="95932">0</cx:pt>
          <cx:pt idx="95933">1</cx:pt>
          <cx:pt idx="95934">0</cx:pt>
          <cx:pt idx="95935">0</cx:pt>
          <cx:pt idx="95936">0</cx:pt>
          <cx:pt idx="95937">0</cx:pt>
          <cx:pt idx="95938">1</cx:pt>
          <cx:pt idx="95939">1</cx:pt>
          <cx:pt idx="95940">1</cx:pt>
          <cx:pt idx="95941">0</cx:pt>
          <cx:pt idx="95942">1</cx:pt>
          <cx:pt idx="95943">1</cx:pt>
          <cx:pt idx="95944">1</cx:pt>
          <cx:pt idx="95945">0</cx:pt>
          <cx:pt idx="95946">0</cx:pt>
          <cx:pt idx="95947">0</cx:pt>
          <cx:pt idx="95948">0</cx:pt>
          <cx:pt idx="95949">1</cx:pt>
          <cx:pt idx="95950">0</cx:pt>
          <cx:pt idx="95951">0</cx:pt>
          <cx:pt idx="95952">0</cx:pt>
          <cx:pt idx="95953">0</cx:pt>
          <cx:pt idx="95954">1</cx:pt>
          <cx:pt idx="95955">0</cx:pt>
          <cx:pt idx="95956">1</cx:pt>
          <cx:pt idx="95957">0</cx:pt>
          <cx:pt idx="95958">0</cx:pt>
          <cx:pt idx="95959">0</cx:pt>
          <cx:pt idx="95960">1</cx:pt>
          <cx:pt idx="95961">1</cx:pt>
          <cx:pt idx="95962">0</cx:pt>
          <cx:pt idx="95963">1</cx:pt>
          <cx:pt idx="95964">0</cx:pt>
          <cx:pt idx="95965">0</cx:pt>
          <cx:pt idx="95966">0</cx:pt>
          <cx:pt idx="95967">0</cx:pt>
          <cx:pt idx="95968">0</cx:pt>
          <cx:pt idx="95969">1</cx:pt>
          <cx:pt idx="95970">1</cx:pt>
          <cx:pt idx="95971">0</cx:pt>
          <cx:pt idx="95972">0</cx:pt>
          <cx:pt idx="95973">0</cx:pt>
          <cx:pt idx="95974">0</cx:pt>
          <cx:pt idx="95975">0</cx:pt>
          <cx:pt idx="95976">0</cx:pt>
          <cx:pt idx="95977">0</cx:pt>
          <cx:pt idx="95978">0</cx:pt>
          <cx:pt idx="95979">0</cx:pt>
          <cx:pt idx="95980">0</cx:pt>
          <cx:pt idx="95981">0</cx:pt>
          <cx:pt idx="95982">0</cx:pt>
          <cx:pt idx="95983">0</cx:pt>
          <cx:pt idx="95984">0</cx:pt>
          <cx:pt idx="95985">0</cx:pt>
          <cx:pt idx="95986">1</cx:pt>
          <cx:pt idx="95987">1</cx:pt>
          <cx:pt idx="95988">0</cx:pt>
          <cx:pt idx="95989">1</cx:pt>
          <cx:pt idx="95990">0</cx:pt>
          <cx:pt idx="95991">0</cx:pt>
          <cx:pt idx="95992">1</cx:pt>
          <cx:pt idx="95993">0</cx:pt>
          <cx:pt idx="95994">0</cx:pt>
          <cx:pt idx="95995">0</cx:pt>
          <cx:pt idx="95996">1</cx:pt>
          <cx:pt idx="95997">0</cx:pt>
          <cx:pt idx="95998">0</cx:pt>
          <cx:pt idx="95999">1</cx:pt>
          <cx:pt idx="96000">0</cx:pt>
          <cx:pt idx="96001">0</cx:pt>
          <cx:pt idx="96002">1</cx:pt>
          <cx:pt idx="96003">0</cx:pt>
          <cx:pt idx="96004">0</cx:pt>
          <cx:pt idx="96005">1</cx:pt>
          <cx:pt idx="96006">0</cx:pt>
          <cx:pt idx="96007">1</cx:pt>
          <cx:pt idx="96008">1</cx:pt>
          <cx:pt idx="96009">0</cx:pt>
          <cx:pt idx="96010">0</cx:pt>
          <cx:pt idx="96011">0</cx:pt>
          <cx:pt idx="96012">0</cx:pt>
          <cx:pt idx="96013">0</cx:pt>
          <cx:pt idx="96014">0</cx:pt>
          <cx:pt idx="96015">0</cx:pt>
          <cx:pt idx="96016">1</cx:pt>
          <cx:pt idx="96017">1</cx:pt>
          <cx:pt idx="96018">0</cx:pt>
          <cx:pt idx="96019">0</cx:pt>
          <cx:pt idx="96020">0</cx:pt>
          <cx:pt idx="96021">0</cx:pt>
          <cx:pt idx="96022">0</cx:pt>
          <cx:pt idx="96023">0</cx:pt>
          <cx:pt idx="96024">1</cx:pt>
          <cx:pt idx="96025">0</cx:pt>
          <cx:pt idx="96026">0</cx:pt>
          <cx:pt idx="96027">0</cx:pt>
          <cx:pt idx="96028">0</cx:pt>
          <cx:pt idx="96029">1</cx:pt>
          <cx:pt idx="96030">1</cx:pt>
          <cx:pt idx="96031">0</cx:pt>
          <cx:pt idx="96032">0</cx:pt>
          <cx:pt idx="96033">1</cx:pt>
          <cx:pt idx="96034">1</cx:pt>
          <cx:pt idx="96035">0</cx:pt>
          <cx:pt idx="96036">1</cx:pt>
          <cx:pt idx="96037">1</cx:pt>
          <cx:pt idx="96038">0</cx:pt>
          <cx:pt idx="96039">1</cx:pt>
          <cx:pt idx="96040">1</cx:pt>
          <cx:pt idx="96041">0</cx:pt>
          <cx:pt idx="96042">0</cx:pt>
          <cx:pt idx="96043">1</cx:pt>
          <cx:pt idx="96044">0</cx:pt>
          <cx:pt idx="96045">0</cx:pt>
          <cx:pt idx="96046">0</cx:pt>
          <cx:pt idx="96047">0</cx:pt>
          <cx:pt idx="96048">1</cx:pt>
          <cx:pt idx="96049">0</cx:pt>
          <cx:pt idx="96050">0</cx:pt>
          <cx:pt idx="96051">0</cx:pt>
          <cx:pt idx="96052">0</cx:pt>
          <cx:pt idx="96053">1</cx:pt>
          <cx:pt idx="96054">1</cx:pt>
          <cx:pt idx="96055">0</cx:pt>
          <cx:pt idx="96056">0</cx:pt>
          <cx:pt idx="96057">0</cx:pt>
          <cx:pt idx="96058">0</cx:pt>
          <cx:pt idx="96059">0</cx:pt>
          <cx:pt idx="96060">1</cx:pt>
          <cx:pt idx="96061">0</cx:pt>
          <cx:pt idx="96062">1</cx:pt>
          <cx:pt idx="96063">0</cx:pt>
          <cx:pt idx="96064">1</cx:pt>
          <cx:pt idx="96065">0</cx:pt>
          <cx:pt idx="96066">1</cx:pt>
          <cx:pt idx="96067">1</cx:pt>
          <cx:pt idx="96068">0</cx:pt>
          <cx:pt idx="96069">1</cx:pt>
          <cx:pt idx="96070">0</cx:pt>
          <cx:pt idx="96071">0</cx:pt>
          <cx:pt idx="96072">0</cx:pt>
          <cx:pt idx="96073">1</cx:pt>
          <cx:pt idx="96074">1</cx:pt>
          <cx:pt idx="96075">1</cx:pt>
          <cx:pt idx="96076">1</cx:pt>
          <cx:pt idx="96077">1</cx:pt>
          <cx:pt idx="96078">0</cx:pt>
          <cx:pt idx="96079">0</cx:pt>
          <cx:pt idx="96080">0</cx:pt>
          <cx:pt idx="96081">0</cx:pt>
          <cx:pt idx="96082">0</cx:pt>
          <cx:pt idx="96083">0</cx:pt>
          <cx:pt idx="96084">0</cx:pt>
          <cx:pt idx="96085">1</cx:pt>
          <cx:pt idx="96086">0</cx:pt>
          <cx:pt idx="96087">0</cx:pt>
          <cx:pt idx="96088">1</cx:pt>
          <cx:pt idx="96089">0</cx:pt>
          <cx:pt idx="96090">0</cx:pt>
          <cx:pt idx="96091">0</cx:pt>
          <cx:pt idx="96092">0</cx:pt>
          <cx:pt idx="96093">1</cx:pt>
          <cx:pt idx="96094">1</cx:pt>
          <cx:pt idx="96095">0</cx:pt>
          <cx:pt idx="96096">0</cx:pt>
          <cx:pt idx="96097">0</cx:pt>
          <cx:pt idx="96098">1</cx:pt>
          <cx:pt idx="96099">1</cx:pt>
          <cx:pt idx="96100">0</cx:pt>
          <cx:pt idx="96101">0</cx:pt>
          <cx:pt idx="96102">1</cx:pt>
          <cx:pt idx="96103">1</cx:pt>
          <cx:pt idx="96104">0</cx:pt>
          <cx:pt idx="96105">1</cx:pt>
          <cx:pt idx="96106">1</cx:pt>
          <cx:pt idx="96107">0</cx:pt>
          <cx:pt idx="96108">1</cx:pt>
          <cx:pt idx="96109">0</cx:pt>
          <cx:pt idx="96110">0</cx:pt>
          <cx:pt idx="96111">0</cx:pt>
          <cx:pt idx="96112">0</cx:pt>
          <cx:pt idx="96113">1</cx:pt>
          <cx:pt idx="96114">0</cx:pt>
          <cx:pt idx="96115">1</cx:pt>
          <cx:pt idx="96116">1</cx:pt>
          <cx:pt idx="96117">0</cx:pt>
          <cx:pt idx="96118">0</cx:pt>
          <cx:pt idx="96119">0</cx:pt>
          <cx:pt idx="96120">1</cx:pt>
          <cx:pt idx="96121">0</cx:pt>
          <cx:pt idx="96122">0</cx:pt>
          <cx:pt idx="96123">0</cx:pt>
          <cx:pt idx="96124">1</cx:pt>
          <cx:pt idx="96125">1</cx:pt>
          <cx:pt idx="96126">1</cx:pt>
          <cx:pt idx="96127">1</cx:pt>
          <cx:pt idx="96128">0</cx:pt>
          <cx:pt idx="96129">1</cx:pt>
          <cx:pt idx="96130">0</cx:pt>
          <cx:pt idx="96131">1</cx:pt>
          <cx:pt idx="96132">1</cx:pt>
          <cx:pt idx="96133">1</cx:pt>
          <cx:pt idx="96134">1</cx:pt>
          <cx:pt idx="96135">0</cx:pt>
          <cx:pt idx="96136">1</cx:pt>
          <cx:pt idx="96137">0</cx:pt>
          <cx:pt idx="96138">0</cx:pt>
          <cx:pt idx="96139">1</cx:pt>
          <cx:pt idx="96140">1</cx:pt>
          <cx:pt idx="96141">1</cx:pt>
          <cx:pt idx="96142">0</cx:pt>
          <cx:pt idx="96143">1</cx:pt>
          <cx:pt idx="96144">0</cx:pt>
          <cx:pt idx="96145">0</cx:pt>
          <cx:pt idx="96146">1</cx:pt>
          <cx:pt idx="96147">1</cx:pt>
          <cx:pt idx="96148">0</cx:pt>
          <cx:pt idx="96149">0</cx:pt>
          <cx:pt idx="96150">1</cx:pt>
          <cx:pt idx="96151">0</cx:pt>
          <cx:pt idx="96152">0</cx:pt>
          <cx:pt idx="96153">1</cx:pt>
          <cx:pt idx="96154">0</cx:pt>
          <cx:pt idx="96155">1</cx:pt>
          <cx:pt idx="96156">1</cx:pt>
          <cx:pt idx="96157">0</cx:pt>
          <cx:pt idx="96158">0</cx:pt>
          <cx:pt idx="96159">0</cx:pt>
          <cx:pt idx="96160">1</cx:pt>
          <cx:pt idx="96161">0</cx:pt>
          <cx:pt idx="96162">1</cx:pt>
          <cx:pt idx="96163">1</cx:pt>
          <cx:pt idx="96164">0</cx:pt>
          <cx:pt idx="96165">0</cx:pt>
          <cx:pt idx="96166">1</cx:pt>
          <cx:pt idx="96167">0</cx:pt>
          <cx:pt idx="96168">1</cx:pt>
          <cx:pt idx="96169">0</cx:pt>
          <cx:pt idx="96170">0</cx:pt>
          <cx:pt idx="96171">1</cx:pt>
          <cx:pt idx="96172">0</cx:pt>
          <cx:pt idx="96173">0</cx:pt>
          <cx:pt idx="96174">0</cx:pt>
          <cx:pt idx="96175">1</cx:pt>
          <cx:pt idx="96176">1</cx:pt>
          <cx:pt idx="96177">1</cx:pt>
          <cx:pt idx="96178">0</cx:pt>
          <cx:pt idx="96179">0</cx:pt>
          <cx:pt idx="96180">0</cx:pt>
          <cx:pt idx="96181">1</cx:pt>
          <cx:pt idx="96182">1</cx:pt>
          <cx:pt idx="96183">1</cx:pt>
          <cx:pt idx="96184">1</cx:pt>
          <cx:pt idx="96185">0</cx:pt>
          <cx:pt idx="96186">1</cx:pt>
          <cx:pt idx="96187">1</cx:pt>
          <cx:pt idx="96188">0</cx:pt>
          <cx:pt idx="96189">1</cx:pt>
          <cx:pt idx="96190">0</cx:pt>
          <cx:pt idx="96191">1</cx:pt>
          <cx:pt idx="96192">1</cx:pt>
          <cx:pt idx="96193">0</cx:pt>
          <cx:pt idx="96194">0</cx:pt>
          <cx:pt idx="96195">0</cx:pt>
          <cx:pt idx="96196">0</cx:pt>
          <cx:pt idx="96197">0</cx:pt>
          <cx:pt idx="96198">1</cx:pt>
          <cx:pt idx="96199">0</cx:pt>
          <cx:pt idx="96200">1</cx:pt>
          <cx:pt idx="96201">0</cx:pt>
          <cx:pt idx="96202">1</cx:pt>
          <cx:pt idx="96203">0</cx:pt>
          <cx:pt idx="96204">0</cx:pt>
          <cx:pt idx="96205">1</cx:pt>
          <cx:pt idx="96206">0</cx:pt>
          <cx:pt idx="96207">0</cx:pt>
          <cx:pt idx="96208">0</cx:pt>
          <cx:pt idx="96209">0</cx:pt>
          <cx:pt idx="96210">0</cx:pt>
          <cx:pt idx="96211">0</cx:pt>
          <cx:pt idx="96212">0</cx:pt>
          <cx:pt idx="96213">1</cx:pt>
          <cx:pt idx="96214">0</cx:pt>
          <cx:pt idx="96215">0</cx:pt>
          <cx:pt idx="96216">1</cx:pt>
          <cx:pt idx="96217">1</cx:pt>
          <cx:pt idx="96218">0</cx:pt>
          <cx:pt idx="96219">1</cx:pt>
          <cx:pt idx="96220">0</cx:pt>
          <cx:pt idx="96221">1</cx:pt>
          <cx:pt idx="96222">0</cx:pt>
          <cx:pt idx="96223">1</cx:pt>
          <cx:pt idx="96224">1</cx:pt>
          <cx:pt idx="96225">0</cx:pt>
          <cx:pt idx="96226">1</cx:pt>
          <cx:pt idx="96227">0</cx:pt>
          <cx:pt idx="96228">0</cx:pt>
          <cx:pt idx="96229">0</cx:pt>
          <cx:pt idx="96230">0</cx:pt>
          <cx:pt idx="96231">1</cx:pt>
          <cx:pt idx="96232">0</cx:pt>
          <cx:pt idx="96233">0</cx:pt>
          <cx:pt idx="96234">1</cx:pt>
          <cx:pt idx="96235">1</cx:pt>
          <cx:pt idx="96236">1</cx:pt>
          <cx:pt idx="96237">1</cx:pt>
          <cx:pt idx="96238">0</cx:pt>
          <cx:pt idx="96239">1</cx:pt>
          <cx:pt idx="96240">0</cx:pt>
          <cx:pt idx="96241">1</cx:pt>
          <cx:pt idx="96242">1</cx:pt>
          <cx:pt idx="96243">1</cx:pt>
          <cx:pt idx="96244">1</cx:pt>
          <cx:pt idx="96245">1</cx:pt>
          <cx:pt idx="96246">0</cx:pt>
          <cx:pt idx="96247">0</cx:pt>
          <cx:pt idx="96248">1</cx:pt>
          <cx:pt idx="96249">0</cx:pt>
          <cx:pt idx="96250">0</cx:pt>
          <cx:pt idx="96251">0</cx:pt>
          <cx:pt idx="96252">0</cx:pt>
          <cx:pt idx="96253">0</cx:pt>
          <cx:pt idx="96254">1</cx:pt>
          <cx:pt idx="96255">1</cx:pt>
          <cx:pt idx="96256">1</cx:pt>
          <cx:pt idx="96257">0</cx:pt>
          <cx:pt idx="96258">1</cx:pt>
          <cx:pt idx="96259">0</cx:pt>
          <cx:pt idx="96260">1</cx:pt>
          <cx:pt idx="96261">0</cx:pt>
          <cx:pt idx="96262">0</cx:pt>
          <cx:pt idx="96263">0</cx:pt>
          <cx:pt idx="96264">0</cx:pt>
          <cx:pt idx="96265">1</cx:pt>
          <cx:pt idx="96266">0</cx:pt>
          <cx:pt idx="96267">1</cx:pt>
          <cx:pt idx="96268">0</cx:pt>
          <cx:pt idx="96269">0</cx:pt>
          <cx:pt idx="96270">1</cx:pt>
          <cx:pt idx="96271">1</cx:pt>
          <cx:pt idx="96272">0</cx:pt>
          <cx:pt idx="96273">0</cx:pt>
          <cx:pt idx="96274">1</cx:pt>
          <cx:pt idx="96275">1</cx:pt>
          <cx:pt idx="96276">1</cx:pt>
          <cx:pt idx="96277">0</cx:pt>
          <cx:pt idx="96278">0</cx:pt>
          <cx:pt idx="96279">0</cx:pt>
          <cx:pt idx="96280">1</cx:pt>
          <cx:pt idx="96281">1</cx:pt>
          <cx:pt idx="96282">1</cx:pt>
          <cx:pt idx="96283">0</cx:pt>
          <cx:pt idx="96284">1</cx:pt>
          <cx:pt idx="96285">0</cx:pt>
          <cx:pt idx="96286">0</cx:pt>
          <cx:pt idx="96287">1</cx:pt>
          <cx:pt idx="96288">0</cx:pt>
          <cx:pt idx="96289">0</cx:pt>
          <cx:pt idx="96290">0</cx:pt>
          <cx:pt idx="96291">0</cx:pt>
          <cx:pt idx="96292">0</cx:pt>
          <cx:pt idx="96293">1</cx:pt>
          <cx:pt idx="96294">0</cx:pt>
          <cx:pt idx="96295">0</cx:pt>
          <cx:pt idx="96296">0</cx:pt>
          <cx:pt idx="96297">1</cx:pt>
          <cx:pt idx="96298">1</cx:pt>
          <cx:pt idx="96299">0</cx:pt>
          <cx:pt idx="96300">1</cx:pt>
          <cx:pt idx="96301">0</cx:pt>
          <cx:pt idx="96302">1</cx:pt>
          <cx:pt idx="96303">0</cx:pt>
          <cx:pt idx="96304">1</cx:pt>
          <cx:pt idx="96305">0</cx:pt>
          <cx:pt idx="96306">1</cx:pt>
          <cx:pt idx="96307">1</cx:pt>
          <cx:pt idx="96308">0</cx:pt>
          <cx:pt idx="96309">0</cx:pt>
          <cx:pt idx="96310">0</cx:pt>
          <cx:pt idx="96311">0</cx:pt>
          <cx:pt idx="96312">0</cx:pt>
          <cx:pt idx="96313">0</cx:pt>
          <cx:pt idx="96314">0</cx:pt>
          <cx:pt idx="96315">0</cx:pt>
          <cx:pt idx="96316">0</cx:pt>
          <cx:pt idx="96317">1</cx:pt>
          <cx:pt idx="96318">0</cx:pt>
          <cx:pt idx="96319">0</cx:pt>
          <cx:pt idx="96320">1</cx:pt>
          <cx:pt idx="96321">0</cx:pt>
          <cx:pt idx="96322">0</cx:pt>
          <cx:pt idx="96323">0</cx:pt>
          <cx:pt idx="96324">0</cx:pt>
          <cx:pt idx="96325">1</cx:pt>
          <cx:pt idx="96326">0</cx:pt>
          <cx:pt idx="96327">1</cx:pt>
          <cx:pt idx="96328">0</cx:pt>
          <cx:pt idx="96329">0</cx:pt>
          <cx:pt idx="96330">1</cx:pt>
          <cx:pt idx="96331">0</cx:pt>
          <cx:pt idx="96332">1</cx:pt>
          <cx:pt idx="96333">0</cx:pt>
          <cx:pt idx="96334">1</cx:pt>
          <cx:pt idx="96335">0</cx:pt>
          <cx:pt idx="96336">1</cx:pt>
          <cx:pt idx="96337">0</cx:pt>
          <cx:pt idx="96338">1</cx:pt>
          <cx:pt idx="96339">0</cx:pt>
          <cx:pt idx="96340">0</cx:pt>
          <cx:pt idx="96341">1</cx:pt>
          <cx:pt idx="96342">1</cx:pt>
          <cx:pt idx="96343">0</cx:pt>
          <cx:pt idx="96344">0</cx:pt>
          <cx:pt idx="96345">0</cx:pt>
          <cx:pt idx="96346">1</cx:pt>
          <cx:pt idx="96347">0</cx:pt>
          <cx:pt idx="96348">1</cx:pt>
          <cx:pt idx="96349">0</cx:pt>
          <cx:pt idx="96350">1</cx:pt>
          <cx:pt idx="96351">0</cx:pt>
          <cx:pt idx="96352">0</cx:pt>
          <cx:pt idx="96353">0</cx:pt>
          <cx:pt idx="96354">0</cx:pt>
          <cx:pt idx="96355">1</cx:pt>
          <cx:pt idx="96356">1</cx:pt>
          <cx:pt idx="96357">0</cx:pt>
          <cx:pt idx="96358">1</cx:pt>
          <cx:pt idx="96359">1</cx:pt>
          <cx:pt idx="96360">0</cx:pt>
          <cx:pt idx="96361">0</cx:pt>
          <cx:pt idx="96362">1</cx:pt>
          <cx:pt idx="96363">0</cx:pt>
          <cx:pt idx="96364">0</cx:pt>
          <cx:pt idx="96365">0</cx:pt>
          <cx:pt idx="96366">0</cx:pt>
          <cx:pt idx="96367">1</cx:pt>
          <cx:pt idx="96368">0</cx:pt>
          <cx:pt idx="96369">0</cx:pt>
          <cx:pt idx="96370">0</cx:pt>
          <cx:pt idx="96371">1</cx:pt>
          <cx:pt idx="96372">0</cx:pt>
          <cx:pt idx="96373">1</cx:pt>
          <cx:pt idx="96374">0</cx:pt>
          <cx:pt idx="96375">1</cx:pt>
          <cx:pt idx="96376">1</cx:pt>
          <cx:pt idx="96377">1</cx:pt>
          <cx:pt idx="96378">1</cx:pt>
          <cx:pt idx="96379">1</cx:pt>
          <cx:pt idx="96380">0</cx:pt>
          <cx:pt idx="96381">0</cx:pt>
          <cx:pt idx="96382">0</cx:pt>
          <cx:pt idx="96383">0</cx:pt>
          <cx:pt idx="96384">0</cx:pt>
          <cx:pt idx="96385">1</cx:pt>
          <cx:pt idx="96386">1</cx:pt>
          <cx:pt idx="96387">0</cx:pt>
          <cx:pt idx="96388">0</cx:pt>
          <cx:pt idx="96389">1</cx:pt>
          <cx:pt idx="96390">0</cx:pt>
          <cx:pt idx="96391">0</cx:pt>
          <cx:pt idx="96392">1</cx:pt>
          <cx:pt idx="96393">1</cx:pt>
          <cx:pt idx="96394">0</cx:pt>
          <cx:pt idx="96395">0</cx:pt>
          <cx:pt idx="96396">1</cx:pt>
          <cx:pt idx="96397">0</cx:pt>
          <cx:pt idx="96398">1</cx:pt>
          <cx:pt idx="96399">0</cx:pt>
          <cx:pt idx="96400">0</cx:pt>
          <cx:pt idx="96401">1</cx:pt>
          <cx:pt idx="96402">0</cx:pt>
          <cx:pt idx="96403">0</cx:pt>
          <cx:pt idx="96404">0</cx:pt>
          <cx:pt idx="96405">0</cx:pt>
          <cx:pt idx="96406">0</cx:pt>
          <cx:pt idx="96407">1</cx:pt>
          <cx:pt idx="96408">0</cx:pt>
          <cx:pt idx="96409">1</cx:pt>
          <cx:pt idx="96410">0</cx:pt>
          <cx:pt idx="96411">0</cx:pt>
          <cx:pt idx="96412">1</cx:pt>
          <cx:pt idx="96413">1</cx:pt>
          <cx:pt idx="96414">0</cx:pt>
          <cx:pt idx="96415">0</cx:pt>
          <cx:pt idx="96416">0</cx:pt>
          <cx:pt idx="96417">0</cx:pt>
          <cx:pt idx="96418">1</cx:pt>
          <cx:pt idx="96419">1</cx:pt>
          <cx:pt idx="96420">0</cx:pt>
          <cx:pt idx="96421">1</cx:pt>
          <cx:pt idx="96422">1</cx:pt>
          <cx:pt idx="96423">1</cx:pt>
          <cx:pt idx="96424">0</cx:pt>
          <cx:pt idx="96425">1</cx:pt>
          <cx:pt idx="96426">1</cx:pt>
          <cx:pt idx="96427">1</cx:pt>
          <cx:pt idx="96428">0</cx:pt>
          <cx:pt idx="96429">0</cx:pt>
          <cx:pt idx="96430">0</cx:pt>
          <cx:pt idx="96431">0</cx:pt>
          <cx:pt idx="96432">1</cx:pt>
          <cx:pt idx="96433">1</cx:pt>
          <cx:pt idx="96434">0</cx:pt>
          <cx:pt idx="96435">0</cx:pt>
          <cx:pt idx="96436">0</cx:pt>
          <cx:pt idx="96437">1</cx:pt>
          <cx:pt idx="96438">0</cx:pt>
          <cx:pt idx="96439">1</cx:pt>
          <cx:pt idx="96440">1</cx:pt>
          <cx:pt idx="96441">1</cx:pt>
          <cx:pt idx="96442">1</cx:pt>
          <cx:pt idx="96443">1</cx:pt>
          <cx:pt idx="96444">0</cx:pt>
          <cx:pt idx="96445">0</cx:pt>
          <cx:pt idx="96446">0</cx:pt>
          <cx:pt idx="96447">1</cx:pt>
          <cx:pt idx="96448">1</cx:pt>
          <cx:pt idx="96449">1</cx:pt>
          <cx:pt idx="96450">1</cx:pt>
          <cx:pt idx="96451">1</cx:pt>
          <cx:pt idx="96452">1</cx:pt>
          <cx:pt idx="96453">0</cx:pt>
          <cx:pt idx="96454">0</cx:pt>
          <cx:pt idx="96455">1</cx:pt>
          <cx:pt idx="96456">0</cx:pt>
          <cx:pt idx="96457">0</cx:pt>
          <cx:pt idx="96458">0</cx:pt>
          <cx:pt idx="96459">1</cx:pt>
          <cx:pt idx="96460">0</cx:pt>
          <cx:pt idx="96461">1</cx:pt>
          <cx:pt idx="96462">1</cx:pt>
          <cx:pt idx="96463">0</cx:pt>
          <cx:pt idx="96464">0</cx:pt>
          <cx:pt idx="96465">0</cx:pt>
          <cx:pt idx="96466">0</cx:pt>
          <cx:pt idx="96467">1</cx:pt>
          <cx:pt idx="96468">1</cx:pt>
          <cx:pt idx="96469">0</cx:pt>
          <cx:pt idx="96470">0</cx:pt>
          <cx:pt idx="96471">0</cx:pt>
          <cx:pt idx="96472">0</cx:pt>
          <cx:pt idx="96473">1</cx:pt>
          <cx:pt idx="96474">0</cx:pt>
          <cx:pt idx="96475">1</cx:pt>
          <cx:pt idx="96476">1</cx:pt>
          <cx:pt idx="96477">0</cx:pt>
          <cx:pt idx="96478">1</cx:pt>
          <cx:pt idx="96479">0</cx:pt>
          <cx:pt idx="96480">1</cx:pt>
          <cx:pt idx="96481">0</cx:pt>
          <cx:pt idx="96482">0</cx:pt>
          <cx:pt idx="96483">1</cx:pt>
          <cx:pt idx="96484">0</cx:pt>
          <cx:pt idx="96485">0</cx:pt>
          <cx:pt idx="96486">1</cx:pt>
          <cx:pt idx="96487">0</cx:pt>
          <cx:pt idx="96488">0</cx:pt>
          <cx:pt idx="96489">0</cx:pt>
          <cx:pt idx="96490">0</cx:pt>
          <cx:pt idx="96491">0</cx:pt>
          <cx:pt idx="96492">0</cx:pt>
          <cx:pt idx="96493">1</cx:pt>
          <cx:pt idx="96494">0</cx:pt>
          <cx:pt idx="96495">0</cx:pt>
          <cx:pt idx="96496">1</cx:pt>
          <cx:pt idx="96497">1</cx:pt>
          <cx:pt idx="96498">0</cx:pt>
          <cx:pt idx="96499">1</cx:pt>
          <cx:pt idx="96500">0</cx:pt>
          <cx:pt idx="96501">0</cx:pt>
          <cx:pt idx="96502">0</cx:pt>
          <cx:pt idx="96503">0</cx:pt>
          <cx:pt idx="96504">0</cx:pt>
          <cx:pt idx="96505">1</cx:pt>
          <cx:pt idx="96506">0</cx:pt>
          <cx:pt idx="96507">0</cx:pt>
          <cx:pt idx="96508">0</cx:pt>
          <cx:pt idx="96509">0</cx:pt>
          <cx:pt idx="96510">0</cx:pt>
          <cx:pt idx="96511">1</cx:pt>
          <cx:pt idx="96512">1</cx:pt>
          <cx:pt idx="96513">0</cx:pt>
          <cx:pt idx="96514">0</cx:pt>
          <cx:pt idx="96515">0</cx:pt>
          <cx:pt idx="96516">0</cx:pt>
          <cx:pt idx="96517">0</cx:pt>
          <cx:pt idx="96518">0</cx:pt>
          <cx:pt idx="96519">1</cx:pt>
          <cx:pt idx="96520">1</cx:pt>
          <cx:pt idx="96521">1</cx:pt>
          <cx:pt idx="96522">0</cx:pt>
          <cx:pt idx="96523">1</cx:pt>
          <cx:pt idx="96524">0</cx:pt>
          <cx:pt idx="96525">0</cx:pt>
          <cx:pt idx="96526">0</cx:pt>
          <cx:pt idx="96527">1</cx:pt>
          <cx:pt idx="96528">0</cx:pt>
          <cx:pt idx="96529">0</cx:pt>
          <cx:pt idx="96530">1</cx:pt>
          <cx:pt idx="96531">1</cx:pt>
          <cx:pt idx="96532">0</cx:pt>
          <cx:pt idx="96533">1</cx:pt>
          <cx:pt idx="96534">0</cx:pt>
          <cx:pt idx="96535">1</cx:pt>
          <cx:pt idx="96536">0</cx:pt>
          <cx:pt idx="96537">0</cx:pt>
          <cx:pt idx="96538">0</cx:pt>
          <cx:pt idx="96539">0</cx:pt>
          <cx:pt idx="96540">1</cx:pt>
          <cx:pt idx="96541">0</cx:pt>
          <cx:pt idx="96542">1</cx:pt>
          <cx:pt idx="96543">1</cx:pt>
          <cx:pt idx="96544">0</cx:pt>
          <cx:pt idx="96545">1</cx:pt>
          <cx:pt idx="96546">0</cx:pt>
          <cx:pt idx="96547">1</cx:pt>
          <cx:pt idx="96548">1</cx:pt>
          <cx:pt idx="96549">0</cx:pt>
          <cx:pt idx="96550">1</cx:pt>
          <cx:pt idx="96551">1</cx:pt>
          <cx:pt idx="96552">1</cx:pt>
          <cx:pt idx="96553">0</cx:pt>
          <cx:pt idx="96554">0</cx:pt>
          <cx:pt idx="96555">0</cx:pt>
          <cx:pt idx="96556">0</cx:pt>
          <cx:pt idx="96557">0</cx:pt>
          <cx:pt idx="96558">0</cx:pt>
          <cx:pt idx="96559">0</cx:pt>
          <cx:pt idx="96560">1</cx:pt>
          <cx:pt idx="96561">1</cx:pt>
          <cx:pt idx="96562">1</cx:pt>
          <cx:pt idx="96563">1</cx:pt>
          <cx:pt idx="96564">1</cx:pt>
          <cx:pt idx="96565">1</cx:pt>
          <cx:pt idx="96566">1</cx:pt>
          <cx:pt idx="96567">0</cx:pt>
          <cx:pt idx="96568">0</cx:pt>
          <cx:pt idx="96569">0</cx:pt>
          <cx:pt idx="96570">1</cx:pt>
          <cx:pt idx="96571">0</cx:pt>
          <cx:pt idx="96572">1</cx:pt>
          <cx:pt idx="96573">0</cx:pt>
          <cx:pt idx="96574">1</cx:pt>
          <cx:pt idx="96575">0</cx:pt>
          <cx:pt idx="96576">0</cx:pt>
          <cx:pt idx="96577">1</cx:pt>
          <cx:pt idx="96578">1</cx:pt>
          <cx:pt idx="96579">0</cx:pt>
          <cx:pt idx="96580">1</cx:pt>
          <cx:pt idx="96581">0</cx:pt>
          <cx:pt idx="96582">1</cx:pt>
          <cx:pt idx="96583">0</cx:pt>
          <cx:pt idx="96584">0</cx:pt>
          <cx:pt idx="96585">1</cx:pt>
          <cx:pt idx="96586">0</cx:pt>
          <cx:pt idx="96587">1</cx:pt>
          <cx:pt idx="96588">1</cx:pt>
          <cx:pt idx="96589">0</cx:pt>
          <cx:pt idx="96590">0</cx:pt>
          <cx:pt idx="96591">0</cx:pt>
          <cx:pt idx="96592">1</cx:pt>
          <cx:pt idx="96593">1</cx:pt>
          <cx:pt idx="96594">0</cx:pt>
          <cx:pt idx="96595">1</cx:pt>
          <cx:pt idx="96596">1</cx:pt>
          <cx:pt idx="96597">0</cx:pt>
          <cx:pt idx="96598">0</cx:pt>
          <cx:pt idx="96599">0</cx:pt>
          <cx:pt idx="96600">0</cx:pt>
          <cx:pt idx="96601">0</cx:pt>
          <cx:pt idx="96602">1</cx:pt>
          <cx:pt idx="96603">0</cx:pt>
          <cx:pt idx="96604">0</cx:pt>
          <cx:pt idx="96605">0</cx:pt>
          <cx:pt idx="96606">0</cx:pt>
          <cx:pt idx="96607">0</cx:pt>
          <cx:pt idx="96608">1</cx:pt>
          <cx:pt idx="96609">0</cx:pt>
          <cx:pt idx="96610">0</cx:pt>
          <cx:pt idx="96611">1</cx:pt>
          <cx:pt idx="96612">0</cx:pt>
          <cx:pt idx="96613">0</cx:pt>
          <cx:pt idx="96614">0</cx:pt>
          <cx:pt idx="96615">0</cx:pt>
          <cx:pt idx="96616">0</cx:pt>
          <cx:pt idx="96617">1</cx:pt>
          <cx:pt idx="96618">0</cx:pt>
          <cx:pt idx="96619">0</cx:pt>
          <cx:pt idx="96620">0</cx:pt>
          <cx:pt idx="96621">1</cx:pt>
          <cx:pt idx="96622">0</cx:pt>
          <cx:pt idx="96623">0</cx:pt>
          <cx:pt idx="96624">1</cx:pt>
          <cx:pt idx="96625">1</cx:pt>
          <cx:pt idx="96626">1</cx:pt>
          <cx:pt idx="96627">1</cx:pt>
          <cx:pt idx="96628">1</cx:pt>
          <cx:pt idx="96629">1</cx:pt>
          <cx:pt idx="96630">1</cx:pt>
          <cx:pt idx="96631">0</cx:pt>
          <cx:pt idx="96632">1</cx:pt>
          <cx:pt idx="96633">0</cx:pt>
          <cx:pt idx="96634">1</cx:pt>
          <cx:pt idx="96635">1</cx:pt>
          <cx:pt idx="96636">1</cx:pt>
          <cx:pt idx="96637">1</cx:pt>
          <cx:pt idx="96638">0</cx:pt>
          <cx:pt idx="96639">0</cx:pt>
          <cx:pt idx="96640">1</cx:pt>
          <cx:pt idx="96641">1</cx:pt>
          <cx:pt idx="96642">0</cx:pt>
          <cx:pt idx="96643">0</cx:pt>
          <cx:pt idx="96644">0</cx:pt>
          <cx:pt idx="96645">1</cx:pt>
          <cx:pt idx="96646">1</cx:pt>
          <cx:pt idx="96647">0</cx:pt>
          <cx:pt idx="96648">1</cx:pt>
          <cx:pt idx="96649">1</cx:pt>
          <cx:pt idx="96650">0</cx:pt>
          <cx:pt idx="96651">0</cx:pt>
          <cx:pt idx="96652">0</cx:pt>
          <cx:pt idx="96653">0</cx:pt>
          <cx:pt idx="96654">0</cx:pt>
          <cx:pt idx="96655">0</cx:pt>
          <cx:pt idx="96656">1</cx:pt>
          <cx:pt idx="96657">0</cx:pt>
          <cx:pt idx="96658">0</cx:pt>
          <cx:pt idx="96659">0</cx:pt>
          <cx:pt idx="96660">0</cx:pt>
          <cx:pt idx="96661">0</cx:pt>
          <cx:pt idx="96662">1</cx:pt>
          <cx:pt idx="96663">0</cx:pt>
          <cx:pt idx="96664">0</cx:pt>
          <cx:pt idx="96665">1</cx:pt>
          <cx:pt idx="96666">0</cx:pt>
          <cx:pt idx="96667">1</cx:pt>
          <cx:pt idx="96668">1</cx:pt>
          <cx:pt idx="96669">0</cx:pt>
          <cx:pt idx="96670">1</cx:pt>
          <cx:pt idx="96671">1</cx:pt>
          <cx:pt idx="96672">1</cx:pt>
          <cx:pt idx="96673">0</cx:pt>
          <cx:pt idx="96674">0</cx:pt>
          <cx:pt idx="96675">1</cx:pt>
          <cx:pt idx="96676">1</cx:pt>
          <cx:pt idx="96677">0</cx:pt>
          <cx:pt idx="96678">1</cx:pt>
          <cx:pt idx="96679">0</cx:pt>
          <cx:pt idx="96680">0</cx:pt>
          <cx:pt idx="96681">1</cx:pt>
          <cx:pt idx="96682">0</cx:pt>
          <cx:pt idx="96683">0</cx:pt>
          <cx:pt idx="96684">1</cx:pt>
          <cx:pt idx="96685">1</cx:pt>
          <cx:pt idx="96686">1</cx:pt>
          <cx:pt idx="96687">1</cx:pt>
          <cx:pt idx="96688">0</cx:pt>
          <cx:pt idx="96689">0</cx:pt>
          <cx:pt idx="96690">0</cx:pt>
          <cx:pt idx="96691">0</cx:pt>
          <cx:pt idx="96692">1</cx:pt>
          <cx:pt idx="96693">1</cx:pt>
          <cx:pt idx="96694">1</cx:pt>
          <cx:pt idx="96695">0</cx:pt>
          <cx:pt idx="96696">0</cx:pt>
          <cx:pt idx="96697">1</cx:pt>
          <cx:pt idx="96698">1</cx:pt>
          <cx:pt idx="96699">0</cx:pt>
          <cx:pt idx="96700">0</cx:pt>
          <cx:pt idx="96701">0</cx:pt>
          <cx:pt idx="96702">1</cx:pt>
          <cx:pt idx="96703">0</cx:pt>
          <cx:pt idx="96704">0</cx:pt>
          <cx:pt idx="96705">0</cx:pt>
          <cx:pt idx="96706">0</cx:pt>
          <cx:pt idx="96707">0</cx:pt>
          <cx:pt idx="96708">0</cx:pt>
          <cx:pt idx="96709">0</cx:pt>
          <cx:pt idx="96710">1</cx:pt>
          <cx:pt idx="96711">0</cx:pt>
          <cx:pt idx="96712">1</cx:pt>
          <cx:pt idx="96713">1</cx:pt>
          <cx:pt idx="96714">1</cx:pt>
          <cx:pt idx="96715">1</cx:pt>
          <cx:pt idx="96716">0</cx:pt>
          <cx:pt idx="96717">1</cx:pt>
          <cx:pt idx="96718">0</cx:pt>
          <cx:pt idx="96719">1</cx:pt>
          <cx:pt idx="96720">1</cx:pt>
          <cx:pt idx="96721">1</cx:pt>
          <cx:pt idx="96722">1</cx:pt>
          <cx:pt idx="96723">0</cx:pt>
          <cx:pt idx="96724">1</cx:pt>
          <cx:pt idx="96725">1</cx:pt>
          <cx:pt idx="96726">0</cx:pt>
          <cx:pt idx="96727">1</cx:pt>
          <cx:pt idx="96728">1</cx:pt>
          <cx:pt idx="96729">0</cx:pt>
          <cx:pt idx="96730">0</cx:pt>
          <cx:pt idx="96731">0</cx:pt>
          <cx:pt idx="96732">1</cx:pt>
          <cx:pt idx="96733">1</cx:pt>
          <cx:pt idx="96734">1</cx:pt>
          <cx:pt idx="96735">0</cx:pt>
          <cx:pt idx="96736">0</cx:pt>
          <cx:pt idx="96737">0</cx:pt>
          <cx:pt idx="96738">0</cx:pt>
          <cx:pt idx="96739">1</cx:pt>
          <cx:pt idx="96740">1</cx:pt>
          <cx:pt idx="96741">0</cx:pt>
          <cx:pt idx="96742">0</cx:pt>
          <cx:pt idx="96743">0</cx:pt>
          <cx:pt idx="96744">0</cx:pt>
          <cx:pt idx="96745">0</cx:pt>
          <cx:pt idx="96746">1</cx:pt>
          <cx:pt idx="96747">1</cx:pt>
          <cx:pt idx="96748">0</cx:pt>
          <cx:pt idx="96749">0</cx:pt>
          <cx:pt idx="96750">1</cx:pt>
          <cx:pt idx="96751">1</cx:pt>
          <cx:pt idx="96752">0</cx:pt>
          <cx:pt idx="96753">1</cx:pt>
          <cx:pt idx="96754">0</cx:pt>
          <cx:pt idx="96755">0</cx:pt>
          <cx:pt idx="96756">1</cx:pt>
          <cx:pt idx="96757">0</cx:pt>
          <cx:pt idx="96758">1</cx:pt>
          <cx:pt idx="96759">1</cx:pt>
          <cx:pt idx="96760">1</cx:pt>
          <cx:pt idx="96761">1</cx:pt>
          <cx:pt idx="96762">0</cx:pt>
          <cx:pt idx="96763">0</cx:pt>
          <cx:pt idx="96764">0</cx:pt>
          <cx:pt idx="96765">1</cx:pt>
          <cx:pt idx="96766">0</cx:pt>
          <cx:pt idx="96767">1</cx:pt>
          <cx:pt idx="96768">0</cx:pt>
          <cx:pt idx="96769">1</cx:pt>
          <cx:pt idx="96770">1</cx:pt>
          <cx:pt idx="96771">0</cx:pt>
          <cx:pt idx="96772">0</cx:pt>
          <cx:pt idx="96773">1</cx:pt>
          <cx:pt idx="96774">0</cx:pt>
          <cx:pt idx="96775">0</cx:pt>
          <cx:pt idx="96776">0</cx:pt>
          <cx:pt idx="96777">0</cx:pt>
          <cx:pt idx="96778">1</cx:pt>
          <cx:pt idx="96779">0</cx:pt>
          <cx:pt idx="96780">0</cx:pt>
          <cx:pt idx="96781">1</cx:pt>
          <cx:pt idx="96782">1</cx:pt>
          <cx:pt idx="96783">0</cx:pt>
          <cx:pt idx="96784">1</cx:pt>
          <cx:pt idx="96785">1</cx:pt>
          <cx:pt idx="96786">0</cx:pt>
          <cx:pt idx="96787">1</cx:pt>
          <cx:pt idx="96788">1</cx:pt>
          <cx:pt idx="96789">0</cx:pt>
          <cx:pt idx="96790">1</cx:pt>
          <cx:pt idx="96791">0</cx:pt>
          <cx:pt idx="96792">0</cx:pt>
          <cx:pt idx="96793">1</cx:pt>
          <cx:pt idx="96794">0</cx:pt>
          <cx:pt idx="96795">0</cx:pt>
          <cx:pt idx="96796">0</cx:pt>
          <cx:pt idx="96797">0</cx:pt>
          <cx:pt idx="96798">1</cx:pt>
          <cx:pt idx="96799">1</cx:pt>
          <cx:pt idx="96800">0</cx:pt>
          <cx:pt idx="96801">1</cx:pt>
          <cx:pt idx="96802">0</cx:pt>
          <cx:pt idx="96803">1</cx:pt>
          <cx:pt idx="96804">1</cx:pt>
          <cx:pt idx="96805">0</cx:pt>
          <cx:pt idx="96806">1</cx:pt>
          <cx:pt idx="96807">1</cx:pt>
          <cx:pt idx="96808">0</cx:pt>
          <cx:pt idx="96809">1</cx:pt>
          <cx:pt idx="96810">1</cx:pt>
          <cx:pt idx="96811">1</cx:pt>
          <cx:pt idx="96812">1</cx:pt>
          <cx:pt idx="96813">1</cx:pt>
          <cx:pt idx="96814">0</cx:pt>
          <cx:pt idx="96815">0</cx:pt>
          <cx:pt idx="96816">1</cx:pt>
          <cx:pt idx="96817">0</cx:pt>
          <cx:pt idx="96818">0</cx:pt>
          <cx:pt idx="96819">0</cx:pt>
          <cx:pt idx="96820">1</cx:pt>
          <cx:pt idx="96821">1</cx:pt>
          <cx:pt idx="96822">0</cx:pt>
          <cx:pt idx="96823">0</cx:pt>
          <cx:pt idx="96824">0</cx:pt>
          <cx:pt idx="96825">1</cx:pt>
          <cx:pt idx="96826">0</cx:pt>
          <cx:pt idx="96827">0</cx:pt>
          <cx:pt idx="96828">1</cx:pt>
          <cx:pt idx="96829">0</cx:pt>
          <cx:pt idx="96830">1</cx:pt>
          <cx:pt idx="96831">0</cx:pt>
          <cx:pt idx="96832">0</cx:pt>
          <cx:pt idx="96833">1</cx:pt>
          <cx:pt idx="96834">0</cx:pt>
          <cx:pt idx="96835">1</cx:pt>
          <cx:pt idx="96836">1</cx:pt>
          <cx:pt idx="96837">0</cx:pt>
          <cx:pt idx="96838">0</cx:pt>
          <cx:pt idx="96839">0</cx:pt>
          <cx:pt idx="96840">0</cx:pt>
          <cx:pt idx="96841">1</cx:pt>
          <cx:pt idx="96842">0</cx:pt>
          <cx:pt idx="96843">0</cx:pt>
          <cx:pt idx="96844">1</cx:pt>
          <cx:pt idx="96845">0</cx:pt>
          <cx:pt idx="96846">0</cx:pt>
          <cx:pt idx="96847">0</cx:pt>
          <cx:pt idx="96848">1</cx:pt>
          <cx:pt idx="96849">1</cx:pt>
          <cx:pt idx="96850">0</cx:pt>
          <cx:pt idx="96851">0</cx:pt>
          <cx:pt idx="96852">0</cx:pt>
          <cx:pt idx="96853">1</cx:pt>
          <cx:pt idx="96854">0</cx:pt>
          <cx:pt idx="96855">0</cx:pt>
          <cx:pt idx="96856">0</cx:pt>
          <cx:pt idx="96857">0</cx:pt>
          <cx:pt idx="96858">0</cx:pt>
          <cx:pt idx="96859">1</cx:pt>
          <cx:pt idx="96860">1</cx:pt>
          <cx:pt idx="96861">1</cx:pt>
          <cx:pt idx="96862">0</cx:pt>
          <cx:pt idx="96863">0</cx:pt>
          <cx:pt idx="96864">1</cx:pt>
          <cx:pt idx="96865">1</cx:pt>
          <cx:pt idx="96866">0</cx:pt>
          <cx:pt idx="96867">0</cx:pt>
          <cx:pt idx="96868">0</cx:pt>
          <cx:pt idx="96869">1</cx:pt>
          <cx:pt idx="96870">1</cx:pt>
          <cx:pt idx="96871">0</cx:pt>
          <cx:pt idx="96872">0</cx:pt>
          <cx:pt idx="96873">1</cx:pt>
          <cx:pt idx="96874">1</cx:pt>
          <cx:pt idx="96875">1</cx:pt>
          <cx:pt idx="96876">1</cx:pt>
          <cx:pt idx="96877">0</cx:pt>
          <cx:pt idx="96878">0</cx:pt>
          <cx:pt idx="96879">0</cx:pt>
          <cx:pt idx="96880">1</cx:pt>
          <cx:pt idx="96881">0</cx:pt>
          <cx:pt idx="96882">0</cx:pt>
          <cx:pt idx="96883">0</cx:pt>
          <cx:pt idx="96884">1</cx:pt>
          <cx:pt idx="96885">0</cx:pt>
          <cx:pt idx="96886">0</cx:pt>
          <cx:pt idx="96887">1</cx:pt>
          <cx:pt idx="96888">0</cx:pt>
          <cx:pt idx="96889">1</cx:pt>
          <cx:pt idx="96890">1</cx:pt>
          <cx:pt idx="96891">1</cx:pt>
          <cx:pt idx="96892">1</cx:pt>
          <cx:pt idx="96893">0</cx:pt>
          <cx:pt idx="96894">1</cx:pt>
          <cx:pt idx="96895">1</cx:pt>
          <cx:pt idx="96896">0</cx:pt>
          <cx:pt idx="96897">0</cx:pt>
          <cx:pt idx="96898">1</cx:pt>
          <cx:pt idx="96899">0</cx:pt>
          <cx:pt idx="96900">0</cx:pt>
          <cx:pt idx="96901">0</cx:pt>
          <cx:pt idx="96902">0</cx:pt>
          <cx:pt idx="96903">0</cx:pt>
          <cx:pt idx="96904">0</cx:pt>
          <cx:pt idx="96905">1</cx:pt>
          <cx:pt idx="96906">0</cx:pt>
          <cx:pt idx="96907">0</cx:pt>
          <cx:pt idx="96908">1</cx:pt>
          <cx:pt idx="96909">0</cx:pt>
          <cx:pt idx="96910">1</cx:pt>
          <cx:pt idx="96911">0</cx:pt>
          <cx:pt idx="96912">0</cx:pt>
          <cx:pt idx="96913">0</cx:pt>
          <cx:pt idx="96914">1</cx:pt>
          <cx:pt idx="96915">0</cx:pt>
          <cx:pt idx="96916">0</cx:pt>
          <cx:pt idx="96917">1</cx:pt>
          <cx:pt idx="96918">1</cx:pt>
          <cx:pt idx="96919">1</cx:pt>
          <cx:pt idx="96920">0</cx:pt>
          <cx:pt idx="96921">1</cx:pt>
          <cx:pt idx="96922">0</cx:pt>
          <cx:pt idx="96923">1</cx:pt>
          <cx:pt idx="96924">0</cx:pt>
          <cx:pt idx="96925">1</cx:pt>
          <cx:pt idx="96926">0</cx:pt>
          <cx:pt idx="96927">1</cx:pt>
          <cx:pt idx="96928">0</cx:pt>
          <cx:pt idx="96929">1</cx:pt>
          <cx:pt idx="96930">1</cx:pt>
          <cx:pt idx="96931">0</cx:pt>
          <cx:pt idx="96932">1</cx:pt>
          <cx:pt idx="96933">0</cx:pt>
          <cx:pt idx="96934">1</cx:pt>
          <cx:pt idx="96935">0</cx:pt>
          <cx:pt idx="96936">1</cx:pt>
          <cx:pt idx="96937">1</cx:pt>
          <cx:pt idx="96938">0</cx:pt>
          <cx:pt idx="96939">1</cx:pt>
          <cx:pt idx="96940">0</cx:pt>
          <cx:pt idx="96941">0</cx:pt>
          <cx:pt idx="96942">0</cx:pt>
          <cx:pt idx="96943">0</cx:pt>
          <cx:pt idx="96944">0</cx:pt>
          <cx:pt idx="96945">0</cx:pt>
          <cx:pt idx="96946">0</cx:pt>
          <cx:pt idx="96947">1</cx:pt>
          <cx:pt idx="96948">0</cx:pt>
          <cx:pt idx="96949">1</cx:pt>
          <cx:pt idx="96950">1</cx:pt>
          <cx:pt idx="96951">0</cx:pt>
          <cx:pt idx="96952">1</cx:pt>
          <cx:pt idx="96953">0</cx:pt>
          <cx:pt idx="96954">0</cx:pt>
          <cx:pt idx="96955">1</cx:pt>
          <cx:pt idx="96956">1</cx:pt>
          <cx:pt idx="96957">1</cx:pt>
          <cx:pt idx="96958">1</cx:pt>
          <cx:pt idx="96959">1</cx:pt>
          <cx:pt idx="96960">1</cx:pt>
          <cx:pt idx="96961">1</cx:pt>
          <cx:pt idx="96962">0</cx:pt>
          <cx:pt idx="96963">1</cx:pt>
          <cx:pt idx="96964">1</cx:pt>
          <cx:pt idx="96965">1</cx:pt>
          <cx:pt idx="96966">0</cx:pt>
          <cx:pt idx="96967">1</cx:pt>
          <cx:pt idx="96968">0</cx:pt>
          <cx:pt idx="96969">0</cx:pt>
          <cx:pt idx="96970">0</cx:pt>
          <cx:pt idx="96971">0</cx:pt>
          <cx:pt idx="96972">1</cx:pt>
          <cx:pt idx="96973">1</cx:pt>
          <cx:pt idx="96974">0</cx:pt>
          <cx:pt idx="96975">1</cx:pt>
          <cx:pt idx="96976">0</cx:pt>
          <cx:pt idx="96977">0</cx:pt>
          <cx:pt idx="96978">0</cx:pt>
          <cx:pt idx="96979">1</cx:pt>
          <cx:pt idx="96980">1</cx:pt>
          <cx:pt idx="96981">0</cx:pt>
          <cx:pt idx="96982">1</cx:pt>
          <cx:pt idx="96983">0</cx:pt>
          <cx:pt idx="96984">1</cx:pt>
          <cx:pt idx="96985">0</cx:pt>
          <cx:pt idx="96986">1</cx:pt>
          <cx:pt idx="96987">1</cx:pt>
          <cx:pt idx="96988">1</cx:pt>
          <cx:pt idx="96989">1</cx:pt>
          <cx:pt idx="96990">0</cx:pt>
          <cx:pt idx="96991">1</cx:pt>
          <cx:pt idx="96992">1</cx:pt>
          <cx:pt idx="96993">0</cx:pt>
          <cx:pt idx="96994">0</cx:pt>
          <cx:pt idx="96995">0</cx:pt>
          <cx:pt idx="96996">1</cx:pt>
          <cx:pt idx="96997">1</cx:pt>
          <cx:pt idx="96998">0</cx:pt>
          <cx:pt idx="96999">0</cx:pt>
          <cx:pt idx="97000">0</cx:pt>
          <cx:pt idx="97001">0</cx:pt>
          <cx:pt idx="97002">0</cx:pt>
          <cx:pt idx="97003">1</cx:pt>
          <cx:pt idx="97004">0</cx:pt>
          <cx:pt idx="97005">0</cx:pt>
          <cx:pt idx="97006">0</cx:pt>
          <cx:pt idx="97007">1</cx:pt>
          <cx:pt idx="97008">0</cx:pt>
          <cx:pt idx="97009">1</cx:pt>
          <cx:pt idx="97010">1</cx:pt>
          <cx:pt idx="97011">1</cx:pt>
          <cx:pt idx="97012">1</cx:pt>
          <cx:pt idx="97013">1</cx:pt>
          <cx:pt idx="97014">1</cx:pt>
          <cx:pt idx="97015">1</cx:pt>
          <cx:pt idx="97016">1</cx:pt>
          <cx:pt idx="97017">0</cx:pt>
          <cx:pt idx="97018">0</cx:pt>
          <cx:pt idx="97019">1</cx:pt>
          <cx:pt idx="97020">0</cx:pt>
          <cx:pt idx="97021">1</cx:pt>
          <cx:pt idx="97022">1</cx:pt>
          <cx:pt idx="97023">0</cx:pt>
          <cx:pt idx="97024">1</cx:pt>
          <cx:pt idx="97025">0</cx:pt>
          <cx:pt idx="97026">0</cx:pt>
          <cx:pt idx="97027">0</cx:pt>
          <cx:pt idx="97028">1</cx:pt>
          <cx:pt idx="97029">1</cx:pt>
          <cx:pt idx="97030">0</cx:pt>
          <cx:pt idx="97031">0</cx:pt>
          <cx:pt idx="97032">1</cx:pt>
          <cx:pt idx="97033">1</cx:pt>
          <cx:pt idx="97034">1</cx:pt>
          <cx:pt idx="97035">0</cx:pt>
          <cx:pt idx="97036">1</cx:pt>
          <cx:pt idx="97037">1</cx:pt>
          <cx:pt idx="97038">0</cx:pt>
          <cx:pt idx="97039">0</cx:pt>
          <cx:pt idx="97040">0</cx:pt>
          <cx:pt idx="97041">0</cx:pt>
          <cx:pt idx="97042">1</cx:pt>
          <cx:pt idx="97043">0</cx:pt>
          <cx:pt idx="97044">0</cx:pt>
          <cx:pt idx="97045">0</cx:pt>
          <cx:pt idx="97046">1</cx:pt>
          <cx:pt idx="97047">1</cx:pt>
          <cx:pt idx="97048">1</cx:pt>
          <cx:pt idx="97049">1</cx:pt>
          <cx:pt idx="97050">1</cx:pt>
          <cx:pt idx="97051">1</cx:pt>
          <cx:pt idx="97052">0</cx:pt>
          <cx:pt idx="97053">0</cx:pt>
          <cx:pt idx="97054">1</cx:pt>
          <cx:pt idx="97055">0</cx:pt>
          <cx:pt idx="97056">0</cx:pt>
          <cx:pt idx="97057">1</cx:pt>
          <cx:pt idx="97058">0</cx:pt>
          <cx:pt idx="97059">0</cx:pt>
          <cx:pt idx="97060">1</cx:pt>
          <cx:pt idx="97061">0</cx:pt>
          <cx:pt idx="97062">0</cx:pt>
          <cx:pt idx="97063">1</cx:pt>
          <cx:pt idx="97064">0</cx:pt>
          <cx:pt idx="97065">1</cx:pt>
          <cx:pt idx="97066">0</cx:pt>
          <cx:pt idx="97067">0</cx:pt>
          <cx:pt idx="97068">1</cx:pt>
          <cx:pt idx="97069">0</cx:pt>
          <cx:pt idx="97070">0</cx:pt>
          <cx:pt idx="97071">0</cx:pt>
          <cx:pt idx="97072">1</cx:pt>
          <cx:pt idx="97073">0</cx:pt>
          <cx:pt idx="97074">1</cx:pt>
          <cx:pt idx="97075">1</cx:pt>
          <cx:pt idx="97076">0</cx:pt>
          <cx:pt idx="97077">0</cx:pt>
          <cx:pt idx="97078">0</cx:pt>
          <cx:pt idx="97079">0</cx:pt>
          <cx:pt idx="97080">0</cx:pt>
          <cx:pt idx="97081">0</cx:pt>
          <cx:pt idx="97082">0</cx:pt>
          <cx:pt idx="97083">0</cx:pt>
          <cx:pt idx="97084">1</cx:pt>
          <cx:pt idx="97085">0</cx:pt>
          <cx:pt idx="97086">0</cx:pt>
          <cx:pt idx="97087">0</cx:pt>
          <cx:pt idx="97088">0</cx:pt>
          <cx:pt idx="97089">0</cx:pt>
          <cx:pt idx="97090">1</cx:pt>
          <cx:pt idx="97091">1</cx:pt>
          <cx:pt idx="97092">1</cx:pt>
          <cx:pt idx="97093">1</cx:pt>
          <cx:pt idx="97094">0</cx:pt>
          <cx:pt idx="97095">0</cx:pt>
          <cx:pt idx="97096">1</cx:pt>
          <cx:pt idx="97097">0</cx:pt>
          <cx:pt idx="97098">0</cx:pt>
          <cx:pt idx="97099">0</cx:pt>
          <cx:pt idx="97100">1</cx:pt>
          <cx:pt idx="97101">1</cx:pt>
          <cx:pt idx="97102">1</cx:pt>
          <cx:pt idx="97103">0</cx:pt>
          <cx:pt idx="97104">0</cx:pt>
          <cx:pt idx="97105">1</cx:pt>
          <cx:pt idx="97106">1</cx:pt>
          <cx:pt idx="97107">1</cx:pt>
          <cx:pt idx="97108">1</cx:pt>
          <cx:pt idx="97109">1</cx:pt>
          <cx:pt idx="97110">0</cx:pt>
          <cx:pt idx="97111">0</cx:pt>
          <cx:pt idx="97112">1</cx:pt>
          <cx:pt idx="97113">0</cx:pt>
          <cx:pt idx="97114">0</cx:pt>
          <cx:pt idx="97115">0</cx:pt>
          <cx:pt idx="97116">0</cx:pt>
          <cx:pt idx="97117">1</cx:pt>
          <cx:pt idx="97118">1</cx:pt>
          <cx:pt idx="97119">1</cx:pt>
          <cx:pt idx="97120">1</cx:pt>
          <cx:pt idx="97121">1</cx:pt>
          <cx:pt idx="97122">0</cx:pt>
          <cx:pt idx="97123">1</cx:pt>
          <cx:pt idx="97124">1</cx:pt>
          <cx:pt idx="97125">1</cx:pt>
          <cx:pt idx="97126">0</cx:pt>
          <cx:pt idx="97127">0</cx:pt>
          <cx:pt idx="97128">0</cx:pt>
          <cx:pt idx="97129">1</cx:pt>
          <cx:pt idx="97130">1</cx:pt>
          <cx:pt idx="97131">1</cx:pt>
          <cx:pt idx="97132">0</cx:pt>
          <cx:pt idx="97133">0</cx:pt>
          <cx:pt idx="97134">0</cx:pt>
          <cx:pt idx="97135">0</cx:pt>
          <cx:pt idx="97136">0</cx:pt>
          <cx:pt idx="97137">1</cx:pt>
          <cx:pt idx="97138">1</cx:pt>
          <cx:pt idx="97139">1</cx:pt>
          <cx:pt idx="97140">0</cx:pt>
          <cx:pt idx="97141">0</cx:pt>
          <cx:pt idx="97142">1</cx:pt>
          <cx:pt idx="97143">0</cx:pt>
          <cx:pt idx="97144">1</cx:pt>
          <cx:pt idx="97145">1</cx:pt>
          <cx:pt idx="97146">0</cx:pt>
          <cx:pt idx="97147">0</cx:pt>
          <cx:pt idx="97148">0</cx:pt>
          <cx:pt idx="97149">1</cx:pt>
          <cx:pt idx="97150">1</cx:pt>
          <cx:pt idx="97151">0</cx:pt>
          <cx:pt idx="97152">0</cx:pt>
          <cx:pt idx="97153">0</cx:pt>
          <cx:pt idx="97154">0</cx:pt>
          <cx:pt idx="97155">0</cx:pt>
          <cx:pt idx="97156">0</cx:pt>
          <cx:pt idx="97157">1</cx:pt>
          <cx:pt idx="97158">1</cx:pt>
          <cx:pt idx="97159">0</cx:pt>
          <cx:pt idx="97160">0</cx:pt>
          <cx:pt idx="97161">1</cx:pt>
          <cx:pt idx="97162">0</cx:pt>
          <cx:pt idx="97163">1</cx:pt>
          <cx:pt idx="97164">0</cx:pt>
          <cx:pt idx="97165">0</cx:pt>
          <cx:pt idx="97166">1</cx:pt>
          <cx:pt idx="97167">1</cx:pt>
          <cx:pt idx="97168">1</cx:pt>
          <cx:pt idx="97169">1</cx:pt>
          <cx:pt idx="97170">0</cx:pt>
          <cx:pt idx="97171">0</cx:pt>
          <cx:pt idx="97172">1</cx:pt>
          <cx:pt idx="97173">1</cx:pt>
          <cx:pt idx="97174">1</cx:pt>
          <cx:pt idx="97175">1</cx:pt>
          <cx:pt idx="97176">1</cx:pt>
          <cx:pt idx="97177">0</cx:pt>
          <cx:pt idx="97178">1</cx:pt>
          <cx:pt idx="97179">1</cx:pt>
          <cx:pt idx="97180">1</cx:pt>
          <cx:pt idx="97181">1</cx:pt>
          <cx:pt idx="97182">0</cx:pt>
          <cx:pt idx="97183">0</cx:pt>
          <cx:pt idx="97184">1</cx:pt>
          <cx:pt idx="97185">0</cx:pt>
          <cx:pt idx="97186">0</cx:pt>
          <cx:pt idx="97187">1</cx:pt>
          <cx:pt idx="97188">1</cx:pt>
          <cx:pt idx="97189">0</cx:pt>
          <cx:pt idx="97190">1</cx:pt>
          <cx:pt idx="97191">0</cx:pt>
          <cx:pt idx="97192">0</cx:pt>
          <cx:pt idx="97193">0</cx:pt>
          <cx:pt idx="97194">0</cx:pt>
          <cx:pt idx="97195">0</cx:pt>
          <cx:pt idx="97196">0</cx:pt>
          <cx:pt idx="97197">1</cx:pt>
          <cx:pt idx="97198">0</cx:pt>
          <cx:pt idx="97199">1</cx:pt>
          <cx:pt idx="97200">1</cx:pt>
          <cx:pt idx="97201">0</cx:pt>
          <cx:pt idx="97202">0</cx:pt>
          <cx:pt idx="97203">0</cx:pt>
          <cx:pt idx="97204">1</cx:pt>
          <cx:pt idx="97205">0</cx:pt>
          <cx:pt idx="97206">0</cx:pt>
          <cx:pt idx="97207">0</cx:pt>
          <cx:pt idx="97208">1</cx:pt>
          <cx:pt idx="97209">0</cx:pt>
          <cx:pt idx="97210">0</cx:pt>
          <cx:pt idx="97211">0</cx:pt>
          <cx:pt idx="97212">0</cx:pt>
          <cx:pt idx="97213">1</cx:pt>
          <cx:pt idx="97214">0</cx:pt>
          <cx:pt idx="97215">0</cx:pt>
          <cx:pt idx="97216">0</cx:pt>
          <cx:pt idx="97217">0</cx:pt>
          <cx:pt idx="97218">1</cx:pt>
          <cx:pt idx="97219">0</cx:pt>
          <cx:pt idx="97220">0</cx:pt>
          <cx:pt idx="97221">1</cx:pt>
          <cx:pt idx="97222">1</cx:pt>
          <cx:pt idx="97223">0</cx:pt>
          <cx:pt idx="97224">1</cx:pt>
          <cx:pt idx="97225">0</cx:pt>
          <cx:pt idx="97226">1</cx:pt>
          <cx:pt idx="97227">1</cx:pt>
          <cx:pt idx="97228">1</cx:pt>
          <cx:pt idx="97229">0</cx:pt>
          <cx:pt idx="97230">0</cx:pt>
          <cx:pt idx="97231">1</cx:pt>
          <cx:pt idx="97232">0</cx:pt>
          <cx:pt idx="97233">1</cx:pt>
          <cx:pt idx="97234">1</cx:pt>
          <cx:pt idx="97235">0</cx:pt>
          <cx:pt idx="97236">0</cx:pt>
          <cx:pt idx="97237">0</cx:pt>
          <cx:pt idx="97238">0</cx:pt>
          <cx:pt idx="97239">0</cx:pt>
          <cx:pt idx="97240">0</cx:pt>
          <cx:pt idx="97241">0</cx:pt>
          <cx:pt idx="97242">0</cx:pt>
          <cx:pt idx="97243">0</cx:pt>
          <cx:pt idx="97244">0</cx:pt>
          <cx:pt idx="97245">0</cx:pt>
          <cx:pt idx="97246">0</cx:pt>
          <cx:pt idx="97247">1</cx:pt>
          <cx:pt idx="97248">1</cx:pt>
          <cx:pt idx="97249">0</cx:pt>
          <cx:pt idx="97250">1</cx:pt>
          <cx:pt idx="97251">1</cx:pt>
          <cx:pt idx="97252">0</cx:pt>
          <cx:pt idx="97253">0</cx:pt>
          <cx:pt idx="97254">0</cx:pt>
          <cx:pt idx="97255">0</cx:pt>
          <cx:pt idx="97256">1</cx:pt>
          <cx:pt idx="97257">1</cx:pt>
          <cx:pt idx="97258">0</cx:pt>
          <cx:pt idx="97259">0</cx:pt>
          <cx:pt idx="97260">0</cx:pt>
          <cx:pt idx="97261">1</cx:pt>
          <cx:pt idx="97262">0</cx:pt>
          <cx:pt idx="97263">1</cx:pt>
          <cx:pt idx="97264">0</cx:pt>
          <cx:pt idx="97265">0</cx:pt>
          <cx:pt idx="97266">0</cx:pt>
          <cx:pt idx="97267">0</cx:pt>
          <cx:pt idx="97268">0</cx:pt>
          <cx:pt idx="97269">1</cx:pt>
          <cx:pt idx="97270">0</cx:pt>
          <cx:pt idx="97271">0</cx:pt>
          <cx:pt idx="97272">1</cx:pt>
          <cx:pt idx="97273">0</cx:pt>
          <cx:pt idx="97274">1</cx:pt>
          <cx:pt idx="97275">0</cx:pt>
          <cx:pt idx="97276">0</cx:pt>
          <cx:pt idx="97277">1</cx:pt>
          <cx:pt idx="97278">0</cx:pt>
          <cx:pt idx="97279">1</cx:pt>
          <cx:pt idx="97280">1</cx:pt>
          <cx:pt idx="97281">0</cx:pt>
          <cx:pt idx="97282">1</cx:pt>
          <cx:pt idx="97283">1</cx:pt>
          <cx:pt idx="97284">0</cx:pt>
          <cx:pt idx="97285">1</cx:pt>
          <cx:pt idx="97286">0</cx:pt>
          <cx:pt idx="97287">1</cx:pt>
          <cx:pt idx="97288">0</cx:pt>
          <cx:pt idx="97289">0</cx:pt>
          <cx:pt idx="97290">1</cx:pt>
          <cx:pt idx="97291">1</cx:pt>
          <cx:pt idx="97292">0</cx:pt>
          <cx:pt idx="97293">0</cx:pt>
          <cx:pt idx="97294">1</cx:pt>
          <cx:pt idx="97295">1</cx:pt>
          <cx:pt idx="97296">0</cx:pt>
          <cx:pt idx="97297">0</cx:pt>
          <cx:pt idx="97298">1</cx:pt>
          <cx:pt idx="97299">0</cx:pt>
          <cx:pt idx="97300">0</cx:pt>
          <cx:pt idx="97301">1</cx:pt>
          <cx:pt idx="97302">0</cx:pt>
          <cx:pt idx="97303">0</cx:pt>
          <cx:pt idx="97304">0</cx:pt>
          <cx:pt idx="97305">0</cx:pt>
          <cx:pt idx="97306">0</cx:pt>
          <cx:pt idx="97307">0</cx:pt>
          <cx:pt idx="97308">0</cx:pt>
          <cx:pt idx="97309">0</cx:pt>
          <cx:pt idx="97310">1</cx:pt>
          <cx:pt idx="97311">0</cx:pt>
          <cx:pt idx="97312">1</cx:pt>
          <cx:pt idx="97313">1</cx:pt>
          <cx:pt idx="97314">0</cx:pt>
          <cx:pt idx="97315">1</cx:pt>
          <cx:pt idx="97316">1</cx:pt>
          <cx:pt idx="97317">0</cx:pt>
          <cx:pt idx="97318">0</cx:pt>
          <cx:pt idx="97319">1</cx:pt>
          <cx:pt idx="97320">1</cx:pt>
          <cx:pt idx="97321">0</cx:pt>
          <cx:pt idx="97322">0</cx:pt>
          <cx:pt idx="97323">0</cx:pt>
          <cx:pt idx="97324">0</cx:pt>
          <cx:pt idx="97325">0</cx:pt>
          <cx:pt idx="97326">0</cx:pt>
          <cx:pt idx="97327">1</cx:pt>
          <cx:pt idx="97328">0</cx:pt>
          <cx:pt idx="97329">0</cx:pt>
          <cx:pt idx="97330">0</cx:pt>
          <cx:pt idx="97331">1</cx:pt>
          <cx:pt idx="97332">1</cx:pt>
          <cx:pt idx="97333">0</cx:pt>
          <cx:pt idx="97334">1</cx:pt>
          <cx:pt idx="97335">1</cx:pt>
          <cx:pt idx="97336">0</cx:pt>
          <cx:pt idx="97337">0</cx:pt>
          <cx:pt idx="97338">1</cx:pt>
          <cx:pt idx="97339">1</cx:pt>
          <cx:pt idx="97340">1</cx:pt>
          <cx:pt idx="97341">0</cx:pt>
          <cx:pt idx="97342">0</cx:pt>
          <cx:pt idx="97343">1</cx:pt>
          <cx:pt idx="97344">0</cx:pt>
          <cx:pt idx="97345">0</cx:pt>
          <cx:pt idx="97346">0</cx:pt>
          <cx:pt idx="97347">1</cx:pt>
          <cx:pt idx="97348">0</cx:pt>
          <cx:pt idx="97349">1</cx:pt>
          <cx:pt idx="97350">0</cx:pt>
          <cx:pt idx="97351">0</cx:pt>
          <cx:pt idx="97352">0</cx:pt>
          <cx:pt idx="97353">0</cx:pt>
          <cx:pt idx="97354">1</cx:pt>
          <cx:pt idx="97355">1</cx:pt>
          <cx:pt idx="97356">0</cx:pt>
          <cx:pt idx="97357">1</cx:pt>
          <cx:pt idx="97358">0</cx:pt>
          <cx:pt idx="97359">1</cx:pt>
          <cx:pt idx="97360">0</cx:pt>
          <cx:pt idx="97361">0</cx:pt>
          <cx:pt idx="97362">1</cx:pt>
          <cx:pt idx="97363">1</cx:pt>
          <cx:pt idx="97364">1</cx:pt>
          <cx:pt idx="97365">0</cx:pt>
          <cx:pt idx="97366">1</cx:pt>
          <cx:pt idx="97367">0</cx:pt>
          <cx:pt idx="97368">1</cx:pt>
          <cx:pt idx="97369">0</cx:pt>
          <cx:pt idx="97370">1</cx:pt>
          <cx:pt idx="97371">0</cx:pt>
          <cx:pt idx="97372">0</cx:pt>
          <cx:pt idx="97373">1</cx:pt>
          <cx:pt idx="97374">0</cx:pt>
          <cx:pt idx="97375">0</cx:pt>
          <cx:pt idx="97376">1</cx:pt>
          <cx:pt idx="97377">1</cx:pt>
          <cx:pt idx="97378">1</cx:pt>
          <cx:pt idx="97379">0</cx:pt>
          <cx:pt idx="97380">0</cx:pt>
          <cx:pt idx="97381">0</cx:pt>
          <cx:pt idx="97382">0</cx:pt>
          <cx:pt idx="97383">0</cx:pt>
          <cx:pt idx="97384">0</cx:pt>
          <cx:pt idx="97385">0</cx:pt>
          <cx:pt idx="97386">0</cx:pt>
          <cx:pt idx="97387">0</cx:pt>
          <cx:pt idx="97388">1</cx:pt>
          <cx:pt idx="97389">0</cx:pt>
          <cx:pt idx="97390">0</cx:pt>
          <cx:pt idx="97391">1</cx:pt>
          <cx:pt idx="97392">1</cx:pt>
          <cx:pt idx="97393">1</cx:pt>
          <cx:pt idx="97394">0</cx:pt>
          <cx:pt idx="97395">1</cx:pt>
          <cx:pt idx="97396">1</cx:pt>
          <cx:pt idx="97397">0</cx:pt>
          <cx:pt idx="97398">0</cx:pt>
          <cx:pt idx="97399">0</cx:pt>
          <cx:pt idx="97400">1</cx:pt>
          <cx:pt idx="97401">1</cx:pt>
          <cx:pt idx="97402">0</cx:pt>
          <cx:pt idx="97403">1</cx:pt>
          <cx:pt idx="97404">0</cx:pt>
          <cx:pt idx="97405">0</cx:pt>
          <cx:pt idx="97406">0</cx:pt>
          <cx:pt idx="97407">1</cx:pt>
          <cx:pt idx="97408">0</cx:pt>
          <cx:pt idx="97409">1</cx:pt>
          <cx:pt idx="97410">0</cx:pt>
          <cx:pt idx="97411">0</cx:pt>
          <cx:pt idx="97412">0</cx:pt>
          <cx:pt idx="97413">0</cx:pt>
          <cx:pt idx="97414">1</cx:pt>
          <cx:pt idx="97415">0</cx:pt>
          <cx:pt idx="97416">0</cx:pt>
          <cx:pt idx="97417">0</cx:pt>
          <cx:pt idx="97418">0</cx:pt>
          <cx:pt idx="97419">0</cx:pt>
          <cx:pt idx="97420">1</cx:pt>
          <cx:pt idx="97421">0</cx:pt>
          <cx:pt idx="97422">0</cx:pt>
          <cx:pt idx="97423">0</cx:pt>
          <cx:pt idx="97424">1</cx:pt>
          <cx:pt idx="97425">0</cx:pt>
          <cx:pt idx="97426">1</cx:pt>
          <cx:pt idx="97427">1</cx:pt>
          <cx:pt idx="97428">1</cx:pt>
          <cx:pt idx="97429">1</cx:pt>
          <cx:pt idx="97430">1</cx:pt>
          <cx:pt idx="97431">0</cx:pt>
          <cx:pt idx="97432">0</cx:pt>
          <cx:pt idx="97433">1</cx:pt>
          <cx:pt idx="97434">1</cx:pt>
          <cx:pt idx="97435">1</cx:pt>
          <cx:pt idx="97436">1</cx:pt>
          <cx:pt idx="97437">0</cx:pt>
          <cx:pt idx="97438">1</cx:pt>
          <cx:pt idx="97439">1</cx:pt>
          <cx:pt idx="97440">0</cx:pt>
          <cx:pt idx="97441">1</cx:pt>
          <cx:pt idx="97442">1</cx:pt>
          <cx:pt idx="97443">0</cx:pt>
          <cx:pt idx="97444">0</cx:pt>
          <cx:pt idx="97445">1</cx:pt>
          <cx:pt idx="97446">0</cx:pt>
          <cx:pt idx="97447">1</cx:pt>
          <cx:pt idx="97448">0</cx:pt>
          <cx:pt idx="97449">0</cx:pt>
          <cx:pt idx="97450">0</cx:pt>
          <cx:pt idx="97451">1</cx:pt>
          <cx:pt idx="97452">0</cx:pt>
          <cx:pt idx="97453">1</cx:pt>
          <cx:pt idx="97454">0</cx:pt>
          <cx:pt idx="97455">1</cx:pt>
          <cx:pt idx="97456">1</cx:pt>
          <cx:pt idx="97457">1</cx:pt>
          <cx:pt idx="97458">0</cx:pt>
          <cx:pt idx="97459">0</cx:pt>
          <cx:pt idx="97460">1</cx:pt>
          <cx:pt idx="97461">0</cx:pt>
          <cx:pt idx="97462">0</cx:pt>
          <cx:pt idx="97463">0</cx:pt>
          <cx:pt idx="97464">0</cx:pt>
          <cx:pt idx="97465">0</cx:pt>
          <cx:pt idx="97466">1</cx:pt>
          <cx:pt idx="97467">0</cx:pt>
          <cx:pt idx="97468">0</cx:pt>
          <cx:pt idx="97469">1</cx:pt>
          <cx:pt idx="97470">1</cx:pt>
          <cx:pt idx="97471">1</cx:pt>
          <cx:pt idx="97472">1</cx:pt>
          <cx:pt idx="97473">0</cx:pt>
          <cx:pt idx="97474">1</cx:pt>
          <cx:pt idx="97475">0</cx:pt>
          <cx:pt idx="97476">1</cx:pt>
          <cx:pt idx="97477">1</cx:pt>
          <cx:pt idx="97478">0</cx:pt>
          <cx:pt idx="97479">1</cx:pt>
          <cx:pt idx="97480">1</cx:pt>
          <cx:pt idx="97481">0</cx:pt>
          <cx:pt idx="97482">0</cx:pt>
          <cx:pt idx="97483">1</cx:pt>
          <cx:pt idx="97484">1</cx:pt>
          <cx:pt idx="97485">1</cx:pt>
          <cx:pt idx="97486">1</cx:pt>
          <cx:pt idx="97487">1</cx:pt>
          <cx:pt idx="97488">1</cx:pt>
          <cx:pt idx="97489">1</cx:pt>
          <cx:pt idx="97490">1</cx:pt>
          <cx:pt idx="97491">1</cx:pt>
          <cx:pt idx="97492">1</cx:pt>
          <cx:pt idx="97493">0</cx:pt>
          <cx:pt idx="97494">0</cx:pt>
          <cx:pt idx="97495">1</cx:pt>
          <cx:pt idx="97496">0</cx:pt>
          <cx:pt idx="97497">0</cx:pt>
          <cx:pt idx="97498">0</cx:pt>
          <cx:pt idx="97499">0</cx:pt>
          <cx:pt idx="97500">1</cx:pt>
          <cx:pt idx="97501">0</cx:pt>
          <cx:pt idx="97502">1</cx:pt>
          <cx:pt idx="97503">0</cx:pt>
          <cx:pt idx="97504">0</cx:pt>
          <cx:pt idx="97505">1</cx:pt>
          <cx:pt idx="97506">1</cx:pt>
          <cx:pt idx="97507">0</cx:pt>
          <cx:pt idx="97508">0</cx:pt>
          <cx:pt idx="97509">1</cx:pt>
          <cx:pt idx="97510">1</cx:pt>
          <cx:pt idx="97511">1</cx:pt>
          <cx:pt idx="97512">1</cx:pt>
          <cx:pt idx="97513">0</cx:pt>
          <cx:pt idx="97514">1</cx:pt>
          <cx:pt idx="97515">1</cx:pt>
          <cx:pt idx="97516">0</cx:pt>
          <cx:pt idx="97517">0</cx:pt>
          <cx:pt idx="97518">0</cx:pt>
          <cx:pt idx="97519">1</cx:pt>
          <cx:pt idx="97520">0</cx:pt>
          <cx:pt idx="97521">0</cx:pt>
          <cx:pt idx="97522">1</cx:pt>
          <cx:pt idx="97523">0</cx:pt>
          <cx:pt idx="97524">1</cx:pt>
          <cx:pt idx="97525">1</cx:pt>
          <cx:pt idx="97526">0</cx:pt>
          <cx:pt idx="97527">0</cx:pt>
          <cx:pt idx="97528">0</cx:pt>
          <cx:pt idx="97529">0</cx:pt>
          <cx:pt idx="97530">0</cx:pt>
          <cx:pt idx="97531">0</cx:pt>
          <cx:pt idx="97532">0</cx:pt>
          <cx:pt idx="97533">1</cx:pt>
          <cx:pt idx="97534">0</cx:pt>
          <cx:pt idx="97535">0</cx:pt>
          <cx:pt idx="97536">1</cx:pt>
          <cx:pt idx="97537">1</cx:pt>
          <cx:pt idx="97538">1</cx:pt>
          <cx:pt idx="97539">0</cx:pt>
          <cx:pt idx="97540">1</cx:pt>
          <cx:pt idx="97541">0</cx:pt>
          <cx:pt idx="97542">1</cx:pt>
          <cx:pt idx="97543">1</cx:pt>
          <cx:pt idx="97544">1</cx:pt>
          <cx:pt idx="97545">1</cx:pt>
          <cx:pt idx="97546">1</cx:pt>
          <cx:pt idx="97547">0</cx:pt>
          <cx:pt idx="97548">0</cx:pt>
          <cx:pt idx="97549">1</cx:pt>
          <cx:pt idx="97550">0</cx:pt>
          <cx:pt idx="97551">0</cx:pt>
          <cx:pt idx="97552">1</cx:pt>
          <cx:pt idx="97553">0</cx:pt>
          <cx:pt idx="97554">0</cx:pt>
          <cx:pt idx="97555">1</cx:pt>
          <cx:pt idx="97556">0</cx:pt>
          <cx:pt idx="97557">1</cx:pt>
          <cx:pt idx="97558">1</cx:pt>
          <cx:pt idx="97559">0</cx:pt>
          <cx:pt idx="97560">0</cx:pt>
          <cx:pt idx="97561">1</cx:pt>
          <cx:pt idx="97562">1</cx:pt>
          <cx:pt idx="97563">1</cx:pt>
          <cx:pt idx="97564">0</cx:pt>
          <cx:pt idx="97565">0</cx:pt>
          <cx:pt idx="97566">0</cx:pt>
          <cx:pt idx="97567">0</cx:pt>
          <cx:pt idx="97568">0</cx:pt>
          <cx:pt idx="97569">0</cx:pt>
          <cx:pt idx="97570">1</cx:pt>
          <cx:pt idx="97571">0</cx:pt>
          <cx:pt idx="97572">1</cx:pt>
          <cx:pt idx="97573">0</cx:pt>
          <cx:pt idx="97574">0</cx:pt>
          <cx:pt idx="97575">0</cx:pt>
          <cx:pt idx="97576">1</cx:pt>
          <cx:pt idx="97577">1</cx:pt>
          <cx:pt idx="97578">1</cx:pt>
          <cx:pt idx="97579">1</cx:pt>
          <cx:pt idx="97580">0</cx:pt>
          <cx:pt idx="97581">0</cx:pt>
          <cx:pt idx="97582">1</cx:pt>
          <cx:pt idx="97583">0</cx:pt>
          <cx:pt idx="97584">0</cx:pt>
          <cx:pt idx="97585">0</cx:pt>
          <cx:pt idx="97586">1</cx:pt>
          <cx:pt idx="97587">1</cx:pt>
          <cx:pt idx="97588">1</cx:pt>
          <cx:pt idx="97589">0</cx:pt>
          <cx:pt idx="97590">0</cx:pt>
          <cx:pt idx="97591">1</cx:pt>
          <cx:pt idx="97592">0</cx:pt>
          <cx:pt idx="97593">0</cx:pt>
          <cx:pt idx="97594">1</cx:pt>
          <cx:pt idx="97595">1</cx:pt>
          <cx:pt idx="97596">1</cx:pt>
          <cx:pt idx="97597">1</cx:pt>
          <cx:pt idx="97598">0</cx:pt>
          <cx:pt idx="97599">1</cx:pt>
          <cx:pt idx="97600">0</cx:pt>
          <cx:pt idx="97601">1</cx:pt>
          <cx:pt idx="97602">0</cx:pt>
          <cx:pt idx="97603">1</cx:pt>
          <cx:pt idx="97604">0</cx:pt>
          <cx:pt idx="97605">0</cx:pt>
          <cx:pt idx="97606">0</cx:pt>
          <cx:pt idx="97607">1</cx:pt>
          <cx:pt idx="97608">0</cx:pt>
          <cx:pt idx="97609">0</cx:pt>
          <cx:pt idx="97610">0</cx:pt>
          <cx:pt idx="97611">0</cx:pt>
          <cx:pt idx="97612">0</cx:pt>
          <cx:pt idx="97613">0</cx:pt>
          <cx:pt idx="97614">0</cx:pt>
          <cx:pt idx="97615">0</cx:pt>
          <cx:pt idx="97616">1</cx:pt>
          <cx:pt idx="97617">0</cx:pt>
          <cx:pt idx="97618">1</cx:pt>
          <cx:pt idx="97619">0</cx:pt>
          <cx:pt idx="97620">1</cx:pt>
          <cx:pt idx="97621">1</cx:pt>
          <cx:pt idx="97622">0</cx:pt>
          <cx:pt idx="97623">0</cx:pt>
          <cx:pt idx="97624">1</cx:pt>
          <cx:pt idx="97625">1</cx:pt>
          <cx:pt idx="97626">0</cx:pt>
          <cx:pt idx="97627">0</cx:pt>
          <cx:pt idx="97628">0</cx:pt>
          <cx:pt idx="97629">0</cx:pt>
          <cx:pt idx="97630">1</cx:pt>
          <cx:pt idx="97631">0</cx:pt>
          <cx:pt idx="97632">1</cx:pt>
          <cx:pt idx="97633">1</cx:pt>
          <cx:pt idx="97634">1</cx:pt>
          <cx:pt idx="97635">0</cx:pt>
          <cx:pt idx="97636">1</cx:pt>
          <cx:pt idx="97637">0</cx:pt>
          <cx:pt idx="97638">1</cx:pt>
          <cx:pt idx="97639">0</cx:pt>
          <cx:pt idx="97640">0</cx:pt>
          <cx:pt idx="97641">0</cx:pt>
          <cx:pt idx="97642">0</cx:pt>
          <cx:pt idx="97643">1</cx:pt>
          <cx:pt idx="97644">0</cx:pt>
          <cx:pt idx="97645">0</cx:pt>
          <cx:pt idx="97646">1</cx:pt>
          <cx:pt idx="97647">1</cx:pt>
          <cx:pt idx="97648">1</cx:pt>
          <cx:pt idx="97649">0</cx:pt>
          <cx:pt idx="97650">0</cx:pt>
          <cx:pt idx="97651">0</cx:pt>
          <cx:pt idx="97652">0</cx:pt>
          <cx:pt idx="97653">1</cx:pt>
          <cx:pt idx="97654">0</cx:pt>
          <cx:pt idx="97655">0</cx:pt>
          <cx:pt idx="97656">1</cx:pt>
          <cx:pt idx="97657">0</cx:pt>
          <cx:pt idx="97658">0</cx:pt>
          <cx:pt idx="97659">0</cx:pt>
          <cx:pt idx="97660">0</cx:pt>
          <cx:pt idx="97661">0</cx:pt>
          <cx:pt idx="97662">1</cx:pt>
          <cx:pt idx="97663">1</cx:pt>
          <cx:pt idx="97664">0</cx:pt>
          <cx:pt idx="97665">0</cx:pt>
          <cx:pt idx="97666">0</cx:pt>
          <cx:pt idx="97667">0</cx:pt>
          <cx:pt idx="97668">0</cx:pt>
          <cx:pt idx="97669">1</cx:pt>
          <cx:pt idx="97670">0</cx:pt>
          <cx:pt idx="97671">1</cx:pt>
          <cx:pt idx="97672">0</cx:pt>
          <cx:pt idx="97673">0</cx:pt>
          <cx:pt idx="97674">0</cx:pt>
          <cx:pt idx="97675">1</cx:pt>
          <cx:pt idx="97676">1</cx:pt>
          <cx:pt idx="97677">1</cx:pt>
          <cx:pt idx="97678">0</cx:pt>
          <cx:pt idx="97679">1</cx:pt>
          <cx:pt idx="97680">1</cx:pt>
          <cx:pt idx="97681">0</cx:pt>
          <cx:pt idx="97682">1</cx:pt>
          <cx:pt idx="97683">0</cx:pt>
          <cx:pt idx="97684">0</cx:pt>
          <cx:pt idx="97685">0</cx:pt>
          <cx:pt idx="97686">0</cx:pt>
          <cx:pt idx="97687">1</cx:pt>
          <cx:pt idx="97688">1</cx:pt>
          <cx:pt idx="97689">0</cx:pt>
          <cx:pt idx="97690">0</cx:pt>
          <cx:pt idx="97691">0</cx:pt>
          <cx:pt idx="97692">1</cx:pt>
          <cx:pt idx="97693">0</cx:pt>
          <cx:pt idx="97694">0</cx:pt>
          <cx:pt idx="97695">0</cx:pt>
          <cx:pt idx="97696">0</cx:pt>
          <cx:pt idx="97697">0</cx:pt>
          <cx:pt idx="97698">1</cx:pt>
          <cx:pt idx="97699">0</cx:pt>
          <cx:pt idx="97700">0</cx:pt>
          <cx:pt idx="97701">0</cx:pt>
          <cx:pt idx="97702">1</cx:pt>
          <cx:pt idx="97703">0</cx:pt>
          <cx:pt idx="97704">0</cx:pt>
          <cx:pt idx="97705">1</cx:pt>
          <cx:pt idx="97706">0</cx:pt>
          <cx:pt idx="97707">0</cx:pt>
          <cx:pt idx="97708">1</cx:pt>
          <cx:pt idx="97709">0</cx:pt>
          <cx:pt idx="97710">0</cx:pt>
          <cx:pt idx="97711">1</cx:pt>
          <cx:pt idx="97712">0</cx:pt>
          <cx:pt idx="97713">1</cx:pt>
          <cx:pt idx="97714">0</cx:pt>
          <cx:pt idx="97715">1</cx:pt>
          <cx:pt idx="97716">0</cx:pt>
          <cx:pt idx="97717">0</cx:pt>
          <cx:pt idx="97718">1</cx:pt>
          <cx:pt idx="97719">1</cx:pt>
          <cx:pt idx="97720">1</cx:pt>
          <cx:pt idx="97721">0</cx:pt>
          <cx:pt idx="97722">1</cx:pt>
          <cx:pt idx="97723">0</cx:pt>
          <cx:pt idx="97724">1</cx:pt>
          <cx:pt idx="97725">0</cx:pt>
          <cx:pt idx="97726">1</cx:pt>
          <cx:pt idx="97727">1</cx:pt>
          <cx:pt idx="97728">0</cx:pt>
          <cx:pt idx="97729">0</cx:pt>
          <cx:pt idx="97730">0</cx:pt>
          <cx:pt idx="97731">0</cx:pt>
          <cx:pt idx="97732">1</cx:pt>
          <cx:pt idx="97733">0</cx:pt>
          <cx:pt idx="97734">0</cx:pt>
          <cx:pt idx="97735">0</cx:pt>
          <cx:pt idx="97736">1</cx:pt>
          <cx:pt idx="97737">1</cx:pt>
          <cx:pt idx="97738">0</cx:pt>
          <cx:pt idx="97739">1</cx:pt>
          <cx:pt idx="97740">0</cx:pt>
          <cx:pt idx="97741">0</cx:pt>
          <cx:pt idx="97742">1</cx:pt>
          <cx:pt idx="97743">1</cx:pt>
          <cx:pt idx="97744">1</cx:pt>
          <cx:pt idx="97745">0</cx:pt>
          <cx:pt idx="97746">1</cx:pt>
          <cx:pt idx="97747">0</cx:pt>
          <cx:pt idx="97748">1</cx:pt>
          <cx:pt idx="97749">0</cx:pt>
          <cx:pt idx="97750">1</cx:pt>
          <cx:pt idx="97751">1</cx:pt>
          <cx:pt idx="97752">0</cx:pt>
          <cx:pt idx="97753">1</cx:pt>
          <cx:pt idx="97754">0</cx:pt>
          <cx:pt idx="97755">1</cx:pt>
          <cx:pt idx="97756">0</cx:pt>
          <cx:pt idx="97757">0</cx:pt>
          <cx:pt idx="97758">1</cx:pt>
          <cx:pt idx="97759">1</cx:pt>
          <cx:pt idx="97760">1</cx:pt>
          <cx:pt idx="97761">1</cx:pt>
          <cx:pt idx="97762">1</cx:pt>
          <cx:pt idx="97763">0</cx:pt>
          <cx:pt idx="97764">1</cx:pt>
          <cx:pt idx="97765">0</cx:pt>
          <cx:pt idx="97766">1</cx:pt>
          <cx:pt idx="97767">0</cx:pt>
          <cx:pt idx="97768">0</cx:pt>
          <cx:pt idx="97769">1</cx:pt>
          <cx:pt idx="97770">1</cx:pt>
          <cx:pt idx="97771">1</cx:pt>
          <cx:pt idx="97772">0</cx:pt>
          <cx:pt idx="97773">1</cx:pt>
          <cx:pt idx="97774">1</cx:pt>
          <cx:pt idx="97775">1</cx:pt>
          <cx:pt idx="97776">1</cx:pt>
          <cx:pt idx="97777">1</cx:pt>
          <cx:pt idx="97778">1</cx:pt>
          <cx:pt idx="97779">1</cx:pt>
          <cx:pt idx="97780">0</cx:pt>
          <cx:pt idx="97781">1</cx:pt>
          <cx:pt idx="97782">0</cx:pt>
          <cx:pt idx="97783">0</cx:pt>
          <cx:pt idx="97784">1</cx:pt>
          <cx:pt idx="97785">0</cx:pt>
          <cx:pt idx="97786">0</cx:pt>
          <cx:pt idx="97787">1</cx:pt>
          <cx:pt idx="97788">0</cx:pt>
          <cx:pt idx="97789">0</cx:pt>
          <cx:pt idx="97790">0</cx:pt>
          <cx:pt idx="97791">0</cx:pt>
          <cx:pt idx="97792">0</cx:pt>
          <cx:pt idx="97793">1</cx:pt>
          <cx:pt idx="97794">0</cx:pt>
          <cx:pt idx="97795">1</cx:pt>
          <cx:pt idx="97796">0</cx:pt>
          <cx:pt idx="97797">0</cx:pt>
          <cx:pt idx="97798">0</cx:pt>
          <cx:pt idx="97799">0</cx:pt>
          <cx:pt idx="97800">1</cx:pt>
          <cx:pt idx="97801">0</cx:pt>
          <cx:pt idx="97802">1</cx:pt>
          <cx:pt idx="97803">0</cx:pt>
          <cx:pt idx="97804">0</cx:pt>
          <cx:pt idx="97805">0</cx:pt>
          <cx:pt idx="97806">0</cx:pt>
          <cx:pt idx="97807">1</cx:pt>
          <cx:pt idx="97808">1</cx:pt>
          <cx:pt idx="97809">1</cx:pt>
          <cx:pt idx="97810">0</cx:pt>
          <cx:pt idx="97811">0</cx:pt>
          <cx:pt idx="97812">1</cx:pt>
          <cx:pt idx="97813">1</cx:pt>
          <cx:pt idx="97814">0</cx:pt>
          <cx:pt idx="97815">0</cx:pt>
          <cx:pt idx="97816">1</cx:pt>
          <cx:pt idx="97817">0</cx:pt>
          <cx:pt idx="97818">0</cx:pt>
          <cx:pt idx="97819">0</cx:pt>
          <cx:pt idx="97820">0</cx:pt>
          <cx:pt idx="97821">0</cx:pt>
          <cx:pt idx="97822">0</cx:pt>
          <cx:pt idx="97823">0</cx:pt>
          <cx:pt idx="97824">0</cx:pt>
          <cx:pt idx="97825">0</cx:pt>
          <cx:pt idx="97826">1</cx:pt>
          <cx:pt idx="97827">0</cx:pt>
          <cx:pt idx="97828">1</cx:pt>
          <cx:pt idx="97829">1</cx:pt>
          <cx:pt idx="97830">0</cx:pt>
          <cx:pt idx="97831">1</cx:pt>
          <cx:pt idx="97832">0</cx:pt>
          <cx:pt idx="97833">0</cx:pt>
          <cx:pt idx="97834">0</cx:pt>
          <cx:pt idx="97835">1</cx:pt>
          <cx:pt idx="97836">1</cx:pt>
          <cx:pt idx="97837">1</cx:pt>
          <cx:pt idx="97838">0</cx:pt>
          <cx:pt idx="97839">1</cx:pt>
          <cx:pt idx="97840">1</cx:pt>
          <cx:pt idx="97841">1</cx:pt>
          <cx:pt idx="97842">0</cx:pt>
          <cx:pt idx="97843">0</cx:pt>
          <cx:pt idx="97844">1</cx:pt>
          <cx:pt idx="97845">0</cx:pt>
          <cx:pt idx="97846">0</cx:pt>
          <cx:pt idx="97847">1</cx:pt>
          <cx:pt idx="97848">0</cx:pt>
          <cx:pt idx="97849">0</cx:pt>
          <cx:pt idx="97850">1</cx:pt>
          <cx:pt idx="97851">0</cx:pt>
          <cx:pt idx="97852">0</cx:pt>
          <cx:pt idx="97853">1</cx:pt>
          <cx:pt idx="97854">1</cx:pt>
          <cx:pt idx="97855">0</cx:pt>
          <cx:pt idx="97856">0</cx:pt>
          <cx:pt idx="97857">1</cx:pt>
          <cx:pt idx="97858">1</cx:pt>
          <cx:pt idx="97859">0</cx:pt>
          <cx:pt idx="97860">0</cx:pt>
          <cx:pt idx="97861">1</cx:pt>
          <cx:pt idx="97862">1</cx:pt>
          <cx:pt idx="97863">0</cx:pt>
          <cx:pt idx="97864">0</cx:pt>
          <cx:pt idx="97865">0</cx:pt>
          <cx:pt idx="97866">1</cx:pt>
          <cx:pt idx="97867">1</cx:pt>
          <cx:pt idx="97868">1</cx:pt>
          <cx:pt idx="97869">1</cx:pt>
          <cx:pt idx="97870">0</cx:pt>
          <cx:pt idx="97871">1</cx:pt>
          <cx:pt idx="97872">0</cx:pt>
          <cx:pt idx="97873">0</cx:pt>
          <cx:pt idx="97874">0</cx:pt>
          <cx:pt idx="97875">0</cx:pt>
          <cx:pt idx="97876">1</cx:pt>
          <cx:pt idx="97877">0</cx:pt>
          <cx:pt idx="97878">1</cx:pt>
          <cx:pt idx="97879">1</cx:pt>
          <cx:pt idx="97880">1</cx:pt>
          <cx:pt idx="97881">0</cx:pt>
          <cx:pt idx="97882">0</cx:pt>
          <cx:pt idx="97883">0</cx:pt>
          <cx:pt idx="97884">1</cx:pt>
          <cx:pt idx="97885">0</cx:pt>
          <cx:pt idx="97886">1</cx:pt>
          <cx:pt idx="97887">1</cx:pt>
          <cx:pt idx="97888">0</cx:pt>
          <cx:pt idx="97889">0</cx:pt>
          <cx:pt idx="97890">0</cx:pt>
          <cx:pt idx="97891">1</cx:pt>
          <cx:pt idx="97892">0</cx:pt>
          <cx:pt idx="97893">0</cx:pt>
          <cx:pt idx="97894">1</cx:pt>
          <cx:pt idx="97895">1</cx:pt>
          <cx:pt idx="97896">0</cx:pt>
          <cx:pt idx="97897">1</cx:pt>
          <cx:pt idx="97898">1</cx:pt>
          <cx:pt idx="97899">1</cx:pt>
          <cx:pt idx="97900">1</cx:pt>
          <cx:pt idx="97901">0</cx:pt>
          <cx:pt idx="97902">0</cx:pt>
          <cx:pt idx="97903">0</cx:pt>
          <cx:pt idx="97904">0</cx:pt>
          <cx:pt idx="97905">0</cx:pt>
          <cx:pt idx="97906">0</cx:pt>
          <cx:pt idx="97907">0</cx:pt>
          <cx:pt idx="97908">1</cx:pt>
          <cx:pt idx="97909">1</cx:pt>
          <cx:pt idx="97910">1</cx:pt>
          <cx:pt idx="97911">0</cx:pt>
          <cx:pt idx="97912">0</cx:pt>
          <cx:pt idx="97913">0</cx:pt>
          <cx:pt idx="97914">0</cx:pt>
          <cx:pt idx="97915">0</cx:pt>
          <cx:pt idx="97916">0</cx:pt>
          <cx:pt idx="97917">0</cx:pt>
          <cx:pt idx="97918">1</cx:pt>
          <cx:pt idx="97919">0</cx:pt>
          <cx:pt idx="97920">0</cx:pt>
          <cx:pt idx="97921">0</cx:pt>
          <cx:pt idx="97922">0</cx:pt>
          <cx:pt idx="97923">1</cx:pt>
          <cx:pt idx="97924">0</cx:pt>
          <cx:pt idx="97925">0</cx:pt>
          <cx:pt idx="97926">1</cx:pt>
          <cx:pt idx="97927">1</cx:pt>
          <cx:pt idx="97928">1</cx:pt>
          <cx:pt idx="97929">0</cx:pt>
          <cx:pt idx="97930">1</cx:pt>
          <cx:pt idx="97931">1</cx:pt>
          <cx:pt idx="97932">1</cx:pt>
          <cx:pt idx="97933">0</cx:pt>
          <cx:pt idx="97934">1</cx:pt>
          <cx:pt idx="97935">0</cx:pt>
          <cx:pt idx="97936">1</cx:pt>
          <cx:pt idx="97937">0</cx:pt>
          <cx:pt idx="97938">0</cx:pt>
          <cx:pt idx="97939">0</cx:pt>
          <cx:pt idx="97940">0</cx:pt>
          <cx:pt idx="97941">1</cx:pt>
          <cx:pt idx="97942">1</cx:pt>
          <cx:pt idx="97943">1</cx:pt>
          <cx:pt idx="97944">0</cx:pt>
          <cx:pt idx="97945">0</cx:pt>
          <cx:pt idx="97946">0</cx:pt>
          <cx:pt idx="97947">0</cx:pt>
          <cx:pt idx="97948">0</cx:pt>
          <cx:pt idx="97949">1</cx:pt>
          <cx:pt idx="97950">1</cx:pt>
          <cx:pt idx="97951">1</cx:pt>
          <cx:pt idx="97952">0</cx:pt>
          <cx:pt idx="97953">0</cx:pt>
          <cx:pt idx="97954">0</cx:pt>
          <cx:pt idx="97955">1</cx:pt>
          <cx:pt idx="97956">0</cx:pt>
          <cx:pt idx="97957">0</cx:pt>
          <cx:pt idx="97958">0</cx:pt>
          <cx:pt idx="97959">1</cx:pt>
          <cx:pt idx="97960">0</cx:pt>
          <cx:pt idx="97961">1</cx:pt>
          <cx:pt idx="97962">0</cx:pt>
          <cx:pt idx="97963">0</cx:pt>
          <cx:pt idx="97964">0</cx:pt>
          <cx:pt idx="97965">0</cx:pt>
          <cx:pt idx="97966">1</cx:pt>
          <cx:pt idx="97967">0</cx:pt>
          <cx:pt idx="97968">1</cx:pt>
          <cx:pt idx="97969">1</cx:pt>
          <cx:pt idx="97970">0</cx:pt>
          <cx:pt idx="97971">1</cx:pt>
          <cx:pt idx="97972">0</cx:pt>
          <cx:pt idx="97973">0</cx:pt>
          <cx:pt idx="97974">1</cx:pt>
          <cx:pt idx="97975">0</cx:pt>
          <cx:pt idx="97976">0</cx:pt>
          <cx:pt idx="97977">1</cx:pt>
          <cx:pt idx="97978">0</cx:pt>
          <cx:pt idx="97979">1</cx:pt>
          <cx:pt idx="97980">0</cx:pt>
          <cx:pt idx="97981">0</cx:pt>
          <cx:pt idx="97982">1</cx:pt>
          <cx:pt idx="97983">0</cx:pt>
          <cx:pt idx="97984">1</cx:pt>
          <cx:pt idx="97985">0</cx:pt>
          <cx:pt idx="97986">0</cx:pt>
          <cx:pt idx="97987">1</cx:pt>
          <cx:pt idx="97988">0</cx:pt>
          <cx:pt idx="97989">1</cx:pt>
          <cx:pt idx="97990">0</cx:pt>
          <cx:pt idx="97991">0</cx:pt>
          <cx:pt idx="97992">0</cx:pt>
          <cx:pt idx="97993">0</cx:pt>
          <cx:pt idx="97994">0</cx:pt>
          <cx:pt idx="97995">1</cx:pt>
          <cx:pt idx="97996">0</cx:pt>
          <cx:pt idx="97997">1</cx:pt>
          <cx:pt idx="97998">0</cx:pt>
          <cx:pt idx="97999">0</cx:pt>
          <cx:pt idx="98000">1</cx:pt>
          <cx:pt idx="98001">0</cx:pt>
          <cx:pt idx="98002">0</cx:pt>
          <cx:pt idx="98003">1</cx:pt>
          <cx:pt idx="98004">0</cx:pt>
          <cx:pt idx="98005">1</cx:pt>
          <cx:pt idx="98006">1</cx:pt>
          <cx:pt idx="98007">0</cx:pt>
          <cx:pt idx="98008">1</cx:pt>
          <cx:pt idx="98009">0</cx:pt>
          <cx:pt idx="98010">0</cx:pt>
          <cx:pt idx="98011">0</cx:pt>
          <cx:pt idx="98012">1</cx:pt>
          <cx:pt idx="98013">1</cx:pt>
          <cx:pt idx="98014">0</cx:pt>
          <cx:pt idx="98015">1</cx:pt>
          <cx:pt idx="98016">1</cx:pt>
          <cx:pt idx="98017">1</cx:pt>
          <cx:pt idx="98018">1</cx:pt>
          <cx:pt idx="98019">1</cx:pt>
          <cx:pt idx="98020">1</cx:pt>
          <cx:pt idx="98021">1</cx:pt>
          <cx:pt idx="98022">1</cx:pt>
          <cx:pt idx="98023">0</cx:pt>
          <cx:pt idx="98024">1</cx:pt>
          <cx:pt idx="98025">0</cx:pt>
          <cx:pt idx="98026">1</cx:pt>
          <cx:pt idx="98027">1</cx:pt>
          <cx:pt idx="98028">0</cx:pt>
          <cx:pt idx="98029">0</cx:pt>
          <cx:pt idx="98030">0</cx:pt>
          <cx:pt idx="98031">1</cx:pt>
          <cx:pt idx="98032">0</cx:pt>
          <cx:pt idx="98033">1</cx:pt>
          <cx:pt idx="98034">1</cx:pt>
          <cx:pt idx="98035">1</cx:pt>
          <cx:pt idx="98036">0</cx:pt>
          <cx:pt idx="98037">0</cx:pt>
          <cx:pt idx="98038">1</cx:pt>
          <cx:pt idx="98039">1</cx:pt>
          <cx:pt idx="98040">0</cx:pt>
          <cx:pt idx="98041">0</cx:pt>
          <cx:pt idx="98042">0</cx:pt>
          <cx:pt idx="98043">0</cx:pt>
          <cx:pt idx="98044">0</cx:pt>
          <cx:pt idx="98045">0</cx:pt>
          <cx:pt idx="98046">1</cx:pt>
          <cx:pt idx="98047">0</cx:pt>
          <cx:pt idx="98048">1</cx:pt>
          <cx:pt idx="98049">0</cx:pt>
          <cx:pt idx="98050">0</cx:pt>
          <cx:pt idx="98051">1</cx:pt>
          <cx:pt idx="98052">1</cx:pt>
          <cx:pt idx="98053">0</cx:pt>
          <cx:pt idx="98054">0</cx:pt>
          <cx:pt idx="98055">1</cx:pt>
          <cx:pt idx="98056">0</cx:pt>
          <cx:pt idx="98057">0</cx:pt>
          <cx:pt idx="98058">1</cx:pt>
          <cx:pt idx="98059">0</cx:pt>
          <cx:pt idx="98060">1</cx:pt>
          <cx:pt idx="98061">0</cx:pt>
          <cx:pt idx="98062">0</cx:pt>
          <cx:pt idx="98063">1</cx:pt>
          <cx:pt idx="98064">1</cx:pt>
          <cx:pt idx="98065">0</cx:pt>
          <cx:pt idx="98066">0</cx:pt>
          <cx:pt idx="98067">1</cx:pt>
          <cx:pt idx="98068">0</cx:pt>
          <cx:pt idx="98069">1</cx:pt>
          <cx:pt idx="98070">0</cx:pt>
          <cx:pt idx="98071">0</cx:pt>
          <cx:pt idx="98072">0</cx:pt>
          <cx:pt idx="98073">0</cx:pt>
          <cx:pt idx="98074">1</cx:pt>
          <cx:pt idx="98075">0</cx:pt>
          <cx:pt idx="98076">0</cx:pt>
          <cx:pt idx="98077">0</cx:pt>
          <cx:pt idx="98078">0</cx:pt>
          <cx:pt idx="98079">1</cx:pt>
          <cx:pt idx="98080">1</cx:pt>
          <cx:pt idx="98081">0</cx:pt>
          <cx:pt idx="98082">0</cx:pt>
          <cx:pt idx="98083">0</cx:pt>
          <cx:pt idx="98084">0</cx:pt>
          <cx:pt idx="98085">1</cx:pt>
          <cx:pt idx="98086">0</cx:pt>
          <cx:pt idx="98087">0</cx:pt>
          <cx:pt idx="98088">0</cx:pt>
          <cx:pt idx="98089">0</cx:pt>
          <cx:pt idx="98090">0</cx:pt>
          <cx:pt idx="98091">0</cx:pt>
          <cx:pt idx="98092">1</cx:pt>
          <cx:pt idx="98093">1</cx:pt>
          <cx:pt idx="98094">1</cx:pt>
          <cx:pt idx="98095">0</cx:pt>
          <cx:pt idx="98096">0</cx:pt>
          <cx:pt idx="98097">1</cx:pt>
          <cx:pt idx="98098">0</cx:pt>
          <cx:pt idx="98099">0</cx:pt>
          <cx:pt idx="98100">1</cx:pt>
          <cx:pt idx="98101">0</cx:pt>
          <cx:pt idx="98102">0</cx:pt>
          <cx:pt idx="98103">1</cx:pt>
          <cx:pt idx="98104">0</cx:pt>
          <cx:pt idx="98105">0</cx:pt>
          <cx:pt idx="98106">1</cx:pt>
          <cx:pt idx="98107">0</cx:pt>
          <cx:pt idx="98108">0</cx:pt>
          <cx:pt idx="98109">1</cx:pt>
          <cx:pt idx="98110">0</cx:pt>
          <cx:pt idx="98111">0</cx:pt>
          <cx:pt idx="98112">0</cx:pt>
          <cx:pt idx="98113">0</cx:pt>
          <cx:pt idx="98114">1</cx:pt>
          <cx:pt idx="98115">1</cx:pt>
          <cx:pt idx="98116">0</cx:pt>
          <cx:pt idx="98117">1</cx:pt>
          <cx:pt idx="98118">0</cx:pt>
          <cx:pt idx="98119">1</cx:pt>
          <cx:pt idx="98120">1</cx:pt>
          <cx:pt idx="98121">0</cx:pt>
          <cx:pt idx="98122">1</cx:pt>
          <cx:pt idx="98123">1</cx:pt>
          <cx:pt idx="98124">0</cx:pt>
          <cx:pt idx="98125">1</cx:pt>
          <cx:pt idx="98126">0</cx:pt>
          <cx:pt idx="98127">1</cx:pt>
          <cx:pt idx="98128">0</cx:pt>
          <cx:pt idx="98129">1</cx:pt>
          <cx:pt idx="98130">1</cx:pt>
          <cx:pt idx="98131">1</cx:pt>
          <cx:pt idx="98132">1</cx:pt>
          <cx:pt idx="98133">1</cx:pt>
          <cx:pt idx="98134">0</cx:pt>
          <cx:pt idx="98135">0</cx:pt>
          <cx:pt idx="98136">0</cx:pt>
          <cx:pt idx="98137">1</cx:pt>
          <cx:pt idx="98138">1</cx:pt>
          <cx:pt idx="98139">0</cx:pt>
          <cx:pt idx="98140">1</cx:pt>
          <cx:pt idx="98141">0</cx:pt>
          <cx:pt idx="98142">1</cx:pt>
          <cx:pt idx="98143">0</cx:pt>
          <cx:pt idx="98144">0</cx:pt>
          <cx:pt idx="98145">0</cx:pt>
          <cx:pt idx="98146">0</cx:pt>
          <cx:pt idx="98147">0</cx:pt>
          <cx:pt idx="98148">0</cx:pt>
          <cx:pt idx="98149">0</cx:pt>
          <cx:pt idx="98150">0</cx:pt>
          <cx:pt idx="98151">1</cx:pt>
          <cx:pt idx="98152">0</cx:pt>
          <cx:pt idx="98153">1</cx:pt>
          <cx:pt idx="98154">1</cx:pt>
          <cx:pt idx="98155">0</cx:pt>
          <cx:pt idx="98156">0</cx:pt>
          <cx:pt idx="98157">0</cx:pt>
          <cx:pt idx="98158">1</cx:pt>
          <cx:pt idx="98159">1</cx:pt>
          <cx:pt idx="98160">0</cx:pt>
          <cx:pt idx="98161">1</cx:pt>
          <cx:pt idx="98162">0</cx:pt>
          <cx:pt idx="98163">1</cx:pt>
          <cx:pt idx="98164">1</cx:pt>
          <cx:pt idx="98165">0</cx:pt>
          <cx:pt idx="98166">0</cx:pt>
          <cx:pt idx="98167">0</cx:pt>
          <cx:pt idx="98168">0</cx:pt>
          <cx:pt idx="98169">0</cx:pt>
          <cx:pt idx="98170">1</cx:pt>
          <cx:pt idx="98171">0</cx:pt>
          <cx:pt idx="98172">0</cx:pt>
          <cx:pt idx="98173">1</cx:pt>
          <cx:pt idx="98174">1</cx:pt>
          <cx:pt idx="98175">0</cx:pt>
          <cx:pt idx="98176">0</cx:pt>
          <cx:pt idx="98177">1</cx:pt>
          <cx:pt idx="98178">0</cx:pt>
          <cx:pt idx="98179">1</cx:pt>
          <cx:pt idx="98180">0</cx:pt>
          <cx:pt idx="98181">0</cx:pt>
          <cx:pt idx="98182">0</cx:pt>
          <cx:pt idx="98183">0</cx:pt>
          <cx:pt idx="98184">1</cx:pt>
          <cx:pt idx="98185">1</cx:pt>
          <cx:pt idx="98186">0</cx:pt>
          <cx:pt idx="98187">1</cx:pt>
          <cx:pt idx="98188">1</cx:pt>
          <cx:pt idx="98189">0</cx:pt>
          <cx:pt idx="98190">0</cx:pt>
          <cx:pt idx="98191">1</cx:pt>
          <cx:pt idx="98192">1</cx:pt>
          <cx:pt idx="98193">1</cx:pt>
          <cx:pt idx="98194">0</cx:pt>
          <cx:pt idx="98195">1</cx:pt>
          <cx:pt idx="98196">0</cx:pt>
          <cx:pt idx="98197">0</cx:pt>
          <cx:pt idx="98198">1</cx:pt>
          <cx:pt idx="98199">0</cx:pt>
          <cx:pt idx="98200">0</cx:pt>
          <cx:pt idx="98201">0</cx:pt>
          <cx:pt idx="98202">1</cx:pt>
          <cx:pt idx="98203">0</cx:pt>
          <cx:pt idx="98204">1</cx:pt>
          <cx:pt idx="98205">1</cx:pt>
          <cx:pt idx="98206">0</cx:pt>
          <cx:pt idx="98207">1</cx:pt>
          <cx:pt idx="98208">1</cx:pt>
          <cx:pt idx="98209">0</cx:pt>
          <cx:pt idx="98210">1</cx:pt>
          <cx:pt idx="98211">1</cx:pt>
          <cx:pt idx="98212">1</cx:pt>
          <cx:pt idx="98213">0</cx:pt>
          <cx:pt idx="98214">0</cx:pt>
          <cx:pt idx="98215">0</cx:pt>
          <cx:pt idx="98216">0</cx:pt>
          <cx:pt idx="98217">0</cx:pt>
          <cx:pt idx="98218">0</cx:pt>
          <cx:pt idx="98219">1</cx:pt>
          <cx:pt idx="98220">0</cx:pt>
          <cx:pt idx="98221">1</cx:pt>
          <cx:pt idx="98222">0</cx:pt>
          <cx:pt idx="98223">0</cx:pt>
          <cx:pt idx="98224">0</cx:pt>
          <cx:pt idx="98225">0</cx:pt>
          <cx:pt idx="98226">0</cx:pt>
          <cx:pt idx="98227">0</cx:pt>
          <cx:pt idx="98228">1</cx:pt>
          <cx:pt idx="98229">1</cx:pt>
          <cx:pt idx="98230">0</cx:pt>
          <cx:pt idx="98231">1</cx:pt>
          <cx:pt idx="98232">1</cx:pt>
          <cx:pt idx="98233">0</cx:pt>
          <cx:pt idx="98234">1</cx:pt>
          <cx:pt idx="98235">1</cx:pt>
          <cx:pt idx="98236">0</cx:pt>
          <cx:pt idx="98237">0</cx:pt>
          <cx:pt idx="98238">0</cx:pt>
          <cx:pt idx="98239">0</cx:pt>
          <cx:pt idx="98240">0</cx:pt>
          <cx:pt idx="98241">0</cx:pt>
          <cx:pt idx="98242">0</cx:pt>
          <cx:pt idx="98243">1</cx:pt>
          <cx:pt idx="98244">0</cx:pt>
          <cx:pt idx="98245">1</cx:pt>
          <cx:pt idx="98246">0</cx:pt>
          <cx:pt idx="98247">0</cx:pt>
          <cx:pt idx="98248">0</cx:pt>
          <cx:pt idx="98249">0</cx:pt>
          <cx:pt idx="98250">0</cx:pt>
          <cx:pt idx="98251">1</cx:pt>
          <cx:pt idx="98252">0</cx:pt>
          <cx:pt idx="98253">1</cx:pt>
          <cx:pt idx="98254">0</cx:pt>
          <cx:pt idx="98255">1</cx:pt>
          <cx:pt idx="98256">1</cx:pt>
          <cx:pt idx="98257">1</cx:pt>
          <cx:pt idx="98258">1</cx:pt>
          <cx:pt idx="98259">1</cx:pt>
          <cx:pt idx="98260">0</cx:pt>
          <cx:pt idx="98261">0</cx:pt>
          <cx:pt idx="98262">0</cx:pt>
          <cx:pt idx="98263">1</cx:pt>
          <cx:pt idx="98264">1</cx:pt>
          <cx:pt idx="98265">1</cx:pt>
          <cx:pt idx="98266">0</cx:pt>
          <cx:pt idx="98267">0</cx:pt>
          <cx:pt idx="98268">1</cx:pt>
          <cx:pt idx="98269">0</cx:pt>
          <cx:pt idx="98270">0</cx:pt>
          <cx:pt idx="98271">0</cx:pt>
          <cx:pt idx="98272">0</cx:pt>
          <cx:pt idx="98273">1</cx:pt>
          <cx:pt idx="98274">0</cx:pt>
          <cx:pt idx="98275">1</cx:pt>
          <cx:pt idx="98276">1</cx:pt>
          <cx:pt idx="98277">1</cx:pt>
          <cx:pt idx="98278">1</cx:pt>
          <cx:pt idx="98279">0</cx:pt>
          <cx:pt idx="98280">0</cx:pt>
          <cx:pt idx="98281">0</cx:pt>
          <cx:pt idx="98282">0</cx:pt>
          <cx:pt idx="98283">1</cx:pt>
          <cx:pt idx="98284">0</cx:pt>
          <cx:pt idx="98285">1</cx:pt>
          <cx:pt idx="98286">1</cx:pt>
          <cx:pt idx="98287">0</cx:pt>
          <cx:pt idx="98288">1</cx:pt>
          <cx:pt idx="98289">0</cx:pt>
          <cx:pt idx="98290">1</cx:pt>
          <cx:pt idx="98291">0</cx:pt>
          <cx:pt idx="98292">0</cx:pt>
          <cx:pt idx="98293">1</cx:pt>
          <cx:pt idx="98294">1</cx:pt>
          <cx:pt idx="98295">1</cx:pt>
          <cx:pt idx="98296">1</cx:pt>
          <cx:pt idx="98297">1</cx:pt>
          <cx:pt idx="98298">1</cx:pt>
          <cx:pt idx="98299">1</cx:pt>
          <cx:pt idx="98300">0</cx:pt>
          <cx:pt idx="98301">0</cx:pt>
          <cx:pt idx="98302">1</cx:pt>
          <cx:pt idx="98303">1</cx:pt>
          <cx:pt idx="98304">1</cx:pt>
          <cx:pt idx="98305">0</cx:pt>
          <cx:pt idx="98306">1</cx:pt>
          <cx:pt idx="98307">0</cx:pt>
          <cx:pt idx="98308">0</cx:pt>
          <cx:pt idx="98309">1</cx:pt>
          <cx:pt idx="98310">0</cx:pt>
          <cx:pt idx="98311">0</cx:pt>
          <cx:pt idx="98312">0</cx:pt>
          <cx:pt idx="98313">0</cx:pt>
          <cx:pt idx="98314">0</cx:pt>
          <cx:pt idx="98315">0</cx:pt>
          <cx:pt idx="98316">1</cx:pt>
          <cx:pt idx="98317">0</cx:pt>
          <cx:pt idx="98318">1</cx:pt>
          <cx:pt idx="98319">0</cx:pt>
          <cx:pt idx="98320">1</cx:pt>
          <cx:pt idx="98321">1</cx:pt>
          <cx:pt idx="98322">0</cx:pt>
          <cx:pt idx="98323">1</cx:pt>
          <cx:pt idx="98324">0</cx:pt>
          <cx:pt idx="98325">0</cx:pt>
          <cx:pt idx="98326">1</cx:pt>
          <cx:pt idx="98327">1</cx:pt>
          <cx:pt idx="98328">0</cx:pt>
          <cx:pt idx="98329">0</cx:pt>
          <cx:pt idx="98330">1</cx:pt>
          <cx:pt idx="98331">1</cx:pt>
          <cx:pt idx="98332">0</cx:pt>
          <cx:pt idx="98333">0</cx:pt>
          <cx:pt idx="98334">1</cx:pt>
          <cx:pt idx="98335">0</cx:pt>
          <cx:pt idx="98336">0</cx:pt>
          <cx:pt idx="98337">1</cx:pt>
          <cx:pt idx="98338">0</cx:pt>
          <cx:pt idx="98339">0</cx:pt>
          <cx:pt idx="98340">1</cx:pt>
          <cx:pt idx="98341">0</cx:pt>
          <cx:pt idx="98342">0</cx:pt>
          <cx:pt idx="98343">0</cx:pt>
          <cx:pt idx="98344">0</cx:pt>
          <cx:pt idx="98345">1</cx:pt>
          <cx:pt idx="98346">1</cx:pt>
          <cx:pt idx="98347">0</cx:pt>
          <cx:pt idx="98348">1</cx:pt>
          <cx:pt idx="98349">1</cx:pt>
          <cx:pt idx="98350">1</cx:pt>
          <cx:pt idx="98351">0</cx:pt>
          <cx:pt idx="98352">1</cx:pt>
          <cx:pt idx="98353">1</cx:pt>
          <cx:pt idx="98354">0</cx:pt>
          <cx:pt idx="98355">0</cx:pt>
          <cx:pt idx="98356">1</cx:pt>
          <cx:pt idx="98357">1</cx:pt>
          <cx:pt idx="98358">0</cx:pt>
          <cx:pt idx="98359">0</cx:pt>
          <cx:pt idx="98360">1</cx:pt>
          <cx:pt idx="98361">0</cx:pt>
          <cx:pt idx="98362">0</cx:pt>
          <cx:pt idx="98363">0</cx:pt>
          <cx:pt idx="98364">0</cx:pt>
          <cx:pt idx="98365">0</cx:pt>
          <cx:pt idx="98366">0</cx:pt>
          <cx:pt idx="98367">0</cx:pt>
          <cx:pt idx="98368">0</cx:pt>
          <cx:pt idx="98369">1</cx:pt>
          <cx:pt idx="98370">0</cx:pt>
          <cx:pt idx="98371">0</cx:pt>
          <cx:pt idx="98372">0</cx:pt>
          <cx:pt idx="98373">0</cx:pt>
          <cx:pt idx="98374">0</cx:pt>
          <cx:pt idx="98375">0</cx:pt>
          <cx:pt idx="98376">0</cx:pt>
          <cx:pt idx="98377">0</cx:pt>
          <cx:pt idx="98378">1</cx:pt>
          <cx:pt idx="98379">1</cx:pt>
          <cx:pt idx="98380">0</cx:pt>
          <cx:pt idx="98381">0</cx:pt>
          <cx:pt idx="98382">0</cx:pt>
          <cx:pt idx="98383">0</cx:pt>
          <cx:pt idx="98384">0</cx:pt>
          <cx:pt idx="98385">1</cx:pt>
          <cx:pt idx="98386">1</cx:pt>
          <cx:pt idx="98387">0</cx:pt>
          <cx:pt idx="98388">1</cx:pt>
          <cx:pt idx="98389">0</cx:pt>
          <cx:pt idx="98390">0</cx:pt>
          <cx:pt idx="98391">1</cx:pt>
          <cx:pt idx="98392">0</cx:pt>
          <cx:pt idx="98393">1</cx:pt>
          <cx:pt idx="98394">0</cx:pt>
          <cx:pt idx="98395">0</cx:pt>
          <cx:pt idx="98396">0</cx:pt>
          <cx:pt idx="98397">1</cx:pt>
          <cx:pt idx="98398">0</cx:pt>
          <cx:pt idx="98399">0</cx:pt>
          <cx:pt idx="98400">1</cx:pt>
          <cx:pt idx="98401">1</cx:pt>
          <cx:pt idx="98402">0</cx:pt>
          <cx:pt idx="98403">0</cx:pt>
          <cx:pt idx="98404">0</cx:pt>
          <cx:pt idx="98405">1</cx:pt>
          <cx:pt idx="98406">1</cx:pt>
          <cx:pt idx="98407">1</cx:pt>
          <cx:pt idx="98408">1</cx:pt>
          <cx:pt idx="98409">0</cx:pt>
          <cx:pt idx="98410">1</cx:pt>
          <cx:pt idx="98411">1</cx:pt>
          <cx:pt idx="98412">1</cx:pt>
          <cx:pt idx="98413">0</cx:pt>
          <cx:pt idx="98414">1</cx:pt>
          <cx:pt idx="98415">0</cx:pt>
          <cx:pt idx="98416">0</cx:pt>
          <cx:pt idx="98417">0</cx:pt>
          <cx:pt idx="98418">0</cx:pt>
          <cx:pt idx="98419">1</cx:pt>
          <cx:pt idx="98420">0</cx:pt>
          <cx:pt idx="98421">0</cx:pt>
          <cx:pt idx="98422">1</cx:pt>
          <cx:pt idx="98423">1</cx:pt>
          <cx:pt idx="98424">0</cx:pt>
          <cx:pt idx="98425">0</cx:pt>
          <cx:pt idx="98426">0</cx:pt>
          <cx:pt idx="98427">1</cx:pt>
          <cx:pt idx="98428">0</cx:pt>
          <cx:pt idx="98429">0</cx:pt>
          <cx:pt idx="98430">1</cx:pt>
          <cx:pt idx="98431">1</cx:pt>
          <cx:pt idx="98432">0</cx:pt>
          <cx:pt idx="98433">1</cx:pt>
          <cx:pt idx="98434">0</cx:pt>
          <cx:pt idx="98435">1</cx:pt>
          <cx:pt idx="98436">1</cx:pt>
          <cx:pt idx="98437">0</cx:pt>
          <cx:pt idx="98438">1</cx:pt>
          <cx:pt idx="98439">1</cx:pt>
          <cx:pt idx="98440">0</cx:pt>
          <cx:pt idx="98441">0</cx:pt>
          <cx:pt idx="98442">0</cx:pt>
          <cx:pt idx="98443">1</cx:pt>
          <cx:pt idx="98444">0</cx:pt>
          <cx:pt idx="98445">0</cx:pt>
          <cx:pt idx="98446">1</cx:pt>
          <cx:pt idx="98447">1</cx:pt>
          <cx:pt idx="98448">1</cx:pt>
          <cx:pt idx="98449">0</cx:pt>
          <cx:pt idx="98450">0</cx:pt>
          <cx:pt idx="98451">0</cx:pt>
          <cx:pt idx="98452">1</cx:pt>
          <cx:pt idx="98453">0</cx:pt>
          <cx:pt idx="98454">0</cx:pt>
          <cx:pt idx="98455">0</cx:pt>
          <cx:pt idx="98456">0</cx:pt>
          <cx:pt idx="98457">0</cx:pt>
          <cx:pt idx="98458">1</cx:pt>
          <cx:pt idx="98459">1</cx:pt>
          <cx:pt idx="98460">0</cx:pt>
          <cx:pt idx="98461">0</cx:pt>
          <cx:pt idx="98462">0</cx:pt>
          <cx:pt idx="98463">0</cx:pt>
          <cx:pt idx="98464">1</cx:pt>
          <cx:pt idx="98465">1</cx:pt>
          <cx:pt idx="98466">0</cx:pt>
          <cx:pt idx="98467">1</cx:pt>
          <cx:pt idx="98468">1</cx:pt>
          <cx:pt idx="98469">1</cx:pt>
          <cx:pt idx="98470">1</cx:pt>
          <cx:pt idx="98471">0</cx:pt>
          <cx:pt idx="98472">1</cx:pt>
          <cx:pt idx="98473">1</cx:pt>
          <cx:pt idx="98474">0</cx:pt>
          <cx:pt idx="98475">0</cx:pt>
          <cx:pt idx="98476">1</cx:pt>
          <cx:pt idx="98477">1</cx:pt>
          <cx:pt idx="98478">1</cx:pt>
          <cx:pt idx="98479">0</cx:pt>
          <cx:pt idx="98480">0</cx:pt>
          <cx:pt idx="98481">0</cx:pt>
          <cx:pt idx="98482">0</cx:pt>
          <cx:pt idx="98483">1</cx:pt>
          <cx:pt idx="98484">1</cx:pt>
          <cx:pt idx="98485">1</cx:pt>
          <cx:pt idx="98486">1</cx:pt>
          <cx:pt idx="98487">0</cx:pt>
          <cx:pt idx="98488">1</cx:pt>
          <cx:pt idx="98489">1</cx:pt>
          <cx:pt idx="98490">1</cx:pt>
          <cx:pt idx="98491">1</cx:pt>
          <cx:pt idx="98492">0</cx:pt>
          <cx:pt idx="98493">0</cx:pt>
          <cx:pt idx="98494">0</cx:pt>
          <cx:pt idx="98495">0</cx:pt>
          <cx:pt idx="98496">1</cx:pt>
          <cx:pt idx="98497">0</cx:pt>
          <cx:pt idx="98498">1</cx:pt>
          <cx:pt idx="98499">0</cx:pt>
          <cx:pt idx="98500">0</cx:pt>
          <cx:pt idx="98501">0</cx:pt>
          <cx:pt idx="98502">1</cx:pt>
          <cx:pt idx="98503">1</cx:pt>
          <cx:pt idx="98504">0</cx:pt>
          <cx:pt idx="98505">1</cx:pt>
          <cx:pt idx="98506">1</cx:pt>
          <cx:pt idx="98507">0</cx:pt>
          <cx:pt idx="98508">0</cx:pt>
          <cx:pt idx="98509">1</cx:pt>
          <cx:pt idx="98510">1</cx:pt>
          <cx:pt idx="98511">0</cx:pt>
          <cx:pt idx="98512">0</cx:pt>
          <cx:pt idx="98513">1</cx:pt>
          <cx:pt idx="98514">0</cx:pt>
          <cx:pt idx="98515">0</cx:pt>
          <cx:pt idx="98516">0</cx:pt>
          <cx:pt idx="98517">1</cx:pt>
          <cx:pt idx="98518">0</cx:pt>
          <cx:pt idx="98519">0</cx:pt>
          <cx:pt idx="98520">0</cx:pt>
          <cx:pt idx="98521">0</cx:pt>
          <cx:pt idx="98522">1</cx:pt>
          <cx:pt idx="98523">1</cx:pt>
          <cx:pt idx="98524">0</cx:pt>
          <cx:pt idx="98525">1</cx:pt>
          <cx:pt idx="98526">0</cx:pt>
          <cx:pt idx="98527">0</cx:pt>
          <cx:pt idx="98528">1</cx:pt>
          <cx:pt idx="98529">1</cx:pt>
          <cx:pt idx="98530">0</cx:pt>
          <cx:pt idx="98531">0</cx:pt>
          <cx:pt idx="98532">0</cx:pt>
          <cx:pt idx="98533">1</cx:pt>
          <cx:pt idx="98534">1</cx:pt>
          <cx:pt idx="98535">1</cx:pt>
          <cx:pt idx="98536">1</cx:pt>
          <cx:pt idx="98537">0</cx:pt>
          <cx:pt idx="98538">1</cx:pt>
          <cx:pt idx="98539">1</cx:pt>
          <cx:pt idx="98540">1</cx:pt>
          <cx:pt idx="98541">0</cx:pt>
          <cx:pt idx="98542">0</cx:pt>
          <cx:pt idx="98543">0</cx:pt>
          <cx:pt idx="98544">0</cx:pt>
          <cx:pt idx="98545">0</cx:pt>
          <cx:pt idx="98546">1</cx:pt>
          <cx:pt idx="98547">0</cx:pt>
          <cx:pt idx="98548">1</cx:pt>
          <cx:pt idx="98549">1</cx:pt>
          <cx:pt idx="98550">1</cx:pt>
          <cx:pt idx="98551">0</cx:pt>
          <cx:pt idx="98552">1</cx:pt>
          <cx:pt idx="98553">0</cx:pt>
          <cx:pt idx="98554">1</cx:pt>
          <cx:pt idx="98555">0</cx:pt>
          <cx:pt idx="98556">0</cx:pt>
          <cx:pt idx="98557">0</cx:pt>
          <cx:pt idx="98558">0</cx:pt>
          <cx:pt idx="98559">0</cx:pt>
          <cx:pt idx="98560">0</cx:pt>
          <cx:pt idx="98561">0</cx:pt>
          <cx:pt idx="98562">0</cx:pt>
          <cx:pt idx="98563">0</cx:pt>
          <cx:pt idx="98564">1</cx:pt>
          <cx:pt idx="98565">0</cx:pt>
          <cx:pt idx="98566">1</cx:pt>
          <cx:pt idx="98567">1</cx:pt>
          <cx:pt idx="98568">0</cx:pt>
          <cx:pt idx="98569">1</cx:pt>
          <cx:pt idx="98570">1</cx:pt>
          <cx:pt idx="98571">0</cx:pt>
          <cx:pt idx="98572">1</cx:pt>
          <cx:pt idx="98573">0</cx:pt>
          <cx:pt idx="98574">0</cx:pt>
          <cx:pt idx="98575">1</cx:pt>
          <cx:pt idx="98576">0</cx:pt>
          <cx:pt idx="98577">0</cx:pt>
          <cx:pt idx="98578">1</cx:pt>
          <cx:pt idx="98579">1</cx:pt>
          <cx:pt idx="98580">0</cx:pt>
          <cx:pt idx="98581">0</cx:pt>
          <cx:pt idx="98582">0</cx:pt>
          <cx:pt idx="98583">0</cx:pt>
          <cx:pt idx="98584">1</cx:pt>
          <cx:pt idx="98585">1</cx:pt>
          <cx:pt idx="98586">1</cx:pt>
          <cx:pt idx="98587">1</cx:pt>
          <cx:pt idx="98588">1</cx:pt>
          <cx:pt idx="98589">1</cx:pt>
          <cx:pt idx="98590">0</cx:pt>
          <cx:pt idx="98591">1</cx:pt>
          <cx:pt idx="98592">1</cx:pt>
          <cx:pt idx="98593">1</cx:pt>
          <cx:pt idx="98594">0</cx:pt>
          <cx:pt idx="98595">0</cx:pt>
          <cx:pt idx="98596">0</cx:pt>
          <cx:pt idx="98597">1</cx:pt>
          <cx:pt idx="98598">1</cx:pt>
          <cx:pt idx="98599">0</cx:pt>
          <cx:pt idx="98600">1</cx:pt>
          <cx:pt idx="98601">1</cx:pt>
          <cx:pt idx="98602">0</cx:pt>
          <cx:pt idx="98603">1</cx:pt>
          <cx:pt idx="98604">1</cx:pt>
          <cx:pt idx="98605">1</cx:pt>
          <cx:pt idx="98606">1</cx:pt>
          <cx:pt idx="98607">1</cx:pt>
          <cx:pt idx="98608">0</cx:pt>
          <cx:pt idx="98609">0</cx:pt>
          <cx:pt idx="98610">0</cx:pt>
          <cx:pt idx="98611">0</cx:pt>
          <cx:pt idx="98612">1</cx:pt>
          <cx:pt idx="98613">0</cx:pt>
          <cx:pt idx="98614">0</cx:pt>
          <cx:pt idx="98615">0</cx:pt>
          <cx:pt idx="98616">1</cx:pt>
          <cx:pt idx="98617">0</cx:pt>
          <cx:pt idx="98618">1</cx:pt>
          <cx:pt idx="98619">0</cx:pt>
          <cx:pt idx="98620">1</cx:pt>
          <cx:pt idx="98621">0</cx:pt>
          <cx:pt idx="98622">0</cx:pt>
          <cx:pt idx="98623">0</cx:pt>
          <cx:pt idx="98624">0</cx:pt>
          <cx:pt idx="98625">1</cx:pt>
          <cx:pt idx="98626">1</cx:pt>
          <cx:pt idx="98627">0</cx:pt>
          <cx:pt idx="98628">0</cx:pt>
          <cx:pt idx="98629">1</cx:pt>
          <cx:pt idx="98630">0</cx:pt>
          <cx:pt idx="98631">1</cx:pt>
          <cx:pt idx="98632">1</cx:pt>
          <cx:pt idx="98633">1</cx:pt>
          <cx:pt idx="98634">0</cx:pt>
          <cx:pt idx="98635">0</cx:pt>
          <cx:pt idx="98636">0</cx:pt>
          <cx:pt idx="98637">1</cx:pt>
          <cx:pt idx="98638">0</cx:pt>
          <cx:pt idx="98639">0</cx:pt>
          <cx:pt idx="98640">0</cx:pt>
          <cx:pt idx="98641">0</cx:pt>
          <cx:pt idx="98642">1</cx:pt>
          <cx:pt idx="98643">0</cx:pt>
          <cx:pt idx="98644">0</cx:pt>
          <cx:pt idx="98645">0</cx:pt>
          <cx:pt idx="98646">1</cx:pt>
          <cx:pt idx="98647">0</cx:pt>
          <cx:pt idx="98648">1</cx:pt>
          <cx:pt idx="98649">1</cx:pt>
          <cx:pt idx="98650">1</cx:pt>
          <cx:pt idx="98651">1</cx:pt>
          <cx:pt idx="98652">0</cx:pt>
          <cx:pt idx="98653">0</cx:pt>
          <cx:pt idx="98654">0</cx:pt>
          <cx:pt idx="98655">0</cx:pt>
          <cx:pt idx="98656">1</cx:pt>
          <cx:pt idx="98657">1</cx:pt>
          <cx:pt idx="98658">1</cx:pt>
          <cx:pt idx="98659">0</cx:pt>
          <cx:pt idx="98660">0</cx:pt>
          <cx:pt idx="98661">0</cx:pt>
          <cx:pt idx="98662">0</cx:pt>
          <cx:pt idx="98663">1</cx:pt>
          <cx:pt idx="98664">1</cx:pt>
          <cx:pt idx="98665">1</cx:pt>
          <cx:pt idx="98666">0</cx:pt>
          <cx:pt idx="98667">0</cx:pt>
          <cx:pt idx="98668">1</cx:pt>
          <cx:pt idx="98669">0</cx:pt>
          <cx:pt idx="98670">0</cx:pt>
          <cx:pt idx="98671">1</cx:pt>
          <cx:pt idx="98672">1</cx:pt>
          <cx:pt idx="98673">0</cx:pt>
          <cx:pt idx="98674">0</cx:pt>
          <cx:pt idx="98675">0</cx:pt>
          <cx:pt idx="98676">0</cx:pt>
          <cx:pt idx="98677">0</cx:pt>
          <cx:pt idx="98678">1</cx:pt>
          <cx:pt idx="98679">1</cx:pt>
          <cx:pt idx="98680">0</cx:pt>
          <cx:pt idx="98681">0</cx:pt>
          <cx:pt idx="98682">1</cx:pt>
          <cx:pt idx="98683">1</cx:pt>
          <cx:pt idx="98684">1</cx:pt>
          <cx:pt idx="98685">0</cx:pt>
          <cx:pt idx="98686">1</cx:pt>
          <cx:pt idx="98687">0</cx:pt>
          <cx:pt idx="98688">0</cx:pt>
          <cx:pt idx="98689">0</cx:pt>
          <cx:pt idx="98690">1</cx:pt>
          <cx:pt idx="98691">0</cx:pt>
          <cx:pt idx="98692">0</cx:pt>
          <cx:pt idx="98693">0</cx:pt>
          <cx:pt idx="98694">0</cx:pt>
          <cx:pt idx="98695">0</cx:pt>
          <cx:pt idx="98696">0</cx:pt>
          <cx:pt idx="98697">1</cx:pt>
          <cx:pt idx="98698">1</cx:pt>
          <cx:pt idx="98699">1</cx:pt>
          <cx:pt idx="98700">0</cx:pt>
          <cx:pt idx="98701">1</cx:pt>
          <cx:pt idx="98702">1</cx:pt>
          <cx:pt idx="98703">0</cx:pt>
          <cx:pt idx="98704">1</cx:pt>
          <cx:pt idx="98705">0</cx:pt>
          <cx:pt idx="98706">1</cx:pt>
          <cx:pt idx="98707">1</cx:pt>
          <cx:pt idx="98708">0</cx:pt>
          <cx:pt idx="98709">0</cx:pt>
          <cx:pt idx="98710">1</cx:pt>
          <cx:pt idx="98711">0</cx:pt>
          <cx:pt idx="98712">0</cx:pt>
          <cx:pt idx="98713">1</cx:pt>
          <cx:pt idx="98714">1</cx:pt>
          <cx:pt idx="98715">1</cx:pt>
          <cx:pt idx="98716">1</cx:pt>
          <cx:pt idx="98717">0</cx:pt>
          <cx:pt idx="98718">0</cx:pt>
          <cx:pt idx="98719">0</cx:pt>
          <cx:pt idx="98720">1</cx:pt>
          <cx:pt idx="98721">1</cx:pt>
          <cx:pt idx="98722">0</cx:pt>
          <cx:pt idx="98723">0</cx:pt>
          <cx:pt idx="98724">0</cx:pt>
          <cx:pt idx="98725">0</cx:pt>
          <cx:pt idx="98726">1</cx:pt>
          <cx:pt idx="98727">0</cx:pt>
          <cx:pt idx="98728">0</cx:pt>
          <cx:pt idx="98729">0</cx:pt>
          <cx:pt idx="98730">0</cx:pt>
          <cx:pt idx="98731">1</cx:pt>
          <cx:pt idx="98732">1</cx:pt>
          <cx:pt idx="98733">1</cx:pt>
          <cx:pt idx="98734">1</cx:pt>
          <cx:pt idx="98735">0</cx:pt>
          <cx:pt idx="98736">1</cx:pt>
          <cx:pt idx="98737">0</cx:pt>
          <cx:pt idx="98738">0</cx:pt>
          <cx:pt idx="98739">0</cx:pt>
          <cx:pt idx="98740">0</cx:pt>
          <cx:pt idx="98741">1</cx:pt>
          <cx:pt idx="98742">1</cx:pt>
          <cx:pt idx="98743">0</cx:pt>
          <cx:pt idx="98744">0</cx:pt>
          <cx:pt idx="98745">0</cx:pt>
          <cx:pt idx="98746">1</cx:pt>
          <cx:pt idx="98747">1</cx:pt>
          <cx:pt idx="98748">0</cx:pt>
          <cx:pt idx="98749">0</cx:pt>
          <cx:pt idx="98750">1</cx:pt>
          <cx:pt idx="98751">0</cx:pt>
          <cx:pt idx="98752">0</cx:pt>
          <cx:pt idx="98753">0</cx:pt>
          <cx:pt idx="98754">1</cx:pt>
          <cx:pt idx="98755">0</cx:pt>
          <cx:pt idx="98756">0</cx:pt>
          <cx:pt idx="98757">1</cx:pt>
          <cx:pt idx="98758">0</cx:pt>
          <cx:pt idx="98759">1</cx:pt>
          <cx:pt idx="98760">1</cx:pt>
          <cx:pt idx="98761">0</cx:pt>
          <cx:pt idx="98762">1</cx:pt>
          <cx:pt idx="98763">0</cx:pt>
          <cx:pt idx="98764">1</cx:pt>
          <cx:pt idx="98765">0</cx:pt>
          <cx:pt idx="98766">0</cx:pt>
          <cx:pt idx="98767">0</cx:pt>
          <cx:pt idx="98768">1</cx:pt>
          <cx:pt idx="98769">1</cx:pt>
          <cx:pt idx="98770">0</cx:pt>
          <cx:pt idx="98771">1</cx:pt>
          <cx:pt idx="98772">0</cx:pt>
          <cx:pt idx="98773">0</cx:pt>
          <cx:pt idx="98774">0</cx:pt>
          <cx:pt idx="98775">0</cx:pt>
          <cx:pt idx="98776">1</cx:pt>
          <cx:pt idx="98777">0</cx:pt>
          <cx:pt idx="98778">0</cx:pt>
          <cx:pt idx="98779">1</cx:pt>
          <cx:pt idx="98780">1</cx:pt>
          <cx:pt idx="98781">0</cx:pt>
          <cx:pt idx="98782">0</cx:pt>
          <cx:pt idx="98783">1</cx:pt>
          <cx:pt idx="98784">0</cx:pt>
          <cx:pt idx="98785">1</cx:pt>
          <cx:pt idx="98786">0</cx:pt>
          <cx:pt idx="98787">0</cx:pt>
          <cx:pt idx="98788">1</cx:pt>
          <cx:pt idx="98789">1</cx:pt>
          <cx:pt idx="98790">0</cx:pt>
          <cx:pt idx="98791">0</cx:pt>
          <cx:pt idx="98792">1</cx:pt>
          <cx:pt idx="98793">0</cx:pt>
          <cx:pt idx="98794">1</cx:pt>
          <cx:pt idx="98795">1</cx:pt>
          <cx:pt idx="98796">0</cx:pt>
          <cx:pt idx="98797">0</cx:pt>
          <cx:pt idx="98798">1</cx:pt>
          <cx:pt idx="98799">1</cx:pt>
          <cx:pt idx="98800">1</cx:pt>
          <cx:pt idx="98801">1</cx:pt>
          <cx:pt idx="98802">0</cx:pt>
          <cx:pt idx="98803">1</cx:pt>
          <cx:pt idx="98804">0</cx:pt>
          <cx:pt idx="98805">0</cx:pt>
          <cx:pt idx="98806">1</cx:pt>
          <cx:pt idx="98807">1</cx:pt>
          <cx:pt idx="98808">0</cx:pt>
          <cx:pt idx="98809">1</cx:pt>
          <cx:pt idx="98810">1</cx:pt>
          <cx:pt idx="98811">0</cx:pt>
          <cx:pt idx="98812">0</cx:pt>
          <cx:pt idx="98813">0</cx:pt>
          <cx:pt idx="98814">0</cx:pt>
          <cx:pt idx="98815">0</cx:pt>
          <cx:pt idx="98816">0</cx:pt>
          <cx:pt idx="98817">1</cx:pt>
          <cx:pt idx="98818">0</cx:pt>
          <cx:pt idx="98819">0</cx:pt>
          <cx:pt idx="98820">1</cx:pt>
          <cx:pt idx="98821">0</cx:pt>
          <cx:pt idx="98822">1</cx:pt>
          <cx:pt idx="98823">0</cx:pt>
          <cx:pt idx="98824">1</cx:pt>
          <cx:pt idx="98825">0</cx:pt>
          <cx:pt idx="98826">0</cx:pt>
          <cx:pt idx="98827">1</cx:pt>
          <cx:pt idx="98828">1</cx:pt>
          <cx:pt idx="98829">0</cx:pt>
          <cx:pt idx="98830">1</cx:pt>
          <cx:pt idx="98831">1</cx:pt>
          <cx:pt idx="98832">0</cx:pt>
          <cx:pt idx="98833">1</cx:pt>
          <cx:pt idx="98834">0</cx:pt>
          <cx:pt idx="98835">0</cx:pt>
          <cx:pt idx="98836">0</cx:pt>
          <cx:pt idx="98837">1</cx:pt>
          <cx:pt idx="98838">0</cx:pt>
          <cx:pt idx="98839">0</cx:pt>
          <cx:pt idx="98840">0</cx:pt>
          <cx:pt idx="98841">0</cx:pt>
          <cx:pt idx="98842">1</cx:pt>
          <cx:pt idx="98843">0</cx:pt>
          <cx:pt idx="98844">0</cx:pt>
          <cx:pt idx="98845">1</cx:pt>
          <cx:pt idx="98846">1</cx:pt>
          <cx:pt idx="98847">1</cx:pt>
          <cx:pt idx="98848">0</cx:pt>
          <cx:pt idx="98849">1</cx:pt>
          <cx:pt idx="98850">0</cx:pt>
          <cx:pt idx="98851">0</cx:pt>
          <cx:pt idx="98852">0</cx:pt>
          <cx:pt idx="98853">1</cx:pt>
          <cx:pt idx="98854">0</cx:pt>
          <cx:pt idx="98855">1</cx:pt>
          <cx:pt idx="98856">1</cx:pt>
          <cx:pt idx="98857">0</cx:pt>
          <cx:pt idx="98858">0</cx:pt>
          <cx:pt idx="98859">1</cx:pt>
          <cx:pt idx="98860">1</cx:pt>
          <cx:pt idx="98861">1</cx:pt>
          <cx:pt idx="98862">1</cx:pt>
          <cx:pt idx="98863">0</cx:pt>
          <cx:pt idx="98864">1</cx:pt>
          <cx:pt idx="98865">1</cx:pt>
          <cx:pt idx="98866">1</cx:pt>
          <cx:pt idx="98867">0</cx:pt>
          <cx:pt idx="98868">0</cx:pt>
          <cx:pt idx="98869">0</cx:pt>
          <cx:pt idx="98870">1</cx:pt>
          <cx:pt idx="98871">1</cx:pt>
          <cx:pt idx="98872">1</cx:pt>
          <cx:pt idx="98873">0</cx:pt>
          <cx:pt idx="98874">0</cx:pt>
          <cx:pt idx="98875">1</cx:pt>
          <cx:pt idx="98876">0</cx:pt>
          <cx:pt idx="98877">0</cx:pt>
          <cx:pt idx="98878">0</cx:pt>
          <cx:pt idx="98879">1</cx:pt>
          <cx:pt idx="98880">0</cx:pt>
          <cx:pt idx="98881">1</cx:pt>
          <cx:pt idx="98882">0</cx:pt>
          <cx:pt idx="98883">0</cx:pt>
          <cx:pt idx="98884">0</cx:pt>
          <cx:pt idx="98885">0</cx:pt>
          <cx:pt idx="98886">0</cx:pt>
          <cx:pt idx="98887">1</cx:pt>
          <cx:pt idx="98888">1</cx:pt>
          <cx:pt idx="98889">0</cx:pt>
          <cx:pt idx="98890">0</cx:pt>
          <cx:pt idx="98891">0</cx:pt>
          <cx:pt idx="98892">0</cx:pt>
          <cx:pt idx="98893">0</cx:pt>
          <cx:pt idx="98894">1</cx:pt>
          <cx:pt idx="98895">0</cx:pt>
          <cx:pt idx="98896">0</cx:pt>
          <cx:pt idx="98897">0</cx:pt>
          <cx:pt idx="98898">0</cx:pt>
          <cx:pt idx="98899">0</cx:pt>
          <cx:pt idx="98900">0</cx:pt>
          <cx:pt idx="98901">1</cx:pt>
          <cx:pt idx="98902">0</cx:pt>
          <cx:pt idx="98903">0</cx:pt>
          <cx:pt idx="98904">0</cx:pt>
          <cx:pt idx="98905">1</cx:pt>
          <cx:pt idx="98906">0</cx:pt>
          <cx:pt idx="98907">1</cx:pt>
          <cx:pt idx="98908">0</cx:pt>
          <cx:pt idx="98909">0</cx:pt>
          <cx:pt idx="98910">0</cx:pt>
          <cx:pt idx="98911">0</cx:pt>
          <cx:pt idx="98912">1</cx:pt>
          <cx:pt idx="98913">0</cx:pt>
          <cx:pt idx="98914">0</cx:pt>
          <cx:pt idx="98915">0</cx:pt>
          <cx:pt idx="98916">0</cx:pt>
          <cx:pt idx="98917">0</cx:pt>
          <cx:pt idx="98918">1</cx:pt>
          <cx:pt idx="98919">1</cx:pt>
          <cx:pt idx="98920">0</cx:pt>
          <cx:pt idx="98921">0</cx:pt>
          <cx:pt idx="98922">1</cx:pt>
          <cx:pt idx="98923">0</cx:pt>
          <cx:pt idx="98924">0</cx:pt>
          <cx:pt idx="98925">0</cx:pt>
          <cx:pt idx="98926">1</cx:pt>
          <cx:pt idx="98927">1</cx:pt>
          <cx:pt idx="98928">1</cx:pt>
          <cx:pt idx="98929">0</cx:pt>
          <cx:pt idx="98930">1</cx:pt>
          <cx:pt idx="98931">1</cx:pt>
          <cx:pt idx="98932">0</cx:pt>
          <cx:pt idx="98933">1</cx:pt>
          <cx:pt idx="98934">0</cx:pt>
          <cx:pt idx="98935">0</cx:pt>
          <cx:pt idx="98936">1</cx:pt>
          <cx:pt idx="98937">0</cx:pt>
          <cx:pt idx="98938">0</cx:pt>
          <cx:pt idx="98939">0</cx:pt>
          <cx:pt idx="98940">0</cx:pt>
          <cx:pt idx="98941">0</cx:pt>
          <cx:pt idx="98942">0</cx:pt>
          <cx:pt idx="98943">1</cx:pt>
          <cx:pt idx="98944">1</cx:pt>
          <cx:pt idx="98945">0</cx:pt>
          <cx:pt idx="98946">1</cx:pt>
          <cx:pt idx="98947">0</cx:pt>
          <cx:pt idx="98948">0</cx:pt>
          <cx:pt idx="98949">1</cx:pt>
          <cx:pt idx="98950">0</cx:pt>
          <cx:pt idx="98951">1</cx:pt>
          <cx:pt idx="98952">0</cx:pt>
          <cx:pt idx="98953">0</cx:pt>
          <cx:pt idx="98954">0</cx:pt>
          <cx:pt idx="98955">1</cx:pt>
          <cx:pt idx="98956">1</cx:pt>
          <cx:pt idx="98957">1</cx:pt>
          <cx:pt idx="98958">0</cx:pt>
          <cx:pt idx="98959">1</cx:pt>
          <cx:pt idx="98960">0</cx:pt>
          <cx:pt idx="98961">0</cx:pt>
          <cx:pt idx="98962">1</cx:pt>
          <cx:pt idx="98963">0</cx:pt>
          <cx:pt idx="98964">0</cx:pt>
          <cx:pt idx="98965">0</cx:pt>
          <cx:pt idx="98966">1</cx:pt>
          <cx:pt idx="98967">1</cx:pt>
          <cx:pt idx="98968">1</cx:pt>
          <cx:pt idx="98969">1</cx:pt>
          <cx:pt idx="98970">0</cx:pt>
          <cx:pt idx="98971">1</cx:pt>
          <cx:pt idx="98972">1</cx:pt>
          <cx:pt idx="98973">0</cx:pt>
          <cx:pt idx="98974">0</cx:pt>
          <cx:pt idx="98975">1</cx:pt>
          <cx:pt idx="98976">0</cx:pt>
          <cx:pt idx="98977">0</cx:pt>
          <cx:pt idx="98978">0</cx:pt>
          <cx:pt idx="98979">1</cx:pt>
          <cx:pt idx="98980">1</cx:pt>
          <cx:pt idx="98981">0</cx:pt>
          <cx:pt idx="98982">1</cx:pt>
          <cx:pt idx="98983">0</cx:pt>
          <cx:pt idx="98984">0</cx:pt>
          <cx:pt idx="98985">0</cx:pt>
          <cx:pt idx="98986">0</cx:pt>
          <cx:pt idx="98987">1</cx:pt>
          <cx:pt idx="98988">0</cx:pt>
          <cx:pt idx="98989">0</cx:pt>
          <cx:pt idx="98990">1</cx:pt>
          <cx:pt idx="98991">1</cx:pt>
          <cx:pt idx="98992">0</cx:pt>
          <cx:pt idx="98993">1</cx:pt>
          <cx:pt idx="98994">0</cx:pt>
          <cx:pt idx="98995">1</cx:pt>
          <cx:pt idx="98996">0</cx:pt>
          <cx:pt idx="98997">1</cx:pt>
          <cx:pt idx="98998">0</cx:pt>
          <cx:pt idx="98999">0</cx:pt>
          <cx:pt idx="99000">0</cx:pt>
          <cx:pt idx="99001">0</cx:pt>
          <cx:pt idx="99002">0</cx:pt>
          <cx:pt idx="99003">0</cx:pt>
          <cx:pt idx="99004">0</cx:pt>
          <cx:pt idx="99005">1</cx:pt>
          <cx:pt idx="99006">1</cx:pt>
          <cx:pt idx="99007">0</cx:pt>
          <cx:pt idx="99008">0</cx:pt>
          <cx:pt idx="99009">1</cx:pt>
          <cx:pt idx="99010">0</cx:pt>
          <cx:pt idx="99011">0</cx:pt>
          <cx:pt idx="99012">1</cx:pt>
          <cx:pt idx="99013">1</cx:pt>
          <cx:pt idx="99014">0</cx:pt>
          <cx:pt idx="99015">0</cx:pt>
          <cx:pt idx="99016">1</cx:pt>
          <cx:pt idx="99017">0</cx:pt>
          <cx:pt idx="99018">0</cx:pt>
          <cx:pt idx="99019">1</cx:pt>
          <cx:pt idx="99020">0</cx:pt>
          <cx:pt idx="99021">1</cx:pt>
          <cx:pt idx="99022">1</cx:pt>
          <cx:pt idx="99023">1</cx:pt>
          <cx:pt idx="99024">1</cx:pt>
          <cx:pt idx="99025">0</cx:pt>
          <cx:pt idx="99026">0</cx:pt>
          <cx:pt idx="99027">0</cx:pt>
          <cx:pt idx="99028">1</cx:pt>
          <cx:pt idx="99029">1</cx:pt>
          <cx:pt idx="99030">1</cx:pt>
          <cx:pt idx="99031">1</cx:pt>
          <cx:pt idx="99032">1</cx:pt>
          <cx:pt idx="99033">0</cx:pt>
          <cx:pt idx="99034">1</cx:pt>
          <cx:pt idx="99035">0</cx:pt>
          <cx:pt idx="99036">1</cx:pt>
          <cx:pt idx="99037">1</cx:pt>
          <cx:pt idx="99038">0</cx:pt>
          <cx:pt idx="99039">0</cx:pt>
          <cx:pt idx="99040">0</cx:pt>
          <cx:pt idx="99041">0</cx:pt>
          <cx:pt idx="99042">1</cx:pt>
          <cx:pt idx="99043">0</cx:pt>
          <cx:pt idx="99044">0</cx:pt>
          <cx:pt idx="99045">0</cx:pt>
          <cx:pt idx="99046">0</cx:pt>
          <cx:pt idx="99047">0</cx:pt>
          <cx:pt idx="99048">1</cx:pt>
          <cx:pt idx="99049">0</cx:pt>
          <cx:pt idx="99050">0</cx:pt>
          <cx:pt idx="99051">0</cx:pt>
          <cx:pt idx="99052">0</cx:pt>
          <cx:pt idx="99053">1</cx:pt>
          <cx:pt idx="99054">0</cx:pt>
          <cx:pt idx="99055">0</cx:pt>
          <cx:pt idx="99056">1</cx:pt>
          <cx:pt idx="99057">1</cx:pt>
          <cx:pt idx="99058">0</cx:pt>
          <cx:pt idx="99059">0</cx:pt>
          <cx:pt idx="99060">1</cx:pt>
          <cx:pt idx="99061">1</cx:pt>
          <cx:pt idx="99062">1</cx:pt>
          <cx:pt idx="99063">0</cx:pt>
          <cx:pt idx="99064">1</cx:pt>
          <cx:pt idx="99065">1</cx:pt>
          <cx:pt idx="99066">0</cx:pt>
          <cx:pt idx="99067">1</cx:pt>
          <cx:pt idx="99068">0</cx:pt>
          <cx:pt idx="99069">0</cx:pt>
          <cx:pt idx="99070">1</cx:pt>
          <cx:pt idx="99071">1</cx:pt>
          <cx:pt idx="99072">1</cx:pt>
          <cx:pt idx="99073">0</cx:pt>
          <cx:pt idx="99074">0</cx:pt>
          <cx:pt idx="99075">0</cx:pt>
          <cx:pt idx="99076">0</cx:pt>
          <cx:pt idx="99077">1</cx:pt>
          <cx:pt idx="99078">1</cx:pt>
          <cx:pt idx="99079">1</cx:pt>
          <cx:pt idx="99080">1</cx:pt>
          <cx:pt idx="99081">1</cx:pt>
          <cx:pt idx="99082">0</cx:pt>
          <cx:pt idx="99083">0</cx:pt>
          <cx:pt idx="99084">1</cx:pt>
          <cx:pt idx="99085">1</cx:pt>
          <cx:pt idx="99086">0</cx:pt>
          <cx:pt idx="99087">1</cx:pt>
          <cx:pt idx="99088">1</cx:pt>
          <cx:pt idx="99089">0</cx:pt>
          <cx:pt idx="99090">0</cx:pt>
          <cx:pt idx="99091">0</cx:pt>
          <cx:pt idx="99092">0</cx:pt>
          <cx:pt idx="99093">1</cx:pt>
          <cx:pt idx="99094">1</cx:pt>
          <cx:pt idx="99095">0</cx:pt>
          <cx:pt idx="99096">0</cx:pt>
          <cx:pt idx="99097">1</cx:pt>
          <cx:pt idx="99098">0</cx:pt>
          <cx:pt idx="99099">0</cx:pt>
          <cx:pt idx="99100">0</cx:pt>
          <cx:pt idx="99101">1</cx:pt>
          <cx:pt idx="99102">1</cx:pt>
          <cx:pt idx="99103">0</cx:pt>
          <cx:pt idx="99104">0</cx:pt>
          <cx:pt idx="99105">1</cx:pt>
          <cx:pt idx="99106">1</cx:pt>
          <cx:pt idx="99107">0</cx:pt>
          <cx:pt idx="99108">0</cx:pt>
          <cx:pt idx="99109">1</cx:pt>
          <cx:pt idx="99110">1</cx:pt>
          <cx:pt idx="99111">0</cx:pt>
          <cx:pt idx="99112">0</cx:pt>
          <cx:pt idx="99113">1</cx:pt>
          <cx:pt idx="99114">1</cx:pt>
          <cx:pt idx="99115">1</cx:pt>
          <cx:pt idx="99116">1</cx:pt>
          <cx:pt idx="99117">1</cx:pt>
          <cx:pt idx="99118">1</cx:pt>
          <cx:pt idx="99119">0</cx:pt>
          <cx:pt idx="99120">1</cx:pt>
          <cx:pt idx="99121">1</cx:pt>
          <cx:pt idx="99122">0</cx:pt>
          <cx:pt idx="99123">0</cx:pt>
          <cx:pt idx="99124">1</cx:pt>
          <cx:pt idx="99125">1</cx:pt>
          <cx:pt idx="99126">1</cx:pt>
          <cx:pt idx="99127">1</cx:pt>
          <cx:pt idx="99128">0</cx:pt>
          <cx:pt idx="99129">0</cx:pt>
          <cx:pt idx="99130">0</cx:pt>
          <cx:pt idx="99131">0</cx:pt>
          <cx:pt idx="99132">0</cx:pt>
          <cx:pt idx="99133">1</cx:pt>
          <cx:pt idx="99134">0</cx:pt>
          <cx:pt idx="99135">1</cx:pt>
          <cx:pt idx="99136">0</cx:pt>
          <cx:pt idx="99137">1</cx:pt>
          <cx:pt idx="99138">1</cx:pt>
          <cx:pt idx="99139">1</cx:pt>
          <cx:pt idx="99140">0</cx:pt>
          <cx:pt idx="99141">1</cx:pt>
          <cx:pt idx="99142">0</cx:pt>
          <cx:pt idx="99143">0</cx:pt>
          <cx:pt idx="99144">0</cx:pt>
          <cx:pt idx="99145">1</cx:pt>
          <cx:pt idx="99146">0</cx:pt>
          <cx:pt idx="99147">0</cx:pt>
          <cx:pt idx="99148">0</cx:pt>
          <cx:pt idx="99149">1</cx:pt>
          <cx:pt idx="99150">1</cx:pt>
          <cx:pt idx="99151">1</cx:pt>
          <cx:pt idx="99152">1</cx:pt>
          <cx:pt idx="99153">0</cx:pt>
          <cx:pt idx="99154">0</cx:pt>
          <cx:pt idx="99155">0</cx:pt>
          <cx:pt idx="99156">1</cx:pt>
          <cx:pt idx="99157">0</cx:pt>
          <cx:pt idx="99158">1</cx:pt>
          <cx:pt idx="99159">1</cx:pt>
          <cx:pt idx="99160">0</cx:pt>
          <cx:pt idx="99161">0</cx:pt>
          <cx:pt idx="99162">1</cx:pt>
          <cx:pt idx="99163">0</cx:pt>
          <cx:pt idx="99164">1</cx:pt>
          <cx:pt idx="99165">0</cx:pt>
          <cx:pt idx="99166">0</cx:pt>
          <cx:pt idx="99167">0</cx:pt>
          <cx:pt idx="99168">1</cx:pt>
          <cx:pt idx="99169">0</cx:pt>
          <cx:pt idx="99170">1</cx:pt>
          <cx:pt idx="99171">1</cx:pt>
          <cx:pt idx="99172">0</cx:pt>
          <cx:pt idx="99173">1</cx:pt>
          <cx:pt idx="99174">0</cx:pt>
          <cx:pt idx="99175">1</cx:pt>
          <cx:pt idx="99176">0</cx:pt>
          <cx:pt idx="99177">1</cx:pt>
          <cx:pt idx="99178">0</cx:pt>
          <cx:pt idx="99179">0</cx:pt>
          <cx:pt idx="99180">0</cx:pt>
          <cx:pt idx="99181">0</cx:pt>
          <cx:pt idx="99182">0</cx:pt>
          <cx:pt idx="99183">0</cx:pt>
          <cx:pt idx="99184">1</cx:pt>
          <cx:pt idx="99185">1</cx:pt>
          <cx:pt idx="99186">0</cx:pt>
          <cx:pt idx="99187">1</cx:pt>
          <cx:pt idx="99188">0</cx:pt>
          <cx:pt idx="99189">0</cx:pt>
          <cx:pt idx="99190">1</cx:pt>
          <cx:pt idx="99191">0</cx:pt>
          <cx:pt idx="99192">0</cx:pt>
          <cx:pt idx="99193">0</cx:pt>
          <cx:pt idx="99194">0</cx:pt>
          <cx:pt idx="99195">0</cx:pt>
          <cx:pt idx="99196">1</cx:pt>
          <cx:pt idx="99197">1</cx:pt>
          <cx:pt idx="99198">1</cx:pt>
          <cx:pt idx="99199">0</cx:pt>
          <cx:pt idx="99200">1</cx:pt>
          <cx:pt idx="99201">1</cx:pt>
          <cx:pt idx="99202">0</cx:pt>
          <cx:pt idx="99203">0</cx:pt>
          <cx:pt idx="99204">0</cx:pt>
          <cx:pt idx="99205">1</cx:pt>
          <cx:pt idx="99206">0</cx:pt>
          <cx:pt idx="99207">1</cx:pt>
          <cx:pt idx="99208">0</cx:pt>
          <cx:pt idx="99209">0</cx:pt>
          <cx:pt idx="99210">1</cx:pt>
          <cx:pt idx="99211">1</cx:pt>
          <cx:pt idx="99212">1</cx:pt>
          <cx:pt idx="99213">0</cx:pt>
          <cx:pt idx="99214">1</cx:pt>
          <cx:pt idx="99215">1</cx:pt>
          <cx:pt idx="99216">1</cx:pt>
          <cx:pt idx="99217">1</cx:pt>
          <cx:pt idx="99218">1</cx:pt>
          <cx:pt idx="99219">1</cx:pt>
          <cx:pt idx="99220">0</cx:pt>
          <cx:pt idx="99221">0</cx:pt>
          <cx:pt idx="99222">0</cx:pt>
          <cx:pt idx="99223">0</cx:pt>
          <cx:pt idx="99224">1</cx:pt>
          <cx:pt idx="99225">0</cx:pt>
          <cx:pt idx="99226">1</cx:pt>
          <cx:pt idx="99227">0</cx:pt>
          <cx:pt idx="99228">1</cx:pt>
          <cx:pt idx="99229">1</cx:pt>
          <cx:pt idx="99230">0</cx:pt>
          <cx:pt idx="99231">1</cx:pt>
          <cx:pt idx="99232">0</cx:pt>
          <cx:pt idx="99233">0</cx:pt>
          <cx:pt idx="99234">0</cx:pt>
          <cx:pt idx="99235">0</cx:pt>
          <cx:pt idx="99236">1</cx:pt>
          <cx:pt idx="99237">1</cx:pt>
          <cx:pt idx="99238">1</cx:pt>
          <cx:pt idx="99239">0</cx:pt>
          <cx:pt idx="99240">0</cx:pt>
          <cx:pt idx="99241">0</cx:pt>
          <cx:pt idx="99242">0</cx:pt>
          <cx:pt idx="99243">1</cx:pt>
          <cx:pt idx="99244">0</cx:pt>
          <cx:pt idx="99245">1</cx:pt>
          <cx:pt idx="99246">0</cx:pt>
          <cx:pt idx="99247">1</cx:pt>
          <cx:pt idx="99248">0</cx:pt>
          <cx:pt idx="99249">0</cx:pt>
          <cx:pt idx="99250">0</cx:pt>
          <cx:pt idx="99251">1</cx:pt>
          <cx:pt idx="99252">0</cx:pt>
          <cx:pt idx="99253">0</cx:pt>
          <cx:pt idx="99254">1</cx:pt>
          <cx:pt idx="99255">0</cx:pt>
          <cx:pt idx="99256">0</cx:pt>
          <cx:pt idx="99257">0</cx:pt>
          <cx:pt idx="99258">0</cx:pt>
          <cx:pt idx="99259">1</cx:pt>
          <cx:pt idx="99260">0</cx:pt>
          <cx:pt idx="99261">1</cx:pt>
          <cx:pt idx="99262">0</cx:pt>
          <cx:pt idx="99263">0</cx:pt>
          <cx:pt idx="99264">0</cx:pt>
          <cx:pt idx="99265">0</cx:pt>
          <cx:pt idx="99266">1</cx:pt>
          <cx:pt idx="99267">1</cx:pt>
          <cx:pt idx="99268">0</cx:pt>
          <cx:pt idx="99269">1</cx:pt>
          <cx:pt idx="99270">1</cx:pt>
          <cx:pt idx="99271">0</cx:pt>
          <cx:pt idx="99272">0</cx:pt>
          <cx:pt idx="99273">0</cx:pt>
          <cx:pt idx="99274">0</cx:pt>
          <cx:pt idx="99275">0</cx:pt>
          <cx:pt idx="99276">0</cx:pt>
          <cx:pt idx="99277">0</cx:pt>
          <cx:pt idx="99278">0</cx:pt>
          <cx:pt idx="99279">1</cx:pt>
          <cx:pt idx="99280">1</cx:pt>
          <cx:pt idx="99281">1</cx:pt>
          <cx:pt idx="99282">1</cx:pt>
          <cx:pt idx="99283">0</cx:pt>
          <cx:pt idx="99284">0</cx:pt>
          <cx:pt idx="99285">0</cx:pt>
          <cx:pt idx="99286">0</cx:pt>
          <cx:pt idx="99287">1</cx:pt>
          <cx:pt idx="99288">1</cx:pt>
          <cx:pt idx="99289">0</cx:pt>
          <cx:pt idx="99290">0</cx:pt>
          <cx:pt idx="99291">0</cx:pt>
          <cx:pt idx="99292">0</cx:pt>
          <cx:pt idx="99293">1</cx:pt>
          <cx:pt idx="99294">1</cx:pt>
          <cx:pt idx="99295">0</cx:pt>
          <cx:pt idx="99296">0</cx:pt>
          <cx:pt idx="99297">0</cx:pt>
          <cx:pt idx="99298">0</cx:pt>
          <cx:pt idx="99299">0</cx:pt>
          <cx:pt idx="99300">1</cx:pt>
          <cx:pt idx="99301">0</cx:pt>
          <cx:pt idx="99302">0</cx:pt>
          <cx:pt idx="99303">1</cx:pt>
          <cx:pt idx="99304">1</cx:pt>
          <cx:pt idx="99305">0</cx:pt>
          <cx:pt idx="99306">1</cx:pt>
          <cx:pt idx="99307">0</cx:pt>
          <cx:pt idx="99308">1</cx:pt>
          <cx:pt idx="99309">1</cx:pt>
          <cx:pt idx="99310">0</cx:pt>
          <cx:pt idx="99311">1</cx:pt>
          <cx:pt idx="99312">1</cx:pt>
          <cx:pt idx="99313">0</cx:pt>
          <cx:pt idx="99314">0</cx:pt>
          <cx:pt idx="99315">0</cx:pt>
          <cx:pt idx="99316">0</cx:pt>
          <cx:pt idx="99317">0</cx:pt>
          <cx:pt idx="99318">0</cx:pt>
          <cx:pt idx="99319">1</cx:pt>
          <cx:pt idx="99320">1</cx:pt>
          <cx:pt idx="99321">0</cx:pt>
          <cx:pt idx="99322">0</cx:pt>
          <cx:pt idx="99323">0</cx:pt>
          <cx:pt idx="99324">1</cx:pt>
          <cx:pt idx="99325">1</cx:pt>
          <cx:pt idx="99326">0</cx:pt>
          <cx:pt idx="99327">1</cx:pt>
          <cx:pt idx="99328">1</cx:pt>
          <cx:pt idx="99329">0</cx:pt>
          <cx:pt idx="99330">1</cx:pt>
          <cx:pt idx="99331">0</cx:pt>
          <cx:pt idx="99332">0</cx:pt>
          <cx:pt idx="99333">1</cx:pt>
          <cx:pt idx="99334">0</cx:pt>
          <cx:pt idx="99335">0</cx:pt>
          <cx:pt idx="99336">1</cx:pt>
          <cx:pt idx="99337">0</cx:pt>
          <cx:pt idx="99338">0</cx:pt>
          <cx:pt idx="99339">0</cx:pt>
          <cx:pt idx="99340">0</cx:pt>
          <cx:pt idx="99341">0</cx:pt>
          <cx:pt idx="99342">1</cx:pt>
          <cx:pt idx="99343">0</cx:pt>
          <cx:pt idx="99344">0</cx:pt>
          <cx:pt idx="99345">0</cx:pt>
          <cx:pt idx="99346">0</cx:pt>
          <cx:pt idx="99347">0</cx:pt>
          <cx:pt idx="99348">1</cx:pt>
          <cx:pt idx="99349">0</cx:pt>
          <cx:pt idx="99350">0</cx:pt>
          <cx:pt idx="99351">1</cx:pt>
          <cx:pt idx="99352">1</cx:pt>
          <cx:pt idx="99353">1</cx:pt>
          <cx:pt idx="99354">0</cx:pt>
          <cx:pt idx="99355">0</cx:pt>
          <cx:pt idx="99356">1</cx:pt>
          <cx:pt idx="99357">0</cx:pt>
          <cx:pt idx="99358">0</cx:pt>
          <cx:pt idx="99359">1</cx:pt>
          <cx:pt idx="99360">1</cx:pt>
          <cx:pt idx="99361">0</cx:pt>
          <cx:pt idx="99362">1</cx:pt>
          <cx:pt idx="99363">1</cx:pt>
          <cx:pt idx="99364">0</cx:pt>
          <cx:pt idx="99365">0</cx:pt>
          <cx:pt idx="99366">1</cx:pt>
          <cx:pt idx="99367">1</cx:pt>
          <cx:pt idx="99368">1</cx:pt>
          <cx:pt idx="99369">1</cx:pt>
          <cx:pt idx="99370">0</cx:pt>
          <cx:pt idx="99371">1</cx:pt>
          <cx:pt idx="99372">0</cx:pt>
          <cx:pt idx="99373">0</cx:pt>
          <cx:pt idx="99374">1</cx:pt>
          <cx:pt idx="99375">1</cx:pt>
          <cx:pt idx="99376">0</cx:pt>
          <cx:pt idx="99377">1</cx:pt>
          <cx:pt idx="99378">1</cx:pt>
          <cx:pt idx="99379">1</cx:pt>
          <cx:pt idx="99380">0</cx:pt>
          <cx:pt idx="99381">0</cx:pt>
          <cx:pt idx="99382">1</cx:pt>
          <cx:pt idx="99383">0</cx:pt>
          <cx:pt idx="99384">1</cx:pt>
          <cx:pt idx="99385">0</cx:pt>
          <cx:pt idx="99386">0</cx:pt>
          <cx:pt idx="99387">1</cx:pt>
          <cx:pt idx="99388">0</cx:pt>
          <cx:pt idx="99389">1</cx:pt>
          <cx:pt idx="99390">0</cx:pt>
          <cx:pt idx="99391">1</cx:pt>
          <cx:pt idx="99392">0</cx:pt>
          <cx:pt idx="99393">0</cx:pt>
          <cx:pt idx="99394">1</cx:pt>
          <cx:pt idx="99395">0</cx:pt>
          <cx:pt idx="99396">1</cx:pt>
          <cx:pt idx="99397">1</cx:pt>
          <cx:pt idx="99398">0</cx:pt>
          <cx:pt idx="99399">0</cx:pt>
          <cx:pt idx="99400">1</cx:pt>
          <cx:pt idx="99401">0</cx:pt>
          <cx:pt idx="99402">1</cx:pt>
          <cx:pt idx="99403">1</cx:pt>
          <cx:pt idx="99404">1</cx:pt>
          <cx:pt idx="99405">0</cx:pt>
          <cx:pt idx="99406">0</cx:pt>
          <cx:pt idx="99407">1</cx:pt>
          <cx:pt idx="99408">0</cx:pt>
          <cx:pt idx="99409">1</cx:pt>
          <cx:pt idx="99410">0</cx:pt>
          <cx:pt idx="99411">1</cx:pt>
          <cx:pt idx="99412">1</cx:pt>
          <cx:pt idx="99413">0</cx:pt>
          <cx:pt idx="99414">0</cx:pt>
          <cx:pt idx="99415">0</cx:pt>
          <cx:pt idx="99416">0</cx:pt>
          <cx:pt idx="99417">0</cx:pt>
          <cx:pt idx="99418">0</cx:pt>
          <cx:pt idx="99419">1</cx:pt>
          <cx:pt idx="99420">0</cx:pt>
          <cx:pt idx="99421">0</cx:pt>
          <cx:pt idx="99422">1</cx:pt>
          <cx:pt idx="99423">1</cx:pt>
          <cx:pt idx="99424">0</cx:pt>
          <cx:pt idx="99425">0</cx:pt>
          <cx:pt idx="99426">0</cx:pt>
          <cx:pt idx="99427">0</cx:pt>
          <cx:pt idx="99428">1</cx:pt>
          <cx:pt idx="99429">0</cx:pt>
          <cx:pt idx="99430">1</cx:pt>
          <cx:pt idx="99431">0</cx:pt>
          <cx:pt idx="99432">0</cx:pt>
          <cx:pt idx="99433">0</cx:pt>
          <cx:pt idx="99434">0</cx:pt>
          <cx:pt idx="99435">0</cx:pt>
          <cx:pt idx="99436">0</cx:pt>
          <cx:pt idx="99437">1</cx:pt>
          <cx:pt idx="99438">1</cx:pt>
          <cx:pt idx="99439">1</cx:pt>
          <cx:pt idx="99440">0</cx:pt>
          <cx:pt idx="99441">0</cx:pt>
          <cx:pt idx="99442">0</cx:pt>
          <cx:pt idx="99443">1</cx:pt>
          <cx:pt idx="99444">1</cx:pt>
          <cx:pt idx="99445">0</cx:pt>
          <cx:pt idx="99446">0</cx:pt>
          <cx:pt idx="99447">0</cx:pt>
          <cx:pt idx="99448">1</cx:pt>
          <cx:pt idx="99449">1</cx:pt>
          <cx:pt idx="99450">0</cx:pt>
          <cx:pt idx="99451">0</cx:pt>
          <cx:pt idx="99452">1</cx:pt>
          <cx:pt idx="99453">1</cx:pt>
          <cx:pt idx="99454">1</cx:pt>
          <cx:pt idx="99455">0</cx:pt>
          <cx:pt idx="99456">0</cx:pt>
          <cx:pt idx="99457">1</cx:pt>
          <cx:pt idx="99458">1</cx:pt>
          <cx:pt idx="99459">1</cx:pt>
          <cx:pt idx="99460">0</cx:pt>
          <cx:pt idx="99461">1</cx:pt>
          <cx:pt idx="99462">0</cx:pt>
          <cx:pt idx="99463">1</cx:pt>
          <cx:pt idx="99464">1</cx:pt>
          <cx:pt idx="99465">1</cx:pt>
          <cx:pt idx="99466">0</cx:pt>
          <cx:pt idx="99467">0</cx:pt>
          <cx:pt idx="99468">1</cx:pt>
          <cx:pt idx="99469">0</cx:pt>
          <cx:pt idx="99470">1</cx:pt>
          <cx:pt idx="99471">0</cx:pt>
          <cx:pt idx="99472">0</cx:pt>
          <cx:pt idx="99473">1</cx:pt>
          <cx:pt idx="99474">0</cx:pt>
          <cx:pt idx="99475">0</cx:pt>
          <cx:pt idx="99476">1</cx:pt>
          <cx:pt idx="99477">1</cx:pt>
          <cx:pt idx="99478">1</cx:pt>
          <cx:pt idx="99479">0</cx:pt>
          <cx:pt idx="99480">1</cx:pt>
          <cx:pt idx="99481">1</cx:pt>
          <cx:pt idx="99482">1</cx:pt>
          <cx:pt idx="99483">1</cx:pt>
          <cx:pt idx="99484">1</cx:pt>
          <cx:pt idx="99485">0</cx:pt>
          <cx:pt idx="99486">0</cx:pt>
          <cx:pt idx="99487">0</cx:pt>
          <cx:pt idx="99488">0</cx:pt>
          <cx:pt idx="99489">1</cx:pt>
          <cx:pt idx="99490">1</cx:pt>
          <cx:pt idx="99491">1</cx:pt>
          <cx:pt idx="99492">0</cx:pt>
          <cx:pt idx="99493">0</cx:pt>
          <cx:pt idx="99494">0</cx:pt>
          <cx:pt idx="99495">0</cx:pt>
          <cx:pt idx="99496">0</cx:pt>
          <cx:pt idx="99497">0</cx:pt>
          <cx:pt idx="99498">1</cx:pt>
          <cx:pt idx="99499">0</cx:pt>
          <cx:pt idx="99500">1</cx:pt>
          <cx:pt idx="99501">1</cx:pt>
          <cx:pt idx="99502">0</cx:pt>
          <cx:pt idx="99503">1</cx:pt>
          <cx:pt idx="99504">0</cx:pt>
          <cx:pt idx="99505">0</cx:pt>
          <cx:pt idx="99506">1</cx:pt>
          <cx:pt idx="99507">0</cx:pt>
          <cx:pt idx="99508">1</cx:pt>
          <cx:pt idx="99509">0</cx:pt>
          <cx:pt idx="99510">0</cx:pt>
          <cx:pt idx="99511">0</cx:pt>
          <cx:pt idx="99512">0</cx:pt>
          <cx:pt idx="99513">0</cx:pt>
          <cx:pt idx="99514">0</cx:pt>
          <cx:pt idx="99515">0</cx:pt>
          <cx:pt idx="99516">1</cx:pt>
          <cx:pt idx="99517">0</cx:pt>
          <cx:pt idx="99518">0</cx:pt>
          <cx:pt idx="99519">1</cx:pt>
          <cx:pt idx="99520">0</cx:pt>
          <cx:pt idx="99521">1</cx:pt>
          <cx:pt idx="99522">1</cx:pt>
          <cx:pt idx="99523">0</cx:pt>
          <cx:pt idx="99524">1</cx:pt>
          <cx:pt idx="99525">1</cx:pt>
          <cx:pt idx="99526">0</cx:pt>
          <cx:pt idx="99527">1</cx:pt>
          <cx:pt idx="99528">0</cx:pt>
          <cx:pt idx="99529">1</cx:pt>
          <cx:pt idx="99530">0</cx:pt>
          <cx:pt idx="99531">1</cx:pt>
          <cx:pt idx="99532">1</cx:pt>
          <cx:pt idx="99533">0</cx:pt>
          <cx:pt idx="99534">1</cx:pt>
          <cx:pt idx="99535">0</cx:pt>
          <cx:pt idx="99536">1</cx:pt>
          <cx:pt idx="99537">1</cx:pt>
          <cx:pt idx="99538">0</cx:pt>
          <cx:pt idx="99539">0</cx:pt>
          <cx:pt idx="99540">1</cx:pt>
          <cx:pt idx="99541">0</cx:pt>
          <cx:pt idx="99542">0</cx:pt>
          <cx:pt idx="99543">0</cx:pt>
          <cx:pt idx="99544">0</cx:pt>
          <cx:pt idx="99545">0</cx:pt>
          <cx:pt idx="99546">0</cx:pt>
          <cx:pt idx="99547">0</cx:pt>
          <cx:pt idx="99548">0</cx:pt>
          <cx:pt idx="99549">0</cx:pt>
          <cx:pt idx="99550">0</cx:pt>
          <cx:pt idx="99551">0</cx:pt>
          <cx:pt idx="99552">1</cx:pt>
          <cx:pt idx="99553">1</cx:pt>
          <cx:pt idx="99554">0</cx:pt>
          <cx:pt idx="99555">1</cx:pt>
          <cx:pt idx="99556">1</cx:pt>
          <cx:pt idx="99557">0</cx:pt>
          <cx:pt idx="99558">0</cx:pt>
          <cx:pt idx="99559">1</cx:pt>
          <cx:pt idx="99560">1</cx:pt>
          <cx:pt idx="99561">0</cx:pt>
          <cx:pt idx="99562">0</cx:pt>
          <cx:pt idx="99563">1</cx:pt>
          <cx:pt idx="99564">1</cx:pt>
          <cx:pt idx="99565">1</cx:pt>
          <cx:pt idx="99566">0</cx:pt>
          <cx:pt idx="99567">0</cx:pt>
          <cx:pt idx="99568">0</cx:pt>
          <cx:pt idx="99569">1</cx:pt>
          <cx:pt idx="99570">0</cx:pt>
          <cx:pt idx="99571">1</cx:pt>
          <cx:pt idx="99572">0</cx:pt>
          <cx:pt idx="99573">0</cx:pt>
          <cx:pt idx="99574">0</cx:pt>
          <cx:pt idx="99575">1</cx:pt>
          <cx:pt idx="99576">0</cx:pt>
          <cx:pt idx="99577">1</cx:pt>
          <cx:pt idx="99578">1</cx:pt>
          <cx:pt idx="99579">0</cx:pt>
          <cx:pt idx="99580">1</cx:pt>
          <cx:pt idx="99581">1</cx:pt>
          <cx:pt idx="99582">1</cx:pt>
          <cx:pt idx="99583">0</cx:pt>
          <cx:pt idx="99584">0</cx:pt>
          <cx:pt idx="99585">1</cx:pt>
          <cx:pt idx="99586">1</cx:pt>
          <cx:pt idx="99587">0</cx:pt>
          <cx:pt idx="99588">1</cx:pt>
          <cx:pt idx="99589">0</cx:pt>
          <cx:pt idx="99590">0</cx:pt>
          <cx:pt idx="99591">1</cx:pt>
          <cx:pt idx="99592">1</cx:pt>
          <cx:pt idx="99593">0</cx:pt>
          <cx:pt idx="99594">1</cx:pt>
          <cx:pt idx="99595">0</cx:pt>
          <cx:pt idx="99596">1</cx:pt>
          <cx:pt idx="99597">0</cx:pt>
          <cx:pt idx="99598">0</cx:pt>
          <cx:pt idx="99599">1</cx:pt>
          <cx:pt idx="99600">0</cx:pt>
          <cx:pt idx="99601">0</cx:pt>
          <cx:pt idx="99602">1</cx:pt>
          <cx:pt idx="99603">0</cx:pt>
          <cx:pt idx="99604">1</cx:pt>
          <cx:pt idx="99605">0</cx:pt>
          <cx:pt idx="99606">0</cx:pt>
          <cx:pt idx="99607">1</cx:pt>
          <cx:pt idx="99608">1</cx:pt>
          <cx:pt idx="99609">0</cx:pt>
          <cx:pt idx="99610">1</cx:pt>
          <cx:pt idx="99611">1</cx:pt>
          <cx:pt idx="99612">0</cx:pt>
          <cx:pt idx="99613">1</cx:pt>
          <cx:pt idx="99614">1</cx:pt>
          <cx:pt idx="99615">1</cx:pt>
          <cx:pt idx="99616">1</cx:pt>
          <cx:pt idx="99617">1</cx:pt>
          <cx:pt idx="99618">0</cx:pt>
          <cx:pt idx="99619">0</cx:pt>
          <cx:pt idx="99620">1</cx:pt>
          <cx:pt idx="99621">1</cx:pt>
          <cx:pt idx="99622">0</cx:pt>
          <cx:pt idx="99623">1</cx:pt>
          <cx:pt idx="99624">1</cx:pt>
          <cx:pt idx="99625">1</cx:pt>
          <cx:pt idx="99626">0</cx:pt>
          <cx:pt idx="99627">1</cx:pt>
          <cx:pt idx="99628">1</cx:pt>
          <cx:pt idx="99629">0</cx:pt>
          <cx:pt idx="99630">0</cx:pt>
          <cx:pt idx="99631">1</cx:pt>
          <cx:pt idx="99632">1</cx:pt>
          <cx:pt idx="99633">0</cx:pt>
          <cx:pt idx="99634">0</cx:pt>
          <cx:pt idx="99635">1</cx:pt>
          <cx:pt idx="99636">0</cx:pt>
          <cx:pt idx="99637">1</cx:pt>
          <cx:pt idx="99638">0</cx:pt>
          <cx:pt idx="99639">1</cx:pt>
          <cx:pt idx="99640">0</cx:pt>
          <cx:pt idx="99641">0</cx:pt>
          <cx:pt idx="99642">0</cx:pt>
          <cx:pt idx="99643">0</cx:pt>
          <cx:pt idx="99644">1</cx:pt>
          <cx:pt idx="99645">0</cx:pt>
          <cx:pt idx="99646">0</cx:pt>
          <cx:pt idx="99647">1</cx:pt>
          <cx:pt idx="99648">1</cx:pt>
          <cx:pt idx="99649">1</cx:pt>
          <cx:pt idx="99650">0</cx:pt>
          <cx:pt idx="99651">0</cx:pt>
          <cx:pt idx="99652">0</cx:pt>
          <cx:pt idx="99653">0</cx:pt>
          <cx:pt idx="99654">0</cx:pt>
          <cx:pt idx="99655">0</cx:pt>
          <cx:pt idx="99656">0</cx:pt>
          <cx:pt idx="99657">0</cx:pt>
          <cx:pt idx="99658">0</cx:pt>
          <cx:pt idx="99659">0</cx:pt>
          <cx:pt idx="99660">0</cx:pt>
          <cx:pt idx="99661">1</cx:pt>
          <cx:pt idx="99662">1</cx:pt>
          <cx:pt idx="99663">0</cx:pt>
          <cx:pt idx="99664">1</cx:pt>
          <cx:pt idx="99665">0</cx:pt>
          <cx:pt idx="99666">1</cx:pt>
          <cx:pt idx="99667">1</cx:pt>
          <cx:pt idx="99668">1</cx:pt>
          <cx:pt idx="99669">1</cx:pt>
          <cx:pt idx="99670">1</cx:pt>
          <cx:pt idx="99671">0</cx:pt>
          <cx:pt idx="99672">1</cx:pt>
          <cx:pt idx="99673">0</cx:pt>
          <cx:pt idx="99674">0</cx:pt>
          <cx:pt idx="99675">0</cx:pt>
          <cx:pt idx="99676">1</cx:pt>
          <cx:pt idx="99677">0</cx:pt>
          <cx:pt idx="99678">0</cx:pt>
          <cx:pt idx="99679">1</cx:pt>
          <cx:pt idx="99680">0</cx:pt>
          <cx:pt idx="99681">1</cx:pt>
          <cx:pt idx="99682">1</cx:pt>
          <cx:pt idx="99683">0</cx:pt>
          <cx:pt idx="99684">0</cx:pt>
          <cx:pt idx="99685">1</cx:pt>
          <cx:pt idx="99686">0</cx:pt>
          <cx:pt idx="99687">1</cx:pt>
          <cx:pt idx="99688">0</cx:pt>
          <cx:pt idx="99689">0</cx:pt>
          <cx:pt idx="99690">1</cx:pt>
          <cx:pt idx="99691">0</cx:pt>
          <cx:pt idx="99692">0</cx:pt>
          <cx:pt idx="99693">1</cx:pt>
          <cx:pt idx="99694">0</cx:pt>
          <cx:pt idx="99695">1</cx:pt>
          <cx:pt idx="99696">0</cx:pt>
          <cx:pt idx="99697">1</cx:pt>
          <cx:pt idx="99698">0</cx:pt>
          <cx:pt idx="99699">1</cx:pt>
          <cx:pt idx="99700">0</cx:pt>
          <cx:pt idx="99701">1</cx:pt>
          <cx:pt idx="99702">0</cx:pt>
          <cx:pt idx="99703">1</cx:pt>
          <cx:pt idx="99704">0</cx:pt>
          <cx:pt idx="99705">0</cx:pt>
          <cx:pt idx="99706">0</cx:pt>
          <cx:pt idx="99707">0</cx:pt>
          <cx:pt idx="99708">1</cx:pt>
          <cx:pt idx="99709">0</cx:pt>
          <cx:pt idx="99710">1</cx:pt>
          <cx:pt idx="99711">0</cx:pt>
          <cx:pt idx="99712">0</cx:pt>
          <cx:pt idx="99713">1</cx:pt>
          <cx:pt idx="99714">0</cx:pt>
          <cx:pt idx="99715">0</cx:pt>
          <cx:pt idx="99716">1</cx:pt>
          <cx:pt idx="99717">0</cx:pt>
          <cx:pt idx="99718">0</cx:pt>
          <cx:pt idx="99719">1</cx:pt>
          <cx:pt idx="99720">1</cx:pt>
          <cx:pt idx="99721">0</cx:pt>
          <cx:pt idx="99722">1</cx:pt>
          <cx:pt idx="99723">0</cx:pt>
          <cx:pt idx="99724">0</cx:pt>
          <cx:pt idx="99725">0</cx:pt>
          <cx:pt idx="99726">0</cx:pt>
          <cx:pt idx="99727">0</cx:pt>
          <cx:pt idx="99728">1</cx:pt>
          <cx:pt idx="99729">0</cx:pt>
          <cx:pt idx="99730">0</cx:pt>
          <cx:pt idx="99731">0</cx:pt>
          <cx:pt idx="99732">1</cx:pt>
          <cx:pt idx="99733">0</cx:pt>
          <cx:pt idx="99734">0</cx:pt>
          <cx:pt idx="99735">1</cx:pt>
          <cx:pt idx="99736">0</cx:pt>
          <cx:pt idx="99737">0</cx:pt>
          <cx:pt idx="99738">1</cx:pt>
          <cx:pt idx="99739">0</cx:pt>
          <cx:pt idx="99740">1</cx:pt>
          <cx:pt idx="99741">0</cx:pt>
          <cx:pt idx="99742">0</cx:pt>
          <cx:pt idx="99743">0</cx:pt>
          <cx:pt idx="99744">1</cx:pt>
          <cx:pt idx="99745">0</cx:pt>
          <cx:pt idx="99746">0</cx:pt>
          <cx:pt idx="99747">1</cx:pt>
          <cx:pt idx="99748">1</cx:pt>
          <cx:pt idx="99749">1</cx:pt>
          <cx:pt idx="99750">1</cx:pt>
          <cx:pt idx="99751">1</cx:pt>
          <cx:pt idx="99752">0</cx:pt>
          <cx:pt idx="99753">0</cx:pt>
          <cx:pt idx="99754">0</cx:pt>
          <cx:pt idx="99755">1</cx:pt>
          <cx:pt idx="99756">0</cx:pt>
          <cx:pt idx="99757">0</cx:pt>
          <cx:pt idx="99758">0</cx:pt>
          <cx:pt idx="99759">0</cx:pt>
          <cx:pt idx="99760">0</cx:pt>
          <cx:pt idx="99761">0</cx:pt>
          <cx:pt idx="99762">0</cx:pt>
          <cx:pt idx="99763">1</cx:pt>
          <cx:pt idx="99764">0</cx:pt>
          <cx:pt idx="99765">0</cx:pt>
          <cx:pt idx="99766">0</cx:pt>
          <cx:pt idx="99767">1</cx:pt>
          <cx:pt idx="99768">0</cx:pt>
          <cx:pt idx="99769">0</cx:pt>
          <cx:pt idx="99770">0</cx:pt>
          <cx:pt idx="99771">0</cx:pt>
          <cx:pt idx="99772">0</cx:pt>
          <cx:pt idx="99773">0</cx:pt>
          <cx:pt idx="99774">1</cx:pt>
          <cx:pt idx="99775">1</cx:pt>
          <cx:pt idx="99776">1</cx:pt>
          <cx:pt idx="99777">0</cx:pt>
          <cx:pt idx="99778">1</cx:pt>
          <cx:pt idx="99779">0</cx:pt>
          <cx:pt idx="99780">0</cx:pt>
          <cx:pt idx="99781">0</cx:pt>
          <cx:pt idx="99782">1</cx:pt>
          <cx:pt idx="99783">0</cx:pt>
          <cx:pt idx="99784">0</cx:pt>
          <cx:pt idx="99785">0</cx:pt>
          <cx:pt idx="99786">1</cx:pt>
          <cx:pt idx="99787">0</cx:pt>
          <cx:pt idx="99788">1</cx:pt>
          <cx:pt idx="99789">0</cx:pt>
          <cx:pt idx="99790">0</cx:pt>
          <cx:pt idx="99791">1</cx:pt>
          <cx:pt idx="99792">0</cx:pt>
          <cx:pt idx="99793">1</cx:pt>
          <cx:pt idx="99794">1</cx:pt>
          <cx:pt idx="99795">0</cx:pt>
          <cx:pt idx="99796">1</cx:pt>
          <cx:pt idx="99797">0</cx:pt>
          <cx:pt idx="99798">0</cx:pt>
          <cx:pt idx="99799">0</cx:pt>
          <cx:pt idx="99800">1</cx:pt>
          <cx:pt idx="99801">0</cx:pt>
          <cx:pt idx="99802">0</cx:pt>
          <cx:pt idx="99803">1</cx:pt>
          <cx:pt idx="99804">1</cx:pt>
          <cx:pt idx="99805">1</cx:pt>
          <cx:pt idx="99806">0</cx:pt>
          <cx:pt idx="99807">0</cx:pt>
          <cx:pt idx="99808">1</cx:pt>
          <cx:pt idx="99809">1</cx:pt>
          <cx:pt idx="99810">0</cx:pt>
          <cx:pt idx="99811">1</cx:pt>
          <cx:pt idx="99812">0</cx:pt>
          <cx:pt idx="99813">0</cx:pt>
          <cx:pt idx="99814">1</cx:pt>
          <cx:pt idx="99815">1</cx:pt>
          <cx:pt idx="99816">1</cx:pt>
          <cx:pt idx="99817">1</cx:pt>
          <cx:pt idx="99818">0</cx:pt>
          <cx:pt idx="99819">0</cx:pt>
          <cx:pt idx="99820">1</cx:pt>
          <cx:pt idx="99821">0</cx:pt>
          <cx:pt idx="99822">0</cx:pt>
          <cx:pt idx="99823">0</cx:pt>
          <cx:pt idx="99824">0</cx:pt>
          <cx:pt idx="99825">1</cx:pt>
          <cx:pt idx="99826">1</cx:pt>
          <cx:pt idx="99827">1</cx:pt>
          <cx:pt idx="99828">1</cx:pt>
          <cx:pt idx="99829">1</cx:pt>
          <cx:pt idx="99830">0</cx:pt>
          <cx:pt idx="99831">0</cx:pt>
          <cx:pt idx="99832">0</cx:pt>
          <cx:pt idx="99833">0</cx:pt>
          <cx:pt idx="99834">1</cx:pt>
          <cx:pt idx="99835">1</cx:pt>
          <cx:pt idx="99836">0</cx:pt>
          <cx:pt idx="99837">1</cx:pt>
          <cx:pt idx="99838">1</cx:pt>
          <cx:pt idx="99839">1</cx:pt>
          <cx:pt idx="99840">1</cx:pt>
          <cx:pt idx="99841">0</cx:pt>
          <cx:pt idx="99842">0</cx:pt>
          <cx:pt idx="99843">0</cx:pt>
          <cx:pt idx="99844">1</cx:pt>
          <cx:pt idx="99845">0</cx:pt>
          <cx:pt idx="99846">0</cx:pt>
          <cx:pt idx="99847">0</cx:pt>
          <cx:pt idx="99848">1</cx:pt>
          <cx:pt idx="99849">0</cx:pt>
          <cx:pt idx="99850">0</cx:pt>
          <cx:pt idx="99851">0</cx:pt>
          <cx:pt idx="99852">1</cx:pt>
          <cx:pt idx="99853">1</cx:pt>
          <cx:pt idx="99854">0</cx:pt>
          <cx:pt idx="99855">0</cx:pt>
          <cx:pt idx="99856">0</cx:pt>
          <cx:pt idx="99857">1</cx:pt>
          <cx:pt idx="99858">1</cx:pt>
          <cx:pt idx="99859">0</cx:pt>
          <cx:pt idx="99860">0</cx:pt>
          <cx:pt idx="99861">0</cx:pt>
          <cx:pt idx="99862">1</cx:pt>
          <cx:pt idx="99863">0</cx:pt>
          <cx:pt idx="99864">0</cx:pt>
          <cx:pt idx="99865">1</cx:pt>
          <cx:pt idx="99866">0</cx:pt>
          <cx:pt idx="99867">0</cx:pt>
          <cx:pt idx="99868">0</cx:pt>
          <cx:pt idx="99869">1</cx:pt>
          <cx:pt idx="99870">1</cx:pt>
          <cx:pt idx="99871">1</cx:pt>
          <cx:pt idx="99872">0</cx:pt>
          <cx:pt idx="99873">1</cx:pt>
          <cx:pt idx="99874">0</cx:pt>
          <cx:pt idx="99875">1</cx:pt>
          <cx:pt idx="99876">0</cx:pt>
          <cx:pt idx="99877">1</cx:pt>
          <cx:pt idx="99878">0</cx:pt>
          <cx:pt idx="99879">1</cx:pt>
          <cx:pt idx="99880">1</cx:pt>
          <cx:pt idx="99881">1</cx:pt>
          <cx:pt idx="99882">1</cx:pt>
          <cx:pt idx="99883">1</cx:pt>
          <cx:pt idx="99884">1</cx:pt>
          <cx:pt idx="99885">0</cx:pt>
          <cx:pt idx="99886">0</cx:pt>
          <cx:pt idx="99887">1</cx:pt>
          <cx:pt idx="99888">0</cx:pt>
          <cx:pt idx="99889">1</cx:pt>
          <cx:pt idx="99890">1</cx:pt>
          <cx:pt idx="99891">1</cx:pt>
          <cx:pt idx="99892">0</cx:pt>
          <cx:pt idx="99893">0</cx:pt>
          <cx:pt idx="99894">0</cx:pt>
          <cx:pt idx="99895">1</cx:pt>
          <cx:pt idx="99896">0</cx:pt>
          <cx:pt idx="99897">0</cx:pt>
          <cx:pt idx="99898">1</cx:pt>
          <cx:pt idx="99899">0</cx:pt>
          <cx:pt idx="99900">0</cx:pt>
          <cx:pt idx="99901">1</cx:pt>
          <cx:pt idx="99902">0</cx:pt>
          <cx:pt idx="99903">0</cx:pt>
          <cx:pt idx="99904">0</cx:pt>
          <cx:pt idx="99905">0</cx:pt>
          <cx:pt idx="99906">1</cx:pt>
          <cx:pt idx="99907">0</cx:pt>
          <cx:pt idx="99908">0</cx:pt>
          <cx:pt idx="99909">1</cx:pt>
          <cx:pt idx="99910">0</cx:pt>
          <cx:pt idx="99911">0</cx:pt>
          <cx:pt idx="99912">0</cx:pt>
          <cx:pt idx="99913">0</cx:pt>
          <cx:pt idx="99914">0</cx:pt>
          <cx:pt idx="99915">0</cx:pt>
          <cx:pt idx="99916">0</cx:pt>
          <cx:pt idx="99917">0</cx:pt>
          <cx:pt idx="99918">0</cx:pt>
          <cx:pt idx="99919">1</cx:pt>
          <cx:pt idx="99920">0</cx:pt>
          <cx:pt idx="99921">1</cx:pt>
          <cx:pt idx="99922">0</cx:pt>
          <cx:pt idx="99923">0</cx:pt>
          <cx:pt idx="99924">0</cx:pt>
          <cx:pt idx="99925">1</cx:pt>
          <cx:pt idx="99926">1</cx:pt>
          <cx:pt idx="99927">0</cx:pt>
          <cx:pt idx="99928">0</cx:pt>
          <cx:pt idx="99929">1</cx:pt>
          <cx:pt idx="99930">0</cx:pt>
          <cx:pt idx="99931">1</cx:pt>
          <cx:pt idx="99932">1</cx:pt>
          <cx:pt idx="99933">0</cx:pt>
          <cx:pt idx="99934">0</cx:pt>
          <cx:pt idx="99935">0</cx:pt>
          <cx:pt idx="99936">0</cx:pt>
          <cx:pt idx="99937">0</cx:pt>
          <cx:pt idx="99938">1</cx:pt>
          <cx:pt idx="99939">1</cx:pt>
          <cx:pt idx="99940">1</cx:pt>
          <cx:pt idx="99941">0</cx:pt>
          <cx:pt idx="99942">1</cx:pt>
          <cx:pt idx="99943">1</cx:pt>
          <cx:pt idx="99944">0</cx:pt>
          <cx:pt idx="99945">0</cx:pt>
          <cx:pt idx="99946">1</cx:pt>
          <cx:pt idx="99947">0</cx:pt>
          <cx:pt idx="99948">0</cx:pt>
          <cx:pt idx="99949">0</cx:pt>
          <cx:pt idx="99950">0</cx:pt>
          <cx:pt idx="99951">1</cx:pt>
          <cx:pt idx="99952">1</cx:pt>
          <cx:pt idx="99953">1</cx:pt>
          <cx:pt idx="99954">1</cx:pt>
          <cx:pt idx="99955">1</cx:pt>
          <cx:pt idx="99956">0</cx:pt>
          <cx:pt idx="99957">1</cx:pt>
          <cx:pt idx="99958">0</cx:pt>
          <cx:pt idx="99959">0</cx:pt>
          <cx:pt idx="99960">0</cx:pt>
          <cx:pt idx="99961">1</cx:pt>
          <cx:pt idx="99962">0</cx:pt>
          <cx:pt idx="99963">1</cx:pt>
          <cx:pt idx="99964">0</cx:pt>
          <cx:pt idx="99965">1</cx:pt>
          <cx:pt idx="99966">0</cx:pt>
          <cx:pt idx="99967">0</cx:pt>
          <cx:pt idx="99968">1</cx:pt>
          <cx:pt idx="99969">0</cx:pt>
          <cx:pt idx="99970">0</cx:pt>
          <cx:pt idx="99971">0</cx:pt>
          <cx:pt idx="99972">1</cx:pt>
          <cx:pt idx="99973">0</cx:pt>
          <cx:pt idx="99974">1</cx:pt>
          <cx:pt idx="99975">0</cx:pt>
          <cx:pt idx="99976">1</cx:pt>
          <cx:pt idx="99977">1</cx:pt>
          <cx:pt idx="99978">0</cx:pt>
          <cx:pt idx="99979">1</cx:pt>
          <cx:pt idx="99980">0</cx:pt>
          <cx:pt idx="99981">1</cx:pt>
          <cx:pt idx="99982">1</cx:pt>
          <cx:pt idx="99983">0</cx:pt>
          <cx:pt idx="99984">1</cx:pt>
          <cx:pt idx="99985">1</cx:pt>
          <cx:pt idx="99986">0</cx:pt>
          <cx:pt idx="99987">1</cx:pt>
          <cx:pt idx="99988">0</cx:pt>
          <cx:pt idx="99989">0</cx:pt>
          <cx:pt idx="99990">0</cx:pt>
          <cx:pt idx="99991">0</cx:pt>
          <cx:pt idx="99992">0</cx:pt>
          <cx:pt idx="99993">1</cx:pt>
          <cx:pt idx="99994">1</cx:pt>
          <cx:pt idx="99995">0</cx:pt>
          <cx:pt idx="99996">0</cx:pt>
          <cx:pt idx="99997">1</cx:pt>
          <cx:pt idx="99998">0</cx:pt>
          <cx:pt idx="99999">0</cx:pt>
          <cx:pt idx="100000">0</cx:pt>
          <cx:pt idx="100001">0</cx:pt>
          <cx:pt idx="100002">1</cx:pt>
          <cx:pt idx="100003">0</cx:pt>
          <cx:pt idx="100004">1</cx:pt>
          <cx:pt idx="100005">1</cx:pt>
          <cx:pt idx="100006">0</cx:pt>
          <cx:pt idx="100007">0</cx:pt>
          <cx:pt idx="100008">0</cx:pt>
          <cx:pt idx="100009">1</cx:pt>
          <cx:pt idx="100010">0</cx:pt>
          <cx:pt idx="100011">0</cx:pt>
          <cx:pt idx="100012">0</cx:pt>
          <cx:pt idx="100013">0</cx:pt>
          <cx:pt idx="100014">1</cx:pt>
          <cx:pt idx="100015">0</cx:pt>
          <cx:pt idx="100016">1</cx:pt>
          <cx:pt idx="100017">0</cx:pt>
          <cx:pt idx="100018">0</cx:pt>
          <cx:pt idx="100019">1</cx:pt>
          <cx:pt idx="100020">0</cx:pt>
          <cx:pt idx="100021">0</cx:pt>
          <cx:pt idx="100022">0</cx:pt>
          <cx:pt idx="100023">0</cx:pt>
          <cx:pt idx="100024">0</cx:pt>
          <cx:pt idx="100025">0</cx:pt>
          <cx:pt idx="100026">1</cx:pt>
          <cx:pt idx="100027">1</cx:pt>
          <cx:pt idx="100028">0</cx:pt>
          <cx:pt idx="100029">1</cx:pt>
          <cx:pt idx="100030">0</cx:pt>
          <cx:pt idx="100031">0</cx:pt>
          <cx:pt idx="100032">0</cx:pt>
          <cx:pt idx="100033">0</cx:pt>
          <cx:pt idx="100034">0</cx:pt>
          <cx:pt idx="100035">0</cx:pt>
          <cx:pt idx="100036">0</cx:pt>
          <cx:pt idx="100037">0</cx:pt>
          <cx:pt idx="100038">0</cx:pt>
          <cx:pt idx="100039">1</cx:pt>
          <cx:pt idx="100040">1</cx:pt>
          <cx:pt idx="100041">1</cx:pt>
          <cx:pt idx="100042">0</cx:pt>
          <cx:pt idx="100043">0</cx:pt>
          <cx:pt idx="100044">1</cx:pt>
          <cx:pt idx="100045">0</cx:pt>
          <cx:pt idx="100046">0</cx:pt>
          <cx:pt idx="100047">0</cx:pt>
          <cx:pt idx="100048">1</cx:pt>
          <cx:pt idx="100049">0</cx:pt>
          <cx:pt idx="100050">0</cx:pt>
          <cx:pt idx="100051">1</cx:pt>
          <cx:pt idx="100052">1</cx:pt>
          <cx:pt idx="100053">0</cx:pt>
          <cx:pt idx="100054">1</cx:pt>
          <cx:pt idx="100055">1</cx:pt>
          <cx:pt idx="100056">0</cx:pt>
          <cx:pt idx="100057">0</cx:pt>
          <cx:pt idx="100058">1</cx:pt>
          <cx:pt idx="100059">0</cx:pt>
          <cx:pt idx="100060">1</cx:pt>
          <cx:pt idx="100061">1</cx:pt>
          <cx:pt idx="100062">0</cx:pt>
          <cx:pt idx="100063">1</cx:pt>
          <cx:pt idx="100064">1</cx:pt>
          <cx:pt idx="100065">0</cx:pt>
          <cx:pt idx="100066">1</cx:pt>
          <cx:pt idx="100067">0</cx:pt>
          <cx:pt idx="100068">0</cx:pt>
          <cx:pt idx="100069">1</cx:pt>
          <cx:pt idx="100070">0</cx:pt>
          <cx:pt idx="100071">0</cx:pt>
          <cx:pt idx="100072">0</cx:pt>
          <cx:pt idx="100073">1</cx:pt>
          <cx:pt idx="100074">0</cx:pt>
          <cx:pt idx="100075">1</cx:pt>
          <cx:pt idx="100076">0</cx:pt>
          <cx:pt idx="100077">0</cx:pt>
          <cx:pt idx="100078">1</cx:pt>
          <cx:pt idx="100079">0</cx:pt>
          <cx:pt idx="100080">0</cx:pt>
          <cx:pt idx="100081">0</cx:pt>
          <cx:pt idx="100082">0</cx:pt>
          <cx:pt idx="100083">0</cx:pt>
          <cx:pt idx="100084">0</cx:pt>
          <cx:pt idx="100085">0</cx:pt>
          <cx:pt idx="100086">1</cx:pt>
          <cx:pt idx="100087">1</cx:pt>
          <cx:pt idx="100088">0</cx:pt>
          <cx:pt idx="100089">1</cx:pt>
          <cx:pt idx="100090">0</cx:pt>
          <cx:pt idx="100091">1</cx:pt>
          <cx:pt idx="100092">1</cx:pt>
          <cx:pt idx="100093">1</cx:pt>
          <cx:pt idx="100094">0</cx:pt>
          <cx:pt idx="100095">0</cx:pt>
          <cx:pt idx="100096">0</cx:pt>
          <cx:pt idx="100097">0</cx:pt>
          <cx:pt idx="100098">1</cx:pt>
          <cx:pt idx="100099">0</cx:pt>
          <cx:pt idx="100100">1</cx:pt>
          <cx:pt idx="100101">0</cx:pt>
          <cx:pt idx="100102">0</cx:pt>
          <cx:pt idx="100103">0</cx:pt>
          <cx:pt idx="100104">0</cx:pt>
          <cx:pt idx="100105">1</cx:pt>
          <cx:pt idx="100106">1</cx:pt>
          <cx:pt idx="100107">0</cx:pt>
          <cx:pt idx="100108">0</cx:pt>
          <cx:pt idx="100109">1</cx:pt>
          <cx:pt idx="100110">0</cx:pt>
          <cx:pt idx="100111">1</cx:pt>
          <cx:pt idx="100112">1</cx:pt>
          <cx:pt idx="100113">0</cx:pt>
          <cx:pt idx="100114">1</cx:pt>
          <cx:pt idx="100115">0</cx:pt>
          <cx:pt idx="100116">1</cx:pt>
          <cx:pt idx="100117">0</cx:pt>
          <cx:pt idx="100118">0</cx:pt>
          <cx:pt idx="100119">0</cx:pt>
          <cx:pt idx="100120">0</cx:pt>
          <cx:pt idx="100121">0</cx:pt>
          <cx:pt idx="100122">1</cx:pt>
          <cx:pt idx="100123">1</cx:pt>
          <cx:pt idx="100124">0</cx:pt>
          <cx:pt idx="100125">0</cx:pt>
          <cx:pt idx="100126">0</cx:pt>
          <cx:pt idx="100127">0</cx:pt>
          <cx:pt idx="100128">1</cx:pt>
          <cx:pt idx="100129">0</cx:pt>
          <cx:pt idx="100130">1</cx:pt>
          <cx:pt idx="100131">1</cx:pt>
          <cx:pt idx="100132">0</cx:pt>
          <cx:pt idx="100133">1</cx:pt>
          <cx:pt idx="100134">1</cx:pt>
          <cx:pt idx="100135">1</cx:pt>
          <cx:pt idx="100136">0</cx:pt>
          <cx:pt idx="100137">1</cx:pt>
          <cx:pt idx="100138">0</cx:pt>
          <cx:pt idx="100139">0</cx:pt>
          <cx:pt idx="100140">1</cx:pt>
          <cx:pt idx="100141">1</cx:pt>
          <cx:pt idx="100142">1</cx:pt>
          <cx:pt idx="100143">1</cx:pt>
          <cx:pt idx="100144">1</cx:pt>
          <cx:pt idx="100145">0</cx:pt>
          <cx:pt idx="100146">0</cx:pt>
          <cx:pt idx="100147">1</cx:pt>
          <cx:pt idx="100148">0</cx:pt>
          <cx:pt idx="100149">0</cx:pt>
          <cx:pt idx="100150">0</cx:pt>
          <cx:pt idx="100151">1</cx:pt>
          <cx:pt idx="100152">0</cx:pt>
          <cx:pt idx="100153">1</cx:pt>
          <cx:pt idx="100154">0</cx:pt>
          <cx:pt idx="100155">0</cx:pt>
          <cx:pt idx="100156">0</cx:pt>
          <cx:pt idx="100157">1</cx:pt>
          <cx:pt idx="100158">1</cx:pt>
          <cx:pt idx="100159">1</cx:pt>
          <cx:pt idx="100160">0</cx:pt>
          <cx:pt idx="100161">0</cx:pt>
          <cx:pt idx="100162">0</cx:pt>
          <cx:pt idx="100163">0</cx:pt>
          <cx:pt idx="100164">0</cx:pt>
          <cx:pt idx="100165">0</cx:pt>
          <cx:pt idx="100166">0</cx:pt>
          <cx:pt idx="100167">1</cx:pt>
          <cx:pt idx="100168">1</cx:pt>
          <cx:pt idx="100169">0</cx:pt>
          <cx:pt idx="100170">0</cx:pt>
          <cx:pt idx="100171">0</cx:pt>
          <cx:pt idx="100172">1</cx:pt>
          <cx:pt idx="100173">1</cx:pt>
          <cx:pt idx="100174">1</cx:pt>
          <cx:pt idx="100175">0</cx:pt>
          <cx:pt idx="100176">0</cx:pt>
          <cx:pt idx="100177">0</cx:pt>
          <cx:pt idx="100178">0</cx:pt>
          <cx:pt idx="100179">0</cx:pt>
          <cx:pt idx="100180">1</cx:pt>
          <cx:pt idx="100181">1</cx:pt>
          <cx:pt idx="100182">0</cx:pt>
          <cx:pt idx="100183">0</cx:pt>
          <cx:pt idx="100184">0</cx:pt>
          <cx:pt idx="100185">0</cx:pt>
          <cx:pt idx="100186">0</cx:pt>
          <cx:pt idx="100187">0</cx:pt>
          <cx:pt idx="100188">1</cx:pt>
          <cx:pt idx="100189">1</cx:pt>
          <cx:pt idx="100190">1</cx:pt>
          <cx:pt idx="100191">0</cx:pt>
          <cx:pt idx="100192">0</cx:pt>
          <cx:pt idx="100193">0</cx:pt>
          <cx:pt idx="100194">1</cx:pt>
          <cx:pt idx="100195">0</cx:pt>
          <cx:pt idx="100196">1</cx:pt>
          <cx:pt idx="100197">0</cx:pt>
          <cx:pt idx="100198">0</cx:pt>
          <cx:pt idx="100199">1</cx:pt>
          <cx:pt idx="100200">1</cx:pt>
          <cx:pt idx="100201">0</cx:pt>
          <cx:pt idx="100202">1</cx:pt>
          <cx:pt idx="100203">1</cx:pt>
          <cx:pt idx="100204">0</cx:pt>
          <cx:pt idx="100205">1</cx:pt>
          <cx:pt idx="100206">0</cx:pt>
          <cx:pt idx="100207">0</cx:pt>
          <cx:pt idx="100208">0</cx:pt>
          <cx:pt idx="100209">1</cx:pt>
          <cx:pt idx="100210">0</cx:pt>
          <cx:pt idx="100211">0</cx:pt>
          <cx:pt idx="100212">1</cx:pt>
          <cx:pt idx="100213">1</cx:pt>
          <cx:pt idx="100214">1</cx:pt>
          <cx:pt idx="100215">0</cx:pt>
          <cx:pt idx="100216">1</cx:pt>
          <cx:pt idx="100217">0</cx:pt>
          <cx:pt idx="100218">1</cx:pt>
          <cx:pt idx="100219">1</cx:pt>
          <cx:pt idx="100220">0</cx:pt>
          <cx:pt idx="100221">0</cx:pt>
          <cx:pt idx="100222">1</cx:pt>
          <cx:pt idx="100223">0</cx:pt>
          <cx:pt idx="100224">0</cx:pt>
          <cx:pt idx="100225">1</cx:pt>
          <cx:pt idx="100226">0</cx:pt>
          <cx:pt idx="100227">0</cx:pt>
          <cx:pt idx="100228">0</cx:pt>
          <cx:pt idx="100229">0</cx:pt>
          <cx:pt idx="100230">0</cx:pt>
          <cx:pt idx="100231">0</cx:pt>
          <cx:pt idx="100232">0</cx:pt>
          <cx:pt idx="100233">1</cx:pt>
          <cx:pt idx="100234">0</cx:pt>
          <cx:pt idx="100235">1</cx:pt>
          <cx:pt idx="100236">0</cx:pt>
          <cx:pt idx="100237">1</cx:pt>
          <cx:pt idx="100238">1</cx:pt>
          <cx:pt idx="100239">0</cx:pt>
          <cx:pt idx="100240">1</cx:pt>
          <cx:pt idx="100241">0</cx:pt>
          <cx:pt idx="100242">1</cx:pt>
          <cx:pt idx="100243">1</cx:pt>
          <cx:pt idx="100244">0</cx:pt>
          <cx:pt idx="100245">1</cx:pt>
          <cx:pt idx="100246">1</cx:pt>
          <cx:pt idx="100247">1</cx:pt>
          <cx:pt idx="100248">0</cx:pt>
          <cx:pt idx="100249">0</cx:pt>
          <cx:pt idx="100250">0</cx:pt>
          <cx:pt idx="100251">0</cx:pt>
          <cx:pt idx="100252">1</cx:pt>
          <cx:pt idx="100253">0</cx:pt>
          <cx:pt idx="100254">1</cx:pt>
          <cx:pt idx="100255">1</cx:pt>
          <cx:pt idx="100256">0</cx:pt>
          <cx:pt idx="100257">1</cx:pt>
          <cx:pt idx="100258">0</cx:pt>
          <cx:pt idx="100259">1</cx:pt>
          <cx:pt idx="100260">1</cx:pt>
          <cx:pt idx="100261">1</cx:pt>
          <cx:pt idx="100262">0</cx:pt>
          <cx:pt idx="100263">0</cx:pt>
          <cx:pt idx="100264">0</cx:pt>
          <cx:pt idx="100265">1</cx:pt>
          <cx:pt idx="100266">1</cx:pt>
          <cx:pt idx="100267">0</cx:pt>
          <cx:pt idx="100268">1</cx:pt>
          <cx:pt idx="100269">0</cx:pt>
          <cx:pt idx="100270">0</cx:pt>
          <cx:pt idx="100271">1</cx:pt>
          <cx:pt idx="100272">1</cx:pt>
          <cx:pt idx="100273">0</cx:pt>
          <cx:pt idx="100274">1</cx:pt>
          <cx:pt idx="100275">0</cx:pt>
          <cx:pt idx="100276">1</cx:pt>
          <cx:pt idx="100277">1</cx:pt>
          <cx:pt idx="100278">1</cx:pt>
          <cx:pt idx="100279">1</cx:pt>
          <cx:pt idx="100280">1</cx:pt>
          <cx:pt idx="100281">1</cx:pt>
          <cx:pt idx="100282">1</cx:pt>
          <cx:pt idx="100283">1</cx:pt>
          <cx:pt idx="100284">0</cx:pt>
          <cx:pt idx="100285">0</cx:pt>
          <cx:pt idx="100286">1</cx:pt>
          <cx:pt idx="100287">0</cx:pt>
          <cx:pt idx="100288">1</cx:pt>
          <cx:pt idx="100289">0</cx:pt>
          <cx:pt idx="100290">1</cx:pt>
          <cx:pt idx="100291">1</cx:pt>
          <cx:pt idx="100292">0</cx:pt>
          <cx:pt idx="100293">1</cx:pt>
          <cx:pt idx="100294">0</cx:pt>
          <cx:pt idx="100295">0</cx:pt>
          <cx:pt idx="100296">1</cx:pt>
          <cx:pt idx="100297">0</cx:pt>
          <cx:pt idx="100298">1</cx:pt>
          <cx:pt idx="100299">1</cx:pt>
          <cx:pt idx="100300">1</cx:pt>
          <cx:pt idx="100301">0</cx:pt>
          <cx:pt idx="100302">1</cx:pt>
          <cx:pt idx="100303">1</cx:pt>
          <cx:pt idx="100304">1</cx:pt>
          <cx:pt idx="100305">0</cx:pt>
          <cx:pt idx="100306">0</cx:pt>
          <cx:pt idx="100307">0</cx:pt>
          <cx:pt idx="100308">1</cx:pt>
          <cx:pt idx="100309">0</cx:pt>
          <cx:pt idx="100310">0</cx:pt>
          <cx:pt idx="100311">0</cx:pt>
          <cx:pt idx="100312">0</cx:pt>
          <cx:pt idx="100313">0</cx:pt>
          <cx:pt idx="100314">0</cx:pt>
          <cx:pt idx="100315">0</cx:pt>
          <cx:pt idx="100316">0</cx:pt>
          <cx:pt idx="100317">0</cx:pt>
          <cx:pt idx="100318">0</cx:pt>
          <cx:pt idx="100319">0</cx:pt>
          <cx:pt idx="100320">1</cx:pt>
          <cx:pt idx="100321">0</cx:pt>
          <cx:pt idx="100322">0</cx:pt>
          <cx:pt idx="100323">1</cx:pt>
          <cx:pt idx="100324">1</cx:pt>
          <cx:pt idx="100325">0</cx:pt>
          <cx:pt idx="100326">0</cx:pt>
          <cx:pt idx="100327">0</cx:pt>
          <cx:pt idx="100328">0</cx:pt>
          <cx:pt idx="100329">0</cx:pt>
          <cx:pt idx="100330">0</cx:pt>
          <cx:pt idx="100331">0</cx:pt>
          <cx:pt idx="100332">0</cx:pt>
          <cx:pt idx="100333">0</cx:pt>
          <cx:pt idx="100334">0</cx:pt>
          <cx:pt idx="100335">1</cx:pt>
          <cx:pt idx="100336">0</cx:pt>
          <cx:pt idx="100337">1</cx:pt>
          <cx:pt idx="100338">0</cx:pt>
          <cx:pt idx="100339">1</cx:pt>
          <cx:pt idx="100340">0</cx:pt>
          <cx:pt idx="100341">1</cx:pt>
          <cx:pt idx="100342">1</cx:pt>
          <cx:pt idx="100343">1</cx:pt>
          <cx:pt idx="100344">0</cx:pt>
          <cx:pt idx="100345">0</cx:pt>
          <cx:pt idx="100346">0</cx:pt>
          <cx:pt idx="100347">0</cx:pt>
          <cx:pt idx="100348">1</cx:pt>
          <cx:pt idx="100349">1</cx:pt>
          <cx:pt idx="100350">0</cx:pt>
          <cx:pt idx="100351">1</cx:pt>
          <cx:pt idx="100352">1</cx:pt>
          <cx:pt idx="100353">1</cx:pt>
          <cx:pt idx="100354">0</cx:pt>
          <cx:pt idx="100355">0</cx:pt>
          <cx:pt idx="100356">0</cx:pt>
          <cx:pt idx="100357">0</cx:pt>
          <cx:pt idx="100358">0</cx:pt>
          <cx:pt idx="100359">1</cx:pt>
          <cx:pt idx="100360">1</cx:pt>
          <cx:pt idx="100361">0</cx:pt>
          <cx:pt idx="100362">0</cx:pt>
          <cx:pt idx="100363">1</cx:pt>
          <cx:pt idx="100364">1</cx:pt>
          <cx:pt idx="100365">1</cx:pt>
          <cx:pt idx="100366">0</cx:pt>
          <cx:pt idx="100367">0</cx:pt>
          <cx:pt idx="100368">1</cx:pt>
          <cx:pt idx="100369">0</cx:pt>
          <cx:pt idx="100370">0</cx:pt>
          <cx:pt idx="100371">1</cx:pt>
          <cx:pt idx="100372">1</cx:pt>
          <cx:pt idx="100373">0</cx:pt>
          <cx:pt idx="100374">0</cx:pt>
          <cx:pt idx="100375">0</cx:pt>
          <cx:pt idx="100376">0</cx:pt>
          <cx:pt idx="100377">0</cx:pt>
          <cx:pt idx="100378">1</cx:pt>
          <cx:pt idx="100379">0</cx:pt>
          <cx:pt idx="100380">1</cx:pt>
          <cx:pt idx="100381">1</cx:pt>
          <cx:pt idx="100382">0</cx:pt>
          <cx:pt idx="100383">0</cx:pt>
          <cx:pt idx="100384">0</cx:pt>
          <cx:pt idx="100385">1</cx:pt>
          <cx:pt idx="100386">0</cx:pt>
          <cx:pt idx="100387">0</cx:pt>
          <cx:pt idx="100388">0</cx:pt>
          <cx:pt idx="100389">0</cx:pt>
          <cx:pt idx="100390">0</cx:pt>
          <cx:pt idx="100391">0</cx:pt>
          <cx:pt idx="100392">1</cx:pt>
          <cx:pt idx="100393">0</cx:pt>
          <cx:pt idx="100394">0</cx:pt>
          <cx:pt idx="100395">0</cx:pt>
          <cx:pt idx="100396">0</cx:pt>
          <cx:pt idx="100397">0</cx:pt>
          <cx:pt idx="100398">0</cx:pt>
          <cx:pt idx="100399">1</cx:pt>
          <cx:pt idx="100400">0</cx:pt>
          <cx:pt idx="100401">0</cx:pt>
          <cx:pt idx="100402">1</cx:pt>
          <cx:pt idx="100403">0</cx:pt>
          <cx:pt idx="100404">1</cx:pt>
          <cx:pt idx="100405">0</cx:pt>
          <cx:pt idx="100406">1</cx:pt>
          <cx:pt idx="100407">0</cx:pt>
          <cx:pt idx="100408">1</cx:pt>
          <cx:pt idx="100409">1</cx:pt>
          <cx:pt idx="100410">1</cx:pt>
          <cx:pt idx="100411">0</cx:pt>
          <cx:pt idx="100412">0</cx:pt>
          <cx:pt idx="100413">0</cx:pt>
          <cx:pt idx="100414">0</cx:pt>
          <cx:pt idx="100415">0</cx:pt>
          <cx:pt idx="100416">1</cx:pt>
          <cx:pt idx="100417">0</cx:pt>
          <cx:pt idx="100418">1</cx:pt>
          <cx:pt idx="100419">0</cx:pt>
          <cx:pt idx="100420">0</cx:pt>
          <cx:pt idx="100421">1</cx:pt>
          <cx:pt idx="100422">0</cx:pt>
          <cx:pt idx="100423">0</cx:pt>
          <cx:pt idx="100424">0</cx:pt>
          <cx:pt idx="100425">0</cx:pt>
          <cx:pt idx="100426">1</cx:pt>
          <cx:pt idx="100427">1</cx:pt>
          <cx:pt idx="100428">1</cx:pt>
          <cx:pt idx="100429">0</cx:pt>
          <cx:pt idx="100430">1</cx:pt>
          <cx:pt idx="100431">0</cx:pt>
          <cx:pt idx="100432">1</cx:pt>
          <cx:pt idx="100433">1</cx:pt>
          <cx:pt idx="100434">0</cx:pt>
          <cx:pt idx="100435">0</cx:pt>
          <cx:pt idx="100436">0</cx:pt>
          <cx:pt idx="100437">1</cx:pt>
          <cx:pt idx="100438">0</cx:pt>
          <cx:pt idx="100439">0</cx:pt>
          <cx:pt idx="100440">1</cx:pt>
          <cx:pt idx="100441">1</cx:pt>
          <cx:pt idx="100442">0</cx:pt>
          <cx:pt idx="100443">1</cx:pt>
          <cx:pt idx="100444">1</cx:pt>
          <cx:pt idx="100445">1</cx:pt>
          <cx:pt idx="100446">1</cx:pt>
          <cx:pt idx="100447">0</cx:pt>
          <cx:pt idx="100448">0</cx:pt>
          <cx:pt idx="100449">1</cx:pt>
          <cx:pt idx="100450">0</cx:pt>
          <cx:pt idx="100451">0</cx:pt>
          <cx:pt idx="100452">0</cx:pt>
          <cx:pt idx="100453">0</cx:pt>
          <cx:pt idx="100454">0</cx:pt>
          <cx:pt idx="100455">1</cx:pt>
          <cx:pt idx="100456">1</cx:pt>
          <cx:pt idx="100457">0</cx:pt>
          <cx:pt idx="100458">0</cx:pt>
          <cx:pt idx="100459">0</cx:pt>
          <cx:pt idx="100460">1</cx:pt>
          <cx:pt idx="100461">0</cx:pt>
          <cx:pt idx="100462">1</cx:pt>
          <cx:pt idx="100463">0</cx:pt>
          <cx:pt idx="100464">0</cx:pt>
          <cx:pt idx="100465">0</cx:pt>
          <cx:pt idx="100466">0</cx:pt>
          <cx:pt idx="100467">1</cx:pt>
          <cx:pt idx="100468">0</cx:pt>
          <cx:pt idx="100469">0</cx:pt>
          <cx:pt idx="100470">1</cx:pt>
          <cx:pt idx="100471">1</cx:pt>
          <cx:pt idx="100472">0</cx:pt>
          <cx:pt idx="100473">0</cx:pt>
          <cx:pt idx="100474">1</cx:pt>
          <cx:pt idx="100475">0</cx:pt>
          <cx:pt idx="100476">0</cx:pt>
          <cx:pt idx="100477">0</cx:pt>
          <cx:pt idx="100478">1</cx:pt>
          <cx:pt idx="100479">0</cx:pt>
          <cx:pt idx="100480">0</cx:pt>
          <cx:pt idx="100481">1</cx:pt>
          <cx:pt idx="100482">0</cx:pt>
          <cx:pt idx="100483">0</cx:pt>
          <cx:pt idx="100484">1</cx:pt>
          <cx:pt idx="100485">0</cx:pt>
          <cx:pt idx="100486">0</cx:pt>
          <cx:pt idx="100487">0</cx:pt>
          <cx:pt idx="100488">1</cx:pt>
          <cx:pt idx="100489">0</cx:pt>
          <cx:pt idx="100490">0</cx:pt>
          <cx:pt idx="100491">0</cx:pt>
          <cx:pt idx="100492">0</cx:pt>
          <cx:pt idx="100493">0</cx:pt>
          <cx:pt idx="100494">0</cx:pt>
          <cx:pt idx="100495">0</cx:pt>
          <cx:pt idx="100496">1</cx:pt>
          <cx:pt idx="100497">0</cx:pt>
          <cx:pt idx="100498">1</cx:pt>
          <cx:pt idx="100499">0</cx:pt>
          <cx:pt idx="100500">1</cx:pt>
          <cx:pt idx="100501">1</cx:pt>
          <cx:pt idx="100502">0</cx:pt>
          <cx:pt idx="100503">1</cx:pt>
          <cx:pt idx="100504">0</cx:pt>
          <cx:pt idx="100505">1</cx:pt>
          <cx:pt idx="100506">0</cx:pt>
          <cx:pt idx="100507">1</cx:pt>
          <cx:pt idx="100508">1</cx:pt>
          <cx:pt idx="100509">0</cx:pt>
          <cx:pt idx="100510">0</cx:pt>
          <cx:pt idx="100511">0</cx:pt>
          <cx:pt idx="100512">0</cx:pt>
          <cx:pt idx="100513">1</cx:pt>
          <cx:pt idx="100514">1</cx:pt>
          <cx:pt idx="100515">0</cx:pt>
          <cx:pt idx="100516">0</cx:pt>
          <cx:pt idx="100517">0</cx:pt>
          <cx:pt idx="100518">1</cx:pt>
          <cx:pt idx="100519">0</cx:pt>
          <cx:pt idx="100520">0</cx:pt>
          <cx:pt idx="100521">0</cx:pt>
          <cx:pt idx="100522">0</cx:pt>
          <cx:pt idx="100523">1</cx:pt>
          <cx:pt idx="100524">1</cx:pt>
          <cx:pt idx="100525">1</cx:pt>
          <cx:pt idx="100526">1</cx:pt>
          <cx:pt idx="100527">1</cx:pt>
          <cx:pt idx="100528">1</cx:pt>
          <cx:pt idx="100529">1</cx:pt>
          <cx:pt idx="100530">1</cx:pt>
          <cx:pt idx="100531">0</cx:pt>
          <cx:pt idx="100532">0</cx:pt>
          <cx:pt idx="100533">0</cx:pt>
          <cx:pt idx="100534">1</cx:pt>
          <cx:pt idx="100535">1</cx:pt>
          <cx:pt idx="100536">1</cx:pt>
          <cx:pt idx="100537">0</cx:pt>
          <cx:pt idx="100538">1</cx:pt>
          <cx:pt idx="100539">0</cx:pt>
          <cx:pt idx="100540">1</cx:pt>
          <cx:pt idx="100541">0</cx:pt>
          <cx:pt idx="100542">0</cx:pt>
          <cx:pt idx="100543">1</cx:pt>
          <cx:pt idx="100544">0</cx:pt>
          <cx:pt idx="100545">0</cx:pt>
          <cx:pt idx="100546">0</cx:pt>
          <cx:pt idx="100547">1</cx:pt>
          <cx:pt idx="100548">0</cx:pt>
          <cx:pt idx="100549">0</cx:pt>
          <cx:pt idx="100550">0</cx:pt>
          <cx:pt idx="100551">1</cx:pt>
          <cx:pt idx="100552">1</cx:pt>
          <cx:pt idx="100553">1</cx:pt>
          <cx:pt idx="100554">0</cx:pt>
          <cx:pt idx="100555">0</cx:pt>
          <cx:pt idx="100556">0</cx:pt>
          <cx:pt idx="100557">0</cx:pt>
          <cx:pt idx="100558">1</cx:pt>
          <cx:pt idx="100559">1</cx:pt>
          <cx:pt idx="100560">1</cx:pt>
          <cx:pt idx="100561">1</cx:pt>
          <cx:pt idx="100562">1</cx:pt>
          <cx:pt idx="100563">0</cx:pt>
          <cx:pt idx="100564">0</cx:pt>
          <cx:pt idx="100565">1</cx:pt>
          <cx:pt idx="100566">1</cx:pt>
          <cx:pt idx="100567">1</cx:pt>
          <cx:pt idx="100568">1</cx:pt>
          <cx:pt idx="100569">0</cx:pt>
          <cx:pt idx="100570">1</cx:pt>
          <cx:pt idx="100571">0</cx:pt>
          <cx:pt idx="100572">1</cx:pt>
          <cx:pt idx="100573">1</cx:pt>
          <cx:pt idx="100574">0</cx:pt>
          <cx:pt idx="100575">0</cx:pt>
          <cx:pt idx="100576">0</cx:pt>
          <cx:pt idx="100577">0</cx:pt>
          <cx:pt idx="100578">0</cx:pt>
          <cx:pt idx="100579">0</cx:pt>
          <cx:pt idx="100580">0</cx:pt>
          <cx:pt idx="100581">1</cx:pt>
          <cx:pt idx="100582">0</cx:pt>
          <cx:pt idx="100583">1</cx:pt>
          <cx:pt idx="100584">0</cx:pt>
          <cx:pt idx="100585">0</cx:pt>
          <cx:pt idx="100586">1</cx:pt>
          <cx:pt idx="100587">1</cx:pt>
          <cx:pt idx="100588">0</cx:pt>
          <cx:pt idx="100589">1</cx:pt>
          <cx:pt idx="100590">1</cx:pt>
          <cx:pt idx="100591">0</cx:pt>
          <cx:pt idx="100592">0</cx:pt>
          <cx:pt idx="100593">0</cx:pt>
          <cx:pt idx="100594">1</cx:pt>
          <cx:pt idx="100595">0</cx:pt>
          <cx:pt idx="100596">0</cx:pt>
          <cx:pt idx="100597">1</cx:pt>
          <cx:pt idx="100598">0</cx:pt>
          <cx:pt idx="100599">0</cx:pt>
          <cx:pt idx="100600">0</cx:pt>
          <cx:pt idx="100601">1</cx:pt>
          <cx:pt idx="100602">0</cx:pt>
          <cx:pt idx="100603">1</cx:pt>
          <cx:pt idx="100604">0</cx:pt>
          <cx:pt idx="100605">1</cx:pt>
          <cx:pt idx="100606">1</cx:pt>
          <cx:pt idx="100607">1</cx:pt>
          <cx:pt idx="100608">0</cx:pt>
          <cx:pt idx="100609">1</cx:pt>
          <cx:pt idx="100610">1</cx:pt>
          <cx:pt idx="100611">1</cx:pt>
          <cx:pt idx="100612">0</cx:pt>
          <cx:pt idx="100613">0</cx:pt>
          <cx:pt idx="100614">0</cx:pt>
          <cx:pt idx="100615">0</cx:pt>
          <cx:pt idx="100616">1</cx:pt>
          <cx:pt idx="100617">1</cx:pt>
          <cx:pt idx="100618">0</cx:pt>
          <cx:pt idx="100619">0</cx:pt>
          <cx:pt idx="100620">0</cx:pt>
          <cx:pt idx="100621">0</cx:pt>
          <cx:pt idx="100622">0</cx:pt>
          <cx:pt idx="100623">1</cx:pt>
          <cx:pt idx="100624">0</cx:pt>
          <cx:pt idx="100625">0</cx:pt>
          <cx:pt idx="100626">1</cx:pt>
          <cx:pt idx="100627">0</cx:pt>
          <cx:pt idx="100628">1</cx:pt>
          <cx:pt idx="100629">1</cx:pt>
          <cx:pt idx="100630">1</cx:pt>
          <cx:pt idx="100631">0</cx:pt>
          <cx:pt idx="100632">0</cx:pt>
          <cx:pt idx="100633">0</cx:pt>
          <cx:pt idx="100634">1</cx:pt>
          <cx:pt idx="100635">0</cx:pt>
          <cx:pt idx="100636">1</cx:pt>
          <cx:pt idx="100637">1</cx:pt>
          <cx:pt idx="100638">0</cx:pt>
          <cx:pt idx="100639">0</cx:pt>
          <cx:pt idx="100640">0</cx:pt>
          <cx:pt idx="100641">0</cx:pt>
          <cx:pt idx="100642">0</cx:pt>
          <cx:pt idx="100643">0</cx:pt>
          <cx:pt idx="100644">0</cx:pt>
          <cx:pt idx="100645">0</cx:pt>
          <cx:pt idx="100646">0</cx:pt>
          <cx:pt idx="100647">1</cx:pt>
          <cx:pt idx="100648">0</cx:pt>
          <cx:pt idx="100649">1</cx:pt>
          <cx:pt idx="100650">0</cx:pt>
          <cx:pt idx="100651">0</cx:pt>
          <cx:pt idx="100652">1</cx:pt>
          <cx:pt idx="100653">1</cx:pt>
          <cx:pt idx="100654">0</cx:pt>
          <cx:pt idx="100655">1</cx:pt>
          <cx:pt idx="100656">0</cx:pt>
          <cx:pt idx="100657">0</cx:pt>
          <cx:pt idx="100658">1</cx:pt>
          <cx:pt idx="100659">0</cx:pt>
          <cx:pt idx="100660">1</cx:pt>
          <cx:pt idx="100661">0</cx:pt>
          <cx:pt idx="100662">0</cx:pt>
          <cx:pt idx="100663">0</cx:pt>
          <cx:pt idx="100664">0</cx:pt>
          <cx:pt idx="100665">1</cx:pt>
          <cx:pt idx="100666">1</cx:pt>
          <cx:pt idx="100667">0</cx:pt>
          <cx:pt idx="100668">1</cx:pt>
          <cx:pt idx="100669">1</cx:pt>
          <cx:pt idx="100670">0</cx:pt>
          <cx:pt idx="100671">1</cx:pt>
          <cx:pt idx="100672">0</cx:pt>
          <cx:pt idx="100673">1</cx:pt>
          <cx:pt idx="100674">1</cx:pt>
          <cx:pt idx="100675">1</cx:pt>
          <cx:pt idx="100676">0</cx:pt>
          <cx:pt idx="100677">1</cx:pt>
          <cx:pt idx="100678">0</cx:pt>
          <cx:pt idx="100679">0</cx:pt>
          <cx:pt idx="100680">1</cx:pt>
          <cx:pt idx="100681">0</cx:pt>
          <cx:pt idx="100682">1</cx:pt>
          <cx:pt idx="100683">0</cx:pt>
          <cx:pt idx="100684">1</cx:pt>
          <cx:pt idx="100685">1</cx:pt>
          <cx:pt idx="100686">0</cx:pt>
          <cx:pt idx="100687">0</cx:pt>
          <cx:pt idx="100688">0</cx:pt>
          <cx:pt idx="100689">0</cx:pt>
          <cx:pt idx="100690">1</cx:pt>
          <cx:pt idx="100691">1</cx:pt>
          <cx:pt idx="100692">0</cx:pt>
          <cx:pt idx="100693">1</cx:pt>
          <cx:pt idx="100694">1</cx:pt>
          <cx:pt idx="100695">0</cx:pt>
          <cx:pt idx="100696">1</cx:pt>
          <cx:pt idx="100697">0</cx:pt>
          <cx:pt idx="100698">0</cx:pt>
          <cx:pt idx="100699">1</cx:pt>
          <cx:pt idx="100700">1</cx:pt>
          <cx:pt idx="100701">1</cx:pt>
          <cx:pt idx="100702">0</cx:pt>
          <cx:pt idx="100703">1</cx:pt>
          <cx:pt idx="100704">1</cx:pt>
          <cx:pt idx="100705">1</cx:pt>
          <cx:pt idx="100706">1</cx:pt>
          <cx:pt idx="100707">0</cx:pt>
          <cx:pt idx="100708">0</cx:pt>
          <cx:pt idx="100709">1</cx:pt>
          <cx:pt idx="100710">1</cx:pt>
          <cx:pt idx="100711">0</cx:pt>
          <cx:pt idx="100712">0</cx:pt>
          <cx:pt idx="100713">0</cx:pt>
          <cx:pt idx="100714">1</cx:pt>
          <cx:pt idx="100715">1</cx:pt>
          <cx:pt idx="100716">0</cx:pt>
          <cx:pt idx="100717">0</cx:pt>
          <cx:pt idx="100718">0</cx:pt>
          <cx:pt idx="100719">0</cx:pt>
          <cx:pt idx="100720">1</cx:pt>
          <cx:pt idx="100721">1</cx:pt>
          <cx:pt idx="100722">1</cx:pt>
          <cx:pt idx="100723">1</cx:pt>
          <cx:pt idx="100724">1</cx:pt>
          <cx:pt idx="100725">0</cx:pt>
          <cx:pt idx="100726">1</cx:pt>
          <cx:pt idx="100727">0</cx:pt>
          <cx:pt idx="100728">1</cx:pt>
          <cx:pt idx="100729">1</cx:pt>
          <cx:pt idx="100730">1</cx:pt>
          <cx:pt idx="100731">0</cx:pt>
          <cx:pt idx="100732">0</cx:pt>
          <cx:pt idx="100733">0</cx:pt>
          <cx:pt idx="100734">0</cx:pt>
          <cx:pt idx="100735">0</cx:pt>
          <cx:pt idx="100736">1</cx:pt>
          <cx:pt idx="100737">0</cx:pt>
          <cx:pt idx="100738">0</cx:pt>
          <cx:pt idx="100739">0</cx:pt>
          <cx:pt idx="100740">1</cx:pt>
          <cx:pt idx="100741">0</cx:pt>
          <cx:pt idx="100742">0</cx:pt>
          <cx:pt idx="100743">0</cx:pt>
          <cx:pt idx="100744">1</cx:pt>
          <cx:pt idx="100745">0</cx:pt>
          <cx:pt idx="100746">1</cx:pt>
          <cx:pt idx="100747">0</cx:pt>
          <cx:pt idx="100748">0</cx:pt>
          <cx:pt idx="100749">1</cx:pt>
          <cx:pt idx="100750">0</cx:pt>
          <cx:pt idx="100751">1</cx:pt>
          <cx:pt idx="100752">1</cx:pt>
          <cx:pt idx="100753">0</cx:pt>
          <cx:pt idx="100754">1</cx:pt>
          <cx:pt idx="100755">0</cx:pt>
          <cx:pt idx="100756">1</cx:pt>
          <cx:pt idx="100757">1</cx:pt>
          <cx:pt idx="100758">1</cx:pt>
          <cx:pt idx="100759">0</cx:pt>
          <cx:pt idx="100760">0</cx:pt>
          <cx:pt idx="100761">0</cx:pt>
          <cx:pt idx="100762">1</cx:pt>
          <cx:pt idx="100763">0</cx:pt>
          <cx:pt idx="100764">1</cx:pt>
          <cx:pt idx="100765">1</cx:pt>
          <cx:pt idx="100766">1</cx:pt>
          <cx:pt idx="100767">1</cx:pt>
          <cx:pt idx="100768">1</cx:pt>
          <cx:pt idx="100769">1</cx:pt>
          <cx:pt idx="100770">1</cx:pt>
          <cx:pt idx="100771">0</cx:pt>
          <cx:pt idx="100772">1</cx:pt>
          <cx:pt idx="100773">0</cx:pt>
          <cx:pt idx="100774">0</cx:pt>
          <cx:pt idx="100775">1</cx:pt>
          <cx:pt idx="100776">0</cx:pt>
          <cx:pt idx="100777">0</cx:pt>
          <cx:pt idx="100778">0</cx:pt>
          <cx:pt idx="100779">0</cx:pt>
          <cx:pt idx="100780">0</cx:pt>
          <cx:pt idx="100781">1</cx:pt>
          <cx:pt idx="100782">0</cx:pt>
          <cx:pt idx="100783">0</cx:pt>
          <cx:pt idx="100784">1</cx:pt>
          <cx:pt idx="100785">0</cx:pt>
          <cx:pt idx="100786">0</cx:pt>
          <cx:pt idx="100787">0</cx:pt>
          <cx:pt idx="100788">0</cx:pt>
          <cx:pt idx="100789">1</cx:pt>
          <cx:pt idx="100790">0</cx:pt>
          <cx:pt idx="100791">1</cx:pt>
          <cx:pt idx="100792">1</cx:pt>
          <cx:pt idx="100793">1</cx:pt>
          <cx:pt idx="100794">0</cx:pt>
          <cx:pt idx="100795">0</cx:pt>
          <cx:pt idx="100796">1</cx:pt>
          <cx:pt idx="100797">0</cx:pt>
          <cx:pt idx="100798">1</cx:pt>
          <cx:pt idx="100799">1</cx:pt>
          <cx:pt idx="100800">1</cx:pt>
          <cx:pt idx="100801">1</cx:pt>
          <cx:pt idx="100802">1</cx:pt>
          <cx:pt idx="100803">1</cx:pt>
          <cx:pt idx="100804">1</cx:pt>
          <cx:pt idx="100805">1</cx:pt>
          <cx:pt idx="100806">0</cx:pt>
          <cx:pt idx="100807">1</cx:pt>
          <cx:pt idx="100808">0</cx:pt>
          <cx:pt idx="100809">0</cx:pt>
          <cx:pt idx="100810">0</cx:pt>
          <cx:pt idx="100811">0</cx:pt>
          <cx:pt idx="100812">0</cx:pt>
          <cx:pt idx="100813">1</cx:pt>
          <cx:pt idx="100814">0</cx:pt>
          <cx:pt idx="100815">1</cx:pt>
          <cx:pt idx="100816">0</cx:pt>
          <cx:pt idx="100817">1</cx:pt>
          <cx:pt idx="100818">0</cx:pt>
          <cx:pt idx="100819">0</cx:pt>
          <cx:pt idx="100820">0</cx:pt>
          <cx:pt idx="100821">0</cx:pt>
          <cx:pt idx="100822">0</cx:pt>
          <cx:pt idx="100823">1</cx:pt>
          <cx:pt idx="100824">0</cx:pt>
          <cx:pt idx="100825">0</cx:pt>
          <cx:pt idx="100826">1</cx:pt>
          <cx:pt idx="100827">1</cx:pt>
          <cx:pt idx="100828">0</cx:pt>
          <cx:pt idx="100829">0</cx:pt>
          <cx:pt idx="100830">1</cx:pt>
          <cx:pt idx="100831">0</cx:pt>
          <cx:pt idx="100832">1</cx:pt>
          <cx:pt idx="100833">0</cx:pt>
          <cx:pt idx="100834">0</cx:pt>
          <cx:pt idx="100835">1</cx:pt>
          <cx:pt idx="100836">1</cx:pt>
          <cx:pt idx="100837">1</cx:pt>
          <cx:pt idx="100838">0</cx:pt>
          <cx:pt idx="100839">0</cx:pt>
          <cx:pt idx="100840">0</cx:pt>
          <cx:pt idx="100841">0</cx:pt>
          <cx:pt idx="100842">0</cx:pt>
          <cx:pt idx="100843">1</cx:pt>
          <cx:pt idx="100844">0</cx:pt>
          <cx:pt idx="100845">0</cx:pt>
          <cx:pt idx="100846">0</cx:pt>
          <cx:pt idx="100847">1</cx:pt>
          <cx:pt idx="100848">1</cx:pt>
          <cx:pt idx="100849">1</cx:pt>
          <cx:pt idx="100850">0</cx:pt>
          <cx:pt idx="100851">1</cx:pt>
          <cx:pt idx="100852">0</cx:pt>
          <cx:pt idx="100853">1</cx:pt>
          <cx:pt idx="100854">0</cx:pt>
          <cx:pt idx="100855">1</cx:pt>
          <cx:pt idx="100856">0</cx:pt>
          <cx:pt idx="100857">1</cx:pt>
          <cx:pt idx="100858">1</cx:pt>
          <cx:pt idx="100859">1</cx:pt>
          <cx:pt idx="100860">0</cx:pt>
          <cx:pt idx="100861">0</cx:pt>
          <cx:pt idx="100862">1</cx:pt>
          <cx:pt idx="100863">0</cx:pt>
          <cx:pt idx="100864">0</cx:pt>
          <cx:pt idx="100865">1</cx:pt>
          <cx:pt idx="100866">0</cx:pt>
          <cx:pt idx="100867">1</cx:pt>
          <cx:pt idx="100868">1</cx:pt>
          <cx:pt idx="100869">1</cx:pt>
          <cx:pt idx="100870">0</cx:pt>
          <cx:pt idx="100871">0</cx:pt>
          <cx:pt idx="100872">1</cx:pt>
          <cx:pt idx="100873">0</cx:pt>
          <cx:pt idx="100874">0</cx:pt>
          <cx:pt idx="100875">0</cx:pt>
          <cx:pt idx="100876">1</cx:pt>
          <cx:pt idx="100877">0</cx:pt>
          <cx:pt idx="100878">1</cx:pt>
          <cx:pt idx="100879">0</cx:pt>
          <cx:pt idx="100880">0</cx:pt>
          <cx:pt idx="100881">0</cx:pt>
          <cx:pt idx="100882">0</cx:pt>
          <cx:pt idx="100883">1</cx:pt>
          <cx:pt idx="100884">1</cx:pt>
          <cx:pt idx="100885">1</cx:pt>
          <cx:pt idx="100886">1</cx:pt>
          <cx:pt idx="100887">1</cx:pt>
          <cx:pt idx="100888">0</cx:pt>
          <cx:pt idx="100889">1</cx:pt>
          <cx:pt idx="100890">1</cx:pt>
          <cx:pt idx="100891">0</cx:pt>
          <cx:pt idx="100892">0</cx:pt>
          <cx:pt idx="100893">1</cx:pt>
          <cx:pt idx="100894">0</cx:pt>
          <cx:pt idx="100895">0</cx:pt>
          <cx:pt idx="100896">1</cx:pt>
          <cx:pt idx="100897">1</cx:pt>
          <cx:pt idx="100898">0</cx:pt>
          <cx:pt idx="100899">1</cx:pt>
          <cx:pt idx="100900">0</cx:pt>
          <cx:pt idx="100901">0</cx:pt>
          <cx:pt idx="100902">0</cx:pt>
          <cx:pt idx="100903">0</cx:pt>
          <cx:pt idx="100904">1</cx:pt>
          <cx:pt idx="100905">0</cx:pt>
          <cx:pt idx="100906">0</cx:pt>
          <cx:pt idx="100907">1</cx:pt>
          <cx:pt idx="100908">0</cx:pt>
          <cx:pt idx="100909">0</cx:pt>
          <cx:pt idx="100910">0</cx:pt>
          <cx:pt idx="100911">0</cx:pt>
          <cx:pt idx="100912">1</cx:pt>
          <cx:pt idx="100913">1</cx:pt>
          <cx:pt idx="100914">0</cx:pt>
          <cx:pt idx="100915">1</cx:pt>
          <cx:pt idx="100916">1</cx:pt>
          <cx:pt idx="100917">1</cx:pt>
          <cx:pt idx="100918">1</cx:pt>
          <cx:pt idx="100919">0</cx:pt>
          <cx:pt idx="100920">0</cx:pt>
          <cx:pt idx="100921">1</cx:pt>
          <cx:pt idx="100922">1</cx:pt>
          <cx:pt idx="100923">1</cx:pt>
          <cx:pt idx="100924">1</cx:pt>
          <cx:pt idx="100925">0</cx:pt>
          <cx:pt idx="100926">0</cx:pt>
          <cx:pt idx="100927">1</cx:pt>
          <cx:pt idx="100928">0</cx:pt>
          <cx:pt idx="100929">1</cx:pt>
          <cx:pt idx="100930">1</cx:pt>
          <cx:pt idx="100931">0</cx:pt>
          <cx:pt idx="100932">0</cx:pt>
          <cx:pt idx="100933">1</cx:pt>
          <cx:pt idx="100934">1</cx:pt>
          <cx:pt idx="100935">0</cx:pt>
          <cx:pt idx="100936">1</cx:pt>
          <cx:pt idx="100937">0</cx:pt>
          <cx:pt idx="100938">0</cx:pt>
          <cx:pt idx="100939">0</cx:pt>
          <cx:pt idx="100940">0</cx:pt>
          <cx:pt idx="100941">1</cx:pt>
          <cx:pt idx="100942">0</cx:pt>
          <cx:pt idx="100943">1</cx:pt>
          <cx:pt idx="100944">1</cx:pt>
          <cx:pt idx="100945">0</cx:pt>
          <cx:pt idx="100946">1</cx:pt>
          <cx:pt idx="100947">1</cx:pt>
          <cx:pt idx="100948">0</cx:pt>
          <cx:pt idx="100949">0</cx:pt>
          <cx:pt idx="100950">1</cx:pt>
          <cx:pt idx="100951">1</cx:pt>
          <cx:pt idx="100952">0</cx:pt>
          <cx:pt idx="100953">1</cx:pt>
          <cx:pt idx="100954">0</cx:pt>
          <cx:pt idx="100955">0</cx:pt>
          <cx:pt idx="100956">1</cx:pt>
          <cx:pt idx="100957">0</cx:pt>
          <cx:pt idx="100958">0</cx:pt>
          <cx:pt idx="100959">0</cx:pt>
          <cx:pt idx="100960">1</cx:pt>
          <cx:pt idx="100961">1</cx:pt>
          <cx:pt idx="100962">0</cx:pt>
          <cx:pt idx="100963">1</cx:pt>
          <cx:pt idx="100964">1</cx:pt>
          <cx:pt idx="100965">0</cx:pt>
          <cx:pt idx="100966">0</cx:pt>
          <cx:pt idx="100967">1</cx:pt>
          <cx:pt idx="100968">1</cx:pt>
          <cx:pt idx="100969">0</cx:pt>
          <cx:pt idx="100970">0</cx:pt>
          <cx:pt idx="100971">0</cx:pt>
          <cx:pt idx="100972">0</cx:pt>
          <cx:pt idx="100973">0</cx:pt>
          <cx:pt idx="100974">0</cx:pt>
          <cx:pt idx="100975">0</cx:pt>
          <cx:pt idx="100976">1</cx:pt>
          <cx:pt idx="100977">1</cx:pt>
          <cx:pt idx="100978">0</cx:pt>
          <cx:pt idx="100979">0</cx:pt>
          <cx:pt idx="100980">0</cx:pt>
          <cx:pt idx="100981">1</cx:pt>
          <cx:pt idx="100982">1</cx:pt>
          <cx:pt idx="100983">0</cx:pt>
          <cx:pt idx="100984">0</cx:pt>
          <cx:pt idx="100985">1</cx:pt>
          <cx:pt idx="100986">1</cx:pt>
          <cx:pt idx="100987">1</cx:pt>
          <cx:pt idx="100988">1</cx:pt>
          <cx:pt idx="100989">1</cx:pt>
          <cx:pt idx="100990">0</cx:pt>
          <cx:pt idx="100991">1</cx:pt>
          <cx:pt idx="100992">1</cx:pt>
          <cx:pt idx="100993">0</cx:pt>
          <cx:pt idx="100994">1</cx:pt>
          <cx:pt idx="100995">1</cx:pt>
          <cx:pt idx="100996">0</cx:pt>
          <cx:pt idx="100997">0</cx:pt>
          <cx:pt idx="100998">0</cx:pt>
          <cx:pt idx="100999">0</cx:pt>
          <cx:pt idx="101000">1</cx:pt>
          <cx:pt idx="101001">0</cx:pt>
          <cx:pt idx="101002">0</cx:pt>
          <cx:pt idx="101003">0</cx:pt>
          <cx:pt idx="101004">0</cx:pt>
          <cx:pt idx="101005">0</cx:pt>
          <cx:pt idx="101006">0</cx:pt>
          <cx:pt idx="101007">1</cx:pt>
          <cx:pt idx="101008">0</cx:pt>
          <cx:pt idx="101009">0</cx:pt>
          <cx:pt idx="101010">1</cx:pt>
          <cx:pt idx="101011">0</cx:pt>
          <cx:pt idx="101012">1</cx:pt>
          <cx:pt idx="101013">0</cx:pt>
          <cx:pt idx="101014">0</cx:pt>
          <cx:pt idx="101015">1</cx:pt>
          <cx:pt idx="101016">0</cx:pt>
          <cx:pt idx="101017">0</cx:pt>
          <cx:pt idx="101018">1</cx:pt>
          <cx:pt idx="101019">1</cx:pt>
          <cx:pt idx="101020">0</cx:pt>
          <cx:pt idx="101021">1</cx:pt>
          <cx:pt idx="101022">0</cx:pt>
          <cx:pt idx="101023">0</cx:pt>
          <cx:pt idx="101024">0</cx:pt>
          <cx:pt idx="101025">0</cx:pt>
          <cx:pt idx="101026">0</cx:pt>
          <cx:pt idx="101027">0</cx:pt>
          <cx:pt idx="101028">0</cx:pt>
          <cx:pt idx="101029">0</cx:pt>
          <cx:pt idx="101030">1</cx:pt>
          <cx:pt idx="101031">0</cx:pt>
          <cx:pt idx="101032">1</cx:pt>
          <cx:pt idx="101033">1</cx:pt>
          <cx:pt idx="101034">0</cx:pt>
          <cx:pt idx="101035">0</cx:pt>
          <cx:pt idx="101036">0</cx:pt>
          <cx:pt idx="101037">0</cx:pt>
          <cx:pt idx="101038">1</cx:pt>
          <cx:pt idx="101039">0</cx:pt>
          <cx:pt idx="101040">0</cx:pt>
          <cx:pt idx="101041">0</cx:pt>
          <cx:pt idx="101042">0</cx:pt>
          <cx:pt idx="101043">1</cx:pt>
          <cx:pt idx="101044">0</cx:pt>
          <cx:pt idx="101045">0</cx:pt>
          <cx:pt idx="101046">0</cx:pt>
          <cx:pt idx="101047">1</cx:pt>
          <cx:pt idx="101048">0</cx:pt>
          <cx:pt idx="101049">0</cx:pt>
          <cx:pt idx="101050">0</cx:pt>
          <cx:pt idx="101051">1</cx:pt>
          <cx:pt idx="101052">0</cx:pt>
          <cx:pt idx="101053">0</cx:pt>
          <cx:pt idx="101054">0</cx:pt>
          <cx:pt idx="101055">0</cx:pt>
          <cx:pt idx="101056">0</cx:pt>
          <cx:pt idx="101057">0</cx:pt>
          <cx:pt idx="101058">0</cx:pt>
          <cx:pt idx="101059">0</cx:pt>
          <cx:pt idx="101060">0</cx:pt>
          <cx:pt idx="101061">1</cx:pt>
          <cx:pt idx="101062">1</cx:pt>
          <cx:pt idx="101063">1</cx:pt>
          <cx:pt idx="101064">0</cx:pt>
          <cx:pt idx="101065">1</cx:pt>
          <cx:pt idx="101066">0</cx:pt>
          <cx:pt idx="101067">0</cx:pt>
          <cx:pt idx="101068">0</cx:pt>
          <cx:pt idx="101069">0</cx:pt>
          <cx:pt idx="101070">0</cx:pt>
          <cx:pt idx="101071">0</cx:pt>
          <cx:pt idx="101072">1</cx:pt>
          <cx:pt idx="101073">1</cx:pt>
          <cx:pt idx="101074">0</cx:pt>
          <cx:pt idx="101075">0</cx:pt>
          <cx:pt idx="101076">1</cx:pt>
          <cx:pt idx="101077">1</cx:pt>
          <cx:pt idx="101078">0</cx:pt>
          <cx:pt idx="101079">1</cx:pt>
          <cx:pt idx="101080">0</cx:pt>
          <cx:pt idx="101081">0</cx:pt>
          <cx:pt idx="101082">1</cx:pt>
          <cx:pt idx="101083">0</cx:pt>
          <cx:pt idx="101084">0</cx:pt>
          <cx:pt idx="101085">0</cx:pt>
          <cx:pt idx="101086">0</cx:pt>
          <cx:pt idx="101087">1</cx:pt>
          <cx:pt idx="101088">0</cx:pt>
          <cx:pt idx="101089">1</cx:pt>
          <cx:pt idx="101090">0</cx:pt>
          <cx:pt idx="101091">1</cx:pt>
          <cx:pt idx="101092">1</cx:pt>
          <cx:pt idx="101093">0</cx:pt>
          <cx:pt idx="101094">1</cx:pt>
          <cx:pt idx="101095">1</cx:pt>
          <cx:pt idx="101096">1</cx:pt>
          <cx:pt idx="101097">1</cx:pt>
          <cx:pt idx="101098">0</cx:pt>
          <cx:pt idx="101099">0</cx:pt>
          <cx:pt idx="101100">0</cx:pt>
          <cx:pt idx="101101">1</cx:pt>
          <cx:pt idx="101102">0</cx:pt>
          <cx:pt idx="101103">0</cx:pt>
          <cx:pt idx="101104">1</cx:pt>
          <cx:pt idx="101105">0</cx:pt>
          <cx:pt idx="101106">0</cx:pt>
          <cx:pt idx="101107">0</cx:pt>
          <cx:pt idx="101108">1</cx:pt>
          <cx:pt idx="101109">1</cx:pt>
          <cx:pt idx="101110">0</cx:pt>
          <cx:pt idx="101111">0</cx:pt>
          <cx:pt idx="101112">1</cx:pt>
          <cx:pt idx="101113">0</cx:pt>
          <cx:pt idx="101114">1</cx:pt>
          <cx:pt idx="101115">0</cx:pt>
          <cx:pt idx="101116">1</cx:pt>
          <cx:pt idx="101117">0</cx:pt>
          <cx:pt idx="101118">1</cx:pt>
          <cx:pt idx="101119">0</cx:pt>
          <cx:pt idx="101120">0</cx:pt>
          <cx:pt idx="101121">0</cx:pt>
          <cx:pt idx="101122">0</cx:pt>
          <cx:pt idx="101123">1</cx:pt>
          <cx:pt idx="101124">1</cx:pt>
          <cx:pt idx="101125">0</cx:pt>
          <cx:pt idx="101126">0</cx:pt>
          <cx:pt idx="101127">1</cx:pt>
          <cx:pt idx="101128">0</cx:pt>
          <cx:pt idx="101129">1</cx:pt>
          <cx:pt idx="101130">0</cx:pt>
          <cx:pt idx="101131">0</cx:pt>
          <cx:pt idx="101132">1</cx:pt>
          <cx:pt idx="101133">1</cx:pt>
          <cx:pt idx="101134">1</cx:pt>
          <cx:pt idx="101135">0</cx:pt>
          <cx:pt idx="101136">1</cx:pt>
          <cx:pt idx="101137">1</cx:pt>
          <cx:pt idx="101138">1</cx:pt>
          <cx:pt idx="101139">0</cx:pt>
          <cx:pt idx="101140">0</cx:pt>
          <cx:pt idx="101141">1</cx:pt>
          <cx:pt idx="101142">1</cx:pt>
          <cx:pt idx="101143">1</cx:pt>
          <cx:pt idx="101144">0</cx:pt>
          <cx:pt idx="101145">0</cx:pt>
          <cx:pt idx="101146">1</cx:pt>
          <cx:pt idx="101147">0</cx:pt>
          <cx:pt idx="101148">0</cx:pt>
          <cx:pt idx="101149">0</cx:pt>
          <cx:pt idx="101150">1</cx:pt>
          <cx:pt idx="101151">1</cx:pt>
          <cx:pt idx="101152">1</cx:pt>
          <cx:pt idx="101153">0</cx:pt>
          <cx:pt idx="101154">0</cx:pt>
          <cx:pt idx="101155">1</cx:pt>
          <cx:pt idx="101156">1</cx:pt>
          <cx:pt idx="101157">1</cx:pt>
          <cx:pt idx="101158">1</cx:pt>
          <cx:pt idx="101159">1</cx:pt>
          <cx:pt idx="101160">1</cx:pt>
          <cx:pt idx="101161">0</cx:pt>
          <cx:pt idx="101162">1</cx:pt>
          <cx:pt idx="101163">0</cx:pt>
          <cx:pt idx="101164">0</cx:pt>
          <cx:pt idx="101165">0</cx:pt>
          <cx:pt idx="101166">1</cx:pt>
          <cx:pt idx="101167">1</cx:pt>
          <cx:pt idx="101168">0</cx:pt>
          <cx:pt idx="101169">0</cx:pt>
          <cx:pt idx="101170">1</cx:pt>
          <cx:pt idx="101171">0</cx:pt>
          <cx:pt idx="101172">0</cx:pt>
          <cx:pt idx="101173">0</cx:pt>
          <cx:pt idx="101174">0</cx:pt>
          <cx:pt idx="101175">1</cx:pt>
          <cx:pt idx="101176">1</cx:pt>
          <cx:pt idx="101177">1</cx:pt>
          <cx:pt idx="101178">0</cx:pt>
          <cx:pt idx="101179">0</cx:pt>
          <cx:pt idx="101180">0</cx:pt>
          <cx:pt idx="101181">0</cx:pt>
          <cx:pt idx="101182">0</cx:pt>
          <cx:pt idx="101183">0</cx:pt>
          <cx:pt idx="101184">0</cx:pt>
          <cx:pt idx="101185">1</cx:pt>
          <cx:pt idx="101186">1</cx:pt>
          <cx:pt idx="101187">0</cx:pt>
          <cx:pt idx="101188">0</cx:pt>
          <cx:pt idx="101189">0</cx:pt>
          <cx:pt idx="101190">1</cx:pt>
          <cx:pt idx="101191">1</cx:pt>
          <cx:pt idx="101192">1</cx:pt>
          <cx:pt idx="101193">0</cx:pt>
          <cx:pt idx="101194">0</cx:pt>
          <cx:pt idx="101195">0</cx:pt>
          <cx:pt idx="101196">1</cx:pt>
          <cx:pt idx="101197">1</cx:pt>
          <cx:pt idx="101198">0</cx:pt>
          <cx:pt idx="101199">0</cx:pt>
          <cx:pt idx="101200">0</cx:pt>
          <cx:pt idx="101201">0</cx:pt>
          <cx:pt idx="101202">0</cx:pt>
          <cx:pt idx="101203">1</cx:pt>
          <cx:pt idx="101204">1</cx:pt>
          <cx:pt idx="101205">0</cx:pt>
          <cx:pt idx="101206">1</cx:pt>
          <cx:pt idx="101207">1</cx:pt>
          <cx:pt idx="101208">0</cx:pt>
          <cx:pt idx="101209">1</cx:pt>
          <cx:pt idx="101210">1</cx:pt>
          <cx:pt idx="101211">0</cx:pt>
          <cx:pt idx="101212">1</cx:pt>
          <cx:pt idx="101213">0</cx:pt>
          <cx:pt idx="101214">0</cx:pt>
          <cx:pt idx="101215">0</cx:pt>
          <cx:pt idx="101216">0</cx:pt>
          <cx:pt idx="101217">1</cx:pt>
          <cx:pt idx="101218">1</cx:pt>
          <cx:pt idx="101219">0</cx:pt>
          <cx:pt idx="101220">1</cx:pt>
          <cx:pt idx="101221">0</cx:pt>
          <cx:pt idx="101222">0</cx:pt>
          <cx:pt idx="101223">1</cx:pt>
          <cx:pt idx="101224">0</cx:pt>
          <cx:pt idx="101225">0</cx:pt>
          <cx:pt idx="101226">0</cx:pt>
          <cx:pt idx="101227">1</cx:pt>
          <cx:pt idx="101228">0</cx:pt>
          <cx:pt idx="101229">0</cx:pt>
          <cx:pt idx="101230">1</cx:pt>
          <cx:pt idx="101231">0</cx:pt>
          <cx:pt idx="101232">0</cx:pt>
          <cx:pt idx="101233">1</cx:pt>
          <cx:pt idx="101234">1</cx:pt>
          <cx:pt idx="101235">0</cx:pt>
          <cx:pt idx="101236">1</cx:pt>
          <cx:pt idx="101237">1</cx:pt>
          <cx:pt idx="101238">1</cx:pt>
          <cx:pt idx="101239">0</cx:pt>
          <cx:pt idx="101240">0</cx:pt>
          <cx:pt idx="101241">0</cx:pt>
          <cx:pt idx="101242">0</cx:pt>
          <cx:pt idx="101243">1</cx:pt>
          <cx:pt idx="101244">1</cx:pt>
          <cx:pt idx="101245">1</cx:pt>
          <cx:pt idx="101246">0</cx:pt>
          <cx:pt idx="101247">1</cx:pt>
          <cx:pt idx="101248">0</cx:pt>
          <cx:pt idx="101249">0</cx:pt>
          <cx:pt idx="101250">1</cx:pt>
          <cx:pt idx="101251">1</cx:pt>
          <cx:pt idx="101252">0</cx:pt>
          <cx:pt idx="101253">1</cx:pt>
          <cx:pt idx="101254">0</cx:pt>
          <cx:pt idx="101255">1</cx:pt>
          <cx:pt idx="101256">1</cx:pt>
          <cx:pt idx="101257">1</cx:pt>
          <cx:pt idx="101258">1</cx:pt>
          <cx:pt idx="101259">1</cx:pt>
          <cx:pt idx="101260">1</cx:pt>
          <cx:pt idx="101261">0</cx:pt>
          <cx:pt idx="101262">0</cx:pt>
          <cx:pt idx="101263">0</cx:pt>
          <cx:pt idx="101264">0</cx:pt>
          <cx:pt idx="101265">1</cx:pt>
          <cx:pt idx="101266">1</cx:pt>
          <cx:pt idx="101267">1</cx:pt>
          <cx:pt idx="101268">0</cx:pt>
          <cx:pt idx="101269">0</cx:pt>
          <cx:pt idx="101270">1</cx:pt>
          <cx:pt idx="101271">0</cx:pt>
          <cx:pt idx="101272">1</cx:pt>
          <cx:pt idx="101273">0</cx:pt>
          <cx:pt idx="101274">0</cx:pt>
          <cx:pt idx="101275">0</cx:pt>
          <cx:pt idx="101276">0</cx:pt>
          <cx:pt idx="101277">0</cx:pt>
          <cx:pt idx="101278">1</cx:pt>
          <cx:pt idx="101279">0</cx:pt>
          <cx:pt idx="101280">0</cx:pt>
          <cx:pt idx="101281">0</cx:pt>
          <cx:pt idx="101282">0</cx:pt>
          <cx:pt idx="101283">0</cx:pt>
          <cx:pt idx="101284">1</cx:pt>
          <cx:pt idx="101285">0</cx:pt>
          <cx:pt idx="101286">0</cx:pt>
          <cx:pt idx="101287">1</cx:pt>
          <cx:pt idx="101288">0</cx:pt>
          <cx:pt idx="101289">1</cx:pt>
          <cx:pt idx="101290">0</cx:pt>
          <cx:pt idx="101291">0</cx:pt>
          <cx:pt idx="101292">0</cx:pt>
          <cx:pt idx="101293">1</cx:pt>
          <cx:pt idx="101294">0</cx:pt>
          <cx:pt idx="101295">1</cx:pt>
          <cx:pt idx="101296">0</cx:pt>
          <cx:pt idx="101297">0</cx:pt>
          <cx:pt idx="101298">0</cx:pt>
          <cx:pt idx="101299">1</cx:pt>
          <cx:pt idx="101300">0</cx:pt>
          <cx:pt idx="101301">1</cx:pt>
          <cx:pt idx="101302">0</cx:pt>
          <cx:pt idx="101303">1</cx:pt>
          <cx:pt idx="101304">1</cx:pt>
          <cx:pt idx="101305">0</cx:pt>
          <cx:pt idx="101306">0</cx:pt>
          <cx:pt idx="101307">0</cx:pt>
          <cx:pt idx="101308">1</cx:pt>
          <cx:pt idx="101309">0</cx:pt>
          <cx:pt idx="101310">1</cx:pt>
          <cx:pt idx="101311">1</cx:pt>
          <cx:pt idx="101312">1</cx:pt>
          <cx:pt idx="101313">0</cx:pt>
          <cx:pt idx="101314">0</cx:pt>
          <cx:pt idx="101315">1</cx:pt>
          <cx:pt idx="101316">1</cx:pt>
          <cx:pt idx="101317">1</cx:pt>
          <cx:pt idx="101318">1</cx:pt>
          <cx:pt idx="101319">0</cx:pt>
          <cx:pt idx="101320">1</cx:pt>
          <cx:pt idx="101321">0</cx:pt>
          <cx:pt idx="101322">1</cx:pt>
          <cx:pt idx="101323">1</cx:pt>
          <cx:pt idx="101324">0</cx:pt>
          <cx:pt idx="101325">1</cx:pt>
          <cx:pt idx="101326">0</cx:pt>
          <cx:pt idx="101327">0</cx:pt>
          <cx:pt idx="101328">0</cx:pt>
          <cx:pt idx="101329">0</cx:pt>
          <cx:pt idx="101330">1</cx:pt>
          <cx:pt idx="101331">0</cx:pt>
          <cx:pt idx="101332">0</cx:pt>
          <cx:pt idx="101333">1</cx:pt>
          <cx:pt idx="101334">1</cx:pt>
          <cx:pt idx="101335">1</cx:pt>
          <cx:pt idx="101336">1</cx:pt>
          <cx:pt idx="101337">1</cx:pt>
          <cx:pt idx="101338">0</cx:pt>
          <cx:pt idx="101339">0</cx:pt>
          <cx:pt idx="101340">0</cx:pt>
          <cx:pt idx="101341">0</cx:pt>
          <cx:pt idx="101342">1</cx:pt>
          <cx:pt idx="101343">0</cx:pt>
          <cx:pt idx="101344">1</cx:pt>
          <cx:pt idx="101345">1</cx:pt>
          <cx:pt idx="101346">0</cx:pt>
          <cx:pt idx="101347">0</cx:pt>
          <cx:pt idx="101348">0</cx:pt>
          <cx:pt idx="101349">0</cx:pt>
          <cx:pt idx="101350">0</cx:pt>
          <cx:pt idx="101351">0</cx:pt>
          <cx:pt idx="101352">1</cx:pt>
          <cx:pt idx="101353">0</cx:pt>
          <cx:pt idx="101354">1</cx:pt>
          <cx:pt idx="101355">0</cx:pt>
          <cx:pt idx="101356">0</cx:pt>
          <cx:pt idx="101357">0</cx:pt>
          <cx:pt idx="101358">1</cx:pt>
          <cx:pt idx="101359">0</cx:pt>
          <cx:pt idx="101360">1</cx:pt>
          <cx:pt idx="101361">0</cx:pt>
          <cx:pt idx="101362">0</cx:pt>
          <cx:pt idx="101363">1</cx:pt>
          <cx:pt idx="101364">0</cx:pt>
          <cx:pt idx="101365">0</cx:pt>
          <cx:pt idx="101366">1</cx:pt>
          <cx:pt idx="101367">1</cx:pt>
          <cx:pt idx="101368">0</cx:pt>
          <cx:pt idx="101369">1</cx:pt>
          <cx:pt idx="101370">1</cx:pt>
          <cx:pt idx="101371">1</cx:pt>
          <cx:pt idx="101372">1</cx:pt>
          <cx:pt idx="101373">0</cx:pt>
          <cx:pt idx="101374">1</cx:pt>
          <cx:pt idx="101375">1</cx:pt>
          <cx:pt idx="101376">1</cx:pt>
          <cx:pt idx="101377">0</cx:pt>
          <cx:pt idx="101378">0</cx:pt>
          <cx:pt idx="101379">0</cx:pt>
          <cx:pt idx="101380">0</cx:pt>
          <cx:pt idx="101381">0</cx:pt>
          <cx:pt idx="101382">0</cx:pt>
          <cx:pt idx="101383">1</cx:pt>
          <cx:pt idx="101384">1</cx:pt>
          <cx:pt idx="101385">0</cx:pt>
          <cx:pt idx="101386">1</cx:pt>
          <cx:pt idx="101387">1</cx:pt>
          <cx:pt idx="101388">0</cx:pt>
          <cx:pt idx="101389">0</cx:pt>
          <cx:pt idx="101390">1</cx:pt>
          <cx:pt idx="101391">1</cx:pt>
          <cx:pt idx="101392">0</cx:pt>
          <cx:pt idx="101393">0</cx:pt>
          <cx:pt idx="101394">0</cx:pt>
          <cx:pt idx="101395">1</cx:pt>
          <cx:pt idx="101396">1</cx:pt>
          <cx:pt idx="101397">0</cx:pt>
          <cx:pt idx="101398">0</cx:pt>
          <cx:pt idx="101399">1</cx:pt>
          <cx:pt idx="101400">0</cx:pt>
          <cx:pt idx="101401">0</cx:pt>
          <cx:pt idx="101402">1</cx:pt>
          <cx:pt idx="101403">1</cx:pt>
          <cx:pt idx="101404">1</cx:pt>
          <cx:pt idx="101405">0</cx:pt>
          <cx:pt idx="101406">1</cx:pt>
          <cx:pt idx="101407">0</cx:pt>
          <cx:pt idx="101408">0</cx:pt>
          <cx:pt idx="101409">0</cx:pt>
          <cx:pt idx="101410">1</cx:pt>
          <cx:pt idx="101411">1</cx:pt>
          <cx:pt idx="101412">0</cx:pt>
          <cx:pt idx="101413">0</cx:pt>
          <cx:pt idx="101414">1</cx:pt>
          <cx:pt idx="101415">1</cx:pt>
          <cx:pt idx="101416">0</cx:pt>
          <cx:pt idx="101417">0</cx:pt>
          <cx:pt idx="101418">0</cx:pt>
          <cx:pt idx="101419">0</cx:pt>
          <cx:pt idx="101420">0</cx:pt>
          <cx:pt idx="101421">1</cx:pt>
          <cx:pt idx="101422">0</cx:pt>
          <cx:pt idx="101423">0</cx:pt>
          <cx:pt idx="101424">1</cx:pt>
          <cx:pt idx="101425">0</cx:pt>
          <cx:pt idx="101426">1</cx:pt>
          <cx:pt idx="101427">1</cx:pt>
          <cx:pt idx="101428">1</cx:pt>
          <cx:pt idx="101429">0</cx:pt>
          <cx:pt idx="101430">0</cx:pt>
          <cx:pt idx="101431">0</cx:pt>
          <cx:pt idx="101432">0</cx:pt>
          <cx:pt idx="101433">1</cx:pt>
          <cx:pt idx="101434">0</cx:pt>
          <cx:pt idx="101435">1</cx:pt>
          <cx:pt idx="101436">0</cx:pt>
          <cx:pt idx="101437">1</cx:pt>
          <cx:pt idx="101438">0</cx:pt>
          <cx:pt idx="101439">0</cx:pt>
          <cx:pt idx="101440">0</cx:pt>
          <cx:pt idx="101441">0</cx:pt>
          <cx:pt idx="101442">0</cx:pt>
          <cx:pt idx="101443">1</cx:pt>
          <cx:pt idx="101444">0</cx:pt>
          <cx:pt idx="101445">0</cx:pt>
          <cx:pt idx="101446">1</cx:pt>
          <cx:pt idx="101447">1</cx:pt>
          <cx:pt idx="101448">0</cx:pt>
          <cx:pt idx="101449">0</cx:pt>
          <cx:pt idx="101450">0</cx:pt>
          <cx:pt idx="101451">0</cx:pt>
          <cx:pt idx="101452">1</cx:pt>
          <cx:pt idx="101453">1</cx:pt>
          <cx:pt idx="101454">0</cx:pt>
          <cx:pt idx="101455">1</cx:pt>
          <cx:pt idx="101456">0</cx:pt>
          <cx:pt idx="101457">0</cx:pt>
          <cx:pt idx="101458">1</cx:pt>
          <cx:pt idx="101459">0</cx:pt>
          <cx:pt idx="101460">0</cx:pt>
          <cx:pt idx="101461">1</cx:pt>
          <cx:pt idx="101462">0</cx:pt>
          <cx:pt idx="101463">1</cx:pt>
          <cx:pt idx="101464">0</cx:pt>
          <cx:pt idx="101465">1</cx:pt>
          <cx:pt idx="101466">0</cx:pt>
          <cx:pt idx="101467">1</cx:pt>
          <cx:pt idx="101468">0</cx:pt>
          <cx:pt idx="101469">0</cx:pt>
          <cx:pt idx="101470">0</cx:pt>
          <cx:pt idx="101471">1</cx:pt>
          <cx:pt idx="101472">0</cx:pt>
          <cx:pt idx="101473">1</cx:pt>
          <cx:pt idx="101474">0</cx:pt>
          <cx:pt idx="101475">0</cx:pt>
          <cx:pt idx="101476">0</cx:pt>
          <cx:pt idx="101477">1</cx:pt>
          <cx:pt idx="101478">1</cx:pt>
          <cx:pt idx="101479">1</cx:pt>
          <cx:pt idx="101480">0</cx:pt>
          <cx:pt idx="101481">1</cx:pt>
          <cx:pt idx="101482">0</cx:pt>
          <cx:pt idx="101483">0</cx:pt>
          <cx:pt idx="101484">0</cx:pt>
          <cx:pt idx="101485">0</cx:pt>
          <cx:pt idx="101486">0</cx:pt>
          <cx:pt idx="101487">1</cx:pt>
          <cx:pt idx="101488">1</cx:pt>
          <cx:pt idx="101489">1</cx:pt>
          <cx:pt idx="101490">0</cx:pt>
          <cx:pt idx="101491">0</cx:pt>
          <cx:pt idx="101492">1</cx:pt>
          <cx:pt idx="101493">1</cx:pt>
          <cx:pt idx="101494">1</cx:pt>
          <cx:pt idx="101495">1</cx:pt>
          <cx:pt idx="101496">1</cx:pt>
          <cx:pt idx="101497">0</cx:pt>
          <cx:pt idx="101498">1</cx:pt>
          <cx:pt idx="101499">0</cx:pt>
          <cx:pt idx="101500">0</cx:pt>
          <cx:pt idx="101501">1</cx:pt>
          <cx:pt idx="101502">0</cx:pt>
          <cx:pt idx="101503">1</cx:pt>
          <cx:pt idx="101504">1</cx:pt>
          <cx:pt idx="101505">1</cx:pt>
          <cx:pt idx="101506">1</cx:pt>
          <cx:pt idx="101507">1</cx:pt>
          <cx:pt idx="101508">1</cx:pt>
          <cx:pt idx="101509">0</cx:pt>
          <cx:pt idx="101510">0</cx:pt>
          <cx:pt idx="101511">0</cx:pt>
          <cx:pt idx="101512">1</cx:pt>
          <cx:pt idx="101513">0</cx:pt>
          <cx:pt idx="101514">1</cx:pt>
          <cx:pt idx="101515">1</cx:pt>
          <cx:pt idx="101516">0</cx:pt>
          <cx:pt idx="101517">0</cx:pt>
          <cx:pt idx="101518">0</cx:pt>
          <cx:pt idx="101519">1</cx:pt>
          <cx:pt idx="101520">0</cx:pt>
          <cx:pt idx="101521">0</cx:pt>
          <cx:pt idx="101522">0</cx:pt>
          <cx:pt idx="101523">0</cx:pt>
          <cx:pt idx="101524">0</cx:pt>
          <cx:pt idx="101525">1</cx:pt>
          <cx:pt idx="101526">0</cx:pt>
          <cx:pt idx="101527">0</cx:pt>
          <cx:pt idx="101528">1</cx:pt>
          <cx:pt idx="101529">0</cx:pt>
          <cx:pt idx="101530">0</cx:pt>
          <cx:pt idx="101531">0</cx:pt>
          <cx:pt idx="101532">0</cx:pt>
          <cx:pt idx="101533">0</cx:pt>
          <cx:pt idx="101534">1</cx:pt>
          <cx:pt idx="101535">1</cx:pt>
          <cx:pt idx="101536">0</cx:pt>
          <cx:pt idx="101537">0</cx:pt>
          <cx:pt idx="101538">1</cx:pt>
          <cx:pt idx="101539">1</cx:pt>
          <cx:pt idx="101540">1</cx:pt>
          <cx:pt idx="101541">1</cx:pt>
          <cx:pt idx="101542">0</cx:pt>
          <cx:pt idx="101543">0</cx:pt>
          <cx:pt idx="101544">1</cx:pt>
          <cx:pt idx="101545">0</cx:pt>
          <cx:pt idx="101546">0</cx:pt>
          <cx:pt idx="101547">1</cx:pt>
          <cx:pt idx="101548">1</cx:pt>
          <cx:pt idx="101549">1</cx:pt>
          <cx:pt idx="101550">0</cx:pt>
          <cx:pt idx="101551">0</cx:pt>
          <cx:pt idx="101552">0</cx:pt>
          <cx:pt idx="101553">0</cx:pt>
          <cx:pt idx="101554">1</cx:pt>
          <cx:pt idx="101555">0</cx:pt>
          <cx:pt idx="101556">0</cx:pt>
          <cx:pt idx="101557">0</cx:pt>
          <cx:pt idx="101558">1</cx:pt>
          <cx:pt idx="101559">0</cx:pt>
          <cx:pt idx="101560">1</cx:pt>
          <cx:pt idx="101561">1</cx:pt>
          <cx:pt idx="101562">0</cx:pt>
          <cx:pt idx="101563">0</cx:pt>
          <cx:pt idx="101564">0</cx:pt>
          <cx:pt idx="101565">1</cx:pt>
          <cx:pt idx="101566">1</cx:pt>
          <cx:pt idx="101567">0</cx:pt>
          <cx:pt idx="101568">1</cx:pt>
          <cx:pt idx="101569">0</cx:pt>
          <cx:pt idx="101570">1</cx:pt>
          <cx:pt idx="101571">0</cx:pt>
          <cx:pt idx="101572">1</cx:pt>
          <cx:pt idx="101573">1</cx:pt>
          <cx:pt idx="101574">1</cx:pt>
          <cx:pt idx="101575">1</cx:pt>
          <cx:pt idx="101576">0</cx:pt>
          <cx:pt idx="101577">0</cx:pt>
          <cx:pt idx="101578">0</cx:pt>
          <cx:pt idx="101579">0</cx:pt>
          <cx:pt idx="101580">1</cx:pt>
          <cx:pt idx="101581">1</cx:pt>
          <cx:pt idx="101582">0</cx:pt>
          <cx:pt idx="101583">0</cx:pt>
          <cx:pt idx="101584">0</cx:pt>
          <cx:pt idx="101585">1</cx:pt>
          <cx:pt idx="101586">0</cx:pt>
          <cx:pt idx="101587">1</cx:pt>
          <cx:pt idx="101588">1</cx:pt>
          <cx:pt idx="101589">0</cx:pt>
          <cx:pt idx="101590">1</cx:pt>
          <cx:pt idx="101591">0</cx:pt>
          <cx:pt idx="101592">0</cx:pt>
          <cx:pt idx="101593">1</cx:pt>
          <cx:pt idx="101594">1</cx:pt>
          <cx:pt idx="101595">0</cx:pt>
          <cx:pt idx="101596">0</cx:pt>
          <cx:pt idx="101597">0</cx:pt>
          <cx:pt idx="101598">1</cx:pt>
          <cx:pt idx="101599">0</cx:pt>
          <cx:pt idx="101600">0</cx:pt>
          <cx:pt idx="101601">1</cx:pt>
          <cx:pt idx="101602">0</cx:pt>
          <cx:pt idx="101603">0</cx:pt>
          <cx:pt idx="101604">0</cx:pt>
          <cx:pt idx="101605">0</cx:pt>
          <cx:pt idx="101606">0</cx:pt>
          <cx:pt idx="101607">1</cx:pt>
          <cx:pt idx="101608">0</cx:pt>
          <cx:pt idx="101609">0</cx:pt>
          <cx:pt idx="101610">1</cx:pt>
          <cx:pt idx="101611">1</cx:pt>
          <cx:pt idx="101612">1</cx:pt>
          <cx:pt idx="101613">1</cx:pt>
          <cx:pt idx="101614">1</cx:pt>
          <cx:pt idx="101615">0</cx:pt>
          <cx:pt idx="101616">0</cx:pt>
          <cx:pt idx="101617">0</cx:pt>
          <cx:pt idx="101618">0</cx:pt>
          <cx:pt idx="101619">0</cx:pt>
          <cx:pt idx="101620">0</cx:pt>
          <cx:pt idx="101621">0</cx:pt>
          <cx:pt idx="101622">0</cx:pt>
          <cx:pt idx="101623">1</cx:pt>
          <cx:pt idx="101624">1</cx:pt>
          <cx:pt idx="101625">0</cx:pt>
          <cx:pt idx="101626">1</cx:pt>
          <cx:pt idx="101627">0</cx:pt>
          <cx:pt idx="101628">0</cx:pt>
          <cx:pt idx="101629">0</cx:pt>
          <cx:pt idx="101630">1</cx:pt>
          <cx:pt idx="101631">1</cx:pt>
          <cx:pt idx="101632">0</cx:pt>
          <cx:pt idx="101633">1</cx:pt>
          <cx:pt idx="101634">0</cx:pt>
          <cx:pt idx="101635">1</cx:pt>
          <cx:pt idx="101636">1</cx:pt>
          <cx:pt idx="101637">1</cx:pt>
          <cx:pt idx="101638">0</cx:pt>
          <cx:pt idx="101639">1</cx:pt>
          <cx:pt idx="101640">0</cx:pt>
          <cx:pt idx="101641">0</cx:pt>
          <cx:pt idx="101642">1</cx:pt>
          <cx:pt idx="101643">1</cx:pt>
          <cx:pt idx="101644">0</cx:pt>
          <cx:pt idx="101645">0</cx:pt>
          <cx:pt idx="101646">1</cx:pt>
          <cx:pt idx="101647">0</cx:pt>
          <cx:pt idx="101648">1</cx:pt>
          <cx:pt idx="101649">1</cx:pt>
          <cx:pt idx="101650">1</cx:pt>
          <cx:pt idx="101651">0</cx:pt>
          <cx:pt idx="101652">0</cx:pt>
          <cx:pt idx="101653">1</cx:pt>
          <cx:pt idx="101654">1</cx:pt>
          <cx:pt idx="101655">1</cx:pt>
          <cx:pt idx="101656">1</cx:pt>
          <cx:pt idx="101657">0</cx:pt>
          <cx:pt idx="101658">1</cx:pt>
          <cx:pt idx="101659">1</cx:pt>
          <cx:pt idx="101660">1</cx:pt>
          <cx:pt idx="101661">0</cx:pt>
          <cx:pt idx="101662">1</cx:pt>
          <cx:pt idx="101663">0</cx:pt>
          <cx:pt idx="101664">0</cx:pt>
          <cx:pt idx="101665">1</cx:pt>
          <cx:pt idx="101666">0</cx:pt>
          <cx:pt idx="101667">0</cx:pt>
          <cx:pt idx="101668">1</cx:pt>
          <cx:pt idx="101669">0</cx:pt>
          <cx:pt idx="101670">0</cx:pt>
          <cx:pt idx="101671">0</cx:pt>
          <cx:pt idx="101672">1</cx:pt>
          <cx:pt idx="101673">0</cx:pt>
          <cx:pt idx="101674">1</cx:pt>
          <cx:pt idx="101675">1</cx:pt>
          <cx:pt idx="101676">0</cx:pt>
          <cx:pt idx="101677">1</cx:pt>
          <cx:pt idx="101678">0</cx:pt>
          <cx:pt idx="101679">0</cx:pt>
          <cx:pt idx="101680">1</cx:pt>
          <cx:pt idx="101681">1</cx:pt>
          <cx:pt idx="101682">1</cx:pt>
          <cx:pt idx="101683">0</cx:pt>
          <cx:pt idx="101684">0</cx:pt>
          <cx:pt idx="101685">0</cx:pt>
          <cx:pt idx="101686">1</cx:pt>
          <cx:pt idx="101687">0</cx:pt>
          <cx:pt idx="101688">1</cx:pt>
          <cx:pt idx="101689">1</cx:pt>
          <cx:pt idx="101690">0</cx:pt>
          <cx:pt idx="101691">1</cx:pt>
          <cx:pt idx="101692">0</cx:pt>
          <cx:pt idx="101693">0</cx:pt>
          <cx:pt idx="101694">0</cx:pt>
          <cx:pt idx="101695">0</cx:pt>
          <cx:pt idx="101696">0</cx:pt>
          <cx:pt idx="101697">0</cx:pt>
          <cx:pt idx="101698">1</cx:pt>
          <cx:pt idx="101699">1</cx:pt>
          <cx:pt idx="101700">0</cx:pt>
          <cx:pt idx="101701">0</cx:pt>
          <cx:pt idx="101702">0</cx:pt>
          <cx:pt idx="101703">1</cx:pt>
          <cx:pt idx="101704">1</cx:pt>
          <cx:pt idx="101705">0</cx:pt>
          <cx:pt idx="101706">0</cx:pt>
          <cx:pt idx="101707">0</cx:pt>
          <cx:pt idx="101708">0</cx:pt>
          <cx:pt idx="101709">1</cx:pt>
          <cx:pt idx="101710">0</cx:pt>
          <cx:pt idx="101711">0</cx:pt>
          <cx:pt idx="101712">1</cx:pt>
          <cx:pt idx="101713">1</cx:pt>
          <cx:pt idx="101714">0</cx:pt>
          <cx:pt idx="101715">0</cx:pt>
          <cx:pt idx="101716">1</cx:pt>
          <cx:pt idx="101717">0</cx:pt>
          <cx:pt idx="101718">0</cx:pt>
          <cx:pt idx="101719">1</cx:pt>
          <cx:pt idx="101720">0</cx:pt>
          <cx:pt idx="101721">0</cx:pt>
          <cx:pt idx="101722">1</cx:pt>
          <cx:pt idx="101723">1</cx:pt>
          <cx:pt idx="101724">1</cx:pt>
          <cx:pt idx="101725">0</cx:pt>
          <cx:pt idx="101726">0</cx:pt>
          <cx:pt idx="101727">0</cx:pt>
          <cx:pt idx="101728">1</cx:pt>
          <cx:pt idx="101729">0</cx:pt>
          <cx:pt idx="101730">1</cx:pt>
          <cx:pt idx="101731">0</cx:pt>
          <cx:pt idx="101732">1</cx:pt>
          <cx:pt idx="101733">0</cx:pt>
          <cx:pt idx="101734">0</cx:pt>
          <cx:pt idx="101735">1</cx:pt>
          <cx:pt idx="101736">1</cx:pt>
          <cx:pt idx="101737">0</cx:pt>
          <cx:pt idx="101738">1</cx:pt>
          <cx:pt idx="101739">0</cx:pt>
          <cx:pt idx="101740">1</cx:pt>
          <cx:pt idx="101741">1</cx:pt>
          <cx:pt idx="101742">1</cx:pt>
          <cx:pt idx="101743">0</cx:pt>
          <cx:pt idx="101744">1</cx:pt>
          <cx:pt idx="101745">0</cx:pt>
          <cx:pt idx="101746">1</cx:pt>
          <cx:pt idx="101747">1</cx:pt>
          <cx:pt idx="101748">0</cx:pt>
          <cx:pt idx="101749">0</cx:pt>
          <cx:pt idx="101750">0</cx:pt>
          <cx:pt idx="101751">0</cx:pt>
          <cx:pt idx="101752">1</cx:pt>
          <cx:pt idx="101753">0</cx:pt>
          <cx:pt idx="101754">1</cx:pt>
          <cx:pt idx="101755">0</cx:pt>
          <cx:pt idx="101756">0</cx:pt>
          <cx:pt idx="101757">0</cx:pt>
          <cx:pt idx="101758">1</cx:pt>
          <cx:pt idx="101759">1</cx:pt>
          <cx:pt idx="101760">1</cx:pt>
          <cx:pt idx="101761">0</cx:pt>
          <cx:pt idx="101762">0</cx:pt>
          <cx:pt idx="101763">0</cx:pt>
          <cx:pt idx="101764">1</cx:pt>
          <cx:pt idx="101765">1</cx:pt>
          <cx:pt idx="101766">0</cx:pt>
          <cx:pt idx="101767">1</cx:pt>
          <cx:pt idx="101768">1</cx:pt>
          <cx:pt idx="101769">1</cx:pt>
          <cx:pt idx="101770">1</cx:pt>
          <cx:pt idx="101771">0</cx:pt>
          <cx:pt idx="101772">0</cx:pt>
          <cx:pt idx="101773">0</cx:pt>
          <cx:pt idx="101774">1</cx:pt>
          <cx:pt idx="101775">1</cx:pt>
          <cx:pt idx="101776">0</cx:pt>
          <cx:pt idx="101777">1</cx:pt>
          <cx:pt idx="101778">0</cx:pt>
          <cx:pt idx="101779">0</cx:pt>
          <cx:pt idx="101780">0</cx:pt>
          <cx:pt idx="101781">0</cx:pt>
          <cx:pt idx="101782">0</cx:pt>
          <cx:pt idx="101783">1</cx:pt>
          <cx:pt idx="101784">1</cx:pt>
          <cx:pt idx="101785">1</cx:pt>
          <cx:pt idx="101786">1</cx:pt>
          <cx:pt idx="101787">0</cx:pt>
          <cx:pt idx="101788">0</cx:pt>
          <cx:pt idx="101789">0</cx:pt>
          <cx:pt idx="101790">1</cx:pt>
          <cx:pt idx="101791">1</cx:pt>
          <cx:pt idx="101792">0</cx:pt>
          <cx:pt idx="101793">0</cx:pt>
          <cx:pt idx="101794">1</cx:pt>
          <cx:pt idx="101795">1</cx:pt>
          <cx:pt idx="101796">0</cx:pt>
          <cx:pt idx="101797">1</cx:pt>
          <cx:pt idx="101798">1</cx:pt>
          <cx:pt idx="101799">0</cx:pt>
          <cx:pt idx="101800">1</cx:pt>
          <cx:pt idx="101801">1</cx:pt>
          <cx:pt idx="101802">0</cx:pt>
          <cx:pt idx="101803">0</cx:pt>
          <cx:pt idx="101804">1</cx:pt>
          <cx:pt idx="101805">1</cx:pt>
          <cx:pt idx="101806">1</cx:pt>
          <cx:pt idx="101807">0</cx:pt>
          <cx:pt idx="101808">0</cx:pt>
          <cx:pt idx="101809">0</cx:pt>
          <cx:pt idx="101810">1</cx:pt>
          <cx:pt idx="101811">0</cx:pt>
          <cx:pt idx="101812">1</cx:pt>
          <cx:pt idx="101813">0</cx:pt>
          <cx:pt idx="101814">0</cx:pt>
          <cx:pt idx="101815">1</cx:pt>
          <cx:pt idx="101816">1</cx:pt>
          <cx:pt idx="101817">1</cx:pt>
          <cx:pt idx="101818">1</cx:pt>
          <cx:pt idx="101819">1</cx:pt>
          <cx:pt idx="101820">0</cx:pt>
          <cx:pt idx="101821">0</cx:pt>
          <cx:pt idx="101822">1</cx:pt>
          <cx:pt idx="101823">1</cx:pt>
          <cx:pt idx="101824">0</cx:pt>
          <cx:pt idx="101825">1</cx:pt>
          <cx:pt idx="101826">0</cx:pt>
          <cx:pt idx="101827">1</cx:pt>
          <cx:pt idx="101828">1</cx:pt>
          <cx:pt idx="101829">1</cx:pt>
          <cx:pt idx="101830">0</cx:pt>
          <cx:pt idx="101831">0</cx:pt>
          <cx:pt idx="101832">0</cx:pt>
          <cx:pt idx="101833">0</cx:pt>
          <cx:pt idx="101834">0</cx:pt>
          <cx:pt idx="101835">1</cx:pt>
          <cx:pt idx="101836">0</cx:pt>
          <cx:pt idx="101837">0</cx:pt>
          <cx:pt idx="101838">0</cx:pt>
          <cx:pt idx="101839">1</cx:pt>
          <cx:pt idx="101840">1</cx:pt>
          <cx:pt idx="101841">1</cx:pt>
          <cx:pt idx="101842">0</cx:pt>
          <cx:pt idx="101843">0</cx:pt>
          <cx:pt idx="101844">1</cx:pt>
          <cx:pt idx="101845">0</cx:pt>
          <cx:pt idx="101846">0</cx:pt>
          <cx:pt idx="101847">1</cx:pt>
          <cx:pt idx="101848">0</cx:pt>
          <cx:pt idx="101849">0</cx:pt>
          <cx:pt idx="101850">0</cx:pt>
          <cx:pt idx="101851">0</cx:pt>
          <cx:pt idx="101852">0</cx:pt>
          <cx:pt idx="101853">0</cx:pt>
          <cx:pt idx="101854">0</cx:pt>
          <cx:pt idx="101855">1</cx:pt>
          <cx:pt idx="101856">0</cx:pt>
          <cx:pt idx="101857">0</cx:pt>
          <cx:pt idx="101858">0</cx:pt>
          <cx:pt idx="101859">0</cx:pt>
          <cx:pt idx="101860">0</cx:pt>
          <cx:pt idx="101861">1</cx:pt>
          <cx:pt idx="101862">0</cx:pt>
          <cx:pt idx="101863">0</cx:pt>
          <cx:pt idx="101864">1</cx:pt>
          <cx:pt idx="101865">0</cx:pt>
          <cx:pt idx="101866">0</cx:pt>
          <cx:pt idx="101867">0</cx:pt>
          <cx:pt idx="101868">0</cx:pt>
          <cx:pt idx="101869">0</cx:pt>
          <cx:pt idx="101870">1</cx:pt>
          <cx:pt idx="101871">1</cx:pt>
          <cx:pt idx="101872">1</cx:pt>
          <cx:pt idx="101873">1</cx:pt>
          <cx:pt idx="101874">0</cx:pt>
          <cx:pt idx="101875">0</cx:pt>
          <cx:pt idx="101876">1</cx:pt>
          <cx:pt idx="101877">0</cx:pt>
          <cx:pt idx="101878">1</cx:pt>
          <cx:pt idx="101879">1</cx:pt>
          <cx:pt idx="101880">0</cx:pt>
          <cx:pt idx="101881">1</cx:pt>
          <cx:pt idx="101882">0</cx:pt>
          <cx:pt idx="101883">1</cx:pt>
          <cx:pt idx="101884">1</cx:pt>
          <cx:pt idx="101885">1</cx:pt>
          <cx:pt idx="101886">0</cx:pt>
          <cx:pt idx="101887">0</cx:pt>
          <cx:pt idx="101888">0</cx:pt>
          <cx:pt idx="101889">0</cx:pt>
          <cx:pt idx="101890">0</cx:pt>
          <cx:pt idx="101891">1</cx:pt>
          <cx:pt idx="101892">0</cx:pt>
          <cx:pt idx="101893">1</cx:pt>
          <cx:pt idx="101894">0</cx:pt>
          <cx:pt idx="101895">0</cx:pt>
          <cx:pt idx="101896">0</cx:pt>
          <cx:pt idx="101897">1</cx:pt>
          <cx:pt idx="101898">1</cx:pt>
          <cx:pt idx="101899">1</cx:pt>
          <cx:pt idx="101900">1</cx:pt>
          <cx:pt idx="101901">0</cx:pt>
          <cx:pt idx="101902">1</cx:pt>
          <cx:pt idx="101903">0</cx:pt>
          <cx:pt idx="101904">1</cx:pt>
          <cx:pt idx="101905">1</cx:pt>
          <cx:pt idx="101906">1</cx:pt>
          <cx:pt idx="101907">0</cx:pt>
          <cx:pt idx="101908">0</cx:pt>
          <cx:pt idx="101909">1</cx:pt>
          <cx:pt idx="101910">0</cx:pt>
          <cx:pt idx="101911">1</cx:pt>
          <cx:pt idx="101912">1</cx:pt>
          <cx:pt idx="101913">1</cx:pt>
          <cx:pt idx="101914">0</cx:pt>
          <cx:pt idx="101915">1</cx:pt>
          <cx:pt idx="101916">1</cx:pt>
          <cx:pt idx="101917">0</cx:pt>
          <cx:pt idx="101918">1</cx:pt>
          <cx:pt idx="101919">1</cx:pt>
          <cx:pt idx="101920">0</cx:pt>
          <cx:pt idx="101921">1</cx:pt>
          <cx:pt idx="101922">0</cx:pt>
          <cx:pt idx="101923">1</cx:pt>
          <cx:pt idx="101924">1</cx:pt>
          <cx:pt idx="101925">0</cx:pt>
          <cx:pt idx="101926">0</cx:pt>
          <cx:pt idx="101927">0</cx:pt>
          <cx:pt idx="101928">0</cx:pt>
          <cx:pt idx="101929">1</cx:pt>
          <cx:pt idx="101930">0</cx:pt>
          <cx:pt idx="101931">1</cx:pt>
          <cx:pt idx="101932">1</cx:pt>
          <cx:pt idx="101933">0</cx:pt>
          <cx:pt idx="101934">0</cx:pt>
          <cx:pt idx="101935">1</cx:pt>
          <cx:pt idx="101936">1</cx:pt>
          <cx:pt idx="101937">0</cx:pt>
          <cx:pt idx="101938">0</cx:pt>
          <cx:pt idx="101939">0</cx:pt>
          <cx:pt idx="101940">0</cx:pt>
          <cx:pt idx="101941">0</cx:pt>
          <cx:pt idx="101942">1</cx:pt>
          <cx:pt idx="101943">1</cx:pt>
          <cx:pt idx="101944">1</cx:pt>
          <cx:pt idx="101945">0</cx:pt>
          <cx:pt idx="101946">0</cx:pt>
          <cx:pt idx="101947">0</cx:pt>
          <cx:pt idx="101948">1</cx:pt>
          <cx:pt idx="101949">1</cx:pt>
          <cx:pt idx="101950">0</cx:pt>
          <cx:pt idx="101951">1</cx:pt>
          <cx:pt idx="101952">1</cx:pt>
          <cx:pt idx="101953">0</cx:pt>
          <cx:pt idx="101954">1</cx:pt>
          <cx:pt idx="101955">1</cx:pt>
          <cx:pt idx="101956">0</cx:pt>
          <cx:pt idx="101957">0</cx:pt>
          <cx:pt idx="101958">1</cx:pt>
          <cx:pt idx="101959">0</cx:pt>
          <cx:pt idx="101960">1</cx:pt>
          <cx:pt idx="101961">0</cx:pt>
          <cx:pt idx="101962">1</cx:pt>
          <cx:pt idx="101963">0</cx:pt>
          <cx:pt idx="101964">1</cx:pt>
          <cx:pt idx="101965">0</cx:pt>
          <cx:pt idx="101966">1</cx:pt>
          <cx:pt idx="101967">0</cx:pt>
          <cx:pt idx="101968">1</cx:pt>
          <cx:pt idx="101969">0</cx:pt>
          <cx:pt idx="101970">0</cx:pt>
          <cx:pt idx="101971">0</cx:pt>
          <cx:pt idx="101972">1</cx:pt>
          <cx:pt idx="101973">1</cx:pt>
          <cx:pt idx="101974">1</cx:pt>
          <cx:pt idx="101975">1</cx:pt>
          <cx:pt idx="101976">0</cx:pt>
          <cx:pt idx="101977">1</cx:pt>
          <cx:pt idx="101978">0</cx:pt>
          <cx:pt idx="101979">1</cx:pt>
          <cx:pt idx="101980">1</cx:pt>
          <cx:pt idx="101981">0</cx:pt>
          <cx:pt idx="101982">1</cx:pt>
          <cx:pt idx="101983">0</cx:pt>
          <cx:pt idx="101984">1</cx:pt>
          <cx:pt idx="101985">0</cx:pt>
          <cx:pt idx="101986">1</cx:pt>
          <cx:pt idx="101987">0</cx:pt>
          <cx:pt idx="101988">1</cx:pt>
          <cx:pt idx="101989">1</cx:pt>
          <cx:pt idx="101990">0</cx:pt>
          <cx:pt idx="101991">0</cx:pt>
          <cx:pt idx="101992">0</cx:pt>
          <cx:pt idx="101993">0</cx:pt>
          <cx:pt idx="101994">0</cx:pt>
          <cx:pt idx="101995">1</cx:pt>
          <cx:pt idx="101996">1</cx:pt>
          <cx:pt idx="101997">1</cx:pt>
          <cx:pt idx="101998">1</cx:pt>
          <cx:pt idx="101999">1</cx:pt>
          <cx:pt idx="102000">0</cx:pt>
          <cx:pt idx="102001">0</cx:pt>
          <cx:pt idx="102002">0</cx:pt>
          <cx:pt idx="102003">1</cx:pt>
          <cx:pt idx="102004">0</cx:pt>
          <cx:pt idx="102005">1</cx:pt>
          <cx:pt idx="102006">0</cx:pt>
          <cx:pt idx="102007">1</cx:pt>
          <cx:pt idx="102008">1</cx:pt>
          <cx:pt idx="102009">0</cx:pt>
          <cx:pt idx="102010">0</cx:pt>
          <cx:pt idx="102011">0</cx:pt>
          <cx:pt idx="102012">0</cx:pt>
          <cx:pt idx="102013">0</cx:pt>
          <cx:pt idx="102014">1</cx:pt>
          <cx:pt idx="102015">1</cx:pt>
          <cx:pt idx="102016">0</cx:pt>
          <cx:pt idx="102017">1</cx:pt>
          <cx:pt idx="102018">0</cx:pt>
          <cx:pt idx="102019">1</cx:pt>
          <cx:pt idx="102020">0</cx:pt>
          <cx:pt idx="102021">0</cx:pt>
          <cx:pt idx="102022">0</cx:pt>
          <cx:pt idx="102023">0</cx:pt>
          <cx:pt idx="102024">0</cx:pt>
          <cx:pt idx="102025">1</cx:pt>
          <cx:pt idx="102026">0</cx:pt>
          <cx:pt idx="102027">0</cx:pt>
          <cx:pt idx="102028">0</cx:pt>
          <cx:pt idx="102029">0</cx:pt>
          <cx:pt idx="102030">0</cx:pt>
          <cx:pt idx="102031">0</cx:pt>
          <cx:pt idx="102032">0</cx:pt>
          <cx:pt idx="102033">0</cx:pt>
          <cx:pt idx="102034">1</cx:pt>
          <cx:pt idx="102035">1</cx:pt>
          <cx:pt idx="102036">1</cx:pt>
          <cx:pt idx="102037">0</cx:pt>
          <cx:pt idx="102038">1</cx:pt>
          <cx:pt idx="102039">1</cx:pt>
          <cx:pt idx="102040">0</cx:pt>
          <cx:pt idx="102041">1</cx:pt>
          <cx:pt idx="102042">1</cx:pt>
          <cx:pt idx="102043">0</cx:pt>
          <cx:pt idx="102044">1</cx:pt>
          <cx:pt idx="102045">1</cx:pt>
          <cx:pt idx="102046">0</cx:pt>
          <cx:pt idx="102047">0</cx:pt>
          <cx:pt idx="102048">0</cx:pt>
          <cx:pt idx="102049">0</cx:pt>
          <cx:pt idx="102050">0</cx:pt>
          <cx:pt idx="102051">1</cx:pt>
          <cx:pt idx="102052">0</cx:pt>
          <cx:pt idx="102053">1</cx:pt>
          <cx:pt idx="102054">0</cx:pt>
          <cx:pt idx="102055">0</cx:pt>
          <cx:pt idx="102056">1</cx:pt>
          <cx:pt idx="102057">1</cx:pt>
          <cx:pt idx="102058">1</cx:pt>
          <cx:pt idx="102059">1</cx:pt>
          <cx:pt idx="102060">1</cx:pt>
          <cx:pt idx="102061">0</cx:pt>
          <cx:pt idx="102062">0</cx:pt>
          <cx:pt idx="102063">1</cx:pt>
          <cx:pt idx="102064">0</cx:pt>
          <cx:pt idx="102065">0</cx:pt>
          <cx:pt idx="102066">0</cx:pt>
          <cx:pt idx="102067">0</cx:pt>
          <cx:pt idx="102068">0</cx:pt>
          <cx:pt idx="102069">0</cx:pt>
          <cx:pt idx="102070">0</cx:pt>
          <cx:pt idx="102071">0</cx:pt>
          <cx:pt idx="102072">0</cx:pt>
          <cx:pt idx="102073">1</cx:pt>
          <cx:pt idx="102074">0</cx:pt>
          <cx:pt idx="102075">0</cx:pt>
          <cx:pt idx="102076">1</cx:pt>
          <cx:pt idx="102077">1</cx:pt>
          <cx:pt idx="102078">1</cx:pt>
          <cx:pt idx="102079">0</cx:pt>
          <cx:pt idx="102080">0</cx:pt>
          <cx:pt idx="102081">1</cx:pt>
          <cx:pt idx="102082">1</cx:pt>
          <cx:pt idx="102083">0</cx:pt>
          <cx:pt idx="102084">1</cx:pt>
          <cx:pt idx="102085">1</cx:pt>
          <cx:pt idx="102086">0</cx:pt>
          <cx:pt idx="102087">1</cx:pt>
          <cx:pt idx="102088">0</cx:pt>
          <cx:pt idx="102089">0</cx:pt>
          <cx:pt idx="102090">0</cx:pt>
          <cx:pt idx="102091">1</cx:pt>
          <cx:pt idx="102092">1</cx:pt>
          <cx:pt idx="102093">1</cx:pt>
          <cx:pt idx="102094">0</cx:pt>
          <cx:pt idx="102095">1</cx:pt>
          <cx:pt idx="102096">0</cx:pt>
          <cx:pt idx="102097">1</cx:pt>
          <cx:pt idx="102098">1</cx:pt>
          <cx:pt idx="102099">0</cx:pt>
          <cx:pt idx="102100">0</cx:pt>
          <cx:pt idx="102101">1</cx:pt>
          <cx:pt idx="102102">0</cx:pt>
          <cx:pt idx="102103">1</cx:pt>
          <cx:pt idx="102104">0</cx:pt>
          <cx:pt idx="102105">0</cx:pt>
          <cx:pt idx="102106">1</cx:pt>
          <cx:pt idx="102107">0</cx:pt>
          <cx:pt idx="102108">1</cx:pt>
          <cx:pt idx="102109">1</cx:pt>
          <cx:pt idx="102110">1</cx:pt>
          <cx:pt idx="102111">1</cx:pt>
          <cx:pt idx="102112">0</cx:pt>
          <cx:pt idx="102113">0</cx:pt>
          <cx:pt idx="102114">1</cx:pt>
          <cx:pt idx="102115">0</cx:pt>
          <cx:pt idx="102116">1</cx:pt>
          <cx:pt idx="102117">0</cx:pt>
          <cx:pt idx="102118">1</cx:pt>
          <cx:pt idx="102119">1</cx:pt>
          <cx:pt idx="102120">0</cx:pt>
          <cx:pt idx="102121">0</cx:pt>
          <cx:pt idx="102122">0</cx:pt>
          <cx:pt idx="102123">1</cx:pt>
          <cx:pt idx="102124">0</cx:pt>
          <cx:pt idx="102125">1</cx:pt>
          <cx:pt idx="102126">1</cx:pt>
          <cx:pt idx="102127">0</cx:pt>
          <cx:pt idx="102128">1</cx:pt>
          <cx:pt idx="102129">0</cx:pt>
          <cx:pt idx="102130">0</cx:pt>
          <cx:pt idx="102131">0</cx:pt>
          <cx:pt idx="102132">1</cx:pt>
          <cx:pt idx="102133">0</cx:pt>
          <cx:pt idx="102134">1</cx:pt>
          <cx:pt idx="102135">0</cx:pt>
          <cx:pt idx="102136">1</cx:pt>
          <cx:pt idx="102137">0</cx:pt>
          <cx:pt idx="102138">0</cx:pt>
          <cx:pt idx="102139">1</cx:pt>
          <cx:pt idx="102140">1</cx:pt>
          <cx:pt idx="102141">0</cx:pt>
          <cx:pt idx="102142">1</cx:pt>
          <cx:pt idx="102143">1</cx:pt>
          <cx:pt idx="102144">0</cx:pt>
          <cx:pt idx="102145">0</cx:pt>
          <cx:pt idx="102146">1</cx:pt>
          <cx:pt idx="102147">0</cx:pt>
          <cx:pt idx="102148">0</cx:pt>
          <cx:pt idx="102149">0</cx:pt>
          <cx:pt idx="102150">1</cx:pt>
          <cx:pt idx="102151">1</cx:pt>
          <cx:pt idx="102152">1</cx:pt>
          <cx:pt idx="102153">1</cx:pt>
          <cx:pt idx="102154">1</cx:pt>
          <cx:pt idx="102155">1</cx:pt>
          <cx:pt idx="102156">0</cx:pt>
          <cx:pt idx="102157">0</cx:pt>
          <cx:pt idx="102158">0</cx:pt>
          <cx:pt idx="102159">1</cx:pt>
          <cx:pt idx="102160">0</cx:pt>
          <cx:pt idx="102161">0</cx:pt>
          <cx:pt idx="102162">1</cx:pt>
          <cx:pt idx="102163">0</cx:pt>
          <cx:pt idx="102164">0</cx:pt>
          <cx:pt idx="102165">1</cx:pt>
          <cx:pt idx="102166">0</cx:pt>
          <cx:pt idx="102167">0</cx:pt>
          <cx:pt idx="102168">1</cx:pt>
          <cx:pt idx="102169">1</cx:pt>
          <cx:pt idx="102170">1</cx:pt>
          <cx:pt idx="102171">1</cx:pt>
          <cx:pt idx="102172">0</cx:pt>
          <cx:pt idx="102173">0</cx:pt>
          <cx:pt idx="102174">0</cx:pt>
          <cx:pt idx="102175">0</cx:pt>
          <cx:pt idx="102176">0</cx:pt>
          <cx:pt idx="102177">0</cx:pt>
          <cx:pt idx="102178">0</cx:pt>
          <cx:pt idx="102179">1</cx:pt>
          <cx:pt idx="102180">0</cx:pt>
          <cx:pt idx="102181">0</cx:pt>
          <cx:pt idx="102182">0</cx:pt>
          <cx:pt idx="102183">1</cx:pt>
          <cx:pt idx="102184">0</cx:pt>
          <cx:pt idx="102185">0</cx:pt>
          <cx:pt idx="102186">0</cx:pt>
          <cx:pt idx="102187">0</cx:pt>
          <cx:pt idx="102188">0</cx:pt>
          <cx:pt idx="102189">0</cx:pt>
          <cx:pt idx="102190">0</cx:pt>
          <cx:pt idx="102191">1</cx:pt>
          <cx:pt idx="102192">1</cx:pt>
          <cx:pt idx="102193">0</cx:pt>
          <cx:pt idx="102194">1</cx:pt>
          <cx:pt idx="102195">0</cx:pt>
          <cx:pt idx="102196">1</cx:pt>
          <cx:pt idx="102197">0</cx:pt>
          <cx:pt idx="102198">0</cx:pt>
          <cx:pt idx="102199">1</cx:pt>
          <cx:pt idx="102200">1</cx:pt>
          <cx:pt idx="102201">0</cx:pt>
          <cx:pt idx="102202">0</cx:pt>
          <cx:pt idx="102203">0</cx:pt>
          <cx:pt idx="102204">1</cx:pt>
          <cx:pt idx="102205">0</cx:pt>
          <cx:pt idx="102206">1</cx:pt>
          <cx:pt idx="102207">0</cx:pt>
          <cx:pt idx="102208">0</cx:pt>
          <cx:pt idx="102209">0</cx:pt>
          <cx:pt idx="102210">1</cx:pt>
          <cx:pt idx="102211">1</cx:pt>
          <cx:pt idx="102212">1</cx:pt>
          <cx:pt idx="102213">0</cx:pt>
          <cx:pt idx="102214">0</cx:pt>
          <cx:pt idx="102215">1</cx:pt>
          <cx:pt idx="102216">0</cx:pt>
          <cx:pt idx="102217">1</cx:pt>
          <cx:pt idx="102218">0</cx:pt>
          <cx:pt idx="102219">0</cx:pt>
          <cx:pt idx="102220">0</cx:pt>
          <cx:pt idx="102221">0</cx:pt>
          <cx:pt idx="102222">1</cx:pt>
          <cx:pt idx="102223">0</cx:pt>
          <cx:pt idx="102224">1</cx:pt>
          <cx:pt idx="102225">0</cx:pt>
          <cx:pt idx="102226">1</cx:pt>
          <cx:pt idx="102227">1</cx:pt>
          <cx:pt idx="102228">1</cx:pt>
          <cx:pt idx="102229">0</cx:pt>
          <cx:pt idx="102230">0</cx:pt>
          <cx:pt idx="102231">0</cx:pt>
          <cx:pt idx="102232">1</cx:pt>
          <cx:pt idx="102233">0</cx:pt>
          <cx:pt idx="102234">0</cx:pt>
          <cx:pt idx="102235">1</cx:pt>
          <cx:pt idx="102236">1</cx:pt>
          <cx:pt idx="102237">0</cx:pt>
          <cx:pt idx="102238">1</cx:pt>
          <cx:pt idx="102239">1</cx:pt>
          <cx:pt idx="102240">0</cx:pt>
          <cx:pt idx="102241">1</cx:pt>
          <cx:pt idx="102242">0</cx:pt>
          <cx:pt idx="102243">1</cx:pt>
          <cx:pt idx="102244">0</cx:pt>
          <cx:pt idx="102245">1</cx:pt>
          <cx:pt idx="102246">1</cx:pt>
          <cx:pt idx="102247">0</cx:pt>
          <cx:pt idx="102248">1</cx:pt>
          <cx:pt idx="102249">0</cx:pt>
          <cx:pt idx="102250">0</cx:pt>
          <cx:pt idx="102251">0</cx:pt>
          <cx:pt idx="102252">0</cx:pt>
          <cx:pt idx="102253">0</cx:pt>
          <cx:pt idx="102254">0</cx:pt>
          <cx:pt idx="102255">1</cx:pt>
          <cx:pt idx="102256">1</cx:pt>
          <cx:pt idx="102257">1</cx:pt>
          <cx:pt idx="102258">0</cx:pt>
          <cx:pt idx="102259">0</cx:pt>
          <cx:pt idx="102260">1</cx:pt>
          <cx:pt idx="102261">0</cx:pt>
          <cx:pt idx="102262">0</cx:pt>
          <cx:pt idx="102263">0</cx:pt>
          <cx:pt idx="102264">0</cx:pt>
          <cx:pt idx="102265">1</cx:pt>
          <cx:pt idx="102266">0</cx:pt>
          <cx:pt idx="102267">1</cx:pt>
          <cx:pt idx="102268">1</cx:pt>
          <cx:pt idx="102269">0</cx:pt>
          <cx:pt idx="102270">0</cx:pt>
          <cx:pt idx="102271">0</cx:pt>
          <cx:pt idx="102272">1</cx:pt>
          <cx:pt idx="102273">0</cx:pt>
          <cx:pt idx="102274">1</cx:pt>
          <cx:pt idx="102275">1</cx:pt>
          <cx:pt idx="102276">1</cx:pt>
          <cx:pt idx="102277">0</cx:pt>
          <cx:pt idx="102278">0</cx:pt>
          <cx:pt idx="102279">0</cx:pt>
          <cx:pt idx="102280">0</cx:pt>
          <cx:pt idx="102281">0</cx:pt>
          <cx:pt idx="102282">0</cx:pt>
          <cx:pt idx="102283">1</cx:pt>
          <cx:pt idx="102284">0</cx:pt>
          <cx:pt idx="102285">0</cx:pt>
          <cx:pt idx="102286">0</cx:pt>
          <cx:pt idx="102287">0</cx:pt>
          <cx:pt idx="102288">0</cx:pt>
          <cx:pt idx="102289">1</cx:pt>
          <cx:pt idx="102290">0</cx:pt>
          <cx:pt idx="102291">0</cx:pt>
          <cx:pt idx="102292">1</cx:pt>
          <cx:pt idx="102293">0</cx:pt>
          <cx:pt idx="102294">1</cx:pt>
          <cx:pt idx="102295">0</cx:pt>
          <cx:pt idx="102296">0</cx:pt>
          <cx:pt idx="102297">0</cx:pt>
          <cx:pt idx="102298">1</cx:pt>
          <cx:pt idx="102299">0</cx:pt>
          <cx:pt idx="102300">1</cx:pt>
          <cx:pt idx="102301">1</cx:pt>
          <cx:pt idx="102302">0</cx:pt>
          <cx:pt idx="102303">1</cx:pt>
          <cx:pt idx="102304">1</cx:pt>
          <cx:pt idx="102305">0</cx:pt>
          <cx:pt idx="102306">1</cx:pt>
          <cx:pt idx="102307">0</cx:pt>
          <cx:pt idx="102308">1</cx:pt>
          <cx:pt idx="102309">0</cx:pt>
          <cx:pt idx="102310">0</cx:pt>
          <cx:pt idx="102311">0</cx:pt>
          <cx:pt idx="102312">0</cx:pt>
          <cx:pt idx="102313">1</cx:pt>
          <cx:pt idx="102314">0</cx:pt>
          <cx:pt idx="102315">1</cx:pt>
          <cx:pt idx="102316">1</cx:pt>
          <cx:pt idx="102317">1</cx:pt>
          <cx:pt idx="102318">1</cx:pt>
          <cx:pt idx="102319">1</cx:pt>
          <cx:pt idx="102320">0</cx:pt>
          <cx:pt idx="102321">0</cx:pt>
          <cx:pt idx="102322">0</cx:pt>
          <cx:pt idx="102323">1</cx:pt>
          <cx:pt idx="102324">1</cx:pt>
          <cx:pt idx="102325">1</cx:pt>
          <cx:pt idx="102326">0</cx:pt>
          <cx:pt idx="102327">1</cx:pt>
          <cx:pt idx="102328">0</cx:pt>
          <cx:pt idx="102329">0</cx:pt>
          <cx:pt idx="102330">1</cx:pt>
          <cx:pt idx="102331">1</cx:pt>
          <cx:pt idx="102332">0</cx:pt>
          <cx:pt idx="102333">0</cx:pt>
          <cx:pt idx="102334">1</cx:pt>
          <cx:pt idx="102335">0</cx:pt>
          <cx:pt idx="102336">1</cx:pt>
          <cx:pt idx="102337">1</cx:pt>
          <cx:pt idx="102338">1</cx:pt>
          <cx:pt idx="102339">0</cx:pt>
          <cx:pt idx="102340">1</cx:pt>
          <cx:pt idx="102341">1</cx:pt>
          <cx:pt idx="102342">1</cx:pt>
          <cx:pt idx="102343">0</cx:pt>
          <cx:pt idx="102344">0</cx:pt>
          <cx:pt idx="102345">0</cx:pt>
          <cx:pt idx="102346">0</cx:pt>
          <cx:pt idx="102347">0</cx:pt>
          <cx:pt idx="102348">0</cx:pt>
          <cx:pt idx="102349">0</cx:pt>
          <cx:pt idx="102350">0</cx:pt>
          <cx:pt idx="102351">0</cx:pt>
          <cx:pt idx="102352">0</cx:pt>
          <cx:pt idx="102353">0</cx:pt>
          <cx:pt idx="102354">0</cx:pt>
          <cx:pt idx="102355">1</cx:pt>
          <cx:pt idx="102356">1</cx:pt>
          <cx:pt idx="102357">0</cx:pt>
          <cx:pt idx="102358">0</cx:pt>
          <cx:pt idx="102359">1</cx:pt>
          <cx:pt idx="102360">1</cx:pt>
          <cx:pt idx="102361">0</cx:pt>
          <cx:pt idx="102362">1</cx:pt>
          <cx:pt idx="102363">0</cx:pt>
          <cx:pt idx="102364">0</cx:pt>
          <cx:pt idx="102365">1</cx:pt>
          <cx:pt idx="102366">1</cx:pt>
          <cx:pt idx="102367">0</cx:pt>
          <cx:pt idx="102368">0</cx:pt>
          <cx:pt idx="102369">0</cx:pt>
          <cx:pt idx="102370">0</cx:pt>
          <cx:pt idx="102371">0</cx:pt>
          <cx:pt idx="102372">1</cx:pt>
          <cx:pt idx="102373">1</cx:pt>
          <cx:pt idx="102374">1</cx:pt>
          <cx:pt idx="102375">0</cx:pt>
          <cx:pt idx="102376">0</cx:pt>
          <cx:pt idx="102377">1</cx:pt>
          <cx:pt idx="102378">1</cx:pt>
          <cx:pt idx="102379">0</cx:pt>
          <cx:pt idx="102380">1</cx:pt>
          <cx:pt idx="102381">1</cx:pt>
          <cx:pt idx="102382">1</cx:pt>
          <cx:pt idx="102383">1</cx:pt>
          <cx:pt idx="102384">0</cx:pt>
          <cx:pt idx="102385">1</cx:pt>
          <cx:pt idx="102386">1</cx:pt>
          <cx:pt idx="102387">0</cx:pt>
          <cx:pt idx="102388">0</cx:pt>
          <cx:pt idx="102389">0</cx:pt>
          <cx:pt idx="102390">0</cx:pt>
          <cx:pt idx="102391">0</cx:pt>
          <cx:pt idx="102392">1</cx:pt>
          <cx:pt idx="102393">0</cx:pt>
          <cx:pt idx="102394">0</cx:pt>
          <cx:pt idx="102395">0</cx:pt>
          <cx:pt idx="102396">1</cx:pt>
          <cx:pt idx="102397">0</cx:pt>
          <cx:pt idx="102398">1</cx:pt>
          <cx:pt idx="102399">0</cx:pt>
          <cx:pt idx="102400">0</cx:pt>
          <cx:pt idx="102401">1</cx:pt>
          <cx:pt idx="102402">0</cx:pt>
          <cx:pt idx="102403">1</cx:pt>
          <cx:pt idx="102404">0</cx:pt>
          <cx:pt idx="102405">0</cx:pt>
          <cx:pt idx="102406">1</cx:pt>
          <cx:pt idx="102407">0</cx:pt>
          <cx:pt idx="102408">0</cx:pt>
          <cx:pt idx="102409">0</cx:pt>
          <cx:pt idx="102410">0</cx:pt>
          <cx:pt idx="102411">0</cx:pt>
          <cx:pt idx="102412">0</cx:pt>
          <cx:pt idx="102413">1</cx:pt>
          <cx:pt idx="102414">0</cx:pt>
          <cx:pt idx="102415">1</cx:pt>
          <cx:pt idx="102416">1</cx:pt>
          <cx:pt idx="102417">0</cx:pt>
          <cx:pt idx="102418">1</cx:pt>
          <cx:pt idx="102419">0</cx:pt>
          <cx:pt idx="102420">1</cx:pt>
          <cx:pt idx="102421">0</cx:pt>
          <cx:pt idx="102422">1</cx:pt>
          <cx:pt idx="102423">0</cx:pt>
          <cx:pt idx="102424">0</cx:pt>
          <cx:pt idx="102425">0</cx:pt>
          <cx:pt idx="102426">0</cx:pt>
          <cx:pt idx="102427">0</cx:pt>
          <cx:pt idx="102428">1</cx:pt>
          <cx:pt idx="102429">1</cx:pt>
          <cx:pt idx="102430">1</cx:pt>
          <cx:pt idx="102431">1</cx:pt>
          <cx:pt idx="102432">0</cx:pt>
          <cx:pt idx="102433">0</cx:pt>
          <cx:pt idx="102434">1</cx:pt>
          <cx:pt idx="102435">0</cx:pt>
          <cx:pt idx="102436">1</cx:pt>
          <cx:pt idx="102437">0</cx:pt>
          <cx:pt idx="102438">1</cx:pt>
          <cx:pt idx="102439">1</cx:pt>
          <cx:pt idx="102440">1</cx:pt>
          <cx:pt idx="102441">1</cx:pt>
          <cx:pt idx="102442">1</cx:pt>
          <cx:pt idx="102443">0</cx:pt>
          <cx:pt idx="102444">0</cx:pt>
          <cx:pt idx="102445">0</cx:pt>
          <cx:pt idx="102446">1</cx:pt>
          <cx:pt idx="102447">0</cx:pt>
          <cx:pt idx="102448">1</cx:pt>
          <cx:pt idx="102449">0</cx:pt>
          <cx:pt idx="102450">0</cx:pt>
          <cx:pt idx="102451">0</cx:pt>
          <cx:pt idx="102452">1</cx:pt>
          <cx:pt idx="102453">0</cx:pt>
          <cx:pt idx="102454">0</cx:pt>
          <cx:pt idx="102455">1</cx:pt>
          <cx:pt idx="102456">0</cx:pt>
          <cx:pt idx="102457">1</cx:pt>
          <cx:pt idx="102458">0</cx:pt>
          <cx:pt idx="102459">0</cx:pt>
          <cx:pt idx="102460">1</cx:pt>
          <cx:pt idx="102461">1</cx:pt>
          <cx:pt idx="102462">0</cx:pt>
          <cx:pt idx="102463">0</cx:pt>
          <cx:pt idx="102464">0</cx:pt>
          <cx:pt idx="102465">0</cx:pt>
          <cx:pt idx="102466">0</cx:pt>
          <cx:pt idx="102467">1</cx:pt>
          <cx:pt idx="102468">0</cx:pt>
          <cx:pt idx="102469">0</cx:pt>
          <cx:pt idx="102470">1</cx:pt>
          <cx:pt idx="102471">1</cx:pt>
          <cx:pt idx="102472">0</cx:pt>
          <cx:pt idx="102473">0</cx:pt>
          <cx:pt idx="102474">1</cx:pt>
          <cx:pt idx="102475">0</cx:pt>
          <cx:pt idx="102476">1</cx:pt>
          <cx:pt idx="102477">0</cx:pt>
          <cx:pt idx="102478">1</cx:pt>
          <cx:pt idx="102479">0</cx:pt>
          <cx:pt idx="102480">0</cx:pt>
          <cx:pt idx="102481">0</cx:pt>
          <cx:pt idx="102482">1</cx:pt>
          <cx:pt idx="102483">1</cx:pt>
          <cx:pt idx="102484">0</cx:pt>
          <cx:pt idx="102485">0</cx:pt>
          <cx:pt idx="102486">0</cx:pt>
          <cx:pt idx="102487">0</cx:pt>
          <cx:pt idx="102488">0</cx:pt>
          <cx:pt idx="102489">0</cx:pt>
          <cx:pt idx="102490">0</cx:pt>
          <cx:pt idx="102491">1</cx:pt>
          <cx:pt idx="102492">0</cx:pt>
          <cx:pt idx="102493">0</cx:pt>
          <cx:pt idx="102494">0</cx:pt>
          <cx:pt idx="102495">0</cx:pt>
          <cx:pt idx="102496">1</cx:pt>
          <cx:pt idx="102497">1</cx:pt>
          <cx:pt idx="102498">0</cx:pt>
          <cx:pt idx="102499">1</cx:pt>
          <cx:pt idx="102500">0</cx:pt>
          <cx:pt idx="102501">0</cx:pt>
          <cx:pt idx="102502">1</cx:pt>
          <cx:pt idx="102503">1</cx:pt>
          <cx:pt idx="102504">0</cx:pt>
          <cx:pt idx="102505">1</cx:pt>
          <cx:pt idx="102506">1</cx:pt>
          <cx:pt idx="102507">0</cx:pt>
          <cx:pt idx="102508">0</cx:pt>
          <cx:pt idx="102509">1</cx:pt>
          <cx:pt idx="102510">1</cx:pt>
          <cx:pt idx="102511">0</cx:pt>
          <cx:pt idx="102512">1</cx:pt>
          <cx:pt idx="102513">1</cx:pt>
          <cx:pt idx="102514">1</cx:pt>
          <cx:pt idx="102515">0</cx:pt>
          <cx:pt idx="102516">1</cx:pt>
          <cx:pt idx="102517">1</cx:pt>
          <cx:pt idx="102518">0</cx:pt>
          <cx:pt idx="102519">0</cx:pt>
          <cx:pt idx="102520">0</cx:pt>
          <cx:pt idx="102521">0</cx:pt>
          <cx:pt idx="102522">1</cx:pt>
          <cx:pt idx="102523">0</cx:pt>
          <cx:pt idx="102524">0</cx:pt>
          <cx:pt idx="102525">0</cx:pt>
          <cx:pt idx="102526">1</cx:pt>
          <cx:pt idx="102527">1</cx:pt>
          <cx:pt idx="102528">1</cx:pt>
          <cx:pt idx="102529">1</cx:pt>
          <cx:pt idx="102530">0</cx:pt>
          <cx:pt idx="102531">0</cx:pt>
          <cx:pt idx="102532">0</cx:pt>
          <cx:pt idx="102533">1</cx:pt>
          <cx:pt idx="102534">0</cx:pt>
          <cx:pt idx="102535">0</cx:pt>
          <cx:pt idx="102536">0</cx:pt>
          <cx:pt idx="102537">0</cx:pt>
          <cx:pt idx="102538">0</cx:pt>
          <cx:pt idx="102539">1</cx:pt>
          <cx:pt idx="102540">1</cx:pt>
          <cx:pt idx="102541">0</cx:pt>
          <cx:pt idx="102542">0</cx:pt>
          <cx:pt idx="102543">0</cx:pt>
          <cx:pt idx="102544">1</cx:pt>
          <cx:pt idx="102545">1</cx:pt>
          <cx:pt idx="102546">0</cx:pt>
          <cx:pt idx="102547">1</cx:pt>
          <cx:pt idx="102548">0</cx:pt>
          <cx:pt idx="102549">0</cx:pt>
          <cx:pt idx="102550">0</cx:pt>
          <cx:pt idx="102551">0</cx:pt>
          <cx:pt idx="102552">0</cx:pt>
          <cx:pt idx="102553">1</cx:pt>
          <cx:pt idx="102554">0</cx:pt>
          <cx:pt idx="102555">1</cx:pt>
          <cx:pt idx="102556">1</cx:pt>
          <cx:pt idx="102557">1</cx:pt>
          <cx:pt idx="102558">0</cx:pt>
          <cx:pt idx="102559">0</cx:pt>
          <cx:pt idx="102560">0</cx:pt>
          <cx:pt idx="102561">1</cx:pt>
          <cx:pt idx="102562">0</cx:pt>
          <cx:pt idx="102563">1</cx:pt>
          <cx:pt idx="102564">1</cx:pt>
          <cx:pt idx="102565">1</cx:pt>
          <cx:pt idx="102566">0</cx:pt>
          <cx:pt idx="102567">0</cx:pt>
          <cx:pt idx="102568">1</cx:pt>
          <cx:pt idx="102569">0</cx:pt>
          <cx:pt idx="102570">0</cx:pt>
          <cx:pt idx="102571">1</cx:pt>
          <cx:pt idx="102572">0</cx:pt>
          <cx:pt idx="102573">0</cx:pt>
          <cx:pt idx="102574">1</cx:pt>
          <cx:pt idx="102575">1</cx:pt>
          <cx:pt idx="102576">1</cx:pt>
          <cx:pt idx="102577">0</cx:pt>
          <cx:pt idx="102578">1</cx:pt>
          <cx:pt idx="102579">0</cx:pt>
          <cx:pt idx="102580">1</cx:pt>
          <cx:pt idx="102581">1</cx:pt>
          <cx:pt idx="102582">1</cx:pt>
          <cx:pt idx="102583">0</cx:pt>
          <cx:pt idx="102584">1</cx:pt>
          <cx:pt idx="102585">0</cx:pt>
          <cx:pt idx="102586">1</cx:pt>
          <cx:pt idx="102587">0</cx:pt>
          <cx:pt idx="102588">0</cx:pt>
          <cx:pt idx="102589">0</cx:pt>
          <cx:pt idx="102590">1</cx:pt>
          <cx:pt idx="102591">0</cx:pt>
          <cx:pt idx="102592">0</cx:pt>
          <cx:pt idx="102593">0</cx:pt>
          <cx:pt idx="102594">0</cx:pt>
          <cx:pt idx="102595">1</cx:pt>
          <cx:pt idx="102596">0</cx:pt>
          <cx:pt idx="102597">1</cx:pt>
          <cx:pt idx="102598">0</cx:pt>
          <cx:pt idx="102599">0</cx:pt>
          <cx:pt idx="102600">0</cx:pt>
          <cx:pt idx="102601">1</cx:pt>
          <cx:pt idx="102602">1</cx:pt>
          <cx:pt idx="102603">0</cx:pt>
          <cx:pt idx="102604">1</cx:pt>
          <cx:pt idx="102605">1</cx:pt>
          <cx:pt idx="102606">1</cx:pt>
          <cx:pt idx="102607">1</cx:pt>
          <cx:pt idx="102608">0</cx:pt>
          <cx:pt idx="102609">0</cx:pt>
          <cx:pt idx="102610">1</cx:pt>
          <cx:pt idx="102611">1</cx:pt>
          <cx:pt idx="102612">0</cx:pt>
          <cx:pt idx="102613">0</cx:pt>
          <cx:pt idx="102614">0</cx:pt>
          <cx:pt idx="102615">1</cx:pt>
          <cx:pt idx="102616">1</cx:pt>
          <cx:pt idx="102617">0</cx:pt>
          <cx:pt idx="102618">0</cx:pt>
          <cx:pt idx="102619">0</cx:pt>
          <cx:pt idx="102620">1</cx:pt>
          <cx:pt idx="102621">0</cx:pt>
          <cx:pt idx="102622">0</cx:pt>
          <cx:pt idx="102623">0</cx:pt>
          <cx:pt idx="102624">1</cx:pt>
          <cx:pt idx="102625">0</cx:pt>
          <cx:pt idx="102626">1</cx:pt>
          <cx:pt idx="102627">1</cx:pt>
          <cx:pt idx="102628">0</cx:pt>
          <cx:pt idx="102629">0</cx:pt>
          <cx:pt idx="102630">1</cx:pt>
          <cx:pt idx="102631">0</cx:pt>
          <cx:pt idx="102632">1</cx:pt>
          <cx:pt idx="102633">0</cx:pt>
          <cx:pt idx="102634">1</cx:pt>
          <cx:pt idx="102635">0</cx:pt>
          <cx:pt idx="102636">0</cx:pt>
          <cx:pt idx="102637">1</cx:pt>
          <cx:pt idx="102638">0</cx:pt>
          <cx:pt idx="102639">0</cx:pt>
          <cx:pt idx="102640">0</cx:pt>
          <cx:pt idx="102641">0</cx:pt>
          <cx:pt idx="102642">0</cx:pt>
          <cx:pt idx="102643">1</cx:pt>
          <cx:pt idx="102644">1</cx:pt>
          <cx:pt idx="102645">0</cx:pt>
          <cx:pt idx="102646">1</cx:pt>
          <cx:pt idx="102647">0</cx:pt>
          <cx:pt idx="102648">1</cx:pt>
          <cx:pt idx="102649">0</cx:pt>
          <cx:pt idx="102650">1</cx:pt>
          <cx:pt idx="102651">0</cx:pt>
          <cx:pt idx="102652">0</cx:pt>
          <cx:pt idx="102653">0</cx:pt>
          <cx:pt idx="102654">0</cx:pt>
          <cx:pt idx="102655">1</cx:pt>
          <cx:pt idx="102656">0</cx:pt>
          <cx:pt idx="102657">0</cx:pt>
          <cx:pt idx="102658">1</cx:pt>
          <cx:pt idx="102659">1</cx:pt>
          <cx:pt idx="102660">0</cx:pt>
          <cx:pt idx="102661">0</cx:pt>
          <cx:pt idx="102662">0</cx:pt>
          <cx:pt idx="102663">1</cx:pt>
          <cx:pt idx="102664">0</cx:pt>
          <cx:pt idx="102665">1</cx:pt>
          <cx:pt idx="102666">1</cx:pt>
          <cx:pt idx="102667">0</cx:pt>
          <cx:pt idx="102668">1</cx:pt>
          <cx:pt idx="102669">0</cx:pt>
          <cx:pt idx="102670">0</cx:pt>
          <cx:pt idx="102671">1</cx:pt>
          <cx:pt idx="102672">1</cx:pt>
          <cx:pt idx="102673">0</cx:pt>
          <cx:pt idx="102674">0</cx:pt>
          <cx:pt idx="102675">1</cx:pt>
          <cx:pt idx="102676">1</cx:pt>
          <cx:pt idx="102677">0</cx:pt>
          <cx:pt idx="102678">0</cx:pt>
          <cx:pt idx="102679">1</cx:pt>
          <cx:pt idx="102680">1</cx:pt>
          <cx:pt idx="102681">1</cx:pt>
          <cx:pt idx="102682">1</cx:pt>
          <cx:pt idx="102683">0</cx:pt>
          <cx:pt idx="102684">1</cx:pt>
          <cx:pt idx="102685">1</cx:pt>
          <cx:pt idx="102686">0</cx:pt>
          <cx:pt idx="102687">0</cx:pt>
          <cx:pt idx="102688">0</cx:pt>
          <cx:pt idx="102689">0</cx:pt>
          <cx:pt idx="102690">0</cx:pt>
          <cx:pt idx="102691">0</cx:pt>
          <cx:pt idx="102692">0</cx:pt>
          <cx:pt idx="102693">1</cx:pt>
          <cx:pt idx="102694">1</cx:pt>
          <cx:pt idx="102695">1</cx:pt>
          <cx:pt idx="102696">0</cx:pt>
          <cx:pt idx="102697">1</cx:pt>
          <cx:pt idx="102698">0</cx:pt>
          <cx:pt idx="102699">0</cx:pt>
          <cx:pt idx="102700">0</cx:pt>
          <cx:pt idx="102701">1</cx:pt>
          <cx:pt idx="102702">0</cx:pt>
          <cx:pt idx="102703">0</cx:pt>
          <cx:pt idx="102704">0</cx:pt>
          <cx:pt idx="102705">0</cx:pt>
          <cx:pt idx="102706">0</cx:pt>
          <cx:pt idx="102707">1</cx:pt>
          <cx:pt idx="102708">0</cx:pt>
          <cx:pt idx="102709">0</cx:pt>
          <cx:pt idx="102710">0</cx:pt>
          <cx:pt idx="102711">0</cx:pt>
          <cx:pt idx="102712">0</cx:pt>
          <cx:pt idx="102713">0</cx:pt>
          <cx:pt idx="102714">0</cx:pt>
          <cx:pt idx="102715">0</cx:pt>
          <cx:pt idx="102716">0</cx:pt>
          <cx:pt idx="102717">0</cx:pt>
          <cx:pt idx="102718">0</cx:pt>
          <cx:pt idx="102719">0</cx:pt>
          <cx:pt idx="102720">0</cx:pt>
          <cx:pt idx="102721">0</cx:pt>
          <cx:pt idx="102722">0</cx:pt>
          <cx:pt idx="102723">0</cx:pt>
          <cx:pt idx="102724">1</cx:pt>
          <cx:pt idx="102725">0</cx:pt>
          <cx:pt idx="102726">0</cx:pt>
          <cx:pt idx="102727">0</cx:pt>
          <cx:pt idx="102728">1</cx:pt>
          <cx:pt idx="102729">1</cx:pt>
          <cx:pt idx="102730">1</cx:pt>
          <cx:pt idx="102731">0</cx:pt>
          <cx:pt idx="102732">1</cx:pt>
          <cx:pt idx="102733">1</cx:pt>
          <cx:pt idx="102734">0</cx:pt>
          <cx:pt idx="102735">0</cx:pt>
          <cx:pt idx="102736">0</cx:pt>
          <cx:pt idx="102737">1</cx:pt>
          <cx:pt idx="102738">1</cx:pt>
          <cx:pt idx="102739">0</cx:pt>
          <cx:pt idx="102740">0</cx:pt>
          <cx:pt idx="102741">1</cx:pt>
          <cx:pt idx="102742">0</cx:pt>
          <cx:pt idx="102743">0</cx:pt>
          <cx:pt idx="102744">0</cx:pt>
          <cx:pt idx="102745">0</cx:pt>
          <cx:pt idx="102746">0</cx:pt>
          <cx:pt idx="102747">1</cx:pt>
          <cx:pt idx="102748">0</cx:pt>
          <cx:pt idx="102749">0</cx:pt>
          <cx:pt idx="102750">1</cx:pt>
          <cx:pt idx="102751">0</cx:pt>
          <cx:pt idx="102752">1</cx:pt>
          <cx:pt idx="102753">1</cx:pt>
          <cx:pt idx="102754">1</cx:pt>
          <cx:pt idx="102755">0</cx:pt>
          <cx:pt idx="102756">0</cx:pt>
          <cx:pt idx="102757">0</cx:pt>
          <cx:pt idx="102758">0</cx:pt>
          <cx:pt idx="102759">1</cx:pt>
          <cx:pt idx="102760">0</cx:pt>
          <cx:pt idx="102761">0</cx:pt>
          <cx:pt idx="102762">1</cx:pt>
          <cx:pt idx="102763">0</cx:pt>
          <cx:pt idx="102764">0</cx:pt>
          <cx:pt idx="102765">0</cx:pt>
          <cx:pt idx="102766">1</cx:pt>
          <cx:pt idx="102767">1</cx:pt>
          <cx:pt idx="102768">1</cx:pt>
          <cx:pt idx="102769">0</cx:pt>
          <cx:pt idx="102770">1</cx:pt>
          <cx:pt idx="102771">1</cx:pt>
          <cx:pt idx="102772">1</cx:pt>
          <cx:pt idx="102773">1</cx:pt>
          <cx:pt idx="102774">1</cx:pt>
          <cx:pt idx="102775">0</cx:pt>
          <cx:pt idx="102776">0</cx:pt>
          <cx:pt idx="102777">1</cx:pt>
          <cx:pt idx="102778">0</cx:pt>
          <cx:pt idx="102779">0</cx:pt>
          <cx:pt idx="102780">0</cx:pt>
          <cx:pt idx="102781">1</cx:pt>
          <cx:pt idx="102782">0</cx:pt>
          <cx:pt idx="102783">1</cx:pt>
          <cx:pt idx="102784">1</cx:pt>
          <cx:pt idx="102785">1</cx:pt>
          <cx:pt idx="102786">1</cx:pt>
          <cx:pt idx="102787">0</cx:pt>
          <cx:pt idx="102788">0</cx:pt>
          <cx:pt idx="102789">0</cx:pt>
          <cx:pt idx="102790">1</cx:pt>
          <cx:pt idx="102791">0</cx:pt>
          <cx:pt idx="102792">0</cx:pt>
          <cx:pt idx="102793">1</cx:pt>
          <cx:pt idx="102794">1</cx:pt>
          <cx:pt idx="102795">1</cx:pt>
          <cx:pt idx="102796">0</cx:pt>
          <cx:pt idx="102797">1</cx:pt>
          <cx:pt idx="102798">1</cx:pt>
          <cx:pt idx="102799">0</cx:pt>
          <cx:pt idx="102800">1</cx:pt>
          <cx:pt idx="102801">1</cx:pt>
          <cx:pt idx="102802">0</cx:pt>
          <cx:pt idx="102803">0</cx:pt>
          <cx:pt idx="102804">1</cx:pt>
          <cx:pt idx="102805">0</cx:pt>
          <cx:pt idx="102806">1</cx:pt>
          <cx:pt idx="102807">0</cx:pt>
          <cx:pt idx="102808">0</cx:pt>
          <cx:pt idx="102809">0</cx:pt>
          <cx:pt idx="102810">1</cx:pt>
          <cx:pt idx="102811">1</cx:pt>
          <cx:pt idx="102812">0</cx:pt>
          <cx:pt idx="102813">0</cx:pt>
          <cx:pt idx="102814">0</cx:pt>
          <cx:pt idx="102815">0</cx:pt>
          <cx:pt idx="102816">1</cx:pt>
          <cx:pt idx="102817">0</cx:pt>
          <cx:pt idx="102818">0</cx:pt>
          <cx:pt idx="102819">0</cx:pt>
          <cx:pt idx="102820">0</cx:pt>
          <cx:pt idx="102821">0</cx:pt>
          <cx:pt idx="102822">1</cx:pt>
          <cx:pt idx="102823">0</cx:pt>
          <cx:pt idx="102824">0</cx:pt>
          <cx:pt idx="102825">1</cx:pt>
          <cx:pt idx="102826">1</cx:pt>
          <cx:pt idx="102827">0</cx:pt>
          <cx:pt idx="102828">0</cx:pt>
          <cx:pt idx="102829">1</cx:pt>
          <cx:pt idx="102830">0</cx:pt>
          <cx:pt idx="102831">0</cx:pt>
          <cx:pt idx="102832">1</cx:pt>
          <cx:pt idx="102833">0</cx:pt>
          <cx:pt idx="102834">0</cx:pt>
          <cx:pt idx="102835">1</cx:pt>
          <cx:pt idx="102836">0</cx:pt>
          <cx:pt idx="102837">1</cx:pt>
          <cx:pt idx="102838">1</cx:pt>
          <cx:pt idx="102839">1</cx:pt>
          <cx:pt idx="102840">0</cx:pt>
          <cx:pt idx="102841">0</cx:pt>
          <cx:pt idx="102842">0</cx:pt>
          <cx:pt idx="102843">1</cx:pt>
          <cx:pt idx="102844">1</cx:pt>
          <cx:pt idx="102845">0</cx:pt>
          <cx:pt idx="102846">0</cx:pt>
          <cx:pt idx="102847">0</cx:pt>
          <cx:pt idx="102848">0</cx:pt>
          <cx:pt idx="102849">1</cx:pt>
          <cx:pt idx="102850">1</cx:pt>
          <cx:pt idx="102851">0</cx:pt>
          <cx:pt idx="102852">1</cx:pt>
          <cx:pt idx="102853">1</cx:pt>
          <cx:pt idx="102854">0</cx:pt>
          <cx:pt idx="102855">1</cx:pt>
          <cx:pt idx="102856">0</cx:pt>
          <cx:pt idx="102857">1</cx:pt>
          <cx:pt idx="102858">1</cx:pt>
          <cx:pt idx="102859">0</cx:pt>
          <cx:pt idx="102860">0</cx:pt>
          <cx:pt idx="102861">1</cx:pt>
          <cx:pt idx="102862">1</cx:pt>
          <cx:pt idx="102863">1</cx:pt>
          <cx:pt idx="102864">1</cx:pt>
          <cx:pt idx="102865">1</cx:pt>
          <cx:pt idx="102866">1</cx:pt>
          <cx:pt idx="102867">0</cx:pt>
          <cx:pt idx="102868">1</cx:pt>
          <cx:pt idx="102869">0</cx:pt>
          <cx:pt idx="102870">1</cx:pt>
          <cx:pt idx="102871">1</cx:pt>
          <cx:pt idx="102872">0</cx:pt>
          <cx:pt idx="102873">1</cx:pt>
          <cx:pt idx="102874">1</cx:pt>
          <cx:pt idx="102875">0</cx:pt>
          <cx:pt idx="102876">0</cx:pt>
          <cx:pt idx="102877">1</cx:pt>
          <cx:pt idx="102878">1</cx:pt>
          <cx:pt idx="102879">0</cx:pt>
          <cx:pt idx="102880">1</cx:pt>
          <cx:pt idx="102881">0</cx:pt>
          <cx:pt idx="102882">1</cx:pt>
          <cx:pt idx="102883">1</cx:pt>
          <cx:pt idx="102884">1</cx:pt>
          <cx:pt idx="102885">0</cx:pt>
          <cx:pt idx="102886">0</cx:pt>
          <cx:pt idx="102887">0</cx:pt>
          <cx:pt idx="102888">1</cx:pt>
          <cx:pt idx="102889">0</cx:pt>
          <cx:pt idx="102890">0</cx:pt>
          <cx:pt idx="102891">0</cx:pt>
          <cx:pt idx="102892">0</cx:pt>
          <cx:pt idx="102893">1</cx:pt>
          <cx:pt idx="102894">0</cx:pt>
          <cx:pt idx="102895">1</cx:pt>
          <cx:pt idx="102896">0</cx:pt>
          <cx:pt idx="102897">1</cx:pt>
          <cx:pt idx="102898">0</cx:pt>
          <cx:pt idx="102899">0</cx:pt>
          <cx:pt idx="102900">1</cx:pt>
          <cx:pt idx="102901">1</cx:pt>
          <cx:pt idx="102902">1</cx:pt>
          <cx:pt idx="102903">0</cx:pt>
          <cx:pt idx="102904">0</cx:pt>
          <cx:pt idx="102905">1</cx:pt>
          <cx:pt idx="102906">0</cx:pt>
          <cx:pt idx="102907">0</cx:pt>
          <cx:pt idx="102908">1</cx:pt>
          <cx:pt idx="102909">1</cx:pt>
          <cx:pt idx="102910">0</cx:pt>
          <cx:pt idx="102911">0</cx:pt>
          <cx:pt idx="102912">1</cx:pt>
          <cx:pt idx="102913">0</cx:pt>
          <cx:pt idx="102914">0</cx:pt>
          <cx:pt idx="102915">0</cx:pt>
          <cx:pt idx="102916">1</cx:pt>
          <cx:pt idx="102917">0</cx:pt>
          <cx:pt idx="102918">0</cx:pt>
          <cx:pt idx="102919">0</cx:pt>
          <cx:pt idx="102920">1</cx:pt>
          <cx:pt idx="102921">0</cx:pt>
          <cx:pt idx="102922">0</cx:pt>
          <cx:pt idx="102923">1</cx:pt>
          <cx:pt idx="102924">0</cx:pt>
          <cx:pt idx="102925">0</cx:pt>
          <cx:pt idx="102926">1</cx:pt>
          <cx:pt idx="102927">0</cx:pt>
          <cx:pt idx="102928">1</cx:pt>
          <cx:pt idx="102929">0</cx:pt>
          <cx:pt idx="102930">0</cx:pt>
          <cx:pt idx="102931">0</cx:pt>
          <cx:pt idx="102932">0</cx:pt>
          <cx:pt idx="102933">0</cx:pt>
          <cx:pt idx="102934">0</cx:pt>
          <cx:pt idx="102935">0</cx:pt>
          <cx:pt idx="102936">0</cx:pt>
          <cx:pt idx="102937">0</cx:pt>
          <cx:pt idx="102938">1</cx:pt>
          <cx:pt idx="102939">0</cx:pt>
          <cx:pt idx="102940">1</cx:pt>
          <cx:pt idx="102941">1</cx:pt>
          <cx:pt idx="102942">1</cx:pt>
          <cx:pt idx="102943">1</cx:pt>
          <cx:pt idx="102944">1</cx:pt>
          <cx:pt idx="102945">0</cx:pt>
          <cx:pt idx="102946">0</cx:pt>
          <cx:pt idx="102947">0</cx:pt>
          <cx:pt idx="102948">0</cx:pt>
          <cx:pt idx="102949">0</cx:pt>
          <cx:pt idx="102950">0</cx:pt>
          <cx:pt idx="102951">0</cx:pt>
          <cx:pt idx="102952">1</cx:pt>
          <cx:pt idx="102953">1</cx:pt>
          <cx:pt idx="102954">1</cx:pt>
          <cx:pt idx="102955">0</cx:pt>
          <cx:pt idx="102956">0</cx:pt>
          <cx:pt idx="102957">0</cx:pt>
          <cx:pt idx="102958">0</cx:pt>
          <cx:pt idx="102959">1</cx:pt>
          <cx:pt idx="102960">1</cx:pt>
          <cx:pt idx="102961">1</cx:pt>
          <cx:pt idx="102962">0</cx:pt>
          <cx:pt idx="102963">0</cx:pt>
          <cx:pt idx="102964">1</cx:pt>
          <cx:pt idx="102965">1</cx:pt>
          <cx:pt idx="102966">0</cx:pt>
          <cx:pt idx="102967">0</cx:pt>
          <cx:pt idx="102968">1</cx:pt>
          <cx:pt idx="102969">1</cx:pt>
          <cx:pt idx="102970">0</cx:pt>
          <cx:pt idx="102971">1</cx:pt>
          <cx:pt idx="102972">0</cx:pt>
          <cx:pt idx="102973">1</cx:pt>
          <cx:pt idx="102974">0</cx:pt>
          <cx:pt idx="102975">0</cx:pt>
          <cx:pt idx="102976">0</cx:pt>
          <cx:pt idx="102977">1</cx:pt>
          <cx:pt idx="102978">0</cx:pt>
          <cx:pt idx="102979">1</cx:pt>
          <cx:pt idx="102980">0</cx:pt>
          <cx:pt idx="102981">0</cx:pt>
          <cx:pt idx="102982">1</cx:pt>
          <cx:pt idx="102983">0</cx:pt>
          <cx:pt idx="102984">0</cx:pt>
          <cx:pt idx="102985">0</cx:pt>
          <cx:pt idx="102986">0</cx:pt>
          <cx:pt idx="102987">0</cx:pt>
          <cx:pt idx="102988">0</cx:pt>
          <cx:pt idx="102989">1</cx:pt>
          <cx:pt idx="102990">0</cx:pt>
          <cx:pt idx="102991">1</cx:pt>
          <cx:pt idx="102992">0</cx:pt>
          <cx:pt idx="102993">0</cx:pt>
          <cx:pt idx="102994">1</cx:pt>
          <cx:pt idx="102995">0</cx:pt>
          <cx:pt idx="102996">1</cx:pt>
          <cx:pt idx="102997">1</cx:pt>
          <cx:pt idx="102998">1</cx:pt>
          <cx:pt idx="102999">0</cx:pt>
          <cx:pt idx="103000">0</cx:pt>
          <cx:pt idx="103001">0</cx:pt>
          <cx:pt idx="103002">1</cx:pt>
          <cx:pt idx="103003">1</cx:pt>
          <cx:pt idx="103004">0</cx:pt>
          <cx:pt idx="103005">1</cx:pt>
          <cx:pt idx="103006">0</cx:pt>
          <cx:pt idx="103007">0</cx:pt>
          <cx:pt idx="103008">0</cx:pt>
          <cx:pt idx="103009">1</cx:pt>
          <cx:pt idx="103010">0</cx:pt>
          <cx:pt idx="103011">1</cx:pt>
          <cx:pt idx="103012">0</cx:pt>
          <cx:pt idx="103013">0</cx:pt>
          <cx:pt idx="103014">0</cx:pt>
          <cx:pt idx="103015">1</cx:pt>
          <cx:pt idx="103016">0</cx:pt>
          <cx:pt idx="103017">0</cx:pt>
          <cx:pt idx="103018">0</cx:pt>
          <cx:pt idx="103019">0</cx:pt>
          <cx:pt idx="103020">1</cx:pt>
          <cx:pt idx="103021">1</cx:pt>
          <cx:pt idx="103022">0</cx:pt>
          <cx:pt idx="103023">0</cx:pt>
          <cx:pt idx="103024">1</cx:pt>
          <cx:pt idx="103025">0</cx:pt>
          <cx:pt idx="103026">0</cx:pt>
          <cx:pt idx="103027">0</cx:pt>
          <cx:pt idx="103028">0</cx:pt>
          <cx:pt idx="103029">0</cx:pt>
          <cx:pt idx="103030">0</cx:pt>
          <cx:pt idx="103031">0</cx:pt>
          <cx:pt idx="103032">0</cx:pt>
          <cx:pt idx="103033">0</cx:pt>
          <cx:pt idx="103034">0</cx:pt>
          <cx:pt idx="103035">0</cx:pt>
          <cx:pt idx="103036">0</cx:pt>
          <cx:pt idx="103037">0</cx:pt>
          <cx:pt idx="103038">0</cx:pt>
          <cx:pt idx="103039">0</cx:pt>
          <cx:pt idx="103040">0</cx:pt>
          <cx:pt idx="103041">1</cx:pt>
          <cx:pt idx="103042">0</cx:pt>
          <cx:pt idx="103043">1</cx:pt>
          <cx:pt idx="103044">0</cx:pt>
          <cx:pt idx="103045">1</cx:pt>
          <cx:pt idx="103046">1</cx:pt>
          <cx:pt idx="103047">1</cx:pt>
          <cx:pt idx="103048">1</cx:pt>
          <cx:pt idx="103049">1</cx:pt>
          <cx:pt idx="103050">0</cx:pt>
          <cx:pt idx="103051">0</cx:pt>
          <cx:pt idx="103052">0</cx:pt>
          <cx:pt idx="103053">0</cx:pt>
          <cx:pt idx="103054">0</cx:pt>
          <cx:pt idx="103055">0</cx:pt>
          <cx:pt idx="103056">1</cx:pt>
          <cx:pt idx="103057">1</cx:pt>
          <cx:pt idx="103058">1</cx:pt>
          <cx:pt idx="103059">1</cx:pt>
          <cx:pt idx="103060">1</cx:pt>
          <cx:pt idx="103061">0</cx:pt>
          <cx:pt idx="103062">0</cx:pt>
          <cx:pt idx="103063">1</cx:pt>
          <cx:pt idx="103064">0</cx:pt>
          <cx:pt idx="103065">1</cx:pt>
          <cx:pt idx="103066">1</cx:pt>
          <cx:pt idx="103067">1</cx:pt>
          <cx:pt idx="103068">0</cx:pt>
          <cx:pt idx="103069">0</cx:pt>
          <cx:pt idx="103070">1</cx:pt>
          <cx:pt idx="103071">0</cx:pt>
          <cx:pt idx="103072">1</cx:pt>
          <cx:pt idx="103073">0</cx:pt>
          <cx:pt idx="103074">0</cx:pt>
          <cx:pt idx="103075">0</cx:pt>
          <cx:pt idx="103076">1</cx:pt>
          <cx:pt idx="103077">0</cx:pt>
          <cx:pt idx="103078">0</cx:pt>
          <cx:pt idx="103079">0</cx:pt>
          <cx:pt idx="103080">0</cx:pt>
          <cx:pt idx="103081">1</cx:pt>
          <cx:pt idx="103082">0</cx:pt>
          <cx:pt idx="103083">0</cx:pt>
          <cx:pt idx="103084">1</cx:pt>
          <cx:pt idx="103085">0</cx:pt>
          <cx:pt idx="103086">1</cx:pt>
          <cx:pt idx="103087">0</cx:pt>
          <cx:pt idx="103088">1</cx:pt>
          <cx:pt idx="103089">1</cx:pt>
          <cx:pt idx="103090">0</cx:pt>
          <cx:pt idx="103091">0</cx:pt>
          <cx:pt idx="103092">0</cx:pt>
          <cx:pt idx="103093">1</cx:pt>
          <cx:pt idx="103094">0</cx:pt>
          <cx:pt idx="103095">1</cx:pt>
          <cx:pt idx="103096">1</cx:pt>
          <cx:pt idx="103097">0</cx:pt>
          <cx:pt idx="103098">1</cx:pt>
          <cx:pt idx="103099">0</cx:pt>
          <cx:pt idx="103100">1</cx:pt>
          <cx:pt idx="103101">1</cx:pt>
          <cx:pt idx="103102">0</cx:pt>
          <cx:pt idx="103103">1</cx:pt>
          <cx:pt idx="103104">0</cx:pt>
          <cx:pt idx="103105">0</cx:pt>
          <cx:pt idx="103106">0</cx:pt>
          <cx:pt idx="103107">0</cx:pt>
          <cx:pt idx="103108">0</cx:pt>
          <cx:pt idx="103109">0</cx:pt>
          <cx:pt idx="103110">1</cx:pt>
          <cx:pt idx="103111">1</cx:pt>
          <cx:pt idx="103112">1</cx:pt>
          <cx:pt idx="103113">0</cx:pt>
          <cx:pt idx="103114">0</cx:pt>
          <cx:pt idx="103115">1</cx:pt>
          <cx:pt idx="103116">0</cx:pt>
          <cx:pt idx="103117">0</cx:pt>
          <cx:pt idx="103118">1</cx:pt>
          <cx:pt idx="103119">0</cx:pt>
          <cx:pt idx="103120">1</cx:pt>
          <cx:pt idx="103121">0</cx:pt>
          <cx:pt idx="103122">0</cx:pt>
          <cx:pt idx="103123">0</cx:pt>
          <cx:pt idx="103124">0</cx:pt>
          <cx:pt idx="103125">0</cx:pt>
          <cx:pt idx="103126">0</cx:pt>
          <cx:pt idx="103127">1</cx:pt>
          <cx:pt idx="103128">1</cx:pt>
          <cx:pt idx="103129">1</cx:pt>
          <cx:pt idx="103130">1</cx:pt>
          <cx:pt idx="103131">0</cx:pt>
          <cx:pt idx="103132">1</cx:pt>
          <cx:pt idx="103133">0</cx:pt>
          <cx:pt idx="103134">1</cx:pt>
          <cx:pt idx="103135">0</cx:pt>
          <cx:pt idx="103136">1</cx:pt>
          <cx:pt idx="103137">0</cx:pt>
          <cx:pt idx="103138">0</cx:pt>
          <cx:pt idx="103139">1</cx:pt>
          <cx:pt idx="103140">0</cx:pt>
          <cx:pt idx="103141">1</cx:pt>
          <cx:pt idx="103142">0</cx:pt>
          <cx:pt idx="103143">0</cx:pt>
          <cx:pt idx="103144">0</cx:pt>
          <cx:pt idx="103145">0</cx:pt>
          <cx:pt idx="103146">1</cx:pt>
          <cx:pt idx="103147">1</cx:pt>
          <cx:pt idx="103148">0</cx:pt>
          <cx:pt idx="103149">1</cx:pt>
          <cx:pt idx="103150">0</cx:pt>
          <cx:pt idx="103151">0</cx:pt>
          <cx:pt idx="103152">1</cx:pt>
          <cx:pt idx="103153">0</cx:pt>
          <cx:pt idx="103154">1</cx:pt>
          <cx:pt idx="103155">1</cx:pt>
          <cx:pt idx="103156">1</cx:pt>
          <cx:pt idx="103157">0</cx:pt>
          <cx:pt idx="103158">0</cx:pt>
          <cx:pt idx="103159">1</cx:pt>
          <cx:pt idx="103160">1</cx:pt>
          <cx:pt idx="103161">1</cx:pt>
          <cx:pt idx="103162">0</cx:pt>
          <cx:pt idx="103163">1</cx:pt>
          <cx:pt idx="103164">0</cx:pt>
          <cx:pt idx="103165">1</cx:pt>
          <cx:pt idx="103166">1</cx:pt>
          <cx:pt idx="103167">1</cx:pt>
          <cx:pt idx="103168">0</cx:pt>
          <cx:pt idx="103169">1</cx:pt>
          <cx:pt idx="103170">0</cx:pt>
          <cx:pt idx="103171">0</cx:pt>
          <cx:pt idx="103172">1</cx:pt>
          <cx:pt idx="103173">1</cx:pt>
          <cx:pt idx="103174">0</cx:pt>
          <cx:pt idx="103175">1</cx:pt>
          <cx:pt idx="103176">0</cx:pt>
          <cx:pt idx="103177">1</cx:pt>
          <cx:pt idx="103178">0</cx:pt>
          <cx:pt idx="103179">1</cx:pt>
          <cx:pt idx="103180">1</cx:pt>
          <cx:pt idx="103181">1</cx:pt>
          <cx:pt idx="103182">0</cx:pt>
          <cx:pt idx="103183">0</cx:pt>
          <cx:pt idx="103184">1</cx:pt>
          <cx:pt idx="103185">0</cx:pt>
          <cx:pt idx="103186">0</cx:pt>
          <cx:pt idx="103187">0</cx:pt>
          <cx:pt idx="103188">1</cx:pt>
          <cx:pt idx="103189">0</cx:pt>
          <cx:pt idx="103190">1</cx:pt>
          <cx:pt idx="103191">0</cx:pt>
          <cx:pt idx="103192">0</cx:pt>
          <cx:pt idx="103193">0</cx:pt>
          <cx:pt idx="103194">1</cx:pt>
          <cx:pt idx="103195">0</cx:pt>
          <cx:pt idx="103196">0</cx:pt>
          <cx:pt idx="103197">1</cx:pt>
          <cx:pt idx="103198">1</cx:pt>
          <cx:pt idx="103199">0</cx:pt>
          <cx:pt idx="103200">1</cx:pt>
          <cx:pt idx="103201">0</cx:pt>
          <cx:pt idx="103202">0</cx:pt>
          <cx:pt idx="103203">0</cx:pt>
          <cx:pt idx="103204">0</cx:pt>
          <cx:pt idx="103205">1</cx:pt>
          <cx:pt idx="103206">1</cx:pt>
          <cx:pt idx="103207">0</cx:pt>
          <cx:pt idx="103208">0</cx:pt>
          <cx:pt idx="103209">1</cx:pt>
          <cx:pt idx="103210">1</cx:pt>
          <cx:pt idx="103211">0</cx:pt>
          <cx:pt idx="103212">1</cx:pt>
          <cx:pt idx="103213">0</cx:pt>
          <cx:pt idx="103214">0</cx:pt>
          <cx:pt idx="103215">0</cx:pt>
          <cx:pt idx="103216">0</cx:pt>
          <cx:pt idx="103217">0</cx:pt>
          <cx:pt idx="103218">1</cx:pt>
          <cx:pt idx="103219">0</cx:pt>
          <cx:pt idx="103220">1</cx:pt>
          <cx:pt idx="103221">1</cx:pt>
          <cx:pt idx="103222">1</cx:pt>
          <cx:pt idx="103223">1</cx:pt>
          <cx:pt idx="103224">0</cx:pt>
          <cx:pt idx="103225">0</cx:pt>
          <cx:pt idx="103226">0</cx:pt>
          <cx:pt idx="103227">0</cx:pt>
          <cx:pt idx="103228">0</cx:pt>
          <cx:pt idx="103229">1</cx:pt>
          <cx:pt idx="103230">1</cx:pt>
          <cx:pt idx="103231">1</cx:pt>
          <cx:pt idx="103232">1</cx:pt>
          <cx:pt idx="103233">0</cx:pt>
          <cx:pt idx="103234">0</cx:pt>
          <cx:pt idx="103235">0</cx:pt>
          <cx:pt idx="103236">1</cx:pt>
          <cx:pt idx="103237">1</cx:pt>
          <cx:pt idx="103238">0</cx:pt>
          <cx:pt idx="103239">0</cx:pt>
          <cx:pt idx="103240">1</cx:pt>
          <cx:pt idx="103241">1</cx:pt>
          <cx:pt idx="103242">0</cx:pt>
          <cx:pt idx="103243">0</cx:pt>
          <cx:pt idx="103244">1</cx:pt>
          <cx:pt idx="103245">0</cx:pt>
          <cx:pt idx="103246">0</cx:pt>
          <cx:pt idx="103247">0</cx:pt>
          <cx:pt idx="103248">1</cx:pt>
          <cx:pt idx="103249">1</cx:pt>
          <cx:pt idx="103250">1</cx:pt>
          <cx:pt idx="103251">1</cx:pt>
          <cx:pt idx="103252">0</cx:pt>
          <cx:pt idx="103253">0</cx:pt>
          <cx:pt idx="103254">1</cx:pt>
          <cx:pt idx="103255">1</cx:pt>
          <cx:pt idx="103256">1</cx:pt>
          <cx:pt idx="103257">1</cx:pt>
          <cx:pt idx="103258">1</cx:pt>
          <cx:pt idx="103259">0</cx:pt>
          <cx:pt idx="103260">0</cx:pt>
          <cx:pt idx="103261">0</cx:pt>
          <cx:pt idx="103262">1</cx:pt>
          <cx:pt idx="103263">0</cx:pt>
          <cx:pt idx="103264">0</cx:pt>
          <cx:pt idx="103265">0</cx:pt>
          <cx:pt idx="103266">0</cx:pt>
          <cx:pt idx="103267">0</cx:pt>
          <cx:pt idx="103268">0</cx:pt>
          <cx:pt idx="103269">1</cx:pt>
          <cx:pt idx="103270">1</cx:pt>
          <cx:pt idx="103271">0</cx:pt>
          <cx:pt idx="103272">0</cx:pt>
          <cx:pt idx="103273">0</cx:pt>
          <cx:pt idx="103274">1</cx:pt>
          <cx:pt idx="103275">1</cx:pt>
          <cx:pt idx="103276">0</cx:pt>
          <cx:pt idx="103277">0</cx:pt>
          <cx:pt idx="103278">0</cx:pt>
          <cx:pt idx="103279">1</cx:pt>
          <cx:pt idx="103280">0</cx:pt>
          <cx:pt idx="103281">0</cx:pt>
          <cx:pt idx="103282">0</cx:pt>
          <cx:pt idx="103283">0</cx:pt>
          <cx:pt idx="103284">1</cx:pt>
          <cx:pt idx="103285">1</cx:pt>
          <cx:pt idx="103286">1</cx:pt>
          <cx:pt idx="103287">1</cx:pt>
          <cx:pt idx="103288">0</cx:pt>
          <cx:pt idx="103289">0</cx:pt>
          <cx:pt idx="103290">0</cx:pt>
          <cx:pt idx="103291">0</cx:pt>
          <cx:pt idx="103292">1</cx:pt>
          <cx:pt idx="103293">0</cx:pt>
          <cx:pt idx="103294">1</cx:pt>
          <cx:pt idx="103295">1</cx:pt>
          <cx:pt idx="103296">0</cx:pt>
          <cx:pt idx="103297">0</cx:pt>
          <cx:pt idx="103298">1</cx:pt>
          <cx:pt idx="103299">0</cx:pt>
          <cx:pt idx="103300">1</cx:pt>
          <cx:pt idx="103301">0</cx:pt>
          <cx:pt idx="103302">0</cx:pt>
          <cx:pt idx="103303">0</cx:pt>
          <cx:pt idx="103304">1</cx:pt>
          <cx:pt idx="103305">0</cx:pt>
          <cx:pt idx="103306">1</cx:pt>
          <cx:pt idx="103307">1</cx:pt>
          <cx:pt idx="103308">0</cx:pt>
          <cx:pt idx="103309">1</cx:pt>
          <cx:pt idx="103310">1</cx:pt>
          <cx:pt idx="103311">0</cx:pt>
          <cx:pt idx="103312">0</cx:pt>
          <cx:pt idx="103313">1</cx:pt>
          <cx:pt idx="103314">0</cx:pt>
          <cx:pt idx="103315">1</cx:pt>
          <cx:pt idx="103316">0</cx:pt>
          <cx:pt idx="103317">0</cx:pt>
          <cx:pt idx="103318">0</cx:pt>
          <cx:pt idx="103319">1</cx:pt>
          <cx:pt idx="103320">1</cx:pt>
          <cx:pt idx="103321">1</cx:pt>
          <cx:pt idx="103322">1</cx:pt>
          <cx:pt idx="103323">1</cx:pt>
          <cx:pt idx="103324">0</cx:pt>
          <cx:pt idx="103325">0</cx:pt>
          <cx:pt idx="103326">1</cx:pt>
          <cx:pt idx="103327">1</cx:pt>
          <cx:pt idx="103328">1</cx:pt>
          <cx:pt idx="103329">1</cx:pt>
          <cx:pt idx="103330">0</cx:pt>
          <cx:pt idx="103331">1</cx:pt>
          <cx:pt idx="103332">0</cx:pt>
          <cx:pt idx="103333">1</cx:pt>
          <cx:pt idx="103334">0</cx:pt>
          <cx:pt idx="103335">0</cx:pt>
          <cx:pt idx="103336">0</cx:pt>
          <cx:pt idx="103337">0</cx:pt>
          <cx:pt idx="103338">1</cx:pt>
          <cx:pt idx="103339">0</cx:pt>
          <cx:pt idx="103340">0</cx:pt>
          <cx:pt idx="103341">0</cx:pt>
          <cx:pt idx="103342">1</cx:pt>
          <cx:pt idx="103343">0</cx:pt>
          <cx:pt idx="103344">1</cx:pt>
          <cx:pt idx="103345">0</cx:pt>
          <cx:pt idx="103346">0</cx:pt>
          <cx:pt idx="103347">0</cx:pt>
          <cx:pt idx="103348">1</cx:pt>
          <cx:pt idx="103349">0</cx:pt>
          <cx:pt idx="103350">0</cx:pt>
          <cx:pt idx="103351">1</cx:pt>
          <cx:pt idx="103352">0</cx:pt>
          <cx:pt idx="103353">1</cx:pt>
          <cx:pt idx="103354">0</cx:pt>
          <cx:pt idx="103355">0</cx:pt>
          <cx:pt idx="103356">0</cx:pt>
          <cx:pt idx="103357">1</cx:pt>
          <cx:pt idx="103358">1</cx:pt>
          <cx:pt idx="103359">1</cx:pt>
          <cx:pt idx="103360">0</cx:pt>
          <cx:pt idx="103361">1</cx:pt>
          <cx:pt idx="103362">1</cx:pt>
          <cx:pt idx="103363">0</cx:pt>
          <cx:pt idx="103364">1</cx:pt>
          <cx:pt idx="103365">0</cx:pt>
          <cx:pt idx="103366">0</cx:pt>
          <cx:pt idx="103367">0</cx:pt>
          <cx:pt idx="103368">0</cx:pt>
          <cx:pt idx="103369">0</cx:pt>
          <cx:pt idx="103370">0</cx:pt>
          <cx:pt idx="103371">1</cx:pt>
          <cx:pt idx="103372">1</cx:pt>
          <cx:pt idx="103373">1</cx:pt>
          <cx:pt idx="103374">0</cx:pt>
          <cx:pt idx="103375">1</cx:pt>
          <cx:pt idx="103376">0</cx:pt>
          <cx:pt idx="103377">1</cx:pt>
          <cx:pt idx="103378">1</cx:pt>
          <cx:pt idx="103379">1</cx:pt>
          <cx:pt idx="103380">1</cx:pt>
          <cx:pt idx="103381">0</cx:pt>
          <cx:pt idx="103382">0</cx:pt>
          <cx:pt idx="103383">1</cx:pt>
          <cx:pt idx="103384">0</cx:pt>
          <cx:pt idx="103385">0</cx:pt>
          <cx:pt idx="103386">1</cx:pt>
          <cx:pt idx="103387">0</cx:pt>
          <cx:pt idx="103388">0</cx:pt>
          <cx:pt idx="103389">0</cx:pt>
          <cx:pt idx="103390">1</cx:pt>
          <cx:pt idx="103391">1</cx:pt>
          <cx:pt idx="103392">0</cx:pt>
          <cx:pt idx="103393">0</cx:pt>
          <cx:pt idx="103394">0</cx:pt>
          <cx:pt idx="103395">0</cx:pt>
          <cx:pt idx="103396">0</cx:pt>
          <cx:pt idx="103397">0</cx:pt>
          <cx:pt idx="103398">0</cx:pt>
          <cx:pt idx="103399">0</cx:pt>
          <cx:pt idx="103400">0</cx:pt>
          <cx:pt idx="103401">0</cx:pt>
          <cx:pt idx="103402">0</cx:pt>
          <cx:pt idx="103403">1</cx:pt>
          <cx:pt idx="103404">0</cx:pt>
          <cx:pt idx="103405">0</cx:pt>
          <cx:pt idx="103406">1</cx:pt>
          <cx:pt idx="103407">0</cx:pt>
          <cx:pt idx="103408">0</cx:pt>
          <cx:pt idx="103409">0</cx:pt>
          <cx:pt idx="103410">0</cx:pt>
          <cx:pt idx="103411">0</cx:pt>
          <cx:pt idx="103412">1</cx:pt>
          <cx:pt idx="103413">0</cx:pt>
          <cx:pt idx="103414">1</cx:pt>
          <cx:pt idx="103415">0</cx:pt>
          <cx:pt idx="103416">0</cx:pt>
          <cx:pt idx="103417">0</cx:pt>
          <cx:pt idx="103418">0</cx:pt>
          <cx:pt idx="103419">0</cx:pt>
          <cx:pt idx="103420">0</cx:pt>
          <cx:pt idx="103421">0</cx:pt>
          <cx:pt idx="103422">1</cx:pt>
          <cx:pt idx="103423">0</cx:pt>
          <cx:pt idx="103424">0</cx:pt>
          <cx:pt idx="103425">1</cx:pt>
          <cx:pt idx="103426">1</cx:pt>
          <cx:pt idx="103427">1</cx:pt>
          <cx:pt idx="103428">1</cx:pt>
          <cx:pt idx="103429">1</cx:pt>
          <cx:pt idx="103430">0</cx:pt>
          <cx:pt idx="103431">0</cx:pt>
          <cx:pt idx="103432">0</cx:pt>
          <cx:pt idx="103433">1</cx:pt>
          <cx:pt idx="103434">1</cx:pt>
          <cx:pt idx="103435">0</cx:pt>
          <cx:pt idx="103436">0</cx:pt>
          <cx:pt idx="103437">0</cx:pt>
          <cx:pt idx="103438">0</cx:pt>
          <cx:pt idx="103439">0</cx:pt>
          <cx:pt idx="103440">1</cx:pt>
          <cx:pt idx="103441">1</cx:pt>
          <cx:pt idx="103442">0</cx:pt>
          <cx:pt idx="103443">1</cx:pt>
          <cx:pt idx="103444">1</cx:pt>
          <cx:pt idx="103445">0</cx:pt>
          <cx:pt idx="103446">0</cx:pt>
          <cx:pt idx="103447">0</cx:pt>
          <cx:pt idx="103448">1</cx:pt>
          <cx:pt idx="103449">0</cx:pt>
          <cx:pt idx="103450">1</cx:pt>
          <cx:pt idx="103451">0</cx:pt>
          <cx:pt idx="103452">1</cx:pt>
          <cx:pt idx="103453">0</cx:pt>
          <cx:pt idx="103454">1</cx:pt>
          <cx:pt idx="103455">1</cx:pt>
          <cx:pt idx="103456">0</cx:pt>
          <cx:pt idx="103457">0</cx:pt>
          <cx:pt idx="103458">1</cx:pt>
          <cx:pt idx="103459">1</cx:pt>
          <cx:pt idx="103460">0</cx:pt>
          <cx:pt idx="103461">0</cx:pt>
          <cx:pt idx="103462">0</cx:pt>
          <cx:pt idx="103463">0</cx:pt>
          <cx:pt idx="103464">0</cx:pt>
          <cx:pt idx="103465">1</cx:pt>
          <cx:pt idx="103466">1</cx:pt>
          <cx:pt idx="103467">1</cx:pt>
          <cx:pt idx="103468">1</cx:pt>
          <cx:pt idx="103469">0</cx:pt>
          <cx:pt idx="103470">1</cx:pt>
          <cx:pt idx="103471">0</cx:pt>
          <cx:pt idx="103472">0</cx:pt>
          <cx:pt idx="103473">0</cx:pt>
          <cx:pt idx="103474">0</cx:pt>
          <cx:pt idx="103475">1</cx:pt>
          <cx:pt idx="103476">0</cx:pt>
          <cx:pt idx="103477">0</cx:pt>
          <cx:pt idx="103478">1</cx:pt>
          <cx:pt idx="103479">0</cx:pt>
          <cx:pt idx="103480">0</cx:pt>
          <cx:pt idx="103481">0</cx:pt>
          <cx:pt idx="103482">1</cx:pt>
          <cx:pt idx="103483">1</cx:pt>
          <cx:pt idx="103484">0</cx:pt>
          <cx:pt idx="103485">1</cx:pt>
          <cx:pt idx="103486">0</cx:pt>
          <cx:pt idx="103487">0</cx:pt>
          <cx:pt idx="103488">0</cx:pt>
          <cx:pt idx="103489">0</cx:pt>
          <cx:pt idx="103490">0</cx:pt>
          <cx:pt idx="103491">0</cx:pt>
          <cx:pt idx="103492">1</cx:pt>
          <cx:pt idx="103493">0</cx:pt>
          <cx:pt idx="103494">0</cx:pt>
          <cx:pt idx="103495">1</cx:pt>
          <cx:pt idx="103496">0</cx:pt>
          <cx:pt idx="103497">1</cx:pt>
          <cx:pt idx="103498">1</cx:pt>
          <cx:pt idx="103499">0</cx:pt>
          <cx:pt idx="103500">0</cx:pt>
          <cx:pt idx="103501">0</cx:pt>
          <cx:pt idx="103502">0</cx:pt>
          <cx:pt idx="103503">1</cx:pt>
          <cx:pt idx="103504">0</cx:pt>
          <cx:pt idx="103505">1</cx:pt>
          <cx:pt idx="103506">1</cx:pt>
          <cx:pt idx="103507">1</cx:pt>
          <cx:pt idx="103508">1</cx:pt>
          <cx:pt idx="103509">1</cx:pt>
          <cx:pt idx="103510">1</cx:pt>
          <cx:pt idx="103511">1</cx:pt>
          <cx:pt idx="103512">1</cx:pt>
          <cx:pt idx="103513">0</cx:pt>
          <cx:pt idx="103514">1</cx:pt>
          <cx:pt idx="103515">1</cx:pt>
          <cx:pt idx="103516">0</cx:pt>
          <cx:pt idx="103517">1</cx:pt>
          <cx:pt idx="103518">0</cx:pt>
          <cx:pt idx="103519">1</cx:pt>
          <cx:pt idx="103520">0</cx:pt>
          <cx:pt idx="103521">1</cx:pt>
          <cx:pt idx="103522">0</cx:pt>
          <cx:pt idx="103523">0</cx:pt>
          <cx:pt idx="103524">0</cx:pt>
          <cx:pt idx="103525">1</cx:pt>
          <cx:pt idx="103526">1</cx:pt>
          <cx:pt idx="103527">0</cx:pt>
          <cx:pt idx="103528">1</cx:pt>
          <cx:pt idx="103529">1</cx:pt>
          <cx:pt idx="103530">0</cx:pt>
          <cx:pt idx="103531">1</cx:pt>
          <cx:pt idx="103532">0</cx:pt>
          <cx:pt idx="103533">1</cx:pt>
          <cx:pt idx="103534">1</cx:pt>
          <cx:pt idx="103535">0</cx:pt>
          <cx:pt idx="103536">0</cx:pt>
          <cx:pt idx="103537">0</cx:pt>
          <cx:pt idx="103538">0</cx:pt>
          <cx:pt idx="103539">1</cx:pt>
          <cx:pt idx="103540">0</cx:pt>
          <cx:pt idx="103541">0</cx:pt>
          <cx:pt idx="103542">0</cx:pt>
          <cx:pt idx="103543">0</cx:pt>
          <cx:pt idx="103544">1</cx:pt>
          <cx:pt idx="103545">1</cx:pt>
          <cx:pt idx="103546">0</cx:pt>
          <cx:pt idx="103547">1</cx:pt>
          <cx:pt idx="103548">1</cx:pt>
          <cx:pt idx="103549">0</cx:pt>
          <cx:pt idx="103550">1</cx:pt>
          <cx:pt idx="103551">0</cx:pt>
          <cx:pt idx="103552">0</cx:pt>
          <cx:pt idx="103553">1</cx:pt>
          <cx:pt idx="103554">1</cx:pt>
          <cx:pt idx="103555">1</cx:pt>
          <cx:pt idx="103556">0</cx:pt>
          <cx:pt idx="103557">0</cx:pt>
          <cx:pt idx="103558">1</cx:pt>
          <cx:pt idx="103559">1</cx:pt>
          <cx:pt idx="103560">1</cx:pt>
          <cx:pt idx="103561">0</cx:pt>
          <cx:pt idx="103562">1</cx:pt>
          <cx:pt idx="103563">1</cx:pt>
          <cx:pt idx="103564">1</cx:pt>
          <cx:pt idx="103565">1</cx:pt>
          <cx:pt idx="103566">0</cx:pt>
          <cx:pt idx="103567">0</cx:pt>
          <cx:pt idx="103568">1</cx:pt>
          <cx:pt idx="103569">1</cx:pt>
          <cx:pt idx="103570">0</cx:pt>
          <cx:pt idx="103571">0</cx:pt>
          <cx:pt idx="103572">1</cx:pt>
          <cx:pt idx="103573">0</cx:pt>
          <cx:pt idx="103574">1</cx:pt>
          <cx:pt idx="103575">1</cx:pt>
          <cx:pt idx="103576">1</cx:pt>
          <cx:pt idx="103577">1</cx:pt>
          <cx:pt idx="103578">1</cx:pt>
          <cx:pt idx="103579">1</cx:pt>
          <cx:pt idx="103580">1</cx:pt>
          <cx:pt idx="103581">1</cx:pt>
          <cx:pt idx="103582">0</cx:pt>
          <cx:pt idx="103583">0</cx:pt>
          <cx:pt idx="103584">1</cx:pt>
          <cx:pt idx="103585">0</cx:pt>
          <cx:pt idx="103586">0</cx:pt>
          <cx:pt idx="103587">0</cx:pt>
          <cx:pt idx="103588">0</cx:pt>
          <cx:pt idx="103589">0</cx:pt>
          <cx:pt idx="103590">0</cx:pt>
          <cx:pt idx="103591">0</cx:pt>
          <cx:pt idx="103592">1</cx:pt>
          <cx:pt idx="103593">0</cx:pt>
          <cx:pt idx="103594">0</cx:pt>
          <cx:pt idx="103595">0</cx:pt>
          <cx:pt idx="103596">1</cx:pt>
          <cx:pt idx="103597">0</cx:pt>
          <cx:pt idx="103598">0</cx:pt>
          <cx:pt idx="103599">0</cx:pt>
          <cx:pt idx="103600">1</cx:pt>
          <cx:pt idx="103601">0</cx:pt>
          <cx:pt idx="103602">1</cx:pt>
          <cx:pt idx="103603">1</cx:pt>
          <cx:pt idx="103604">1</cx:pt>
          <cx:pt idx="103605">0</cx:pt>
          <cx:pt idx="103606">1</cx:pt>
          <cx:pt idx="103607">0</cx:pt>
          <cx:pt idx="103608">0</cx:pt>
          <cx:pt idx="103609">1</cx:pt>
          <cx:pt idx="103610">0</cx:pt>
          <cx:pt idx="103611">0</cx:pt>
          <cx:pt idx="103612">1</cx:pt>
          <cx:pt idx="103613">0</cx:pt>
          <cx:pt idx="103614">0</cx:pt>
          <cx:pt idx="103615">0</cx:pt>
          <cx:pt idx="103616">0</cx:pt>
          <cx:pt idx="103617">0</cx:pt>
          <cx:pt idx="103618">1</cx:pt>
          <cx:pt idx="103619">0</cx:pt>
          <cx:pt idx="103620">0</cx:pt>
          <cx:pt idx="103621">0</cx:pt>
          <cx:pt idx="103622">0</cx:pt>
          <cx:pt idx="103623">0</cx:pt>
          <cx:pt idx="103624">1</cx:pt>
          <cx:pt idx="103625">0</cx:pt>
          <cx:pt idx="103626">0</cx:pt>
          <cx:pt idx="103627">1</cx:pt>
          <cx:pt idx="103628">0</cx:pt>
          <cx:pt idx="103629">0</cx:pt>
          <cx:pt idx="103630">1</cx:pt>
          <cx:pt idx="103631">0</cx:pt>
          <cx:pt idx="103632">1</cx:pt>
          <cx:pt idx="103633">1</cx:pt>
          <cx:pt idx="103634">1</cx:pt>
          <cx:pt idx="103635">1</cx:pt>
          <cx:pt idx="103636">0</cx:pt>
          <cx:pt idx="103637">1</cx:pt>
          <cx:pt idx="103638">1</cx:pt>
          <cx:pt idx="103639">0</cx:pt>
          <cx:pt idx="103640">0</cx:pt>
          <cx:pt idx="103641">0</cx:pt>
          <cx:pt idx="103642">0</cx:pt>
          <cx:pt idx="103643">1</cx:pt>
          <cx:pt idx="103644">0</cx:pt>
          <cx:pt idx="103645">0</cx:pt>
          <cx:pt idx="103646">0</cx:pt>
          <cx:pt idx="103647">0</cx:pt>
          <cx:pt idx="103648">1</cx:pt>
          <cx:pt idx="103649">0</cx:pt>
          <cx:pt idx="103650">0</cx:pt>
          <cx:pt idx="103651">1</cx:pt>
          <cx:pt idx="103652">0</cx:pt>
          <cx:pt idx="103653">1</cx:pt>
          <cx:pt idx="103654">0</cx:pt>
          <cx:pt idx="103655">0</cx:pt>
          <cx:pt idx="103656">0</cx:pt>
          <cx:pt idx="103657">1</cx:pt>
          <cx:pt idx="103658">0</cx:pt>
          <cx:pt idx="103659">1</cx:pt>
          <cx:pt idx="103660">0</cx:pt>
          <cx:pt idx="103661">1</cx:pt>
          <cx:pt idx="103662">0</cx:pt>
          <cx:pt idx="103663">0</cx:pt>
          <cx:pt idx="103664">0</cx:pt>
          <cx:pt idx="103665">0</cx:pt>
          <cx:pt idx="103666">1</cx:pt>
          <cx:pt idx="103667">1</cx:pt>
          <cx:pt idx="103668">1</cx:pt>
          <cx:pt idx="103669">1</cx:pt>
          <cx:pt idx="103670">0</cx:pt>
          <cx:pt idx="103671">0</cx:pt>
          <cx:pt idx="103672">0</cx:pt>
          <cx:pt idx="103673">1</cx:pt>
          <cx:pt idx="103674">1</cx:pt>
          <cx:pt idx="103675">0</cx:pt>
          <cx:pt idx="103676">0</cx:pt>
          <cx:pt idx="103677">1</cx:pt>
          <cx:pt idx="103678">0</cx:pt>
          <cx:pt idx="103679">1</cx:pt>
          <cx:pt idx="103680">0</cx:pt>
          <cx:pt idx="103681">1</cx:pt>
          <cx:pt idx="103682">0</cx:pt>
          <cx:pt idx="103683">1</cx:pt>
          <cx:pt idx="103684">0</cx:pt>
          <cx:pt idx="103685">0</cx:pt>
          <cx:pt idx="103686">1</cx:pt>
          <cx:pt idx="103687">1</cx:pt>
          <cx:pt idx="103688">1</cx:pt>
          <cx:pt idx="103689">0</cx:pt>
          <cx:pt idx="103690">0</cx:pt>
          <cx:pt idx="103691">0</cx:pt>
          <cx:pt idx="103692">0</cx:pt>
          <cx:pt idx="103693">0</cx:pt>
          <cx:pt idx="103694">0</cx:pt>
          <cx:pt idx="103695">0</cx:pt>
          <cx:pt idx="103696">0</cx:pt>
          <cx:pt idx="103697">1</cx:pt>
          <cx:pt idx="103698">1</cx:pt>
          <cx:pt idx="103699">1</cx:pt>
          <cx:pt idx="103700">0</cx:pt>
          <cx:pt idx="103701">0</cx:pt>
          <cx:pt idx="103702">0</cx:pt>
          <cx:pt idx="103703">1</cx:pt>
          <cx:pt idx="103704">0</cx:pt>
          <cx:pt idx="103705">1</cx:pt>
          <cx:pt idx="103706">1</cx:pt>
          <cx:pt idx="103707">1</cx:pt>
          <cx:pt idx="103708">1</cx:pt>
          <cx:pt idx="103709">1</cx:pt>
          <cx:pt idx="103710">1</cx:pt>
          <cx:pt idx="103711">1</cx:pt>
          <cx:pt idx="103712">0</cx:pt>
          <cx:pt idx="103713">1</cx:pt>
          <cx:pt idx="103714">0</cx:pt>
          <cx:pt idx="103715">0</cx:pt>
          <cx:pt idx="103716">0</cx:pt>
          <cx:pt idx="103717">1</cx:pt>
          <cx:pt idx="103718">0</cx:pt>
          <cx:pt idx="103719">1</cx:pt>
          <cx:pt idx="103720">1</cx:pt>
          <cx:pt idx="103721">1</cx:pt>
          <cx:pt idx="103722">0</cx:pt>
          <cx:pt idx="103723">1</cx:pt>
          <cx:pt idx="103724">0</cx:pt>
          <cx:pt idx="103725">0</cx:pt>
          <cx:pt idx="103726">0</cx:pt>
          <cx:pt idx="103727">0</cx:pt>
          <cx:pt idx="103728">1</cx:pt>
          <cx:pt idx="103729">0</cx:pt>
          <cx:pt idx="103730">0</cx:pt>
          <cx:pt idx="103731">1</cx:pt>
          <cx:pt idx="103732">1</cx:pt>
          <cx:pt idx="103733">1</cx:pt>
          <cx:pt idx="103734">1</cx:pt>
          <cx:pt idx="103735">0</cx:pt>
          <cx:pt idx="103736">0</cx:pt>
          <cx:pt idx="103737">1</cx:pt>
          <cx:pt idx="103738">1</cx:pt>
          <cx:pt idx="103739">1</cx:pt>
          <cx:pt idx="103740">1</cx:pt>
          <cx:pt idx="103741">0</cx:pt>
          <cx:pt idx="103742">0</cx:pt>
          <cx:pt idx="103743">1</cx:pt>
          <cx:pt idx="103744">0</cx:pt>
          <cx:pt idx="103745">1</cx:pt>
          <cx:pt idx="103746">1</cx:pt>
          <cx:pt idx="103747">1</cx:pt>
          <cx:pt idx="103748">0</cx:pt>
          <cx:pt idx="103749">0</cx:pt>
          <cx:pt idx="103750">0</cx:pt>
          <cx:pt idx="103751">0</cx:pt>
          <cx:pt idx="103752">1</cx:pt>
          <cx:pt idx="103753">0</cx:pt>
          <cx:pt idx="103754">1</cx:pt>
          <cx:pt idx="103755">0</cx:pt>
          <cx:pt idx="103756">0</cx:pt>
          <cx:pt idx="103757">1</cx:pt>
          <cx:pt idx="103758">0</cx:pt>
          <cx:pt idx="103759">0</cx:pt>
          <cx:pt idx="103760">0</cx:pt>
          <cx:pt idx="103761">0</cx:pt>
          <cx:pt idx="103762">0</cx:pt>
          <cx:pt idx="103763">1</cx:pt>
          <cx:pt idx="103764">1</cx:pt>
          <cx:pt idx="103765">1</cx:pt>
          <cx:pt idx="103766">1</cx:pt>
          <cx:pt idx="103767">1</cx:pt>
          <cx:pt idx="103768">0</cx:pt>
          <cx:pt idx="103769">1</cx:pt>
          <cx:pt idx="103770">1</cx:pt>
          <cx:pt idx="103771">1</cx:pt>
          <cx:pt idx="103772">1</cx:pt>
          <cx:pt idx="103773">0</cx:pt>
          <cx:pt idx="103774">0</cx:pt>
          <cx:pt idx="103775">1</cx:pt>
          <cx:pt idx="103776">1</cx:pt>
          <cx:pt idx="103777">1</cx:pt>
          <cx:pt idx="103778">0</cx:pt>
          <cx:pt idx="103779">0</cx:pt>
          <cx:pt idx="103780">0</cx:pt>
          <cx:pt idx="103781">1</cx:pt>
          <cx:pt idx="103782">1</cx:pt>
          <cx:pt idx="103783">0</cx:pt>
          <cx:pt idx="103784">0</cx:pt>
          <cx:pt idx="103785">0</cx:pt>
          <cx:pt idx="103786">1</cx:pt>
          <cx:pt idx="103787">0</cx:pt>
          <cx:pt idx="103788">0</cx:pt>
          <cx:pt idx="103789">1</cx:pt>
          <cx:pt idx="103790">0</cx:pt>
          <cx:pt idx="103791">0</cx:pt>
          <cx:pt idx="103792">1</cx:pt>
          <cx:pt idx="103793">1</cx:pt>
          <cx:pt idx="103794">1</cx:pt>
          <cx:pt idx="103795">1</cx:pt>
          <cx:pt idx="103796">0</cx:pt>
          <cx:pt idx="103797">1</cx:pt>
          <cx:pt idx="103798">1</cx:pt>
          <cx:pt idx="103799">0</cx:pt>
          <cx:pt idx="103800">1</cx:pt>
          <cx:pt idx="103801">0</cx:pt>
          <cx:pt idx="103802">0</cx:pt>
          <cx:pt idx="103803">0</cx:pt>
          <cx:pt idx="103804">0</cx:pt>
          <cx:pt idx="103805">0</cx:pt>
          <cx:pt idx="103806">0</cx:pt>
          <cx:pt idx="103807">1</cx:pt>
          <cx:pt idx="103808">1</cx:pt>
          <cx:pt idx="103809">1</cx:pt>
          <cx:pt idx="103810">1</cx:pt>
          <cx:pt idx="103811">0</cx:pt>
          <cx:pt idx="103812">0</cx:pt>
          <cx:pt idx="103813">0</cx:pt>
          <cx:pt idx="103814">0</cx:pt>
          <cx:pt idx="103815">1</cx:pt>
          <cx:pt idx="103816">1</cx:pt>
          <cx:pt idx="103817">1</cx:pt>
          <cx:pt idx="103818">0</cx:pt>
          <cx:pt idx="103819">1</cx:pt>
          <cx:pt idx="103820">0</cx:pt>
          <cx:pt idx="103821">0</cx:pt>
          <cx:pt idx="103822">1</cx:pt>
          <cx:pt idx="103823">0</cx:pt>
          <cx:pt idx="103824">1</cx:pt>
          <cx:pt idx="103825">1</cx:pt>
          <cx:pt idx="103826">0</cx:pt>
          <cx:pt idx="103827">1</cx:pt>
          <cx:pt idx="103828">1</cx:pt>
          <cx:pt idx="103829">1</cx:pt>
          <cx:pt idx="103830">0</cx:pt>
          <cx:pt idx="103831">0</cx:pt>
          <cx:pt idx="103832">1</cx:pt>
          <cx:pt idx="103833">1</cx:pt>
          <cx:pt idx="103834">1</cx:pt>
          <cx:pt idx="103835">1</cx:pt>
          <cx:pt idx="103836">1</cx:pt>
          <cx:pt idx="103837">0</cx:pt>
          <cx:pt idx="103838">1</cx:pt>
          <cx:pt idx="103839">0</cx:pt>
          <cx:pt idx="103840">0</cx:pt>
          <cx:pt idx="103841">0</cx:pt>
          <cx:pt idx="103842">1</cx:pt>
          <cx:pt idx="103843">1</cx:pt>
          <cx:pt idx="103844">1</cx:pt>
          <cx:pt idx="103845">0</cx:pt>
          <cx:pt idx="103846">0</cx:pt>
          <cx:pt idx="103847">1</cx:pt>
          <cx:pt idx="103848">0</cx:pt>
          <cx:pt idx="103849">1</cx:pt>
          <cx:pt idx="103850">0</cx:pt>
          <cx:pt idx="103851">0</cx:pt>
          <cx:pt idx="103852">0</cx:pt>
          <cx:pt idx="103853">1</cx:pt>
          <cx:pt idx="103854">1</cx:pt>
          <cx:pt idx="103855">0</cx:pt>
          <cx:pt idx="103856">0</cx:pt>
          <cx:pt idx="103857">0</cx:pt>
          <cx:pt idx="103858">1</cx:pt>
          <cx:pt idx="103859">1</cx:pt>
          <cx:pt idx="103860">0</cx:pt>
          <cx:pt idx="103861">1</cx:pt>
          <cx:pt idx="103862">0</cx:pt>
          <cx:pt idx="103863">0</cx:pt>
          <cx:pt idx="103864">0</cx:pt>
          <cx:pt idx="103865">1</cx:pt>
          <cx:pt idx="103866">0</cx:pt>
          <cx:pt idx="103867">0</cx:pt>
          <cx:pt idx="103868">0</cx:pt>
          <cx:pt idx="103869">0</cx:pt>
          <cx:pt idx="103870">1</cx:pt>
          <cx:pt idx="103871">0</cx:pt>
          <cx:pt idx="103872">1</cx:pt>
          <cx:pt idx="103873">0</cx:pt>
          <cx:pt idx="103874">0</cx:pt>
          <cx:pt idx="103875">1</cx:pt>
          <cx:pt idx="103876">1</cx:pt>
          <cx:pt idx="103877">1</cx:pt>
          <cx:pt idx="103878">0</cx:pt>
          <cx:pt idx="103879">1</cx:pt>
          <cx:pt idx="103880">1</cx:pt>
          <cx:pt idx="103881">1</cx:pt>
          <cx:pt idx="103882">0</cx:pt>
          <cx:pt idx="103883">0</cx:pt>
          <cx:pt idx="103884">0</cx:pt>
          <cx:pt idx="103885">1</cx:pt>
          <cx:pt idx="103886">0</cx:pt>
          <cx:pt idx="103887">1</cx:pt>
          <cx:pt idx="103888">0</cx:pt>
          <cx:pt idx="103889">1</cx:pt>
          <cx:pt idx="103890">1</cx:pt>
          <cx:pt idx="103891">1</cx:pt>
          <cx:pt idx="103892">0</cx:pt>
          <cx:pt idx="103893">0</cx:pt>
          <cx:pt idx="103894">1</cx:pt>
          <cx:pt idx="103895">0</cx:pt>
          <cx:pt idx="103896">0</cx:pt>
          <cx:pt idx="103897">1</cx:pt>
          <cx:pt idx="103898">0</cx:pt>
          <cx:pt idx="103899">0</cx:pt>
          <cx:pt idx="103900">1</cx:pt>
          <cx:pt idx="103901">0</cx:pt>
          <cx:pt idx="103902">0</cx:pt>
          <cx:pt idx="103903">0</cx:pt>
        </cx:lvl>
      </cx:strDim>
      <cx:numDim type="val">
        <cx:f>train!$AC$2:$AC$103905</cx:f>
        <cx:lvl ptCount="103904" formatCode="General">
          <cx:pt idx="0">3</cx:pt>
          <cx:pt idx="1">3</cx:pt>
          <cx:pt idx="2">2</cx:pt>
          <cx:pt idx="3">5</cx:pt>
          <cx:pt idx="4">3</cx:pt>
          <cx:pt idx="5">2</cx:pt>
          <cx:pt idx="6">2</cx:pt>
          <cx:pt idx="7">4</cx:pt>
          <cx:pt idx="8">2</cx:pt>
          <cx:pt idx="9">3</cx:pt>
          <cx:pt idx="10">5</cx:pt>
          <cx:pt idx="11">2</cx:pt>
          <cx:pt idx="12">4</cx:pt>
          <cx:pt idx="13">4</cx:pt>
          <cx:pt idx="14">3</cx:pt>
          <cx:pt idx="15">2</cx:pt>
          <cx:pt idx="16">3</cx:pt>
          <cx:pt idx="17">2</cx:pt>
          <cx:pt idx="18">4</cx:pt>
          <cx:pt idx="19">3</cx:pt>
          <cx:pt idx="20">2</cx:pt>
          <cx:pt idx="21">3</cx:pt>
          <cx:pt idx="22">3</cx:pt>
          <cx:pt idx="23">4</cx:pt>
          <cx:pt idx="24">5</cx:pt>
          <cx:pt idx="25">4</cx:pt>
          <cx:pt idx="26">1</cx:pt>
          <cx:pt idx="27">4</cx:pt>
          <cx:pt idx="28">1</cx:pt>
          <cx:pt idx="29">3</cx:pt>
          <cx:pt idx="30">4</cx:pt>
          <cx:pt idx="31">2</cx:pt>
          <cx:pt idx="32">4</cx:pt>
          <cx:pt idx="33">4</cx:pt>
          <cx:pt idx="34">3</cx:pt>
          <cx:pt idx="35">4</cx:pt>
          <cx:pt idx="36">4</cx:pt>
          <cx:pt idx="37">4</cx:pt>
          <cx:pt idx="38">4</cx:pt>
          <cx:pt idx="39">1</cx:pt>
          <cx:pt idx="40">4</cx:pt>
          <cx:pt idx="41">3</cx:pt>
          <cx:pt idx="42">0</cx:pt>
          <cx:pt idx="43">3</cx:pt>
          <cx:pt idx="44">1</cx:pt>
          <cx:pt idx="45">1</cx:pt>
          <cx:pt idx="46">2</cx:pt>
          <cx:pt idx="47">1</cx:pt>
          <cx:pt idx="48">3</cx:pt>
          <cx:pt idx="49">2</cx:pt>
          <cx:pt idx="50">1</cx:pt>
          <cx:pt idx="51">3</cx:pt>
          <cx:pt idx="52">5</cx:pt>
          <cx:pt idx="53">2</cx:pt>
          <cx:pt idx="54">2</cx:pt>
          <cx:pt idx="55">2</cx:pt>
          <cx:pt idx="56">0</cx:pt>
          <cx:pt idx="57">5</cx:pt>
          <cx:pt idx="58">3</cx:pt>
          <cx:pt idx="59">2</cx:pt>
          <cx:pt idx="60">2</cx:pt>
          <cx:pt idx="61">2</cx:pt>
          <cx:pt idx="62">2</cx:pt>
          <cx:pt idx="63">3</cx:pt>
          <cx:pt idx="64">5</cx:pt>
          <cx:pt idx="65">3</cx:pt>
          <cx:pt idx="66">2</cx:pt>
          <cx:pt idx="67">2</cx:pt>
          <cx:pt idx="68">1</cx:pt>
          <cx:pt idx="69">4</cx:pt>
          <cx:pt idx="70">4</cx:pt>
          <cx:pt idx="71">2</cx:pt>
          <cx:pt idx="72">2</cx:pt>
          <cx:pt idx="73">1</cx:pt>
          <cx:pt idx="74">3</cx:pt>
          <cx:pt idx="75">5</cx:pt>
          <cx:pt idx="76">4</cx:pt>
          <cx:pt idx="77">4</cx:pt>
          <cx:pt idx="78">4</cx:pt>
          <cx:pt idx="79">1</cx:pt>
          <cx:pt idx="80">1</cx:pt>
          <cx:pt idx="81">4</cx:pt>
          <cx:pt idx="82">3</cx:pt>
          <cx:pt idx="83">4</cx:pt>
          <cx:pt idx="84">2</cx:pt>
          <cx:pt idx="85">4</cx:pt>
          <cx:pt idx="86">3</cx:pt>
          <cx:pt idx="87">3</cx:pt>
          <cx:pt idx="88">3</cx:pt>
          <cx:pt idx="89">2</cx:pt>
          <cx:pt idx="90">0</cx:pt>
          <cx:pt idx="91">5</cx:pt>
          <cx:pt idx="92">1</cx:pt>
          <cx:pt idx="93">4</cx:pt>
          <cx:pt idx="94">5</cx:pt>
          <cx:pt idx="95">1</cx:pt>
          <cx:pt idx="96">4</cx:pt>
          <cx:pt idx="97">3</cx:pt>
          <cx:pt idx="98">1</cx:pt>
          <cx:pt idx="99">3</cx:pt>
          <cx:pt idx="100">2</cx:pt>
          <cx:pt idx="101">5</cx:pt>
          <cx:pt idx="102">2</cx:pt>
          <cx:pt idx="103">3</cx:pt>
          <cx:pt idx="104">5</cx:pt>
          <cx:pt idx="105">3</cx:pt>
          <cx:pt idx="106">1</cx:pt>
          <cx:pt idx="107">4</cx:pt>
          <cx:pt idx="108">2</cx:pt>
          <cx:pt idx="109">2</cx:pt>
          <cx:pt idx="110">5</cx:pt>
          <cx:pt idx="111">2</cx:pt>
          <cx:pt idx="112">4</cx:pt>
          <cx:pt idx="113">2</cx:pt>
          <cx:pt idx="114">2</cx:pt>
          <cx:pt idx="115">2</cx:pt>
          <cx:pt idx="116">2</cx:pt>
          <cx:pt idx="117">1</cx:pt>
          <cx:pt idx="118">4</cx:pt>
          <cx:pt idx="119">3</cx:pt>
          <cx:pt idx="120">3</cx:pt>
          <cx:pt idx="121">1</cx:pt>
          <cx:pt idx="122">1</cx:pt>
          <cx:pt idx="123">5</cx:pt>
          <cx:pt idx="124">4</cx:pt>
          <cx:pt idx="125">3</cx:pt>
          <cx:pt idx="126">2</cx:pt>
          <cx:pt idx="127">4</cx:pt>
          <cx:pt idx="128">3</cx:pt>
          <cx:pt idx="129">4</cx:pt>
          <cx:pt idx="130">4</cx:pt>
          <cx:pt idx="131">4</cx:pt>
          <cx:pt idx="132">1</cx:pt>
          <cx:pt idx="133">4</cx:pt>
          <cx:pt idx="134">2</cx:pt>
          <cx:pt idx="135">2</cx:pt>
          <cx:pt idx="136">3</cx:pt>
          <cx:pt idx="137">3</cx:pt>
          <cx:pt idx="138">1</cx:pt>
          <cx:pt idx="139">2</cx:pt>
          <cx:pt idx="140">4</cx:pt>
          <cx:pt idx="141">4</cx:pt>
          <cx:pt idx="142">1</cx:pt>
          <cx:pt idx="143">5</cx:pt>
          <cx:pt idx="144">3</cx:pt>
          <cx:pt idx="145">3</cx:pt>
          <cx:pt idx="146">1</cx:pt>
          <cx:pt idx="147">2</cx:pt>
          <cx:pt idx="148">0</cx:pt>
          <cx:pt idx="149">5</cx:pt>
          <cx:pt idx="150">5</cx:pt>
          <cx:pt idx="151">3</cx:pt>
          <cx:pt idx="152">1</cx:pt>
          <cx:pt idx="153">4</cx:pt>
          <cx:pt idx="154">4</cx:pt>
          <cx:pt idx="155">4</cx:pt>
          <cx:pt idx="156">1</cx:pt>
          <cx:pt idx="157">4</cx:pt>
          <cx:pt idx="158">2</cx:pt>
          <cx:pt idx="159">2</cx:pt>
          <cx:pt idx="160">2</cx:pt>
          <cx:pt idx="161">4</cx:pt>
          <cx:pt idx="162">0</cx:pt>
          <cx:pt idx="163">2</cx:pt>
          <cx:pt idx="164">2</cx:pt>
          <cx:pt idx="165">5</cx:pt>
          <cx:pt idx="166">2</cx:pt>
          <cx:pt idx="167">2</cx:pt>
          <cx:pt idx="168">1</cx:pt>
          <cx:pt idx="169">4</cx:pt>
          <cx:pt idx="170">3</cx:pt>
          <cx:pt idx="171">1</cx:pt>
          <cx:pt idx="172">4</cx:pt>
          <cx:pt idx="173">5</cx:pt>
          <cx:pt idx="174">4</cx:pt>
          <cx:pt idx="175">5</cx:pt>
          <cx:pt idx="176">1</cx:pt>
          <cx:pt idx="177">4</cx:pt>
          <cx:pt idx="178">5</cx:pt>
          <cx:pt idx="179">1</cx:pt>
          <cx:pt idx="180">3</cx:pt>
          <cx:pt idx="181">1</cx:pt>
          <cx:pt idx="182">3</cx:pt>
          <cx:pt idx="183">1</cx:pt>
          <cx:pt idx="184">4</cx:pt>
          <cx:pt idx="185">1</cx:pt>
          <cx:pt idx="186">2</cx:pt>
          <cx:pt idx="187">4</cx:pt>
          <cx:pt idx="188">2</cx:pt>
          <cx:pt idx="189">3</cx:pt>
          <cx:pt idx="190">1</cx:pt>
          <cx:pt idx="191">2</cx:pt>
          <cx:pt idx="192">5</cx:pt>
          <cx:pt idx="193">3</cx:pt>
          <cx:pt idx="194">5</cx:pt>
          <cx:pt idx="195">0</cx:pt>
          <cx:pt idx="196">3</cx:pt>
          <cx:pt idx="197">2</cx:pt>
          <cx:pt idx="198">4</cx:pt>
          <cx:pt idx="199">2</cx:pt>
          <cx:pt idx="200">5</cx:pt>
          <cx:pt idx="201">5</cx:pt>
          <cx:pt idx="202">2</cx:pt>
          <cx:pt idx="203">1</cx:pt>
          <cx:pt idx="204">2</cx:pt>
          <cx:pt idx="205">2</cx:pt>
          <cx:pt idx="206">2</cx:pt>
          <cx:pt idx="207">2</cx:pt>
          <cx:pt idx="208">2</cx:pt>
          <cx:pt idx="209">3</cx:pt>
          <cx:pt idx="210">5</cx:pt>
          <cx:pt idx="211">4</cx:pt>
          <cx:pt idx="212">3</cx:pt>
          <cx:pt idx="213">3</cx:pt>
          <cx:pt idx="214">1</cx:pt>
          <cx:pt idx="215">2</cx:pt>
          <cx:pt idx="216">1</cx:pt>
          <cx:pt idx="217">1</cx:pt>
          <cx:pt idx="218">2</cx:pt>
          <cx:pt idx="219">2</cx:pt>
          <cx:pt idx="220">2</cx:pt>
          <cx:pt idx="221">2</cx:pt>
          <cx:pt idx="222">2</cx:pt>
          <cx:pt idx="223">2</cx:pt>
          <cx:pt idx="224">2</cx:pt>
          <cx:pt idx="225">3</cx:pt>
          <cx:pt idx="226">2</cx:pt>
          <cx:pt idx="227">3</cx:pt>
          <cx:pt idx="228">2</cx:pt>
          <cx:pt idx="229">1</cx:pt>
          <cx:pt idx="230">3</cx:pt>
          <cx:pt idx="231">5</cx:pt>
          <cx:pt idx="232">4</cx:pt>
          <cx:pt idx="233">2</cx:pt>
          <cx:pt idx="234">3</cx:pt>
          <cx:pt idx="235">4</cx:pt>
          <cx:pt idx="236">3</cx:pt>
          <cx:pt idx="237">3</cx:pt>
          <cx:pt idx="238">5</cx:pt>
          <cx:pt idx="239">5</cx:pt>
          <cx:pt idx="240">4</cx:pt>
          <cx:pt idx="241">5</cx:pt>
          <cx:pt idx="242">4</cx:pt>
          <cx:pt idx="243">3</cx:pt>
          <cx:pt idx="244">1</cx:pt>
          <cx:pt idx="245">1</cx:pt>
          <cx:pt idx="246">4</cx:pt>
          <cx:pt idx="247">1</cx:pt>
          <cx:pt idx="248">5</cx:pt>
          <cx:pt idx="249">2</cx:pt>
          <cx:pt idx="250">2</cx:pt>
          <cx:pt idx="251">3</cx:pt>
          <cx:pt idx="252">3</cx:pt>
          <cx:pt idx="253">5</cx:pt>
          <cx:pt idx="254">2</cx:pt>
          <cx:pt idx="255">4</cx:pt>
          <cx:pt idx="256">2</cx:pt>
          <cx:pt idx="257">3</cx:pt>
          <cx:pt idx="258">3</cx:pt>
          <cx:pt idx="259">4</cx:pt>
          <cx:pt idx="260">2</cx:pt>
          <cx:pt idx="261">4</cx:pt>
          <cx:pt idx="262">3</cx:pt>
          <cx:pt idx="263">4</cx:pt>
          <cx:pt idx="264">2</cx:pt>
          <cx:pt idx="265">3</cx:pt>
          <cx:pt idx="266">3</cx:pt>
          <cx:pt idx="267">5</cx:pt>
          <cx:pt idx="268">5</cx:pt>
          <cx:pt idx="269">3</cx:pt>
          <cx:pt idx="270">1</cx:pt>
          <cx:pt idx="271">2</cx:pt>
          <cx:pt idx="272">1</cx:pt>
          <cx:pt idx="273">3</cx:pt>
          <cx:pt idx="274">4</cx:pt>
          <cx:pt idx="275">1</cx:pt>
          <cx:pt idx="276">1</cx:pt>
          <cx:pt idx="277">4</cx:pt>
          <cx:pt idx="278">3</cx:pt>
          <cx:pt idx="279">2</cx:pt>
          <cx:pt idx="280">2</cx:pt>
          <cx:pt idx="281">3</cx:pt>
          <cx:pt idx="282">3</cx:pt>
          <cx:pt idx="283">2</cx:pt>
          <cx:pt idx="284">4</cx:pt>
          <cx:pt idx="285">5</cx:pt>
          <cx:pt idx="286">2</cx:pt>
          <cx:pt idx="287">5</cx:pt>
          <cx:pt idx="288">1</cx:pt>
          <cx:pt idx="289">2</cx:pt>
          <cx:pt idx="290">1</cx:pt>
          <cx:pt idx="291">3</cx:pt>
          <cx:pt idx="292">4</cx:pt>
          <cx:pt idx="293">4</cx:pt>
          <cx:pt idx="294">4</cx:pt>
          <cx:pt idx="295">2</cx:pt>
          <cx:pt idx="296">3</cx:pt>
          <cx:pt idx="297">5</cx:pt>
          <cx:pt idx="298">4</cx:pt>
          <cx:pt idx="299">5</cx:pt>
          <cx:pt idx="300">2</cx:pt>
          <cx:pt idx="301">2</cx:pt>
          <cx:pt idx="302">3</cx:pt>
          <cx:pt idx="303">4</cx:pt>
          <cx:pt idx="304">3</cx:pt>
          <cx:pt idx="305">2</cx:pt>
          <cx:pt idx="306">1</cx:pt>
          <cx:pt idx="307">5</cx:pt>
          <cx:pt idx="308">2</cx:pt>
          <cx:pt idx="309">1</cx:pt>
          <cx:pt idx="310">1</cx:pt>
          <cx:pt idx="311">5</cx:pt>
          <cx:pt idx="312">5</cx:pt>
          <cx:pt idx="313">5</cx:pt>
          <cx:pt idx="314">2</cx:pt>
          <cx:pt idx="315">3</cx:pt>
          <cx:pt idx="316">3</cx:pt>
          <cx:pt idx="317">4</cx:pt>
          <cx:pt idx="318">0</cx:pt>
          <cx:pt idx="319">5</cx:pt>
          <cx:pt idx="320">4</cx:pt>
          <cx:pt idx="321">5</cx:pt>
          <cx:pt idx="322">2</cx:pt>
          <cx:pt idx="323">2</cx:pt>
          <cx:pt idx="324">3</cx:pt>
          <cx:pt idx="325">2</cx:pt>
          <cx:pt idx="326">2</cx:pt>
          <cx:pt idx="327">3</cx:pt>
          <cx:pt idx="328">3</cx:pt>
          <cx:pt idx="329">4</cx:pt>
          <cx:pt idx="330">2</cx:pt>
          <cx:pt idx="331">5</cx:pt>
          <cx:pt idx="332">3</cx:pt>
          <cx:pt idx="333">5</cx:pt>
          <cx:pt idx="334">4</cx:pt>
          <cx:pt idx="335">5</cx:pt>
          <cx:pt idx="336">4</cx:pt>
          <cx:pt idx="337">1</cx:pt>
          <cx:pt idx="338">4</cx:pt>
          <cx:pt idx="339">4</cx:pt>
          <cx:pt idx="340">2</cx:pt>
          <cx:pt idx="341">1</cx:pt>
          <cx:pt idx="342">3</cx:pt>
          <cx:pt idx="343">2</cx:pt>
          <cx:pt idx="344">2</cx:pt>
          <cx:pt idx="345">1</cx:pt>
          <cx:pt idx="346">4</cx:pt>
          <cx:pt idx="347">5</cx:pt>
          <cx:pt idx="348">1</cx:pt>
          <cx:pt idx="349">3</cx:pt>
          <cx:pt idx="350">1</cx:pt>
          <cx:pt idx="351">2</cx:pt>
          <cx:pt idx="352">1</cx:pt>
          <cx:pt idx="353">4</cx:pt>
          <cx:pt idx="354">2</cx:pt>
          <cx:pt idx="355">3</cx:pt>
          <cx:pt idx="356">1</cx:pt>
          <cx:pt idx="357">2</cx:pt>
          <cx:pt idx="358">4</cx:pt>
          <cx:pt idx="359">0</cx:pt>
          <cx:pt idx="360">3</cx:pt>
          <cx:pt idx="361">0</cx:pt>
          <cx:pt idx="362">2</cx:pt>
          <cx:pt idx="363">3</cx:pt>
          <cx:pt idx="364">3</cx:pt>
          <cx:pt idx="365">3</cx:pt>
          <cx:pt idx="366">0</cx:pt>
          <cx:pt idx="367">4</cx:pt>
          <cx:pt idx="368">3</cx:pt>
          <cx:pt idx="369">5</cx:pt>
          <cx:pt idx="370">3</cx:pt>
          <cx:pt idx="371">1</cx:pt>
          <cx:pt idx="372">2</cx:pt>
          <cx:pt idx="373">1</cx:pt>
          <cx:pt idx="374">2</cx:pt>
          <cx:pt idx="375">5</cx:pt>
          <cx:pt idx="376">2</cx:pt>
          <cx:pt idx="377">1</cx:pt>
          <cx:pt idx="378">0</cx:pt>
          <cx:pt idx="379">4</cx:pt>
          <cx:pt idx="380">3</cx:pt>
          <cx:pt idx="381">1</cx:pt>
          <cx:pt idx="382">2</cx:pt>
          <cx:pt idx="383">3</cx:pt>
          <cx:pt idx="384">2</cx:pt>
          <cx:pt idx="385">4</cx:pt>
          <cx:pt idx="386">2</cx:pt>
          <cx:pt idx="387">1</cx:pt>
          <cx:pt idx="388">3</cx:pt>
          <cx:pt idx="389">5</cx:pt>
          <cx:pt idx="390">4</cx:pt>
          <cx:pt idx="391">2</cx:pt>
          <cx:pt idx="392">1</cx:pt>
          <cx:pt idx="393">2</cx:pt>
          <cx:pt idx="394">1</cx:pt>
          <cx:pt idx="395">3</cx:pt>
          <cx:pt idx="396">2</cx:pt>
          <cx:pt idx="397">1</cx:pt>
          <cx:pt idx="398">1</cx:pt>
          <cx:pt idx="399">2</cx:pt>
          <cx:pt idx="400">2</cx:pt>
          <cx:pt idx="401">3</cx:pt>
          <cx:pt idx="402">4</cx:pt>
          <cx:pt idx="403">2</cx:pt>
          <cx:pt idx="404">3</cx:pt>
          <cx:pt idx="405">2</cx:pt>
          <cx:pt idx="406">4</cx:pt>
          <cx:pt idx="407">2</cx:pt>
          <cx:pt idx="408">4</cx:pt>
          <cx:pt idx="409">0</cx:pt>
          <cx:pt idx="410">3</cx:pt>
          <cx:pt idx="411">3</cx:pt>
          <cx:pt idx="412">5</cx:pt>
          <cx:pt idx="413">1</cx:pt>
          <cx:pt idx="414">2</cx:pt>
          <cx:pt idx="415">5</cx:pt>
          <cx:pt idx="416">2</cx:pt>
          <cx:pt idx="417">3</cx:pt>
          <cx:pt idx="418">2</cx:pt>
          <cx:pt idx="419">1</cx:pt>
          <cx:pt idx="420">0</cx:pt>
          <cx:pt idx="421">5</cx:pt>
          <cx:pt idx="422">2</cx:pt>
          <cx:pt idx="423">5</cx:pt>
          <cx:pt idx="424">3</cx:pt>
          <cx:pt idx="425">2</cx:pt>
          <cx:pt idx="426">3</cx:pt>
          <cx:pt idx="427">3</cx:pt>
          <cx:pt idx="428">3</cx:pt>
          <cx:pt idx="429">4</cx:pt>
          <cx:pt idx="430">3</cx:pt>
          <cx:pt idx="431">1</cx:pt>
          <cx:pt idx="432">3</cx:pt>
          <cx:pt idx="433">5</cx:pt>
          <cx:pt idx="434">2</cx:pt>
          <cx:pt idx="435">5</cx:pt>
          <cx:pt idx="436">4</cx:pt>
          <cx:pt idx="437">2</cx:pt>
          <cx:pt idx="438">1</cx:pt>
          <cx:pt idx="439">4</cx:pt>
          <cx:pt idx="440">2</cx:pt>
          <cx:pt idx="441">2</cx:pt>
          <cx:pt idx="442">2</cx:pt>
          <cx:pt idx="443">3</cx:pt>
          <cx:pt idx="444">2</cx:pt>
          <cx:pt idx="445">2</cx:pt>
          <cx:pt idx="446">1</cx:pt>
          <cx:pt idx="447">5</cx:pt>
          <cx:pt idx="448">5</cx:pt>
          <cx:pt idx="449">4</cx:pt>
          <cx:pt idx="450">2</cx:pt>
          <cx:pt idx="451">4</cx:pt>
          <cx:pt idx="452">1</cx:pt>
          <cx:pt idx="453">2</cx:pt>
          <cx:pt idx="454">5</cx:pt>
          <cx:pt idx="455">5</cx:pt>
          <cx:pt idx="456">4</cx:pt>
          <cx:pt idx="457">3</cx:pt>
          <cx:pt idx="458">5</cx:pt>
          <cx:pt idx="459">1</cx:pt>
          <cx:pt idx="460">3</cx:pt>
          <cx:pt idx="461">2</cx:pt>
          <cx:pt idx="462">2</cx:pt>
          <cx:pt idx="463">5</cx:pt>
          <cx:pt idx="464">3</cx:pt>
          <cx:pt idx="465">2</cx:pt>
          <cx:pt idx="466">5</cx:pt>
          <cx:pt idx="467">4</cx:pt>
          <cx:pt idx="468">0</cx:pt>
          <cx:pt idx="469">4</cx:pt>
          <cx:pt idx="470">4</cx:pt>
          <cx:pt idx="471">1</cx:pt>
          <cx:pt idx="472">2</cx:pt>
          <cx:pt idx="473">4</cx:pt>
          <cx:pt idx="474">2</cx:pt>
          <cx:pt idx="475">5</cx:pt>
          <cx:pt idx="476">4</cx:pt>
          <cx:pt idx="477">5</cx:pt>
          <cx:pt idx="478">0</cx:pt>
          <cx:pt idx="479">4</cx:pt>
          <cx:pt idx="480">1</cx:pt>
          <cx:pt idx="481">5</cx:pt>
          <cx:pt idx="482">4</cx:pt>
          <cx:pt idx="483">1</cx:pt>
          <cx:pt idx="484">5</cx:pt>
          <cx:pt idx="485">3</cx:pt>
          <cx:pt idx="486">5</cx:pt>
          <cx:pt idx="487">5</cx:pt>
          <cx:pt idx="488">3</cx:pt>
          <cx:pt idx="489">1</cx:pt>
          <cx:pt idx="490">3</cx:pt>
          <cx:pt idx="491">4</cx:pt>
          <cx:pt idx="492">4</cx:pt>
          <cx:pt idx="493">1</cx:pt>
          <cx:pt idx="494">2</cx:pt>
          <cx:pt idx="495">5</cx:pt>
          <cx:pt idx="496">3</cx:pt>
          <cx:pt idx="497">2</cx:pt>
          <cx:pt idx="498">3</cx:pt>
          <cx:pt idx="499">5</cx:pt>
          <cx:pt idx="500">4</cx:pt>
          <cx:pt idx="501">4</cx:pt>
          <cx:pt idx="502">2</cx:pt>
          <cx:pt idx="503">4</cx:pt>
          <cx:pt idx="504">4</cx:pt>
          <cx:pt idx="505">1</cx:pt>
          <cx:pt idx="506">3</cx:pt>
          <cx:pt idx="507">3</cx:pt>
          <cx:pt idx="508">1</cx:pt>
          <cx:pt idx="509">3</cx:pt>
          <cx:pt idx="510">4</cx:pt>
          <cx:pt idx="511">2</cx:pt>
          <cx:pt idx="512">3</cx:pt>
          <cx:pt idx="513">1</cx:pt>
          <cx:pt idx="514">4</cx:pt>
          <cx:pt idx="515">5</cx:pt>
          <cx:pt idx="516">2</cx:pt>
          <cx:pt idx="517">1</cx:pt>
          <cx:pt idx="518">1</cx:pt>
          <cx:pt idx="519">1</cx:pt>
          <cx:pt idx="520">3</cx:pt>
          <cx:pt idx="521">4</cx:pt>
          <cx:pt idx="522">2</cx:pt>
          <cx:pt idx="523">2</cx:pt>
          <cx:pt idx="524">5</cx:pt>
          <cx:pt idx="525">3</cx:pt>
          <cx:pt idx="526">1</cx:pt>
          <cx:pt idx="527">2</cx:pt>
          <cx:pt idx="528">3</cx:pt>
          <cx:pt idx="529">1</cx:pt>
          <cx:pt idx="530">5</cx:pt>
          <cx:pt idx="531">5</cx:pt>
          <cx:pt idx="532">3</cx:pt>
          <cx:pt idx="533">4</cx:pt>
          <cx:pt idx="534">3</cx:pt>
          <cx:pt idx="535">2</cx:pt>
          <cx:pt idx="536">4</cx:pt>
          <cx:pt idx="537">2</cx:pt>
          <cx:pt idx="538">2</cx:pt>
          <cx:pt idx="539">2</cx:pt>
          <cx:pt idx="540">4</cx:pt>
          <cx:pt idx="541">2</cx:pt>
          <cx:pt idx="542">5</cx:pt>
          <cx:pt idx="543">2</cx:pt>
          <cx:pt idx="544">5</cx:pt>
          <cx:pt idx="545">3</cx:pt>
          <cx:pt idx="546">4</cx:pt>
          <cx:pt idx="547">3</cx:pt>
          <cx:pt idx="548">1</cx:pt>
          <cx:pt idx="549">2</cx:pt>
          <cx:pt idx="550">4</cx:pt>
          <cx:pt idx="551">3</cx:pt>
          <cx:pt idx="552">3</cx:pt>
          <cx:pt idx="553">4</cx:pt>
          <cx:pt idx="554">0</cx:pt>
          <cx:pt idx="555">4</cx:pt>
          <cx:pt idx="556">3</cx:pt>
          <cx:pt idx="557">3</cx:pt>
          <cx:pt idx="558">4</cx:pt>
          <cx:pt idx="559">3</cx:pt>
          <cx:pt idx="560">3</cx:pt>
          <cx:pt idx="561">2</cx:pt>
          <cx:pt idx="562">2</cx:pt>
          <cx:pt idx="563">2</cx:pt>
          <cx:pt idx="564">2</cx:pt>
          <cx:pt idx="565">2</cx:pt>
          <cx:pt idx="566">5</cx:pt>
          <cx:pt idx="567">5</cx:pt>
          <cx:pt idx="568">1</cx:pt>
          <cx:pt idx="569">4</cx:pt>
          <cx:pt idx="570">2</cx:pt>
          <cx:pt idx="571">3</cx:pt>
          <cx:pt idx="572">2</cx:pt>
          <cx:pt idx="573">4</cx:pt>
          <cx:pt idx="574">2</cx:pt>
          <cx:pt idx="575">2</cx:pt>
          <cx:pt idx="576">2</cx:pt>
          <cx:pt idx="577">5</cx:pt>
          <cx:pt idx="578">3</cx:pt>
          <cx:pt idx="579">4</cx:pt>
          <cx:pt idx="580">5</cx:pt>
          <cx:pt idx="581">4</cx:pt>
          <cx:pt idx="582">5</cx:pt>
          <cx:pt idx="583">1</cx:pt>
          <cx:pt idx="584">1</cx:pt>
          <cx:pt idx="585">3</cx:pt>
          <cx:pt idx="586">2</cx:pt>
          <cx:pt idx="587">5</cx:pt>
          <cx:pt idx="588">0</cx:pt>
          <cx:pt idx="589">1</cx:pt>
          <cx:pt idx="590">2</cx:pt>
          <cx:pt idx="591">1</cx:pt>
          <cx:pt idx="592">1</cx:pt>
          <cx:pt idx="593">4</cx:pt>
          <cx:pt idx="594">1</cx:pt>
          <cx:pt idx="595">4</cx:pt>
          <cx:pt idx="596">3</cx:pt>
          <cx:pt idx="597">4</cx:pt>
          <cx:pt idx="598">1</cx:pt>
          <cx:pt idx="599">3</cx:pt>
          <cx:pt idx="600">5</cx:pt>
          <cx:pt idx="601">3</cx:pt>
          <cx:pt idx="602">4</cx:pt>
          <cx:pt idx="603">2</cx:pt>
          <cx:pt idx="604">4</cx:pt>
          <cx:pt idx="605">0</cx:pt>
          <cx:pt idx="606">2</cx:pt>
          <cx:pt idx="607">2</cx:pt>
          <cx:pt idx="608">4</cx:pt>
          <cx:pt idx="609">5</cx:pt>
          <cx:pt idx="610">4</cx:pt>
          <cx:pt idx="611">1</cx:pt>
          <cx:pt idx="612">4</cx:pt>
          <cx:pt idx="613">0</cx:pt>
          <cx:pt idx="614">3</cx:pt>
          <cx:pt idx="615">0</cx:pt>
          <cx:pt idx="616">2</cx:pt>
          <cx:pt idx="617">3</cx:pt>
          <cx:pt idx="618">5</cx:pt>
          <cx:pt idx="619">3</cx:pt>
          <cx:pt idx="620">5</cx:pt>
          <cx:pt idx="621">3</cx:pt>
          <cx:pt idx="622">3</cx:pt>
          <cx:pt idx="623">5</cx:pt>
          <cx:pt idx="624">4</cx:pt>
          <cx:pt idx="625">1</cx:pt>
          <cx:pt idx="626">3</cx:pt>
          <cx:pt idx="627">1</cx:pt>
          <cx:pt idx="628">1</cx:pt>
          <cx:pt idx="629">5</cx:pt>
          <cx:pt idx="630">1</cx:pt>
          <cx:pt idx="631">0</cx:pt>
          <cx:pt idx="632">4</cx:pt>
          <cx:pt idx="633">4</cx:pt>
          <cx:pt idx="634">3</cx:pt>
          <cx:pt idx="635">4</cx:pt>
          <cx:pt idx="636">0</cx:pt>
          <cx:pt idx="637">4</cx:pt>
          <cx:pt idx="638">4</cx:pt>
          <cx:pt idx="639">3</cx:pt>
          <cx:pt idx="640">1</cx:pt>
          <cx:pt idx="641">4</cx:pt>
          <cx:pt idx="642">3</cx:pt>
          <cx:pt idx="643">5</cx:pt>
          <cx:pt idx="644">1</cx:pt>
          <cx:pt idx="645">4</cx:pt>
          <cx:pt idx="646">2</cx:pt>
          <cx:pt idx="647">2</cx:pt>
          <cx:pt idx="648">3</cx:pt>
          <cx:pt idx="649">2</cx:pt>
          <cx:pt idx="650">5</cx:pt>
          <cx:pt idx="651">5</cx:pt>
          <cx:pt idx="652">3</cx:pt>
          <cx:pt idx="653">2</cx:pt>
          <cx:pt idx="654">2</cx:pt>
          <cx:pt idx="655">4</cx:pt>
          <cx:pt idx="656">4</cx:pt>
          <cx:pt idx="657">2</cx:pt>
          <cx:pt idx="658">4</cx:pt>
          <cx:pt idx="659">1</cx:pt>
          <cx:pt idx="660">2</cx:pt>
          <cx:pt idx="661">4</cx:pt>
          <cx:pt idx="662">2</cx:pt>
          <cx:pt idx="663">2</cx:pt>
          <cx:pt idx="664">5</cx:pt>
          <cx:pt idx="665">5</cx:pt>
          <cx:pt idx="666">4</cx:pt>
          <cx:pt idx="667">1</cx:pt>
          <cx:pt idx="668">2</cx:pt>
          <cx:pt idx="669">5</cx:pt>
          <cx:pt idx="670">2</cx:pt>
          <cx:pt idx="671">1</cx:pt>
          <cx:pt idx="672">2</cx:pt>
          <cx:pt idx="673">5</cx:pt>
          <cx:pt idx="674">4</cx:pt>
          <cx:pt idx="675">4</cx:pt>
          <cx:pt idx="676">4</cx:pt>
          <cx:pt idx="677">3</cx:pt>
          <cx:pt idx="678">3</cx:pt>
          <cx:pt idx="679">3</cx:pt>
          <cx:pt idx="680">3</cx:pt>
          <cx:pt idx="681">1</cx:pt>
          <cx:pt idx="682">1</cx:pt>
          <cx:pt idx="683">4</cx:pt>
          <cx:pt idx="684">3</cx:pt>
          <cx:pt idx="685">5</cx:pt>
          <cx:pt idx="686">4</cx:pt>
          <cx:pt idx="687">3</cx:pt>
          <cx:pt idx="688">5</cx:pt>
          <cx:pt idx="689">3</cx:pt>
          <cx:pt idx="690">1</cx:pt>
          <cx:pt idx="691">2</cx:pt>
          <cx:pt idx="692">2</cx:pt>
          <cx:pt idx="693">3</cx:pt>
          <cx:pt idx="694">3</cx:pt>
          <cx:pt idx="695">4</cx:pt>
          <cx:pt idx="696">5</cx:pt>
          <cx:pt idx="697">4</cx:pt>
          <cx:pt idx="698">1</cx:pt>
          <cx:pt idx="699">4</cx:pt>
          <cx:pt idx="700">3</cx:pt>
          <cx:pt idx="701">1</cx:pt>
          <cx:pt idx="702">1</cx:pt>
          <cx:pt idx="703">2</cx:pt>
          <cx:pt idx="704">4</cx:pt>
          <cx:pt idx="705">3</cx:pt>
          <cx:pt idx="706">3</cx:pt>
          <cx:pt idx="707">1</cx:pt>
          <cx:pt idx="708">5</cx:pt>
          <cx:pt idx="709">2</cx:pt>
          <cx:pt idx="710">3</cx:pt>
          <cx:pt idx="711">3</cx:pt>
          <cx:pt idx="712">3</cx:pt>
          <cx:pt idx="713">0</cx:pt>
          <cx:pt idx="714">2</cx:pt>
          <cx:pt idx="715">2</cx:pt>
          <cx:pt idx="716">3</cx:pt>
          <cx:pt idx="717">0</cx:pt>
          <cx:pt idx="718">4</cx:pt>
          <cx:pt idx="719">5</cx:pt>
          <cx:pt idx="720">4</cx:pt>
          <cx:pt idx="721">1</cx:pt>
          <cx:pt idx="722">2</cx:pt>
          <cx:pt idx="723">4</cx:pt>
          <cx:pt idx="724">1</cx:pt>
          <cx:pt idx="725">1</cx:pt>
          <cx:pt idx="726">1</cx:pt>
          <cx:pt idx="727">2</cx:pt>
          <cx:pt idx="728">3</cx:pt>
          <cx:pt idx="729">3</cx:pt>
          <cx:pt idx="730">1</cx:pt>
          <cx:pt idx="731">5</cx:pt>
          <cx:pt idx="732">3</cx:pt>
          <cx:pt idx="733">1</cx:pt>
          <cx:pt idx="734">2</cx:pt>
          <cx:pt idx="735">3</cx:pt>
          <cx:pt idx="736">3</cx:pt>
          <cx:pt idx="737">4</cx:pt>
          <cx:pt idx="738">3</cx:pt>
          <cx:pt idx="739">3</cx:pt>
          <cx:pt idx="740">0</cx:pt>
          <cx:pt idx="741">0</cx:pt>
          <cx:pt idx="742">1</cx:pt>
          <cx:pt idx="743">5</cx:pt>
          <cx:pt idx="744">3</cx:pt>
          <cx:pt idx="745">1</cx:pt>
          <cx:pt idx="746">3</cx:pt>
          <cx:pt idx="747">5</cx:pt>
          <cx:pt idx="748">1</cx:pt>
          <cx:pt idx="749">3</cx:pt>
          <cx:pt idx="750">3</cx:pt>
          <cx:pt idx="751">1</cx:pt>
          <cx:pt idx="752">4</cx:pt>
          <cx:pt idx="753">3</cx:pt>
          <cx:pt idx="754">0</cx:pt>
          <cx:pt idx="755">5</cx:pt>
          <cx:pt idx="756">2</cx:pt>
          <cx:pt idx="757">4</cx:pt>
          <cx:pt idx="758">5</cx:pt>
          <cx:pt idx="759">3</cx:pt>
          <cx:pt idx="760">2</cx:pt>
          <cx:pt idx="761">3</cx:pt>
          <cx:pt idx="762">5</cx:pt>
          <cx:pt idx="763">0</cx:pt>
          <cx:pt idx="764">1</cx:pt>
          <cx:pt idx="765">4</cx:pt>
          <cx:pt idx="766">0</cx:pt>
          <cx:pt idx="767">2</cx:pt>
          <cx:pt idx="768">2</cx:pt>
          <cx:pt idx="769">3</cx:pt>
          <cx:pt idx="770">3</cx:pt>
          <cx:pt idx="771">3</cx:pt>
          <cx:pt idx="772">2</cx:pt>
          <cx:pt idx="773">4</cx:pt>
          <cx:pt idx="774">4</cx:pt>
          <cx:pt idx="775">4</cx:pt>
          <cx:pt idx="776">3</cx:pt>
          <cx:pt idx="777">4</cx:pt>
          <cx:pt idx="778">3</cx:pt>
          <cx:pt idx="779">3</cx:pt>
          <cx:pt idx="780">2</cx:pt>
          <cx:pt idx="781">5</cx:pt>
          <cx:pt idx="782">5</cx:pt>
          <cx:pt idx="783">1</cx:pt>
          <cx:pt idx="784">2</cx:pt>
          <cx:pt idx="785">3</cx:pt>
          <cx:pt idx="786">4</cx:pt>
          <cx:pt idx="787">1</cx:pt>
          <cx:pt idx="788">1</cx:pt>
          <cx:pt idx="789">2</cx:pt>
          <cx:pt idx="790">4</cx:pt>
          <cx:pt idx="791">2</cx:pt>
          <cx:pt idx="792">2</cx:pt>
          <cx:pt idx="793">3</cx:pt>
          <cx:pt idx="794">4</cx:pt>
          <cx:pt idx="795">4</cx:pt>
          <cx:pt idx="796">1</cx:pt>
          <cx:pt idx="797">2</cx:pt>
          <cx:pt idx="798">1</cx:pt>
          <cx:pt idx="799">1</cx:pt>
          <cx:pt idx="800">1</cx:pt>
          <cx:pt idx="801">5</cx:pt>
          <cx:pt idx="802">2</cx:pt>
          <cx:pt idx="803">2</cx:pt>
          <cx:pt idx="804">1</cx:pt>
          <cx:pt idx="805">5</cx:pt>
          <cx:pt idx="806">3</cx:pt>
          <cx:pt idx="807">3</cx:pt>
          <cx:pt idx="808">1</cx:pt>
          <cx:pt idx="809">0</cx:pt>
          <cx:pt idx="810">0</cx:pt>
          <cx:pt idx="811">2</cx:pt>
          <cx:pt idx="812">2</cx:pt>
          <cx:pt idx="813">1</cx:pt>
          <cx:pt idx="814">3</cx:pt>
          <cx:pt idx="815">5</cx:pt>
          <cx:pt idx="816">4</cx:pt>
          <cx:pt idx="817">4</cx:pt>
          <cx:pt idx="818">4</cx:pt>
          <cx:pt idx="819">0</cx:pt>
          <cx:pt idx="820">3</cx:pt>
          <cx:pt idx="821">4</cx:pt>
          <cx:pt idx="822">4</cx:pt>
          <cx:pt idx="823">2</cx:pt>
          <cx:pt idx="824">4</cx:pt>
          <cx:pt idx="825">4</cx:pt>
          <cx:pt idx="826">2</cx:pt>
          <cx:pt idx="827">0</cx:pt>
          <cx:pt idx="828">2</cx:pt>
          <cx:pt idx="829">3</cx:pt>
          <cx:pt idx="830">1</cx:pt>
          <cx:pt idx="831">1</cx:pt>
          <cx:pt idx="832">1</cx:pt>
          <cx:pt idx="833">3</cx:pt>
          <cx:pt idx="834">1</cx:pt>
          <cx:pt idx="835">0</cx:pt>
          <cx:pt idx="836">3</cx:pt>
          <cx:pt idx="837">2</cx:pt>
          <cx:pt idx="838">1</cx:pt>
          <cx:pt idx="839">3</cx:pt>
          <cx:pt idx="840">2</cx:pt>
          <cx:pt idx="841">0</cx:pt>
          <cx:pt idx="842">1</cx:pt>
          <cx:pt idx="843">4</cx:pt>
          <cx:pt idx="844">2</cx:pt>
          <cx:pt idx="845">3</cx:pt>
          <cx:pt idx="846">2</cx:pt>
          <cx:pt idx="847">2</cx:pt>
          <cx:pt idx="848">2</cx:pt>
          <cx:pt idx="849">1</cx:pt>
          <cx:pt idx="850">3</cx:pt>
          <cx:pt idx="851">3</cx:pt>
          <cx:pt idx="852">2</cx:pt>
          <cx:pt idx="853">4</cx:pt>
          <cx:pt idx="854">4</cx:pt>
          <cx:pt idx="855">5</cx:pt>
          <cx:pt idx="856">3</cx:pt>
          <cx:pt idx="857">1</cx:pt>
          <cx:pt idx="858">5</cx:pt>
          <cx:pt idx="859">0</cx:pt>
          <cx:pt idx="860">5</cx:pt>
          <cx:pt idx="861">3</cx:pt>
          <cx:pt idx="862">1</cx:pt>
          <cx:pt idx="863">2</cx:pt>
          <cx:pt idx="864">1</cx:pt>
          <cx:pt idx="865">1</cx:pt>
          <cx:pt idx="866">1</cx:pt>
          <cx:pt idx="867">4</cx:pt>
          <cx:pt idx="868">2</cx:pt>
          <cx:pt idx="869">1</cx:pt>
          <cx:pt idx="870">1</cx:pt>
          <cx:pt idx="871">2</cx:pt>
          <cx:pt idx="872">5</cx:pt>
          <cx:pt idx="873">1</cx:pt>
          <cx:pt idx="874">1</cx:pt>
          <cx:pt idx="875">1</cx:pt>
          <cx:pt idx="876">5</cx:pt>
          <cx:pt idx="877">5</cx:pt>
          <cx:pt idx="878">2</cx:pt>
          <cx:pt idx="879">2</cx:pt>
          <cx:pt idx="880">1</cx:pt>
          <cx:pt idx="881">2</cx:pt>
          <cx:pt idx="882">3</cx:pt>
          <cx:pt idx="883">5</cx:pt>
          <cx:pt idx="884">3</cx:pt>
          <cx:pt idx="885">3</cx:pt>
          <cx:pt idx="886">2</cx:pt>
          <cx:pt idx="887">1</cx:pt>
          <cx:pt idx="888">4</cx:pt>
          <cx:pt idx="889">5</cx:pt>
          <cx:pt idx="890">4</cx:pt>
          <cx:pt idx="891">4</cx:pt>
          <cx:pt idx="892">2</cx:pt>
          <cx:pt idx="893">2</cx:pt>
          <cx:pt idx="894">3</cx:pt>
          <cx:pt idx="895">4</cx:pt>
          <cx:pt idx="896">1</cx:pt>
          <cx:pt idx="897">4</cx:pt>
          <cx:pt idx="898">2</cx:pt>
          <cx:pt idx="899">1</cx:pt>
          <cx:pt idx="900">3</cx:pt>
          <cx:pt idx="901">1</cx:pt>
          <cx:pt idx="902">2</cx:pt>
          <cx:pt idx="903">3</cx:pt>
          <cx:pt idx="904">1</cx:pt>
          <cx:pt idx="905">3</cx:pt>
          <cx:pt idx="906">1</cx:pt>
          <cx:pt idx="907">4</cx:pt>
          <cx:pt idx="908">3</cx:pt>
          <cx:pt idx="909">4</cx:pt>
          <cx:pt idx="910">2</cx:pt>
          <cx:pt idx="911">2</cx:pt>
          <cx:pt idx="912">5</cx:pt>
          <cx:pt idx="913">5</cx:pt>
          <cx:pt idx="914">1</cx:pt>
          <cx:pt idx="915">1</cx:pt>
          <cx:pt idx="916">5</cx:pt>
          <cx:pt idx="917">3</cx:pt>
          <cx:pt idx="918">5</cx:pt>
          <cx:pt idx="919">4</cx:pt>
          <cx:pt idx="920">3</cx:pt>
          <cx:pt idx="921">1</cx:pt>
          <cx:pt idx="922">3</cx:pt>
          <cx:pt idx="923">5</cx:pt>
          <cx:pt idx="924">0</cx:pt>
          <cx:pt idx="925">5</cx:pt>
          <cx:pt idx="926">3</cx:pt>
          <cx:pt idx="927">1</cx:pt>
          <cx:pt idx="928">2</cx:pt>
          <cx:pt idx="929">4</cx:pt>
          <cx:pt idx="930">0</cx:pt>
          <cx:pt idx="931">2</cx:pt>
          <cx:pt idx="932">5</cx:pt>
          <cx:pt idx="933">3</cx:pt>
          <cx:pt idx="934">3</cx:pt>
          <cx:pt idx="935">5</cx:pt>
          <cx:pt idx="936">2</cx:pt>
          <cx:pt idx="937">2</cx:pt>
          <cx:pt idx="938">2</cx:pt>
          <cx:pt idx="939">4</cx:pt>
          <cx:pt idx="940">0</cx:pt>
          <cx:pt idx="941">2</cx:pt>
          <cx:pt idx="942">1</cx:pt>
          <cx:pt idx="943">0</cx:pt>
          <cx:pt idx="944">4</cx:pt>
          <cx:pt idx="945">2</cx:pt>
          <cx:pt idx="946">2</cx:pt>
          <cx:pt idx="947">3</cx:pt>
          <cx:pt idx="948">1</cx:pt>
          <cx:pt idx="949">5</cx:pt>
          <cx:pt idx="950">3</cx:pt>
          <cx:pt idx="951">2</cx:pt>
          <cx:pt idx="952">5</cx:pt>
          <cx:pt idx="953">1</cx:pt>
          <cx:pt idx="954">5</cx:pt>
          <cx:pt idx="955">3</cx:pt>
          <cx:pt idx="956">3</cx:pt>
          <cx:pt idx="957">3</cx:pt>
          <cx:pt idx="958">5</cx:pt>
          <cx:pt idx="959">1</cx:pt>
          <cx:pt idx="960">3</cx:pt>
          <cx:pt idx="961">3</cx:pt>
          <cx:pt idx="962">4</cx:pt>
          <cx:pt idx="963">2</cx:pt>
          <cx:pt idx="964">5</cx:pt>
          <cx:pt idx="965">3</cx:pt>
          <cx:pt idx="966">3</cx:pt>
          <cx:pt idx="967">2</cx:pt>
          <cx:pt idx="968">2</cx:pt>
          <cx:pt idx="969">2</cx:pt>
          <cx:pt idx="970">4</cx:pt>
          <cx:pt idx="971">4</cx:pt>
          <cx:pt idx="972">1</cx:pt>
          <cx:pt idx="973">4</cx:pt>
          <cx:pt idx="974">1</cx:pt>
          <cx:pt idx="975">4</cx:pt>
          <cx:pt idx="976">5</cx:pt>
          <cx:pt idx="977">4</cx:pt>
          <cx:pt idx="978">0</cx:pt>
          <cx:pt idx="979">0</cx:pt>
          <cx:pt idx="980">3</cx:pt>
          <cx:pt idx="981">4</cx:pt>
          <cx:pt idx="982">2</cx:pt>
          <cx:pt idx="983">3</cx:pt>
          <cx:pt idx="984">4</cx:pt>
          <cx:pt idx="985">1</cx:pt>
          <cx:pt idx="986">2</cx:pt>
          <cx:pt idx="987">3</cx:pt>
          <cx:pt idx="988">3</cx:pt>
          <cx:pt idx="989">2</cx:pt>
          <cx:pt idx="990">2</cx:pt>
          <cx:pt idx="991">2</cx:pt>
          <cx:pt idx="992">2</cx:pt>
          <cx:pt idx="993">3</cx:pt>
          <cx:pt idx="994">2</cx:pt>
          <cx:pt idx="995">2</cx:pt>
          <cx:pt idx="996">2</cx:pt>
          <cx:pt idx="997">3</cx:pt>
          <cx:pt idx="998">3</cx:pt>
          <cx:pt idx="999">5</cx:pt>
          <cx:pt idx="1000">2</cx:pt>
          <cx:pt idx="1001">3</cx:pt>
          <cx:pt idx="1002">3</cx:pt>
          <cx:pt idx="1003">1</cx:pt>
          <cx:pt idx="1004">5</cx:pt>
          <cx:pt idx="1005">5</cx:pt>
          <cx:pt idx="1006">1</cx:pt>
          <cx:pt idx="1007">4</cx:pt>
          <cx:pt idx="1008">5</cx:pt>
          <cx:pt idx="1009">2</cx:pt>
          <cx:pt idx="1010">4</cx:pt>
          <cx:pt idx="1011">2</cx:pt>
          <cx:pt idx="1012">3</cx:pt>
          <cx:pt idx="1013">1</cx:pt>
          <cx:pt idx="1014">4</cx:pt>
          <cx:pt idx="1015">3</cx:pt>
          <cx:pt idx="1016">2</cx:pt>
          <cx:pt idx="1017">1</cx:pt>
          <cx:pt idx="1018">3</cx:pt>
          <cx:pt idx="1019">3</cx:pt>
          <cx:pt idx="1020">1</cx:pt>
          <cx:pt idx="1021">3</cx:pt>
          <cx:pt idx="1022">5</cx:pt>
          <cx:pt idx="1023">4</cx:pt>
          <cx:pt idx="1024">4</cx:pt>
          <cx:pt idx="1025">1</cx:pt>
          <cx:pt idx="1026">5</cx:pt>
          <cx:pt idx="1027">5</cx:pt>
          <cx:pt idx="1028">5</cx:pt>
          <cx:pt idx="1029">2</cx:pt>
          <cx:pt idx="1030">5</cx:pt>
          <cx:pt idx="1031">4</cx:pt>
          <cx:pt idx="1032">1</cx:pt>
          <cx:pt idx="1033">2</cx:pt>
          <cx:pt idx="1034">4</cx:pt>
          <cx:pt idx="1035">5</cx:pt>
          <cx:pt idx="1036">4</cx:pt>
          <cx:pt idx="1037">3</cx:pt>
          <cx:pt idx="1038">3</cx:pt>
          <cx:pt idx="1039">2</cx:pt>
          <cx:pt idx="1040">2</cx:pt>
          <cx:pt idx="1041">1</cx:pt>
          <cx:pt idx="1042">1</cx:pt>
          <cx:pt idx="1043">5</cx:pt>
          <cx:pt idx="1044">1</cx:pt>
          <cx:pt idx="1045">1</cx:pt>
          <cx:pt idx="1046">2</cx:pt>
          <cx:pt idx="1047">5</cx:pt>
          <cx:pt idx="1048">1</cx:pt>
          <cx:pt idx="1049">1</cx:pt>
          <cx:pt idx="1050">2</cx:pt>
          <cx:pt idx="1051">1</cx:pt>
          <cx:pt idx="1052">4</cx:pt>
          <cx:pt idx="1053">5</cx:pt>
          <cx:pt idx="1054">4</cx:pt>
          <cx:pt idx="1055">3</cx:pt>
          <cx:pt idx="1056">3</cx:pt>
          <cx:pt idx="1057">2</cx:pt>
          <cx:pt idx="1058">1</cx:pt>
          <cx:pt idx="1059">1</cx:pt>
          <cx:pt idx="1060">3</cx:pt>
          <cx:pt idx="1061">1</cx:pt>
          <cx:pt idx="1062">1</cx:pt>
          <cx:pt idx="1063">3</cx:pt>
          <cx:pt idx="1064">3</cx:pt>
          <cx:pt idx="1065">1</cx:pt>
          <cx:pt idx="1066">0</cx:pt>
          <cx:pt idx="1067">5</cx:pt>
          <cx:pt idx="1068">5</cx:pt>
          <cx:pt idx="1069">4</cx:pt>
          <cx:pt idx="1070">4</cx:pt>
          <cx:pt idx="1071">4</cx:pt>
          <cx:pt idx="1072">2</cx:pt>
          <cx:pt idx="1073">0</cx:pt>
          <cx:pt idx="1074">3</cx:pt>
          <cx:pt idx="1075">3</cx:pt>
          <cx:pt idx="1076">3</cx:pt>
          <cx:pt idx="1077">0</cx:pt>
          <cx:pt idx="1078">5</cx:pt>
          <cx:pt idx="1079">1</cx:pt>
          <cx:pt idx="1080">3</cx:pt>
          <cx:pt idx="1081">4</cx:pt>
          <cx:pt idx="1082">4</cx:pt>
          <cx:pt idx="1083">4</cx:pt>
          <cx:pt idx="1084">2</cx:pt>
          <cx:pt idx="1085">2</cx:pt>
          <cx:pt idx="1086">2</cx:pt>
          <cx:pt idx="1087">2</cx:pt>
          <cx:pt idx="1088">3</cx:pt>
          <cx:pt idx="1089">2</cx:pt>
          <cx:pt idx="1090">4</cx:pt>
          <cx:pt idx="1091">2</cx:pt>
          <cx:pt idx="1092">2</cx:pt>
          <cx:pt idx="1093">4</cx:pt>
          <cx:pt idx="1094">4</cx:pt>
          <cx:pt idx="1095">4</cx:pt>
          <cx:pt idx="1096">4</cx:pt>
          <cx:pt idx="1097">1</cx:pt>
          <cx:pt idx="1098">5</cx:pt>
          <cx:pt idx="1099">5</cx:pt>
          <cx:pt idx="1100">1</cx:pt>
          <cx:pt idx="1101">1</cx:pt>
          <cx:pt idx="1102">3</cx:pt>
          <cx:pt idx="1103">4</cx:pt>
          <cx:pt idx="1104">3</cx:pt>
          <cx:pt idx="1105">4</cx:pt>
          <cx:pt idx="1106">0</cx:pt>
          <cx:pt idx="1107">4</cx:pt>
          <cx:pt idx="1108">3</cx:pt>
          <cx:pt idx="1109">4</cx:pt>
          <cx:pt idx="1110">1</cx:pt>
          <cx:pt idx="1111">1</cx:pt>
          <cx:pt idx="1112">3</cx:pt>
          <cx:pt idx="1113">5</cx:pt>
          <cx:pt idx="1114">1</cx:pt>
          <cx:pt idx="1115">2</cx:pt>
          <cx:pt idx="1116">1</cx:pt>
          <cx:pt idx="1117">3</cx:pt>
          <cx:pt idx="1118">3</cx:pt>
          <cx:pt idx="1119">1</cx:pt>
          <cx:pt idx="1120">2</cx:pt>
          <cx:pt idx="1121">3</cx:pt>
          <cx:pt idx="1122">3</cx:pt>
          <cx:pt idx="1123">5</cx:pt>
          <cx:pt idx="1124">3</cx:pt>
          <cx:pt idx="1125">4</cx:pt>
          <cx:pt idx="1126">2</cx:pt>
          <cx:pt idx="1127">2</cx:pt>
          <cx:pt idx="1128">4</cx:pt>
          <cx:pt idx="1129">1</cx:pt>
          <cx:pt idx="1130">0</cx:pt>
          <cx:pt idx="1131">2</cx:pt>
          <cx:pt idx="1132">4</cx:pt>
          <cx:pt idx="1133">2</cx:pt>
          <cx:pt idx="1134">5</cx:pt>
          <cx:pt idx="1135">2</cx:pt>
          <cx:pt idx="1136">3</cx:pt>
          <cx:pt idx="1137">1</cx:pt>
          <cx:pt idx="1138">4</cx:pt>
          <cx:pt idx="1139">4</cx:pt>
          <cx:pt idx="1140">2</cx:pt>
          <cx:pt idx="1141">1</cx:pt>
          <cx:pt idx="1142">4</cx:pt>
          <cx:pt idx="1143">1</cx:pt>
          <cx:pt idx="1144">5</cx:pt>
          <cx:pt idx="1145">4</cx:pt>
          <cx:pt idx="1146">3</cx:pt>
          <cx:pt idx="1147">3</cx:pt>
          <cx:pt idx="1148">2</cx:pt>
          <cx:pt idx="1149">2</cx:pt>
          <cx:pt idx="1150">1</cx:pt>
          <cx:pt idx="1151">3</cx:pt>
          <cx:pt idx="1152">3</cx:pt>
          <cx:pt idx="1153">2</cx:pt>
          <cx:pt idx="1154">2</cx:pt>
          <cx:pt idx="1155">3</cx:pt>
          <cx:pt idx="1156">2</cx:pt>
          <cx:pt idx="1157">3</cx:pt>
          <cx:pt idx="1158">2</cx:pt>
          <cx:pt idx="1159">2</cx:pt>
          <cx:pt idx="1160">2</cx:pt>
          <cx:pt idx="1161">4</cx:pt>
          <cx:pt idx="1162">2</cx:pt>
          <cx:pt idx="1163">5</cx:pt>
          <cx:pt idx="1164">5</cx:pt>
          <cx:pt idx="1165">1</cx:pt>
          <cx:pt idx="1166">3</cx:pt>
          <cx:pt idx="1167">2</cx:pt>
          <cx:pt idx="1168">3</cx:pt>
          <cx:pt idx="1169">1</cx:pt>
          <cx:pt idx="1170">1</cx:pt>
          <cx:pt idx="1171">2</cx:pt>
          <cx:pt idx="1172">4</cx:pt>
          <cx:pt idx="1173">2</cx:pt>
          <cx:pt idx="1174">1</cx:pt>
          <cx:pt idx="1175">2</cx:pt>
          <cx:pt idx="1176">2</cx:pt>
          <cx:pt idx="1177">2</cx:pt>
          <cx:pt idx="1178">1</cx:pt>
          <cx:pt idx="1179">0</cx:pt>
          <cx:pt idx="1180">2</cx:pt>
          <cx:pt idx="1181">1</cx:pt>
          <cx:pt idx="1182">4</cx:pt>
          <cx:pt idx="1183">2</cx:pt>
          <cx:pt idx="1184">4</cx:pt>
          <cx:pt idx="1185">0</cx:pt>
          <cx:pt idx="1186">4</cx:pt>
          <cx:pt idx="1187">1</cx:pt>
          <cx:pt idx="1188">2</cx:pt>
          <cx:pt idx="1189">4</cx:pt>
          <cx:pt idx="1190">4</cx:pt>
          <cx:pt idx="1191">2</cx:pt>
          <cx:pt idx="1192">5</cx:pt>
          <cx:pt idx="1193">3</cx:pt>
          <cx:pt idx="1194">1</cx:pt>
          <cx:pt idx="1195">2</cx:pt>
          <cx:pt idx="1196">4</cx:pt>
          <cx:pt idx="1197">4</cx:pt>
          <cx:pt idx="1198">4</cx:pt>
          <cx:pt idx="1199">5</cx:pt>
          <cx:pt idx="1200">2</cx:pt>
          <cx:pt idx="1201">4</cx:pt>
          <cx:pt idx="1202">2</cx:pt>
          <cx:pt idx="1203">4</cx:pt>
          <cx:pt idx="1204">1</cx:pt>
          <cx:pt idx="1205">2</cx:pt>
          <cx:pt idx="1206">0</cx:pt>
          <cx:pt idx="1207">2</cx:pt>
          <cx:pt idx="1208">4</cx:pt>
          <cx:pt idx="1209">1</cx:pt>
          <cx:pt idx="1210">4</cx:pt>
          <cx:pt idx="1211">4</cx:pt>
          <cx:pt idx="1212">1</cx:pt>
          <cx:pt idx="1213">4</cx:pt>
          <cx:pt idx="1214">3</cx:pt>
          <cx:pt idx="1215">5</cx:pt>
          <cx:pt idx="1216">2</cx:pt>
          <cx:pt idx="1217">3</cx:pt>
          <cx:pt idx="1218">3</cx:pt>
          <cx:pt idx="1219">5</cx:pt>
          <cx:pt idx="1220">0</cx:pt>
          <cx:pt idx="1221">2</cx:pt>
          <cx:pt idx="1222">3</cx:pt>
          <cx:pt idx="1223">2</cx:pt>
          <cx:pt idx="1224">2</cx:pt>
          <cx:pt idx="1225">4</cx:pt>
          <cx:pt idx="1226">4</cx:pt>
          <cx:pt idx="1227">1</cx:pt>
          <cx:pt idx="1228">3</cx:pt>
          <cx:pt idx="1229">1</cx:pt>
          <cx:pt idx="1230">2</cx:pt>
          <cx:pt idx="1231">4</cx:pt>
          <cx:pt idx="1232">3</cx:pt>
          <cx:pt idx="1233">1</cx:pt>
          <cx:pt idx="1234">3</cx:pt>
          <cx:pt idx="1235">3</cx:pt>
          <cx:pt idx="1236">2</cx:pt>
          <cx:pt idx="1237">4</cx:pt>
          <cx:pt idx="1238">2</cx:pt>
          <cx:pt idx="1239">2</cx:pt>
          <cx:pt idx="1240">4</cx:pt>
          <cx:pt idx="1241">4</cx:pt>
          <cx:pt idx="1242">1</cx:pt>
          <cx:pt idx="1243">4</cx:pt>
          <cx:pt idx="1244">1</cx:pt>
          <cx:pt idx="1245">2</cx:pt>
          <cx:pt idx="1246">4</cx:pt>
          <cx:pt idx="1247">1</cx:pt>
          <cx:pt idx="1248">2</cx:pt>
          <cx:pt idx="1249">5</cx:pt>
          <cx:pt idx="1250">3</cx:pt>
          <cx:pt idx="1251">4</cx:pt>
          <cx:pt idx="1252">2</cx:pt>
          <cx:pt idx="1253">3</cx:pt>
          <cx:pt idx="1254">2</cx:pt>
          <cx:pt idx="1255">3</cx:pt>
          <cx:pt idx="1256">4</cx:pt>
          <cx:pt idx="1257">2</cx:pt>
          <cx:pt idx="1258">5</cx:pt>
          <cx:pt idx="1259">3</cx:pt>
          <cx:pt idx="1260">4</cx:pt>
          <cx:pt idx="1261">3</cx:pt>
          <cx:pt idx="1262">4</cx:pt>
          <cx:pt idx="1263">4</cx:pt>
          <cx:pt idx="1264">5</cx:pt>
          <cx:pt idx="1265">1</cx:pt>
          <cx:pt idx="1266">1</cx:pt>
          <cx:pt idx="1267">2</cx:pt>
          <cx:pt idx="1268">5</cx:pt>
          <cx:pt idx="1269">3</cx:pt>
          <cx:pt idx="1270">0</cx:pt>
          <cx:pt idx="1271">4</cx:pt>
          <cx:pt idx="1272">1</cx:pt>
          <cx:pt idx="1273">3</cx:pt>
          <cx:pt idx="1274">3</cx:pt>
          <cx:pt idx="1275">0</cx:pt>
          <cx:pt idx="1276">3</cx:pt>
          <cx:pt idx="1277">3</cx:pt>
          <cx:pt idx="1278">2</cx:pt>
          <cx:pt idx="1279">4</cx:pt>
          <cx:pt idx="1280">4</cx:pt>
          <cx:pt idx="1281">5</cx:pt>
          <cx:pt idx="1282">2</cx:pt>
          <cx:pt idx="1283">2</cx:pt>
          <cx:pt idx="1284">1</cx:pt>
          <cx:pt idx="1285">2</cx:pt>
          <cx:pt idx="1286">3</cx:pt>
          <cx:pt idx="1287">5</cx:pt>
          <cx:pt idx="1288">5</cx:pt>
          <cx:pt idx="1289">2</cx:pt>
          <cx:pt idx="1290">5</cx:pt>
          <cx:pt idx="1291">4</cx:pt>
          <cx:pt idx="1292">1</cx:pt>
          <cx:pt idx="1293">4</cx:pt>
          <cx:pt idx="1294">2</cx:pt>
          <cx:pt idx="1295">5</cx:pt>
          <cx:pt idx="1296">4</cx:pt>
          <cx:pt idx="1297">4</cx:pt>
          <cx:pt idx="1298">1</cx:pt>
          <cx:pt idx="1299">3</cx:pt>
          <cx:pt idx="1300">4</cx:pt>
          <cx:pt idx="1301">3</cx:pt>
          <cx:pt idx="1302">1</cx:pt>
          <cx:pt idx="1303">4</cx:pt>
          <cx:pt idx="1304">4</cx:pt>
          <cx:pt idx="1305">4</cx:pt>
          <cx:pt idx="1306">2</cx:pt>
          <cx:pt idx="1307">2</cx:pt>
          <cx:pt idx="1308">5</cx:pt>
          <cx:pt idx="1309">0</cx:pt>
          <cx:pt idx="1310">2</cx:pt>
          <cx:pt idx="1311">5</cx:pt>
          <cx:pt idx="1312">1</cx:pt>
          <cx:pt idx="1313">3</cx:pt>
          <cx:pt idx="1314">2</cx:pt>
          <cx:pt idx="1315">5</cx:pt>
          <cx:pt idx="1316">4</cx:pt>
          <cx:pt idx="1317">4</cx:pt>
          <cx:pt idx="1318">5</cx:pt>
          <cx:pt idx="1319">1</cx:pt>
          <cx:pt idx="1320">2</cx:pt>
          <cx:pt idx="1321">5</cx:pt>
          <cx:pt idx="1322">1</cx:pt>
          <cx:pt idx="1323">1</cx:pt>
          <cx:pt idx="1324">3</cx:pt>
          <cx:pt idx="1325">2</cx:pt>
          <cx:pt idx="1326">5</cx:pt>
          <cx:pt idx="1327">2</cx:pt>
          <cx:pt idx="1328">3</cx:pt>
          <cx:pt idx="1329">1</cx:pt>
          <cx:pt idx="1330">3</cx:pt>
          <cx:pt idx="1331">3</cx:pt>
          <cx:pt idx="1332">1</cx:pt>
          <cx:pt idx="1333">4</cx:pt>
          <cx:pt idx="1334">1</cx:pt>
          <cx:pt idx="1335">4</cx:pt>
          <cx:pt idx="1336">3</cx:pt>
          <cx:pt idx="1337">3</cx:pt>
          <cx:pt idx="1338">2</cx:pt>
          <cx:pt idx="1339">3</cx:pt>
          <cx:pt idx="1340">2</cx:pt>
          <cx:pt idx="1341">4</cx:pt>
          <cx:pt idx="1342">1</cx:pt>
          <cx:pt idx="1343">1</cx:pt>
          <cx:pt idx="1344">4</cx:pt>
          <cx:pt idx="1345">3</cx:pt>
          <cx:pt idx="1346">1</cx:pt>
          <cx:pt idx="1347">0</cx:pt>
          <cx:pt idx="1348">2</cx:pt>
          <cx:pt idx="1349">3</cx:pt>
          <cx:pt idx="1350">3</cx:pt>
          <cx:pt idx="1351">2</cx:pt>
          <cx:pt idx="1352">0</cx:pt>
          <cx:pt idx="1353">1</cx:pt>
          <cx:pt idx="1354">3</cx:pt>
          <cx:pt idx="1355">5</cx:pt>
          <cx:pt idx="1356">1</cx:pt>
          <cx:pt idx="1357">1</cx:pt>
          <cx:pt idx="1358">5</cx:pt>
          <cx:pt idx="1359">2</cx:pt>
          <cx:pt idx="1360">3</cx:pt>
          <cx:pt idx="1361">2</cx:pt>
          <cx:pt idx="1362">2</cx:pt>
          <cx:pt idx="1363">2</cx:pt>
          <cx:pt idx="1364">5</cx:pt>
          <cx:pt idx="1365">2</cx:pt>
          <cx:pt idx="1366">1</cx:pt>
          <cx:pt idx="1367">3</cx:pt>
          <cx:pt idx="1368">3</cx:pt>
          <cx:pt idx="1369">4</cx:pt>
          <cx:pt idx="1370">5</cx:pt>
          <cx:pt idx="1371">1</cx:pt>
          <cx:pt idx="1372">2</cx:pt>
          <cx:pt idx="1373">2</cx:pt>
          <cx:pt idx="1374">3</cx:pt>
          <cx:pt idx="1375">4</cx:pt>
          <cx:pt idx="1376">1</cx:pt>
          <cx:pt idx="1377">4</cx:pt>
          <cx:pt idx="1378">4</cx:pt>
          <cx:pt idx="1379">2</cx:pt>
          <cx:pt idx="1380">1</cx:pt>
          <cx:pt idx="1381">1</cx:pt>
          <cx:pt idx="1382">0</cx:pt>
          <cx:pt idx="1383">3</cx:pt>
          <cx:pt idx="1384">3</cx:pt>
          <cx:pt idx="1385">2</cx:pt>
          <cx:pt idx="1386">4</cx:pt>
          <cx:pt idx="1387">5</cx:pt>
          <cx:pt idx="1388">4</cx:pt>
          <cx:pt idx="1389">1</cx:pt>
          <cx:pt idx="1390">3</cx:pt>
          <cx:pt idx="1391">2</cx:pt>
          <cx:pt idx="1392">2</cx:pt>
          <cx:pt idx="1393">4</cx:pt>
          <cx:pt idx="1394">5</cx:pt>
          <cx:pt idx="1395">4</cx:pt>
          <cx:pt idx="1396">2</cx:pt>
          <cx:pt idx="1397">1</cx:pt>
          <cx:pt idx="1398">1</cx:pt>
          <cx:pt idx="1399">4</cx:pt>
          <cx:pt idx="1400">5</cx:pt>
          <cx:pt idx="1401">1</cx:pt>
          <cx:pt idx="1402">3</cx:pt>
          <cx:pt idx="1403">3</cx:pt>
          <cx:pt idx="1404">4</cx:pt>
          <cx:pt idx="1405">1</cx:pt>
          <cx:pt idx="1406">1</cx:pt>
          <cx:pt idx="1407">1</cx:pt>
          <cx:pt idx="1408">3</cx:pt>
          <cx:pt idx="1409">4</cx:pt>
          <cx:pt idx="1410">1</cx:pt>
          <cx:pt idx="1411">1</cx:pt>
          <cx:pt idx="1412">3</cx:pt>
          <cx:pt idx="1413">1</cx:pt>
          <cx:pt idx="1414">4</cx:pt>
          <cx:pt idx="1415">0</cx:pt>
          <cx:pt idx="1416">2</cx:pt>
          <cx:pt idx="1417">4</cx:pt>
          <cx:pt idx="1418">3</cx:pt>
          <cx:pt idx="1419">4</cx:pt>
          <cx:pt idx="1420">3</cx:pt>
          <cx:pt idx="1421">2</cx:pt>
          <cx:pt idx="1422">1</cx:pt>
          <cx:pt idx="1423">4</cx:pt>
          <cx:pt idx="1424">2</cx:pt>
          <cx:pt idx="1425">1</cx:pt>
          <cx:pt idx="1426">2</cx:pt>
          <cx:pt idx="1427">3</cx:pt>
          <cx:pt idx="1428">2</cx:pt>
          <cx:pt idx="1429">3</cx:pt>
          <cx:pt idx="1430">4</cx:pt>
          <cx:pt idx="1431">0</cx:pt>
          <cx:pt idx="1432">5</cx:pt>
          <cx:pt idx="1433">1</cx:pt>
          <cx:pt idx="1434">3</cx:pt>
          <cx:pt idx="1435">1</cx:pt>
          <cx:pt idx="1436">2</cx:pt>
          <cx:pt idx="1437">1</cx:pt>
          <cx:pt idx="1438">2</cx:pt>
          <cx:pt idx="1439">4</cx:pt>
          <cx:pt idx="1440">4</cx:pt>
          <cx:pt idx="1441">2</cx:pt>
          <cx:pt idx="1442">1</cx:pt>
          <cx:pt idx="1443">4</cx:pt>
          <cx:pt idx="1444">5</cx:pt>
          <cx:pt idx="1445">2</cx:pt>
          <cx:pt idx="1446">1</cx:pt>
          <cx:pt idx="1447">3</cx:pt>
          <cx:pt idx="1448">2</cx:pt>
          <cx:pt idx="1449">1</cx:pt>
          <cx:pt idx="1450">2</cx:pt>
          <cx:pt idx="1451">2</cx:pt>
          <cx:pt idx="1452">3</cx:pt>
          <cx:pt idx="1453">1</cx:pt>
          <cx:pt idx="1454">2</cx:pt>
          <cx:pt idx="1455">3</cx:pt>
          <cx:pt idx="1456">4</cx:pt>
          <cx:pt idx="1457">2</cx:pt>
          <cx:pt idx="1458">2</cx:pt>
          <cx:pt idx="1459">5</cx:pt>
          <cx:pt idx="1460">2</cx:pt>
          <cx:pt idx="1461">2</cx:pt>
          <cx:pt idx="1462">5</cx:pt>
          <cx:pt idx="1463">2</cx:pt>
          <cx:pt idx="1464">2</cx:pt>
          <cx:pt idx="1465">1</cx:pt>
          <cx:pt idx="1466">3</cx:pt>
          <cx:pt idx="1467">1</cx:pt>
          <cx:pt idx="1468">2</cx:pt>
          <cx:pt idx="1469">1</cx:pt>
          <cx:pt idx="1470">4</cx:pt>
          <cx:pt idx="1471">3</cx:pt>
          <cx:pt idx="1472">3</cx:pt>
          <cx:pt idx="1473">3</cx:pt>
          <cx:pt idx="1474">1</cx:pt>
          <cx:pt idx="1475">3</cx:pt>
          <cx:pt idx="1476">3</cx:pt>
          <cx:pt idx="1477">1</cx:pt>
          <cx:pt idx="1478">3</cx:pt>
          <cx:pt idx="1479">3</cx:pt>
          <cx:pt idx="1480">3</cx:pt>
          <cx:pt idx="1481">2</cx:pt>
          <cx:pt idx="1482">1</cx:pt>
          <cx:pt idx="1483">3</cx:pt>
          <cx:pt idx="1484">5</cx:pt>
          <cx:pt idx="1485">5</cx:pt>
          <cx:pt idx="1486">4</cx:pt>
          <cx:pt idx="1487">2</cx:pt>
          <cx:pt idx="1488">5</cx:pt>
          <cx:pt idx="1489">3</cx:pt>
          <cx:pt idx="1490">1</cx:pt>
          <cx:pt idx="1491">2</cx:pt>
          <cx:pt idx="1492">2</cx:pt>
          <cx:pt idx="1493">4</cx:pt>
          <cx:pt idx="1494">4</cx:pt>
          <cx:pt idx="1495">2</cx:pt>
          <cx:pt idx="1496">1</cx:pt>
          <cx:pt idx="1497">5</cx:pt>
          <cx:pt idx="1498">2</cx:pt>
          <cx:pt idx="1499">3</cx:pt>
          <cx:pt idx="1500">2</cx:pt>
          <cx:pt idx="1501">1</cx:pt>
          <cx:pt idx="1502">4</cx:pt>
          <cx:pt idx="1503">2</cx:pt>
          <cx:pt idx="1504">5</cx:pt>
          <cx:pt idx="1505">4</cx:pt>
          <cx:pt idx="1506">1</cx:pt>
          <cx:pt idx="1507">4</cx:pt>
          <cx:pt idx="1508">1</cx:pt>
          <cx:pt idx="1509">2</cx:pt>
          <cx:pt idx="1510">3</cx:pt>
          <cx:pt idx="1511">1</cx:pt>
          <cx:pt idx="1512">1</cx:pt>
          <cx:pt idx="1513">4</cx:pt>
          <cx:pt idx="1514">2</cx:pt>
          <cx:pt idx="1515">4</cx:pt>
          <cx:pt idx="1516">0</cx:pt>
          <cx:pt idx="1517">3</cx:pt>
          <cx:pt idx="1518">3</cx:pt>
          <cx:pt idx="1519">3</cx:pt>
          <cx:pt idx="1520">3</cx:pt>
          <cx:pt idx="1521">5</cx:pt>
          <cx:pt idx="1522">5</cx:pt>
          <cx:pt idx="1523">2</cx:pt>
          <cx:pt idx="1524">2</cx:pt>
          <cx:pt idx="1525">4</cx:pt>
          <cx:pt idx="1526">4</cx:pt>
          <cx:pt idx="1527">4</cx:pt>
          <cx:pt idx="1528">2</cx:pt>
          <cx:pt idx="1529">5</cx:pt>
          <cx:pt idx="1530">1</cx:pt>
          <cx:pt idx="1531">5</cx:pt>
          <cx:pt idx="1532">3</cx:pt>
          <cx:pt idx="1533">3</cx:pt>
          <cx:pt idx="1534">1</cx:pt>
          <cx:pt idx="1535">2</cx:pt>
          <cx:pt idx="1536">3</cx:pt>
          <cx:pt idx="1537">2</cx:pt>
          <cx:pt idx="1538">2</cx:pt>
          <cx:pt idx="1539">3</cx:pt>
          <cx:pt idx="1540">2</cx:pt>
          <cx:pt idx="1541">4</cx:pt>
          <cx:pt idx="1542">2</cx:pt>
          <cx:pt idx="1543">1</cx:pt>
          <cx:pt idx="1544">3</cx:pt>
          <cx:pt idx="1545">2</cx:pt>
          <cx:pt idx="1546">3</cx:pt>
          <cx:pt idx="1547">3</cx:pt>
          <cx:pt idx="1548">3</cx:pt>
          <cx:pt idx="1549">5</cx:pt>
          <cx:pt idx="1550">3</cx:pt>
          <cx:pt idx="1551">5</cx:pt>
          <cx:pt idx="1552">2</cx:pt>
          <cx:pt idx="1553">3</cx:pt>
          <cx:pt idx="1554">0</cx:pt>
          <cx:pt idx="1555">1</cx:pt>
          <cx:pt idx="1556">2</cx:pt>
          <cx:pt idx="1557">1</cx:pt>
          <cx:pt idx="1558">2</cx:pt>
          <cx:pt idx="1559">1</cx:pt>
          <cx:pt idx="1560">2</cx:pt>
          <cx:pt idx="1561">4</cx:pt>
          <cx:pt idx="1562">5</cx:pt>
          <cx:pt idx="1563">3</cx:pt>
          <cx:pt idx="1564">3</cx:pt>
          <cx:pt idx="1565">3</cx:pt>
          <cx:pt idx="1566">2</cx:pt>
          <cx:pt idx="1567">2</cx:pt>
          <cx:pt idx="1568">4</cx:pt>
          <cx:pt idx="1569">2</cx:pt>
          <cx:pt idx="1570">2</cx:pt>
          <cx:pt idx="1571">5</cx:pt>
          <cx:pt idx="1572">4</cx:pt>
          <cx:pt idx="1573">4</cx:pt>
          <cx:pt idx="1574">2</cx:pt>
          <cx:pt idx="1575">5</cx:pt>
          <cx:pt idx="1576">4</cx:pt>
          <cx:pt idx="1577">5</cx:pt>
          <cx:pt idx="1578">3</cx:pt>
          <cx:pt idx="1579">3</cx:pt>
          <cx:pt idx="1580">5</cx:pt>
          <cx:pt idx="1581">3</cx:pt>
          <cx:pt idx="1582">1</cx:pt>
          <cx:pt idx="1583">1</cx:pt>
          <cx:pt idx="1584">2</cx:pt>
          <cx:pt idx="1585">2</cx:pt>
          <cx:pt idx="1586">4</cx:pt>
          <cx:pt idx="1587">3</cx:pt>
          <cx:pt idx="1588">3</cx:pt>
          <cx:pt idx="1589">3</cx:pt>
          <cx:pt idx="1590">3</cx:pt>
          <cx:pt idx="1591">2</cx:pt>
          <cx:pt idx="1592">0</cx:pt>
          <cx:pt idx="1593">3</cx:pt>
          <cx:pt idx="1594">4</cx:pt>
          <cx:pt idx="1595">0</cx:pt>
          <cx:pt idx="1596">1</cx:pt>
          <cx:pt idx="1597">0</cx:pt>
          <cx:pt idx="1598">2</cx:pt>
          <cx:pt idx="1599">3</cx:pt>
          <cx:pt idx="1600">1</cx:pt>
          <cx:pt idx="1601">3</cx:pt>
          <cx:pt idx="1602">5</cx:pt>
          <cx:pt idx="1603">3</cx:pt>
          <cx:pt idx="1604">5</cx:pt>
          <cx:pt idx="1605">4</cx:pt>
          <cx:pt idx="1606">3</cx:pt>
          <cx:pt idx="1607">4</cx:pt>
          <cx:pt idx="1608">5</cx:pt>
          <cx:pt idx="1609">0</cx:pt>
          <cx:pt idx="1610">5</cx:pt>
          <cx:pt idx="1611">3</cx:pt>
          <cx:pt idx="1612">3</cx:pt>
          <cx:pt idx="1613">3</cx:pt>
          <cx:pt idx="1614">4</cx:pt>
          <cx:pt idx="1615">4</cx:pt>
          <cx:pt idx="1616">4</cx:pt>
          <cx:pt idx="1617">4</cx:pt>
          <cx:pt idx="1618">5</cx:pt>
          <cx:pt idx="1619">4</cx:pt>
          <cx:pt idx="1620">0</cx:pt>
          <cx:pt idx="1621">5</cx:pt>
          <cx:pt idx="1622">1</cx:pt>
          <cx:pt idx="1623">3</cx:pt>
          <cx:pt idx="1624">2</cx:pt>
          <cx:pt idx="1625">4</cx:pt>
          <cx:pt idx="1626">1</cx:pt>
          <cx:pt idx="1627">2</cx:pt>
          <cx:pt idx="1628">2</cx:pt>
          <cx:pt idx="1629">4</cx:pt>
          <cx:pt idx="1630">2</cx:pt>
          <cx:pt idx="1631">2</cx:pt>
          <cx:pt idx="1632">1</cx:pt>
          <cx:pt idx="1633">0</cx:pt>
          <cx:pt idx="1634">3</cx:pt>
          <cx:pt idx="1635">0</cx:pt>
          <cx:pt idx="1636">0</cx:pt>
          <cx:pt idx="1637">2</cx:pt>
          <cx:pt idx="1638">3</cx:pt>
          <cx:pt idx="1639">4</cx:pt>
          <cx:pt idx="1640">4</cx:pt>
          <cx:pt idx="1641">3</cx:pt>
          <cx:pt idx="1642">3</cx:pt>
          <cx:pt idx="1643">5</cx:pt>
          <cx:pt idx="1644">0</cx:pt>
          <cx:pt idx="1645">1</cx:pt>
          <cx:pt idx="1646">4</cx:pt>
          <cx:pt idx="1647">3</cx:pt>
          <cx:pt idx="1648">3</cx:pt>
          <cx:pt idx="1649">3</cx:pt>
          <cx:pt idx="1650">4</cx:pt>
          <cx:pt idx="1651">3</cx:pt>
          <cx:pt idx="1652">1</cx:pt>
          <cx:pt idx="1653">3</cx:pt>
          <cx:pt idx="1654">3</cx:pt>
          <cx:pt idx="1655">4</cx:pt>
          <cx:pt idx="1656">2</cx:pt>
          <cx:pt idx="1657">0</cx:pt>
          <cx:pt idx="1658">2</cx:pt>
          <cx:pt idx="1659">3</cx:pt>
          <cx:pt idx="1660">1</cx:pt>
          <cx:pt idx="1661">5</cx:pt>
          <cx:pt idx="1662">1</cx:pt>
          <cx:pt idx="1663">2</cx:pt>
          <cx:pt idx="1664">4</cx:pt>
          <cx:pt idx="1665">1</cx:pt>
          <cx:pt idx="1666">3</cx:pt>
          <cx:pt idx="1667">1</cx:pt>
          <cx:pt idx="1668">2</cx:pt>
          <cx:pt idx="1669">4</cx:pt>
          <cx:pt idx="1670">5</cx:pt>
          <cx:pt idx="1671">1</cx:pt>
          <cx:pt idx="1672">4</cx:pt>
          <cx:pt idx="1673">1</cx:pt>
          <cx:pt idx="1674">1</cx:pt>
          <cx:pt idx="1675">3</cx:pt>
          <cx:pt idx="1676">2</cx:pt>
          <cx:pt idx="1677">2</cx:pt>
          <cx:pt idx="1678">5</cx:pt>
          <cx:pt idx="1679">4</cx:pt>
          <cx:pt idx="1680">1</cx:pt>
          <cx:pt idx="1681">4</cx:pt>
          <cx:pt idx="1682">3</cx:pt>
          <cx:pt idx="1683">0</cx:pt>
          <cx:pt idx="1684">3</cx:pt>
          <cx:pt idx="1685">2</cx:pt>
          <cx:pt idx="1686">2</cx:pt>
          <cx:pt idx="1687">1</cx:pt>
          <cx:pt idx="1688">4</cx:pt>
          <cx:pt idx="1689">4</cx:pt>
          <cx:pt idx="1690">5</cx:pt>
          <cx:pt idx="1691">2</cx:pt>
          <cx:pt idx="1692">0</cx:pt>
          <cx:pt idx="1693">4</cx:pt>
          <cx:pt idx="1694">4</cx:pt>
          <cx:pt idx="1695">3</cx:pt>
          <cx:pt idx="1696">5</cx:pt>
          <cx:pt idx="1697">3</cx:pt>
          <cx:pt idx="1698">2</cx:pt>
          <cx:pt idx="1699">2</cx:pt>
          <cx:pt idx="1700">5</cx:pt>
          <cx:pt idx="1701">3</cx:pt>
          <cx:pt idx="1702">4</cx:pt>
          <cx:pt idx="1703">2</cx:pt>
          <cx:pt idx="1704">4</cx:pt>
          <cx:pt idx="1705">5</cx:pt>
          <cx:pt idx="1706">4</cx:pt>
          <cx:pt idx="1707">4</cx:pt>
          <cx:pt idx="1708">3</cx:pt>
          <cx:pt idx="1709">4</cx:pt>
          <cx:pt idx="1710">5</cx:pt>
          <cx:pt idx="1711">5</cx:pt>
          <cx:pt idx="1712">2</cx:pt>
          <cx:pt idx="1713">4</cx:pt>
          <cx:pt idx="1714">4</cx:pt>
          <cx:pt idx="1715">1</cx:pt>
          <cx:pt idx="1716">3</cx:pt>
          <cx:pt idx="1717">1</cx:pt>
          <cx:pt idx="1718">3</cx:pt>
          <cx:pt idx="1719">5</cx:pt>
          <cx:pt idx="1720">5</cx:pt>
          <cx:pt idx="1721">3</cx:pt>
          <cx:pt idx="1722">1</cx:pt>
          <cx:pt idx="1723">4</cx:pt>
          <cx:pt idx="1724">2</cx:pt>
          <cx:pt idx="1725">5</cx:pt>
          <cx:pt idx="1726">3</cx:pt>
          <cx:pt idx="1727">5</cx:pt>
          <cx:pt idx="1728">2</cx:pt>
          <cx:pt idx="1729">3</cx:pt>
          <cx:pt idx="1730">3</cx:pt>
          <cx:pt idx="1731">4</cx:pt>
          <cx:pt idx="1732">1</cx:pt>
          <cx:pt idx="1733">1</cx:pt>
          <cx:pt idx="1734">4</cx:pt>
          <cx:pt idx="1735">2</cx:pt>
          <cx:pt idx="1736">1</cx:pt>
          <cx:pt idx="1737">1</cx:pt>
          <cx:pt idx="1738">0</cx:pt>
          <cx:pt idx="1739">2</cx:pt>
          <cx:pt idx="1740">1</cx:pt>
          <cx:pt idx="1741">5</cx:pt>
          <cx:pt idx="1742">2</cx:pt>
          <cx:pt idx="1743">1</cx:pt>
          <cx:pt idx="1744">5</cx:pt>
          <cx:pt idx="1745">2</cx:pt>
          <cx:pt idx="1746">3</cx:pt>
          <cx:pt idx="1747">3</cx:pt>
          <cx:pt idx="1748">4</cx:pt>
          <cx:pt idx="1749">0</cx:pt>
          <cx:pt idx="1750">1</cx:pt>
          <cx:pt idx="1751">3</cx:pt>
          <cx:pt idx="1752">2</cx:pt>
          <cx:pt idx="1753">3</cx:pt>
          <cx:pt idx="1754">2</cx:pt>
          <cx:pt idx="1755">3</cx:pt>
          <cx:pt idx="1756">5</cx:pt>
          <cx:pt idx="1757">4</cx:pt>
          <cx:pt idx="1758">2</cx:pt>
          <cx:pt idx="1759">3</cx:pt>
          <cx:pt idx="1760">4</cx:pt>
          <cx:pt idx="1761">2</cx:pt>
          <cx:pt idx="1762">3</cx:pt>
          <cx:pt idx="1763">5</cx:pt>
          <cx:pt idx="1764">4</cx:pt>
          <cx:pt idx="1765">3</cx:pt>
          <cx:pt idx="1766">2</cx:pt>
          <cx:pt idx="1767">4</cx:pt>
          <cx:pt idx="1768">4</cx:pt>
          <cx:pt idx="1769">4</cx:pt>
          <cx:pt idx="1770">1</cx:pt>
          <cx:pt idx="1771">5</cx:pt>
          <cx:pt idx="1772">3</cx:pt>
          <cx:pt idx="1773">4</cx:pt>
          <cx:pt idx="1774">4</cx:pt>
          <cx:pt idx="1775">3</cx:pt>
          <cx:pt idx="1776">3</cx:pt>
          <cx:pt idx="1777">5</cx:pt>
          <cx:pt idx="1778">2</cx:pt>
          <cx:pt idx="1779">5</cx:pt>
          <cx:pt idx="1780">1</cx:pt>
          <cx:pt idx="1781">5</cx:pt>
          <cx:pt idx="1782">2</cx:pt>
          <cx:pt idx="1783">3</cx:pt>
          <cx:pt idx="1784">2</cx:pt>
          <cx:pt idx="1785">3</cx:pt>
          <cx:pt idx="1786">2</cx:pt>
          <cx:pt idx="1787">4</cx:pt>
          <cx:pt idx="1788">4</cx:pt>
          <cx:pt idx="1789">2</cx:pt>
          <cx:pt idx="1790">4</cx:pt>
          <cx:pt idx="1791">5</cx:pt>
          <cx:pt idx="1792">2</cx:pt>
          <cx:pt idx="1793">3</cx:pt>
          <cx:pt idx="1794">3</cx:pt>
          <cx:pt idx="1795">5</cx:pt>
          <cx:pt idx="1796">3</cx:pt>
          <cx:pt idx="1797">5</cx:pt>
          <cx:pt idx="1798">3</cx:pt>
          <cx:pt idx="1799">4</cx:pt>
          <cx:pt idx="1800">4</cx:pt>
          <cx:pt idx="1801">1</cx:pt>
          <cx:pt idx="1802">4</cx:pt>
          <cx:pt idx="1803">2</cx:pt>
          <cx:pt idx="1804">3</cx:pt>
          <cx:pt idx="1805">4</cx:pt>
          <cx:pt idx="1806">1</cx:pt>
          <cx:pt idx="1807">5</cx:pt>
          <cx:pt idx="1808">4</cx:pt>
          <cx:pt idx="1809">2</cx:pt>
          <cx:pt idx="1810">4</cx:pt>
          <cx:pt idx="1811">2</cx:pt>
          <cx:pt idx="1812">4</cx:pt>
          <cx:pt idx="1813">1</cx:pt>
          <cx:pt idx="1814">4</cx:pt>
          <cx:pt idx="1815">5</cx:pt>
          <cx:pt idx="1816">2</cx:pt>
          <cx:pt idx="1817">4</cx:pt>
          <cx:pt idx="1818">5</cx:pt>
          <cx:pt idx="1819">4</cx:pt>
          <cx:pt idx="1820">3</cx:pt>
          <cx:pt idx="1821">2</cx:pt>
          <cx:pt idx="1822">4</cx:pt>
          <cx:pt idx="1823">5</cx:pt>
          <cx:pt idx="1824">1</cx:pt>
          <cx:pt idx="1825">5</cx:pt>
          <cx:pt idx="1826">1</cx:pt>
          <cx:pt idx="1827">3</cx:pt>
          <cx:pt idx="1828">2</cx:pt>
          <cx:pt idx="1829">2</cx:pt>
          <cx:pt idx="1830">2</cx:pt>
          <cx:pt idx="1831">5</cx:pt>
          <cx:pt idx="1832">4</cx:pt>
          <cx:pt idx="1833">2</cx:pt>
          <cx:pt idx="1834">3</cx:pt>
          <cx:pt idx="1835">3</cx:pt>
          <cx:pt idx="1836">3</cx:pt>
          <cx:pt idx="1837">2</cx:pt>
          <cx:pt idx="1838">2</cx:pt>
          <cx:pt idx="1839">3</cx:pt>
          <cx:pt idx="1840">4</cx:pt>
          <cx:pt idx="1841">3</cx:pt>
          <cx:pt idx="1842">3</cx:pt>
          <cx:pt idx="1843">0</cx:pt>
          <cx:pt idx="1844">4</cx:pt>
          <cx:pt idx="1845">4</cx:pt>
          <cx:pt idx="1846">3</cx:pt>
          <cx:pt idx="1847">1</cx:pt>
          <cx:pt idx="1848">1</cx:pt>
          <cx:pt idx="1849">2</cx:pt>
          <cx:pt idx="1850">2</cx:pt>
          <cx:pt idx="1851">1</cx:pt>
          <cx:pt idx="1852">5</cx:pt>
          <cx:pt idx="1853">2</cx:pt>
          <cx:pt idx="1854">4</cx:pt>
          <cx:pt idx="1855">5</cx:pt>
          <cx:pt idx="1856">5</cx:pt>
          <cx:pt idx="1857">2</cx:pt>
          <cx:pt idx="1858">1</cx:pt>
          <cx:pt idx="1859">3</cx:pt>
          <cx:pt idx="1860">5</cx:pt>
          <cx:pt idx="1861">3</cx:pt>
          <cx:pt idx="1862">2</cx:pt>
          <cx:pt idx="1863">2</cx:pt>
          <cx:pt idx="1864">1</cx:pt>
          <cx:pt idx="1865">3</cx:pt>
          <cx:pt idx="1866">4</cx:pt>
          <cx:pt idx="1867">2</cx:pt>
          <cx:pt idx="1868">5</cx:pt>
          <cx:pt idx="1869">1</cx:pt>
          <cx:pt idx="1870">3</cx:pt>
          <cx:pt idx="1871">5</cx:pt>
          <cx:pt idx="1872">0</cx:pt>
          <cx:pt idx="1873">3</cx:pt>
          <cx:pt idx="1874">2</cx:pt>
          <cx:pt idx="1875">5</cx:pt>
          <cx:pt idx="1876">5</cx:pt>
          <cx:pt idx="1877">2</cx:pt>
          <cx:pt idx="1878">3</cx:pt>
          <cx:pt idx="1879">2</cx:pt>
          <cx:pt idx="1880">1</cx:pt>
          <cx:pt idx="1881">3</cx:pt>
          <cx:pt idx="1882">4</cx:pt>
          <cx:pt idx="1883">2</cx:pt>
          <cx:pt idx="1884">3</cx:pt>
          <cx:pt idx="1885">1</cx:pt>
          <cx:pt idx="1886">4</cx:pt>
          <cx:pt idx="1887">1</cx:pt>
          <cx:pt idx="1888">1</cx:pt>
          <cx:pt idx="1889">0</cx:pt>
          <cx:pt idx="1890">4</cx:pt>
          <cx:pt idx="1891">3</cx:pt>
          <cx:pt idx="1892">1</cx:pt>
          <cx:pt idx="1893">4</cx:pt>
          <cx:pt idx="1894">2</cx:pt>
          <cx:pt idx="1895">1</cx:pt>
          <cx:pt idx="1896">4</cx:pt>
          <cx:pt idx="1897">4</cx:pt>
          <cx:pt idx="1898">5</cx:pt>
          <cx:pt idx="1899">4</cx:pt>
          <cx:pt idx="1900">4</cx:pt>
          <cx:pt idx="1901">4</cx:pt>
          <cx:pt idx="1902">2</cx:pt>
          <cx:pt idx="1903">0</cx:pt>
          <cx:pt idx="1904">3</cx:pt>
          <cx:pt idx="1905">5</cx:pt>
          <cx:pt idx="1906">3</cx:pt>
          <cx:pt idx="1907">1</cx:pt>
          <cx:pt idx="1908">2</cx:pt>
          <cx:pt idx="1909">3</cx:pt>
          <cx:pt idx="1910">5</cx:pt>
          <cx:pt idx="1911">0</cx:pt>
          <cx:pt idx="1912">5</cx:pt>
          <cx:pt idx="1913">4</cx:pt>
          <cx:pt idx="1914">1</cx:pt>
          <cx:pt idx="1915">3</cx:pt>
          <cx:pt idx="1916">3</cx:pt>
          <cx:pt idx="1917">3</cx:pt>
          <cx:pt idx="1918">2</cx:pt>
          <cx:pt idx="1919">2</cx:pt>
          <cx:pt idx="1920">3</cx:pt>
          <cx:pt idx="1921">5</cx:pt>
          <cx:pt idx="1922">2</cx:pt>
          <cx:pt idx="1923">5</cx:pt>
          <cx:pt idx="1924">3</cx:pt>
          <cx:pt idx="1925">1</cx:pt>
          <cx:pt idx="1926">1</cx:pt>
          <cx:pt idx="1927">3</cx:pt>
          <cx:pt idx="1928">5</cx:pt>
          <cx:pt idx="1929">1</cx:pt>
          <cx:pt idx="1930">2</cx:pt>
          <cx:pt idx="1931">5</cx:pt>
          <cx:pt idx="1932">3</cx:pt>
          <cx:pt idx="1933">2</cx:pt>
          <cx:pt idx="1934">1</cx:pt>
          <cx:pt idx="1935">3</cx:pt>
          <cx:pt idx="1936">4</cx:pt>
          <cx:pt idx="1937">4</cx:pt>
          <cx:pt idx="1938">5</cx:pt>
          <cx:pt idx="1939">4</cx:pt>
          <cx:pt idx="1940">3</cx:pt>
          <cx:pt idx="1941">5</cx:pt>
          <cx:pt idx="1942">4</cx:pt>
          <cx:pt idx="1943">2</cx:pt>
          <cx:pt idx="1944">3</cx:pt>
          <cx:pt idx="1945">4</cx:pt>
          <cx:pt idx="1946">4</cx:pt>
          <cx:pt idx="1947">3</cx:pt>
          <cx:pt idx="1948">2</cx:pt>
          <cx:pt idx="1949">5</cx:pt>
          <cx:pt idx="1950">4</cx:pt>
          <cx:pt idx="1951">1</cx:pt>
          <cx:pt idx="1952">2</cx:pt>
          <cx:pt idx="1953">2</cx:pt>
          <cx:pt idx="1954">0</cx:pt>
          <cx:pt idx="1955">2</cx:pt>
          <cx:pt idx="1956">4</cx:pt>
          <cx:pt idx="1957">4</cx:pt>
          <cx:pt idx="1958">0</cx:pt>
          <cx:pt idx="1959">3</cx:pt>
          <cx:pt idx="1960">2</cx:pt>
          <cx:pt idx="1961">3</cx:pt>
          <cx:pt idx="1962">2</cx:pt>
          <cx:pt idx="1963">5</cx:pt>
          <cx:pt idx="1964">5</cx:pt>
          <cx:pt idx="1965">3</cx:pt>
          <cx:pt idx="1966">4</cx:pt>
          <cx:pt idx="1967">2</cx:pt>
          <cx:pt idx="1968">3</cx:pt>
          <cx:pt idx="1969">2</cx:pt>
          <cx:pt idx="1970">3</cx:pt>
          <cx:pt idx="1971">2</cx:pt>
          <cx:pt idx="1972">3</cx:pt>
          <cx:pt idx="1973">3</cx:pt>
          <cx:pt idx="1974">5</cx:pt>
          <cx:pt idx="1975">5</cx:pt>
          <cx:pt idx="1976">2</cx:pt>
          <cx:pt idx="1977">3</cx:pt>
          <cx:pt idx="1978">5</cx:pt>
          <cx:pt idx="1979">3</cx:pt>
          <cx:pt idx="1980">1</cx:pt>
          <cx:pt idx="1981">0</cx:pt>
          <cx:pt idx="1982">4</cx:pt>
          <cx:pt idx="1983">3</cx:pt>
          <cx:pt idx="1984">1</cx:pt>
          <cx:pt idx="1985">3</cx:pt>
          <cx:pt idx="1986">1</cx:pt>
          <cx:pt idx="1987">3</cx:pt>
          <cx:pt idx="1988">5</cx:pt>
          <cx:pt idx="1989">4</cx:pt>
          <cx:pt idx="1990">3</cx:pt>
          <cx:pt idx="1991">1</cx:pt>
          <cx:pt idx="1992">1</cx:pt>
          <cx:pt idx="1993">1</cx:pt>
          <cx:pt idx="1994">3</cx:pt>
          <cx:pt idx="1995">4</cx:pt>
          <cx:pt idx="1996">2</cx:pt>
          <cx:pt idx="1997">4</cx:pt>
          <cx:pt idx="1998">1</cx:pt>
          <cx:pt idx="1999">3</cx:pt>
          <cx:pt idx="2000">2</cx:pt>
          <cx:pt idx="2001">0</cx:pt>
          <cx:pt idx="2002">1</cx:pt>
          <cx:pt idx="2003">3</cx:pt>
          <cx:pt idx="2004">3</cx:pt>
          <cx:pt idx="2005">3</cx:pt>
          <cx:pt idx="2006">5</cx:pt>
          <cx:pt idx="2007">4</cx:pt>
          <cx:pt idx="2008">3</cx:pt>
          <cx:pt idx="2009">1</cx:pt>
          <cx:pt idx="2010">3</cx:pt>
          <cx:pt idx="2011">1</cx:pt>
          <cx:pt idx="2012">3</cx:pt>
          <cx:pt idx="2013">3</cx:pt>
          <cx:pt idx="2014">2</cx:pt>
          <cx:pt idx="2015">3</cx:pt>
          <cx:pt idx="2016">2</cx:pt>
          <cx:pt idx="2017">2</cx:pt>
          <cx:pt idx="2018">5</cx:pt>
          <cx:pt idx="2019">2</cx:pt>
          <cx:pt idx="2020">4</cx:pt>
          <cx:pt idx="2021">1</cx:pt>
          <cx:pt idx="2022">2</cx:pt>
          <cx:pt idx="2023">2</cx:pt>
          <cx:pt idx="2024">3</cx:pt>
          <cx:pt idx="2025">1</cx:pt>
          <cx:pt idx="2026">4</cx:pt>
          <cx:pt idx="2027">2</cx:pt>
          <cx:pt idx="2028">4</cx:pt>
          <cx:pt idx="2029">5</cx:pt>
          <cx:pt idx="2030">3</cx:pt>
          <cx:pt idx="2031">2</cx:pt>
          <cx:pt idx="2032">2</cx:pt>
          <cx:pt idx="2033">5</cx:pt>
          <cx:pt idx="2034">3</cx:pt>
          <cx:pt idx="2035">4</cx:pt>
          <cx:pt idx="2036">2</cx:pt>
          <cx:pt idx="2037">1</cx:pt>
          <cx:pt idx="2038">3</cx:pt>
          <cx:pt idx="2039">1</cx:pt>
          <cx:pt idx="2040">2</cx:pt>
          <cx:pt idx="2041">0</cx:pt>
          <cx:pt idx="2042">2</cx:pt>
          <cx:pt idx="2043">4</cx:pt>
          <cx:pt idx="2044">2</cx:pt>
          <cx:pt idx="2045">2</cx:pt>
          <cx:pt idx="2046">5</cx:pt>
          <cx:pt idx="2047">3</cx:pt>
          <cx:pt idx="2048">3</cx:pt>
          <cx:pt idx="2049">2</cx:pt>
          <cx:pt idx="2050">2</cx:pt>
          <cx:pt idx="2051">5</cx:pt>
          <cx:pt idx="2052">4</cx:pt>
          <cx:pt idx="2053">3</cx:pt>
          <cx:pt idx="2054">4</cx:pt>
          <cx:pt idx="2055">2</cx:pt>
          <cx:pt idx="2056">5</cx:pt>
          <cx:pt idx="2057">2</cx:pt>
          <cx:pt idx="2058">2</cx:pt>
          <cx:pt idx="2059">2</cx:pt>
          <cx:pt idx="2060">3</cx:pt>
          <cx:pt idx="2061">5</cx:pt>
          <cx:pt idx="2062">3</cx:pt>
          <cx:pt idx="2063">0</cx:pt>
          <cx:pt idx="2064">4</cx:pt>
          <cx:pt idx="2065">2</cx:pt>
          <cx:pt idx="2066">5</cx:pt>
          <cx:pt idx="2067">2</cx:pt>
          <cx:pt idx="2068">1</cx:pt>
          <cx:pt idx="2069">3</cx:pt>
          <cx:pt idx="2070">4</cx:pt>
          <cx:pt idx="2071">2</cx:pt>
          <cx:pt idx="2072">2</cx:pt>
          <cx:pt idx="2073">3</cx:pt>
          <cx:pt idx="2074">3</cx:pt>
          <cx:pt idx="2075">5</cx:pt>
          <cx:pt idx="2076">2</cx:pt>
          <cx:pt idx="2077">3</cx:pt>
          <cx:pt idx="2078">4</cx:pt>
          <cx:pt idx="2079">4</cx:pt>
          <cx:pt idx="2080">3</cx:pt>
          <cx:pt idx="2081">2</cx:pt>
          <cx:pt idx="2082">2</cx:pt>
          <cx:pt idx="2083">2</cx:pt>
          <cx:pt idx="2084">1</cx:pt>
          <cx:pt idx="2085">4</cx:pt>
          <cx:pt idx="2086">1</cx:pt>
          <cx:pt idx="2087">3</cx:pt>
          <cx:pt idx="2088">3</cx:pt>
          <cx:pt idx="2089">4</cx:pt>
          <cx:pt idx="2090">2</cx:pt>
          <cx:pt idx="2091">2</cx:pt>
          <cx:pt idx="2092">5</cx:pt>
          <cx:pt idx="2093">2</cx:pt>
          <cx:pt idx="2094">4</cx:pt>
          <cx:pt idx="2095">3</cx:pt>
          <cx:pt idx="2096">1</cx:pt>
          <cx:pt idx="2097">5</cx:pt>
          <cx:pt idx="2098">3</cx:pt>
          <cx:pt idx="2099">3</cx:pt>
          <cx:pt idx="2100">4</cx:pt>
          <cx:pt idx="2101">5</cx:pt>
          <cx:pt idx="2102">1</cx:pt>
          <cx:pt idx="2103">5</cx:pt>
          <cx:pt idx="2104">3</cx:pt>
          <cx:pt idx="2105">0</cx:pt>
          <cx:pt idx="2106">1</cx:pt>
          <cx:pt idx="2107">4</cx:pt>
          <cx:pt idx="2108">2</cx:pt>
          <cx:pt idx="2109">3</cx:pt>
          <cx:pt idx="2110">5</cx:pt>
          <cx:pt idx="2111">3</cx:pt>
          <cx:pt idx="2112">1</cx:pt>
          <cx:pt idx="2113">2</cx:pt>
          <cx:pt idx="2114">5</cx:pt>
          <cx:pt idx="2115">5</cx:pt>
          <cx:pt idx="2116">2</cx:pt>
          <cx:pt idx="2117">2</cx:pt>
          <cx:pt idx="2118">5</cx:pt>
          <cx:pt idx="2119">3</cx:pt>
          <cx:pt idx="2120">3</cx:pt>
          <cx:pt idx="2121">0</cx:pt>
          <cx:pt idx="2122">3</cx:pt>
          <cx:pt idx="2123">3</cx:pt>
          <cx:pt idx="2124">2</cx:pt>
          <cx:pt idx="2125">5</cx:pt>
          <cx:pt idx="2126">1</cx:pt>
          <cx:pt idx="2127">2</cx:pt>
          <cx:pt idx="2128">1</cx:pt>
          <cx:pt idx="2129">3</cx:pt>
          <cx:pt idx="2130">4</cx:pt>
          <cx:pt idx="2131">1</cx:pt>
          <cx:pt idx="2132">3</cx:pt>
          <cx:pt idx="2133">1</cx:pt>
          <cx:pt idx="2134">2</cx:pt>
          <cx:pt idx="2135">5</cx:pt>
          <cx:pt idx="2136">4</cx:pt>
          <cx:pt idx="2137">0</cx:pt>
          <cx:pt idx="2138">3</cx:pt>
          <cx:pt idx="2139">4</cx:pt>
          <cx:pt idx="2140">4</cx:pt>
          <cx:pt idx="2141">3</cx:pt>
          <cx:pt idx="2142">0</cx:pt>
          <cx:pt idx="2143">1</cx:pt>
          <cx:pt idx="2144">3</cx:pt>
          <cx:pt idx="2145">4</cx:pt>
          <cx:pt idx="2146">1</cx:pt>
          <cx:pt idx="2147">1</cx:pt>
          <cx:pt idx="2148">4</cx:pt>
          <cx:pt idx="2149">3</cx:pt>
          <cx:pt idx="2150">3</cx:pt>
          <cx:pt idx="2151">2</cx:pt>
          <cx:pt idx="2152">2</cx:pt>
          <cx:pt idx="2153">2</cx:pt>
          <cx:pt idx="2154">1</cx:pt>
          <cx:pt idx="2155">2</cx:pt>
          <cx:pt idx="2156">1</cx:pt>
          <cx:pt idx="2157">2</cx:pt>
          <cx:pt idx="2158">4</cx:pt>
          <cx:pt idx="2159">1</cx:pt>
          <cx:pt idx="2160">2</cx:pt>
          <cx:pt idx="2161">3</cx:pt>
          <cx:pt idx="2162">2</cx:pt>
          <cx:pt idx="2163">3</cx:pt>
          <cx:pt idx="2164">4</cx:pt>
          <cx:pt idx="2165">4</cx:pt>
          <cx:pt idx="2166">3</cx:pt>
          <cx:pt idx="2167">4</cx:pt>
          <cx:pt idx="2168">4</cx:pt>
          <cx:pt idx="2169">4</cx:pt>
          <cx:pt idx="2170">4</cx:pt>
          <cx:pt idx="2171">3</cx:pt>
          <cx:pt idx="2172">2</cx:pt>
          <cx:pt idx="2173">2</cx:pt>
          <cx:pt idx="2174">4</cx:pt>
          <cx:pt idx="2175">5</cx:pt>
          <cx:pt idx="2176">3</cx:pt>
          <cx:pt idx="2177">2</cx:pt>
          <cx:pt idx="2178">2</cx:pt>
          <cx:pt idx="2179">1</cx:pt>
          <cx:pt idx="2180">3</cx:pt>
          <cx:pt idx="2181">2</cx:pt>
          <cx:pt idx="2182">3</cx:pt>
          <cx:pt idx="2183">2</cx:pt>
          <cx:pt idx="2184">3</cx:pt>
          <cx:pt idx="2185">4</cx:pt>
          <cx:pt idx="2186">1</cx:pt>
          <cx:pt idx="2187">1</cx:pt>
          <cx:pt idx="2188">4</cx:pt>
          <cx:pt idx="2189">1</cx:pt>
          <cx:pt idx="2190">0</cx:pt>
          <cx:pt idx="2191">3</cx:pt>
          <cx:pt idx="2192">1</cx:pt>
          <cx:pt idx="2193">4</cx:pt>
          <cx:pt idx="2194">4</cx:pt>
          <cx:pt idx="2195">5</cx:pt>
          <cx:pt idx="2196">3</cx:pt>
          <cx:pt idx="2197">4</cx:pt>
          <cx:pt idx="2198">2</cx:pt>
          <cx:pt idx="2199">2</cx:pt>
          <cx:pt idx="2200">3</cx:pt>
          <cx:pt idx="2201">2</cx:pt>
          <cx:pt idx="2202">3</cx:pt>
          <cx:pt idx="2203">3</cx:pt>
          <cx:pt idx="2204">3</cx:pt>
          <cx:pt idx="2205">1</cx:pt>
          <cx:pt idx="2206">2</cx:pt>
          <cx:pt idx="2207">1</cx:pt>
          <cx:pt idx="2208">0</cx:pt>
          <cx:pt idx="2209">2</cx:pt>
          <cx:pt idx="2210">1</cx:pt>
          <cx:pt idx="2211">2</cx:pt>
          <cx:pt idx="2212">2</cx:pt>
          <cx:pt idx="2213">5</cx:pt>
          <cx:pt idx="2214">4</cx:pt>
          <cx:pt idx="2215">2</cx:pt>
          <cx:pt idx="2216">1</cx:pt>
          <cx:pt idx="2217">2</cx:pt>
          <cx:pt idx="2218">3</cx:pt>
          <cx:pt idx="2219">2</cx:pt>
          <cx:pt idx="2220">1</cx:pt>
          <cx:pt idx="2221">5</cx:pt>
          <cx:pt idx="2222">0</cx:pt>
          <cx:pt idx="2223">2</cx:pt>
          <cx:pt idx="2224">2</cx:pt>
          <cx:pt idx="2225">5</cx:pt>
          <cx:pt idx="2226">2</cx:pt>
          <cx:pt idx="2227">3</cx:pt>
          <cx:pt idx="2228">3</cx:pt>
          <cx:pt idx="2229">1</cx:pt>
          <cx:pt idx="2230">2</cx:pt>
          <cx:pt idx="2231">2</cx:pt>
          <cx:pt idx="2232">5</cx:pt>
          <cx:pt idx="2233">4</cx:pt>
          <cx:pt idx="2234">2</cx:pt>
          <cx:pt idx="2235">4</cx:pt>
          <cx:pt idx="2236">5</cx:pt>
          <cx:pt idx="2237">3</cx:pt>
          <cx:pt idx="2238">1</cx:pt>
          <cx:pt idx="2239">3</cx:pt>
          <cx:pt idx="2240">5</cx:pt>
          <cx:pt idx="2241">5</cx:pt>
          <cx:pt idx="2242">1</cx:pt>
          <cx:pt idx="2243">4</cx:pt>
          <cx:pt idx="2244">4</cx:pt>
          <cx:pt idx="2245">4</cx:pt>
          <cx:pt idx="2246">4</cx:pt>
          <cx:pt idx="2247">1</cx:pt>
          <cx:pt idx="2248">5</cx:pt>
          <cx:pt idx="2249">1</cx:pt>
          <cx:pt idx="2250">3</cx:pt>
          <cx:pt idx="2251">5</cx:pt>
          <cx:pt idx="2252">0</cx:pt>
          <cx:pt idx="2253">2</cx:pt>
          <cx:pt idx="2254">3</cx:pt>
          <cx:pt idx="2255">2</cx:pt>
          <cx:pt idx="2256">4</cx:pt>
          <cx:pt idx="2257">2</cx:pt>
          <cx:pt idx="2258">4</cx:pt>
          <cx:pt idx="2259">5</cx:pt>
          <cx:pt idx="2260">2</cx:pt>
          <cx:pt idx="2261">2</cx:pt>
          <cx:pt idx="2262">3</cx:pt>
          <cx:pt idx="2263">4</cx:pt>
          <cx:pt idx="2264">1</cx:pt>
          <cx:pt idx="2265">3</cx:pt>
          <cx:pt idx="2266">3</cx:pt>
          <cx:pt idx="2267">3</cx:pt>
          <cx:pt idx="2268">3</cx:pt>
          <cx:pt idx="2269">3</cx:pt>
          <cx:pt idx="2270">1</cx:pt>
          <cx:pt idx="2271">4</cx:pt>
          <cx:pt idx="2272">2</cx:pt>
          <cx:pt idx="2273">3</cx:pt>
          <cx:pt idx="2274">3</cx:pt>
          <cx:pt idx="2275">2</cx:pt>
          <cx:pt idx="2276">3</cx:pt>
          <cx:pt idx="2277">1</cx:pt>
          <cx:pt idx="2278">0</cx:pt>
          <cx:pt idx="2279">1</cx:pt>
          <cx:pt idx="2280">2</cx:pt>
          <cx:pt idx="2281">2</cx:pt>
          <cx:pt idx="2282">3</cx:pt>
          <cx:pt idx="2283">4</cx:pt>
          <cx:pt idx="2284">0</cx:pt>
          <cx:pt idx="2285">4</cx:pt>
          <cx:pt idx="2286">1</cx:pt>
          <cx:pt idx="2287">4</cx:pt>
          <cx:pt idx="2288">1</cx:pt>
          <cx:pt idx="2289">2</cx:pt>
          <cx:pt idx="2290">3</cx:pt>
          <cx:pt idx="2291">3</cx:pt>
          <cx:pt idx="2292">2</cx:pt>
          <cx:pt idx="2293">5</cx:pt>
          <cx:pt idx="2294">4</cx:pt>
          <cx:pt idx="2295">3</cx:pt>
          <cx:pt idx="2296">0</cx:pt>
          <cx:pt idx="2297">4</cx:pt>
          <cx:pt idx="2298">5</cx:pt>
          <cx:pt idx="2299">4</cx:pt>
          <cx:pt idx="2300">0</cx:pt>
          <cx:pt idx="2301">5</cx:pt>
          <cx:pt idx="2302">0</cx:pt>
          <cx:pt idx="2303">3</cx:pt>
          <cx:pt idx="2304">4</cx:pt>
          <cx:pt idx="2305">2</cx:pt>
          <cx:pt idx="2306">2</cx:pt>
          <cx:pt idx="2307">2</cx:pt>
          <cx:pt idx="2308">5</cx:pt>
          <cx:pt idx="2309">3</cx:pt>
          <cx:pt idx="2310">2</cx:pt>
          <cx:pt idx="2311">4</cx:pt>
          <cx:pt idx="2312">4</cx:pt>
          <cx:pt idx="2313">2</cx:pt>
          <cx:pt idx="2314">1</cx:pt>
          <cx:pt idx="2315">2</cx:pt>
          <cx:pt idx="2316">3</cx:pt>
          <cx:pt idx="2317">3</cx:pt>
          <cx:pt idx="2318">3</cx:pt>
          <cx:pt idx="2319">3</cx:pt>
          <cx:pt idx="2320">5</cx:pt>
          <cx:pt idx="2321">3</cx:pt>
          <cx:pt idx="2322">3</cx:pt>
          <cx:pt idx="2323">0</cx:pt>
          <cx:pt idx="2324">4</cx:pt>
          <cx:pt idx="2325">2</cx:pt>
          <cx:pt idx="2326">1</cx:pt>
          <cx:pt idx="2327">4</cx:pt>
          <cx:pt idx="2328">2</cx:pt>
          <cx:pt idx="2329">3</cx:pt>
          <cx:pt idx="2330">4</cx:pt>
          <cx:pt idx="2331">4</cx:pt>
          <cx:pt idx="2332">3</cx:pt>
          <cx:pt idx="2333">3</cx:pt>
          <cx:pt idx="2334">2</cx:pt>
          <cx:pt idx="2335">3</cx:pt>
          <cx:pt idx="2336">2</cx:pt>
          <cx:pt idx="2337">3</cx:pt>
          <cx:pt idx="2338">4</cx:pt>
          <cx:pt idx="2339">3</cx:pt>
          <cx:pt idx="2340">5</cx:pt>
          <cx:pt idx="2341">1</cx:pt>
          <cx:pt idx="2342">4</cx:pt>
          <cx:pt idx="2343">4</cx:pt>
          <cx:pt idx="2344">4</cx:pt>
          <cx:pt idx="2345">1</cx:pt>
          <cx:pt idx="2346">5</cx:pt>
          <cx:pt idx="2347">4</cx:pt>
          <cx:pt idx="2348">3</cx:pt>
          <cx:pt idx="2349">3</cx:pt>
          <cx:pt idx="2350">4</cx:pt>
          <cx:pt idx="2351">1</cx:pt>
          <cx:pt idx="2352">2</cx:pt>
          <cx:pt idx="2353">3</cx:pt>
          <cx:pt idx="2354">5</cx:pt>
          <cx:pt idx="2355">1</cx:pt>
          <cx:pt idx="2356">4</cx:pt>
          <cx:pt idx="2357">2</cx:pt>
          <cx:pt idx="2358">4</cx:pt>
          <cx:pt idx="2359">2</cx:pt>
          <cx:pt idx="2360">1</cx:pt>
          <cx:pt idx="2361">3</cx:pt>
          <cx:pt idx="2362">2</cx:pt>
          <cx:pt idx="2363">1</cx:pt>
          <cx:pt idx="2364">3</cx:pt>
          <cx:pt idx="2365">2</cx:pt>
          <cx:pt idx="2366">1</cx:pt>
          <cx:pt idx="2367">1</cx:pt>
          <cx:pt idx="2368">3</cx:pt>
          <cx:pt idx="2369">5</cx:pt>
          <cx:pt idx="2370">3</cx:pt>
          <cx:pt idx="2371">4</cx:pt>
          <cx:pt idx="2372">2</cx:pt>
          <cx:pt idx="2373">2</cx:pt>
          <cx:pt idx="2374">1</cx:pt>
          <cx:pt idx="2375">4</cx:pt>
          <cx:pt idx="2376">4</cx:pt>
          <cx:pt idx="2377">1</cx:pt>
          <cx:pt idx="2378">4</cx:pt>
          <cx:pt idx="2379">5</cx:pt>
          <cx:pt idx="2380">0</cx:pt>
          <cx:pt idx="2381">2</cx:pt>
          <cx:pt idx="2382">3</cx:pt>
          <cx:pt idx="2383">3</cx:pt>
          <cx:pt idx="2384">1</cx:pt>
          <cx:pt idx="2385">2</cx:pt>
          <cx:pt idx="2386">3</cx:pt>
          <cx:pt idx="2387">2</cx:pt>
          <cx:pt idx="2388">5</cx:pt>
          <cx:pt idx="2389">1</cx:pt>
          <cx:pt idx="2390">3</cx:pt>
          <cx:pt idx="2391">5</cx:pt>
          <cx:pt idx="2392">5</cx:pt>
          <cx:pt idx="2393">3</cx:pt>
          <cx:pt idx="2394">0</cx:pt>
          <cx:pt idx="2395">3</cx:pt>
          <cx:pt idx="2396">5</cx:pt>
          <cx:pt idx="2397">5</cx:pt>
          <cx:pt idx="2398">1</cx:pt>
          <cx:pt idx="2399">3</cx:pt>
          <cx:pt idx="2400">3</cx:pt>
          <cx:pt idx="2401">2</cx:pt>
          <cx:pt idx="2402">1</cx:pt>
          <cx:pt idx="2403">3</cx:pt>
          <cx:pt idx="2404">3</cx:pt>
          <cx:pt idx="2405">4</cx:pt>
          <cx:pt idx="2406">3</cx:pt>
          <cx:pt idx="2407">5</cx:pt>
          <cx:pt idx="2408">1</cx:pt>
          <cx:pt idx="2409">4</cx:pt>
          <cx:pt idx="2410">3</cx:pt>
          <cx:pt idx="2411">3</cx:pt>
          <cx:pt idx="2412">5</cx:pt>
          <cx:pt idx="2413">1</cx:pt>
          <cx:pt idx="2414">5</cx:pt>
          <cx:pt idx="2415">5</cx:pt>
          <cx:pt idx="2416">3</cx:pt>
          <cx:pt idx="2417">3</cx:pt>
          <cx:pt idx="2418">3</cx:pt>
          <cx:pt idx="2419">2</cx:pt>
          <cx:pt idx="2420">3</cx:pt>
          <cx:pt idx="2421">5</cx:pt>
          <cx:pt idx="2422">1</cx:pt>
          <cx:pt idx="2423">1</cx:pt>
          <cx:pt idx="2424">3</cx:pt>
          <cx:pt idx="2425">1</cx:pt>
          <cx:pt idx="2426">3</cx:pt>
          <cx:pt idx="2427">1</cx:pt>
          <cx:pt idx="2428">5</cx:pt>
          <cx:pt idx="2429">3</cx:pt>
          <cx:pt idx="2430">1</cx:pt>
          <cx:pt idx="2431">2</cx:pt>
          <cx:pt idx="2432">1</cx:pt>
          <cx:pt idx="2433">5</cx:pt>
          <cx:pt idx="2434">4</cx:pt>
          <cx:pt idx="2435">2</cx:pt>
          <cx:pt idx="2436">2</cx:pt>
          <cx:pt idx="2437">1</cx:pt>
          <cx:pt idx="2438">2</cx:pt>
          <cx:pt idx="2439">1</cx:pt>
          <cx:pt idx="2440">1</cx:pt>
          <cx:pt idx="2441">1</cx:pt>
          <cx:pt idx="2442">4</cx:pt>
          <cx:pt idx="2443">2</cx:pt>
          <cx:pt idx="2444">2</cx:pt>
          <cx:pt idx="2445">2</cx:pt>
          <cx:pt idx="2446">2</cx:pt>
          <cx:pt idx="2447">2</cx:pt>
          <cx:pt idx="2448">4</cx:pt>
          <cx:pt idx="2449">4</cx:pt>
          <cx:pt idx="2450">1</cx:pt>
          <cx:pt idx="2451">4</cx:pt>
          <cx:pt idx="2452">2</cx:pt>
          <cx:pt idx="2453">0</cx:pt>
          <cx:pt idx="2454">5</cx:pt>
          <cx:pt idx="2455">2</cx:pt>
          <cx:pt idx="2456">2</cx:pt>
          <cx:pt idx="2457">2</cx:pt>
          <cx:pt idx="2458">5</cx:pt>
          <cx:pt idx="2459">5</cx:pt>
          <cx:pt idx="2460">4</cx:pt>
          <cx:pt idx="2461">2</cx:pt>
          <cx:pt idx="2462">4</cx:pt>
          <cx:pt idx="2463">1</cx:pt>
          <cx:pt idx="2464">5</cx:pt>
          <cx:pt idx="2465">3</cx:pt>
          <cx:pt idx="2466">5</cx:pt>
          <cx:pt idx="2467">2</cx:pt>
          <cx:pt idx="2468">4</cx:pt>
          <cx:pt idx="2469">1</cx:pt>
          <cx:pt idx="2470">1</cx:pt>
          <cx:pt idx="2471">5</cx:pt>
          <cx:pt idx="2472">5</cx:pt>
          <cx:pt idx="2473">4</cx:pt>
          <cx:pt idx="2474">1</cx:pt>
          <cx:pt idx="2475">1</cx:pt>
          <cx:pt idx="2476">0</cx:pt>
          <cx:pt idx="2477">0</cx:pt>
          <cx:pt idx="2478">5</cx:pt>
          <cx:pt idx="2479">1</cx:pt>
          <cx:pt idx="2480">3</cx:pt>
          <cx:pt idx="2481">2</cx:pt>
          <cx:pt idx="2482">4</cx:pt>
          <cx:pt idx="2483">2</cx:pt>
          <cx:pt idx="2484">1</cx:pt>
          <cx:pt idx="2485">4</cx:pt>
          <cx:pt idx="2486">5</cx:pt>
          <cx:pt idx="2487">5</cx:pt>
          <cx:pt idx="2488">2</cx:pt>
          <cx:pt idx="2489">2</cx:pt>
          <cx:pt idx="2490">3</cx:pt>
          <cx:pt idx="2491">3</cx:pt>
          <cx:pt idx="2492">0</cx:pt>
          <cx:pt idx="2493">1</cx:pt>
          <cx:pt idx="2494">2</cx:pt>
          <cx:pt idx="2495">5</cx:pt>
          <cx:pt idx="2496">2</cx:pt>
          <cx:pt idx="2497">4</cx:pt>
          <cx:pt idx="2498">4</cx:pt>
          <cx:pt idx="2499">2</cx:pt>
          <cx:pt idx="2500">3</cx:pt>
          <cx:pt idx="2501">1</cx:pt>
          <cx:pt idx="2502">2</cx:pt>
          <cx:pt idx="2503">3</cx:pt>
          <cx:pt idx="2504">4</cx:pt>
          <cx:pt idx="2505">4</cx:pt>
          <cx:pt idx="2506">3</cx:pt>
          <cx:pt idx="2507">4</cx:pt>
          <cx:pt idx="2508">2</cx:pt>
          <cx:pt idx="2509">5</cx:pt>
          <cx:pt idx="2510">4</cx:pt>
          <cx:pt idx="2511">2</cx:pt>
          <cx:pt idx="2512">2</cx:pt>
          <cx:pt idx="2513">3</cx:pt>
          <cx:pt idx="2514">4</cx:pt>
          <cx:pt idx="2515">3</cx:pt>
          <cx:pt idx="2516">1</cx:pt>
          <cx:pt idx="2517">3</cx:pt>
          <cx:pt idx="2518">2</cx:pt>
          <cx:pt idx="2519">1</cx:pt>
          <cx:pt idx="2520">4</cx:pt>
          <cx:pt idx="2521">3</cx:pt>
          <cx:pt idx="2522">4</cx:pt>
          <cx:pt idx="2523">3</cx:pt>
          <cx:pt idx="2524">1</cx:pt>
          <cx:pt idx="2525">0</cx:pt>
          <cx:pt idx="2526">3</cx:pt>
          <cx:pt idx="2527">0</cx:pt>
          <cx:pt idx="2528">4</cx:pt>
          <cx:pt idx="2529">3</cx:pt>
          <cx:pt idx="2530">5</cx:pt>
          <cx:pt idx="2531">4</cx:pt>
          <cx:pt idx="2532">4</cx:pt>
          <cx:pt idx="2533">3</cx:pt>
          <cx:pt idx="2534">5</cx:pt>
          <cx:pt idx="2535">1</cx:pt>
          <cx:pt idx="2536">1</cx:pt>
          <cx:pt idx="2537">2</cx:pt>
          <cx:pt idx="2538">3</cx:pt>
          <cx:pt idx="2539">3</cx:pt>
          <cx:pt idx="2540">2</cx:pt>
          <cx:pt idx="2541">3</cx:pt>
          <cx:pt idx="2542">2</cx:pt>
          <cx:pt idx="2543">5</cx:pt>
          <cx:pt idx="2544">5</cx:pt>
          <cx:pt idx="2545">1</cx:pt>
          <cx:pt idx="2546">3</cx:pt>
          <cx:pt idx="2547">1</cx:pt>
          <cx:pt idx="2548">2</cx:pt>
          <cx:pt idx="2549">5</cx:pt>
          <cx:pt idx="2550">0</cx:pt>
          <cx:pt idx="2551">4</cx:pt>
          <cx:pt idx="2552">5</cx:pt>
          <cx:pt idx="2553">5</cx:pt>
          <cx:pt idx="2554">3</cx:pt>
          <cx:pt idx="2555">5</cx:pt>
          <cx:pt idx="2556">3</cx:pt>
          <cx:pt idx="2557">1</cx:pt>
          <cx:pt idx="2558">5</cx:pt>
          <cx:pt idx="2559">2</cx:pt>
          <cx:pt idx="2560">4</cx:pt>
          <cx:pt idx="2561">3</cx:pt>
          <cx:pt idx="2562">1</cx:pt>
          <cx:pt idx="2563">1</cx:pt>
          <cx:pt idx="2564">2</cx:pt>
          <cx:pt idx="2565">3</cx:pt>
          <cx:pt idx="2566">2</cx:pt>
          <cx:pt idx="2567">5</cx:pt>
          <cx:pt idx="2568">3</cx:pt>
          <cx:pt idx="2569">1</cx:pt>
          <cx:pt idx="2570">4</cx:pt>
          <cx:pt idx="2571">1</cx:pt>
          <cx:pt idx="2572">4</cx:pt>
          <cx:pt idx="2573">1</cx:pt>
          <cx:pt idx="2574">4</cx:pt>
          <cx:pt idx="2575">2</cx:pt>
          <cx:pt idx="2576">3</cx:pt>
          <cx:pt idx="2577">5</cx:pt>
          <cx:pt idx="2578">0</cx:pt>
          <cx:pt idx="2579">2</cx:pt>
          <cx:pt idx="2580">3</cx:pt>
          <cx:pt idx="2581">2</cx:pt>
          <cx:pt idx="2582">5</cx:pt>
          <cx:pt idx="2583">3</cx:pt>
          <cx:pt idx="2584">3</cx:pt>
          <cx:pt idx="2585">4</cx:pt>
          <cx:pt idx="2586">2</cx:pt>
          <cx:pt idx="2587">2</cx:pt>
          <cx:pt idx="2588">2</cx:pt>
          <cx:pt idx="2589">3</cx:pt>
          <cx:pt idx="2590">1</cx:pt>
          <cx:pt idx="2591">0</cx:pt>
          <cx:pt idx="2592">3</cx:pt>
          <cx:pt idx="2593">4</cx:pt>
          <cx:pt idx="2594">2</cx:pt>
          <cx:pt idx="2595">1</cx:pt>
          <cx:pt idx="2596">4</cx:pt>
          <cx:pt idx="2597">2</cx:pt>
          <cx:pt idx="2598">4</cx:pt>
          <cx:pt idx="2599">2</cx:pt>
          <cx:pt idx="2600">2</cx:pt>
          <cx:pt idx="2601">3</cx:pt>
          <cx:pt idx="2602">1</cx:pt>
          <cx:pt idx="2603">3</cx:pt>
          <cx:pt idx="2604">2</cx:pt>
          <cx:pt idx="2605">4</cx:pt>
          <cx:pt idx="2606">2</cx:pt>
          <cx:pt idx="2607">4</cx:pt>
          <cx:pt idx="2608">2</cx:pt>
          <cx:pt idx="2609">2</cx:pt>
          <cx:pt idx="2610">4</cx:pt>
          <cx:pt idx="2611">1</cx:pt>
          <cx:pt idx="2612">5</cx:pt>
          <cx:pt idx="2613">4</cx:pt>
          <cx:pt idx="2614">4</cx:pt>
          <cx:pt idx="2615">3</cx:pt>
          <cx:pt idx="2616">5</cx:pt>
          <cx:pt idx="2617">5</cx:pt>
          <cx:pt idx="2618">3</cx:pt>
          <cx:pt idx="2619">1</cx:pt>
          <cx:pt idx="2620">5</cx:pt>
          <cx:pt idx="2621">4</cx:pt>
          <cx:pt idx="2622">1</cx:pt>
          <cx:pt idx="2623">1</cx:pt>
          <cx:pt idx="2624">1</cx:pt>
          <cx:pt idx="2625">2</cx:pt>
          <cx:pt idx="2626">1</cx:pt>
          <cx:pt idx="2627">5</cx:pt>
          <cx:pt idx="2628">2</cx:pt>
          <cx:pt idx="2629">1</cx:pt>
          <cx:pt idx="2630">1</cx:pt>
          <cx:pt idx="2631">1</cx:pt>
          <cx:pt idx="2632">3</cx:pt>
          <cx:pt idx="2633">3</cx:pt>
          <cx:pt idx="2634">1</cx:pt>
          <cx:pt idx="2635">1</cx:pt>
          <cx:pt idx="2636">2</cx:pt>
          <cx:pt idx="2637">2</cx:pt>
          <cx:pt idx="2638">2</cx:pt>
          <cx:pt idx="2639">4</cx:pt>
          <cx:pt idx="2640">1</cx:pt>
          <cx:pt idx="2641">4</cx:pt>
          <cx:pt idx="2642">3</cx:pt>
          <cx:pt idx="2643">4</cx:pt>
          <cx:pt idx="2644">2</cx:pt>
          <cx:pt idx="2645">4</cx:pt>
          <cx:pt idx="2646">4</cx:pt>
          <cx:pt idx="2647">5</cx:pt>
          <cx:pt idx="2648">4</cx:pt>
          <cx:pt idx="2649">5</cx:pt>
          <cx:pt idx="2650">1</cx:pt>
          <cx:pt idx="2651">2</cx:pt>
          <cx:pt idx="2652">1</cx:pt>
          <cx:pt idx="2653">2</cx:pt>
          <cx:pt idx="2654">2</cx:pt>
          <cx:pt idx="2655">3</cx:pt>
          <cx:pt idx="2656">3</cx:pt>
          <cx:pt idx="2657">2</cx:pt>
          <cx:pt idx="2658">4</cx:pt>
          <cx:pt idx="2659">1</cx:pt>
          <cx:pt idx="2660">0</cx:pt>
          <cx:pt idx="2661">4</cx:pt>
          <cx:pt idx="2662">4</cx:pt>
          <cx:pt idx="2663">3</cx:pt>
          <cx:pt idx="2664">1</cx:pt>
          <cx:pt idx="2665">1</cx:pt>
          <cx:pt idx="2666">5</cx:pt>
          <cx:pt idx="2667">0</cx:pt>
          <cx:pt idx="2668">5</cx:pt>
          <cx:pt idx="2669">4</cx:pt>
          <cx:pt idx="2670">3</cx:pt>
          <cx:pt idx="2671">2</cx:pt>
          <cx:pt idx="2672">3</cx:pt>
          <cx:pt idx="2673">1</cx:pt>
          <cx:pt idx="2674">3</cx:pt>
          <cx:pt idx="2675">2</cx:pt>
          <cx:pt idx="2676">3</cx:pt>
          <cx:pt idx="2677">3</cx:pt>
          <cx:pt idx="2678">3</cx:pt>
          <cx:pt idx="2679">4</cx:pt>
          <cx:pt idx="2680">1</cx:pt>
          <cx:pt idx="2681">0</cx:pt>
          <cx:pt idx="2682">3</cx:pt>
          <cx:pt idx="2683">1</cx:pt>
          <cx:pt idx="2684">5</cx:pt>
          <cx:pt idx="2685">5</cx:pt>
          <cx:pt idx="2686">3</cx:pt>
          <cx:pt idx="2687">4</cx:pt>
          <cx:pt idx="2688">4</cx:pt>
          <cx:pt idx="2689">3</cx:pt>
          <cx:pt idx="2690">0</cx:pt>
          <cx:pt idx="2691">2</cx:pt>
          <cx:pt idx="2692">1</cx:pt>
          <cx:pt idx="2693">4</cx:pt>
          <cx:pt idx="2694">4</cx:pt>
          <cx:pt idx="2695">1</cx:pt>
          <cx:pt idx="2696">5</cx:pt>
          <cx:pt idx="2697">1</cx:pt>
          <cx:pt idx="2698">0</cx:pt>
          <cx:pt idx="2699">1</cx:pt>
          <cx:pt idx="2700">4</cx:pt>
          <cx:pt idx="2701">4</cx:pt>
          <cx:pt idx="2702">4</cx:pt>
          <cx:pt idx="2703">2</cx:pt>
          <cx:pt idx="2704">5</cx:pt>
          <cx:pt idx="2705">4</cx:pt>
          <cx:pt idx="2706">4</cx:pt>
          <cx:pt idx="2707">2</cx:pt>
          <cx:pt idx="2708">4</cx:pt>
          <cx:pt idx="2709">4</cx:pt>
          <cx:pt idx="2710">3</cx:pt>
          <cx:pt idx="2711">2</cx:pt>
          <cx:pt idx="2712">2</cx:pt>
          <cx:pt idx="2713">5</cx:pt>
          <cx:pt idx="2714">1</cx:pt>
          <cx:pt idx="2715">5</cx:pt>
          <cx:pt idx="2716">2</cx:pt>
          <cx:pt idx="2717">4</cx:pt>
          <cx:pt idx="2718">2</cx:pt>
          <cx:pt idx="2719">0</cx:pt>
          <cx:pt idx="2720">3</cx:pt>
          <cx:pt idx="2721">0</cx:pt>
          <cx:pt idx="2722">1</cx:pt>
          <cx:pt idx="2723">2</cx:pt>
          <cx:pt idx="2724">3</cx:pt>
          <cx:pt idx="2725">1</cx:pt>
          <cx:pt idx="2726">3</cx:pt>
          <cx:pt idx="2727">4</cx:pt>
          <cx:pt idx="2728">2</cx:pt>
          <cx:pt idx="2729">1</cx:pt>
          <cx:pt idx="2730">2</cx:pt>
          <cx:pt idx="2731">3</cx:pt>
          <cx:pt idx="2732">5</cx:pt>
          <cx:pt idx="2733">4</cx:pt>
          <cx:pt idx="2734">4</cx:pt>
          <cx:pt idx="2735">4</cx:pt>
          <cx:pt idx="2736">2</cx:pt>
          <cx:pt idx="2737">4</cx:pt>
          <cx:pt idx="2738">2</cx:pt>
          <cx:pt idx="2739">2</cx:pt>
          <cx:pt idx="2740">4</cx:pt>
          <cx:pt idx="2741">5</cx:pt>
          <cx:pt idx="2742">4</cx:pt>
          <cx:pt idx="2743">1</cx:pt>
          <cx:pt idx="2744">5</cx:pt>
          <cx:pt idx="2745">4</cx:pt>
          <cx:pt idx="2746">0</cx:pt>
          <cx:pt idx="2747">3</cx:pt>
          <cx:pt idx="2748">2</cx:pt>
          <cx:pt idx="2749">2</cx:pt>
          <cx:pt idx="2750">4</cx:pt>
          <cx:pt idx="2751">2</cx:pt>
          <cx:pt idx="2752">2</cx:pt>
          <cx:pt idx="2753">3</cx:pt>
          <cx:pt idx="2754">4</cx:pt>
          <cx:pt idx="2755">2</cx:pt>
          <cx:pt idx="2756">1</cx:pt>
          <cx:pt idx="2757">4</cx:pt>
          <cx:pt idx="2758">0</cx:pt>
          <cx:pt idx="2759">4</cx:pt>
          <cx:pt idx="2760">5</cx:pt>
          <cx:pt idx="2761">1</cx:pt>
          <cx:pt idx="2762">2</cx:pt>
          <cx:pt idx="2763">2</cx:pt>
          <cx:pt idx="2764">3</cx:pt>
          <cx:pt idx="2765">1</cx:pt>
          <cx:pt idx="2766">2</cx:pt>
          <cx:pt idx="2767">2</cx:pt>
          <cx:pt idx="2768">3</cx:pt>
          <cx:pt idx="2769">3</cx:pt>
          <cx:pt idx="2770">2</cx:pt>
          <cx:pt idx="2771">4</cx:pt>
          <cx:pt idx="2772">3</cx:pt>
          <cx:pt idx="2773">2</cx:pt>
          <cx:pt idx="2774">4</cx:pt>
          <cx:pt idx="2775">5</cx:pt>
          <cx:pt idx="2776">3</cx:pt>
          <cx:pt idx="2777">1</cx:pt>
          <cx:pt idx="2778">5</cx:pt>
          <cx:pt idx="2779">2</cx:pt>
          <cx:pt idx="2780">4</cx:pt>
          <cx:pt idx="2781">2</cx:pt>
          <cx:pt idx="2782">4</cx:pt>
          <cx:pt idx="2783">1</cx:pt>
          <cx:pt idx="2784">2</cx:pt>
          <cx:pt idx="2785">4</cx:pt>
          <cx:pt idx="2786">4</cx:pt>
          <cx:pt idx="2787">4</cx:pt>
          <cx:pt idx="2788">4</cx:pt>
          <cx:pt idx="2789">2</cx:pt>
          <cx:pt idx="2790">4</cx:pt>
          <cx:pt idx="2791">2</cx:pt>
          <cx:pt idx="2792">1</cx:pt>
          <cx:pt idx="2793">2</cx:pt>
          <cx:pt idx="2794">4</cx:pt>
          <cx:pt idx="2795">4</cx:pt>
          <cx:pt idx="2796">3</cx:pt>
          <cx:pt idx="2797">3</cx:pt>
          <cx:pt idx="2798">1</cx:pt>
          <cx:pt idx="2799">2</cx:pt>
          <cx:pt idx="2800">2</cx:pt>
          <cx:pt idx="2801">5</cx:pt>
          <cx:pt idx="2802">2</cx:pt>
          <cx:pt idx="2803">3</cx:pt>
          <cx:pt idx="2804">3</cx:pt>
          <cx:pt idx="2805">4</cx:pt>
          <cx:pt idx="2806">4</cx:pt>
          <cx:pt idx="2807">3</cx:pt>
          <cx:pt idx="2808">4</cx:pt>
          <cx:pt idx="2809">2</cx:pt>
          <cx:pt idx="2810">5</cx:pt>
          <cx:pt idx="2811">2</cx:pt>
          <cx:pt idx="2812">1</cx:pt>
          <cx:pt idx="2813">4</cx:pt>
          <cx:pt idx="2814">3</cx:pt>
          <cx:pt idx="2815">2</cx:pt>
          <cx:pt idx="2816">3</cx:pt>
          <cx:pt idx="2817">3</cx:pt>
          <cx:pt idx="2818">4</cx:pt>
          <cx:pt idx="2819">1</cx:pt>
          <cx:pt idx="2820">4</cx:pt>
          <cx:pt idx="2821">3</cx:pt>
          <cx:pt idx="2822">5</cx:pt>
          <cx:pt idx="2823">5</cx:pt>
          <cx:pt idx="2824">3</cx:pt>
          <cx:pt idx="2825">4</cx:pt>
          <cx:pt idx="2826">2</cx:pt>
          <cx:pt idx="2827">5</cx:pt>
          <cx:pt idx="2828">4</cx:pt>
          <cx:pt idx="2829">4</cx:pt>
          <cx:pt idx="2830">2</cx:pt>
          <cx:pt idx="2831">3</cx:pt>
          <cx:pt idx="2832">2</cx:pt>
          <cx:pt idx="2833">4</cx:pt>
          <cx:pt idx="2834">3</cx:pt>
          <cx:pt idx="2835">3</cx:pt>
          <cx:pt idx="2836">3</cx:pt>
          <cx:pt idx="2837">4</cx:pt>
          <cx:pt idx="2838">5</cx:pt>
          <cx:pt idx="2839">2</cx:pt>
          <cx:pt idx="2840">2</cx:pt>
          <cx:pt idx="2841">3</cx:pt>
          <cx:pt idx="2842">3</cx:pt>
          <cx:pt idx="2843">1</cx:pt>
          <cx:pt idx="2844">3</cx:pt>
          <cx:pt idx="2845">3</cx:pt>
          <cx:pt idx="2846">1</cx:pt>
          <cx:pt idx="2847">0</cx:pt>
          <cx:pt idx="2848">1</cx:pt>
          <cx:pt idx="2849">1</cx:pt>
          <cx:pt idx="2850">3</cx:pt>
          <cx:pt idx="2851">2</cx:pt>
          <cx:pt idx="2852">0</cx:pt>
          <cx:pt idx="2853">0</cx:pt>
          <cx:pt idx="2854">2</cx:pt>
          <cx:pt idx="2855">0</cx:pt>
          <cx:pt idx="2856">4</cx:pt>
          <cx:pt idx="2857">5</cx:pt>
          <cx:pt idx="2858">1</cx:pt>
          <cx:pt idx="2859">5</cx:pt>
          <cx:pt idx="2860">2</cx:pt>
          <cx:pt idx="2861">2</cx:pt>
          <cx:pt idx="2862">4</cx:pt>
          <cx:pt idx="2863">4</cx:pt>
          <cx:pt idx="2864">2</cx:pt>
          <cx:pt idx="2865">2</cx:pt>
          <cx:pt idx="2866">2</cx:pt>
          <cx:pt idx="2867">5</cx:pt>
          <cx:pt idx="2868">3</cx:pt>
          <cx:pt idx="2869">2</cx:pt>
          <cx:pt idx="2870">3</cx:pt>
          <cx:pt idx="2871">1</cx:pt>
          <cx:pt idx="2872">2</cx:pt>
          <cx:pt idx="2873">2</cx:pt>
          <cx:pt idx="2874">3</cx:pt>
          <cx:pt idx="2875">5</cx:pt>
          <cx:pt idx="2876">2</cx:pt>
          <cx:pt idx="2877">3</cx:pt>
          <cx:pt idx="2878">2</cx:pt>
          <cx:pt idx="2879">1</cx:pt>
          <cx:pt idx="2880">1</cx:pt>
          <cx:pt idx="2881">1</cx:pt>
          <cx:pt idx="2882">3</cx:pt>
          <cx:pt idx="2883">2</cx:pt>
          <cx:pt idx="2884">0</cx:pt>
          <cx:pt idx="2885">5</cx:pt>
          <cx:pt idx="2886">4</cx:pt>
          <cx:pt idx="2887">5</cx:pt>
          <cx:pt idx="2888">3</cx:pt>
          <cx:pt idx="2889">3</cx:pt>
          <cx:pt idx="2890">5</cx:pt>
          <cx:pt idx="2891">2</cx:pt>
          <cx:pt idx="2892">1</cx:pt>
          <cx:pt idx="2893">1</cx:pt>
          <cx:pt idx="2894">5</cx:pt>
          <cx:pt idx="2895">1</cx:pt>
          <cx:pt idx="2896">4</cx:pt>
          <cx:pt idx="2897">2</cx:pt>
          <cx:pt idx="2898">5</cx:pt>
          <cx:pt idx="2899">4</cx:pt>
          <cx:pt idx="2900">4</cx:pt>
          <cx:pt idx="2901">2</cx:pt>
          <cx:pt idx="2902">2</cx:pt>
          <cx:pt idx="2903">1</cx:pt>
          <cx:pt idx="2904">4</cx:pt>
          <cx:pt idx="2905">3</cx:pt>
          <cx:pt idx="2906">2</cx:pt>
          <cx:pt idx="2907">2</cx:pt>
          <cx:pt idx="2908">2</cx:pt>
          <cx:pt idx="2909">1</cx:pt>
          <cx:pt idx="2910">3</cx:pt>
          <cx:pt idx="2911">4</cx:pt>
          <cx:pt idx="2912">1</cx:pt>
          <cx:pt idx="2913">3</cx:pt>
          <cx:pt idx="2914">3</cx:pt>
          <cx:pt idx="2915">3</cx:pt>
          <cx:pt idx="2916">2</cx:pt>
          <cx:pt idx="2917">2</cx:pt>
          <cx:pt idx="2918">1</cx:pt>
          <cx:pt idx="2919">3</cx:pt>
          <cx:pt idx="2920">5</cx:pt>
          <cx:pt idx="2921">3</cx:pt>
          <cx:pt idx="2922">3</cx:pt>
          <cx:pt idx="2923">4</cx:pt>
          <cx:pt idx="2924">3</cx:pt>
          <cx:pt idx="2925">2</cx:pt>
          <cx:pt idx="2926">3</cx:pt>
          <cx:pt idx="2927">4</cx:pt>
          <cx:pt idx="2928">4</cx:pt>
          <cx:pt idx="2929">3</cx:pt>
          <cx:pt idx="2930">5</cx:pt>
          <cx:pt idx="2931">4</cx:pt>
          <cx:pt idx="2932">3</cx:pt>
          <cx:pt idx="2933">5</cx:pt>
          <cx:pt idx="2934">4</cx:pt>
          <cx:pt idx="2935">3</cx:pt>
          <cx:pt idx="2936">1</cx:pt>
          <cx:pt idx="2937">1</cx:pt>
          <cx:pt idx="2938">0</cx:pt>
          <cx:pt idx="2939">1</cx:pt>
          <cx:pt idx="2940">4</cx:pt>
          <cx:pt idx="2941">2</cx:pt>
          <cx:pt idx="2942">3</cx:pt>
          <cx:pt idx="2943">3</cx:pt>
          <cx:pt idx="2944">5</cx:pt>
          <cx:pt idx="2945">3</cx:pt>
          <cx:pt idx="2946">3</cx:pt>
          <cx:pt idx="2947">1</cx:pt>
          <cx:pt idx="2948">3</cx:pt>
          <cx:pt idx="2949">2</cx:pt>
          <cx:pt idx="2950">4</cx:pt>
          <cx:pt idx="2951">3</cx:pt>
          <cx:pt idx="2952">4</cx:pt>
          <cx:pt idx="2953">5</cx:pt>
          <cx:pt idx="2954">2</cx:pt>
          <cx:pt idx="2955">3</cx:pt>
          <cx:pt idx="2956">4</cx:pt>
          <cx:pt idx="2957">5</cx:pt>
          <cx:pt idx="2958">0</cx:pt>
          <cx:pt idx="2959">4</cx:pt>
          <cx:pt idx="2960">0</cx:pt>
          <cx:pt idx="2961">3</cx:pt>
          <cx:pt idx="2962">3</cx:pt>
          <cx:pt idx="2963">4</cx:pt>
          <cx:pt idx="2964">5</cx:pt>
          <cx:pt idx="2965">2</cx:pt>
          <cx:pt idx="2966">3</cx:pt>
          <cx:pt idx="2967">2</cx:pt>
          <cx:pt idx="2968">4</cx:pt>
          <cx:pt idx="2969">4</cx:pt>
          <cx:pt idx="2970">2</cx:pt>
          <cx:pt idx="2971">5</cx:pt>
          <cx:pt idx="2972">1</cx:pt>
          <cx:pt idx="2973">3</cx:pt>
          <cx:pt idx="2974">1</cx:pt>
          <cx:pt idx="2975">1</cx:pt>
          <cx:pt idx="2976">3</cx:pt>
          <cx:pt idx="2977">3</cx:pt>
          <cx:pt idx="2978">3</cx:pt>
          <cx:pt idx="2979">3</cx:pt>
          <cx:pt idx="2980">4</cx:pt>
          <cx:pt idx="2981">5</cx:pt>
          <cx:pt idx="2982">4</cx:pt>
          <cx:pt idx="2983">4</cx:pt>
          <cx:pt idx="2984">4</cx:pt>
          <cx:pt idx="2985">1</cx:pt>
          <cx:pt idx="2986">4</cx:pt>
          <cx:pt idx="2987">2</cx:pt>
          <cx:pt idx="2988">4</cx:pt>
          <cx:pt idx="2989">5</cx:pt>
          <cx:pt idx="2990">1</cx:pt>
          <cx:pt idx="2991">3</cx:pt>
          <cx:pt idx="2992">1</cx:pt>
          <cx:pt idx="2993">5</cx:pt>
          <cx:pt idx="2994">0</cx:pt>
          <cx:pt idx="2995">3</cx:pt>
          <cx:pt idx="2996">2</cx:pt>
          <cx:pt idx="2997">5</cx:pt>
          <cx:pt idx="2998">5</cx:pt>
          <cx:pt idx="2999">0</cx:pt>
          <cx:pt idx="3000">4</cx:pt>
          <cx:pt idx="3001">4</cx:pt>
          <cx:pt idx="3002">5</cx:pt>
          <cx:pt idx="3003">3</cx:pt>
          <cx:pt idx="3004">4</cx:pt>
          <cx:pt idx="3005">4</cx:pt>
          <cx:pt idx="3006">3</cx:pt>
          <cx:pt idx="3007">3</cx:pt>
          <cx:pt idx="3008">3</cx:pt>
          <cx:pt idx="3009">3</cx:pt>
          <cx:pt idx="3010">1</cx:pt>
          <cx:pt idx="3011">3</cx:pt>
          <cx:pt idx="3012">2</cx:pt>
          <cx:pt idx="3013">3</cx:pt>
          <cx:pt idx="3014">1</cx:pt>
          <cx:pt idx="3015">4</cx:pt>
          <cx:pt idx="3016">5</cx:pt>
          <cx:pt idx="3017">1</cx:pt>
          <cx:pt idx="3018">5</cx:pt>
          <cx:pt idx="3019">2</cx:pt>
          <cx:pt idx="3020">2</cx:pt>
          <cx:pt idx="3021">4</cx:pt>
          <cx:pt idx="3022">4</cx:pt>
          <cx:pt idx="3023">4</cx:pt>
          <cx:pt idx="3024">4</cx:pt>
          <cx:pt idx="3025">4</cx:pt>
          <cx:pt idx="3026">5</cx:pt>
          <cx:pt idx="3027">4</cx:pt>
          <cx:pt idx="3028">3</cx:pt>
          <cx:pt idx="3029">5</cx:pt>
          <cx:pt idx="3030">5</cx:pt>
          <cx:pt idx="3031">3</cx:pt>
          <cx:pt idx="3032">4</cx:pt>
          <cx:pt idx="3033">1</cx:pt>
          <cx:pt idx="3034">3</cx:pt>
          <cx:pt idx="3035">5</cx:pt>
          <cx:pt idx="3036">4</cx:pt>
          <cx:pt idx="3037">0</cx:pt>
          <cx:pt idx="3038">3</cx:pt>
          <cx:pt idx="3039">5</cx:pt>
          <cx:pt idx="3040">1</cx:pt>
          <cx:pt idx="3041">3</cx:pt>
          <cx:pt idx="3042">4</cx:pt>
          <cx:pt idx="3043">2</cx:pt>
          <cx:pt idx="3044">4</cx:pt>
          <cx:pt idx="3045">3</cx:pt>
          <cx:pt idx="3046">1</cx:pt>
          <cx:pt idx="3047">3</cx:pt>
          <cx:pt idx="3048">1</cx:pt>
          <cx:pt idx="3049">3</cx:pt>
          <cx:pt idx="3050">5</cx:pt>
          <cx:pt idx="3051">1</cx:pt>
          <cx:pt idx="3052">3</cx:pt>
          <cx:pt idx="3053">5</cx:pt>
          <cx:pt idx="3054">4</cx:pt>
          <cx:pt idx="3055">3</cx:pt>
          <cx:pt idx="3056">1</cx:pt>
          <cx:pt idx="3057">3</cx:pt>
          <cx:pt idx="3058">4</cx:pt>
          <cx:pt idx="3059">4</cx:pt>
          <cx:pt idx="3060">1</cx:pt>
          <cx:pt idx="3061">5</cx:pt>
          <cx:pt idx="3062">2</cx:pt>
          <cx:pt idx="3063">4</cx:pt>
          <cx:pt idx="3064">2</cx:pt>
          <cx:pt idx="3065">0</cx:pt>
          <cx:pt idx="3066">2</cx:pt>
          <cx:pt idx="3067">3</cx:pt>
          <cx:pt idx="3068">2</cx:pt>
          <cx:pt idx="3069">2</cx:pt>
          <cx:pt idx="3070">3</cx:pt>
          <cx:pt idx="3071">2</cx:pt>
          <cx:pt idx="3072">1</cx:pt>
          <cx:pt idx="3073">5</cx:pt>
          <cx:pt idx="3074">0</cx:pt>
          <cx:pt idx="3075">0</cx:pt>
          <cx:pt idx="3076">4</cx:pt>
          <cx:pt idx="3077">4</cx:pt>
          <cx:pt idx="3078">3</cx:pt>
          <cx:pt idx="3079">5</cx:pt>
          <cx:pt idx="3080">4</cx:pt>
          <cx:pt idx="3081">1</cx:pt>
          <cx:pt idx="3082">1</cx:pt>
          <cx:pt idx="3083">4</cx:pt>
          <cx:pt idx="3084">1</cx:pt>
          <cx:pt idx="3085">5</cx:pt>
          <cx:pt idx="3086">3</cx:pt>
          <cx:pt idx="3087">2</cx:pt>
          <cx:pt idx="3088">1</cx:pt>
          <cx:pt idx="3089">5</cx:pt>
          <cx:pt idx="3090">4</cx:pt>
          <cx:pt idx="3091">4</cx:pt>
          <cx:pt idx="3092">4</cx:pt>
          <cx:pt idx="3093">1</cx:pt>
          <cx:pt idx="3094">2</cx:pt>
          <cx:pt idx="3095">4</cx:pt>
          <cx:pt idx="3096">3</cx:pt>
          <cx:pt idx="3097">2</cx:pt>
          <cx:pt idx="3098">2</cx:pt>
          <cx:pt idx="3099">2</cx:pt>
          <cx:pt idx="3100">3</cx:pt>
          <cx:pt idx="3101">5</cx:pt>
          <cx:pt idx="3102">3</cx:pt>
          <cx:pt idx="3103">4</cx:pt>
          <cx:pt idx="3104">4</cx:pt>
          <cx:pt idx="3105">3</cx:pt>
          <cx:pt idx="3106">1</cx:pt>
          <cx:pt idx="3107">3</cx:pt>
          <cx:pt idx="3108">3</cx:pt>
          <cx:pt idx="3109">3</cx:pt>
          <cx:pt idx="3110">1</cx:pt>
          <cx:pt idx="3111">3</cx:pt>
          <cx:pt idx="3112">1</cx:pt>
          <cx:pt idx="3113">2</cx:pt>
          <cx:pt idx="3114">3</cx:pt>
          <cx:pt idx="3115">3</cx:pt>
          <cx:pt idx="3116">3</cx:pt>
          <cx:pt idx="3117">4</cx:pt>
          <cx:pt idx="3118">1</cx:pt>
          <cx:pt idx="3119">1</cx:pt>
          <cx:pt idx="3120">2</cx:pt>
          <cx:pt idx="3121">2</cx:pt>
          <cx:pt idx="3122">1</cx:pt>
          <cx:pt idx="3123">2</cx:pt>
          <cx:pt idx="3124">1</cx:pt>
          <cx:pt idx="3125">4</cx:pt>
          <cx:pt idx="3126">5</cx:pt>
          <cx:pt idx="3127">4</cx:pt>
          <cx:pt idx="3128">0</cx:pt>
          <cx:pt idx="3129">2</cx:pt>
          <cx:pt idx="3130">1</cx:pt>
          <cx:pt idx="3131">1</cx:pt>
          <cx:pt idx="3132">3</cx:pt>
          <cx:pt idx="3133">3</cx:pt>
          <cx:pt idx="3134">2</cx:pt>
          <cx:pt idx="3135">5</cx:pt>
          <cx:pt idx="3136">2</cx:pt>
          <cx:pt idx="3137">3</cx:pt>
          <cx:pt idx="3138">2</cx:pt>
          <cx:pt idx="3139">2</cx:pt>
          <cx:pt idx="3140">3</cx:pt>
          <cx:pt idx="3141">4</cx:pt>
          <cx:pt idx="3142">3</cx:pt>
          <cx:pt idx="3143">0</cx:pt>
          <cx:pt idx="3144">2</cx:pt>
          <cx:pt idx="3145">5</cx:pt>
          <cx:pt idx="3146">3</cx:pt>
          <cx:pt idx="3147">4</cx:pt>
          <cx:pt idx="3148">3</cx:pt>
          <cx:pt idx="3149">2</cx:pt>
          <cx:pt idx="3150">0</cx:pt>
          <cx:pt idx="3151">4</cx:pt>
          <cx:pt idx="3152">1</cx:pt>
          <cx:pt idx="3153">3</cx:pt>
          <cx:pt idx="3154">2</cx:pt>
          <cx:pt idx="3155">3</cx:pt>
          <cx:pt idx="3156">1</cx:pt>
          <cx:pt idx="3157">2</cx:pt>
          <cx:pt idx="3158">3</cx:pt>
          <cx:pt idx="3159">0</cx:pt>
          <cx:pt idx="3160">4</cx:pt>
          <cx:pt idx="3161">2</cx:pt>
          <cx:pt idx="3162">3</cx:pt>
          <cx:pt idx="3163">1</cx:pt>
          <cx:pt idx="3164">3</cx:pt>
          <cx:pt idx="3165">4</cx:pt>
          <cx:pt idx="3166">1</cx:pt>
          <cx:pt idx="3167">5</cx:pt>
          <cx:pt idx="3168">2</cx:pt>
          <cx:pt idx="3169">4</cx:pt>
          <cx:pt idx="3170">1</cx:pt>
          <cx:pt idx="3171">4</cx:pt>
          <cx:pt idx="3172">3</cx:pt>
          <cx:pt idx="3173">2</cx:pt>
          <cx:pt idx="3174">1</cx:pt>
          <cx:pt idx="3175">3</cx:pt>
          <cx:pt idx="3176">5</cx:pt>
          <cx:pt idx="3177">4</cx:pt>
          <cx:pt idx="3178">5</cx:pt>
          <cx:pt idx="3179">3</cx:pt>
          <cx:pt idx="3180">1</cx:pt>
          <cx:pt idx="3181">2</cx:pt>
          <cx:pt idx="3182">3</cx:pt>
          <cx:pt idx="3183">5</cx:pt>
          <cx:pt idx="3184">4</cx:pt>
          <cx:pt idx="3185">5</cx:pt>
          <cx:pt idx="3186">5</cx:pt>
          <cx:pt idx="3187">5</cx:pt>
          <cx:pt idx="3188">3</cx:pt>
          <cx:pt idx="3189">2</cx:pt>
          <cx:pt idx="3190">1</cx:pt>
          <cx:pt idx="3191">1</cx:pt>
          <cx:pt idx="3192">5</cx:pt>
          <cx:pt idx="3193">4</cx:pt>
          <cx:pt idx="3194">3</cx:pt>
          <cx:pt idx="3195">3</cx:pt>
          <cx:pt idx="3196">2</cx:pt>
          <cx:pt idx="3197">2</cx:pt>
          <cx:pt idx="3198">1</cx:pt>
          <cx:pt idx="3199">1</cx:pt>
          <cx:pt idx="3200">0</cx:pt>
          <cx:pt idx="3201">2</cx:pt>
          <cx:pt idx="3202">3</cx:pt>
          <cx:pt idx="3203">1</cx:pt>
          <cx:pt idx="3204">1</cx:pt>
          <cx:pt idx="3205">2</cx:pt>
          <cx:pt idx="3206">3</cx:pt>
          <cx:pt idx="3207">4</cx:pt>
          <cx:pt idx="3208">3</cx:pt>
          <cx:pt idx="3209">5</cx:pt>
          <cx:pt idx="3210">5</cx:pt>
          <cx:pt idx="3211">1</cx:pt>
          <cx:pt idx="3212">5</cx:pt>
          <cx:pt idx="3213">5</cx:pt>
          <cx:pt idx="3214">4</cx:pt>
          <cx:pt idx="3215">2</cx:pt>
          <cx:pt idx="3216">5</cx:pt>
          <cx:pt idx="3217">2</cx:pt>
          <cx:pt idx="3218">5</cx:pt>
          <cx:pt idx="3219">3</cx:pt>
          <cx:pt idx="3220">0</cx:pt>
          <cx:pt idx="3221">2</cx:pt>
          <cx:pt idx="3222">2</cx:pt>
          <cx:pt idx="3223">3</cx:pt>
          <cx:pt idx="3224">0</cx:pt>
          <cx:pt idx="3225">2</cx:pt>
          <cx:pt idx="3226">1</cx:pt>
          <cx:pt idx="3227">4</cx:pt>
          <cx:pt idx="3228">5</cx:pt>
          <cx:pt idx="3229">1</cx:pt>
          <cx:pt idx="3230">5</cx:pt>
          <cx:pt idx="3231">2</cx:pt>
          <cx:pt idx="3232">3</cx:pt>
          <cx:pt idx="3233">2</cx:pt>
          <cx:pt idx="3234">0</cx:pt>
          <cx:pt idx="3235">2</cx:pt>
          <cx:pt idx="3236">2</cx:pt>
          <cx:pt idx="3237">2</cx:pt>
          <cx:pt idx="3238">4</cx:pt>
          <cx:pt idx="3239">4</cx:pt>
          <cx:pt idx="3240">1</cx:pt>
          <cx:pt idx="3241">2</cx:pt>
          <cx:pt idx="3242">1</cx:pt>
          <cx:pt idx="3243">4</cx:pt>
          <cx:pt idx="3244">2</cx:pt>
          <cx:pt idx="3245">1</cx:pt>
          <cx:pt idx="3246">2</cx:pt>
          <cx:pt idx="3247">3</cx:pt>
          <cx:pt idx="3248">3</cx:pt>
          <cx:pt idx="3249">5</cx:pt>
          <cx:pt idx="3250">5</cx:pt>
          <cx:pt idx="3251">5</cx:pt>
          <cx:pt idx="3252">1</cx:pt>
          <cx:pt idx="3253">5</cx:pt>
          <cx:pt idx="3254">4</cx:pt>
          <cx:pt idx="3255">5</cx:pt>
          <cx:pt idx="3256">3</cx:pt>
          <cx:pt idx="3257">2</cx:pt>
          <cx:pt idx="3258">3</cx:pt>
          <cx:pt idx="3259">3</cx:pt>
          <cx:pt idx="3260">3</cx:pt>
          <cx:pt idx="3261">1</cx:pt>
          <cx:pt idx="3262">4</cx:pt>
          <cx:pt idx="3263">3</cx:pt>
          <cx:pt idx="3264">2</cx:pt>
          <cx:pt idx="3265">3</cx:pt>
          <cx:pt idx="3266">5</cx:pt>
          <cx:pt idx="3267">1</cx:pt>
          <cx:pt idx="3268">3</cx:pt>
          <cx:pt idx="3269">2</cx:pt>
          <cx:pt idx="3270">5</cx:pt>
          <cx:pt idx="3271">5</cx:pt>
          <cx:pt idx="3272">3</cx:pt>
          <cx:pt idx="3273">4</cx:pt>
          <cx:pt idx="3274">2</cx:pt>
          <cx:pt idx="3275">3</cx:pt>
          <cx:pt idx="3276">5</cx:pt>
          <cx:pt idx="3277">1</cx:pt>
          <cx:pt idx="3278">0</cx:pt>
          <cx:pt idx="3279">2</cx:pt>
          <cx:pt idx="3280">1</cx:pt>
          <cx:pt idx="3281">3</cx:pt>
          <cx:pt idx="3282">1</cx:pt>
          <cx:pt idx="3283">3</cx:pt>
          <cx:pt idx="3284">1</cx:pt>
          <cx:pt idx="3285">1</cx:pt>
          <cx:pt idx="3286">4</cx:pt>
          <cx:pt idx="3287">2</cx:pt>
          <cx:pt idx="3288">3</cx:pt>
          <cx:pt idx="3289">1</cx:pt>
          <cx:pt idx="3290">1</cx:pt>
          <cx:pt idx="3291">4</cx:pt>
          <cx:pt idx="3292">1</cx:pt>
          <cx:pt idx="3293">4</cx:pt>
          <cx:pt idx="3294">1</cx:pt>
          <cx:pt idx="3295">5</cx:pt>
          <cx:pt idx="3296">3</cx:pt>
          <cx:pt idx="3297">3</cx:pt>
          <cx:pt idx="3298">2</cx:pt>
          <cx:pt idx="3299">1</cx:pt>
          <cx:pt idx="3300">1</cx:pt>
          <cx:pt idx="3301">5</cx:pt>
          <cx:pt idx="3302">2</cx:pt>
          <cx:pt idx="3303">1</cx:pt>
          <cx:pt idx="3304">2</cx:pt>
          <cx:pt idx="3305">5</cx:pt>
          <cx:pt idx="3306">0</cx:pt>
          <cx:pt idx="3307">3</cx:pt>
          <cx:pt idx="3308">3</cx:pt>
          <cx:pt idx="3309">2</cx:pt>
          <cx:pt idx="3310">4</cx:pt>
          <cx:pt idx="3311">1</cx:pt>
          <cx:pt idx="3312">1</cx:pt>
          <cx:pt idx="3313">4</cx:pt>
          <cx:pt idx="3314">3</cx:pt>
          <cx:pt idx="3315">3</cx:pt>
          <cx:pt idx="3316">3</cx:pt>
          <cx:pt idx="3317">2</cx:pt>
          <cx:pt idx="3318">2</cx:pt>
          <cx:pt idx="3319">2</cx:pt>
          <cx:pt idx="3320">4</cx:pt>
          <cx:pt idx="3321">2</cx:pt>
          <cx:pt idx="3322">4</cx:pt>
          <cx:pt idx="3323">3</cx:pt>
          <cx:pt idx="3324">3</cx:pt>
          <cx:pt idx="3325">5</cx:pt>
          <cx:pt idx="3326">5</cx:pt>
          <cx:pt idx="3327">3</cx:pt>
          <cx:pt idx="3328">2</cx:pt>
          <cx:pt idx="3329">3</cx:pt>
          <cx:pt idx="3330">3</cx:pt>
          <cx:pt idx="3331">3</cx:pt>
          <cx:pt idx="3332">3</cx:pt>
          <cx:pt idx="3333">2</cx:pt>
          <cx:pt idx="3334">4</cx:pt>
          <cx:pt idx="3335">4</cx:pt>
          <cx:pt idx="3336">0</cx:pt>
          <cx:pt idx="3337">3</cx:pt>
          <cx:pt idx="3338">1</cx:pt>
          <cx:pt idx="3339">1</cx:pt>
          <cx:pt idx="3340">1</cx:pt>
          <cx:pt idx="3341">2</cx:pt>
          <cx:pt idx="3342">5</cx:pt>
          <cx:pt idx="3343">5</cx:pt>
          <cx:pt idx="3344">4</cx:pt>
          <cx:pt idx="3345">3</cx:pt>
          <cx:pt idx="3346">5</cx:pt>
          <cx:pt idx="3347">4</cx:pt>
          <cx:pt idx="3348">3</cx:pt>
          <cx:pt idx="3349">0</cx:pt>
          <cx:pt idx="3350">1</cx:pt>
          <cx:pt idx="3351">3</cx:pt>
          <cx:pt idx="3352">1</cx:pt>
          <cx:pt idx="3353">2</cx:pt>
          <cx:pt idx="3354">5</cx:pt>
          <cx:pt idx="3355">1</cx:pt>
          <cx:pt idx="3356">3</cx:pt>
          <cx:pt idx="3357">1</cx:pt>
          <cx:pt idx="3358">4</cx:pt>
          <cx:pt idx="3359">2</cx:pt>
          <cx:pt idx="3360">1</cx:pt>
          <cx:pt idx="3361">2</cx:pt>
          <cx:pt idx="3362">3</cx:pt>
          <cx:pt idx="3363">3</cx:pt>
          <cx:pt idx="3364">3</cx:pt>
          <cx:pt idx="3365">4</cx:pt>
          <cx:pt idx="3366">4</cx:pt>
          <cx:pt idx="3367">3</cx:pt>
          <cx:pt idx="3368">2</cx:pt>
          <cx:pt idx="3369">4</cx:pt>
          <cx:pt idx="3370">3</cx:pt>
          <cx:pt idx="3371">3</cx:pt>
          <cx:pt idx="3372">0</cx:pt>
          <cx:pt idx="3373">4</cx:pt>
          <cx:pt idx="3374">2</cx:pt>
          <cx:pt idx="3375">2</cx:pt>
          <cx:pt idx="3376">1</cx:pt>
          <cx:pt idx="3377">4</cx:pt>
          <cx:pt idx="3378">3</cx:pt>
          <cx:pt idx="3379">4</cx:pt>
          <cx:pt idx="3380">1</cx:pt>
          <cx:pt idx="3381">2</cx:pt>
          <cx:pt idx="3382">1</cx:pt>
          <cx:pt idx="3383">1</cx:pt>
          <cx:pt idx="3384">0</cx:pt>
          <cx:pt idx="3385">4</cx:pt>
          <cx:pt idx="3386">2</cx:pt>
          <cx:pt idx="3387">4</cx:pt>
          <cx:pt idx="3388">3</cx:pt>
          <cx:pt idx="3389">4</cx:pt>
          <cx:pt idx="3390">2</cx:pt>
          <cx:pt idx="3391">1</cx:pt>
          <cx:pt idx="3392">4</cx:pt>
          <cx:pt idx="3393">1</cx:pt>
          <cx:pt idx="3394">4</cx:pt>
          <cx:pt idx="3395">1</cx:pt>
          <cx:pt idx="3396">3</cx:pt>
          <cx:pt idx="3397">1</cx:pt>
          <cx:pt idx="3398">1</cx:pt>
          <cx:pt idx="3399">5</cx:pt>
          <cx:pt idx="3400">2</cx:pt>
          <cx:pt idx="3401">3</cx:pt>
          <cx:pt idx="3402">1</cx:pt>
          <cx:pt idx="3403">5</cx:pt>
          <cx:pt idx="3404">5</cx:pt>
          <cx:pt idx="3405">4</cx:pt>
          <cx:pt idx="3406">1</cx:pt>
          <cx:pt idx="3407">1</cx:pt>
          <cx:pt idx="3408">1</cx:pt>
          <cx:pt idx="3409">1</cx:pt>
          <cx:pt idx="3410">1</cx:pt>
          <cx:pt idx="3411">4</cx:pt>
          <cx:pt idx="3412">4</cx:pt>
          <cx:pt idx="3413">4</cx:pt>
          <cx:pt idx="3414">3</cx:pt>
          <cx:pt idx="3415">4</cx:pt>
          <cx:pt idx="3416">3</cx:pt>
          <cx:pt idx="3417">1</cx:pt>
          <cx:pt idx="3418">1</cx:pt>
          <cx:pt idx="3419">2</cx:pt>
          <cx:pt idx="3420">4</cx:pt>
          <cx:pt idx="3421">5</cx:pt>
          <cx:pt idx="3422">3</cx:pt>
          <cx:pt idx="3423">1</cx:pt>
          <cx:pt idx="3424">2</cx:pt>
          <cx:pt idx="3425">4</cx:pt>
          <cx:pt idx="3426">4</cx:pt>
          <cx:pt idx="3427">3</cx:pt>
          <cx:pt idx="3428">5</cx:pt>
          <cx:pt idx="3429">5</cx:pt>
          <cx:pt idx="3430">4</cx:pt>
          <cx:pt idx="3431">4</cx:pt>
          <cx:pt idx="3432">3</cx:pt>
          <cx:pt idx="3433">0</cx:pt>
          <cx:pt idx="3434">3</cx:pt>
          <cx:pt idx="3435">4</cx:pt>
          <cx:pt idx="3436">0</cx:pt>
          <cx:pt idx="3437">4</cx:pt>
          <cx:pt idx="3438">1</cx:pt>
          <cx:pt idx="3439">2</cx:pt>
          <cx:pt idx="3440">3</cx:pt>
          <cx:pt idx="3441">2</cx:pt>
          <cx:pt idx="3442">4</cx:pt>
          <cx:pt idx="3443">2</cx:pt>
          <cx:pt idx="3444">4</cx:pt>
          <cx:pt idx="3445">4</cx:pt>
          <cx:pt idx="3446">3</cx:pt>
          <cx:pt idx="3447">3</cx:pt>
          <cx:pt idx="3448">2</cx:pt>
          <cx:pt idx="3449">1</cx:pt>
          <cx:pt idx="3450">4</cx:pt>
          <cx:pt idx="3451">2</cx:pt>
          <cx:pt idx="3452">3</cx:pt>
          <cx:pt idx="3453">3</cx:pt>
          <cx:pt idx="3454">5</cx:pt>
          <cx:pt idx="3455">3</cx:pt>
          <cx:pt idx="3456">3</cx:pt>
          <cx:pt idx="3457">4</cx:pt>
          <cx:pt idx="3458">3</cx:pt>
          <cx:pt idx="3459">3</cx:pt>
          <cx:pt idx="3460">3</cx:pt>
          <cx:pt idx="3461">0</cx:pt>
          <cx:pt idx="3462">4</cx:pt>
          <cx:pt idx="3463">3</cx:pt>
          <cx:pt idx="3464">1</cx:pt>
          <cx:pt idx="3465">5</cx:pt>
          <cx:pt idx="3466">5</cx:pt>
          <cx:pt idx="3467">3</cx:pt>
          <cx:pt idx="3468">3</cx:pt>
          <cx:pt idx="3469">5</cx:pt>
          <cx:pt idx="3470">0</cx:pt>
          <cx:pt idx="3471">1</cx:pt>
          <cx:pt idx="3472">3</cx:pt>
          <cx:pt idx="3473">2</cx:pt>
          <cx:pt idx="3474">3</cx:pt>
          <cx:pt idx="3475">2</cx:pt>
          <cx:pt idx="3476">3</cx:pt>
          <cx:pt idx="3477">4</cx:pt>
          <cx:pt idx="3478">1</cx:pt>
          <cx:pt idx="3479">2</cx:pt>
          <cx:pt idx="3480">5</cx:pt>
          <cx:pt idx="3481">3</cx:pt>
          <cx:pt idx="3482">3</cx:pt>
          <cx:pt idx="3483">2</cx:pt>
          <cx:pt idx="3484">2</cx:pt>
          <cx:pt idx="3485">5</cx:pt>
          <cx:pt idx="3486">3</cx:pt>
          <cx:pt idx="3487">1</cx:pt>
          <cx:pt idx="3488">5</cx:pt>
          <cx:pt idx="3489">1</cx:pt>
          <cx:pt idx="3490">5</cx:pt>
          <cx:pt idx="3491">3</cx:pt>
          <cx:pt idx="3492">5</cx:pt>
          <cx:pt idx="3493">4</cx:pt>
          <cx:pt idx="3494">2</cx:pt>
          <cx:pt idx="3495">4</cx:pt>
          <cx:pt idx="3496">3</cx:pt>
          <cx:pt idx="3497">5</cx:pt>
          <cx:pt idx="3498">2</cx:pt>
          <cx:pt idx="3499">1</cx:pt>
          <cx:pt idx="3500">4</cx:pt>
          <cx:pt idx="3501">1</cx:pt>
          <cx:pt idx="3502">1</cx:pt>
          <cx:pt idx="3503">2</cx:pt>
          <cx:pt idx="3504">2</cx:pt>
          <cx:pt idx="3505">3</cx:pt>
          <cx:pt idx="3506">5</cx:pt>
          <cx:pt idx="3507">4</cx:pt>
          <cx:pt idx="3508">3</cx:pt>
          <cx:pt idx="3509">4</cx:pt>
          <cx:pt idx="3510">4</cx:pt>
          <cx:pt idx="3511">4</cx:pt>
          <cx:pt idx="3512">3</cx:pt>
          <cx:pt idx="3513">4</cx:pt>
          <cx:pt idx="3514">4</cx:pt>
          <cx:pt idx="3515">1</cx:pt>
          <cx:pt idx="3516">3</cx:pt>
          <cx:pt idx="3517">5</cx:pt>
          <cx:pt idx="3518">0</cx:pt>
          <cx:pt idx="3519">1</cx:pt>
          <cx:pt idx="3520">1</cx:pt>
          <cx:pt idx="3521">3</cx:pt>
          <cx:pt idx="3522">2</cx:pt>
          <cx:pt idx="3523">3</cx:pt>
          <cx:pt idx="3524">3</cx:pt>
          <cx:pt idx="3525">1</cx:pt>
          <cx:pt idx="3526">1</cx:pt>
          <cx:pt idx="3527">3</cx:pt>
          <cx:pt idx="3528">1</cx:pt>
          <cx:pt idx="3529">2</cx:pt>
          <cx:pt idx="3530">3</cx:pt>
          <cx:pt idx="3531">1</cx:pt>
          <cx:pt idx="3532">4</cx:pt>
          <cx:pt idx="3533">4</cx:pt>
          <cx:pt idx="3534">4</cx:pt>
          <cx:pt idx="3535">2</cx:pt>
          <cx:pt idx="3536">3</cx:pt>
          <cx:pt idx="3537">3</cx:pt>
          <cx:pt idx="3538">2</cx:pt>
          <cx:pt idx="3539">2</cx:pt>
          <cx:pt idx="3540">5</cx:pt>
          <cx:pt idx="3541">4</cx:pt>
          <cx:pt idx="3542">0</cx:pt>
          <cx:pt idx="3543">2</cx:pt>
          <cx:pt idx="3544">2</cx:pt>
          <cx:pt idx="3545">4</cx:pt>
          <cx:pt idx="3546">4</cx:pt>
          <cx:pt idx="3547">5</cx:pt>
          <cx:pt idx="3548">2</cx:pt>
          <cx:pt idx="3549">5</cx:pt>
          <cx:pt idx="3550">4</cx:pt>
          <cx:pt idx="3551">4</cx:pt>
          <cx:pt idx="3552">1</cx:pt>
          <cx:pt idx="3553">5</cx:pt>
          <cx:pt idx="3554">3</cx:pt>
          <cx:pt idx="3555">3</cx:pt>
          <cx:pt idx="3556">2</cx:pt>
          <cx:pt idx="3557">2</cx:pt>
          <cx:pt idx="3558">0</cx:pt>
          <cx:pt idx="3559">3</cx:pt>
          <cx:pt idx="3560">3</cx:pt>
          <cx:pt idx="3561">3</cx:pt>
          <cx:pt idx="3562">4</cx:pt>
          <cx:pt idx="3563">4</cx:pt>
          <cx:pt idx="3564">0</cx:pt>
          <cx:pt idx="3565">3</cx:pt>
          <cx:pt idx="3566">3</cx:pt>
          <cx:pt idx="3567">4</cx:pt>
          <cx:pt idx="3568">0</cx:pt>
          <cx:pt idx="3569">2</cx:pt>
          <cx:pt idx="3570">0</cx:pt>
          <cx:pt idx="3571">0</cx:pt>
          <cx:pt idx="3572">4</cx:pt>
          <cx:pt idx="3573">3</cx:pt>
          <cx:pt idx="3574">2</cx:pt>
          <cx:pt idx="3575">5</cx:pt>
          <cx:pt idx="3576">2</cx:pt>
          <cx:pt idx="3577">1</cx:pt>
          <cx:pt idx="3578">2</cx:pt>
          <cx:pt idx="3579">2</cx:pt>
          <cx:pt idx="3580">1</cx:pt>
          <cx:pt idx="3581">3</cx:pt>
          <cx:pt idx="3582">1</cx:pt>
          <cx:pt idx="3583">3</cx:pt>
          <cx:pt idx="3584">1</cx:pt>
          <cx:pt idx="3585">2</cx:pt>
          <cx:pt idx="3586">1</cx:pt>
          <cx:pt idx="3587">4</cx:pt>
          <cx:pt idx="3588">5</cx:pt>
          <cx:pt idx="3589">4</cx:pt>
          <cx:pt idx="3590">2</cx:pt>
          <cx:pt idx="3591">3</cx:pt>
          <cx:pt idx="3592">1</cx:pt>
          <cx:pt idx="3593">5</cx:pt>
          <cx:pt idx="3594">3</cx:pt>
          <cx:pt idx="3595">0</cx:pt>
          <cx:pt idx="3596">3</cx:pt>
          <cx:pt idx="3597">2</cx:pt>
          <cx:pt idx="3598">4</cx:pt>
          <cx:pt idx="3599">4</cx:pt>
          <cx:pt idx="3600">2</cx:pt>
          <cx:pt idx="3601">5</cx:pt>
          <cx:pt idx="3602">2</cx:pt>
          <cx:pt idx="3603">4</cx:pt>
          <cx:pt idx="3604">1</cx:pt>
          <cx:pt idx="3605">3</cx:pt>
          <cx:pt idx="3606">2</cx:pt>
          <cx:pt idx="3607">5</cx:pt>
          <cx:pt idx="3608">4</cx:pt>
          <cx:pt idx="3609">2</cx:pt>
          <cx:pt idx="3610">5</cx:pt>
          <cx:pt idx="3611">2</cx:pt>
          <cx:pt idx="3612">4</cx:pt>
          <cx:pt idx="3613">3</cx:pt>
          <cx:pt idx="3614">1</cx:pt>
          <cx:pt idx="3615">3</cx:pt>
          <cx:pt idx="3616">0</cx:pt>
          <cx:pt idx="3617">2</cx:pt>
          <cx:pt idx="3618">3</cx:pt>
          <cx:pt idx="3619">2</cx:pt>
          <cx:pt idx="3620">4</cx:pt>
          <cx:pt idx="3621">1</cx:pt>
          <cx:pt idx="3622">1</cx:pt>
          <cx:pt idx="3623">3</cx:pt>
          <cx:pt idx="3624">1</cx:pt>
          <cx:pt idx="3625">1</cx:pt>
          <cx:pt idx="3626">1</cx:pt>
          <cx:pt idx="3627">1</cx:pt>
          <cx:pt idx="3628">3</cx:pt>
          <cx:pt idx="3629">4</cx:pt>
          <cx:pt idx="3630">2</cx:pt>
          <cx:pt idx="3631">1</cx:pt>
          <cx:pt idx="3632">1</cx:pt>
          <cx:pt idx="3633">2</cx:pt>
          <cx:pt idx="3634">3</cx:pt>
          <cx:pt idx="3635">1</cx:pt>
          <cx:pt idx="3636">2</cx:pt>
          <cx:pt idx="3637">5</cx:pt>
          <cx:pt idx="3638">2</cx:pt>
          <cx:pt idx="3639">3</cx:pt>
          <cx:pt idx="3640">3</cx:pt>
          <cx:pt idx="3641">2</cx:pt>
          <cx:pt idx="3642">4</cx:pt>
          <cx:pt idx="3643">5</cx:pt>
          <cx:pt idx="3644">1</cx:pt>
          <cx:pt idx="3645">4</cx:pt>
          <cx:pt idx="3646">3</cx:pt>
          <cx:pt idx="3647">2</cx:pt>
          <cx:pt idx="3648">2</cx:pt>
          <cx:pt idx="3649">3</cx:pt>
          <cx:pt idx="3650">2</cx:pt>
          <cx:pt idx="3651">4</cx:pt>
          <cx:pt idx="3652">1</cx:pt>
          <cx:pt idx="3653">5</cx:pt>
          <cx:pt idx="3654">1</cx:pt>
          <cx:pt idx="3655">3</cx:pt>
          <cx:pt idx="3656">2</cx:pt>
          <cx:pt idx="3657">4</cx:pt>
          <cx:pt idx="3658">4</cx:pt>
          <cx:pt idx="3659">5</cx:pt>
          <cx:pt idx="3660">1</cx:pt>
          <cx:pt idx="3661">1</cx:pt>
          <cx:pt idx="3662">2</cx:pt>
          <cx:pt idx="3663">5</cx:pt>
          <cx:pt idx="3664">4</cx:pt>
          <cx:pt idx="3665">4</cx:pt>
          <cx:pt idx="3666">1</cx:pt>
          <cx:pt idx="3667">5</cx:pt>
          <cx:pt idx="3668">3</cx:pt>
          <cx:pt idx="3669">1</cx:pt>
          <cx:pt idx="3670">2</cx:pt>
          <cx:pt idx="3671">0</cx:pt>
          <cx:pt idx="3672">2</cx:pt>
          <cx:pt idx="3673">2</cx:pt>
          <cx:pt idx="3674">3</cx:pt>
          <cx:pt idx="3675">3</cx:pt>
          <cx:pt idx="3676">5</cx:pt>
          <cx:pt idx="3677">5</cx:pt>
          <cx:pt idx="3678">1</cx:pt>
          <cx:pt idx="3679">3</cx:pt>
          <cx:pt idx="3680">4</cx:pt>
          <cx:pt idx="3681">4</cx:pt>
          <cx:pt idx="3682">3</cx:pt>
          <cx:pt idx="3683">3</cx:pt>
          <cx:pt idx="3684">4</cx:pt>
          <cx:pt idx="3685">3</cx:pt>
          <cx:pt idx="3686">2</cx:pt>
          <cx:pt idx="3687">0</cx:pt>
          <cx:pt idx="3688">3</cx:pt>
          <cx:pt idx="3689">4</cx:pt>
          <cx:pt idx="3690">4</cx:pt>
          <cx:pt idx="3691">4</cx:pt>
          <cx:pt idx="3692">0</cx:pt>
          <cx:pt idx="3693">4</cx:pt>
          <cx:pt idx="3694">2</cx:pt>
          <cx:pt idx="3695">1</cx:pt>
          <cx:pt idx="3696">4</cx:pt>
          <cx:pt idx="3697">3</cx:pt>
          <cx:pt idx="3698">3</cx:pt>
          <cx:pt idx="3699">0</cx:pt>
          <cx:pt idx="3700">5</cx:pt>
          <cx:pt idx="3701">3</cx:pt>
          <cx:pt idx="3702">3</cx:pt>
          <cx:pt idx="3703">0</cx:pt>
          <cx:pt idx="3704">4</cx:pt>
          <cx:pt idx="3705">2</cx:pt>
          <cx:pt idx="3706">4</cx:pt>
          <cx:pt idx="3707">1</cx:pt>
          <cx:pt idx="3708">1</cx:pt>
          <cx:pt idx="3709">2</cx:pt>
          <cx:pt idx="3710">5</cx:pt>
          <cx:pt idx="3711">1</cx:pt>
          <cx:pt idx="3712">3</cx:pt>
          <cx:pt idx="3713">4</cx:pt>
          <cx:pt idx="3714">1</cx:pt>
          <cx:pt idx="3715">2</cx:pt>
          <cx:pt idx="3716">3</cx:pt>
          <cx:pt idx="3717">1</cx:pt>
          <cx:pt idx="3718">4</cx:pt>
          <cx:pt idx="3719">5</cx:pt>
          <cx:pt idx="3720">4</cx:pt>
          <cx:pt idx="3721">1</cx:pt>
          <cx:pt idx="3722">4</cx:pt>
          <cx:pt idx="3723">5</cx:pt>
          <cx:pt idx="3724">2</cx:pt>
          <cx:pt idx="3725">1</cx:pt>
          <cx:pt idx="3726">3</cx:pt>
          <cx:pt idx="3727">5</cx:pt>
          <cx:pt idx="3728">2</cx:pt>
          <cx:pt idx="3729">5</cx:pt>
          <cx:pt idx="3730">2</cx:pt>
          <cx:pt idx="3731">2</cx:pt>
          <cx:pt idx="3732">2</cx:pt>
          <cx:pt idx="3733">2</cx:pt>
          <cx:pt idx="3734">5</cx:pt>
          <cx:pt idx="3735">1</cx:pt>
          <cx:pt idx="3736">3</cx:pt>
          <cx:pt idx="3737">5</cx:pt>
          <cx:pt idx="3738">2</cx:pt>
          <cx:pt idx="3739">2</cx:pt>
          <cx:pt idx="3740">1</cx:pt>
          <cx:pt idx="3741">2</cx:pt>
          <cx:pt idx="3742">1</cx:pt>
          <cx:pt idx="3743">4</cx:pt>
          <cx:pt idx="3744">1</cx:pt>
          <cx:pt idx="3745">1</cx:pt>
          <cx:pt idx="3746">4</cx:pt>
          <cx:pt idx="3747">4</cx:pt>
          <cx:pt idx="3748">4</cx:pt>
          <cx:pt idx="3749">1</cx:pt>
          <cx:pt idx="3750">4</cx:pt>
          <cx:pt idx="3751">3</cx:pt>
          <cx:pt idx="3752">0</cx:pt>
          <cx:pt idx="3753">5</cx:pt>
          <cx:pt idx="3754">2</cx:pt>
          <cx:pt idx="3755">0</cx:pt>
          <cx:pt idx="3756">3</cx:pt>
          <cx:pt idx="3757">5</cx:pt>
          <cx:pt idx="3758">4</cx:pt>
          <cx:pt idx="3759">3</cx:pt>
          <cx:pt idx="3760">3</cx:pt>
          <cx:pt idx="3761">5</cx:pt>
          <cx:pt idx="3762">3</cx:pt>
          <cx:pt idx="3763">4</cx:pt>
          <cx:pt idx="3764">3</cx:pt>
          <cx:pt idx="3765">4</cx:pt>
          <cx:pt idx="3766">2</cx:pt>
          <cx:pt idx="3767">4</cx:pt>
          <cx:pt idx="3768">2</cx:pt>
          <cx:pt idx="3769">2</cx:pt>
          <cx:pt idx="3770">2</cx:pt>
          <cx:pt idx="3771">1</cx:pt>
          <cx:pt idx="3772">2</cx:pt>
          <cx:pt idx="3773">2</cx:pt>
          <cx:pt idx="3774">3</cx:pt>
          <cx:pt idx="3775">0</cx:pt>
          <cx:pt idx="3776">5</cx:pt>
          <cx:pt idx="3777">4</cx:pt>
          <cx:pt idx="3778">5</cx:pt>
          <cx:pt idx="3779">4</cx:pt>
          <cx:pt idx="3780">1</cx:pt>
          <cx:pt idx="3781">5</cx:pt>
          <cx:pt idx="3782">3</cx:pt>
          <cx:pt idx="3783">0</cx:pt>
          <cx:pt idx="3784">3</cx:pt>
          <cx:pt idx="3785">2</cx:pt>
          <cx:pt idx="3786">2</cx:pt>
          <cx:pt idx="3787">3</cx:pt>
          <cx:pt idx="3788">1</cx:pt>
          <cx:pt idx="3789">1</cx:pt>
          <cx:pt idx="3790">4</cx:pt>
          <cx:pt idx="3791">2</cx:pt>
          <cx:pt idx="3792">2</cx:pt>
          <cx:pt idx="3793">3</cx:pt>
          <cx:pt idx="3794">3</cx:pt>
          <cx:pt idx="3795">4</cx:pt>
          <cx:pt idx="3796">2</cx:pt>
          <cx:pt idx="3797">3</cx:pt>
          <cx:pt idx="3798">2</cx:pt>
          <cx:pt idx="3799">3</cx:pt>
          <cx:pt idx="3800">2</cx:pt>
          <cx:pt idx="3801">5</cx:pt>
          <cx:pt idx="3802">3</cx:pt>
          <cx:pt idx="3803">5</cx:pt>
          <cx:pt idx="3804">3</cx:pt>
          <cx:pt idx="3805">3</cx:pt>
          <cx:pt idx="3806">4</cx:pt>
          <cx:pt idx="3807">1</cx:pt>
          <cx:pt idx="3808">2</cx:pt>
          <cx:pt idx="3809">4</cx:pt>
          <cx:pt idx="3810">1</cx:pt>
          <cx:pt idx="3811">3</cx:pt>
          <cx:pt idx="3812">2</cx:pt>
          <cx:pt idx="3813">1</cx:pt>
          <cx:pt idx="3814">2</cx:pt>
          <cx:pt idx="3815">3</cx:pt>
          <cx:pt idx="3816">4</cx:pt>
          <cx:pt idx="3817">1</cx:pt>
          <cx:pt idx="3818">3</cx:pt>
          <cx:pt idx="3819">4</cx:pt>
          <cx:pt idx="3820">2</cx:pt>
          <cx:pt idx="3821">2</cx:pt>
          <cx:pt idx="3822">3</cx:pt>
          <cx:pt idx="3823">3</cx:pt>
          <cx:pt idx="3824">3</cx:pt>
          <cx:pt idx="3825">2</cx:pt>
          <cx:pt idx="3826">4</cx:pt>
          <cx:pt idx="3827">4</cx:pt>
          <cx:pt idx="3828">1</cx:pt>
          <cx:pt idx="3829">4</cx:pt>
          <cx:pt idx="3830">3</cx:pt>
          <cx:pt idx="3831">2</cx:pt>
          <cx:pt idx="3832">1</cx:pt>
          <cx:pt idx="3833">0</cx:pt>
          <cx:pt idx="3834">1</cx:pt>
          <cx:pt idx="3835">4</cx:pt>
          <cx:pt idx="3836">1</cx:pt>
          <cx:pt idx="3837">2</cx:pt>
          <cx:pt idx="3838">4</cx:pt>
          <cx:pt idx="3839">2</cx:pt>
          <cx:pt idx="3840">2</cx:pt>
          <cx:pt idx="3841">4</cx:pt>
          <cx:pt idx="3842">3</cx:pt>
          <cx:pt idx="3843">1</cx:pt>
          <cx:pt idx="3844">4</cx:pt>
          <cx:pt idx="3845">1</cx:pt>
          <cx:pt idx="3846">1</cx:pt>
          <cx:pt idx="3847">2</cx:pt>
          <cx:pt idx="3848">2</cx:pt>
          <cx:pt idx="3849">3</cx:pt>
          <cx:pt idx="3850">4</cx:pt>
          <cx:pt idx="3851">3</cx:pt>
          <cx:pt idx="3852">1</cx:pt>
          <cx:pt idx="3853">2</cx:pt>
          <cx:pt idx="3854">0</cx:pt>
          <cx:pt idx="3855">4</cx:pt>
          <cx:pt idx="3856">3</cx:pt>
          <cx:pt idx="3857">1</cx:pt>
          <cx:pt idx="3858">4</cx:pt>
          <cx:pt idx="3859">2</cx:pt>
          <cx:pt idx="3860">1</cx:pt>
          <cx:pt idx="3861">4</cx:pt>
          <cx:pt idx="3862">1</cx:pt>
          <cx:pt idx="3863">4</cx:pt>
          <cx:pt idx="3864">4</cx:pt>
          <cx:pt idx="3865">3</cx:pt>
          <cx:pt idx="3866">3</cx:pt>
          <cx:pt idx="3867">2</cx:pt>
          <cx:pt idx="3868">3</cx:pt>
          <cx:pt idx="3869">4</cx:pt>
          <cx:pt idx="3870">4</cx:pt>
          <cx:pt idx="3871">4</cx:pt>
          <cx:pt idx="3872">1</cx:pt>
          <cx:pt idx="3873">1</cx:pt>
          <cx:pt idx="3874">1</cx:pt>
          <cx:pt idx="3875">2</cx:pt>
          <cx:pt idx="3876">2</cx:pt>
          <cx:pt idx="3877">5</cx:pt>
          <cx:pt idx="3878">5</cx:pt>
          <cx:pt idx="3879">5</cx:pt>
          <cx:pt idx="3880">1</cx:pt>
          <cx:pt idx="3881">1</cx:pt>
          <cx:pt idx="3882">3</cx:pt>
          <cx:pt idx="3883">1</cx:pt>
          <cx:pt idx="3884">5</cx:pt>
          <cx:pt idx="3885">0</cx:pt>
          <cx:pt idx="3886">3</cx:pt>
          <cx:pt idx="3887">3</cx:pt>
          <cx:pt idx="3888">4</cx:pt>
          <cx:pt idx="3889">3</cx:pt>
          <cx:pt idx="3890">4</cx:pt>
          <cx:pt idx="3891">4</cx:pt>
          <cx:pt idx="3892">3</cx:pt>
          <cx:pt idx="3893">2</cx:pt>
          <cx:pt idx="3894">3</cx:pt>
          <cx:pt idx="3895">2</cx:pt>
          <cx:pt idx="3896">4</cx:pt>
          <cx:pt idx="3897">4</cx:pt>
          <cx:pt idx="3898">4</cx:pt>
          <cx:pt idx="3899">4</cx:pt>
          <cx:pt idx="3900">4</cx:pt>
          <cx:pt idx="3901">2</cx:pt>
          <cx:pt idx="3902">2</cx:pt>
          <cx:pt idx="3903">3</cx:pt>
          <cx:pt idx="3904">2</cx:pt>
          <cx:pt idx="3905">4</cx:pt>
          <cx:pt idx="3906">3</cx:pt>
          <cx:pt idx="3907">2</cx:pt>
          <cx:pt idx="3908">4</cx:pt>
          <cx:pt idx="3909">2</cx:pt>
          <cx:pt idx="3910">5</cx:pt>
          <cx:pt idx="3911">4</cx:pt>
          <cx:pt idx="3912">3</cx:pt>
          <cx:pt idx="3913">3</cx:pt>
          <cx:pt idx="3914">2</cx:pt>
          <cx:pt idx="3915">4</cx:pt>
          <cx:pt idx="3916">1</cx:pt>
          <cx:pt idx="3917">2</cx:pt>
          <cx:pt idx="3918">1</cx:pt>
          <cx:pt idx="3919">4</cx:pt>
          <cx:pt idx="3920">2</cx:pt>
          <cx:pt idx="3921">4</cx:pt>
          <cx:pt idx="3922">4</cx:pt>
          <cx:pt idx="3923">0</cx:pt>
          <cx:pt idx="3924">5</cx:pt>
          <cx:pt idx="3925">1</cx:pt>
          <cx:pt idx="3926">5</cx:pt>
          <cx:pt idx="3927">1</cx:pt>
          <cx:pt idx="3928">3</cx:pt>
          <cx:pt idx="3929">4</cx:pt>
          <cx:pt idx="3930">2</cx:pt>
          <cx:pt idx="3931">1</cx:pt>
          <cx:pt idx="3932">3</cx:pt>
          <cx:pt idx="3933">2</cx:pt>
          <cx:pt idx="3934">1</cx:pt>
          <cx:pt idx="3935">1</cx:pt>
          <cx:pt idx="3936">0</cx:pt>
          <cx:pt idx="3937">5</cx:pt>
          <cx:pt idx="3938">1</cx:pt>
          <cx:pt idx="3939">5</cx:pt>
          <cx:pt idx="3940">4</cx:pt>
          <cx:pt idx="3941">4</cx:pt>
          <cx:pt idx="3942">5</cx:pt>
          <cx:pt idx="3943">2</cx:pt>
          <cx:pt idx="3944">1</cx:pt>
          <cx:pt idx="3945">3</cx:pt>
          <cx:pt idx="3946">2</cx:pt>
          <cx:pt idx="3947">5</cx:pt>
          <cx:pt idx="3948">5</cx:pt>
          <cx:pt idx="3949">2</cx:pt>
          <cx:pt idx="3950">1</cx:pt>
          <cx:pt idx="3951">4</cx:pt>
          <cx:pt idx="3952">3</cx:pt>
          <cx:pt idx="3953">2</cx:pt>
          <cx:pt idx="3954">1</cx:pt>
          <cx:pt idx="3955">3</cx:pt>
          <cx:pt idx="3956">1</cx:pt>
          <cx:pt idx="3957">1</cx:pt>
          <cx:pt idx="3958">2</cx:pt>
          <cx:pt idx="3959">5</cx:pt>
          <cx:pt idx="3960">3</cx:pt>
          <cx:pt idx="3961">1</cx:pt>
          <cx:pt idx="3962">3</cx:pt>
          <cx:pt idx="3963">2</cx:pt>
          <cx:pt idx="3964">2</cx:pt>
          <cx:pt idx="3965">5</cx:pt>
          <cx:pt idx="3966">3</cx:pt>
          <cx:pt idx="3967">2</cx:pt>
          <cx:pt idx="3968">0</cx:pt>
          <cx:pt idx="3969">4</cx:pt>
          <cx:pt idx="3970">1</cx:pt>
          <cx:pt idx="3971">0</cx:pt>
          <cx:pt idx="3972">2</cx:pt>
          <cx:pt idx="3973">0</cx:pt>
          <cx:pt idx="3974">2</cx:pt>
          <cx:pt idx="3975">3</cx:pt>
          <cx:pt idx="3976">5</cx:pt>
          <cx:pt idx="3977">3</cx:pt>
          <cx:pt idx="3978">5</cx:pt>
          <cx:pt idx="3979">1</cx:pt>
          <cx:pt idx="3980">2</cx:pt>
          <cx:pt idx="3981">4</cx:pt>
          <cx:pt idx="3982">3</cx:pt>
          <cx:pt idx="3983">3</cx:pt>
          <cx:pt idx="3984">4</cx:pt>
          <cx:pt idx="3985">3</cx:pt>
          <cx:pt idx="3986">4</cx:pt>
          <cx:pt idx="3987">2</cx:pt>
          <cx:pt idx="3988">4</cx:pt>
          <cx:pt idx="3989">3</cx:pt>
          <cx:pt idx="3990">4</cx:pt>
          <cx:pt idx="3991">1</cx:pt>
          <cx:pt idx="3992">3</cx:pt>
          <cx:pt idx="3993">3</cx:pt>
          <cx:pt idx="3994">5</cx:pt>
          <cx:pt idx="3995">2</cx:pt>
          <cx:pt idx="3996">4</cx:pt>
          <cx:pt idx="3997">4</cx:pt>
          <cx:pt idx="3998">2</cx:pt>
          <cx:pt idx="3999">2</cx:pt>
          <cx:pt idx="4000">0</cx:pt>
          <cx:pt idx="4001">3</cx:pt>
          <cx:pt idx="4002">3</cx:pt>
          <cx:pt idx="4003">2</cx:pt>
          <cx:pt idx="4004">2</cx:pt>
          <cx:pt idx="4005">3</cx:pt>
          <cx:pt idx="4006">2</cx:pt>
          <cx:pt idx="4007">1</cx:pt>
          <cx:pt idx="4008">2</cx:pt>
          <cx:pt idx="4009">3</cx:pt>
          <cx:pt idx="4010">3</cx:pt>
          <cx:pt idx="4011">3</cx:pt>
          <cx:pt idx="4012">3</cx:pt>
          <cx:pt idx="4013">2</cx:pt>
          <cx:pt idx="4014">4</cx:pt>
          <cx:pt idx="4015">0</cx:pt>
          <cx:pt idx="4016">2</cx:pt>
          <cx:pt idx="4017">3</cx:pt>
          <cx:pt idx="4018">4</cx:pt>
          <cx:pt idx="4019">3</cx:pt>
          <cx:pt idx="4020">4</cx:pt>
          <cx:pt idx="4021">5</cx:pt>
          <cx:pt idx="4022">5</cx:pt>
          <cx:pt idx="4023">1</cx:pt>
          <cx:pt idx="4024">3</cx:pt>
          <cx:pt idx="4025">3</cx:pt>
          <cx:pt idx="4026">4</cx:pt>
          <cx:pt idx="4027">2</cx:pt>
          <cx:pt idx="4028">5</cx:pt>
          <cx:pt idx="4029">3</cx:pt>
          <cx:pt idx="4030">0</cx:pt>
          <cx:pt idx="4031">5</cx:pt>
          <cx:pt idx="4032">2</cx:pt>
          <cx:pt idx="4033">0</cx:pt>
          <cx:pt idx="4034">2</cx:pt>
          <cx:pt idx="4035">5</cx:pt>
          <cx:pt idx="4036">4</cx:pt>
          <cx:pt idx="4037">4</cx:pt>
          <cx:pt idx="4038">2</cx:pt>
          <cx:pt idx="4039">1</cx:pt>
          <cx:pt idx="4040">4</cx:pt>
          <cx:pt idx="4041">1</cx:pt>
          <cx:pt idx="4042">5</cx:pt>
          <cx:pt idx="4043">2</cx:pt>
          <cx:pt idx="4044">0</cx:pt>
          <cx:pt idx="4045">4</cx:pt>
          <cx:pt idx="4046">2</cx:pt>
          <cx:pt idx="4047">3</cx:pt>
          <cx:pt idx="4048">2</cx:pt>
          <cx:pt idx="4049">3</cx:pt>
          <cx:pt idx="4050">4</cx:pt>
          <cx:pt idx="4051">2</cx:pt>
          <cx:pt idx="4052">1</cx:pt>
          <cx:pt idx="4053">2</cx:pt>
          <cx:pt idx="4054">5</cx:pt>
          <cx:pt idx="4055">3</cx:pt>
          <cx:pt idx="4056">1</cx:pt>
          <cx:pt idx="4057">1</cx:pt>
          <cx:pt idx="4058">4</cx:pt>
          <cx:pt idx="4059">4</cx:pt>
          <cx:pt idx="4060">1</cx:pt>
          <cx:pt idx="4061">2</cx:pt>
          <cx:pt idx="4062">4</cx:pt>
          <cx:pt idx="4063">5</cx:pt>
          <cx:pt idx="4064">1</cx:pt>
          <cx:pt idx="4065">4</cx:pt>
          <cx:pt idx="4066">2</cx:pt>
          <cx:pt idx="4067">4</cx:pt>
          <cx:pt idx="4068">4</cx:pt>
          <cx:pt idx="4069">4</cx:pt>
          <cx:pt idx="4070">1</cx:pt>
          <cx:pt idx="4071">3</cx:pt>
          <cx:pt idx="4072">1</cx:pt>
          <cx:pt idx="4073">3</cx:pt>
          <cx:pt idx="4074">5</cx:pt>
          <cx:pt idx="4075">3</cx:pt>
          <cx:pt idx="4076">1</cx:pt>
          <cx:pt idx="4077">5</cx:pt>
          <cx:pt idx="4078">2</cx:pt>
          <cx:pt idx="4079">5</cx:pt>
          <cx:pt idx="4080">3</cx:pt>
          <cx:pt idx="4081">4</cx:pt>
          <cx:pt idx="4082">1</cx:pt>
          <cx:pt idx="4083">5</cx:pt>
          <cx:pt idx="4084">0</cx:pt>
          <cx:pt idx="4085">4</cx:pt>
          <cx:pt idx="4086">3</cx:pt>
          <cx:pt idx="4087">1</cx:pt>
          <cx:pt idx="4088">2</cx:pt>
          <cx:pt idx="4089">1</cx:pt>
          <cx:pt idx="4090">3</cx:pt>
          <cx:pt idx="4091">3</cx:pt>
          <cx:pt idx="4092">4</cx:pt>
          <cx:pt idx="4093">1</cx:pt>
          <cx:pt idx="4094">4</cx:pt>
          <cx:pt idx="4095">5</cx:pt>
          <cx:pt idx="4096">2</cx:pt>
          <cx:pt idx="4097">1</cx:pt>
          <cx:pt idx="4098">2</cx:pt>
          <cx:pt idx="4099">4</cx:pt>
          <cx:pt idx="4100">3</cx:pt>
          <cx:pt idx="4101">3</cx:pt>
          <cx:pt idx="4102">4</cx:pt>
          <cx:pt idx="4103">3</cx:pt>
          <cx:pt idx="4104">2</cx:pt>
          <cx:pt idx="4105">2</cx:pt>
          <cx:pt idx="4106">2</cx:pt>
          <cx:pt idx="4107">4</cx:pt>
          <cx:pt idx="4108">4</cx:pt>
          <cx:pt idx="4109">3</cx:pt>
          <cx:pt idx="4110">3</cx:pt>
          <cx:pt idx="4111">1</cx:pt>
          <cx:pt idx="4112">4</cx:pt>
          <cx:pt idx="4113">3</cx:pt>
          <cx:pt idx="4114">4</cx:pt>
          <cx:pt idx="4115">1</cx:pt>
          <cx:pt idx="4116">2</cx:pt>
          <cx:pt idx="4117">5</cx:pt>
          <cx:pt idx="4118">0</cx:pt>
          <cx:pt idx="4119">4</cx:pt>
          <cx:pt idx="4120">4</cx:pt>
          <cx:pt idx="4121">3</cx:pt>
          <cx:pt idx="4122">2</cx:pt>
          <cx:pt idx="4123">2</cx:pt>
          <cx:pt idx="4124">1</cx:pt>
          <cx:pt idx="4125">5</cx:pt>
          <cx:pt idx="4126">3</cx:pt>
          <cx:pt idx="4127">2</cx:pt>
          <cx:pt idx="4128">4</cx:pt>
          <cx:pt idx="4129">2</cx:pt>
          <cx:pt idx="4130">5</cx:pt>
          <cx:pt idx="4131">4</cx:pt>
          <cx:pt idx="4132">2</cx:pt>
          <cx:pt idx="4133">1</cx:pt>
          <cx:pt idx="4134">2</cx:pt>
          <cx:pt idx="4135">5</cx:pt>
          <cx:pt idx="4136">5</cx:pt>
          <cx:pt idx="4137">4</cx:pt>
          <cx:pt idx="4138">2</cx:pt>
          <cx:pt idx="4139">4</cx:pt>
          <cx:pt idx="4140">5</cx:pt>
          <cx:pt idx="4141">3</cx:pt>
          <cx:pt idx="4142">3</cx:pt>
          <cx:pt idx="4143">2</cx:pt>
          <cx:pt idx="4144">0</cx:pt>
          <cx:pt idx="4145">1</cx:pt>
          <cx:pt idx="4146">3</cx:pt>
          <cx:pt idx="4147">5</cx:pt>
          <cx:pt idx="4148">2</cx:pt>
          <cx:pt idx="4149">3</cx:pt>
          <cx:pt idx="4150">3</cx:pt>
          <cx:pt idx="4151">0</cx:pt>
          <cx:pt idx="4152">2</cx:pt>
          <cx:pt idx="4153">4</cx:pt>
          <cx:pt idx="4154">3</cx:pt>
          <cx:pt idx="4155">3</cx:pt>
          <cx:pt idx="4156">2</cx:pt>
          <cx:pt idx="4157">5</cx:pt>
          <cx:pt idx="4158">4</cx:pt>
          <cx:pt idx="4159">4</cx:pt>
          <cx:pt idx="4160">2</cx:pt>
          <cx:pt idx="4161">3</cx:pt>
          <cx:pt idx="4162">3</cx:pt>
          <cx:pt idx="4163">4</cx:pt>
          <cx:pt idx="4164">4</cx:pt>
          <cx:pt idx="4165">1</cx:pt>
          <cx:pt idx="4166">0</cx:pt>
          <cx:pt idx="4167">3</cx:pt>
          <cx:pt idx="4168">3</cx:pt>
          <cx:pt idx="4169">3</cx:pt>
          <cx:pt idx="4170">1</cx:pt>
          <cx:pt idx="4171">3</cx:pt>
          <cx:pt idx="4172">4</cx:pt>
          <cx:pt idx="4173">3</cx:pt>
          <cx:pt idx="4174">0</cx:pt>
          <cx:pt idx="4175">1</cx:pt>
          <cx:pt idx="4176">5</cx:pt>
          <cx:pt idx="4177">2</cx:pt>
          <cx:pt idx="4178">3</cx:pt>
          <cx:pt idx="4179">3</cx:pt>
          <cx:pt idx="4180">1</cx:pt>
          <cx:pt idx="4181">3</cx:pt>
          <cx:pt idx="4182">3</cx:pt>
          <cx:pt idx="4183">4</cx:pt>
          <cx:pt idx="4184">4</cx:pt>
          <cx:pt idx="4185">0</cx:pt>
          <cx:pt idx="4186">2</cx:pt>
          <cx:pt idx="4187">3</cx:pt>
          <cx:pt idx="4188">3</cx:pt>
          <cx:pt idx="4189">1</cx:pt>
          <cx:pt idx="4190">5</cx:pt>
          <cx:pt idx="4191">4</cx:pt>
          <cx:pt idx="4192">4</cx:pt>
          <cx:pt idx="4193">1</cx:pt>
          <cx:pt idx="4194">0</cx:pt>
          <cx:pt idx="4195">1</cx:pt>
          <cx:pt idx="4196">3</cx:pt>
          <cx:pt idx="4197">4</cx:pt>
          <cx:pt idx="4198">5</cx:pt>
          <cx:pt idx="4199">5</cx:pt>
          <cx:pt idx="4200">2</cx:pt>
          <cx:pt idx="4201">3</cx:pt>
          <cx:pt idx="4202">3</cx:pt>
          <cx:pt idx="4203">4</cx:pt>
          <cx:pt idx="4204">4</cx:pt>
          <cx:pt idx="4205">2</cx:pt>
          <cx:pt idx="4206">1</cx:pt>
          <cx:pt idx="4207">0</cx:pt>
          <cx:pt idx="4208">3</cx:pt>
          <cx:pt idx="4209">3</cx:pt>
          <cx:pt idx="4210">3</cx:pt>
          <cx:pt idx="4211">3</cx:pt>
          <cx:pt idx="4212">4</cx:pt>
          <cx:pt idx="4213">3</cx:pt>
          <cx:pt idx="4214">2</cx:pt>
          <cx:pt idx="4215">3</cx:pt>
          <cx:pt idx="4216">4</cx:pt>
          <cx:pt idx="4217">3</cx:pt>
          <cx:pt idx="4218">3</cx:pt>
          <cx:pt idx="4219">2</cx:pt>
          <cx:pt idx="4220">1</cx:pt>
          <cx:pt idx="4221">2</cx:pt>
          <cx:pt idx="4222">0</cx:pt>
          <cx:pt idx="4223">3</cx:pt>
          <cx:pt idx="4224">5</cx:pt>
          <cx:pt idx="4225">1</cx:pt>
          <cx:pt idx="4226">2</cx:pt>
          <cx:pt idx="4227">5</cx:pt>
          <cx:pt idx="4228">2</cx:pt>
          <cx:pt idx="4229">1</cx:pt>
          <cx:pt idx="4230">2</cx:pt>
          <cx:pt idx="4231">2</cx:pt>
          <cx:pt idx="4232">1</cx:pt>
          <cx:pt idx="4233">1</cx:pt>
          <cx:pt idx="4234">0</cx:pt>
          <cx:pt idx="4235">1</cx:pt>
          <cx:pt idx="4236">2</cx:pt>
          <cx:pt idx="4237">5</cx:pt>
          <cx:pt idx="4238">4</cx:pt>
          <cx:pt idx="4239">3</cx:pt>
          <cx:pt idx="4240">3</cx:pt>
          <cx:pt idx="4241">1</cx:pt>
          <cx:pt idx="4242">2</cx:pt>
          <cx:pt idx="4243">2</cx:pt>
          <cx:pt idx="4244">4</cx:pt>
          <cx:pt idx="4245">5</cx:pt>
          <cx:pt idx="4246">1</cx:pt>
          <cx:pt idx="4247">3</cx:pt>
          <cx:pt idx="4248">4</cx:pt>
          <cx:pt idx="4249">1</cx:pt>
          <cx:pt idx="4250">4</cx:pt>
          <cx:pt idx="4251">2</cx:pt>
          <cx:pt idx="4252">0</cx:pt>
          <cx:pt idx="4253">2</cx:pt>
          <cx:pt idx="4254">4</cx:pt>
          <cx:pt idx="4255">1</cx:pt>
          <cx:pt idx="4256">5</cx:pt>
          <cx:pt idx="4257">4</cx:pt>
          <cx:pt idx="4258">2</cx:pt>
          <cx:pt idx="4259">2</cx:pt>
          <cx:pt idx="4260">4</cx:pt>
          <cx:pt idx="4261">3</cx:pt>
          <cx:pt idx="4262">3</cx:pt>
          <cx:pt idx="4263">5</cx:pt>
          <cx:pt idx="4264">4</cx:pt>
          <cx:pt idx="4265">3</cx:pt>
          <cx:pt idx="4266">5</cx:pt>
          <cx:pt idx="4267">1</cx:pt>
          <cx:pt idx="4268">1</cx:pt>
          <cx:pt idx="4269">3</cx:pt>
          <cx:pt idx="4270">5</cx:pt>
          <cx:pt idx="4271">3</cx:pt>
          <cx:pt idx="4272">3</cx:pt>
          <cx:pt idx="4273">3</cx:pt>
          <cx:pt idx="4274">5</cx:pt>
          <cx:pt idx="4275">4</cx:pt>
          <cx:pt idx="4276">4</cx:pt>
          <cx:pt idx="4277">4</cx:pt>
          <cx:pt idx="4278">2</cx:pt>
          <cx:pt idx="4279">4</cx:pt>
          <cx:pt idx="4280">3</cx:pt>
          <cx:pt idx="4281">4</cx:pt>
          <cx:pt idx="4282">1</cx:pt>
          <cx:pt idx="4283">2</cx:pt>
          <cx:pt idx="4284">4</cx:pt>
          <cx:pt idx="4285">2</cx:pt>
          <cx:pt idx="4286">4</cx:pt>
          <cx:pt idx="4287">3</cx:pt>
          <cx:pt idx="4288">1</cx:pt>
          <cx:pt idx="4289">4</cx:pt>
          <cx:pt idx="4290">0</cx:pt>
          <cx:pt idx="4291">2</cx:pt>
          <cx:pt idx="4292">5</cx:pt>
          <cx:pt idx="4293">0</cx:pt>
          <cx:pt idx="4294">4</cx:pt>
          <cx:pt idx="4295">3</cx:pt>
          <cx:pt idx="4296">2</cx:pt>
          <cx:pt idx="4297">3</cx:pt>
          <cx:pt idx="4298">5</cx:pt>
          <cx:pt idx="4299">4</cx:pt>
          <cx:pt idx="4300">2</cx:pt>
          <cx:pt idx="4301">4</cx:pt>
          <cx:pt idx="4302">2</cx:pt>
          <cx:pt idx="4303">5</cx:pt>
          <cx:pt idx="4304">2</cx:pt>
          <cx:pt idx="4305">4</cx:pt>
          <cx:pt idx="4306">3</cx:pt>
          <cx:pt idx="4307">1</cx:pt>
          <cx:pt idx="4308">4</cx:pt>
          <cx:pt idx="4309">4</cx:pt>
          <cx:pt idx="4310">2</cx:pt>
          <cx:pt idx="4311">0</cx:pt>
          <cx:pt idx="4312">3</cx:pt>
          <cx:pt idx="4313">2</cx:pt>
          <cx:pt idx="4314">5</cx:pt>
          <cx:pt idx="4315">2</cx:pt>
          <cx:pt idx="4316">2</cx:pt>
          <cx:pt idx="4317">2</cx:pt>
          <cx:pt idx="4318">3</cx:pt>
          <cx:pt idx="4319">5</cx:pt>
          <cx:pt idx="4320">5</cx:pt>
          <cx:pt idx="4321">3</cx:pt>
          <cx:pt idx="4322">4</cx:pt>
          <cx:pt idx="4323">2</cx:pt>
          <cx:pt idx="4324">4</cx:pt>
          <cx:pt idx="4325">3</cx:pt>
          <cx:pt idx="4326">0</cx:pt>
          <cx:pt idx="4327">2</cx:pt>
          <cx:pt idx="4328">3</cx:pt>
          <cx:pt idx="4329">3</cx:pt>
          <cx:pt idx="4330">4</cx:pt>
          <cx:pt idx="4331">5</cx:pt>
          <cx:pt idx="4332">4</cx:pt>
          <cx:pt idx="4333">3</cx:pt>
          <cx:pt idx="4334">2</cx:pt>
          <cx:pt idx="4335">4</cx:pt>
          <cx:pt idx="4336">2</cx:pt>
          <cx:pt idx="4337">2</cx:pt>
          <cx:pt idx="4338">5</cx:pt>
          <cx:pt idx="4339">3</cx:pt>
          <cx:pt idx="4340">4</cx:pt>
          <cx:pt idx="4341">0</cx:pt>
          <cx:pt idx="4342">3</cx:pt>
          <cx:pt idx="4343">2</cx:pt>
          <cx:pt idx="4344">1</cx:pt>
          <cx:pt idx="4345">5</cx:pt>
          <cx:pt idx="4346">3</cx:pt>
          <cx:pt idx="4347">3</cx:pt>
          <cx:pt idx="4348">1</cx:pt>
          <cx:pt idx="4349">1</cx:pt>
          <cx:pt idx="4350">2</cx:pt>
          <cx:pt idx="4351">4</cx:pt>
          <cx:pt idx="4352">2</cx:pt>
          <cx:pt idx="4353">2</cx:pt>
          <cx:pt idx="4354">2</cx:pt>
          <cx:pt idx="4355">0</cx:pt>
          <cx:pt idx="4356">1</cx:pt>
          <cx:pt idx="4357">4</cx:pt>
          <cx:pt idx="4358">1</cx:pt>
          <cx:pt idx="4359">5</cx:pt>
          <cx:pt idx="4360">0</cx:pt>
          <cx:pt idx="4361">4</cx:pt>
          <cx:pt idx="4362">3</cx:pt>
          <cx:pt idx="4363">5</cx:pt>
          <cx:pt idx="4364">4</cx:pt>
          <cx:pt idx="4365">1</cx:pt>
          <cx:pt idx="4366">4</cx:pt>
          <cx:pt idx="4367">3</cx:pt>
          <cx:pt idx="4368">0</cx:pt>
          <cx:pt idx="4369">2</cx:pt>
          <cx:pt idx="4370">3</cx:pt>
          <cx:pt idx="4371">3</cx:pt>
          <cx:pt idx="4372">5</cx:pt>
          <cx:pt idx="4373">0</cx:pt>
          <cx:pt idx="4374">2</cx:pt>
          <cx:pt idx="4375">4</cx:pt>
          <cx:pt idx="4376">4</cx:pt>
          <cx:pt idx="4377">5</cx:pt>
          <cx:pt idx="4378">2</cx:pt>
          <cx:pt idx="4379">3</cx:pt>
          <cx:pt idx="4380">3</cx:pt>
          <cx:pt idx="4381">1</cx:pt>
          <cx:pt idx="4382">4</cx:pt>
          <cx:pt idx="4383">2</cx:pt>
          <cx:pt idx="4384">4</cx:pt>
          <cx:pt idx="4385">1</cx:pt>
          <cx:pt idx="4386">3</cx:pt>
          <cx:pt idx="4387">3</cx:pt>
          <cx:pt idx="4388">3</cx:pt>
          <cx:pt idx="4389">5</cx:pt>
          <cx:pt idx="4390">3</cx:pt>
          <cx:pt idx="4391">4</cx:pt>
          <cx:pt idx="4392">4</cx:pt>
          <cx:pt idx="4393">3</cx:pt>
          <cx:pt idx="4394">3</cx:pt>
          <cx:pt idx="4395">4</cx:pt>
          <cx:pt idx="4396">2</cx:pt>
          <cx:pt idx="4397">2</cx:pt>
          <cx:pt idx="4398">2</cx:pt>
          <cx:pt idx="4399">5</cx:pt>
          <cx:pt idx="4400">3</cx:pt>
          <cx:pt idx="4401">3</cx:pt>
          <cx:pt idx="4402">3</cx:pt>
          <cx:pt idx="4403">4</cx:pt>
          <cx:pt idx="4404">4</cx:pt>
          <cx:pt idx="4405">4</cx:pt>
          <cx:pt idx="4406">1</cx:pt>
          <cx:pt idx="4407">5</cx:pt>
          <cx:pt idx="4408">5</cx:pt>
          <cx:pt idx="4409">2</cx:pt>
          <cx:pt idx="4410">0</cx:pt>
          <cx:pt idx="4411">2</cx:pt>
          <cx:pt idx="4412">3</cx:pt>
          <cx:pt idx="4413">2</cx:pt>
          <cx:pt idx="4414">4</cx:pt>
          <cx:pt idx="4415">2</cx:pt>
          <cx:pt idx="4416">5</cx:pt>
          <cx:pt idx="4417">3</cx:pt>
          <cx:pt idx="4418">1</cx:pt>
          <cx:pt idx="4419">1</cx:pt>
          <cx:pt idx="4420">5</cx:pt>
          <cx:pt idx="4421">1</cx:pt>
          <cx:pt idx="4422">1</cx:pt>
          <cx:pt idx="4423">3</cx:pt>
          <cx:pt idx="4424">1</cx:pt>
          <cx:pt idx="4425">4</cx:pt>
          <cx:pt idx="4426">4</cx:pt>
          <cx:pt idx="4427">2</cx:pt>
          <cx:pt idx="4428">2</cx:pt>
          <cx:pt idx="4429">1</cx:pt>
          <cx:pt idx="4430">4</cx:pt>
          <cx:pt idx="4431">1</cx:pt>
          <cx:pt idx="4432">3</cx:pt>
          <cx:pt idx="4433">4</cx:pt>
          <cx:pt idx="4434">3</cx:pt>
          <cx:pt idx="4435">3</cx:pt>
          <cx:pt idx="4436">5</cx:pt>
          <cx:pt idx="4437">2</cx:pt>
          <cx:pt idx="4438">3</cx:pt>
          <cx:pt idx="4439">3</cx:pt>
          <cx:pt idx="4440">0</cx:pt>
          <cx:pt idx="4441">3</cx:pt>
          <cx:pt idx="4442">3</cx:pt>
          <cx:pt idx="4443">4</cx:pt>
          <cx:pt idx="4444">1</cx:pt>
          <cx:pt idx="4445">2</cx:pt>
          <cx:pt idx="4446">2</cx:pt>
          <cx:pt idx="4447">4</cx:pt>
          <cx:pt idx="4448">1</cx:pt>
          <cx:pt idx="4449">1</cx:pt>
          <cx:pt idx="4450">1</cx:pt>
          <cx:pt idx="4451">2</cx:pt>
          <cx:pt idx="4452">4</cx:pt>
          <cx:pt idx="4453">1</cx:pt>
          <cx:pt idx="4454">2</cx:pt>
          <cx:pt idx="4455">5</cx:pt>
          <cx:pt idx="4456">4</cx:pt>
          <cx:pt idx="4457">3</cx:pt>
          <cx:pt idx="4458">2</cx:pt>
          <cx:pt idx="4459">1</cx:pt>
          <cx:pt idx="4460">4</cx:pt>
          <cx:pt idx="4461">4</cx:pt>
          <cx:pt idx="4462">3</cx:pt>
          <cx:pt idx="4463">3</cx:pt>
          <cx:pt idx="4464">4</cx:pt>
          <cx:pt idx="4465">3</cx:pt>
          <cx:pt idx="4466">2</cx:pt>
          <cx:pt idx="4467">2</cx:pt>
          <cx:pt idx="4468">4</cx:pt>
          <cx:pt idx="4469">3</cx:pt>
          <cx:pt idx="4470">3</cx:pt>
          <cx:pt idx="4471">4</cx:pt>
          <cx:pt idx="4472">5</cx:pt>
          <cx:pt idx="4473">2</cx:pt>
          <cx:pt idx="4474">2</cx:pt>
          <cx:pt idx="4475">4</cx:pt>
          <cx:pt idx="4476">2</cx:pt>
          <cx:pt idx="4477">2</cx:pt>
          <cx:pt idx="4478">2</cx:pt>
          <cx:pt idx="4479">4</cx:pt>
          <cx:pt idx="4480">1</cx:pt>
          <cx:pt idx="4481">4</cx:pt>
          <cx:pt idx="4482">5</cx:pt>
          <cx:pt idx="4483">5</cx:pt>
          <cx:pt idx="4484">3</cx:pt>
          <cx:pt idx="4485">1</cx:pt>
          <cx:pt idx="4486">5</cx:pt>
          <cx:pt idx="4487">4</cx:pt>
          <cx:pt idx="4488">4</cx:pt>
          <cx:pt idx="4489">4</cx:pt>
          <cx:pt idx="4490">4</cx:pt>
          <cx:pt idx="4491">5</cx:pt>
          <cx:pt idx="4492">3</cx:pt>
          <cx:pt idx="4493">2</cx:pt>
          <cx:pt idx="4494">3</cx:pt>
          <cx:pt idx="4495">4</cx:pt>
          <cx:pt idx="4496">4</cx:pt>
          <cx:pt idx="4497">5</cx:pt>
          <cx:pt idx="4498">3</cx:pt>
          <cx:pt idx="4499">3</cx:pt>
          <cx:pt idx="4500">1</cx:pt>
          <cx:pt idx="4501">4</cx:pt>
          <cx:pt idx="4502">4</cx:pt>
          <cx:pt idx="4503">1</cx:pt>
          <cx:pt idx="4504">1</cx:pt>
          <cx:pt idx="4505">1</cx:pt>
          <cx:pt idx="4506">5</cx:pt>
          <cx:pt idx="4507">0</cx:pt>
          <cx:pt idx="4508">2</cx:pt>
          <cx:pt idx="4509">4</cx:pt>
          <cx:pt idx="4510">1</cx:pt>
          <cx:pt idx="4511">3</cx:pt>
          <cx:pt idx="4512">5</cx:pt>
          <cx:pt idx="4513">3</cx:pt>
          <cx:pt idx="4514">1</cx:pt>
          <cx:pt idx="4515">5</cx:pt>
          <cx:pt idx="4516">3</cx:pt>
          <cx:pt idx="4517">4</cx:pt>
          <cx:pt idx="4518">5</cx:pt>
          <cx:pt idx="4519">1</cx:pt>
          <cx:pt idx="4520">4</cx:pt>
          <cx:pt idx="4521">2</cx:pt>
          <cx:pt idx="4522">4</cx:pt>
          <cx:pt idx="4523">4</cx:pt>
          <cx:pt idx="4524">4</cx:pt>
          <cx:pt idx="4525">1</cx:pt>
          <cx:pt idx="4526">1</cx:pt>
          <cx:pt idx="4527">4</cx:pt>
          <cx:pt idx="4528">1</cx:pt>
          <cx:pt idx="4529">3</cx:pt>
          <cx:pt idx="4530">5</cx:pt>
          <cx:pt idx="4531">3</cx:pt>
          <cx:pt idx="4532">2</cx:pt>
          <cx:pt idx="4533">2</cx:pt>
          <cx:pt idx="4534">4</cx:pt>
          <cx:pt idx="4535">3</cx:pt>
          <cx:pt idx="4536">1</cx:pt>
          <cx:pt idx="4537">3</cx:pt>
          <cx:pt idx="4538">5</cx:pt>
          <cx:pt idx="4539">0</cx:pt>
          <cx:pt idx="4540">2</cx:pt>
          <cx:pt idx="4541">3</cx:pt>
          <cx:pt idx="4542">4</cx:pt>
          <cx:pt idx="4543">3</cx:pt>
          <cx:pt idx="4544">2</cx:pt>
          <cx:pt idx="4545">5</cx:pt>
          <cx:pt idx="4546">3</cx:pt>
          <cx:pt idx="4547">2</cx:pt>
          <cx:pt idx="4548">1</cx:pt>
          <cx:pt idx="4549">3</cx:pt>
          <cx:pt idx="4550">3</cx:pt>
          <cx:pt idx="4551">3</cx:pt>
          <cx:pt idx="4552">2</cx:pt>
          <cx:pt idx="4553">4</cx:pt>
          <cx:pt idx="4554">1</cx:pt>
          <cx:pt idx="4555">2</cx:pt>
          <cx:pt idx="4556">1</cx:pt>
          <cx:pt idx="4557">3</cx:pt>
          <cx:pt idx="4558">5</cx:pt>
          <cx:pt idx="4559">2</cx:pt>
          <cx:pt idx="4560">3</cx:pt>
          <cx:pt idx="4561">5</cx:pt>
          <cx:pt idx="4562">1</cx:pt>
          <cx:pt idx="4563">4</cx:pt>
          <cx:pt idx="4564">4</cx:pt>
          <cx:pt idx="4565">2</cx:pt>
          <cx:pt idx="4566">1</cx:pt>
          <cx:pt idx="4567">4</cx:pt>
          <cx:pt idx="4568">1</cx:pt>
          <cx:pt idx="4569">1</cx:pt>
          <cx:pt idx="4570">4</cx:pt>
          <cx:pt idx="4571">3</cx:pt>
          <cx:pt idx="4572">4</cx:pt>
          <cx:pt idx="4573">5</cx:pt>
          <cx:pt idx="4574">4</cx:pt>
          <cx:pt idx="4575">2</cx:pt>
          <cx:pt idx="4576">4</cx:pt>
          <cx:pt idx="4577">2</cx:pt>
          <cx:pt idx="4578">5</cx:pt>
          <cx:pt idx="4579">4</cx:pt>
          <cx:pt idx="4580">3</cx:pt>
          <cx:pt idx="4581">3</cx:pt>
          <cx:pt idx="4582">0</cx:pt>
          <cx:pt idx="4583">3</cx:pt>
          <cx:pt idx="4584">1</cx:pt>
          <cx:pt idx="4585">2</cx:pt>
          <cx:pt idx="4586">4</cx:pt>
          <cx:pt idx="4587">1</cx:pt>
          <cx:pt idx="4588">3</cx:pt>
          <cx:pt idx="4589">4</cx:pt>
          <cx:pt idx="4590">4</cx:pt>
          <cx:pt idx="4591">4</cx:pt>
          <cx:pt idx="4592">5</cx:pt>
          <cx:pt idx="4593">5</cx:pt>
          <cx:pt idx="4594">3</cx:pt>
          <cx:pt idx="4595">3</cx:pt>
          <cx:pt idx="4596">1</cx:pt>
          <cx:pt idx="4597">4</cx:pt>
          <cx:pt idx="4598">2</cx:pt>
          <cx:pt idx="4599">1</cx:pt>
          <cx:pt idx="4600">2</cx:pt>
          <cx:pt idx="4601">4</cx:pt>
          <cx:pt idx="4602">4</cx:pt>
          <cx:pt idx="4603">2</cx:pt>
          <cx:pt idx="4604">1</cx:pt>
          <cx:pt idx="4605">2</cx:pt>
          <cx:pt idx="4606">4</cx:pt>
          <cx:pt idx="4607">4</cx:pt>
          <cx:pt idx="4608">1</cx:pt>
          <cx:pt idx="4609">3</cx:pt>
          <cx:pt idx="4610">3</cx:pt>
          <cx:pt idx="4611">4</cx:pt>
          <cx:pt idx="4612">5</cx:pt>
          <cx:pt idx="4613">4</cx:pt>
          <cx:pt idx="4614">5</cx:pt>
          <cx:pt idx="4615">4</cx:pt>
          <cx:pt idx="4616">1</cx:pt>
          <cx:pt idx="4617">3</cx:pt>
          <cx:pt idx="4618">1</cx:pt>
          <cx:pt idx="4619">1</cx:pt>
          <cx:pt idx="4620">3</cx:pt>
          <cx:pt idx="4621">1</cx:pt>
          <cx:pt idx="4622">5</cx:pt>
          <cx:pt idx="4623">1</cx:pt>
          <cx:pt idx="4624">2</cx:pt>
          <cx:pt idx="4625">4</cx:pt>
          <cx:pt idx="4626">1</cx:pt>
          <cx:pt idx="4627">5</cx:pt>
          <cx:pt idx="4628">3</cx:pt>
          <cx:pt idx="4629">1</cx:pt>
          <cx:pt idx="4630">5</cx:pt>
          <cx:pt idx="4631">3</cx:pt>
          <cx:pt idx="4632">4</cx:pt>
          <cx:pt idx="4633">3</cx:pt>
          <cx:pt idx="4634">0</cx:pt>
          <cx:pt idx="4635">2</cx:pt>
          <cx:pt idx="4636">2</cx:pt>
          <cx:pt idx="4637">3</cx:pt>
          <cx:pt idx="4638">2</cx:pt>
          <cx:pt idx="4639">0</cx:pt>
          <cx:pt idx="4640">5</cx:pt>
          <cx:pt idx="4641">2</cx:pt>
          <cx:pt idx="4642">5</cx:pt>
          <cx:pt idx="4643">4</cx:pt>
          <cx:pt idx="4644">2</cx:pt>
          <cx:pt idx="4645">3</cx:pt>
          <cx:pt idx="4646">4</cx:pt>
          <cx:pt idx="4647">2</cx:pt>
          <cx:pt idx="4648">5</cx:pt>
          <cx:pt idx="4649">2</cx:pt>
          <cx:pt idx="4650">1</cx:pt>
          <cx:pt idx="4651">3</cx:pt>
          <cx:pt idx="4652">2</cx:pt>
          <cx:pt idx="4653">3</cx:pt>
          <cx:pt idx="4654">5</cx:pt>
          <cx:pt idx="4655">1</cx:pt>
          <cx:pt idx="4656">2</cx:pt>
          <cx:pt idx="4657">4</cx:pt>
          <cx:pt idx="4658">3</cx:pt>
          <cx:pt idx="4659">0</cx:pt>
          <cx:pt idx="4660">5</cx:pt>
          <cx:pt idx="4661">3</cx:pt>
          <cx:pt idx="4662">4</cx:pt>
          <cx:pt idx="4663">0</cx:pt>
          <cx:pt idx="4664">5</cx:pt>
          <cx:pt idx="4665">5</cx:pt>
          <cx:pt idx="4666">3</cx:pt>
          <cx:pt idx="4667">4</cx:pt>
          <cx:pt idx="4668">5</cx:pt>
          <cx:pt idx="4669">1</cx:pt>
          <cx:pt idx="4670">5</cx:pt>
          <cx:pt idx="4671">3</cx:pt>
          <cx:pt idx="4672">1</cx:pt>
          <cx:pt idx="4673">1</cx:pt>
          <cx:pt idx="4674">0</cx:pt>
          <cx:pt idx="4675">1</cx:pt>
          <cx:pt idx="4676">5</cx:pt>
          <cx:pt idx="4677">4</cx:pt>
          <cx:pt idx="4678">3</cx:pt>
          <cx:pt idx="4679">1</cx:pt>
          <cx:pt idx="4680">4</cx:pt>
          <cx:pt idx="4681">2</cx:pt>
          <cx:pt idx="4682">5</cx:pt>
          <cx:pt idx="4683">2</cx:pt>
          <cx:pt idx="4684">3</cx:pt>
          <cx:pt idx="4685">0</cx:pt>
          <cx:pt idx="4686">2</cx:pt>
          <cx:pt idx="4687">2</cx:pt>
          <cx:pt idx="4688">4</cx:pt>
          <cx:pt idx="4689">2</cx:pt>
          <cx:pt idx="4690">0</cx:pt>
          <cx:pt idx="4691">1</cx:pt>
          <cx:pt idx="4692">4</cx:pt>
          <cx:pt idx="4693">4</cx:pt>
          <cx:pt idx="4694">3</cx:pt>
          <cx:pt idx="4695">3</cx:pt>
          <cx:pt idx="4696">2</cx:pt>
          <cx:pt idx="4697">5</cx:pt>
          <cx:pt idx="4698">4</cx:pt>
          <cx:pt idx="4699">4</cx:pt>
          <cx:pt idx="4700">3</cx:pt>
          <cx:pt idx="4701">2</cx:pt>
          <cx:pt idx="4702">1</cx:pt>
          <cx:pt idx="4703">1</cx:pt>
          <cx:pt idx="4704">2</cx:pt>
          <cx:pt idx="4705">4</cx:pt>
          <cx:pt idx="4706">5</cx:pt>
          <cx:pt idx="4707">3</cx:pt>
          <cx:pt idx="4708">4</cx:pt>
          <cx:pt idx="4709">4</cx:pt>
          <cx:pt idx="4710">4</cx:pt>
          <cx:pt idx="4711">5</cx:pt>
          <cx:pt idx="4712">5</cx:pt>
          <cx:pt idx="4713">2</cx:pt>
          <cx:pt idx="4714">1</cx:pt>
          <cx:pt idx="4715">2</cx:pt>
          <cx:pt idx="4716">2</cx:pt>
          <cx:pt idx="4717">3</cx:pt>
          <cx:pt idx="4718">3</cx:pt>
          <cx:pt idx="4719">1</cx:pt>
          <cx:pt idx="4720">2</cx:pt>
          <cx:pt idx="4721">3</cx:pt>
          <cx:pt idx="4722">4</cx:pt>
          <cx:pt idx="4723">5</cx:pt>
          <cx:pt idx="4724">2</cx:pt>
          <cx:pt idx="4725">4</cx:pt>
          <cx:pt idx="4726">1</cx:pt>
          <cx:pt idx="4727">4</cx:pt>
          <cx:pt idx="4728">5</cx:pt>
          <cx:pt idx="4729">5</cx:pt>
          <cx:pt idx="4730">2</cx:pt>
          <cx:pt idx="4731">4</cx:pt>
          <cx:pt idx="4732">5</cx:pt>
          <cx:pt idx="4733">4</cx:pt>
          <cx:pt idx="4734">2</cx:pt>
          <cx:pt idx="4735">1</cx:pt>
          <cx:pt idx="4736">4</cx:pt>
          <cx:pt idx="4737">5</cx:pt>
          <cx:pt idx="4738">0</cx:pt>
          <cx:pt idx="4739">1</cx:pt>
          <cx:pt idx="4740">2</cx:pt>
          <cx:pt idx="4741">4</cx:pt>
          <cx:pt idx="4742">3</cx:pt>
          <cx:pt idx="4743">4</cx:pt>
          <cx:pt idx="4744">2</cx:pt>
          <cx:pt idx="4745">4</cx:pt>
          <cx:pt idx="4746">4</cx:pt>
          <cx:pt idx="4747">4</cx:pt>
          <cx:pt idx="4748">2</cx:pt>
          <cx:pt idx="4749">2</cx:pt>
          <cx:pt idx="4750">4</cx:pt>
          <cx:pt idx="4751">1</cx:pt>
          <cx:pt idx="4752">1</cx:pt>
          <cx:pt idx="4753">2</cx:pt>
          <cx:pt idx="4754">3</cx:pt>
          <cx:pt idx="4755">2</cx:pt>
          <cx:pt idx="4756">0</cx:pt>
          <cx:pt idx="4757">3</cx:pt>
          <cx:pt idx="4758">3</cx:pt>
          <cx:pt idx="4759">3</cx:pt>
          <cx:pt idx="4760">1</cx:pt>
          <cx:pt idx="4761">5</cx:pt>
          <cx:pt idx="4762">2</cx:pt>
          <cx:pt idx="4763">1</cx:pt>
          <cx:pt idx="4764">2</cx:pt>
          <cx:pt idx="4765">3</cx:pt>
          <cx:pt idx="4766">4</cx:pt>
          <cx:pt idx="4767">1</cx:pt>
          <cx:pt idx="4768">2</cx:pt>
          <cx:pt idx="4769">2</cx:pt>
          <cx:pt idx="4770">3</cx:pt>
          <cx:pt idx="4771">0</cx:pt>
          <cx:pt idx="4772">3</cx:pt>
          <cx:pt idx="4773">2</cx:pt>
          <cx:pt idx="4774">3</cx:pt>
          <cx:pt idx="4775">0</cx:pt>
          <cx:pt idx="4776">2</cx:pt>
          <cx:pt idx="4777">2</cx:pt>
          <cx:pt idx="4778">2</cx:pt>
          <cx:pt idx="4779">3</cx:pt>
          <cx:pt idx="4780">5</cx:pt>
          <cx:pt idx="4781">4</cx:pt>
          <cx:pt idx="4782">4</cx:pt>
          <cx:pt idx="4783">2</cx:pt>
          <cx:pt idx="4784">5</cx:pt>
          <cx:pt idx="4785">4</cx:pt>
          <cx:pt idx="4786">3</cx:pt>
          <cx:pt idx="4787">2</cx:pt>
          <cx:pt idx="4788">3</cx:pt>
          <cx:pt idx="4789">2</cx:pt>
          <cx:pt idx="4790">3</cx:pt>
          <cx:pt idx="4791">2</cx:pt>
          <cx:pt idx="4792">4</cx:pt>
          <cx:pt idx="4793">2</cx:pt>
          <cx:pt idx="4794">4</cx:pt>
          <cx:pt idx="4795">0</cx:pt>
          <cx:pt idx="4796">3</cx:pt>
          <cx:pt idx="4797">3</cx:pt>
          <cx:pt idx="4798">4</cx:pt>
          <cx:pt idx="4799">1</cx:pt>
          <cx:pt idx="4800">3</cx:pt>
          <cx:pt idx="4801">1</cx:pt>
          <cx:pt idx="4802">4</cx:pt>
          <cx:pt idx="4803">4</cx:pt>
          <cx:pt idx="4804">1</cx:pt>
          <cx:pt idx="4805">2</cx:pt>
          <cx:pt idx="4806">2</cx:pt>
          <cx:pt idx="4807">1</cx:pt>
          <cx:pt idx="4808">4</cx:pt>
          <cx:pt idx="4809">3</cx:pt>
          <cx:pt idx="4810">1</cx:pt>
          <cx:pt idx="4811">2</cx:pt>
          <cx:pt idx="4812">5</cx:pt>
          <cx:pt idx="4813">1</cx:pt>
          <cx:pt idx="4814">5</cx:pt>
          <cx:pt idx="4815">3</cx:pt>
          <cx:pt idx="4816">2</cx:pt>
          <cx:pt idx="4817">3</cx:pt>
          <cx:pt idx="4818">1</cx:pt>
          <cx:pt idx="4819">2</cx:pt>
          <cx:pt idx="4820">3</cx:pt>
          <cx:pt idx="4821">5</cx:pt>
          <cx:pt idx="4822">3</cx:pt>
          <cx:pt idx="4823">3</cx:pt>
          <cx:pt idx="4824">2</cx:pt>
          <cx:pt idx="4825">3</cx:pt>
          <cx:pt idx="4826">3</cx:pt>
          <cx:pt idx="4827">2</cx:pt>
          <cx:pt idx="4828">3</cx:pt>
          <cx:pt idx="4829">5</cx:pt>
          <cx:pt idx="4830">4</cx:pt>
          <cx:pt idx="4831">5</cx:pt>
          <cx:pt idx="4832">2</cx:pt>
          <cx:pt idx="4833">1</cx:pt>
          <cx:pt idx="4834">0</cx:pt>
          <cx:pt idx="4835">3</cx:pt>
          <cx:pt idx="4836">2</cx:pt>
          <cx:pt idx="4837">1</cx:pt>
          <cx:pt idx="4838">2</cx:pt>
          <cx:pt idx="4839">4</cx:pt>
          <cx:pt idx="4840">1</cx:pt>
          <cx:pt idx="4841">3</cx:pt>
          <cx:pt idx="4842">3</cx:pt>
          <cx:pt idx="4843">3</cx:pt>
          <cx:pt idx="4844">4</cx:pt>
          <cx:pt idx="4845">2</cx:pt>
          <cx:pt idx="4846">5</cx:pt>
          <cx:pt idx="4847">0</cx:pt>
          <cx:pt idx="4848">4</cx:pt>
          <cx:pt idx="4849">1</cx:pt>
          <cx:pt idx="4850">1</cx:pt>
          <cx:pt idx="4851">2</cx:pt>
          <cx:pt idx="4852">3</cx:pt>
          <cx:pt idx="4853">2</cx:pt>
          <cx:pt idx="4854">2</cx:pt>
          <cx:pt idx="4855">3</cx:pt>
          <cx:pt idx="4856">1</cx:pt>
          <cx:pt idx="4857">4</cx:pt>
          <cx:pt idx="4858">3</cx:pt>
          <cx:pt idx="4859">3</cx:pt>
          <cx:pt idx="4860">3</cx:pt>
          <cx:pt idx="4861">2</cx:pt>
          <cx:pt idx="4862">5</cx:pt>
          <cx:pt idx="4863">5</cx:pt>
          <cx:pt idx="4864">1</cx:pt>
          <cx:pt idx="4865">5</cx:pt>
          <cx:pt idx="4866">2</cx:pt>
          <cx:pt idx="4867">2</cx:pt>
          <cx:pt idx="4868">3</cx:pt>
          <cx:pt idx="4869">1</cx:pt>
          <cx:pt idx="4870">4</cx:pt>
          <cx:pt idx="4871">2</cx:pt>
          <cx:pt idx="4872">4</cx:pt>
          <cx:pt idx="4873">4</cx:pt>
          <cx:pt idx="4874">4</cx:pt>
          <cx:pt idx="4875">3</cx:pt>
          <cx:pt idx="4876">1</cx:pt>
          <cx:pt idx="4877">2</cx:pt>
          <cx:pt idx="4878">0</cx:pt>
          <cx:pt idx="4879">2</cx:pt>
          <cx:pt idx="4880">4</cx:pt>
          <cx:pt idx="4881">2</cx:pt>
          <cx:pt idx="4882">3</cx:pt>
          <cx:pt idx="4883">5</cx:pt>
          <cx:pt idx="4884">5</cx:pt>
          <cx:pt idx="4885">3</cx:pt>
          <cx:pt idx="4886">0</cx:pt>
          <cx:pt idx="4887">2</cx:pt>
          <cx:pt idx="4888">5</cx:pt>
          <cx:pt idx="4889">1</cx:pt>
          <cx:pt idx="4890">2</cx:pt>
          <cx:pt idx="4891">1</cx:pt>
          <cx:pt idx="4892">0</cx:pt>
          <cx:pt idx="4893">4</cx:pt>
          <cx:pt idx="4894">3</cx:pt>
          <cx:pt idx="4895">4</cx:pt>
          <cx:pt idx="4896">4</cx:pt>
          <cx:pt idx="4897">5</cx:pt>
          <cx:pt idx="4898">4</cx:pt>
          <cx:pt idx="4899">5</cx:pt>
          <cx:pt idx="4900">2</cx:pt>
          <cx:pt idx="4901">4</cx:pt>
          <cx:pt idx="4902">4</cx:pt>
          <cx:pt idx="4903">1</cx:pt>
          <cx:pt idx="4904">5</cx:pt>
          <cx:pt idx="4905">3</cx:pt>
          <cx:pt idx="4906">4</cx:pt>
          <cx:pt idx="4907">3</cx:pt>
          <cx:pt idx="4908">2</cx:pt>
          <cx:pt idx="4909">1</cx:pt>
          <cx:pt idx="4910">3</cx:pt>
          <cx:pt idx="4911">2</cx:pt>
          <cx:pt idx="4912">3</cx:pt>
          <cx:pt idx="4913">1</cx:pt>
          <cx:pt idx="4914">4</cx:pt>
          <cx:pt idx="4915">3</cx:pt>
          <cx:pt idx="4916">3</cx:pt>
          <cx:pt idx="4917">2</cx:pt>
          <cx:pt idx="4918">4</cx:pt>
          <cx:pt idx="4919">1</cx:pt>
          <cx:pt idx="4920">5</cx:pt>
          <cx:pt idx="4921">1</cx:pt>
          <cx:pt idx="4922">4</cx:pt>
          <cx:pt idx="4923">3</cx:pt>
          <cx:pt idx="4924">4</cx:pt>
          <cx:pt idx="4925">2</cx:pt>
          <cx:pt idx="4926">2</cx:pt>
          <cx:pt idx="4927">5</cx:pt>
          <cx:pt idx="4928">1</cx:pt>
          <cx:pt idx="4929">4</cx:pt>
          <cx:pt idx="4930">1</cx:pt>
          <cx:pt idx="4931">3</cx:pt>
          <cx:pt idx="4932">3</cx:pt>
          <cx:pt idx="4933">3</cx:pt>
          <cx:pt idx="4934">3</cx:pt>
          <cx:pt idx="4935">5</cx:pt>
          <cx:pt idx="4936">1</cx:pt>
          <cx:pt idx="4937">4</cx:pt>
          <cx:pt idx="4938">4</cx:pt>
          <cx:pt idx="4939">5</cx:pt>
          <cx:pt idx="4940">5</cx:pt>
          <cx:pt idx="4941">5</cx:pt>
          <cx:pt idx="4942">3</cx:pt>
          <cx:pt idx="4943">4</cx:pt>
          <cx:pt idx="4944">2</cx:pt>
          <cx:pt idx="4945">4</cx:pt>
          <cx:pt idx="4946">4</cx:pt>
          <cx:pt idx="4947">3</cx:pt>
          <cx:pt idx="4948">1</cx:pt>
          <cx:pt idx="4949">5</cx:pt>
          <cx:pt idx="4950">4</cx:pt>
          <cx:pt idx="4951">5</cx:pt>
          <cx:pt idx="4952">2</cx:pt>
          <cx:pt idx="4953">2</cx:pt>
          <cx:pt idx="4954">1</cx:pt>
          <cx:pt idx="4955">3</cx:pt>
          <cx:pt idx="4956">3</cx:pt>
          <cx:pt idx="4957">2</cx:pt>
          <cx:pt idx="4958">4</cx:pt>
          <cx:pt idx="4959">4</cx:pt>
          <cx:pt idx="4960">4</cx:pt>
          <cx:pt idx="4961">4</cx:pt>
          <cx:pt idx="4962">3</cx:pt>
          <cx:pt idx="4963">2</cx:pt>
          <cx:pt idx="4964">3</cx:pt>
          <cx:pt idx="4965">3</cx:pt>
          <cx:pt idx="4966">2</cx:pt>
          <cx:pt idx="4967">2</cx:pt>
          <cx:pt idx="4968">1</cx:pt>
          <cx:pt idx="4969">2</cx:pt>
          <cx:pt idx="4970">2</cx:pt>
          <cx:pt idx="4971">1</cx:pt>
          <cx:pt idx="4972">2</cx:pt>
          <cx:pt idx="4973">2</cx:pt>
          <cx:pt idx="4974">4</cx:pt>
          <cx:pt idx="4975">2</cx:pt>
          <cx:pt idx="4976">3</cx:pt>
          <cx:pt idx="4977">5</cx:pt>
          <cx:pt idx="4978">5</cx:pt>
          <cx:pt idx="4979">4</cx:pt>
          <cx:pt idx="4980">1</cx:pt>
          <cx:pt idx="4981">5</cx:pt>
          <cx:pt idx="4982">0</cx:pt>
          <cx:pt idx="4983">4</cx:pt>
          <cx:pt idx="4984">5</cx:pt>
          <cx:pt idx="4985">4</cx:pt>
          <cx:pt idx="4986">3</cx:pt>
          <cx:pt idx="4987">5</cx:pt>
          <cx:pt idx="4988">5</cx:pt>
          <cx:pt idx="4989">2</cx:pt>
          <cx:pt idx="4990">5</cx:pt>
          <cx:pt idx="4991">3</cx:pt>
          <cx:pt idx="4992">4</cx:pt>
          <cx:pt idx="4993">5</cx:pt>
          <cx:pt idx="4994">1</cx:pt>
          <cx:pt idx="4995">2</cx:pt>
          <cx:pt idx="4996">1</cx:pt>
          <cx:pt idx="4997">2</cx:pt>
          <cx:pt idx="4998">4</cx:pt>
          <cx:pt idx="4999">1</cx:pt>
          <cx:pt idx="5000">3</cx:pt>
          <cx:pt idx="5001">4</cx:pt>
          <cx:pt idx="5002">5</cx:pt>
          <cx:pt idx="5003">1</cx:pt>
          <cx:pt idx="5004">1</cx:pt>
          <cx:pt idx="5005">3</cx:pt>
          <cx:pt idx="5006">5</cx:pt>
          <cx:pt idx="5007">1</cx:pt>
          <cx:pt idx="5008">1</cx:pt>
          <cx:pt idx="5009">2</cx:pt>
          <cx:pt idx="5010">1</cx:pt>
          <cx:pt idx="5011">5</cx:pt>
          <cx:pt idx="5012">3</cx:pt>
          <cx:pt idx="5013">1</cx:pt>
          <cx:pt idx="5014">3</cx:pt>
          <cx:pt idx="5015">4</cx:pt>
          <cx:pt idx="5016">3</cx:pt>
          <cx:pt idx="5017">3</cx:pt>
          <cx:pt idx="5018">2</cx:pt>
          <cx:pt idx="5019">2</cx:pt>
          <cx:pt idx="5020">4</cx:pt>
          <cx:pt idx="5021">2</cx:pt>
          <cx:pt idx="5022">3</cx:pt>
          <cx:pt idx="5023">0</cx:pt>
          <cx:pt idx="5024">4</cx:pt>
          <cx:pt idx="5025">1</cx:pt>
          <cx:pt idx="5026">2</cx:pt>
          <cx:pt idx="5027">2</cx:pt>
          <cx:pt idx="5028">5</cx:pt>
          <cx:pt idx="5029">1</cx:pt>
          <cx:pt idx="5030">2</cx:pt>
          <cx:pt idx="5031">0</cx:pt>
          <cx:pt idx="5032">2</cx:pt>
          <cx:pt idx="5033">3</cx:pt>
          <cx:pt idx="5034">0</cx:pt>
          <cx:pt idx="5035">3</cx:pt>
          <cx:pt idx="5036">0</cx:pt>
          <cx:pt idx="5037">3</cx:pt>
          <cx:pt idx="5038">2</cx:pt>
          <cx:pt idx="5039">4</cx:pt>
          <cx:pt idx="5040">3</cx:pt>
          <cx:pt idx="5041">2</cx:pt>
          <cx:pt idx="5042">4</cx:pt>
          <cx:pt idx="5043">5</cx:pt>
          <cx:pt idx="5044">5</cx:pt>
          <cx:pt idx="5045">0</cx:pt>
          <cx:pt idx="5046">2</cx:pt>
          <cx:pt idx="5047">3</cx:pt>
          <cx:pt idx="5048">3</cx:pt>
          <cx:pt idx="5049">1</cx:pt>
          <cx:pt idx="5050">2</cx:pt>
          <cx:pt idx="5051">4</cx:pt>
          <cx:pt idx="5052">4</cx:pt>
          <cx:pt idx="5053">2</cx:pt>
          <cx:pt idx="5054">1</cx:pt>
          <cx:pt idx="5055">0</cx:pt>
          <cx:pt idx="5056">5</cx:pt>
          <cx:pt idx="5057">2</cx:pt>
          <cx:pt idx="5058">4</cx:pt>
          <cx:pt idx="5059">3</cx:pt>
          <cx:pt idx="5060">1</cx:pt>
          <cx:pt idx="5061">4</cx:pt>
          <cx:pt idx="5062">4</cx:pt>
          <cx:pt idx="5063">3</cx:pt>
          <cx:pt idx="5064">1</cx:pt>
          <cx:pt idx="5065">4</cx:pt>
          <cx:pt idx="5066">4</cx:pt>
          <cx:pt idx="5067">4</cx:pt>
          <cx:pt idx="5068">3</cx:pt>
          <cx:pt idx="5069">4</cx:pt>
          <cx:pt idx="5070">2</cx:pt>
          <cx:pt idx="5071">1</cx:pt>
          <cx:pt idx="5072">5</cx:pt>
          <cx:pt idx="5073">4</cx:pt>
          <cx:pt idx="5074">3</cx:pt>
          <cx:pt idx="5075">4</cx:pt>
          <cx:pt idx="5076">5</cx:pt>
          <cx:pt idx="5077">5</cx:pt>
          <cx:pt idx="5078">1</cx:pt>
          <cx:pt idx="5079">0</cx:pt>
          <cx:pt idx="5080">3</cx:pt>
          <cx:pt idx="5081">1</cx:pt>
          <cx:pt idx="5082">1</cx:pt>
          <cx:pt idx="5083">3</cx:pt>
          <cx:pt idx="5084">3</cx:pt>
          <cx:pt idx="5085">5</cx:pt>
          <cx:pt idx="5086">4</cx:pt>
          <cx:pt idx="5087">1</cx:pt>
          <cx:pt idx="5088">1</cx:pt>
          <cx:pt idx="5089">3</cx:pt>
          <cx:pt idx="5090">2</cx:pt>
          <cx:pt idx="5091">2</cx:pt>
          <cx:pt idx="5092">2</cx:pt>
          <cx:pt idx="5093">2</cx:pt>
          <cx:pt idx="5094">3</cx:pt>
          <cx:pt idx="5095">3</cx:pt>
          <cx:pt idx="5096">3</cx:pt>
          <cx:pt idx="5097">4</cx:pt>
          <cx:pt idx="5098">2</cx:pt>
          <cx:pt idx="5099">5</cx:pt>
          <cx:pt idx="5100">4</cx:pt>
          <cx:pt idx="5101">3</cx:pt>
          <cx:pt idx="5102">2</cx:pt>
          <cx:pt idx="5103">3</cx:pt>
          <cx:pt idx="5104">4</cx:pt>
          <cx:pt idx="5105">1</cx:pt>
          <cx:pt idx="5106">2</cx:pt>
          <cx:pt idx="5107">2</cx:pt>
          <cx:pt idx="5108">3</cx:pt>
          <cx:pt idx="5109">5</cx:pt>
          <cx:pt idx="5110">0</cx:pt>
          <cx:pt idx="5111">3</cx:pt>
          <cx:pt idx="5112">1</cx:pt>
          <cx:pt idx="5113">2</cx:pt>
          <cx:pt idx="5114">3</cx:pt>
          <cx:pt idx="5115">3</cx:pt>
          <cx:pt idx="5116">3</cx:pt>
          <cx:pt idx="5117">1</cx:pt>
          <cx:pt idx="5118">2</cx:pt>
          <cx:pt idx="5119">2</cx:pt>
          <cx:pt idx="5120">2</cx:pt>
          <cx:pt idx="5121">2</cx:pt>
          <cx:pt idx="5122">3</cx:pt>
          <cx:pt idx="5123">5</cx:pt>
          <cx:pt idx="5124">3</cx:pt>
          <cx:pt idx="5125">1</cx:pt>
          <cx:pt idx="5126">3</cx:pt>
          <cx:pt idx="5127">4</cx:pt>
          <cx:pt idx="5128">3</cx:pt>
          <cx:pt idx="5129">3</cx:pt>
          <cx:pt idx="5130">4</cx:pt>
          <cx:pt idx="5131">3</cx:pt>
          <cx:pt idx="5132">4</cx:pt>
          <cx:pt idx="5133">2</cx:pt>
          <cx:pt idx="5134">3</cx:pt>
          <cx:pt idx="5135">3</cx:pt>
          <cx:pt idx="5136">3</cx:pt>
          <cx:pt idx="5137">5</cx:pt>
          <cx:pt idx="5138">4</cx:pt>
          <cx:pt idx="5139">1</cx:pt>
          <cx:pt idx="5140">4</cx:pt>
          <cx:pt idx="5141">3</cx:pt>
          <cx:pt idx="5142">5</cx:pt>
          <cx:pt idx="5143">2</cx:pt>
          <cx:pt idx="5144">3</cx:pt>
          <cx:pt idx="5145">3</cx:pt>
          <cx:pt idx="5146">5</cx:pt>
          <cx:pt idx="5147">4</cx:pt>
          <cx:pt idx="5148">1</cx:pt>
          <cx:pt idx="5149">4</cx:pt>
          <cx:pt idx="5150">4</cx:pt>
          <cx:pt idx="5151">2</cx:pt>
          <cx:pt idx="5152">2</cx:pt>
          <cx:pt idx="5153">5</cx:pt>
          <cx:pt idx="5154">0</cx:pt>
          <cx:pt idx="5155">3</cx:pt>
          <cx:pt idx="5156">4</cx:pt>
          <cx:pt idx="5157">2</cx:pt>
          <cx:pt idx="5158">4</cx:pt>
          <cx:pt idx="5159">5</cx:pt>
          <cx:pt idx="5160">2</cx:pt>
          <cx:pt idx="5161">4</cx:pt>
          <cx:pt idx="5162">5</cx:pt>
          <cx:pt idx="5163">4</cx:pt>
          <cx:pt idx="5164">2</cx:pt>
          <cx:pt idx="5165">3</cx:pt>
          <cx:pt idx="5166">2</cx:pt>
          <cx:pt idx="5167">5</cx:pt>
          <cx:pt idx="5168">5</cx:pt>
          <cx:pt idx="5169">2</cx:pt>
          <cx:pt idx="5170">3</cx:pt>
          <cx:pt idx="5171">1</cx:pt>
          <cx:pt idx="5172">2</cx:pt>
          <cx:pt idx="5173">2</cx:pt>
          <cx:pt idx="5174">5</cx:pt>
          <cx:pt idx="5175">1</cx:pt>
          <cx:pt idx="5176">4</cx:pt>
          <cx:pt idx="5177">3</cx:pt>
          <cx:pt idx="5178">2</cx:pt>
          <cx:pt idx="5179">4</cx:pt>
          <cx:pt idx="5180">1</cx:pt>
          <cx:pt idx="5181">1</cx:pt>
          <cx:pt idx="5182">1</cx:pt>
          <cx:pt idx="5183">2</cx:pt>
          <cx:pt idx="5184">3</cx:pt>
          <cx:pt idx="5185">1</cx:pt>
          <cx:pt idx="5186">3</cx:pt>
          <cx:pt idx="5187">5</cx:pt>
          <cx:pt idx="5188">2</cx:pt>
          <cx:pt idx="5189">5</cx:pt>
          <cx:pt idx="5190">1</cx:pt>
          <cx:pt idx="5191">2</cx:pt>
          <cx:pt idx="5192">1</cx:pt>
          <cx:pt idx="5193">1</cx:pt>
          <cx:pt idx="5194">1</cx:pt>
          <cx:pt idx="5195">5</cx:pt>
          <cx:pt idx="5196">3</cx:pt>
          <cx:pt idx="5197">2</cx:pt>
          <cx:pt idx="5198">3</cx:pt>
          <cx:pt idx="5199">4</cx:pt>
          <cx:pt idx="5200">0</cx:pt>
          <cx:pt idx="5201">4</cx:pt>
          <cx:pt idx="5202">3</cx:pt>
          <cx:pt idx="5203">4</cx:pt>
          <cx:pt idx="5204">4</cx:pt>
          <cx:pt idx="5205">2</cx:pt>
          <cx:pt idx="5206">1</cx:pt>
          <cx:pt idx="5207">0</cx:pt>
          <cx:pt idx="5208">2</cx:pt>
          <cx:pt idx="5209">2</cx:pt>
          <cx:pt idx="5210">2</cx:pt>
          <cx:pt idx="5211">5</cx:pt>
          <cx:pt idx="5212">5</cx:pt>
          <cx:pt idx="5213">4</cx:pt>
          <cx:pt idx="5214">5</cx:pt>
          <cx:pt idx="5215">0</cx:pt>
          <cx:pt idx="5216">1</cx:pt>
          <cx:pt idx="5217">0</cx:pt>
          <cx:pt idx="5218">2</cx:pt>
          <cx:pt idx="5219">5</cx:pt>
          <cx:pt idx="5220">4</cx:pt>
          <cx:pt idx="5221">2</cx:pt>
          <cx:pt idx="5222">2</cx:pt>
          <cx:pt idx="5223">3</cx:pt>
          <cx:pt idx="5224">5</cx:pt>
          <cx:pt idx="5225">3</cx:pt>
          <cx:pt idx="5226">1</cx:pt>
          <cx:pt idx="5227">3</cx:pt>
          <cx:pt idx="5228">4</cx:pt>
          <cx:pt idx="5229">2</cx:pt>
          <cx:pt idx="5230">5</cx:pt>
          <cx:pt idx="5231">4</cx:pt>
          <cx:pt idx="5232">5</cx:pt>
          <cx:pt idx="5233">4</cx:pt>
          <cx:pt idx="5234">3</cx:pt>
          <cx:pt idx="5235">3</cx:pt>
          <cx:pt idx="5236">5</cx:pt>
          <cx:pt idx="5237">2</cx:pt>
          <cx:pt idx="5238">5</cx:pt>
          <cx:pt idx="5239">1</cx:pt>
          <cx:pt idx="5240">2</cx:pt>
          <cx:pt idx="5241">4</cx:pt>
          <cx:pt idx="5242">2</cx:pt>
          <cx:pt idx="5243">4</cx:pt>
          <cx:pt idx="5244">5</cx:pt>
          <cx:pt idx="5245">3</cx:pt>
          <cx:pt idx="5246">3</cx:pt>
          <cx:pt idx="5247">4</cx:pt>
          <cx:pt idx="5248">3</cx:pt>
          <cx:pt idx="5249">2</cx:pt>
          <cx:pt idx="5250">0</cx:pt>
          <cx:pt idx="5251">3</cx:pt>
          <cx:pt idx="5252">3</cx:pt>
          <cx:pt idx="5253">2</cx:pt>
          <cx:pt idx="5254">2</cx:pt>
          <cx:pt idx="5255">5</cx:pt>
          <cx:pt idx="5256">2</cx:pt>
          <cx:pt idx="5257">3</cx:pt>
          <cx:pt idx="5258">2</cx:pt>
          <cx:pt idx="5259">2</cx:pt>
          <cx:pt idx="5260">4</cx:pt>
          <cx:pt idx="5261">3</cx:pt>
          <cx:pt idx="5262">3</cx:pt>
          <cx:pt idx="5263">5</cx:pt>
          <cx:pt idx="5264">0</cx:pt>
          <cx:pt idx="5265">4</cx:pt>
          <cx:pt idx="5266">4</cx:pt>
          <cx:pt idx="5267">3</cx:pt>
          <cx:pt idx="5268">2</cx:pt>
          <cx:pt idx="5269">4</cx:pt>
          <cx:pt idx="5270">4</cx:pt>
          <cx:pt idx="5271">4</cx:pt>
          <cx:pt idx="5272">2</cx:pt>
          <cx:pt idx="5273">3</cx:pt>
          <cx:pt idx="5274">4</cx:pt>
          <cx:pt idx="5275">3</cx:pt>
          <cx:pt idx="5276">1</cx:pt>
          <cx:pt idx="5277">4</cx:pt>
          <cx:pt idx="5278">4</cx:pt>
          <cx:pt idx="5279">1</cx:pt>
          <cx:pt idx="5280">3</cx:pt>
          <cx:pt idx="5281">2</cx:pt>
          <cx:pt idx="5282">4</cx:pt>
          <cx:pt idx="5283">2</cx:pt>
          <cx:pt idx="5284">2</cx:pt>
          <cx:pt idx="5285">5</cx:pt>
          <cx:pt idx="5286">3</cx:pt>
          <cx:pt idx="5287">3</cx:pt>
          <cx:pt idx="5288">5</cx:pt>
          <cx:pt idx="5289">4</cx:pt>
          <cx:pt idx="5290">2</cx:pt>
          <cx:pt idx="5291">5</cx:pt>
          <cx:pt idx="5292">4</cx:pt>
          <cx:pt idx="5293">1</cx:pt>
          <cx:pt idx="5294">1</cx:pt>
          <cx:pt idx="5295">0</cx:pt>
          <cx:pt idx="5296">1</cx:pt>
          <cx:pt idx="5297">1</cx:pt>
          <cx:pt idx="5298">4</cx:pt>
          <cx:pt idx="5299">2</cx:pt>
          <cx:pt idx="5300">2</cx:pt>
          <cx:pt idx="5301">3</cx:pt>
          <cx:pt idx="5302">4</cx:pt>
          <cx:pt idx="5303">0</cx:pt>
          <cx:pt idx="5304">3</cx:pt>
          <cx:pt idx="5305">2</cx:pt>
          <cx:pt idx="5306">4</cx:pt>
          <cx:pt idx="5307">1</cx:pt>
          <cx:pt idx="5308">5</cx:pt>
          <cx:pt idx="5309">3</cx:pt>
          <cx:pt idx="5310">1</cx:pt>
          <cx:pt idx="5311">2</cx:pt>
          <cx:pt idx="5312">1</cx:pt>
          <cx:pt idx="5313">2</cx:pt>
          <cx:pt idx="5314">3</cx:pt>
          <cx:pt idx="5315">2</cx:pt>
          <cx:pt idx="5316">3</cx:pt>
          <cx:pt idx="5317">0</cx:pt>
          <cx:pt idx="5318">3</cx:pt>
          <cx:pt idx="5319">2</cx:pt>
          <cx:pt idx="5320">1</cx:pt>
          <cx:pt idx="5321">2</cx:pt>
          <cx:pt idx="5322">4</cx:pt>
          <cx:pt idx="5323">4</cx:pt>
          <cx:pt idx="5324">3</cx:pt>
          <cx:pt idx="5325">4</cx:pt>
          <cx:pt idx="5326">2</cx:pt>
          <cx:pt idx="5327">2</cx:pt>
          <cx:pt idx="5328">2</cx:pt>
          <cx:pt idx="5329">2</cx:pt>
          <cx:pt idx="5330">2</cx:pt>
          <cx:pt idx="5331">5</cx:pt>
          <cx:pt idx="5332">5</cx:pt>
          <cx:pt idx="5333">2</cx:pt>
          <cx:pt idx="5334">3</cx:pt>
          <cx:pt idx="5335">4</cx:pt>
          <cx:pt idx="5336">1</cx:pt>
          <cx:pt idx="5337">2</cx:pt>
          <cx:pt idx="5338">4</cx:pt>
          <cx:pt idx="5339">3</cx:pt>
          <cx:pt idx="5340">4</cx:pt>
          <cx:pt idx="5341">4</cx:pt>
          <cx:pt idx="5342">5</cx:pt>
          <cx:pt idx="5343">2</cx:pt>
          <cx:pt idx="5344">1</cx:pt>
          <cx:pt idx="5345">2</cx:pt>
          <cx:pt idx="5346">3</cx:pt>
          <cx:pt idx="5347">3</cx:pt>
          <cx:pt idx="5348">3</cx:pt>
          <cx:pt idx="5349">4</cx:pt>
          <cx:pt idx="5350">5</cx:pt>
          <cx:pt idx="5351">3</cx:pt>
          <cx:pt idx="5352">3</cx:pt>
          <cx:pt idx="5353">3</cx:pt>
          <cx:pt idx="5354">1</cx:pt>
          <cx:pt idx="5355">2</cx:pt>
          <cx:pt idx="5356">3</cx:pt>
          <cx:pt idx="5357">1</cx:pt>
          <cx:pt idx="5358">2</cx:pt>
          <cx:pt idx="5359">4</cx:pt>
          <cx:pt idx="5360">4</cx:pt>
          <cx:pt idx="5361">3</cx:pt>
          <cx:pt idx="5362">3</cx:pt>
          <cx:pt idx="5363">5</cx:pt>
          <cx:pt idx="5364">0</cx:pt>
          <cx:pt idx="5365">3</cx:pt>
          <cx:pt idx="5366">4</cx:pt>
          <cx:pt idx="5367">4</cx:pt>
          <cx:pt idx="5368">3</cx:pt>
          <cx:pt idx="5369">0</cx:pt>
          <cx:pt idx="5370">5</cx:pt>
          <cx:pt idx="5371">4</cx:pt>
          <cx:pt idx="5372">2</cx:pt>
          <cx:pt idx="5373">1</cx:pt>
          <cx:pt idx="5374">3</cx:pt>
          <cx:pt idx="5375">4</cx:pt>
          <cx:pt idx="5376">2</cx:pt>
          <cx:pt idx="5377">1</cx:pt>
          <cx:pt idx="5378">5</cx:pt>
          <cx:pt idx="5379">4</cx:pt>
          <cx:pt idx="5380">3</cx:pt>
          <cx:pt idx="5381">1</cx:pt>
          <cx:pt idx="5382">1</cx:pt>
          <cx:pt idx="5383">2</cx:pt>
          <cx:pt idx="5384">3</cx:pt>
          <cx:pt idx="5385">3</cx:pt>
          <cx:pt idx="5386">5</cx:pt>
          <cx:pt idx="5387">5</cx:pt>
          <cx:pt idx="5388">0</cx:pt>
          <cx:pt idx="5389">2</cx:pt>
          <cx:pt idx="5390">1</cx:pt>
          <cx:pt idx="5391">2</cx:pt>
          <cx:pt idx="5392">2</cx:pt>
          <cx:pt idx="5393">2</cx:pt>
          <cx:pt idx="5394">2</cx:pt>
          <cx:pt idx="5395">5</cx:pt>
          <cx:pt idx="5396">1</cx:pt>
          <cx:pt idx="5397">1</cx:pt>
          <cx:pt idx="5398">1</cx:pt>
          <cx:pt idx="5399">4</cx:pt>
          <cx:pt idx="5400">2</cx:pt>
          <cx:pt idx="5401">3</cx:pt>
          <cx:pt idx="5402">4</cx:pt>
          <cx:pt idx="5403">4</cx:pt>
          <cx:pt idx="5404">0</cx:pt>
          <cx:pt idx="5405">2</cx:pt>
          <cx:pt idx="5406">3</cx:pt>
          <cx:pt idx="5407">4</cx:pt>
          <cx:pt idx="5408">2</cx:pt>
          <cx:pt idx="5409">4</cx:pt>
          <cx:pt idx="5410">4</cx:pt>
          <cx:pt idx="5411">5</cx:pt>
          <cx:pt idx="5412">0</cx:pt>
          <cx:pt idx="5413">3</cx:pt>
          <cx:pt idx="5414">2</cx:pt>
          <cx:pt idx="5415">2</cx:pt>
          <cx:pt idx="5416">3</cx:pt>
          <cx:pt idx="5417">3</cx:pt>
          <cx:pt idx="5418">4</cx:pt>
          <cx:pt idx="5419">3</cx:pt>
          <cx:pt idx="5420">5</cx:pt>
          <cx:pt idx="5421">0</cx:pt>
          <cx:pt idx="5422">5</cx:pt>
          <cx:pt idx="5423">3</cx:pt>
          <cx:pt idx="5424">0</cx:pt>
          <cx:pt idx="5425">1</cx:pt>
          <cx:pt idx="5426">2</cx:pt>
          <cx:pt idx="5427">2</cx:pt>
          <cx:pt idx="5428">5</cx:pt>
          <cx:pt idx="5429">2</cx:pt>
          <cx:pt idx="5430">5</cx:pt>
          <cx:pt idx="5431">0</cx:pt>
          <cx:pt idx="5432">4</cx:pt>
          <cx:pt idx="5433">5</cx:pt>
          <cx:pt idx="5434">2</cx:pt>
          <cx:pt idx="5435">3</cx:pt>
          <cx:pt idx="5436">1</cx:pt>
          <cx:pt idx="5437">3</cx:pt>
          <cx:pt idx="5438">3</cx:pt>
          <cx:pt idx="5439">2</cx:pt>
          <cx:pt idx="5440">0</cx:pt>
          <cx:pt idx="5441">5</cx:pt>
          <cx:pt idx="5442">2</cx:pt>
          <cx:pt idx="5443">0</cx:pt>
          <cx:pt idx="5444">5</cx:pt>
          <cx:pt idx="5445">2</cx:pt>
          <cx:pt idx="5446">4</cx:pt>
          <cx:pt idx="5447">3</cx:pt>
          <cx:pt idx="5448">2</cx:pt>
          <cx:pt idx="5449">2</cx:pt>
          <cx:pt idx="5450">2</cx:pt>
          <cx:pt idx="5451">3</cx:pt>
          <cx:pt idx="5452">2</cx:pt>
          <cx:pt idx="5453">5</cx:pt>
          <cx:pt idx="5454">4</cx:pt>
          <cx:pt idx="5455">2</cx:pt>
          <cx:pt idx="5456">2</cx:pt>
          <cx:pt idx="5457">4</cx:pt>
          <cx:pt idx="5458">5</cx:pt>
          <cx:pt idx="5459">3</cx:pt>
          <cx:pt idx="5460">4</cx:pt>
          <cx:pt idx="5461">2</cx:pt>
          <cx:pt idx="5462">5</cx:pt>
          <cx:pt idx="5463">5</cx:pt>
          <cx:pt idx="5464">1</cx:pt>
          <cx:pt idx="5465">2</cx:pt>
          <cx:pt idx="5466">3</cx:pt>
          <cx:pt idx="5467">2</cx:pt>
          <cx:pt idx="5468">4</cx:pt>
          <cx:pt idx="5469">4</cx:pt>
          <cx:pt idx="5470">3</cx:pt>
          <cx:pt idx="5471">2</cx:pt>
          <cx:pt idx="5472">2</cx:pt>
          <cx:pt idx="5473">1</cx:pt>
          <cx:pt idx="5474">3</cx:pt>
          <cx:pt idx="5475">4</cx:pt>
          <cx:pt idx="5476">4</cx:pt>
          <cx:pt idx="5477">1</cx:pt>
          <cx:pt idx="5478">0</cx:pt>
          <cx:pt idx="5479">3</cx:pt>
          <cx:pt idx="5480">4</cx:pt>
          <cx:pt idx="5481">5</cx:pt>
          <cx:pt idx="5482">4</cx:pt>
          <cx:pt idx="5483">1</cx:pt>
          <cx:pt idx="5484">2</cx:pt>
          <cx:pt idx="5485">2</cx:pt>
          <cx:pt idx="5486">2</cx:pt>
          <cx:pt idx="5487">3</cx:pt>
          <cx:pt idx="5488">2</cx:pt>
          <cx:pt idx="5489">5</cx:pt>
          <cx:pt idx="5490">4</cx:pt>
          <cx:pt idx="5491">3</cx:pt>
          <cx:pt idx="5492">4</cx:pt>
          <cx:pt idx="5493">4</cx:pt>
          <cx:pt idx="5494">0</cx:pt>
          <cx:pt idx="5495">3</cx:pt>
          <cx:pt idx="5496">5</cx:pt>
          <cx:pt idx="5497">4</cx:pt>
          <cx:pt idx="5498">0</cx:pt>
          <cx:pt idx="5499">3</cx:pt>
          <cx:pt idx="5500">1</cx:pt>
          <cx:pt idx="5501">1</cx:pt>
          <cx:pt idx="5502">5</cx:pt>
          <cx:pt idx="5503">2</cx:pt>
          <cx:pt idx="5504">2</cx:pt>
          <cx:pt idx="5505">2</cx:pt>
          <cx:pt idx="5506">2</cx:pt>
          <cx:pt idx="5507">1</cx:pt>
          <cx:pt idx="5508">4</cx:pt>
          <cx:pt idx="5509">3</cx:pt>
          <cx:pt idx="5510">2</cx:pt>
          <cx:pt idx="5511">3</cx:pt>
          <cx:pt idx="5512">4</cx:pt>
          <cx:pt idx="5513">3</cx:pt>
          <cx:pt idx="5514">1</cx:pt>
          <cx:pt idx="5515">4</cx:pt>
          <cx:pt idx="5516">2</cx:pt>
          <cx:pt idx="5517">5</cx:pt>
          <cx:pt idx="5518">2</cx:pt>
          <cx:pt idx="5519">3</cx:pt>
          <cx:pt idx="5520">4</cx:pt>
          <cx:pt idx="5521">2</cx:pt>
          <cx:pt idx="5522">3</cx:pt>
          <cx:pt idx="5523">3</cx:pt>
          <cx:pt idx="5524">4</cx:pt>
          <cx:pt idx="5525">3</cx:pt>
          <cx:pt idx="5526">5</cx:pt>
          <cx:pt idx="5527">1</cx:pt>
          <cx:pt idx="5528">3</cx:pt>
          <cx:pt idx="5529">2</cx:pt>
          <cx:pt idx="5530">5</cx:pt>
          <cx:pt idx="5531">1</cx:pt>
          <cx:pt idx="5532">1</cx:pt>
          <cx:pt idx="5533">2</cx:pt>
          <cx:pt idx="5534">3</cx:pt>
          <cx:pt idx="5535">5</cx:pt>
          <cx:pt idx="5536">3</cx:pt>
          <cx:pt idx="5537">1</cx:pt>
          <cx:pt idx="5538">4</cx:pt>
          <cx:pt idx="5539">2</cx:pt>
          <cx:pt idx="5540">2</cx:pt>
          <cx:pt idx="5541">2</cx:pt>
          <cx:pt idx="5542">1</cx:pt>
          <cx:pt idx="5543">3</cx:pt>
          <cx:pt idx="5544">3</cx:pt>
          <cx:pt idx="5545">1</cx:pt>
          <cx:pt idx="5546">1</cx:pt>
          <cx:pt idx="5547">3</cx:pt>
          <cx:pt idx="5548">1</cx:pt>
          <cx:pt idx="5549">1</cx:pt>
          <cx:pt idx="5550">3</cx:pt>
          <cx:pt idx="5551">2</cx:pt>
          <cx:pt idx="5552">2</cx:pt>
          <cx:pt idx="5553">5</cx:pt>
          <cx:pt idx="5554">1</cx:pt>
          <cx:pt idx="5555">1</cx:pt>
          <cx:pt idx="5556">5</cx:pt>
          <cx:pt idx="5557">1</cx:pt>
          <cx:pt idx="5558">1</cx:pt>
          <cx:pt idx="5559">2</cx:pt>
          <cx:pt idx="5560">4</cx:pt>
          <cx:pt idx="5561">3</cx:pt>
          <cx:pt idx="5562">1</cx:pt>
          <cx:pt idx="5563">2</cx:pt>
          <cx:pt idx="5564">3</cx:pt>
          <cx:pt idx="5565">0</cx:pt>
          <cx:pt idx="5566">1</cx:pt>
          <cx:pt idx="5567">2</cx:pt>
          <cx:pt idx="5568">1</cx:pt>
          <cx:pt idx="5569">5</cx:pt>
          <cx:pt idx="5570">4</cx:pt>
          <cx:pt idx="5571">3</cx:pt>
          <cx:pt idx="5572">1</cx:pt>
          <cx:pt idx="5573">5</cx:pt>
          <cx:pt idx="5574">4</cx:pt>
          <cx:pt idx="5575">0</cx:pt>
          <cx:pt idx="5576">1</cx:pt>
          <cx:pt idx="5577">2</cx:pt>
          <cx:pt idx="5578">2</cx:pt>
          <cx:pt idx="5579">3</cx:pt>
          <cx:pt idx="5580">3</cx:pt>
          <cx:pt idx="5581">5</cx:pt>
          <cx:pt idx="5582">1</cx:pt>
          <cx:pt idx="5583">1</cx:pt>
          <cx:pt idx="5584">3</cx:pt>
          <cx:pt idx="5585">3</cx:pt>
          <cx:pt idx="5586">1</cx:pt>
          <cx:pt idx="5587">1</cx:pt>
          <cx:pt idx="5588">2</cx:pt>
          <cx:pt idx="5589">5</cx:pt>
          <cx:pt idx="5590">4</cx:pt>
          <cx:pt idx="5591">1</cx:pt>
          <cx:pt idx="5592">3</cx:pt>
          <cx:pt idx="5593">4</cx:pt>
          <cx:pt idx="5594">2</cx:pt>
          <cx:pt idx="5595">2</cx:pt>
          <cx:pt idx="5596">4</cx:pt>
          <cx:pt idx="5597">4</cx:pt>
          <cx:pt idx="5598">3</cx:pt>
          <cx:pt idx="5599">5</cx:pt>
          <cx:pt idx="5600">1</cx:pt>
          <cx:pt idx="5601">5</cx:pt>
          <cx:pt idx="5602">4</cx:pt>
          <cx:pt idx="5603">3</cx:pt>
          <cx:pt idx="5604">1</cx:pt>
          <cx:pt idx="5605">4</cx:pt>
          <cx:pt idx="5606">2</cx:pt>
          <cx:pt idx="5607">4</cx:pt>
          <cx:pt idx="5608">0</cx:pt>
          <cx:pt idx="5609">5</cx:pt>
          <cx:pt idx="5610">3</cx:pt>
          <cx:pt idx="5611">2</cx:pt>
          <cx:pt idx="5612">2</cx:pt>
          <cx:pt idx="5613">5</cx:pt>
          <cx:pt idx="5614">2</cx:pt>
          <cx:pt idx="5615">4</cx:pt>
          <cx:pt idx="5616">3</cx:pt>
          <cx:pt idx="5617">1</cx:pt>
          <cx:pt idx="5618">2</cx:pt>
          <cx:pt idx="5619">0</cx:pt>
          <cx:pt idx="5620">5</cx:pt>
          <cx:pt idx="5621">2</cx:pt>
          <cx:pt idx="5622">3</cx:pt>
          <cx:pt idx="5623">2</cx:pt>
          <cx:pt idx="5624">1</cx:pt>
          <cx:pt idx="5625">0</cx:pt>
          <cx:pt idx="5626">3</cx:pt>
          <cx:pt idx="5627">2</cx:pt>
          <cx:pt idx="5628">3</cx:pt>
          <cx:pt idx="5629">2</cx:pt>
          <cx:pt idx="5630">4</cx:pt>
          <cx:pt idx="5631">1</cx:pt>
          <cx:pt idx="5632">3</cx:pt>
          <cx:pt idx="5633">3</cx:pt>
          <cx:pt idx="5634">2</cx:pt>
          <cx:pt idx="5635">5</cx:pt>
          <cx:pt idx="5636">3</cx:pt>
          <cx:pt idx="5637">1</cx:pt>
          <cx:pt idx="5638">1</cx:pt>
          <cx:pt idx="5639">5</cx:pt>
          <cx:pt idx="5640">5</cx:pt>
          <cx:pt idx="5641">2</cx:pt>
          <cx:pt idx="5642">3</cx:pt>
          <cx:pt idx="5643">2</cx:pt>
          <cx:pt idx="5644">3</cx:pt>
          <cx:pt idx="5645">4</cx:pt>
          <cx:pt idx="5646">2</cx:pt>
          <cx:pt idx="5647">2</cx:pt>
          <cx:pt idx="5648">3</cx:pt>
          <cx:pt idx="5649">2</cx:pt>
          <cx:pt idx="5650">3</cx:pt>
          <cx:pt idx="5651">3</cx:pt>
          <cx:pt idx="5652">3</cx:pt>
          <cx:pt idx="5653">3</cx:pt>
          <cx:pt idx="5654">1</cx:pt>
          <cx:pt idx="5655">0</cx:pt>
          <cx:pt idx="5656">1</cx:pt>
          <cx:pt idx="5657">5</cx:pt>
          <cx:pt idx="5658">1</cx:pt>
          <cx:pt idx="5659">2</cx:pt>
          <cx:pt idx="5660">3</cx:pt>
          <cx:pt idx="5661">3</cx:pt>
          <cx:pt idx="5662">4</cx:pt>
          <cx:pt idx="5663">5</cx:pt>
          <cx:pt idx="5664">4</cx:pt>
          <cx:pt idx="5665">4</cx:pt>
          <cx:pt idx="5666">3</cx:pt>
          <cx:pt idx="5667">5</cx:pt>
          <cx:pt idx="5668">2</cx:pt>
          <cx:pt idx="5669">3</cx:pt>
          <cx:pt idx="5670">1</cx:pt>
          <cx:pt idx="5671">1</cx:pt>
          <cx:pt idx="5672">3</cx:pt>
          <cx:pt idx="5673">3</cx:pt>
          <cx:pt idx="5674">3</cx:pt>
          <cx:pt idx="5675">0</cx:pt>
          <cx:pt idx="5676">5</cx:pt>
          <cx:pt idx="5677">4</cx:pt>
          <cx:pt idx="5678">2</cx:pt>
          <cx:pt idx="5679">0</cx:pt>
          <cx:pt idx="5680">2</cx:pt>
          <cx:pt idx="5681">2</cx:pt>
          <cx:pt idx="5682">3</cx:pt>
          <cx:pt idx="5683">3</cx:pt>
          <cx:pt idx="5684">3</cx:pt>
          <cx:pt idx="5685">3</cx:pt>
          <cx:pt idx="5686">3</cx:pt>
          <cx:pt idx="5687">2</cx:pt>
          <cx:pt idx="5688">3</cx:pt>
          <cx:pt idx="5689">5</cx:pt>
          <cx:pt idx="5690">5</cx:pt>
          <cx:pt idx="5691">1</cx:pt>
          <cx:pt idx="5692">4</cx:pt>
          <cx:pt idx="5693">3</cx:pt>
          <cx:pt idx="5694">4</cx:pt>
          <cx:pt idx="5695">5</cx:pt>
          <cx:pt idx="5696">4</cx:pt>
          <cx:pt idx="5697">1</cx:pt>
          <cx:pt idx="5698">2</cx:pt>
          <cx:pt idx="5699">2</cx:pt>
          <cx:pt idx="5700">2</cx:pt>
          <cx:pt idx="5701">1</cx:pt>
          <cx:pt idx="5702">4</cx:pt>
          <cx:pt idx="5703">5</cx:pt>
          <cx:pt idx="5704">1</cx:pt>
          <cx:pt idx="5705">2</cx:pt>
          <cx:pt idx="5706">4</cx:pt>
          <cx:pt idx="5707">3</cx:pt>
          <cx:pt idx="5708">5</cx:pt>
          <cx:pt idx="5709">2</cx:pt>
          <cx:pt idx="5710">1</cx:pt>
          <cx:pt idx="5711">2</cx:pt>
          <cx:pt idx="5712">3</cx:pt>
          <cx:pt idx="5713">2</cx:pt>
          <cx:pt idx="5714">4</cx:pt>
          <cx:pt idx="5715">3</cx:pt>
          <cx:pt idx="5716">2</cx:pt>
          <cx:pt idx="5717">4</cx:pt>
          <cx:pt idx="5718">0</cx:pt>
          <cx:pt idx="5719">5</cx:pt>
          <cx:pt idx="5720">3</cx:pt>
          <cx:pt idx="5721">3</cx:pt>
          <cx:pt idx="5722">3</cx:pt>
          <cx:pt idx="5723">5</cx:pt>
          <cx:pt idx="5724">3</cx:pt>
          <cx:pt idx="5725">1</cx:pt>
          <cx:pt idx="5726">3</cx:pt>
          <cx:pt idx="5727">3</cx:pt>
          <cx:pt idx="5728">5</cx:pt>
          <cx:pt idx="5729">1</cx:pt>
          <cx:pt idx="5730">1</cx:pt>
          <cx:pt idx="5731">2</cx:pt>
          <cx:pt idx="5732">5</cx:pt>
          <cx:pt idx="5733">2</cx:pt>
          <cx:pt idx="5734">3</cx:pt>
          <cx:pt idx="5735">1</cx:pt>
          <cx:pt idx="5736">3</cx:pt>
          <cx:pt idx="5737">3</cx:pt>
          <cx:pt idx="5738">1</cx:pt>
          <cx:pt idx="5739">3</cx:pt>
          <cx:pt idx="5740">2</cx:pt>
          <cx:pt idx="5741">3</cx:pt>
          <cx:pt idx="5742">5</cx:pt>
          <cx:pt idx="5743">3</cx:pt>
          <cx:pt idx="5744">5</cx:pt>
          <cx:pt idx="5745">4</cx:pt>
          <cx:pt idx="5746">1</cx:pt>
          <cx:pt idx="5747">1</cx:pt>
          <cx:pt idx="5748">0</cx:pt>
          <cx:pt idx="5749">3</cx:pt>
          <cx:pt idx="5750">3</cx:pt>
          <cx:pt idx="5751">3</cx:pt>
          <cx:pt idx="5752">1</cx:pt>
          <cx:pt idx="5753">5</cx:pt>
          <cx:pt idx="5754">4</cx:pt>
          <cx:pt idx="5755">5</cx:pt>
          <cx:pt idx="5756">0</cx:pt>
          <cx:pt idx="5757">5</cx:pt>
          <cx:pt idx="5758">2</cx:pt>
          <cx:pt idx="5759">2</cx:pt>
          <cx:pt idx="5760">5</cx:pt>
          <cx:pt idx="5761">5</cx:pt>
          <cx:pt idx="5762">5</cx:pt>
          <cx:pt idx="5763">4</cx:pt>
          <cx:pt idx="5764">1</cx:pt>
          <cx:pt idx="5765">0</cx:pt>
          <cx:pt idx="5766">5</cx:pt>
          <cx:pt idx="5767">3</cx:pt>
          <cx:pt idx="5768">1</cx:pt>
          <cx:pt idx="5769">4</cx:pt>
          <cx:pt idx="5770">1</cx:pt>
          <cx:pt idx="5771">3</cx:pt>
          <cx:pt idx="5772">4</cx:pt>
          <cx:pt idx="5773">1</cx:pt>
          <cx:pt idx="5774">3</cx:pt>
          <cx:pt idx="5775">3</cx:pt>
          <cx:pt idx="5776">1</cx:pt>
          <cx:pt idx="5777">4</cx:pt>
          <cx:pt idx="5778">4</cx:pt>
          <cx:pt idx="5779">1</cx:pt>
          <cx:pt idx="5780">4</cx:pt>
          <cx:pt idx="5781">4</cx:pt>
          <cx:pt idx="5782">1</cx:pt>
          <cx:pt idx="5783">2</cx:pt>
          <cx:pt idx="5784">4</cx:pt>
          <cx:pt idx="5785">4</cx:pt>
          <cx:pt idx="5786">4</cx:pt>
          <cx:pt idx="5787">0</cx:pt>
          <cx:pt idx="5788">2</cx:pt>
          <cx:pt idx="5789">3</cx:pt>
          <cx:pt idx="5790">1</cx:pt>
          <cx:pt idx="5791">1</cx:pt>
          <cx:pt idx="5792">2</cx:pt>
          <cx:pt idx="5793">2</cx:pt>
          <cx:pt idx="5794">5</cx:pt>
          <cx:pt idx="5795">3</cx:pt>
          <cx:pt idx="5796">3</cx:pt>
          <cx:pt idx="5797">3</cx:pt>
          <cx:pt idx="5798">5</cx:pt>
          <cx:pt idx="5799">1</cx:pt>
          <cx:pt idx="5800">0</cx:pt>
          <cx:pt idx="5801">3</cx:pt>
          <cx:pt idx="5802">0</cx:pt>
          <cx:pt idx="5803">1</cx:pt>
          <cx:pt idx="5804">2</cx:pt>
          <cx:pt idx="5805">3</cx:pt>
          <cx:pt idx="5806">1</cx:pt>
          <cx:pt idx="5807">2</cx:pt>
          <cx:pt idx="5808">0</cx:pt>
          <cx:pt idx="5809">2</cx:pt>
          <cx:pt idx="5810">5</cx:pt>
          <cx:pt idx="5811">4</cx:pt>
          <cx:pt idx="5812">1</cx:pt>
          <cx:pt idx="5813">2</cx:pt>
          <cx:pt idx="5814">4</cx:pt>
          <cx:pt idx="5815">2</cx:pt>
          <cx:pt idx="5816">5</cx:pt>
          <cx:pt idx="5817">4</cx:pt>
          <cx:pt idx="5818">1</cx:pt>
          <cx:pt idx="5819">1</cx:pt>
          <cx:pt idx="5820">2</cx:pt>
          <cx:pt idx="5821">5</cx:pt>
          <cx:pt idx="5822">4</cx:pt>
          <cx:pt idx="5823">1</cx:pt>
          <cx:pt idx="5824">2</cx:pt>
          <cx:pt idx="5825">5</cx:pt>
          <cx:pt idx="5826">2</cx:pt>
          <cx:pt idx="5827">2</cx:pt>
          <cx:pt idx="5828">3</cx:pt>
          <cx:pt idx="5829">3</cx:pt>
          <cx:pt idx="5830">2</cx:pt>
          <cx:pt idx="5831">4</cx:pt>
          <cx:pt idx="5832">3</cx:pt>
          <cx:pt idx="5833">2</cx:pt>
          <cx:pt idx="5834">2</cx:pt>
          <cx:pt idx="5835">1</cx:pt>
          <cx:pt idx="5836">5</cx:pt>
          <cx:pt idx="5837">2</cx:pt>
          <cx:pt idx="5838">4</cx:pt>
          <cx:pt idx="5839">3</cx:pt>
          <cx:pt idx="5840">4</cx:pt>
          <cx:pt idx="5841">2</cx:pt>
          <cx:pt idx="5842">0</cx:pt>
          <cx:pt idx="5843">0</cx:pt>
          <cx:pt idx="5844">5</cx:pt>
          <cx:pt idx="5845">3</cx:pt>
          <cx:pt idx="5846">1</cx:pt>
          <cx:pt idx="5847">1</cx:pt>
          <cx:pt idx="5848">1</cx:pt>
          <cx:pt idx="5849">0</cx:pt>
          <cx:pt idx="5850">0</cx:pt>
          <cx:pt idx="5851">3</cx:pt>
          <cx:pt idx="5852">3</cx:pt>
          <cx:pt idx="5853">3</cx:pt>
          <cx:pt idx="5854">1</cx:pt>
          <cx:pt idx="5855">0</cx:pt>
          <cx:pt idx="5856">5</cx:pt>
          <cx:pt idx="5857">4</cx:pt>
          <cx:pt idx="5858">1</cx:pt>
          <cx:pt idx="5859">2</cx:pt>
          <cx:pt idx="5860">4</cx:pt>
          <cx:pt idx="5861">3</cx:pt>
          <cx:pt idx="5862">2</cx:pt>
          <cx:pt idx="5863">0</cx:pt>
          <cx:pt idx="5864">1</cx:pt>
          <cx:pt idx="5865">5</cx:pt>
          <cx:pt idx="5866">5</cx:pt>
          <cx:pt idx="5867">4</cx:pt>
          <cx:pt idx="5868">5</cx:pt>
          <cx:pt idx="5869">1</cx:pt>
          <cx:pt idx="5870">4</cx:pt>
          <cx:pt idx="5871">1</cx:pt>
          <cx:pt idx="5872">5</cx:pt>
          <cx:pt idx="5873">1</cx:pt>
          <cx:pt idx="5874">1</cx:pt>
          <cx:pt idx="5875">2</cx:pt>
          <cx:pt idx="5876">2</cx:pt>
          <cx:pt idx="5877">4</cx:pt>
          <cx:pt idx="5878">2</cx:pt>
          <cx:pt idx="5879">1</cx:pt>
          <cx:pt idx="5880">1</cx:pt>
          <cx:pt idx="5881">2</cx:pt>
          <cx:pt idx="5882">2</cx:pt>
          <cx:pt idx="5883">4</cx:pt>
          <cx:pt idx="5884">3</cx:pt>
          <cx:pt idx="5885">4</cx:pt>
          <cx:pt idx="5886">2</cx:pt>
          <cx:pt idx="5887">4</cx:pt>
          <cx:pt idx="5888">2</cx:pt>
          <cx:pt idx="5889">3</cx:pt>
          <cx:pt idx="5890">4</cx:pt>
          <cx:pt idx="5891">5</cx:pt>
          <cx:pt idx="5892">4</cx:pt>
          <cx:pt idx="5893">3</cx:pt>
          <cx:pt idx="5894">4</cx:pt>
          <cx:pt idx="5895">1</cx:pt>
          <cx:pt idx="5896">3</cx:pt>
          <cx:pt idx="5897">1</cx:pt>
          <cx:pt idx="5898">4</cx:pt>
          <cx:pt idx="5899">2</cx:pt>
          <cx:pt idx="5900">1</cx:pt>
          <cx:pt idx="5901">2</cx:pt>
          <cx:pt idx="5902">5</cx:pt>
          <cx:pt idx="5903">3</cx:pt>
          <cx:pt idx="5904">5</cx:pt>
          <cx:pt idx="5905">2</cx:pt>
          <cx:pt idx="5906">3</cx:pt>
          <cx:pt idx="5907">1</cx:pt>
          <cx:pt idx="5908">3</cx:pt>
          <cx:pt idx="5909">2</cx:pt>
          <cx:pt idx="5910">3</cx:pt>
          <cx:pt idx="5911">2</cx:pt>
          <cx:pt idx="5912">3</cx:pt>
          <cx:pt idx="5913">3</cx:pt>
          <cx:pt idx="5914">5</cx:pt>
          <cx:pt idx="5915">2</cx:pt>
          <cx:pt idx="5916">4</cx:pt>
          <cx:pt idx="5917">3</cx:pt>
          <cx:pt idx="5918">1</cx:pt>
          <cx:pt idx="5919">4</cx:pt>
          <cx:pt idx="5920">2</cx:pt>
          <cx:pt idx="5921">5</cx:pt>
          <cx:pt idx="5922">1</cx:pt>
          <cx:pt idx="5923">4</cx:pt>
          <cx:pt idx="5924">1</cx:pt>
          <cx:pt idx="5925">4</cx:pt>
          <cx:pt idx="5926">5</cx:pt>
          <cx:pt idx="5927">5</cx:pt>
          <cx:pt idx="5928">2</cx:pt>
          <cx:pt idx="5929">3</cx:pt>
          <cx:pt idx="5930">3</cx:pt>
          <cx:pt idx="5931">3</cx:pt>
          <cx:pt idx="5932">3</cx:pt>
          <cx:pt idx="5933">5</cx:pt>
          <cx:pt idx="5934">3</cx:pt>
          <cx:pt idx="5935">2</cx:pt>
          <cx:pt idx="5936">2</cx:pt>
          <cx:pt idx="5937">3</cx:pt>
          <cx:pt idx="5938">0</cx:pt>
          <cx:pt idx="5939">4</cx:pt>
          <cx:pt idx="5940">5</cx:pt>
          <cx:pt idx="5941">1</cx:pt>
          <cx:pt idx="5942">5</cx:pt>
          <cx:pt idx="5943">0</cx:pt>
          <cx:pt idx="5944">2</cx:pt>
          <cx:pt idx="5945">2</cx:pt>
          <cx:pt idx="5946">4</cx:pt>
          <cx:pt idx="5947">3</cx:pt>
          <cx:pt idx="5948">4</cx:pt>
          <cx:pt idx="5949">1</cx:pt>
          <cx:pt idx="5950">3</cx:pt>
          <cx:pt idx="5951">2</cx:pt>
          <cx:pt idx="5952">5</cx:pt>
          <cx:pt idx="5953">1</cx:pt>
          <cx:pt idx="5954">1</cx:pt>
          <cx:pt idx="5955">2</cx:pt>
          <cx:pt idx="5956">3</cx:pt>
          <cx:pt idx="5957">4</cx:pt>
          <cx:pt idx="5958">1</cx:pt>
          <cx:pt idx="5959">2</cx:pt>
          <cx:pt idx="5960">3</cx:pt>
          <cx:pt idx="5961">1</cx:pt>
          <cx:pt idx="5962">2</cx:pt>
          <cx:pt idx="5963">5</cx:pt>
          <cx:pt idx="5964">4</cx:pt>
          <cx:pt idx="5965">2</cx:pt>
          <cx:pt idx="5966">1</cx:pt>
          <cx:pt idx="5967">2</cx:pt>
          <cx:pt idx="5968">4</cx:pt>
          <cx:pt idx="5969">3</cx:pt>
          <cx:pt idx="5970">3</cx:pt>
          <cx:pt idx="5971">3</cx:pt>
          <cx:pt idx="5972">2</cx:pt>
          <cx:pt idx="5973">4</cx:pt>
          <cx:pt idx="5974">4</cx:pt>
          <cx:pt idx="5975">5</cx:pt>
          <cx:pt idx="5976">3</cx:pt>
          <cx:pt idx="5977">5</cx:pt>
          <cx:pt idx="5978">4</cx:pt>
          <cx:pt idx="5979">1</cx:pt>
          <cx:pt idx="5980">3</cx:pt>
          <cx:pt idx="5981">3</cx:pt>
          <cx:pt idx="5982">4</cx:pt>
          <cx:pt idx="5983">2</cx:pt>
          <cx:pt idx="5984">5</cx:pt>
          <cx:pt idx="5985">1</cx:pt>
          <cx:pt idx="5986">5</cx:pt>
          <cx:pt idx="5987">3</cx:pt>
          <cx:pt idx="5988">1</cx:pt>
          <cx:pt idx="5989">4</cx:pt>
          <cx:pt idx="5990">4</cx:pt>
          <cx:pt idx="5991">4</cx:pt>
          <cx:pt idx="5992">3</cx:pt>
          <cx:pt idx="5993">4</cx:pt>
          <cx:pt idx="5994">2</cx:pt>
          <cx:pt idx="5995">2</cx:pt>
          <cx:pt idx="5996">0</cx:pt>
          <cx:pt idx="5997">3</cx:pt>
          <cx:pt idx="5998">5</cx:pt>
          <cx:pt idx="5999">4</cx:pt>
          <cx:pt idx="6000">0</cx:pt>
          <cx:pt idx="6001">1</cx:pt>
          <cx:pt idx="6002">2</cx:pt>
          <cx:pt idx="6003">2</cx:pt>
          <cx:pt idx="6004">0</cx:pt>
          <cx:pt idx="6005">2</cx:pt>
          <cx:pt idx="6006">5</cx:pt>
          <cx:pt idx="6007">4</cx:pt>
          <cx:pt idx="6008">1</cx:pt>
          <cx:pt idx="6009">2</cx:pt>
          <cx:pt idx="6010">5</cx:pt>
          <cx:pt idx="6011">3</cx:pt>
          <cx:pt idx="6012">1</cx:pt>
          <cx:pt idx="6013">3</cx:pt>
          <cx:pt idx="6014">3</cx:pt>
          <cx:pt idx="6015">3</cx:pt>
          <cx:pt idx="6016">4</cx:pt>
          <cx:pt idx="6017">2</cx:pt>
          <cx:pt idx="6018">2</cx:pt>
          <cx:pt idx="6019">4</cx:pt>
          <cx:pt idx="6020">5</cx:pt>
          <cx:pt idx="6021">2</cx:pt>
          <cx:pt idx="6022">3</cx:pt>
          <cx:pt idx="6023">3</cx:pt>
          <cx:pt idx="6024">4</cx:pt>
          <cx:pt idx="6025">1</cx:pt>
          <cx:pt idx="6026">5</cx:pt>
          <cx:pt idx="6027">3</cx:pt>
          <cx:pt idx="6028">3</cx:pt>
          <cx:pt idx="6029">3</cx:pt>
          <cx:pt idx="6030">5</cx:pt>
          <cx:pt idx="6031">3</cx:pt>
          <cx:pt idx="6032">2</cx:pt>
          <cx:pt idx="6033">4</cx:pt>
          <cx:pt idx="6034">5</cx:pt>
          <cx:pt idx="6035">1</cx:pt>
          <cx:pt idx="6036">2</cx:pt>
          <cx:pt idx="6037">5</cx:pt>
          <cx:pt idx="6038">4</cx:pt>
          <cx:pt idx="6039">3</cx:pt>
          <cx:pt idx="6040">4</cx:pt>
          <cx:pt idx="6041">5</cx:pt>
          <cx:pt idx="6042">3</cx:pt>
          <cx:pt idx="6043">5</cx:pt>
          <cx:pt idx="6044">1</cx:pt>
          <cx:pt idx="6045">3</cx:pt>
          <cx:pt idx="6046">2</cx:pt>
          <cx:pt idx="6047">2</cx:pt>
          <cx:pt idx="6048">2</cx:pt>
          <cx:pt idx="6049">3</cx:pt>
          <cx:pt idx="6050">4</cx:pt>
          <cx:pt idx="6051">3</cx:pt>
          <cx:pt idx="6052">4</cx:pt>
          <cx:pt idx="6053">3</cx:pt>
          <cx:pt idx="6054">4</cx:pt>
          <cx:pt idx="6055">4</cx:pt>
          <cx:pt idx="6056">1</cx:pt>
          <cx:pt idx="6057">0</cx:pt>
          <cx:pt idx="6058">3</cx:pt>
          <cx:pt idx="6059">5</cx:pt>
          <cx:pt idx="6060">1</cx:pt>
          <cx:pt idx="6061">3</cx:pt>
          <cx:pt idx="6062">1</cx:pt>
          <cx:pt idx="6063">2</cx:pt>
          <cx:pt idx="6064">2</cx:pt>
          <cx:pt idx="6065">2</cx:pt>
          <cx:pt idx="6066">4</cx:pt>
          <cx:pt idx="6067">3</cx:pt>
          <cx:pt idx="6068">4</cx:pt>
          <cx:pt idx="6069">1</cx:pt>
          <cx:pt idx="6070">3</cx:pt>
          <cx:pt idx="6071">3</cx:pt>
          <cx:pt idx="6072">3</cx:pt>
          <cx:pt idx="6073">2</cx:pt>
          <cx:pt idx="6074">2</cx:pt>
          <cx:pt idx="6075">2</cx:pt>
          <cx:pt idx="6076">2</cx:pt>
          <cx:pt idx="6077">2</cx:pt>
          <cx:pt idx="6078">1</cx:pt>
          <cx:pt idx="6079">0</cx:pt>
          <cx:pt idx="6080">0</cx:pt>
          <cx:pt idx="6081">3</cx:pt>
          <cx:pt idx="6082">3</cx:pt>
          <cx:pt idx="6083">0</cx:pt>
          <cx:pt idx="6084">3</cx:pt>
          <cx:pt idx="6085">5</cx:pt>
          <cx:pt idx="6086">2</cx:pt>
          <cx:pt idx="6087">3</cx:pt>
          <cx:pt idx="6088">2</cx:pt>
          <cx:pt idx="6089">4</cx:pt>
          <cx:pt idx="6090">5</cx:pt>
          <cx:pt idx="6091">0</cx:pt>
          <cx:pt idx="6092">3</cx:pt>
          <cx:pt idx="6093">5</cx:pt>
          <cx:pt idx="6094">4</cx:pt>
          <cx:pt idx="6095">1</cx:pt>
          <cx:pt idx="6096">2</cx:pt>
          <cx:pt idx="6097">2</cx:pt>
          <cx:pt idx="6098">3</cx:pt>
          <cx:pt idx="6099">2</cx:pt>
          <cx:pt idx="6100">1</cx:pt>
          <cx:pt idx="6101">0</cx:pt>
          <cx:pt idx="6102">5</cx:pt>
          <cx:pt idx="6103">5</cx:pt>
          <cx:pt idx="6104">3</cx:pt>
          <cx:pt idx="6105">2</cx:pt>
          <cx:pt idx="6106">5</cx:pt>
          <cx:pt idx="6107">2</cx:pt>
          <cx:pt idx="6108">1</cx:pt>
          <cx:pt idx="6109">5</cx:pt>
          <cx:pt idx="6110">2</cx:pt>
          <cx:pt idx="6111">4</cx:pt>
          <cx:pt idx="6112">1</cx:pt>
          <cx:pt idx="6113">2</cx:pt>
          <cx:pt idx="6114">2</cx:pt>
          <cx:pt idx="6115">2</cx:pt>
          <cx:pt idx="6116">3</cx:pt>
          <cx:pt idx="6117">3</cx:pt>
          <cx:pt idx="6118">0</cx:pt>
          <cx:pt idx="6119">4</cx:pt>
          <cx:pt idx="6120">3</cx:pt>
          <cx:pt idx="6121">4</cx:pt>
          <cx:pt idx="6122">2</cx:pt>
          <cx:pt idx="6123">5</cx:pt>
          <cx:pt idx="6124">2</cx:pt>
          <cx:pt idx="6125">3</cx:pt>
          <cx:pt idx="6126">2</cx:pt>
          <cx:pt idx="6127">4</cx:pt>
          <cx:pt idx="6128">2</cx:pt>
          <cx:pt idx="6129">1</cx:pt>
          <cx:pt idx="6130">3</cx:pt>
          <cx:pt idx="6131">5</cx:pt>
          <cx:pt idx="6132">5</cx:pt>
          <cx:pt idx="6133">1</cx:pt>
          <cx:pt idx="6134">3</cx:pt>
          <cx:pt idx="6135">3</cx:pt>
          <cx:pt idx="6136">3</cx:pt>
          <cx:pt idx="6137">1</cx:pt>
          <cx:pt idx="6138">1</cx:pt>
          <cx:pt idx="6139">3</cx:pt>
          <cx:pt idx="6140">1</cx:pt>
          <cx:pt idx="6141">3</cx:pt>
          <cx:pt idx="6142">4</cx:pt>
          <cx:pt idx="6143">2</cx:pt>
          <cx:pt idx="6144">4</cx:pt>
          <cx:pt idx="6145">3</cx:pt>
          <cx:pt idx="6146">2</cx:pt>
          <cx:pt idx="6147">2</cx:pt>
          <cx:pt idx="6148">3</cx:pt>
          <cx:pt idx="6149">4</cx:pt>
          <cx:pt idx="6150">2</cx:pt>
          <cx:pt idx="6151">2</cx:pt>
          <cx:pt idx="6152">1</cx:pt>
          <cx:pt idx="6153">3</cx:pt>
          <cx:pt idx="6154">4</cx:pt>
          <cx:pt idx="6155">4</cx:pt>
          <cx:pt idx="6156">2</cx:pt>
          <cx:pt idx="6157">2</cx:pt>
          <cx:pt idx="6158">3</cx:pt>
          <cx:pt idx="6159">2</cx:pt>
          <cx:pt idx="6160">1</cx:pt>
          <cx:pt idx="6161">1</cx:pt>
          <cx:pt idx="6162">2</cx:pt>
          <cx:pt idx="6163">3</cx:pt>
          <cx:pt idx="6164">2</cx:pt>
          <cx:pt idx="6165">3</cx:pt>
          <cx:pt idx="6166">1</cx:pt>
          <cx:pt idx="6167">1</cx:pt>
          <cx:pt idx="6168">2</cx:pt>
          <cx:pt idx="6169">4</cx:pt>
          <cx:pt idx="6170">5</cx:pt>
          <cx:pt idx="6171">3</cx:pt>
          <cx:pt idx="6172">2</cx:pt>
          <cx:pt idx="6173">2</cx:pt>
          <cx:pt idx="6174">1</cx:pt>
          <cx:pt idx="6175">3</cx:pt>
          <cx:pt idx="6176">3</cx:pt>
          <cx:pt idx="6177">3</cx:pt>
          <cx:pt idx="6178">2</cx:pt>
          <cx:pt idx="6179">3</cx:pt>
          <cx:pt idx="6180">2</cx:pt>
          <cx:pt idx="6181">3</cx:pt>
          <cx:pt idx="6182">4</cx:pt>
          <cx:pt idx="6183">3</cx:pt>
          <cx:pt idx="6184">0</cx:pt>
          <cx:pt idx="6185">3</cx:pt>
          <cx:pt idx="6186">3</cx:pt>
          <cx:pt idx="6187">0</cx:pt>
          <cx:pt idx="6188">4</cx:pt>
          <cx:pt idx="6189">1</cx:pt>
          <cx:pt idx="6190">3</cx:pt>
          <cx:pt idx="6191">2</cx:pt>
          <cx:pt idx="6192">1</cx:pt>
          <cx:pt idx="6193">1</cx:pt>
          <cx:pt idx="6194">5</cx:pt>
          <cx:pt idx="6195">5</cx:pt>
          <cx:pt idx="6196">2</cx:pt>
          <cx:pt idx="6197">2</cx:pt>
          <cx:pt idx="6198">5</cx:pt>
          <cx:pt idx="6199">2</cx:pt>
          <cx:pt idx="6200">4</cx:pt>
          <cx:pt idx="6201">4</cx:pt>
          <cx:pt idx="6202">0</cx:pt>
          <cx:pt idx="6203">0</cx:pt>
          <cx:pt idx="6204">5</cx:pt>
          <cx:pt idx="6205">1</cx:pt>
          <cx:pt idx="6206">4</cx:pt>
          <cx:pt idx="6207">3</cx:pt>
          <cx:pt idx="6208">1</cx:pt>
          <cx:pt idx="6209">0</cx:pt>
          <cx:pt idx="6210">2</cx:pt>
          <cx:pt idx="6211">2</cx:pt>
          <cx:pt idx="6212">5</cx:pt>
          <cx:pt idx="6213">5</cx:pt>
          <cx:pt idx="6214">3</cx:pt>
          <cx:pt idx="6215">2</cx:pt>
          <cx:pt idx="6216">4</cx:pt>
          <cx:pt idx="6217">1</cx:pt>
          <cx:pt idx="6218">2</cx:pt>
          <cx:pt idx="6219">1</cx:pt>
          <cx:pt idx="6220">3</cx:pt>
          <cx:pt idx="6221">2</cx:pt>
          <cx:pt idx="6222">5</cx:pt>
          <cx:pt idx="6223">1</cx:pt>
          <cx:pt idx="6224">2</cx:pt>
          <cx:pt idx="6225">5</cx:pt>
          <cx:pt idx="6226">3</cx:pt>
          <cx:pt idx="6227">5</cx:pt>
          <cx:pt idx="6228">1</cx:pt>
          <cx:pt idx="6229">1</cx:pt>
          <cx:pt idx="6230">4</cx:pt>
          <cx:pt idx="6231">2</cx:pt>
          <cx:pt idx="6232">2</cx:pt>
          <cx:pt idx="6233">5</cx:pt>
          <cx:pt idx="6234">5</cx:pt>
          <cx:pt idx="6235">2</cx:pt>
          <cx:pt idx="6236">2</cx:pt>
          <cx:pt idx="6237">3</cx:pt>
          <cx:pt idx="6238">5</cx:pt>
          <cx:pt idx="6239">2</cx:pt>
          <cx:pt idx="6240">4</cx:pt>
          <cx:pt idx="6241">3</cx:pt>
          <cx:pt idx="6242">0</cx:pt>
          <cx:pt idx="6243">3</cx:pt>
          <cx:pt idx="6244">5</cx:pt>
          <cx:pt idx="6245">1</cx:pt>
          <cx:pt idx="6246">3</cx:pt>
          <cx:pt idx="6247">3</cx:pt>
          <cx:pt idx="6248">1</cx:pt>
          <cx:pt idx="6249">4</cx:pt>
          <cx:pt idx="6250">2</cx:pt>
          <cx:pt idx="6251">2</cx:pt>
          <cx:pt idx="6252">2</cx:pt>
          <cx:pt idx="6253">4</cx:pt>
          <cx:pt idx="6254">2</cx:pt>
          <cx:pt idx="6255">2</cx:pt>
          <cx:pt idx="6256">5</cx:pt>
          <cx:pt idx="6257">3</cx:pt>
          <cx:pt idx="6258">4</cx:pt>
          <cx:pt idx="6259">4</cx:pt>
          <cx:pt idx="6260">3</cx:pt>
          <cx:pt idx="6261">2</cx:pt>
          <cx:pt idx="6262">1</cx:pt>
          <cx:pt idx="6263">2</cx:pt>
          <cx:pt idx="6264">2</cx:pt>
          <cx:pt idx="6265">4</cx:pt>
          <cx:pt idx="6266">3</cx:pt>
          <cx:pt idx="6267">2</cx:pt>
          <cx:pt idx="6268">3</cx:pt>
          <cx:pt idx="6269">1</cx:pt>
          <cx:pt idx="6270">4</cx:pt>
          <cx:pt idx="6271">4</cx:pt>
          <cx:pt idx="6272">1</cx:pt>
          <cx:pt idx="6273">5</cx:pt>
          <cx:pt idx="6274">4</cx:pt>
          <cx:pt idx="6275">3</cx:pt>
          <cx:pt idx="6276">2</cx:pt>
          <cx:pt idx="6277">4</cx:pt>
          <cx:pt idx="6278">0</cx:pt>
          <cx:pt idx="6279">2</cx:pt>
          <cx:pt idx="6280">3</cx:pt>
          <cx:pt idx="6281">4</cx:pt>
          <cx:pt idx="6282">4</cx:pt>
          <cx:pt idx="6283">4</cx:pt>
          <cx:pt idx="6284">3</cx:pt>
          <cx:pt idx="6285">2</cx:pt>
          <cx:pt idx="6286">4</cx:pt>
          <cx:pt idx="6287">3</cx:pt>
          <cx:pt idx="6288">4</cx:pt>
          <cx:pt idx="6289">5</cx:pt>
          <cx:pt idx="6290">5</cx:pt>
          <cx:pt idx="6291">4</cx:pt>
          <cx:pt idx="6292">4</cx:pt>
          <cx:pt idx="6293">5</cx:pt>
          <cx:pt idx="6294">2</cx:pt>
          <cx:pt idx="6295">4</cx:pt>
          <cx:pt idx="6296">5</cx:pt>
          <cx:pt idx="6297">3</cx:pt>
          <cx:pt idx="6298">4</cx:pt>
          <cx:pt idx="6299">2</cx:pt>
          <cx:pt idx="6300">2</cx:pt>
          <cx:pt idx="6301">4</cx:pt>
          <cx:pt idx="6302">1</cx:pt>
          <cx:pt idx="6303">3</cx:pt>
          <cx:pt idx="6304">3</cx:pt>
          <cx:pt idx="6305">5</cx:pt>
          <cx:pt idx="6306">4</cx:pt>
          <cx:pt idx="6307">4</cx:pt>
          <cx:pt idx="6308">1</cx:pt>
          <cx:pt idx="6309">4</cx:pt>
          <cx:pt idx="6310">0</cx:pt>
          <cx:pt idx="6311">5</cx:pt>
          <cx:pt idx="6312">5</cx:pt>
          <cx:pt idx="6313">5</cx:pt>
          <cx:pt idx="6314">2</cx:pt>
          <cx:pt idx="6315">3</cx:pt>
          <cx:pt idx="6316">3</cx:pt>
          <cx:pt idx="6317">0</cx:pt>
          <cx:pt idx="6318">5</cx:pt>
          <cx:pt idx="6319">4</cx:pt>
          <cx:pt idx="6320">1</cx:pt>
          <cx:pt idx="6321">3</cx:pt>
          <cx:pt idx="6322">4</cx:pt>
          <cx:pt idx="6323">2</cx:pt>
          <cx:pt idx="6324">5</cx:pt>
          <cx:pt idx="6325">3</cx:pt>
          <cx:pt idx="6326">1</cx:pt>
          <cx:pt idx="6327">2</cx:pt>
          <cx:pt idx="6328">4</cx:pt>
          <cx:pt idx="6329">1</cx:pt>
          <cx:pt idx="6330">5</cx:pt>
          <cx:pt idx="6331">1</cx:pt>
          <cx:pt idx="6332">2</cx:pt>
          <cx:pt idx="6333">5</cx:pt>
          <cx:pt idx="6334">1</cx:pt>
          <cx:pt idx="6335">2</cx:pt>
          <cx:pt idx="6336">0</cx:pt>
          <cx:pt idx="6337">5</cx:pt>
          <cx:pt idx="6338">3</cx:pt>
          <cx:pt idx="6339">5</cx:pt>
          <cx:pt idx="6340">3</cx:pt>
          <cx:pt idx="6341">5</cx:pt>
          <cx:pt idx="6342">4</cx:pt>
          <cx:pt idx="6343">5</cx:pt>
          <cx:pt idx="6344">1</cx:pt>
          <cx:pt idx="6345">2</cx:pt>
          <cx:pt idx="6346">5</cx:pt>
          <cx:pt idx="6347">3</cx:pt>
          <cx:pt idx="6348">5</cx:pt>
          <cx:pt idx="6349">2</cx:pt>
          <cx:pt idx="6350">3</cx:pt>
          <cx:pt idx="6351">1</cx:pt>
          <cx:pt idx="6352">2</cx:pt>
          <cx:pt idx="6353">1</cx:pt>
          <cx:pt idx="6354">2</cx:pt>
          <cx:pt idx="6355">1</cx:pt>
          <cx:pt idx="6356">1</cx:pt>
          <cx:pt idx="6357">2</cx:pt>
          <cx:pt idx="6358">5</cx:pt>
          <cx:pt idx="6359">1</cx:pt>
          <cx:pt idx="6360">5</cx:pt>
          <cx:pt idx="6361">2</cx:pt>
          <cx:pt idx="6362">3</cx:pt>
          <cx:pt idx="6363">1</cx:pt>
          <cx:pt idx="6364">4</cx:pt>
          <cx:pt idx="6365">4</cx:pt>
          <cx:pt idx="6366">3</cx:pt>
          <cx:pt idx="6367">4</cx:pt>
          <cx:pt idx="6368">3</cx:pt>
          <cx:pt idx="6369">3</cx:pt>
          <cx:pt idx="6370">5</cx:pt>
          <cx:pt idx="6371">0</cx:pt>
          <cx:pt idx="6372">3</cx:pt>
          <cx:pt idx="6373">4</cx:pt>
          <cx:pt idx="6374">3</cx:pt>
          <cx:pt idx="6375">5</cx:pt>
          <cx:pt idx="6376">1</cx:pt>
          <cx:pt idx="6377">1</cx:pt>
          <cx:pt idx="6378">3</cx:pt>
          <cx:pt idx="6379">1</cx:pt>
          <cx:pt idx="6380">3</cx:pt>
          <cx:pt idx="6381">5</cx:pt>
          <cx:pt idx="6382">1</cx:pt>
          <cx:pt idx="6383">1</cx:pt>
          <cx:pt idx="6384">3</cx:pt>
          <cx:pt idx="6385">1</cx:pt>
          <cx:pt idx="6386">1</cx:pt>
          <cx:pt idx="6387">5</cx:pt>
          <cx:pt idx="6388">1</cx:pt>
          <cx:pt idx="6389">5</cx:pt>
          <cx:pt idx="6390">3</cx:pt>
          <cx:pt idx="6391">4</cx:pt>
          <cx:pt idx="6392">3</cx:pt>
          <cx:pt idx="6393">5</cx:pt>
          <cx:pt idx="6394">1</cx:pt>
          <cx:pt idx="6395">4</cx:pt>
          <cx:pt idx="6396">1</cx:pt>
          <cx:pt idx="6397">4</cx:pt>
          <cx:pt idx="6398">1</cx:pt>
          <cx:pt idx="6399">3</cx:pt>
          <cx:pt idx="6400">1</cx:pt>
          <cx:pt idx="6401">3</cx:pt>
          <cx:pt idx="6402">3</cx:pt>
          <cx:pt idx="6403">2</cx:pt>
          <cx:pt idx="6404">0</cx:pt>
          <cx:pt idx="6405">0</cx:pt>
          <cx:pt idx="6406">3</cx:pt>
          <cx:pt idx="6407">5</cx:pt>
          <cx:pt idx="6408">1</cx:pt>
          <cx:pt idx="6409">5</cx:pt>
          <cx:pt idx="6410">4</cx:pt>
          <cx:pt idx="6411">1</cx:pt>
          <cx:pt idx="6412">2</cx:pt>
          <cx:pt idx="6413">3</cx:pt>
          <cx:pt idx="6414">2</cx:pt>
          <cx:pt idx="6415">1</cx:pt>
          <cx:pt idx="6416">2</cx:pt>
          <cx:pt idx="6417">5</cx:pt>
          <cx:pt idx="6418">3</cx:pt>
          <cx:pt idx="6419">2</cx:pt>
          <cx:pt idx="6420">1</cx:pt>
          <cx:pt idx="6421">1</cx:pt>
          <cx:pt idx="6422">1</cx:pt>
          <cx:pt idx="6423">4</cx:pt>
          <cx:pt idx="6424">4</cx:pt>
          <cx:pt idx="6425">5</cx:pt>
          <cx:pt idx="6426">5</cx:pt>
          <cx:pt idx="6427">5</cx:pt>
          <cx:pt idx="6428">4</cx:pt>
          <cx:pt idx="6429">2</cx:pt>
          <cx:pt idx="6430">2</cx:pt>
          <cx:pt idx="6431">2</cx:pt>
          <cx:pt idx="6432">5</cx:pt>
          <cx:pt idx="6433">3</cx:pt>
          <cx:pt idx="6434">5</cx:pt>
          <cx:pt idx="6435">3</cx:pt>
          <cx:pt idx="6436">5</cx:pt>
          <cx:pt idx="6437">2</cx:pt>
          <cx:pt idx="6438">3</cx:pt>
          <cx:pt idx="6439">4</cx:pt>
          <cx:pt idx="6440">3</cx:pt>
          <cx:pt idx="6441">3</cx:pt>
          <cx:pt idx="6442">2</cx:pt>
          <cx:pt idx="6443">4</cx:pt>
          <cx:pt idx="6444">2</cx:pt>
          <cx:pt idx="6445">3</cx:pt>
          <cx:pt idx="6446">2</cx:pt>
          <cx:pt idx="6447">5</cx:pt>
          <cx:pt idx="6448">1</cx:pt>
          <cx:pt idx="6449">3</cx:pt>
          <cx:pt idx="6450">2</cx:pt>
          <cx:pt idx="6451">1</cx:pt>
          <cx:pt idx="6452">3</cx:pt>
          <cx:pt idx="6453">3</cx:pt>
          <cx:pt idx="6454">3</cx:pt>
          <cx:pt idx="6455">1</cx:pt>
          <cx:pt idx="6456">5</cx:pt>
          <cx:pt idx="6457">3</cx:pt>
          <cx:pt idx="6458">4</cx:pt>
          <cx:pt idx="6459">5</cx:pt>
          <cx:pt idx="6460">3</cx:pt>
          <cx:pt idx="6461">3</cx:pt>
          <cx:pt idx="6462">3</cx:pt>
          <cx:pt idx="6463">0</cx:pt>
          <cx:pt idx="6464">2</cx:pt>
          <cx:pt idx="6465">2</cx:pt>
          <cx:pt idx="6466">2</cx:pt>
          <cx:pt idx="6467">1</cx:pt>
          <cx:pt idx="6468">2</cx:pt>
          <cx:pt idx="6469">1</cx:pt>
          <cx:pt idx="6470">4</cx:pt>
          <cx:pt idx="6471">4</cx:pt>
          <cx:pt idx="6472">3</cx:pt>
          <cx:pt idx="6473">5</cx:pt>
          <cx:pt idx="6474">5</cx:pt>
          <cx:pt idx="6475">1</cx:pt>
          <cx:pt idx="6476">3</cx:pt>
          <cx:pt idx="6477">2</cx:pt>
          <cx:pt idx="6478">4</cx:pt>
          <cx:pt idx="6479">2</cx:pt>
          <cx:pt idx="6480">3</cx:pt>
          <cx:pt idx="6481">2</cx:pt>
          <cx:pt idx="6482">4</cx:pt>
          <cx:pt idx="6483">3</cx:pt>
          <cx:pt idx="6484">2</cx:pt>
          <cx:pt idx="6485">5</cx:pt>
          <cx:pt idx="6486">5</cx:pt>
          <cx:pt idx="6487">2</cx:pt>
          <cx:pt idx="6488">5</cx:pt>
          <cx:pt idx="6489">2</cx:pt>
          <cx:pt idx="6490">4</cx:pt>
          <cx:pt idx="6491">4</cx:pt>
          <cx:pt idx="6492">2</cx:pt>
          <cx:pt idx="6493">4</cx:pt>
          <cx:pt idx="6494">1</cx:pt>
          <cx:pt idx="6495">2</cx:pt>
          <cx:pt idx="6496">4</cx:pt>
          <cx:pt idx="6497">3</cx:pt>
          <cx:pt idx="6498">0</cx:pt>
          <cx:pt idx="6499">5</cx:pt>
          <cx:pt idx="6500">2</cx:pt>
          <cx:pt idx="6501">5</cx:pt>
          <cx:pt idx="6502">2</cx:pt>
          <cx:pt idx="6503">1</cx:pt>
          <cx:pt idx="6504">1</cx:pt>
          <cx:pt idx="6505">3</cx:pt>
          <cx:pt idx="6506">1</cx:pt>
          <cx:pt idx="6507">0</cx:pt>
          <cx:pt idx="6508">1</cx:pt>
          <cx:pt idx="6509">5</cx:pt>
          <cx:pt idx="6510">4</cx:pt>
          <cx:pt idx="6511">3</cx:pt>
          <cx:pt idx="6512">3</cx:pt>
          <cx:pt idx="6513">5</cx:pt>
          <cx:pt idx="6514">4</cx:pt>
          <cx:pt idx="6515">1</cx:pt>
          <cx:pt idx="6516">1</cx:pt>
          <cx:pt idx="6517">3</cx:pt>
          <cx:pt idx="6518">2</cx:pt>
          <cx:pt idx="6519">1</cx:pt>
          <cx:pt idx="6520">2</cx:pt>
          <cx:pt idx="6521">2</cx:pt>
          <cx:pt idx="6522">2</cx:pt>
          <cx:pt idx="6523">5</cx:pt>
          <cx:pt idx="6524">2</cx:pt>
          <cx:pt idx="6525">5</cx:pt>
          <cx:pt idx="6526">1</cx:pt>
          <cx:pt idx="6527">3</cx:pt>
          <cx:pt idx="6528">2</cx:pt>
          <cx:pt idx="6529">2</cx:pt>
          <cx:pt idx="6530">4</cx:pt>
          <cx:pt idx="6531">3</cx:pt>
          <cx:pt idx="6532">1</cx:pt>
          <cx:pt idx="6533">1</cx:pt>
          <cx:pt idx="6534">4</cx:pt>
          <cx:pt idx="6535">4</cx:pt>
          <cx:pt idx="6536">3</cx:pt>
          <cx:pt idx="6537">2</cx:pt>
          <cx:pt idx="6538">2</cx:pt>
          <cx:pt idx="6539">4</cx:pt>
          <cx:pt idx="6540">1</cx:pt>
          <cx:pt idx="6541">1</cx:pt>
          <cx:pt idx="6542">3</cx:pt>
          <cx:pt idx="6543">4</cx:pt>
          <cx:pt idx="6544">3</cx:pt>
          <cx:pt idx="6545">3</cx:pt>
          <cx:pt idx="6546">2</cx:pt>
          <cx:pt idx="6547">1</cx:pt>
          <cx:pt idx="6548">3</cx:pt>
          <cx:pt idx="6549">3</cx:pt>
          <cx:pt idx="6550">2</cx:pt>
          <cx:pt idx="6551">4</cx:pt>
          <cx:pt idx="6552">0</cx:pt>
          <cx:pt idx="6553">5</cx:pt>
          <cx:pt idx="6554">2</cx:pt>
          <cx:pt idx="6555">4</cx:pt>
          <cx:pt idx="6556">1</cx:pt>
          <cx:pt idx="6557">3</cx:pt>
          <cx:pt idx="6558">4</cx:pt>
          <cx:pt idx="6559">3</cx:pt>
          <cx:pt idx="6560">1</cx:pt>
          <cx:pt idx="6561">2</cx:pt>
          <cx:pt idx="6562">1</cx:pt>
          <cx:pt idx="6563">3</cx:pt>
          <cx:pt idx="6564">3</cx:pt>
          <cx:pt idx="6565">3</cx:pt>
          <cx:pt idx="6566">4</cx:pt>
          <cx:pt idx="6567">3</cx:pt>
          <cx:pt idx="6568">4</cx:pt>
          <cx:pt idx="6569">3</cx:pt>
          <cx:pt idx="6570">1</cx:pt>
          <cx:pt idx="6571">3</cx:pt>
          <cx:pt idx="6572">5</cx:pt>
          <cx:pt idx="6573">3</cx:pt>
          <cx:pt idx="6574">3</cx:pt>
          <cx:pt idx="6575">3</cx:pt>
          <cx:pt idx="6576">4</cx:pt>
          <cx:pt idx="6577">2</cx:pt>
          <cx:pt idx="6578">3</cx:pt>
          <cx:pt idx="6579">3</cx:pt>
          <cx:pt idx="6580">5</cx:pt>
          <cx:pt idx="6581">3</cx:pt>
          <cx:pt idx="6582">5</cx:pt>
          <cx:pt idx="6583">3</cx:pt>
          <cx:pt idx="6584">5</cx:pt>
          <cx:pt idx="6585">3</cx:pt>
          <cx:pt idx="6586">3</cx:pt>
          <cx:pt idx="6587">0</cx:pt>
          <cx:pt idx="6588">5</cx:pt>
          <cx:pt idx="6589">3</cx:pt>
          <cx:pt idx="6590">1</cx:pt>
          <cx:pt idx="6591">4</cx:pt>
          <cx:pt idx="6592">3</cx:pt>
          <cx:pt idx="6593">4</cx:pt>
          <cx:pt idx="6594">3</cx:pt>
          <cx:pt idx="6595">1</cx:pt>
          <cx:pt idx="6596">2</cx:pt>
          <cx:pt idx="6597">2</cx:pt>
          <cx:pt idx="6598">3</cx:pt>
          <cx:pt idx="6599">4</cx:pt>
          <cx:pt idx="6600">1</cx:pt>
          <cx:pt idx="6601">1</cx:pt>
          <cx:pt idx="6602">2</cx:pt>
          <cx:pt idx="6603">4</cx:pt>
          <cx:pt idx="6604">5</cx:pt>
          <cx:pt idx="6605">2</cx:pt>
          <cx:pt idx="6606">1</cx:pt>
          <cx:pt idx="6607">3</cx:pt>
          <cx:pt idx="6608">0</cx:pt>
          <cx:pt idx="6609">4</cx:pt>
          <cx:pt idx="6610">3</cx:pt>
          <cx:pt idx="6611">5</cx:pt>
          <cx:pt idx="6612">1</cx:pt>
          <cx:pt idx="6613">3</cx:pt>
          <cx:pt idx="6614">3</cx:pt>
          <cx:pt idx="6615">2</cx:pt>
          <cx:pt idx="6616">2</cx:pt>
          <cx:pt idx="6617">3</cx:pt>
          <cx:pt idx="6618">5</cx:pt>
          <cx:pt idx="6619">3</cx:pt>
          <cx:pt idx="6620">0</cx:pt>
          <cx:pt idx="6621">1</cx:pt>
          <cx:pt idx="6622">4</cx:pt>
          <cx:pt idx="6623">0</cx:pt>
          <cx:pt idx="6624">0</cx:pt>
          <cx:pt idx="6625">4</cx:pt>
          <cx:pt idx="6626">3</cx:pt>
          <cx:pt idx="6627">1</cx:pt>
          <cx:pt idx="6628">3</cx:pt>
          <cx:pt idx="6629">2</cx:pt>
          <cx:pt idx="6630">1</cx:pt>
          <cx:pt idx="6631">4</cx:pt>
          <cx:pt idx="6632">4</cx:pt>
          <cx:pt idx="6633">5</cx:pt>
          <cx:pt idx="6634">2</cx:pt>
          <cx:pt idx="6635">3</cx:pt>
          <cx:pt idx="6636">1</cx:pt>
          <cx:pt idx="6637">3</cx:pt>
          <cx:pt idx="6638">3</cx:pt>
          <cx:pt idx="6639">3</cx:pt>
          <cx:pt idx="6640">1</cx:pt>
          <cx:pt idx="6641">2</cx:pt>
          <cx:pt idx="6642">1</cx:pt>
          <cx:pt idx="6643">2</cx:pt>
          <cx:pt idx="6644">4</cx:pt>
          <cx:pt idx="6645">1</cx:pt>
          <cx:pt idx="6646">2</cx:pt>
          <cx:pt idx="6647">2</cx:pt>
          <cx:pt idx="6648">3</cx:pt>
          <cx:pt idx="6649">1</cx:pt>
          <cx:pt idx="6650">4</cx:pt>
          <cx:pt idx="6651">3</cx:pt>
          <cx:pt idx="6652">5</cx:pt>
          <cx:pt idx="6653">4</cx:pt>
          <cx:pt idx="6654">3</cx:pt>
          <cx:pt idx="6655">1</cx:pt>
          <cx:pt idx="6656">4</cx:pt>
          <cx:pt idx="6657">3</cx:pt>
          <cx:pt idx="6658">1</cx:pt>
          <cx:pt idx="6659">1</cx:pt>
          <cx:pt idx="6660">1</cx:pt>
          <cx:pt idx="6661">2</cx:pt>
          <cx:pt idx="6662">1</cx:pt>
          <cx:pt idx="6663">2</cx:pt>
          <cx:pt idx="6664">4</cx:pt>
          <cx:pt idx="6665">1</cx:pt>
          <cx:pt idx="6666">1</cx:pt>
          <cx:pt idx="6667">4</cx:pt>
          <cx:pt idx="6668">2</cx:pt>
          <cx:pt idx="6669">2</cx:pt>
          <cx:pt idx="6670">3</cx:pt>
          <cx:pt idx="6671">1</cx:pt>
          <cx:pt idx="6672">1</cx:pt>
          <cx:pt idx="6673">3</cx:pt>
          <cx:pt idx="6674">1</cx:pt>
          <cx:pt idx="6675">5</cx:pt>
          <cx:pt idx="6676">1</cx:pt>
          <cx:pt idx="6677">3</cx:pt>
          <cx:pt idx="6678">3</cx:pt>
          <cx:pt idx="6679">4</cx:pt>
          <cx:pt idx="6680">4</cx:pt>
          <cx:pt idx="6681">4</cx:pt>
          <cx:pt idx="6682">1</cx:pt>
          <cx:pt idx="6683">3</cx:pt>
          <cx:pt idx="6684">2</cx:pt>
          <cx:pt idx="6685">4</cx:pt>
          <cx:pt idx="6686">3</cx:pt>
          <cx:pt idx="6687">2</cx:pt>
          <cx:pt idx="6688">3</cx:pt>
          <cx:pt idx="6689">3</cx:pt>
          <cx:pt idx="6690">1</cx:pt>
          <cx:pt idx="6691">1</cx:pt>
          <cx:pt idx="6692">3</cx:pt>
          <cx:pt idx="6693">4</cx:pt>
          <cx:pt idx="6694">5</cx:pt>
          <cx:pt idx="6695">4</cx:pt>
          <cx:pt idx="6696">1</cx:pt>
          <cx:pt idx="6697">3</cx:pt>
          <cx:pt idx="6698">3</cx:pt>
          <cx:pt idx="6699">4</cx:pt>
          <cx:pt idx="6700">5</cx:pt>
          <cx:pt idx="6701">4</cx:pt>
          <cx:pt idx="6702">4</cx:pt>
          <cx:pt idx="6703">2</cx:pt>
          <cx:pt idx="6704">4</cx:pt>
          <cx:pt idx="6705">3</cx:pt>
          <cx:pt idx="6706">4</cx:pt>
          <cx:pt idx="6707">2</cx:pt>
          <cx:pt idx="6708">1</cx:pt>
          <cx:pt idx="6709">2</cx:pt>
          <cx:pt idx="6710">5</cx:pt>
          <cx:pt idx="6711">3</cx:pt>
          <cx:pt idx="6712">2</cx:pt>
          <cx:pt idx="6713">5</cx:pt>
          <cx:pt idx="6714">2</cx:pt>
          <cx:pt idx="6715">3</cx:pt>
          <cx:pt idx="6716">1</cx:pt>
          <cx:pt idx="6717">1</cx:pt>
          <cx:pt idx="6718">5</cx:pt>
          <cx:pt idx="6719">5</cx:pt>
          <cx:pt idx="6720">3</cx:pt>
          <cx:pt idx="6721">2</cx:pt>
          <cx:pt idx="6722">4</cx:pt>
          <cx:pt idx="6723">0</cx:pt>
          <cx:pt idx="6724">3</cx:pt>
          <cx:pt idx="6725">4</cx:pt>
          <cx:pt idx="6726">1</cx:pt>
          <cx:pt idx="6727">1</cx:pt>
          <cx:pt idx="6728">1</cx:pt>
          <cx:pt idx="6729">5</cx:pt>
          <cx:pt idx="6730">2</cx:pt>
          <cx:pt idx="6731">5</cx:pt>
          <cx:pt idx="6732">3</cx:pt>
          <cx:pt idx="6733">2</cx:pt>
          <cx:pt idx="6734">3</cx:pt>
          <cx:pt idx="6735">3</cx:pt>
          <cx:pt idx="6736">0</cx:pt>
          <cx:pt idx="6737">1</cx:pt>
          <cx:pt idx="6738">4</cx:pt>
          <cx:pt idx="6739">5</cx:pt>
          <cx:pt idx="6740">5</cx:pt>
          <cx:pt idx="6741">3</cx:pt>
          <cx:pt idx="6742">3</cx:pt>
          <cx:pt idx="6743">5</cx:pt>
          <cx:pt idx="6744">2</cx:pt>
          <cx:pt idx="6745">2</cx:pt>
          <cx:pt idx="6746">2</cx:pt>
          <cx:pt idx="6747">4</cx:pt>
          <cx:pt idx="6748">4</cx:pt>
          <cx:pt idx="6749">5</cx:pt>
          <cx:pt idx="6750">1</cx:pt>
          <cx:pt idx="6751">2</cx:pt>
          <cx:pt idx="6752">1</cx:pt>
          <cx:pt idx="6753">1</cx:pt>
          <cx:pt idx="6754">1</cx:pt>
          <cx:pt idx="6755">1</cx:pt>
          <cx:pt idx="6756">1</cx:pt>
          <cx:pt idx="6757">2</cx:pt>
          <cx:pt idx="6758">1</cx:pt>
          <cx:pt idx="6759">3</cx:pt>
          <cx:pt idx="6760">4</cx:pt>
          <cx:pt idx="6761">2</cx:pt>
          <cx:pt idx="6762">2</cx:pt>
          <cx:pt idx="6763">1</cx:pt>
          <cx:pt idx="6764">1</cx:pt>
          <cx:pt idx="6765">4</cx:pt>
          <cx:pt idx="6766">5</cx:pt>
          <cx:pt idx="6767">2</cx:pt>
          <cx:pt idx="6768">1</cx:pt>
          <cx:pt idx="6769">4</cx:pt>
          <cx:pt idx="6770">3</cx:pt>
          <cx:pt idx="6771">1</cx:pt>
          <cx:pt idx="6772">5</cx:pt>
          <cx:pt idx="6773">5</cx:pt>
          <cx:pt idx="6774">4</cx:pt>
          <cx:pt idx="6775">3</cx:pt>
          <cx:pt idx="6776">3</cx:pt>
          <cx:pt idx="6777">1</cx:pt>
          <cx:pt idx="6778">1</cx:pt>
          <cx:pt idx="6779">3</cx:pt>
          <cx:pt idx="6780">2</cx:pt>
          <cx:pt idx="6781">5</cx:pt>
          <cx:pt idx="6782">3</cx:pt>
          <cx:pt idx="6783">5</cx:pt>
          <cx:pt idx="6784">2</cx:pt>
          <cx:pt idx="6785">0</cx:pt>
          <cx:pt idx="6786">3</cx:pt>
          <cx:pt idx="6787">4</cx:pt>
          <cx:pt idx="6788">3</cx:pt>
          <cx:pt idx="6789">4</cx:pt>
          <cx:pt idx="6790">5</cx:pt>
          <cx:pt idx="6791">2</cx:pt>
          <cx:pt idx="6792">5</cx:pt>
          <cx:pt idx="6793">1</cx:pt>
          <cx:pt idx="6794">2</cx:pt>
          <cx:pt idx="6795">3</cx:pt>
          <cx:pt idx="6796">5</cx:pt>
          <cx:pt idx="6797">4</cx:pt>
          <cx:pt idx="6798">4</cx:pt>
          <cx:pt idx="6799">3</cx:pt>
          <cx:pt idx="6800">4</cx:pt>
          <cx:pt idx="6801">3</cx:pt>
          <cx:pt idx="6802">1</cx:pt>
          <cx:pt idx="6803">2</cx:pt>
          <cx:pt idx="6804">3</cx:pt>
          <cx:pt idx="6805">1</cx:pt>
          <cx:pt idx="6806">1</cx:pt>
          <cx:pt idx="6807">3</cx:pt>
          <cx:pt idx="6808">4</cx:pt>
          <cx:pt idx="6809">0</cx:pt>
          <cx:pt idx="6810">3</cx:pt>
          <cx:pt idx="6811">2</cx:pt>
          <cx:pt idx="6812">3</cx:pt>
          <cx:pt idx="6813">4</cx:pt>
          <cx:pt idx="6814">5</cx:pt>
          <cx:pt idx="6815">3</cx:pt>
          <cx:pt idx="6816">5</cx:pt>
          <cx:pt idx="6817">2</cx:pt>
          <cx:pt idx="6818">2</cx:pt>
          <cx:pt idx="6819">3</cx:pt>
          <cx:pt idx="6820">3</cx:pt>
          <cx:pt idx="6821">5</cx:pt>
          <cx:pt idx="6822">3</cx:pt>
          <cx:pt idx="6823">4</cx:pt>
          <cx:pt idx="6824">5</cx:pt>
          <cx:pt idx="6825">4</cx:pt>
          <cx:pt idx="6826">1</cx:pt>
          <cx:pt idx="6827">4</cx:pt>
          <cx:pt idx="6828">3</cx:pt>
          <cx:pt idx="6829">4</cx:pt>
          <cx:pt idx="6830">4</cx:pt>
          <cx:pt idx="6831">1</cx:pt>
          <cx:pt idx="6832">1</cx:pt>
          <cx:pt idx="6833">2</cx:pt>
          <cx:pt idx="6834">2</cx:pt>
          <cx:pt idx="6835">4</cx:pt>
          <cx:pt idx="6836">2</cx:pt>
          <cx:pt idx="6837">4</cx:pt>
          <cx:pt idx="6838">1</cx:pt>
          <cx:pt idx="6839">1</cx:pt>
          <cx:pt idx="6840">5</cx:pt>
          <cx:pt idx="6841">1</cx:pt>
          <cx:pt idx="6842">3</cx:pt>
          <cx:pt idx="6843">4</cx:pt>
          <cx:pt idx="6844">3</cx:pt>
          <cx:pt idx="6845">2</cx:pt>
          <cx:pt idx="6846">1</cx:pt>
          <cx:pt idx="6847">1</cx:pt>
          <cx:pt idx="6848">3</cx:pt>
          <cx:pt idx="6849">2</cx:pt>
          <cx:pt idx="6850">2</cx:pt>
          <cx:pt idx="6851">4</cx:pt>
          <cx:pt idx="6852">2</cx:pt>
          <cx:pt idx="6853">3</cx:pt>
          <cx:pt idx="6854">5</cx:pt>
          <cx:pt idx="6855">2</cx:pt>
          <cx:pt idx="6856">3</cx:pt>
          <cx:pt idx="6857">3</cx:pt>
          <cx:pt idx="6858">4</cx:pt>
          <cx:pt idx="6859">0</cx:pt>
          <cx:pt idx="6860">1</cx:pt>
          <cx:pt idx="6861">2</cx:pt>
          <cx:pt idx="6862">1</cx:pt>
          <cx:pt idx="6863">3</cx:pt>
          <cx:pt idx="6864">2</cx:pt>
          <cx:pt idx="6865">1</cx:pt>
          <cx:pt idx="6866">5</cx:pt>
          <cx:pt idx="6867">5</cx:pt>
          <cx:pt idx="6868">2</cx:pt>
          <cx:pt idx="6869">3</cx:pt>
          <cx:pt idx="6870">5</cx:pt>
          <cx:pt idx="6871">1</cx:pt>
          <cx:pt idx="6872">1</cx:pt>
          <cx:pt idx="6873">3</cx:pt>
          <cx:pt idx="6874">2</cx:pt>
          <cx:pt idx="6875">2</cx:pt>
          <cx:pt idx="6876">3</cx:pt>
          <cx:pt idx="6877">3</cx:pt>
          <cx:pt idx="6878">1</cx:pt>
          <cx:pt idx="6879">2</cx:pt>
          <cx:pt idx="6880">3</cx:pt>
          <cx:pt idx="6881">3</cx:pt>
          <cx:pt idx="6882">2</cx:pt>
          <cx:pt idx="6883">3</cx:pt>
          <cx:pt idx="6884">5</cx:pt>
          <cx:pt idx="6885">2</cx:pt>
          <cx:pt idx="6886">2</cx:pt>
          <cx:pt idx="6887">4</cx:pt>
          <cx:pt idx="6888">0</cx:pt>
          <cx:pt idx="6889">5</cx:pt>
          <cx:pt idx="6890">3</cx:pt>
          <cx:pt idx="6891">2</cx:pt>
          <cx:pt idx="6892">1</cx:pt>
          <cx:pt idx="6893">4</cx:pt>
          <cx:pt idx="6894">2</cx:pt>
          <cx:pt idx="6895">4</cx:pt>
          <cx:pt idx="6896">2</cx:pt>
          <cx:pt idx="6897">3</cx:pt>
          <cx:pt idx="6898">3</cx:pt>
          <cx:pt idx="6899">4</cx:pt>
          <cx:pt idx="6900">2</cx:pt>
          <cx:pt idx="6901">3</cx:pt>
          <cx:pt idx="6902">3</cx:pt>
          <cx:pt idx="6903">1</cx:pt>
          <cx:pt idx="6904">4</cx:pt>
          <cx:pt idx="6905">1</cx:pt>
          <cx:pt idx="6906">2</cx:pt>
          <cx:pt idx="6907">5</cx:pt>
          <cx:pt idx="6908">3</cx:pt>
          <cx:pt idx="6909">4</cx:pt>
          <cx:pt idx="6910">3</cx:pt>
          <cx:pt idx="6911">3</cx:pt>
          <cx:pt idx="6912">4</cx:pt>
          <cx:pt idx="6913">2</cx:pt>
          <cx:pt idx="6914">1</cx:pt>
          <cx:pt idx="6915">1</cx:pt>
          <cx:pt idx="6916">3</cx:pt>
          <cx:pt idx="6917">3</cx:pt>
          <cx:pt idx="6918">3</cx:pt>
          <cx:pt idx="6919">2</cx:pt>
          <cx:pt idx="6920">4</cx:pt>
          <cx:pt idx="6921">4</cx:pt>
          <cx:pt idx="6922">5</cx:pt>
          <cx:pt idx="6923">5</cx:pt>
          <cx:pt idx="6924">1</cx:pt>
          <cx:pt idx="6925">4</cx:pt>
          <cx:pt idx="6926">1</cx:pt>
          <cx:pt idx="6927">4</cx:pt>
          <cx:pt idx="6928">2</cx:pt>
          <cx:pt idx="6929">3</cx:pt>
          <cx:pt idx="6930">3</cx:pt>
          <cx:pt idx="6931">4</cx:pt>
          <cx:pt idx="6932">4</cx:pt>
          <cx:pt idx="6933">5</cx:pt>
          <cx:pt idx="6934">5</cx:pt>
          <cx:pt idx="6935">2</cx:pt>
          <cx:pt idx="6936">3</cx:pt>
          <cx:pt idx="6937">3</cx:pt>
          <cx:pt idx="6938">1</cx:pt>
          <cx:pt idx="6939">2</cx:pt>
          <cx:pt idx="6940">2</cx:pt>
          <cx:pt idx="6941">1</cx:pt>
          <cx:pt idx="6942">2</cx:pt>
          <cx:pt idx="6943">4</cx:pt>
          <cx:pt idx="6944">3</cx:pt>
          <cx:pt idx="6945">3</cx:pt>
          <cx:pt idx="6946">0</cx:pt>
          <cx:pt idx="6947">1</cx:pt>
          <cx:pt idx="6948">2</cx:pt>
          <cx:pt idx="6949">3</cx:pt>
          <cx:pt idx="6950">5</cx:pt>
          <cx:pt idx="6951">1</cx:pt>
          <cx:pt idx="6952">2</cx:pt>
          <cx:pt idx="6953">2</cx:pt>
          <cx:pt idx="6954">1</cx:pt>
          <cx:pt idx="6955">1</cx:pt>
          <cx:pt idx="6956">2</cx:pt>
          <cx:pt idx="6957">2</cx:pt>
          <cx:pt idx="6958">3</cx:pt>
          <cx:pt idx="6959">2</cx:pt>
          <cx:pt idx="6960">1</cx:pt>
          <cx:pt idx="6961">3</cx:pt>
          <cx:pt idx="6962">2</cx:pt>
          <cx:pt idx="6963">2</cx:pt>
          <cx:pt idx="6964">1</cx:pt>
          <cx:pt idx="6965">2</cx:pt>
          <cx:pt idx="6966">4</cx:pt>
          <cx:pt idx="6967">3</cx:pt>
          <cx:pt idx="6968">1</cx:pt>
          <cx:pt idx="6969">1</cx:pt>
          <cx:pt idx="6970">2</cx:pt>
          <cx:pt idx="6971">5</cx:pt>
          <cx:pt idx="6972">4</cx:pt>
          <cx:pt idx="6973">5</cx:pt>
          <cx:pt idx="6974">0</cx:pt>
          <cx:pt idx="6975">3</cx:pt>
          <cx:pt idx="6976">5</cx:pt>
          <cx:pt idx="6977">0</cx:pt>
          <cx:pt idx="6978">3</cx:pt>
          <cx:pt idx="6979">5</cx:pt>
          <cx:pt idx="6980">3</cx:pt>
          <cx:pt idx="6981">3</cx:pt>
          <cx:pt idx="6982">1</cx:pt>
          <cx:pt idx="6983">3</cx:pt>
          <cx:pt idx="6984">4</cx:pt>
          <cx:pt idx="6985">1</cx:pt>
          <cx:pt idx="6986">3</cx:pt>
          <cx:pt idx="6987">4</cx:pt>
          <cx:pt idx="6988">4</cx:pt>
          <cx:pt idx="6989">2</cx:pt>
          <cx:pt idx="6990">1</cx:pt>
          <cx:pt idx="6991">2</cx:pt>
          <cx:pt idx="6992">3</cx:pt>
          <cx:pt idx="6993">5</cx:pt>
          <cx:pt idx="6994">5</cx:pt>
          <cx:pt idx="6995">3</cx:pt>
          <cx:pt idx="6996">2</cx:pt>
          <cx:pt idx="6997">1</cx:pt>
          <cx:pt idx="6998">2</cx:pt>
          <cx:pt idx="6999">3</cx:pt>
          <cx:pt idx="7000">4</cx:pt>
          <cx:pt idx="7001">2</cx:pt>
          <cx:pt idx="7002">4</cx:pt>
          <cx:pt idx="7003">1</cx:pt>
          <cx:pt idx="7004">2</cx:pt>
          <cx:pt idx="7005">4</cx:pt>
          <cx:pt idx="7006">4</cx:pt>
          <cx:pt idx="7007">5</cx:pt>
          <cx:pt idx="7008">4</cx:pt>
          <cx:pt idx="7009">2</cx:pt>
          <cx:pt idx="7010">5</cx:pt>
          <cx:pt idx="7011">2</cx:pt>
          <cx:pt idx="7012">0</cx:pt>
          <cx:pt idx="7013">2</cx:pt>
          <cx:pt idx="7014">1</cx:pt>
          <cx:pt idx="7015">4</cx:pt>
          <cx:pt idx="7016">1</cx:pt>
          <cx:pt idx="7017">5</cx:pt>
          <cx:pt idx="7018">3</cx:pt>
          <cx:pt idx="7019">2</cx:pt>
          <cx:pt idx="7020">2</cx:pt>
          <cx:pt idx="7021">2</cx:pt>
          <cx:pt idx="7022">5</cx:pt>
          <cx:pt idx="7023">2</cx:pt>
          <cx:pt idx="7024">4</cx:pt>
          <cx:pt idx="7025">5</cx:pt>
          <cx:pt idx="7026">4</cx:pt>
          <cx:pt idx="7027">3</cx:pt>
          <cx:pt idx="7028">2</cx:pt>
          <cx:pt idx="7029">3</cx:pt>
          <cx:pt idx="7030">3</cx:pt>
          <cx:pt idx="7031">5</cx:pt>
          <cx:pt idx="7032">4</cx:pt>
          <cx:pt idx="7033">3</cx:pt>
          <cx:pt idx="7034">3</cx:pt>
          <cx:pt idx="7035">5</cx:pt>
          <cx:pt idx="7036">2</cx:pt>
          <cx:pt idx="7037">2</cx:pt>
          <cx:pt idx="7038">4</cx:pt>
          <cx:pt idx="7039">2</cx:pt>
          <cx:pt idx="7040">4</cx:pt>
          <cx:pt idx="7041">4</cx:pt>
          <cx:pt idx="7042">2</cx:pt>
          <cx:pt idx="7043">4</cx:pt>
          <cx:pt idx="7044">2</cx:pt>
          <cx:pt idx="7045">4</cx:pt>
          <cx:pt idx="7046">4</cx:pt>
          <cx:pt idx="7047">3</cx:pt>
          <cx:pt idx="7048">4</cx:pt>
          <cx:pt idx="7049">3</cx:pt>
          <cx:pt idx="7050">3</cx:pt>
          <cx:pt idx="7051">5</cx:pt>
          <cx:pt idx="7052">2</cx:pt>
          <cx:pt idx="7053">5</cx:pt>
          <cx:pt idx="7054">1</cx:pt>
          <cx:pt idx="7055">2</cx:pt>
          <cx:pt idx="7056">3</cx:pt>
          <cx:pt idx="7057">3</cx:pt>
          <cx:pt idx="7058">1</cx:pt>
          <cx:pt idx="7059">2</cx:pt>
          <cx:pt idx="7060">3</cx:pt>
          <cx:pt idx="7061">3</cx:pt>
          <cx:pt idx="7062">1</cx:pt>
          <cx:pt idx="7063">2</cx:pt>
          <cx:pt idx="7064">3</cx:pt>
          <cx:pt idx="7065">3</cx:pt>
          <cx:pt idx="7066">3</cx:pt>
          <cx:pt idx="7067">1</cx:pt>
          <cx:pt idx="7068">2</cx:pt>
          <cx:pt idx="7069">1</cx:pt>
          <cx:pt idx="7070">2</cx:pt>
          <cx:pt idx="7071">1</cx:pt>
          <cx:pt idx="7072">2</cx:pt>
          <cx:pt idx="7073">4</cx:pt>
          <cx:pt idx="7074">0</cx:pt>
          <cx:pt idx="7075">4</cx:pt>
          <cx:pt idx="7076">4</cx:pt>
          <cx:pt idx="7077">3</cx:pt>
          <cx:pt idx="7078">5</cx:pt>
          <cx:pt idx="7079">3</cx:pt>
          <cx:pt idx="7080">2</cx:pt>
          <cx:pt idx="7081">2</cx:pt>
          <cx:pt idx="7082">4</cx:pt>
          <cx:pt idx="7083">1</cx:pt>
          <cx:pt idx="7084">2</cx:pt>
          <cx:pt idx="7085">2</cx:pt>
          <cx:pt idx="7086">1</cx:pt>
          <cx:pt idx="7087">4</cx:pt>
          <cx:pt idx="7088">3</cx:pt>
          <cx:pt idx="7089">3</cx:pt>
          <cx:pt idx="7090">3</cx:pt>
          <cx:pt idx="7091">2</cx:pt>
          <cx:pt idx="7092">3</cx:pt>
          <cx:pt idx="7093">2</cx:pt>
          <cx:pt idx="7094">2</cx:pt>
          <cx:pt idx="7095">2</cx:pt>
          <cx:pt idx="7096">5</cx:pt>
          <cx:pt idx="7097">3</cx:pt>
          <cx:pt idx="7098">2</cx:pt>
          <cx:pt idx="7099">2</cx:pt>
          <cx:pt idx="7100">3</cx:pt>
          <cx:pt idx="7101">1</cx:pt>
          <cx:pt idx="7102">3</cx:pt>
          <cx:pt idx="7103">0</cx:pt>
          <cx:pt idx="7104">1</cx:pt>
          <cx:pt idx="7105">4</cx:pt>
          <cx:pt idx="7106">1</cx:pt>
          <cx:pt idx="7107">3</cx:pt>
          <cx:pt idx="7108">5</cx:pt>
          <cx:pt idx="7109">2</cx:pt>
          <cx:pt idx="7110">1</cx:pt>
          <cx:pt idx="7111">5</cx:pt>
          <cx:pt idx="7112">1</cx:pt>
          <cx:pt idx="7113">4</cx:pt>
          <cx:pt idx="7114">1</cx:pt>
          <cx:pt idx="7115">3</cx:pt>
          <cx:pt idx="7116">5</cx:pt>
          <cx:pt idx="7117">5</cx:pt>
          <cx:pt idx="7118">5</cx:pt>
          <cx:pt idx="7119">2</cx:pt>
          <cx:pt idx="7120">5</cx:pt>
          <cx:pt idx="7121">5</cx:pt>
          <cx:pt idx="7122">3</cx:pt>
          <cx:pt idx="7123">5</cx:pt>
          <cx:pt idx="7124">3</cx:pt>
          <cx:pt idx="7125">1</cx:pt>
          <cx:pt idx="7126">2</cx:pt>
          <cx:pt idx="7127">2</cx:pt>
          <cx:pt idx="7128">3</cx:pt>
          <cx:pt idx="7129">3</cx:pt>
          <cx:pt idx="7130">1</cx:pt>
          <cx:pt idx="7131">1</cx:pt>
          <cx:pt idx="7132">5</cx:pt>
          <cx:pt idx="7133">1</cx:pt>
          <cx:pt idx="7134">5</cx:pt>
          <cx:pt idx="7135">2</cx:pt>
          <cx:pt idx="7136">4</cx:pt>
          <cx:pt idx="7137">5</cx:pt>
          <cx:pt idx="7138">1</cx:pt>
          <cx:pt idx="7139">5</cx:pt>
          <cx:pt idx="7140">3</cx:pt>
          <cx:pt idx="7141">1</cx:pt>
          <cx:pt idx="7142">2</cx:pt>
          <cx:pt idx="7143">2</cx:pt>
          <cx:pt idx="7144">2</cx:pt>
          <cx:pt idx="7145">4</cx:pt>
          <cx:pt idx="7146">2</cx:pt>
          <cx:pt idx="7147">4</cx:pt>
          <cx:pt idx="7148">5</cx:pt>
          <cx:pt idx="7149">3</cx:pt>
          <cx:pt idx="7150">5</cx:pt>
          <cx:pt idx="7151">5</cx:pt>
          <cx:pt idx="7152">5</cx:pt>
          <cx:pt idx="7153">4</cx:pt>
          <cx:pt idx="7154">2</cx:pt>
          <cx:pt idx="7155">3</cx:pt>
          <cx:pt idx="7156">1</cx:pt>
          <cx:pt idx="7157">3</cx:pt>
          <cx:pt idx="7158">5</cx:pt>
          <cx:pt idx="7159">3</cx:pt>
          <cx:pt idx="7160">4</cx:pt>
          <cx:pt idx="7161">1</cx:pt>
          <cx:pt idx="7162">5</cx:pt>
          <cx:pt idx="7163">1</cx:pt>
          <cx:pt idx="7164">3</cx:pt>
          <cx:pt idx="7165">2</cx:pt>
          <cx:pt idx="7166">4</cx:pt>
          <cx:pt idx="7167">1</cx:pt>
          <cx:pt idx="7168">1</cx:pt>
          <cx:pt idx="7169">4</cx:pt>
          <cx:pt idx="7170">5</cx:pt>
          <cx:pt idx="7171">2</cx:pt>
          <cx:pt idx="7172">1</cx:pt>
          <cx:pt idx="7173">2</cx:pt>
          <cx:pt idx="7174">2</cx:pt>
          <cx:pt idx="7175">5</cx:pt>
          <cx:pt idx="7176">2</cx:pt>
          <cx:pt idx="7177">2</cx:pt>
          <cx:pt idx="7178">2</cx:pt>
          <cx:pt idx="7179">4</cx:pt>
          <cx:pt idx="7180">2</cx:pt>
          <cx:pt idx="7181">2</cx:pt>
          <cx:pt idx="7182">1</cx:pt>
          <cx:pt idx="7183">4</cx:pt>
          <cx:pt idx="7184">1</cx:pt>
          <cx:pt idx="7185">1</cx:pt>
          <cx:pt idx="7186">0</cx:pt>
          <cx:pt idx="7187">5</cx:pt>
          <cx:pt idx="7188">1</cx:pt>
          <cx:pt idx="7189">2</cx:pt>
          <cx:pt idx="7190">2</cx:pt>
          <cx:pt idx="7191">4</cx:pt>
          <cx:pt idx="7192">5</cx:pt>
          <cx:pt idx="7193">3</cx:pt>
          <cx:pt idx="7194">3</cx:pt>
          <cx:pt idx="7195">4</cx:pt>
          <cx:pt idx="7196">3</cx:pt>
          <cx:pt idx="7197">4</cx:pt>
          <cx:pt idx="7198">3</cx:pt>
          <cx:pt idx="7199">2</cx:pt>
          <cx:pt idx="7200">5</cx:pt>
          <cx:pt idx="7201">2</cx:pt>
          <cx:pt idx="7202">3</cx:pt>
          <cx:pt idx="7203">1</cx:pt>
          <cx:pt idx="7204">3</cx:pt>
          <cx:pt idx="7205">5</cx:pt>
          <cx:pt idx="7206">4</cx:pt>
          <cx:pt idx="7207">1</cx:pt>
          <cx:pt idx="7208">3</cx:pt>
          <cx:pt idx="7209">5</cx:pt>
          <cx:pt idx="7210">4</cx:pt>
          <cx:pt idx="7211">2</cx:pt>
          <cx:pt idx="7212">2</cx:pt>
          <cx:pt idx="7213">1</cx:pt>
          <cx:pt idx="7214">1</cx:pt>
          <cx:pt idx="7215">1</cx:pt>
          <cx:pt idx="7216">3</cx:pt>
          <cx:pt idx="7217">2</cx:pt>
          <cx:pt idx="7218">3</cx:pt>
          <cx:pt idx="7219">2</cx:pt>
          <cx:pt idx="7220">5</cx:pt>
          <cx:pt idx="7221">1</cx:pt>
          <cx:pt idx="7222">1</cx:pt>
          <cx:pt idx="7223">4</cx:pt>
          <cx:pt idx="7224">3</cx:pt>
          <cx:pt idx="7225">1</cx:pt>
          <cx:pt idx="7226">2</cx:pt>
          <cx:pt idx="7227">4</cx:pt>
          <cx:pt idx="7228">5</cx:pt>
          <cx:pt idx="7229">1</cx:pt>
          <cx:pt idx="7230">2</cx:pt>
          <cx:pt idx="7231">4</cx:pt>
          <cx:pt idx="7232">5</cx:pt>
          <cx:pt idx="7233">2</cx:pt>
          <cx:pt idx="7234">5</cx:pt>
          <cx:pt idx="7235">4</cx:pt>
          <cx:pt idx="7236">3</cx:pt>
          <cx:pt idx="7237">2</cx:pt>
          <cx:pt idx="7238">2</cx:pt>
          <cx:pt idx="7239">4</cx:pt>
          <cx:pt idx="7240">2</cx:pt>
          <cx:pt idx="7241">1</cx:pt>
          <cx:pt idx="7242">1</cx:pt>
          <cx:pt idx="7243">2</cx:pt>
          <cx:pt idx="7244">3</cx:pt>
          <cx:pt idx="7245">5</cx:pt>
          <cx:pt idx="7246">3</cx:pt>
          <cx:pt idx="7247">4</cx:pt>
          <cx:pt idx="7248">4</cx:pt>
          <cx:pt idx="7249">3</cx:pt>
          <cx:pt idx="7250">3</cx:pt>
          <cx:pt idx="7251">4</cx:pt>
          <cx:pt idx="7252">1</cx:pt>
          <cx:pt idx="7253">4</cx:pt>
          <cx:pt idx="7254">1</cx:pt>
          <cx:pt idx="7255">2</cx:pt>
          <cx:pt idx="7256">3</cx:pt>
          <cx:pt idx="7257">2</cx:pt>
          <cx:pt idx="7258">1</cx:pt>
          <cx:pt idx="7259">3</cx:pt>
          <cx:pt idx="7260">5</cx:pt>
          <cx:pt idx="7261">5</cx:pt>
          <cx:pt idx="7262">1</cx:pt>
          <cx:pt idx="7263">3</cx:pt>
          <cx:pt idx="7264">3</cx:pt>
          <cx:pt idx="7265">5</cx:pt>
          <cx:pt idx="7266">4</cx:pt>
          <cx:pt idx="7267">3</cx:pt>
          <cx:pt idx="7268">3</cx:pt>
          <cx:pt idx="7269">2</cx:pt>
          <cx:pt idx="7270">2</cx:pt>
          <cx:pt idx="7271">4</cx:pt>
          <cx:pt idx="7272">3</cx:pt>
          <cx:pt idx="7273">1</cx:pt>
          <cx:pt idx="7274">4</cx:pt>
          <cx:pt idx="7275">2</cx:pt>
          <cx:pt idx="7276">1</cx:pt>
          <cx:pt idx="7277">2</cx:pt>
          <cx:pt idx="7278">2</cx:pt>
          <cx:pt idx="7279">3</cx:pt>
          <cx:pt idx="7280">3</cx:pt>
          <cx:pt idx="7281">1</cx:pt>
          <cx:pt idx="7282">3</cx:pt>
          <cx:pt idx="7283">4</cx:pt>
          <cx:pt idx="7284">1</cx:pt>
          <cx:pt idx="7285">3</cx:pt>
          <cx:pt idx="7286">2</cx:pt>
          <cx:pt idx="7287">2</cx:pt>
          <cx:pt idx="7288">5</cx:pt>
          <cx:pt idx="7289">4</cx:pt>
          <cx:pt idx="7290">3</cx:pt>
          <cx:pt idx="7291">4</cx:pt>
          <cx:pt idx="7292">3</cx:pt>
          <cx:pt idx="7293">3</cx:pt>
          <cx:pt idx="7294">5</cx:pt>
          <cx:pt idx="7295">2</cx:pt>
          <cx:pt idx="7296">3</cx:pt>
          <cx:pt idx="7297">3</cx:pt>
          <cx:pt idx="7298">1</cx:pt>
          <cx:pt idx="7299">3</cx:pt>
          <cx:pt idx="7300">2</cx:pt>
          <cx:pt idx="7301">2</cx:pt>
          <cx:pt idx="7302">2</cx:pt>
          <cx:pt idx="7303">3</cx:pt>
          <cx:pt idx="7304">4</cx:pt>
          <cx:pt idx="7305">4</cx:pt>
          <cx:pt idx="7306">2</cx:pt>
          <cx:pt idx="7307">4</cx:pt>
          <cx:pt idx="7308">3</cx:pt>
          <cx:pt idx="7309">1</cx:pt>
          <cx:pt idx="7310">4</cx:pt>
          <cx:pt idx="7311">3</cx:pt>
          <cx:pt idx="7312">1</cx:pt>
          <cx:pt idx="7313">2</cx:pt>
          <cx:pt idx="7314">2</cx:pt>
          <cx:pt idx="7315">1</cx:pt>
          <cx:pt idx="7316">4</cx:pt>
          <cx:pt idx="7317">0</cx:pt>
          <cx:pt idx="7318">4</cx:pt>
          <cx:pt idx="7319">3</cx:pt>
          <cx:pt idx="7320">2</cx:pt>
          <cx:pt idx="7321">2</cx:pt>
          <cx:pt idx="7322">2</cx:pt>
          <cx:pt idx="7323">5</cx:pt>
          <cx:pt idx="7324">3</cx:pt>
          <cx:pt idx="7325">5</cx:pt>
          <cx:pt idx="7326">2</cx:pt>
          <cx:pt idx="7327">1</cx:pt>
          <cx:pt idx="7328">3</cx:pt>
          <cx:pt idx="7329">4</cx:pt>
          <cx:pt idx="7330">3</cx:pt>
          <cx:pt idx="7331">3</cx:pt>
          <cx:pt idx="7332">4</cx:pt>
          <cx:pt idx="7333">2</cx:pt>
          <cx:pt idx="7334">1</cx:pt>
          <cx:pt idx="7335">1</cx:pt>
          <cx:pt idx="7336">3</cx:pt>
          <cx:pt idx="7337">4</cx:pt>
          <cx:pt idx="7338">2</cx:pt>
          <cx:pt idx="7339">2</cx:pt>
          <cx:pt idx="7340">3</cx:pt>
          <cx:pt idx="7341">5</cx:pt>
          <cx:pt idx="7342">2</cx:pt>
          <cx:pt idx="7343">1</cx:pt>
          <cx:pt idx="7344">1</cx:pt>
          <cx:pt idx="7345">2</cx:pt>
          <cx:pt idx="7346">1</cx:pt>
          <cx:pt idx="7347">2</cx:pt>
          <cx:pt idx="7348">2</cx:pt>
          <cx:pt idx="7349">2</cx:pt>
          <cx:pt idx="7350">2</cx:pt>
          <cx:pt idx="7351">2</cx:pt>
          <cx:pt idx="7352">4</cx:pt>
          <cx:pt idx="7353">3</cx:pt>
          <cx:pt idx="7354">3</cx:pt>
          <cx:pt idx="7355">2</cx:pt>
          <cx:pt idx="7356">2</cx:pt>
          <cx:pt idx="7357">2</cx:pt>
          <cx:pt idx="7358">4</cx:pt>
          <cx:pt idx="7359">0</cx:pt>
          <cx:pt idx="7360">5</cx:pt>
          <cx:pt idx="7361">5</cx:pt>
          <cx:pt idx="7362">5</cx:pt>
          <cx:pt idx="7363">3</cx:pt>
          <cx:pt idx="7364">3</cx:pt>
          <cx:pt idx="7365">2</cx:pt>
          <cx:pt idx="7366">2</cx:pt>
          <cx:pt idx="7367">2</cx:pt>
          <cx:pt idx="7368">2</cx:pt>
          <cx:pt idx="7369">1</cx:pt>
          <cx:pt idx="7370">5</cx:pt>
          <cx:pt idx="7371">5</cx:pt>
          <cx:pt idx="7372">5</cx:pt>
          <cx:pt idx="7373">2</cx:pt>
          <cx:pt idx="7374">2</cx:pt>
          <cx:pt idx="7375">3</cx:pt>
          <cx:pt idx="7376">2</cx:pt>
          <cx:pt idx="7377">4</cx:pt>
          <cx:pt idx="7378">5</cx:pt>
          <cx:pt idx="7379">2</cx:pt>
          <cx:pt idx="7380">3</cx:pt>
          <cx:pt idx="7381">4</cx:pt>
          <cx:pt idx="7382">4</cx:pt>
          <cx:pt idx="7383">2</cx:pt>
          <cx:pt idx="7384">1</cx:pt>
          <cx:pt idx="7385">3</cx:pt>
          <cx:pt idx="7386">2</cx:pt>
          <cx:pt idx="7387">1</cx:pt>
          <cx:pt idx="7388">5</cx:pt>
          <cx:pt idx="7389">1</cx:pt>
          <cx:pt idx="7390">4</cx:pt>
          <cx:pt idx="7391">1</cx:pt>
          <cx:pt idx="7392">1</cx:pt>
          <cx:pt idx="7393">5</cx:pt>
          <cx:pt idx="7394">1</cx:pt>
          <cx:pt idx="7395">2</cx:pt>
          <cx:pt idx="7396">3</cx:pt>
          <cx:pt idx="7397">2</cx:pt>
          <cx:pt idx="7398">1</cx:pt>
          <cx:pt idx="7399">4</cx:pt>
          <cx:pt idx="7400">5</cx:pt>
          <cx:pt idx="7401">1</cx:pt>
          <cx:pt idx="7402">2</cx:pt>
          <cx:pt idx="7403">2</cx:pt>
          <cx:pt idx="7404">2</cx:pt>
          <cx:pt idx="7405">1</cx:pt>
          <cx:pt idx="7406">2</cx:pt>
          <cx:pt idx="7407">2</cx:pt>
          <cx:pt idx="7408">3</cx:pt>
          <cx:pt idx="7409">4</cx:pt>
          <cx:pt idx="7410">3</cx:pt>
          <cx:pt idx="7411">3</cx:pt>
          <cx:pt idx="7412">4</cx:pt>
          <cx:pt idx="7413">3</cx:pt>
          <cx:pt idx="7414">1</cx:pt>
          <cx:pt idx="7415">4</cx:pt>
          <cx:pt idx="7416">5</cx:pt>
          <cx:pt idx="7417">5</cx:pt>
          <cx:pt idx="7418">5</cx:pt>
          <cx:pt idx="7419">0</cx:pt>
          <cx:pt idx="7420">3</cx:pt>
          <cx:pt idx="7421">1</cx:pt>
          <cx:pt idx="7422">5</cx:pt>
          <cx:pt idx="7423">3</cx:pt>
          <cx:pt idx="7424">2</cx:pt>
          <cx:pt idx="7425">5</cx:pt>
          <cx:pt idx="7426">1</cx:pt>
          <cx:pt idx="7427">3</cx:pt>
          <cx:pt idx="7428">1</cx:pt>
          <cx:pt idx="7429">5</cx:pt>
          <cx:pt idx="7430">2</cx:pt>
          <cx:pt idx="7431">3</cx:pt>
          <cx:pt idx="7432">2</cx:pt>
          <cx:pt idx="7433">1</cx:pt>
          <cx:pt idx="7434">3</cx:pt>
          <cx:pt idx="7435">4</cx:pt>
          <cx:pt idx="7436">3</cx:pt>
          <cx:pt idx="7437">2</cx:pt>
          <cx:pt idx="7438">2</cx:pt>
          <cx:pt idx="7439">2</cx:pt>
          <cx:pt idx="7440">5</cx:pt>
          <cx:pt idx="7441">3</cx:pt>
          <cx:pt idx="7442">5</cx:pt>
          <cx:pt idx="7443">0</cx:pt>
          <cx:pt idx="7444">2</cx:pt>
          <cx:pt idx="7445">5</cx:pt>
          <cx:pt idx="7446">4</cx:pt>
          <cx:pt idx="7447">2</cx:pt>
          <cx:pt idx="7448">3</cx:pt>
          <cx:pt idx="7449">4</cx:pt>
          <cx:pt idx="7450">2</cx:pt>
          <cx:pt idx="7451">3</cx:pt>
          <cx:pt idx="7452">2</cx:pt>
          <cx:pt idx="7453">1</cx:pt>
          <cx:pt idx="7454">0</cx:pt>
          <cx:pt idx="7455">3</cx:pt>
          <cx:pt idx="7456">3</cx:pt>
          <cx:pt idx="7457">4</cx:pt>
          <cx:pt idx="7458">1</cx:pt>
          <cx:pt idx="7459">5</cx:pt>
          <cx:pt idx="7460">4</cx:pt>
          <cx:pt idx="7461">2</cx:pt>
          <cx:pt idx="7462">5</cx:pt>
          <cx:pt idx="7463">4</cx:pt>
          <cx:pt idx="7464">2</cx:pt>
          <cx:pt idx="7465">5</cx:pt>
          <cx:pt idx="7466">2</cx:pt>
          <cx:pt idx="7467">5</cx:pt>
          <cx:pt idx="7468">2</cx:pt>
          <cx:pt idx="7469">1</cx:pt>
          <cx:pt idx="7470">2</cx:pt>
          <cx:pt idx="7471">2</cx:pt>
          <cx:pt idx="7472">3</cx:pt>
          <cx:pt idx="7473">1</cx:pt>
          <cx:pt idx="7474">5</cx:pt>
          <cx:pt idx="7475">2</cx:pt>
          <cx:pt idx="7476">4</cx:pt>
          <cx:pt idx="7477">1</cx:pt>
          <cx:pt idx="7478">3</cx:pt>
          <cx:pt idx="7479">3</cx:pt>
          <cx:pt idx="7480">3</cx:pt>
          <cx:pt idx="7481">2</cx:pt>
          <cx:pt idx="7482">4</cx:pt>
          <cx:pt idx="7483">5</cx:pt>
          <cx:pt idx="7484">2</cx:pt>
          <cx:pt idx="7485">3</cx:pt>
          <cx:pt idx="7486">2</cx:pt>
          <cx:pt idx="7487">2</cx:pt>
          <cx:pt idx="7488">3</cx:pt>
          <cx:pt idx="7489">2</cx:pt>
          <cx:pt idx="7490">2</cx:pt>
          <cx:pt idx="7491">1</cx:pt>
          <cx:pt idx="7492">3</cx:pt>
          <cx:pt idx="7493">5</cx:pt>
          <cx:pt idx="7494">5</cx:pt>
          <cx:pt idx="7495">1</cx:pt>
          <cx:pt idx="7496">1</cx:pt>
          <cx:pt idx="7497">3</cx:pt>
          <cx:pt idx="7498">2</cx:pt>
          <cx:pt idx="7499">5</cx:pt>
          <cx:pt idx="7500">3</cx:pt>
          <cx:pt idx="7501">2</cx:pt>
          <cx:pt idx="7502">2</cx:pt>
          <cx:pt idx="7503">1</cx:pt>
          <cx:pt idx="7504">4</cx:pt>
          <cx:pt idx="7505">4</cx:pt>
          <cx:pt idx="7506">3</cx:pt>
          <cx:pt idx="7507">1</cx:pt>
          <cx:pt idx="7508">5</cx:pt>
          <cx:pt idx="7509">2</cx:pt>
          <cx:pt idx="7510">1</cx:pt>
          <cx:pt idx="7511">1</cx:pt>
          <cx:pt idx="7512">1</cx:pt>
          <cx:pt idx="7513">3</cx:pt>
          <cx:pt idx="7514">2</cx:pt>
          <cx:pt idx="7515">4</cx:pt>
          <cx:pt idx="7516">4</cx:pt>
          <cx:pt idx="7517">5</cx:pt>
          <cx:pt idx="7518">3</cx:pt>
          <cx:pt idx="7519">3</cx:pt>
          <cx:pt idx="7520">2</cx:pt>
          <cx:pt idx="7521">4</cx:pt>
          <cx:pt idx="7522">4</cx:pt>
          <cx:pt idx="7523">4</cx:pt>
          <cx:pt idx="7524">3</cx:pt>
          <cx:pt idx="7525">5</cx:pt>
          <cx:pt idx="7526">1</cx:pt>
          <cx:pt idx="7527">5</cx:pt>
          <cx:pt idx="7528">3</cx:pt>
          <cx:pt idx="7529">5</cx:pt>
          <cx:pt idx="7530">2</cx:pt>
          <cx:pt idx="7531">4</cx:pt>
          <cx:pt idx="7532">2</cx:pt>
          <cx:pt idx="7533">4</cx:pt>
          <cx:pt idx="7534">3</cx:pt>
          <cx:pt idx="7535">1</cx:pt>
          <cx:pt idx="7536">2</cx:pt>
          <cx:pt idx="7537">2</cx:pt>
          <cx:pt idx="7538">1</cx:pt>
          <cx:pt idx="7539">3</cx:pt>
          <cx:pt idx="7540">3</cx:pt>
          <cx:pt idx="7541">5</cx:pt>
          <cx:pt idx="7542">4</cx:pt>
          <cx:pt idx="7543">4</cx:pt>
          <cx:pt idx="7544">4</cx:pt>
          <cx:pt idx="7545">3</cx:pt>
          <cx:pt idx="7546">0</cx:pt>
          <cx:pt idx="7547">4</cx:pt>
          <cx:pt idx="7548">1</cx:pt>
          <cx:pt idx="7549">5</cx:pt>
          <cx:pt idx="7550">4</cx:pt>
          <cx:pt idx="7551">5</cx:pt>
          <cx:pt idx="7552">1</cx:pt>
          <cx:pt idx="7553">2</cx:pt>
          <cx:pt idx="7554">2</cx:pt>
          <cx:pt idx="7555">5</cx:pt>
          <cx:pt idx="7556">4</cx:pt>
          <cx:pt idx="7557">1</cx:pt>
          <cx:pt idx="7558">2</cx:pt>
          <cx:pt idx="7559">3</cx:pt>
          <cx:pt idx="7560">5</cx:pt>
          <cx:pt idx="7561">3</cx:pt>
          <cx:pt idx="7562">3</cx:pt>
          <cx:pt idx="7563">5</cx:pt>
          <cx:pt idx="7564">1</cx:pt>
          <cx:pt idx="7565">2</cx:pt>
          <cx:pt idx="7566">3</cx:pt>
          <cx:pt idx="7567">1</cx:pt>
          <cx:pt idx="7568">1</cx:pt>
          <cx:pt idx="7569">4</cx:pt>
          <cx:pt idx="7570">2</cx:pt>
          <cx:pt idx="7571">4</cx:pt>
          <cx:pt idx="7572">2</cx:pt>
          <cx:pt idx="7573">2</cx:pt>
          <cx:pt idx="7574">1</cx:pt>
          <cx:pt idx="7575">4</cx:pt>
          <cx:pt idx="7576">2</cx:pt>
          <cx:pt idx="7577">0</cx:pt>
          <cx:pt idx="7578">4</cx:pt>
          <cx:pt idx="7579">3</cx:pt>
          <cx:pt idx="7580">1</cx:pt>
          <cx:pt idx="7581">4</cx:pt>
          <cx:pt idx="7582">5</cx:pt>
          <cx:pt idx="7583">0</cx:pt>
          <cx:pt idx="7584">5</cx:pt>
          <cx:pt idx="7585">3</cx:pt>
          <cx:pt idx="7586">4</cx:pt>
          <cx:pt idx="7587">0</cx:pt>
          <cx:pt idx="7588">2</cx:pt>
          <cx:pt idx="7589">5</cx:pt>
          <cx:pt idx="7590">3</cx:pt>
          <cx:pt idx="7591">4</cx:pt>
          <cx:pt idx="7592">0</cx:pt>
          <cx:pt idx="7593">4</cx:pt>
          <cx:pt idx="7594">0</cx:pt>
          <cx:pt idx="7595">2</cx:pt>
          <cx:pt idx="7596">1</cx:pt>
          <cx:pt idx="7597">4</cx:pt>
          <cx:pt idx="7598">2</cx:pt>
          <cx:pt idx="7599">2</cx:pt>
          <cx:pt idx="7600">5</cx:pt>
          <cx:pt idx="7601">2</cx:pt>
          <cx:pt idx="7602">5</cx:pt>
          <cx:pt idx="7603">2</cx:pt>
          <cx:pt idx="7604">4</cx:pt>
          <cx:pt idx="7605">3</cx:pt>
          <cx:pt idx="7606">4</cx:pt>
          <cx:pt idx="7607">3</cx:pt>
          <cx:pt idx="7608">1</cx:pt>
          <cx:pt idx="7609">2</cx:pt>
          <cx:pt idx="7610">5</cx:pt>
          <cx:pt idx="7611">3</cx:pt>
          <cx:pt idx="7612">2</cx:pt>
          <cx:pt idx="7613">1</cx:pt>
          <cx:pt idx="7614">4</cx:pt>
          <cx:pt idx="7615">3</cx:pt>
          <cx:pt idx="7616">1</cx:pt>
          <cx:pt idx="7617">3</cx:pt>
          <cx:pt idx="7618">3</cx:pt>
          <cx:pt idx="7619">3</cx:pt>
          <cx:pt idx="7620">1</cx:pt>
          <cx:pt idx="7621">5</cx:pt>
          <cx:pt idx="7622">5</cx:pt>
          <cx:pt idx="7623">1</cx:pt>
          <cx:pt idx="7624">3</cx:pt>
          <cx:pt idx="7625">4</cx:pt>
          <cx:pt idx="7626">5</cx:pt>
          <cx:pt idx="7627">2</cx:pt>
          <cx:pt idx="7628">4</cx:pt>
          <cx:pt idx="7629">1</cx:pt>
          <cx:pt idx="7630">5</cx:pt>
          <cx:pt idx="7631">2</cx:pt>
          <cx:pt idx="7632">0</cx:pt>
          <cx:pt idx="7633">3</cx:pt>
          <cx:pt idx="7634">3</cx:pt>
          <cx:pt idx="7635">3</cx:pt>
          <cx:pt idx="7636">4</cx:pt>
          <cx:pt idx="7637">3</cx:pt>
          <cx:pt idx="7638">4</cx:pt>
          <cx:pt idx="7639">3</cx:pt>
          <cx:pt idx="7640">4</cx:pt>
          <cx:pt idx="7641">3</cx:pt>
          <cx:pt idx="7642">1</cx:pt>
          <cx:pt idx="7643">2</cx:pt>
          <cx:pt idx="7644">4</cx:pt>
          <cx:pt idx="7645">4</cx:pt>
          <cx:pt idx="7646">3</cx:pt>
          <cx:pt idx="7647">2</cx:pt>
          <cx:pt idx="7648">1</cx:pt>
          <cx:pt idx="7649">0</cx:pt>
          <cx:pt idx="7650">2</cx:pt>
          <cx:pt idx="7651">5</cx:pt>
          <cx:pt idx="7652">3</cx:pt>
          <cx:pt idx="7653">5</cx:pt>
          <cx:pt idx="7654">3</cx:pt>
          <cx:pt idx="7655">2</cx:pt>
          <cx:pt idx="7656">1</cx:pt>
          <cx:pt idx="7657">2</cx:pt>
          <cx:pt idx="7658">4</cx:pt>
          <cx:pt idx="7659">4</cx:pt>
          <cx:pt idx="7660">3</cx:pt>
          <cx:pt idx="7661">2</cx:pt>
          <cx:pt idx="7662">2</cx:pt>
          <cx:pt idx="7663">2</cx:pt>
          <cx:pt idx="7664">3</cx:pt>
          <cx:pt idx="7665">1</cx:pt>
          <cx:pt idx="7666">2</cx:pt>
          <cx:pt idx="7667">3</cx:pt>
          <cx:pt idx="7668">4</cx:pt>
          <cx:pt idx="7669">1</cx:pt>
          <cx:pt idx="7670">1</cx:pt>
          <cx:pt idx="7671">3</cx:pt>
          <cx:pt idx="7672">3</cx:pt>
          <cx:pt idx="7673">2</cx:pt>
          <cx:pt idx="7674">5</cx:pt>
          <cx:pt idx="7675">4</cx:pt>
          <cx:pt idx="7676">2</cx:pt>
          <cx:pt idx="7677">0</cx:pt>
          <cx:pt idx="7678">2</cx:pt>
          <cx:pt idx="7679">2</cx:pt>
          <cx:pt idx="7680">5</cx:pt>
          <cx:pt idx="7681">0</cx:pt>
          <cx:pt idx="7682">5</cx:pt>
          <cx:pt idx="7683">4</cx:pt>
          <cx:pt idx="7684">0</cx:pt>
          <cx:pt idx="7685">4</cx:pt>
          <cx:pt idx="7686">1</cx:pt>
          <cx:pt idx="7687">2</cx:pt>
          <cx:pt idx="7688">4</cx:pt>
          <cx:pt idx="7689">4</cx:pt>
          <cx:pt idx="7690">4</cx:pt>
          <cx:pt idx="7691">1</cx:pt>
          <cx:pt idx="7692">2</cx:pt>
          <cx:pt idx="7693">4</cx:pt>
          <cx:pt idx="7694">4</cx:pt>
          <cx:pt idx="7695">2</cx:pt>
          <cx:pt idx="7696">5</cx:pt>
          <cx:pt idx="7697">4</cx:pt>
          <cx:pt idx="7698">3</cx:pt>
          <cx:pt idx="7699">2</cx:pt>
          <cx:pt idx="7700">2</cx:pt>
          <cx:pt idx="7701">1</cx:pt>
          <cx:pt idx="7702">0</cx:pt>
          <cx:pt idx="7703">2</cx:pt>
          <cx:pt idx="7704">5</cx:pt>
          <cx:pt idx="7705">3</cx:pt>
          <cx:pt idx="7706">3</cx:pt>
          <cx:pt idx="7707">3</cx:pt>
          <cx:pt idx="7708">2</cx:pt>
          <cx:pt idx="7709">4</cx:pt>
          <cx:pt idx="7710">4</cx:pt>
          <cx:pt idx="7711">3</cx:pt>
          <cx:pt idx="7712">2</cx:pt>
          <cx:pt idx="7713">2</cx:pt>
          <cx:pt idx="7714">5</cx:pt>
          <cx:pt idx="7715">5</cx:pt>
          <cx:pt idx="7716">2</cx:pt>
          <cx:pt idx="7717">3</cx:pt>
          <cx:pt idx="7718">1</cx:pt>
          <cx:pt idx="7719">2</cx:pt>
          <cx:pt idx="7720">4</cx:pt>
          <cx:pt idx="7721">4</cx:pt>
          <cx:pt idx="7722">2</cx:pt>
          <cx:pt idx="7723">2</cx:pt>
          <cx:pt idx="7724">1</cx:pt>
          <cx:pt idx="7725">2</cx:pt>
          <cx:pt idx="7726">2</cx:pt>
          <cx:pt idx="7727">1</cx:pt>
          <cx:pt idx="7728">4</cx:pt>
          <cx:pt idx="7729">1</cx:pt>
          <cx:pt idx="7730">5</cx:pt>
          <cx:pt idx="7731">5</cx:pt>
          <cx:pt idx="7732">2</cx:pt>
          <cx:pt idx="7733">0</cx:pt>
          <cx:pt idx="7734">2</cx:pt>
          <cx:pt idx="7735">2</cx:pt>
          <cx:pt idx="7736">4</cx:pt>
          <cx:pt idx="7737">3</cx:pt>
          <cx:pt idx="7738">4</cx:pt>
          <cx:pt idx="7739">2</cx:pt>
          <cx:pt idx="7740">4</cx:pt>
          <cx:pt idx="7741">4</cx:pt>
          <cx:pt idx="7742">3</cx:pt>
          <cx:pt idx="7743">3</cx:pt>
          <cx:pt idx="7744">5</cx:pt>
          <cx:pt idx="7745">1</cx:pt>
          <cx:pt idx="7746">2</cx:pt>
          <cx:pt idx="7747">1</cx:pt>
          <cx:pt idx="7748">2</cx:pt>
          <cx:pt idx="7749">2</cx:pt>
          <cx:pt idx="7750">1</cx:pt>
          <cx:pt idx="7751">3</cx:pt>
          <cx:pt idx="7752">5</cx:pt>
          <cx:pt idx="7753">3</cx:pt>
          <cx:pt idx="7754">3</cx:pt>
          <cx:pt idx="7755">1</cx:pt>
          <cx:pt idx="7756">0</cx:pt>
          <cx:pt idx="7757">4</cx:pt>
          <cx:pt idx="7758">3</cx:pt>
          <cx:pt idx="7759">4</cx:pt>
          <cx:pt idx="7760">5</cx:pt>
          <cx:pt idx="7761">3</cx:pt>
          <cx:pt idx="7762">2</cx:pt>
          <cx:pt idx="7763">3</cx:pt>
          <cx:pt idx="7764">2</cx:pt>
          <cx:pt idx="7765">4</cx:pt>
          <cx:pt idx="7766">2</cx:pt>
          <cx:pt idx="7767">2</cx:pt>
          <cx:pt idx="7768">3</cx:pt>
          <cx:pt idx="7769">2</cx:pt>
          <cx:pt idx="7770">2</cx:pt>
          <cx:pt idx="7771">4</cx:pt>
          <cx:pt idx="7772">1</cx:pt>
          <cx:pt idx="7773">2</cx:pt>
          <cx:pt idx="7774">2</cx:pt>
          <cx:pt idx="7775">3</cx:pt>
          <cx:pt idx="7776">3</cx:pt>
          <cx:pt idx="7777">3</cx:pt>
          <cx:pt idx="7778">5</cx:pt>
          <cx:pt idx="7779">1</cx:pt>
          <cx:pt idx="7780">5</cx:pt>
          <cx:pt idx="7781">3</cx:pt>
          <cx:pt idx="7782">4</cx:pt>
          <cx:pt idx="7783">4</cx:pt>
          <cx:pt idx="7784">1</cx:pt>
          <cx:pt idx="7785">1</cx:pt>
          <cx:pt idx="7786">2</cx:pt>
          <cx:pt idx="7787">2</cx:pt>
          <cx:pt idx="7788">1</cx:pt>
          <cx:pt idx="7789">4</cx:pt>
          <cx:pt idx="7790">5</cx:pt>
          <cx:pt idx="7791">2</cx:pt>
          <cx:pt idx="7792">1</cx:pt>
          <cx:pt idx="7793">3</cx:pt>
          <cx:pt idx="7794">2</cx:pt>
          <cx:pt idx="7795">1</cx:pt>
          <cx:pt idx="7796">4</cx:pt>
          <cx:pt idx="7797">1</cx:pt>
          <cx:pt idx="7798">0</cx:pt>
          <cx:pt idx="7799">3</cx:pt>
          <cx:pt idx="7800">2</cx:pt>
          <cx:pt idx="7801">5</cx:pt>
          <cx:pt idx="7802">4</cx:pt>
          <cx:pt idx="7803">1</cx:pt>
          <cx:pt idx="7804">1</cx:pt>
          <cx:pt idx="7805">3</cx:pt>
          <cx:pt idx="7806">5</cx:pt>
          <cx:pt idx="7807">5</cx:pt>
          <cx:pt idx="7808">1</cx:pt>
          <cx:pt idx="7809">5</cx:pt>
          <cx:pt idx="7810">1</cx:pt>
          <cx:pt idx="7811">5</cx:pt>
          <cx:pt idx="7812">1</cx:pt>
          <cx:pt idx="7813">1</cx:pt>
          <cx:pt idx="7814">1</cx:pt>
          <cx:pt idx="7815">2</cx:pt>
          <cx:pt idx="7816">2</cx:pt>
          <cx:pt idx="7817">1</cx:pt>
          <cx:pt idx="7818">2</cx:pt>
          <cx:pt idx="7819">1</cx:pt>
          <cx:pt idx="7820">4</cx:pt>
          <cx:pt idx="7821">1</cx:pt>
          <cx:pt idx="7822">1</cx:pt>
          <cx:pt idx="7823">3</cx:pt>
          <cx:pt idx="7824">4</cx:pt>
          <cx:pt idx="7825">4</cx:pt>
          <cx:pt idx="7826">4</cx:pt>
          <cx:pt idx="7827">4</cx:pt>
          <cx:pt idx="7828">2</cx:pt>
          <cx:pt idx="7829">3</cx:pt>
          <cx:pt idx="7830">2</cx:pt>
          <cx:pt idx="7831">2</cx:pt>
          <cx:pt idx="7832">2</cx:pt>
          <cx:pt idx="7833">3</cx:pt>
          <cx:pt idx="7834">5</cx:pt>
          <cx:pt idx="7835">2</cx:pt>
          <cx:pt idx="7836">3</cx:pt>
          <cx:pt idx="7837">4</cx:pt>
          <cx:pt idx="7838">4</cx:pt>
          <cx:pt idx="7839">1</cx:pt>
          <cx:pt idx="7840">5</cx:pt>
          <cx:pt idx="7841">2</cx:pt>
          <cx:pt idx="7842">2</cx:pt>
          <cx:pt idx="7843">2</cx:pt>
          <cx:pt idx="7844">1</cx:pt>
          <cx:pt idx="7845">3</cx:pt>
          <cx:pt idx="7846">2</cx:pt>
          <cx:pt idx="7847">3</cx:pt>
          <cx:pt idx="7848">2</cx:pt>
          <cx:pt idx="7849">5</cx:pt>
          <cx:pt idx="7850">3</cx:pt>
          <cx:pt idx="7851">1</cx:pt>
          <cx:pt idx="7852">4</cx:pt>
          <cx:pt idx="7853">0</cx:pt>
          <cx:pt idx="7854">4</cx:pt>
          <cx:pt idx="7855">3</cx:pt>
          <cx:pt idx="7856">1</cx:pt>
          <cx:pt idx="7857">5</cx:pt>
          <cx:pt idx="7858">2</cx:pt>
          <cx:pt idx="7859">2</cx:pt>
          <cx:pt idx="7860">4</cx:pt>
          <cx:pt idx="7861">3</cx:pt>
          <cx:pt idx="7862">1</cx:pt>
          <cx:pt idx="7863">5</cx:pt>
          <cx:pt idx="7864">2</cx:pt>
          <cx:pt idx="7865">2</cx:pt>
          <cx:pt idx="7866">1</cx:pt>
          <cx:pt idx="7867">3</cx:pt>
          <cx:pt idx="7868">2</cx:pt>
          <cx:pt idx="7869">1</cx:pt>
          <cx:pt idx="7870">2</cx:pt>
          <cx:pt idx="7871">4</cx:pt>
          <cx:pt idx="7872">3</cx:pt>
          <cx:pt idx="7873">5</cx:pt>
          <cx:pt idx="7874">1</cx:pt>
          <cx:pt idx="7875">3</cx:pt>
          <cx:pt idx="7876">5</cx:pt>
          <cx:pt idx="7877">4</cx:pt>
          <cx:pt idx="7878">5</cx:pt>
          <cx:pt idx="7879">3</cx:pt>
          <cx:pt idx="7880">2</cx:pt>
          <cx:pt idx="7881">3</cx:pt>
          <cx:pt idx="7882">4</cx:pt>
          <cx:pt idx="7883">0</cx:pt>
          <cx:pt idx="7884">5</cx:pt>
          <cx:pt idx="7885">2</cx:pt>
          <cx:pt idx="7886">2</cx:pt>
          <cx:pt idx="7887">2</cx:pt>
          <cx:pt idx="7888">4</cx:pt>
          <cx:pt idx="7889">1</cx:pt>
          <cx:pt idx="7890">3</cx:pt>
          <cx:pt idx="7891">3</cx:pt>
          <cx:pt idx="7892">3</cx:pt>
          <cx:pt idx="7893">2</cx:pt>
          <cx:pt idx="7894">1</cx:pt>
          <cx:pt idx="7895">3</cx:pt>
          <cx:pt idx="7896">3</cx:pt>
          <cx:pt idx="7897">2</cx:pt>
          <cx:pt idx="7898">3</cx:pt>
          <cx:pt idx="7899">1</cx:pt>
          <cx:pt idx="7900">2</cx:pt>
          <cx:pt idx="7901">3</cx:pt>
          <cx:pt idx="7902">2</cx:pt>
          <cx:pt idx="7903">0</cx:pt>
          <cx:pt idx="7904">2</cx:pt>
          <cx:pt idx="7905">5</cx:pt>
          <cx:pt idx="7906">2</cx:pt>
          <cx:pt idx="7907">3</cx:pt>
          <cx:pt idx="7908">4</cx:pt>
          <cx:pt idx="7909">2</cx:pt>
          <cx:pt idx="7910">1</cx:pt>
          <cx:pt idx="7911">1</cx:pt>
          <cx:pt idx="7912">3</cx:pt>
          <cx:pt idx="7913">1</cx:pt>
          <cx:pt idx="7914">4</cx:pt>
          <cx:pt idx="7915">3</cx:pt>
          <cx:pt idx="7916">3</cx:pt>
          <cx:pt idx="7917">4</cx:pt>
          <cx:pt idx="7918">3</cx:pt>
          <cx:pt idx="7919">3</cx:pt>
          <cx:pt idx="7920">3</cx:pt>
          <cx:pt idx="7921">2</cx:pt>
          <cx:pt idx="7922">3</cx:pt>
          <cx:pt idx="7923">1</cx:pt>
          <cx:pt idx="7924">5</cx:pt>
          <cx:pt idx="7925">0</cx:pt>
          <cx:pt idx="7926">3</cx:pt>
          <cx:pt idx="7927">3</cx:pt>
          <cx:pt idx="7928">4</cx:pt>
          <cx:pt idx="7929">0</cx:pt>
          <cx:pt idx="7930">3</cx:pt>
          <cx:pt idx="7931">2</cx:pt>
          <cx:pt idx="7932">1</cx:pt>
          <cx:pt idx="7933">2</cx:pt>
          <cx:pt idx="7934">1</cx:pt>
          <cx:pt idx="7935">3</cx:pt>
          <cx:pt idx="7936">2</cx:pt>
          <cx:pt idx="7937">5</cx:pt>
          <cx:pt idx="7938">4</cx:pt>
          <cx:pt idx="7939">1</cx:pt>
          <cx:pt idx="7940">4</cx:pt>
          <cx:pt idx="7941">1</cx:pt>
          <cx:pt idx="7942">3</cx:pt>
          <cx:pt idx="7943">2</cx:pt>
          <cx:pt idx="7944">3</cx:pt>
          <cx:pt idx="7945">2</cx:pt>
          <cx:pt idx="7946">4</cx:pt>
          <cx:pt idx="7947">2</cx:pt>
          <cx:pt idx="7948">3</cx:pt>
          <cx:pt idx="7949">3</cx:pt>
          <cx:pt idx="7950">5</cx:pt>
          <cx:pt idx="7951">4</cx:pt>
          <cx:pt idx="7952">4</cx:pt>
          <cx:pt idx="7953">1</cx:pt>
          <cx:pt idx="7954">1</cx:pt>
          <cx:pt idx="7955">2</cx:pt>
          <cx:pt idx="7956">5</cx:pt>
          <cx:pt idx="7957">5</cx:pt>
          <cx:pt idx="7958">0</cx:pt>
          <cx:pt idx="7959">1</cx:pt>
          <cx:pt idx="7960">1</cx:pt>
          <cx:pt idx="7961">2</cx:pt>
          <cx:pt idx="7962">1</cx:pt>
          <cx:pt idx="7963">5</cx:pt>
          <cx:pt idx="7964">3</cx:pt>
          <cx:pt idx="7965">4</cx:pt>
          <cx:pt idx="7966">4</cx:pt>
          <cx:pt idx="7967">2</cx:pt>
          <cx:pt idx="7968">5</cx:pt>
          <cx:pt idx="7969">4</cx:pt>
          <cx:pt idx="7970">3</cx:pt>
          <cx:pt idx="7971">3</cx:pt>
          <cx:pt idx="7972">2</cx:pt>
          <cx:pt idx="7973">3</cx:pt>
          <cx:pt idx="7974">5</cx:pt>
          <cx:pt idx="7975">3</cx:pt>
          <cx:pt idx="7976">2</cx:pt>
          <cx:pt idx="7977">3</cx:pt>
          <cx:pt idx="7978">3</cx:pt>
          <cx:pt idx="7979">2</cx:pt>
          <cx:pt idx="7980">2</cx:pt>
          <cx:pt idx="7981">4</cx:pt>
          <cx:pt idx="7982">4</cx:pt>
          <cx:pt idx="7983">4</cx:pt>
          <cx:pt idx="7984">3</cx:pt>
          <cx:pt idx="7985">3</cx:pt>
          <cx:pt idx="7986">3</cx:pt>
          <cx:pt idx="7987">3</cx:pt>
          <cx:pt idx="7988">4</cx:pt>
          <cx:pt idx="7989">2</cx:pt>
          <cx:pt idx="7990">1</cx:pt>
          <cx:pt idx="7991">1</cx:pt>
          <cx:pt idx="7992">1</cx:pt>
          <cx:pt idx="7993">5</cx:pt>
          <cx:pt idx="7994">5</cx:pt>
          <cx:pt idx="7995">2</cx:pt>
          <cx:pt idx="7996">4</cx:pt>
          <cx:pt idx="7997">3</cx:pt>
          <cx:pt idx="7998">4</cx:pt>
          <cx:pt idx="7999">1</cx:pt>
          <cx:pt idx="8000">4</cx:pt>
          <cx:pt idx="8001">2</cx:pt>
          <cx:pt idx="8002">4</cx:pt>
          <cx:pt idx="8003">4</cx:pt>
          <cx:pt idx="8004">4</cx:pt>
          <cx:pt idx="8005">4</cx:pt>
          <cx:pt idx="8006">2</cx:pt>
          <cx:pt idx="8007">2</cx:pt>
          <cx:pt idx="8008">2</cx:pt>
          <cx:pt idx="8009">4</cx:pt>
          <cx:pt idx="8010">3</cx:pt>
          <cx:pt idx="8011">3</cx:pt>
          <cx:pt idx="8012">5</cx:pt>
          <cx:pt idx="8013">2</cx:pt>
          <cx:pt idx="8014">1</cx:pt>
          <cx:pt idx="8015">4</cx:pt>
          <cx:pt idx="8016">3</cx:pt>
          <cx:pt idx="8017">2</cx:pt>
          <cx:pt idx="8018">5</cx:pt>
          <cx:pt idx="8019">4</cx:pt>
          <cx:pt idx="8020">3</cx:pt>
          <cx:pt idx="8021">2</cx:pt>
          <cx:pt idx="8022">1</cx:pt>
          <cx:pt idx="8023">3</cx:pt>
          <cx:pt idx="8024">1</cx:pt>
          <cx:pt idx="8025">4</cx:pt>
          <cx:pt idx="8026">2</cx:pt>
          <cx:pt idx="8027">3</cx:pt>
          <cx:pt idx="8028">3</cx:pt>
          <cx:pt idx="8029">4</cx:pt>
          <cx:pt idx="8030">2</cx:pt>
          <cx:pt idx="8031">2</cx:pt>
          <cx:pt idx="8032">2</cx:pt>
          <cx:pt idx="8033">2</cx:pt>
          <cx:pt idx="8034">1</cx:pt>
          <cx:pt idx="8035">5</cx:pt>
          <cx:pt idx="8036">1</cx:pt>
          <cx:pt idx="8037">5</cx:pt>
          <cx:pt idx="8038">3</cx:pt>
          <cx:pt idx="8039">3</cx:pt>
          <cx:pt idx="8040">2</cx:pt>
          <cx:pt idx="8041">4</cx:pt>
          <cx:pt idx="8042">2</cx:pt>
          <cx:pt idx="8043">2</cx:pt>
          <cx:pt idx="8044">5</cx:pt>
          <cx:pt idx="8045">2</cx:pt>
          <cx:pt idx="8046">2</cx:pt>
          <cx:pt idx="8047">5</cx:pt>
          <cx:pt idx="8048">2</cx:pt>
          <cx:pt idx="8049">2</cx:pt>
          <cx:pt idx="8050">3</cx:pt>
          <cx:pt idx="8051">2</cx:pt>
          <cx:pt idx="8052">3</cx:pt>
          <cx:pt idx="8053">4</cx:pt>
          <cx:pt idx="8054">2</cx:pt>
          <cx:pt idx="8055">4</cx:pt>
          <cx:pt idx="8056">4</cx:pt>
          <cx:pt idx="8057">2</cx:pt>
          <cx:pt idx="8058">4</cx:pt>
          <cx:pt idx="8059">3</cx:pt>
          <cx:pt idx="8060">5</cx:pt>
          <cx:pt idx="8061">4</cx:pt>
          <cx:pt idx="8062">1</cx:pt>
          <cx:pt idx="8063">3</cx:pt>
          <cx:pt idx="8064">1</cx:pt>
          <cx:pt idx="8065">2</cx:pt>
          <cx:pt idx="8066">5</cx:pt>
          <cx:pt idx="8067">2</cx:pt>
          <cx:pt idx="8068">2</cx:pt>
          <cx:pt idx="8069">4</cx:pt>
          <cx:pt idx="8070">3</cx:pt>
          <cx:pt idx="8071">1</cx:pt>
          <cx:pt idx="8072">1</cx:pt>
          <cx:pt idx="8073">5</cx:pt>
          <cx:pt idx="8074">5</cx:pt>
          <cx:pt idx="8075">2</cx:pt>
          <cx:pt idx="8076">4</cx:pt>
          <cx:pt idx="8077">2</cx:pt>
          <cx:pt idx="8078">3</cx:pt>
          <cx:pt idx="8079">3</cx:pt>
          <cx:pt idx="8080">2</cx:pt>
          <cx:pt idx="8081">1</cx:pt>
          <cx:pt idx="8082">1</cx:pt>
          <cx:pt idx="8083">3</cx:pt>
          <cx:pt idx="8084">5</cx:pt>
          <cx:pt idx="8085">4</cx:pt>
          <cx:pt idx="8086">2</cx:pt>
          <cx:pt idx="8087">4</cx:pt>
          <cx:pt idx="8088">2</cx:pt>
          <cx:pt idx="8089">3</cx:pt>
          <cx:pt idx="8090">5</cx:pt>
          <cx:pt idx="8091">1</cx:pt>
          <cx:pt idx="8092">3</cx:pt>
          <cx:pt idx="8093">1</cx:pt>
          <cx:pt idx="8094">3</cx:pt>
          <cx:pt idx="8095">1</cx:pt>
          <cx:pt idx="8096">3</cx:pt>
          <cx:pt idx="8097">2</cx:pt>
          <cx:pt idx="8098">1</cx:pt>
          <cx:pt idx="8099">3</cx:pt>
          <cx:pt idx="8100">1</cx:pt>
          <cx:pt idx="8101">3</cx:pt>
          <cx:pt idx="8102">3</cx:pt>
          <cx:pt idx="8103">1</cx:pt>
          <cx:pt idx="8104">5</cx:pt>
          <cx:pt idx="8105">5</cx:pt>
          <cx:pt idx="8106">2</cx:pt>
          <cx:pt idx="8107">4</cx:pt>
          <cx:pt idx="8108">1</cx:pt>
          <cx:pt idx="8109">5</cx:pt>
          <cx:pt idx="8110">3</cx:pt>
          <cx:pt idx="8111">4</cx:pt>
          <cx:pt idx="8112">4</cx:pt>
          <cx:pt idx="8113">4</cx:pt>
          <cx:pt idx="8114">3</cx:pt>
          <cx:pt idx="8115">3</cx:pt>
          <cx:pt idx="8116">5</cx:pt>
          <cx:pt idx="8117">3</cx:pt>
          <cx:pt idx="8118">5</cx:pt>
          <cx:pt idx="8119">1</cx:pt>
          <cx:pt idx="8120">1</cx:pt>
          <cx:pt idx="8121">2</cx:pt>
          <cx:pt idx="8122">4</cx:pt>
          <cx:pt idx="8123">4</cx:pt>
          <cx:pt idx="8124">1</cx:pt>
          <cx:pt idx="8125">1</cx:pt>
          <cx:pt idx="8126">3</cx:pt>
          <cx:pt idx="8127">3</cx:pt>
          <cx:pt idx="8128">4</cx:pt>
          <cx:pt idx="8129">2</cx:pt>
          <cx:pt idx="8130">2</cx:pt>
          <cx:pt idx="8131">3</cx:pt>
          <cx:pt idx="8132">4</cx:pt>
          <cx:pt idx="8133">4</cx:pt>
          <cx:pt idx="8134">3</cx:pt>
          <cx:pt idx="8135">4</cx:pt>
          <cx:pt idx="8136">2</cx:pt>
          <cx:pt idx="8137">4</cx:pt>
          <cx:pt idx="8138">0</cx:pt>
          <cx:pt idx="8139">2</cx:pt>
          <cx:pt idx="8140">3</cx:pt>
          <cx:pt idx="8141">3</cx:pt>
          <cx:pt idx="8142">5</cx:pt>
          <cx:pt idx="8143">2</cx:pt>
          <cx:pt idx="8144">5</cx:pt>
          <cx:pt idx="8145">4</cx:pt>
          <cx:pt idx="8146">2</cx:pt>
          <cx:pt idx="8147">5</cx:pt>
          <cx:pt idx="8148">3</cx:pt>
          <cx:pt idx="8149">2</cx:pt>
          <cx:pt idx="8150">3</cx:pt>
          <cx:pt idx="8151">3</cx:pt>
          <cx:pt idx="8152">4</cx:pt>
          <cx:pt idx="8153">3</cx:pt>
          <cx:pt idx="8154">4</cx:pt>
          <cx:pt idx="8155">5</cx:pt>
          <cx:pt idx="8156">3</cx:pt>
          <cx:pt idx="8157">3</cx:pt>
          <cx:pt idx="8158">1</cx:pt>
          <cx:pt idx="8159">5</cx:pt>
          <cx:pt idx="8160">3</cx:pt>
          <cx:pt idx="8161">3</cx:pt>
          <cx:pt idx="8162">1</cx:pt>
          <cx:pt idx="8163">5</cx:pt>
          <cx:pt idx="8164">0</cx:pt>
          <cx:pt idx="8165">3</cx:pt>
          <cx:pt idx="8166">1</cx:pt>
          <cx:pt idx="8167">5</cx:pt>
          <cx:pt idx="8168">2</cx:pt>
          <cx:pt idx="8169">1</cx:pt>
          <cx:pt idx="8170">4</cx:pt>
          <cx:pt idx="8171">4</cx:pt>
          <cx:pt idx="8172">2</cx:pt>
          <cx:pt idx="8173">1</cx:pt>
          <cx:pt idx="8174">2</cx:pt>
          <cx:pt idx="8175">2</cx:pt>
          <cx:pt idx="8176">4</cx:pt>
          <cx:pt idx="8177">2</cx:pt>
          <cx:pt idx="8178">2</cx:pt>
          <cx:pt idx="8179">2</cx:pt>
          <cx:pt idx="8180">1</cx:pt>
          <cx:pt idx="8181">3</cx:pt>
          <cx:pt idx="8182">2</cx:pt>
          <cx:pt idx="8183">2</cx:pt>
          <cx:pt idx="8184">0</cx:pt>
          <cx:pt idx="8185">2</cx:pt>
          <cx:pt idx="8186">0</cx:pt>
          <cx:pt idx="8187">2</cx:pt>
          <cx:pt idx="8188">3</cx:pt>
          <cx:pt idx="8189">2</cx:pt>
          <cx:pt idx="8190">4</cx:pt>
          <cx:pt idx="8191">3</cx:pt>
          <cx:pt idx="8192">1</cx:pt>
          <cx:pt idx="8193">1</cx:pt>
          <cx:pt idx="8194">1</cx:pt>
          <cx:pt idx="8195">2</cx:pt>
          <cx:pt idx="8196">3</cx:pt>
          <cx:pt idx="8197">1</cx:pt>
          <cx:pt idx="8198">4</cx:pt>
          <cx:pt idx="8199">1</cx:pt>
          <cx:pt idx="8200">5</cx:pt>
          <cx:pt idx="8201">3</cx:pt>
          <cx:pt idx="8202">2</cx:pt>
          <cx:pt idx="8203">3</cx:pt>
          <cx:pt idx="8204">5</cx:pt>
          <cx:pt idx="8205">1</cx:pt>
          <cx:pt idx="8206">5</cx:pt>
          <cx:pt idx="8207">2</cx:pt>
          <cx:pt idx="8208">4</cx:pt>
          <cx:pt idx="8209">3</cx:pt>
          <cx:pt idx="8210">3</cx:pt>
          <cx:pt idx="8211">1</cx:pt>
          <cx:pt idx="8212">0</cx:pt>
          <cx:pt idx="8213">0</cx:pt>
          <cx:pt idx="8214">3</cx:pt>
          <cx:pt idx="8215">1</cx:pt>
          <cx:pt idx="8216">5</cx:pt>
          <cx:pt idx="8217">3</cx:pt>
          <cx:pt idx="8218">4</cx:pt>
          <cx:pt idx="8219">5</cx:pt>
          <cx:pt idx="8220">3</cx:pt>
          <cx:pt idx="8221">3</cx:pt>
          <cx:pt idx="8222">5</cx:pt>
          <cx:pt idx="8223">3</cx:pt>
          <cx:pt idx="8224">3</cx:pt>
          <cx:pt idx="8225">2</cx:pt>
          <cx:pt idx="8226">1</cx:pt>
          <cx:pt idx="8227">4</cx:pt>
          <cx:pt idx="8228">4</cx:pt>
          <cx:pt idx="8229">3</cx:pt>
          <cx:pt idx="8230">2</cx:pt>
          <cx:pt idx="8231">1</cx:pt>
          <cx:pt idx="8232">2</cx:pt>
          <cx:pt idx="8233">2</cx:pt>
          <cx:pt idx="8234">2</cx:pt>
          <cx:pt idx="8235">3</cx:pt>
          <cx:pt idx="8236">2</cx:pt>
          <cx:pt idx="8237">4</cx:pt>
          <cx:pt idx="8238">3</cx:pt>
          <cx:pt idx="8239">4</cx:pt>
          <cx:pt idx="8240">4</cx:pt>
          <cx:pt idx="8241">1</cx:pt>
          <cx:pt idx="8242">4</cx:pt>
          <cx:pt idx="8243">4</cx:pt>
          <cx:pt idx="8244">2</cx:pt>
          <cx:pt idx="8245">2</cx:pt>
          <cx:pt idx="8246">2</cx:pt>
          <cx:pt idx="8247">3</cx:pt>
          <cx:pt idx="8248">1</cx:pt>
          <cx:pt idx="8249">2</cx:pt>
          <cx:pt idx="8250">2</cx:pt>
          <cx:pt idx="8251">2</cx:pt>
          <cx:pt idx="8252">2</cx:pt>
          <cx:pt idx="8253">4</cx:pt>
          <cx:pt idx="8254">4</cx:pt>
          <cx:pt idx="8255">3</cx:pt>
          <cx:pt idx="8256">4</cx:pt>
          <cx:pt idx="8257">5</cx:pt>
          <cx:pt idx="8258">1</cx:pt>
          <cx:pt idx="8259">0</cx:pt>
          <cx:pt idx="8260">4</cx:pt>
          <cx:pt idx="8261">5</cx:pt>
          <cx:pt idx="8262">3</cx:pt>
          <cx:pt idx="8263">3</cx:pt>
          <cx:pt idx="8264">4</cx:pt>
          <cx:pt idx="8265">3</cx:pt>
          <cx:pt idx="8266">0</cx:pt>
          <cx:pt idx="8267">1</cx:pt>
          <cx:pt idx="8268">4</cx:pt>
          <cx:pt idx="8269">4</cx:pt>
          <cx:pt idx="8270">4</cx:pt>
          <cx:pt idx="8271">4</cx:pt>
          <cx:pt idx="8272">4</cx:pt>
          <cx:pt idx="8273">2</cx:pt>
          <cx:pt idx="8274">3</cx:pt>
          <cx:pt idx="8275">1</cx:pt>
          <cx:pt idx="8276">0</cx:pt>
          <cx:pt idx="8277">2</cx:pt>
          <cx:pt idx="8278">5</cx:pt>
          <cx:pt idx="8279">4</cx:pt>
          <cx:pt idx="8280">2</cx:pt>
          <cx:pt idx="8281">4</cx:pt>
          <cx:pt idx="8282">4</cx:pt>
          <cx:pt idx="8283">3</cx:pt>
          <cx:pt idx="8284">1</cx:pt>
          <cx:pt idx="8285">3</cx:pt>
          <cx:pt idx="8286">1</cx:pt>
          <cx:pt idx="8287">3</cx:pt>
          <cx:pt idx="8288">4</cx:pt>
          <cx:pt idx="8289">4</cx:pt>
          <cx:pt idx="8290">3</cx:pt>
          <cx:pt idx="8291">1</cx:pt>
          <cx:pt idx="8292">4</cx:pt>
          <cx:pt idx="8293">2</cx:pt>
          <cx:pt idx="8294">2</cx:pt>
          <cx:pt idx="8295">1</cx:pt>
          <cx:pt idx="8296">5</cx:pt>
          <cx:pt idx="8297">3</cx:pt>
          <cx:pt idx="8298">5</cx:pt>
          <cx:pt idx="8299">3</cx:pt>
          <cx:pt idx="8300">2</cx:pt>
          <cx:pt idx="8301">1</cx:pt>
          <cx:pt idx="8302">3</cx:pt>
          <cx:pt idx="8303">1</cx:pt>
          <cx:pt idx="8304">1</cx:pt>
          <cx:pt idx="8305">1</cx:pt>
          <cx:pt idx="8306">1</cx:pt>
          <cx:pt idx="8307">3</cx:pt>
          <cx:pt idx="8308">3</cx:pt>
          <cx:pt idx="8309">3</cx:pt>
          <cx:pt idx="8310">3</cx:pt>
          <cx:pt idx="8311">5</cx:pt>
          <cx:pt idx="8312">4</cx:pt>
          <cx:pt idx="8313">3</cx:pt>
          <cx:pt idx="8314">3</cx:pt>
          <cx:pt idx="8315">1</cx:pt>
          <cx:pt idx="8316">3</cx:pt>
          <cx:pt idx="8317">3</cx:pt>
          <cx:pt idx="8318">3</cx:pt>
          <cx:pt idx="8319">3</cx:pt>
          <cx:pt idx="8320">4</cx:pt>
          <cx:pt idx="8321">2</cx:pt>
          <cx:pt idx="8322">2</cx:pt>
          <cx:pt idx="8323">2</cx:pt>
          <cx:pt idx="8324">4</cx:pt>
          <cx:pt idx="8325">2</cx:pt>
          <cx:pt idx="8326">4</cx:pt>
          <cx:pt idx="8327">2</cx:pt>
          <cx:pt idx="8328">1</cx:pt>
          <cx:pt idx="8329">5</cx:pt>
          <cx:pt idx="8330">3</cx:pt>
          <cx:pt idx="8331">5</cx:pt>
          <cx:pt idx="8332">2</cx:pt>
          <cx:pt idx="8333">3</cx:pt>
          <cx:pt idx="8334">4</cx:pt>
          <cx:pt idx="8335">2</cx:pt>
          <cx:pt idx="8336">5</cx:pt>
          <cx:pt idx="8337">2</cx:pt>
          <cx:pt idx="8338">4</cx:pt>
          <cx:pt idx="8339">3</cx:pt>
          <cx:pt idx="8340">5</cx:pt>
          <cx:pt idx="8341">2</cx:pt>
          <cx:pt idx="8342">3</cx:pt>
          <cx:pt idx="8343">5</cx:pt>
          <cx:pt idx="8344">1</cx:pt>
          <cx:pt idx="8345">4</cx:pt>
          <cx:pt idx="8346">2</cx:pt>
          <cx:pt idx="8347">4</cx:pt>
          <cx:pt idx="8348">1</cx:pt>
          <cx:pt idx="8349">4</cx:pt>
          <cx:pt idx="8350">4</cx:pt>
          <cx:pt idx="8351">4</cx:pt>
          <cx:pt idx="8352">2</cx:pt>
          <cx:pt idx="8353">4</cx:pt>
          <cx:pt idx="8354">5</cx:pt>
          <cx:pt idx="8355">3</cx:pt>
          <cx:pt idx="8356">2</cx:pt>
          <cx:pt idx="8357">1</cx:pt>
          <cx:pt idx="8358">2</cx:pt>
          <cx:pt idx="8359">4</cx:pt>
          <cx:pt idx="8360">2</cx:pt>
          <cx:pt idx="8361">1</cx:pt>
          <cx:pt idx="8362">2</cx:pt>
          <cx:pt idx="8363">3</cx:pt>
          <cx:pt idx="8364">4</cx:pt>
          <cx:pt idx="8365">2</cx:pt>
          <cx:pt idx="8366">2</cx:pt>
          <cx:pt idx="8367">4</cx:pt>
          <cx:pt idx="8368">4</cx:pt>
          <cx:pt idx="8369">1</cx:pt>
          <cx:pt idx="8370">1</cx:pt>
          <cx:pt idx="8371">2</cx:pt>
          <cx:pt idx="8372">1</cx:pt>
          <cx:pt idx="8373">5</cx:pt>
          <cx:pt idx="8374">4</cx:pt>
          <cx:pt idx="8375">5</cx:pt>
          <cx:pt idx="8376">2</cx:pt>
          <cx:pt idx="8377">2</cx:pt>
          <cx:pt idx="8378">2</cx:pt>
          <cx:pt idx="8379">2</cx:pt>
          <cx:pt idx="8380">2</cx:pt>
          <cx:pt idx="8381">3</cx:pt>
          <cx:pt idx="8382">3</cx:pt>
          <cx:pt idx="8383">1</cx:pt>
          <cx:pt idx="8384">4</cx:pt>
          <cx:pt idx="8385">2</cx:pt>
          <cx:pt idx="8386">0</cx:pt>
          <cx:pt idx="8387">3</cx:pt>
          <cx:pt idx="8388">3</cx:pt>
          <cx:pt idx="8389">1</cx:pt>
          <cx:pt idx="8390">2</cx:pt>
          <cx:pt idx="8391">3</cx:pt>
          <cx:pt idx="8392">1</cx:pt>
          <cx:pt idx="8393">5</cx:pt>
          <cx:pt idx="8394">1</cx:pt>
          <cx:pt idx="8395">2</cx:pt>
          <cx:pt idx="8396">5</cx:pt>
          <cx:pt idx="8397">4</cx:pt>
          <cx:pt idx="8398">3</cx:pt>
          <cx:pt idx="8399">1</cx:pt>
          <cx:pt idx="8400">4</cx:pt>
          <cx:pt idx="8401">4</cx:pt>
          <cx:pt idx="8402">2</cx:pt>
          <cx:pt idx="8403">5</cx:pt>
          <cx:pt idx="8404">4</cx:pt>
          <cx:pt idx="8405">1</cx:pt>
          <cx:pt idx="8406">5</cx:pt>
          <cx:pt idx="8407">2</cx:pt>
          <cx:pt idx="8408">4</cx:pt>
          <cx:pt idx="8409">1</cx:pt>
          <cx:pt idx="8410">4</cx:pt>
          <cx:pt idx="8411">3</cx:pt>
          <cx:pt idx="8412">5</cx:pt>
          <cx:pt idx="8413">1</cx:pt>
          <cx:pt idx="8414">5</cx:pt>
          <cx:pt idx="8415">5</cx:pt>
          <cx:pt idx="8416">4</cx:pt>
          <cx:pt idx="8417">1</cx:pt>
          <cx:pt idx="8418">2</cx:pt>
          <cx:pt idx="8419">3</cx:pt>
          <cx:pt idx="8420">3</cx:pt>
          <cx:pt idx="8421">3</cx:pt>
          <cx:pt idx="8422">4</cx:pt>
          <cx:pt idx="8423">4</cx:pt>
          <cx:pt idx="8424">1</cx:pt>
          <cx:pt idx="8425">2</cx:pt>
          <cx:pt idx="8426">3</cx:pt>
          <cx:pt idx="8427">1</cx:pt>
          <cx:pt idx="8428">3</cx:pt>
          <cx:pt idx="8429">1</cx:pt>
          <cx:pt idx="8430">2</cx:pt>
          <cx:pt idx="8431">2</cx:pt>
          <cx:pt idx="8432">2</cx:pt>
          <cx:pt idx="8433">0</cx:pt>
          <cx:pt idx="8434">2</cx:pt>
          <cx:pt idx="8435">3</cx:pt>
          <cx:pt idx="8436">1</cx:pt>
          <cx:pt idx="8437">2</cx:pt>
          <cx:pt idx="8438">3</cx:pt>
          <cx:pt idx="8439">2</cx:pt>
          <cx:pt idx="8440">3</cx:pt>
          <cx:pt idx="8441">1</cx:pt>
          <cx:pt idx="8442">2</cx:pt>
          <cx:pt idx="8443">1</cx:pt>
          <cx:pt idx="8444">5</cx:pt>
          <cx:pt idx="8445">2</cx:pt>
          <cx:pt idx="8446">1</cx:pt>
          <cx:pt idx="8447">2</cx:pt>
          <cx:pt idx="8448">1</cx:pt>
          <cx:pt idx="8449">1</cx:pt>
          <cx:pt idx="8450">5</cx:pt>
          <cx:pt idx="8451">5</cx:pt>
          <cx:pt idx="8452">4</cx:pt>
          <cx:pt idx="8453">2</cx:pt>
          <cx:pt idx="8454">1</cx:pt>
          <cx:pt idx="8455">4</cx:pt>
          <cx:pt idx="8456">3</cx:pt>
          <cx:pt idx="8457">5</cx:pt>
          <cx:pt idx="8458">0</cx:pt>
          <cx:pt idx="8459">2</cx:pt>
          <cx:pt idx="8460">5</cx:pt>
          <cx:pt idx="8461">3</cx:pt>
          <cx:pt idx="8462">4</cx:pt>
          <cx:pt idx="8463">0</cx:pt>
          <cx:pt idx="8464">2</cx:pt>
          <cx:pt idx="8465">2</cx:pt>
          <cx:pt idx="8466">3</cx:pt>
          <cx:pt idx="8467">1</cx:pt>
          <cx:pt idx="8468">2</cx:pt>
          <cx:pt idx="8469">2</cx:pt>
          <cx:pt idx="8470">1</cx:pt>
          <cx:pt idx="8471">3</cx:pt>
          <cx:pt idx="8472">1</cx:pt>
          <cx:pt idx="8473">2</cx:pt>
          <cx:pt idx="8474">3</cx:pt>
          <cx:pt idx="8475">3</cx:pt>
          <cx:pt idx="8476">2</cx:pt>
          <cx:pt idx="8477">2</cx:pt>
          <cx:pt idx="8478">5</cx:pt>
          <cx:pt idx="8479">3</cx:pt>
          <cx:pt idx="8480">2</cx:pt>
          <cx:pt idx="8481">5</cx:pt>
          <cx:pt idx="8482">2</cx:pt>
          <cx:pt idx="8483">4</cx:pt>
          <cx:pt idx="8484">2</cx:pt>
          <cx:pt idx="8485">3</cx:pt>
          <cx:pt idx="8486">3</cx:pt>
          <cx:pt idx="8487">4</cx:pt>
          <cx:pt idx="8488">2</cx:pt>
          <cx:pt idx="8489">1</cx:pt>
          <cx:pt idx="8490">3</cx:pt>
          <cx:pt idx="8491">2</cx:pt>
          <cx:pt idx="8492">1</cx:pt>
          <cx:pt idx="8493">2</cx:pt>
          <cx:pt idx="8494">2</cx:pt>
          <cx:pt idx="8495">5</cx:pt>
          <cx:pt idx="8496">2</cx:pt>
          <cx:pt idx="8497">4</cx:pt>
          <cx:pt idx="8498">1</cx:pt>
          <cx:pt idx="8499">4</cx:pt>
          <cx:pt idx="8500">1</cx:pt>
          <cx:pt idx="8501">5</cx:pt>
          <cx:pt idx="8502">5</cx:pt>
          <cx:pt idx="8503">1</cx:pt>
          <cx:pt idx="8504">0</cx:pt>
          <cx:pt idx="8505">3</cx:pt>
          <cx:pt idx="8506">4</cx:pt>
          <cx:pt idx="8507">0</cx:pt>
          <cx:pt idx="8508">3</cx:pt>
          <cx:pt idx="8509">1</cx:pt>
          <cx:pt idx="8510">1</cx:pt>
          <cx:pt idx="8511">1</cx:pt>
          <cx:pt idx="8512">4</cx:pt>
          <cx:pt idx="8513">4</cx:pt>
          <cx:pt idx="8514">2</cx:pt>
          <cx:pt idx="8515">3</cx:pt>
          <cx:pt idx="8516">1</cx:pt>
          <cx:pt idx="8517">1</cx:pt>
          <cx:pt idx="8518">2</cx:pt>
          <cx:pt idx="8519">4</cx:pt>
          <cx:pt idx="8520">4</cx:pt>
          <cx:pt idx="8521">1</cx:pt>
          <cx:pt idx="8522">1</cx:pt>
          <cx:pt idx="8523">1</cx:pt>
          <cx:pt idx="8524">1</cx:pt>
          <cx:pt idx="8525">2</cx:pt>
          <cx:pt idx="8526">4</cx:pt>
          <cx:pt idx="8527">1</cx:pt>
          <cx:pt idx="8528">2</cx:pt>
          <cx:pt idx="8529">2</cx:pt>
          <cx:pt idx="8530">1</cx:pt>
          <cx:pt idx="8531">3</cx:pt>
          <cx:pt idx="8532">1</cx:pt>
          <cx:pt idx="8533">1</cx:pt>
          <cx:pt idx="8534">3</cx:pt>
          <cx:pt idx="8535">2</cx:pt>
          <cx:pt idx="8536">5</cx:pt>
          <cx:pt idx="8537">3</cx:pt>
          <cx:pt idx="8538">5</cx:pt>
          <cx:pt idx="8539">3</cx:pt>
          <cx:pt idx="8540">3</cx:pt>
          <cx:pt idx="8541">5</cx:pt>
          <cx:pt idx="8542">3</cx:pt>
          <cx:pt idx="8543">5</cx:pt>
          <cx:pt idx="8544">3</cx:pt>
          <cx:pt idx="8545">2</cx:pt>
          <cx:pt idx="8546">4</cx:pt>
          <cx:pt idx="8547">3</cx:pt>
          <cx:pt idx="8548">2</cx:pt>
          <cx:pt idx="8549">5</cx:pt>
          <cx:pt idx="8550">3</cx:pt>
          <cx:pt idx="8551">3</cx:pt>
          <cx:pt idx="8552">3</cx:pt>
          <cx:pt idx="8553">1</cx:pt>
          <cx:pt idx="8554">2</cx:pt>
          <cx:pt idx="8555">2</cx:pt>
          <cx:pt idx="8556">2</cx:pt>
          <cx:pt idx="8557">2</cx:pt>
          <cx:pt idx="8558">2</cx:pt>
          <cx:pt idx="8559">4</cx:pt>
          <cx:pt idx="8560">1</cx:pt>
          <cx:pt idx="8561">3</cx:pt>
          <cx:pt idx="8562">2</cx:pt>
          <cx:pt idx="8563">1</cx:pt>
          <cx:pt idx="8564">3</cx:pt>
          <cx:pt idx="8565">2</cx:pt>
          <cx:pt idx="8566">3</cx:pt>
          <cx:pt idx="8567">1</cx:pt>
          <cx:pt idx="8568">4</cx:pt>
          <cx:pt idx="8569">3</cx:pt>
          <cx:pt idx="8570">5</cx:pt>
          <cx:pt idx="8571">2</cx:pt>
          <cx:pt idx="8572">2</cx:pt>
          <cx:pt idx="8573">2</cx:pt>
          <cx:pt idx="8574">3</cx:pt>
          <cx:pt idx="8575">1</cx:pt>
          <cx:pt idx="8576">3</cx:pt>
          <cx:pt idx="8577">1</cx:pt>
          <cx:pt idx="8578">3</cx:pt>
          <cx:pt idx="8579">1</cx:pt>
          <cx:pt idx="8580">5</cx:pt>
          <cx:pt idx="8581">2</cx:pt>
          <cx:pt idx="8582">4</cx:pt>
          <cx:pt idx="8583">1</cx:pt>
          <cx:pt idx="8584">1</cx:pt>
          <cx:pt idx="8585">3</cx:pt>
          <cx:pt idx="8586">5</cx:pt>
          <cx:pt idx="8587">5</cx:pt>
          <cx:pt idx="8588">2</cx:pt>
          <cx:pt idx="8589">3</cx:pt>
          <cx:pt idx="8590">1</cx:pt>
          <cx:pt idx="8591">2</cx:pt>
          <cx:pt idx="8592">1</cx:pt>
          <cx:pt idx="8593">4</cx:pt>
          <cx:pt idx="8594">4</cx:pt>
          <cx:pt idx="8595">3</cx:pt>
          <cx:pt idx="8596">2</cx:pt>
          <cx:pt idx="8597">1</cx:pt>
          <cx:pt idx="8598">1</cx:pt>
          <cx:pt idx="8599">5</cx:pt>
          <cx:pt idx="8600">5</cx:pt>
          <cx:pt idx="8601">1</cx:pt>
          <cx:pt idx="8602">2</cx:pt>
          <cx:pt idx="8603">5</cx:pt>
          <cx:pt idx="8604">1</cx:pt>
          <cx:pt idx="8605">2</cx:pt>
          <cx:pt idx="8606">1</cx:pt>
          <cx:pt idx="8607">5</cx:pt>
          <cx:pt idx="8608">5</cx:pt>
          <cx:pt idx="8609">2</cx:pt>
          <cx:pt idx="8610">2</cx:pt>
          <cx:pt idx="8611">3</cx:pt>
          <cx:pt idx="8612">3</cx:pt>
          <cx:pt idx="8613">3</cx:pt>
          <cx:pt idx="8614">2</cx:pt>
          <cx:pt idx="8615">2</cx:pt>
          <cx:pt idx="8616">5</cx:pt>
          <cx:pt idx="8617">3</cx:pt>
          <cx:pt idx="8618">3</cx:pt>
          <cx:pt idx="8619">0</cx:pt>
          <cx:pt idx="8620">1</cx:pt>
          <cx:pt idx="8621">5</cx:pt>
          <cx:pt idx="8622">2</cx:pt>
          <cx:pt idx="8623">3</cx:pt>
          <cx:pt idx="8624">4</cx:pt>
          <cx:pt idx="8625">2</cx:pt>
          <cx:pt idx="8626">2</cx:pt>
          <cx:pt idx="8627">0</cx:pt>
          <cx:pt idx="8628">3</cx:pt>
          <cx:pt idx="8629">4</cx:pt>
          <cx:pt idx="8630">5</cx:pt>
          <cx:pt idx="8631">0</cx:pt>
          <cx:pt idx="8632">0</cx:pt>
          <cx:pt idx="8633">4</cx:pt>
          <cx:pt idx="8634">2</cx:pt>
          <cx:pt idx="8635">1</cx:pt>
          <cx:pt idx="8636">5</cx:pt>
          <cx:pt idx="8637">3</cx:pt>
          <cx:pt idx="8638">5</cx:pt>
          <cx:pt idx="8639">4</cx:pt>
          <cx:pt idx="8640">3</cx:pt>
          <cx:pt idx="8641">3</cx:pt>
          <cx:pt idx="8642">2</cx:pt>
          <cx:pt idx="8643">1</cx:pt>
          <cx:pt idx="8644">4</cx:pt>
          <cx:pt idx="8645">1</cx:pt>
          <cx:pt idx="8646">2</cx:pt>
          <cx:pt idx="8647">1</cx:pt>
          <cx:pt idx="8648">5</cx:pt>
          <cx:pt idx="8649">5</cx:pt>
          <cx:pt idx="8650">5</cx:pt>
          <cx:pt idx="8651">3</cx:pt>
          <cx:pt idx="8652">4</cx:pt>
          <cx:pt idx="8653">1</cx:pt>
          <cx:pt idx="8654">4</cx:pt>
          <cx:pt idx="8655">2</cx:pt>
          <cx:pt idx="8656">1</cx:pt>
          <cx:pt idx="8657">3</cx:pt>
          <cx:pt idx="8658">3</cx:pt>
          <cx:pt idx="8659">4</cx:pt>
          <cx:pt idx="8660">0</cx:pt>
          <cx:pt idx="8661">1</cx:pt>
          <cx:pt idx="8662">2</cx:pt>
          <cx:pt idx="8663">3</cx:pt>
          <cx:pt idx="8664">3</cx:pt>
          <cx:pt idx="8665">5</cx:pt>
          <cx:pt idx="8666">2</cx:pt>
          <cx:pt idx="8667">4</cx:pt>
          <cx:pt idx="8668">1</cx:pt>
          <cx:pt idx="8669">3</cx:pt>
          <cx:pt idx="8670">4</cx:pt>
          <cx:pt idx="8671">1</cx:pt>
          <cx:pt idx="8672">3</cx:pt>
          <cx:pt idx="8673">3</cx:pt>
          <cx:pt idx="8674">3</cx:pt>
          <cx:pt idx="8675">4</cx:pt>
          <cx:pt idx="8676">2</cx:pt>
          <cx:pt idx="8677">2</cx:pt>
          <cx:pt idx="8678">2</cx:pt>
          <cx:pt idx="8679">2</cx:pt>
          <cx:pt idx="8680">2</cx:pt>
          <cx:pt idx="8681">3</cx:pt>
          <cx:pt idx="8682">1</cx:pt>
          <cx:pt idx="8683">2</cx:pt>
          <cx:pt idx="8684">3</cx:pt>
          <cx:pt idx="8685">1</cx:pt>
          <cx:pt idx="8686">4</cx:pt>
          <cx:pt idx="8687">2</cx:pt>
          <cx:pt idx="8688">4</cx:pt>
          <cx:pt idx="8689">4</cx:pt>
          <cx:pt idx="8690">2</cx:pt>
          <cx:pt idx="8691">2</cx:pt>
          <cx:pt idx="8692">1</cx:pt>
          <cx:pt idx="8693">0</cx:pt>
          <cx:pt idx="8694">2</cx:pt>
          <cx:pt idx="8695">1</cx:pt>
          <cx:pt idx="8696">2</cx:pt>
          <cx:pt idx="8697">1</cx:pt>
          <cx:pt idx="8698">1</cx:pt>
          <cx:pt idx="8699">0</cx:pt>
          <cx:pt idx="8700">5</cx:pt>
          <cx:pt idx="8701">4</cx:pt>
          <cx:pt idx="8702">4</cx:pt>
          <cx:pt idx="8703">2</cx:pt>
          <cx:pt idx="8704">2</cx:pt>
          <cx:pt idx="8705">0</cx:pt>
          <cx:pt idx="8706">2</cx:pt>
          <cx:pt idx="8707">4</cx:pt>
          <cx:pt idx="8708">5</cx:pt>
          <cx:pt idx="8709">4</cx:pt>
          <cx:pt idx="8710">2</cx:pt>
          <cx:pt idx="8711">2</cx:pt>
          <cx:pt idx="8712">2</cx:pt>
          <cx:pt idx="8713">3</cx:pt>
          <cx:pt idx="8714">3</cx:pt>
          <cx:pt idx="8715">1</cx:pt>
          <cx:pt idx="8716">3</cx:pt>
          <cx:pt idx="8717">2</cx:pt>
          <cx:pt idx="8718">5</cx:pt>
          <cx:pt idx="8719">3</cx:pt>
          <cx:pt idx="8720">5</cx:pt>
          <cx:pt idx="8721">4</cx:pt>
          <cx:pt idx="8722">3</cx:pt>
          <cx:pt idx="8723">5</cx:pt>
          <cx:pt idx="8724">5</cx:pt>
          <cx:pt idx="8725">3</cx:pt>
          <cx:pt idx="8726">1</cx:pt>
          <cx:pt idx="8727">5</cx:pt>
          <cx:pt idx="8728">4</cx:pt>
          <cx:pt idx="8729">2</cx:pt>
          <cx:pt idx="8730">1</cx:pt>
          <cx:pt idx="8731">4</cx:pt>
          <cx:pt idx="8732">1</cx:pt>
          <cx:pt idx="8733">0</cx:pt>
          <cx:pt idx="8734">1</cx:pt>
          <cx:pt idx="8735">3</cx:pt>
          <cx:pt idx="8736">2</cx:pt>
          <cx:pt idx="8737">3</cx:pt>
          <cx:pt idx="8738">4</cx:pt>
          <cx:pt idx="8739">2</cx:pt>
          <cx:pt idx="8740">3</cx:pt>
          <cx:pt idx="8741">1</cx:pt>
          <cx:pt idx="8742">4</cx:pt>
          <cx:pt idx="8743">1</cx:pt>
          <cx:pt idx="8744">3</cx:pt>
          <cx:pt idx="8745">4</cx:pt>
          <cx:pt idx="8746">2</cx:pt>
          <cx:pt idx="8747">4</cx:pt>
          <cx:pt idx="8748">1</cx:pt>
          <cx:pt idx="8749">1</cx:pt>
          <cx:pt idx="8750">2</cx:pt>
          <cx:pt idx="8751">1</cx:pt>
          <cx:pt idx="8752">2</cx:pt>
          <cx:pt idx="8753">3</cx:pt>
          <cx:pt idx="8754">1</cx:pt>
          <cx:pt idx="8755">3</cx:pt>
          <cx:pt idx="8756">2</cx:pt>
          <cx:pt idx="8757">5</cx:pt>
          <cx:pt idx="8758">3</cx:pt>
          <cx:pt idx="8759">1</cx:pt>
          <cx:pt idx="8760">3</cx:pt>
          <cx:pt idx="8761">4</cx:pt>
          <cx:pt idx="8762">5</cx:pt>
          <cx:pt idx="8763">3</cx:pt>
          <cx:pt idx="8764">5</cx:pt>
          <cx:pt idx="8765">2</cx:pt>
          <cx:pt idx="8766">5</cx:pt>
          <cx:pt idx="8767">2</cx:pt>
          <cx:pt idx="8768">1</cx:pt>
          <cx:pt idx="8769">0</cx:pt>
          <cx:pt idx="8770">4</cx:pt>
          <cx:pt idx="8771">2</cx:pt>
          <cx:pt idx="8772">1</cx:pt>
          <cx:pt idx="8773">4</cx:pt>
          <cx:pt idx="8774">2</cx:pt>
          <cx:pt idx="8775">3</cx:pt>
          <cx:pt idx="8776">4</cx:pt>
          <cx:pt idx="8777">3</cx:pt>
          <cx:pt idx="8778">4</cx:pt>
          <cx:pt idx="8779">2</cx:pt>
          <cx:pt idx="8780">4</cx:pt>
          <cx:pt idx="8781">4</cx:pt>
          <cx:pt idx="8782">3</cx:pt>
          <cx:pt idx="8783">3</cx:pt>
          <cx:pt idx="8784">4</cx:pt>
          <cx:pt idx="8785">5</cx:pt>
          <cx:pt idx="8786">5</cx:pt>
          <cx:pt idx="8787">2</cx:pt>
          <cx:pt idx="8788">3</cx:pt>
          <cx:pt idx="8789">1</cx:pt>
          <cx:pt idx="8790">4</cx:pt>
          <cx:pt idx="8791">4</cx:pt>
          <cx:pt idx="8792">3</cx:pt>
          <cx:pt idx="8793">1</cx:pt>
          <cx:pt idx="8794">4</cx:pt>
          <cx:pt idx="8795">2</cx:pt>
          <cx:pt idx="8796">3</cx:pt>
          <cx:pt idx="8797">3</cx:pt>
          <cx:pt idx="8798">2</cx:pt>
          <cx:pt idx="8799">5</cx:pt>
          <cx:pt idx="8800">3</cx:pt>
          <cx:pt idx="8801">5</cx:pt>
          <cx:pt idx="8802">2</cx:pt>
          <cx:pt idx="8803">4</cx:pt>
          <cx:pt idx="8804">3</cx:pt>
          <cx:pt idx="8805">4</cx:pt>
          <cx:pt idx="8806">3</cx:pt>
          <cx:pt idx="8807">5</cx:pt>
          <cx:pt idx="8808">5</cx:pt>
          <cx:pt idx="8809">4</cx:pt>
          <cx:pt idx="8810">3</cx:pt>
          <cx:pt idx="8811">3</cx:pt>
          <cx:pt idx="8812">2</cx:pt>
          <cx:pt idx="8813">3</cx:pt>
          <cx:pt idx="8814">1</cx:pt>
          <cx:pt idx="8815">5</cx:pt>
          <cx:pt idx="8816">3</cx:pt>
          <cx:pt idx="8817">4</cx:pt>
          <cx:pt idx="8818">3</cx:pt>
          <cx:pt idx="8819">2</cx:pt>
          <cx:pt idx="8820">0</cx:pt>
          <cx:pt idx="8821">3</cx:pt>
          <cx:pt idx="8822">4</cx:pt>
          <cx:pt idx="8823">2</cx:pt>
          <cx:pt idx="8824">2</cx:pt>
          <cx:pt idx="8825">4</cx:pt>
          <cx:pt idx="8826">2</cx:pt>
          <cx:pt idx="8827">3</cx:pt>
          <cx:pt idx="8828">4</cx:pt>
          <cx:pt idx="8829">4</cx:pt>
          <cx:pt idx="8830">2</cx:pt>
          <cx:pt idx="8831">2</cx:pt>
          <cx:pt idx="8832">2</cx:pt>
          <cx:pt idx="8833">2</cx:pt>
          <cx:pt idx="8834">4</cx:pt>
          <cx:pt idx="8835">2</cx:pt>
          <cx:pt idx="8836">2</cx:pt>
          <cx:pt idx="8837">5</cx:pt>
          <cx:pt idx="8838">4</cx:pt>
          <cx:pt idx="8839">3</cx:pt>
          <cx:pt idx="8840">2</cx:pt>
          <cx:pt idx="8841">2</cx:pt>
          <cx:pt idx="8842">1</cx:pt>
          <cx:pt idx="8843">4</cx:pt>
          <cx:pt idx="8844">4</cx:pt>
          <cx:pt idx="8845">2</cx:pt>
          <cx:pt idx="8846">2</cx:pt>
          <cx:pt idx="8847">5</cx:pt>
          <cx:pt idx="8848">3</cx:pt>
          <cx:pt idx="8849">5</cx:pt>
          <cx:pt idx="8850">4</cx:pt>
          <cx:pt idx="8851">5</cx:pt>
          <cx:pt idx="8852">1</cx:pt>
          <cx:pt idx="8853">2</cx:pt>
          <cx:pt idx="8854">1</cx:pt>
          <cx:pt idx="8855">2</cx:pt>
          <cx:pt idx="8856">3</cx:pt>
          <cx:pt idx="8857">1</cx:pt>
          <cx:pt idx="8858">2</cx:pt>
          <cx:pt idx="8859">5</cx:pt>
          <cx:pt idx="8860">4</cx:pt>
          <cx:pt idx="8861">3</cx:pt>
          <cx:pt idx="8862">4</cx:pt>
          <cx:pt idx="8863">3</cx:pt>
          <cx:pt idx="8864">3</cx:pt>
          <cx:pt idx="8865">5</cx:pt>
          <cx:pt idx="8866">4</cx:pt>
          <cx:pt idx="8867">2</cx:pt>
          <cx:pt idx="8868">3</cx:pt>
          <cx:pt idx="8869">2</cx:pt>
          <cx:pt idx="8870">4</cx:pt>
          <cx:pt idx="8871">1</cx:pt>
          <cx:pt idx="8872">4</cx:pt>
          <cx:pt idx="8873">5</cx:pt>
          <cx:pt idx="8874">1</cx:pt>
          <cx:pt idx="8875">3</cx:pt>
          <cx:pt idx="8876">4</cx:pt>
          <cx:pt idx="8877">3</cx:pt>
          <cx:pt idx="8878">4</cx:pt>
          <cx:pt idx="8879">3</cx:pt>
          <cx:pt idx="8880">5</cx:pt>
          <cx:pt idx="8881">1</cx:pt>
          <cx:pt idx="8882">1</cx:pt>
          <cx:pt idx="8883">4</cx:pt>
          <cx:pt idx="8884">1</cx:pt>
          <cx:pt idx="8885">4</cx:pt>
          <cx:pt idx="8886">5</cx:pt>
          <cx:pt idx="8887">3</cx:pt>
          <cx:pt idx="8888">2</cx:pt>
          <cx:pt idx="8889">5</cx:pt>
          <cx:pt idx="8890">5</cx:pt>
          <cx:pt idx="8891">2</cx:pt>
          <cx:pt idx="8892">2</cx:pt>
          <cx:pt idx="8893">2</cx:pt>
          <cx:pt idx="8894">1</cx:pt>
          <cx:pt idx="8895">4</cx:pt>
          <cx:pt idx="8896">3</cx:pt>
          <cx:pt idx="8897">1</cx:pt>
          <cx:pt idx="8898">3</cx:pt>
          <cx:pt idx="8899">3</cx:pt>
          <cx:pt idx="8900">3</cx:pt>
          <cx:pt idx="8901">5</cx:pt>
          <cx:pt idx="8902">2</cx:pt>
          <cx:pt idx="8903">0</cx:pt>
          <cx:pt idx="8904">1</cx:pt>
          <cx:pt idx="8905">4</cx:pt>
          <cx:pt idx="8906">3</cx:pt>
          <cx:pt idx="8907">3</cx:pt>
          <cx:pt idx="8908">2</cx:pt>
          <cx:pt idx="8909">2</cx:pt>
          <cx:pt idx="8910">5</cx:pt>
          <cx:pt idx="8911">5</cx:pt>
          <cx:pt idx="8912">2</cx:pt>
          <cx:pt idx="8913">1</cx:pt>
          <cx:pt idx="8914">5</cx:pt>
          <cx:pt idx="8915">0</cx:pt>
          <cx:pt idx="8916">5</cx:pt>
          <cx:pt idx="8917">1</cx:pt>
          <cx:pt idx="8918">3</cx:pt>
          <cx:pt idx="8919">1</cx:pt>
          <cx:pt idx="8920">1</cx:pt>
          <cx:pt idx="8921">5</cx:pt>
          <cx:pt idx="8922">2</cx:pt>
          <cx:pt idx="8923">0</cx:pt>
          <cx:pt idx="8924">4</cx:pt>
          <cx:pt idx="8925">5</cx:pt>
          <cx:pt idx="8926">4</cx:pt>
          <cx:pt idx="8927">3</cx:pt>
          <cx:pt idx="8928">1</cx:pt>
          <cx:pt idx="8929">2</cx:pt>
          <cx:pt idx="8930">2</cx:pt>
          <cx:pt idx="8931">1</cx:pt>
          <cx:pt idx="8932">2</cx:pt>
          <cx:pt idx="8933">1</cx:pt>
          <cx:pt idx="8934">2</cx:pt>
          <cx:pt idx="8935">5</cx:pt>
          <cx:pt idx="8936">2</cx:pt>
          <cx:pt idx="8937">4</cx:pt>
          <cx:pt idx="8938">5</cx:pt>
          <cx:pt idx="8939">3</cx:pt>
          <cx:pt idx="8940">4</cx:pt>
          <cx:pt idx="8941">1</cx:pt>
          <cx:pt idx="8942">4</cx:pt>
          <cx:pt idx="8943">5</cx:pt>
          <cx:pt idx="8944">2</cx:pt>
          <cx:pt idx="8945">1</cx:pt>
          <cx:pt idx="8946">4</cx:pt>
          <cx:pt idx="8947">1</cx:pt>
          <cx:pt idx="8948">3</cx:pt>
          <cx:pt idx="8949">0</cx:pt>
          <cx:pt idx="8950">0</cx:pt>
          <cx:pt idx="8951">1</cx:pt>
          <cx:pt idx="8952">3</cx:pt>
          <cx:pt idx="8953">1</cx:pt>
          <cx:pt idx="8954">3</cx:pt>
          <cx:pt idx="8955">4</cx:pt>
          <cx:pt idx="8956">0</cx:pt>
          <cx:pt idx="8957">4</cx:pt>
          <cx:pt idx="8958">2</cx:pt>
          <cx:pt idx="8959">2</cx:pt>
          <cx:pt idx="8960">3</cx:pt>
          <cx:pt idx="8961">4</cx:pt>
          <cx:pt idx="8962">3</cx:pt>
          <cx:pt idx="8963">5</cx:pt>
          <cx:pt idx="8964">3</cx:pt>
          <cx:pt idx="8965">5</cx:pt>
          <cx:pt idx="8966">3</cx:pt>
          <cx:pt idx="8967">3</cx:pt>
          <cx:pt idx="8968">2</cx:pt>
          <cx:pt idx="8969">1</cx:pt>
          <cx:pt idx="8970">3</cx:pt>
          <cx:pt idx="8971">2</cx:pt>
          <cx:pt idx="8972">1</cx:pt>
          <cx:pt idx="8973">4</cx:pt>
          <cx:pt idx="8974">3</cx:pt>
          <cx:pt idx="8975">3</cx:pt>
          <cx:pt idx="8976">1</cx:pt>
          <cx:pt idx="8977">3</cx:pt>
          <cx:pt idx="8978">3</cx:pt>
          <cx:pt idx="8979">1</cx:pt>
          <cx:pt idx="8980">5</cx:pt>
          <cx:pt idx="8981">3</cx:pt>
          <cx:pt idx="8982">4</cx:pt>
          <cx:pt idx="8983">5</cx:pt>
          <cx:pt idx="8984">0</cx:pt>
          <cx:pt idx="8985">2</cx:pt>
          <cx:pt idx="8986">2</cx:pt>
          <cx:pt idx="8987">4</cx:pt>
          <cx:pt idx="8988">4</cx:pt>
          <cx:pt idx="8989">0</cx:pt>
          <cx:pt idx="8990">3</cx:pt>
          <cx:pt idx="8991">2</cx:pt>
          <cx:pt idx="8992">1</cx:pt>
          <cx:pt idx="8993">1</cx:pt>
          <cx:pt idx="8994">3</cx:pt>
          <cx:pt idx="8995">3</cx:pt>
          <cx:pt idx="8996">5</cx:pt>
          <cx:pt idx="8997">5</cx:pt>
          <cx:pt idx="8998">2</cx:pt>
          <cx:pt idx="8999">4</cx:pt>
          <cx:pt idx="9000">1</cx:pt>
          <cx:pt idx="9001">2</cx:pt>
          <cx:pt idx="9002">2</cx:pt>
          <cx:pt idx="9003">2</cx:pt>
          <cx:pt idx="9004">3</cx:pt>
          <cx:pt idx="9005">2</cx:pt>
          <cx:pt idx="9006">2</cx:pt>
          <cx:pt idx="9007">5</cx:pt>
          <cx:pt idx="9008">5</cx:pt>
          <cx:pt idx="9009">4</cx:pt>
          <cx:pt idx="9010">1</cx:pt>
          <cx:pt idx="9011">2</cx:pt>
          <cx:pt idx="9012">3</cx:pt>
          <cx:pt idx="9013">3</cx:pt>
          <cx:pt idx="9014">3</cx:pt>
          <cx:pt idx="9015">4</cx:pt>
          <cx:pt idx="9016">3</cx:pt>
          <cx:pt idx="9017">2</cx:pt>
          <cx:pt idx="9018">3</cx:pt>
          <cx:pt idx="9019">3</cx:pt>
          <cx:pt idx="9020">4</cx:pt>
          <cx:pt idx="9021">4</cx:pt>
          <cx:pt idx="9022">4</cx:pt>
          <cx:pt idx="9023">3</cx:pt>
          <cx:pt idx="9024">3</cx:pt>
          <cx:pt idx="9025">5</cx:pt>
          <cx:pt idx="9026">3</cx:pt>
          <cx:pt idx="9027">3</cx:pt>
          <cx:pt idx="9028">3</cx:pt>
          <cx:pt idx="9029">3</cx:pt>
          <cx:pt idx="9030">0</cx:pt>
          <cx:pt idx="9031">3</cx:pt>
          <cx:pt idx="9032">4</cx:pt>
          <cx:pt idx="9033">1</cx:pt>
          <cx:pt idx="9034">1</cx:pt>
          <cx:pt idx="9035">2</cx:pt>
          <cx:pt idx="9036">2</cx:pt>
          <cx:pt idx="9037">4</cx:pt>
          <cx:pt idx="9038">5</cx:pt>
          <cx:pt idx="9039">2</cx:pt>
          <cx:pt idx="9040">2</cx:pt>
          <cx:pt idx="9041">3</cx:pt>
          <cx:pt idx="9042">3</cx:pt>
          <cx:pt idx="9043">2</cx:pt>
          <cx:pt idx="9044">3</cx:pt>
          <cx:pt idx="9045">3</cx:pt>
          <cx:pt idx="9046">1</cx:pt>
          <cx:pt idx="9047">3</cx:pt>
          <cx:pt idx="9048">1</cx:pt>
          <cx:pt idx="9049">3</cx:pt>
          <cx:pt idx="9050">3</cx:pt>
          <cx:pt idx="9051">5</cx:pt>
          <cx:pt idx="9052">5</cx:pt>
          <cx:pt idx="9053">5</cx:pt>
          <cx:pt idx="9054">4</cx:pt>
          <cx:pt idx="9055">3</cx:pt>
          <cx:pt idx="9056">1</cx:pt>
          <cx:pt idx="9057">3</cx:pt>
          <cx:pt idx="9058">1</cx:pt>
          <cx:pt idx="9059">1</cx:pt>
          <cx:pt idx="9060">1</cx:pt>
          <cx:pt idx="9061">1</cx:pt>
          <cx:pt idx="9062">5</cx:pt>
          <cx:pt idx="9063">1</cx:pt>
          <cx:pt idx="9064">1</cx:pt>
          <cx:pt idx="9065">3</cx:pt>
          <cx:pt idx="9066">1</cx:pt>
          <cx:pt idx="9067">0</cx:pt>
          <cx:pt idx="9068">3</cx:pt>
          <cx:pt idx="9069">5</cx:pt>
          <cx:pt idx="9070">3</cx:pt>
          <cx:pt idx="9071">5</cx:pt>
          <cx:pt idx="9072">3</cx:pt>
          <cx:pt idx="9073">0</cx:pt>
          <cx:pt idx="9074">2</cx:pt>
          <cx:pt idx="9075">4</cx:pt>
          <cx:pt idx="9076">2</cx:pt>
          <cx:pt idx="9077">0</cx:pt>
          <cx:pt idx="9078">3</cx:pt>
          <cx:pt idx="9079">2</cx:pt>
          <cx:pt idx="9080">1</cx:pt>
          <cx:pt idx="9081">0</cx:pt>
          <cx:pt idx="9082">2</cx:pt>
          <cx:pt idx="9083">4</cx:pt>
          <cx:pt idx="9084">2</cx:pt>
          <cx:pt idx="9085">5</cx:pt>
          <cx:pt idx="9086">1</cx:pt>
          <cx:pt idx="9087">5</cx:pt>
          <cx:pt idx="9088">3</cx:pt>
          <cx:pt idx="9089">2</cx:pt>
          <cx:pt idx="9090">2</cx:pt>
          <cx:pt idx="9091">4</cx:pt>
          <cx:pt idx="9092">4</cx:pt>
          <cx:pt idx="9093">5</cx:pt>
          <cx:pt idx="9094">3</cx:pt>
          <cx:pt idx="9095">5</cx:pt>
          <cx:pt idx="9096">5</cx:pt>
          <cx:pt idx="9097">4</cx:pt>
          <cx:pt idx="9098">2</cx:pt>
          <cx:pt idx="9099">3</cx:pt>
          <cx:pt idx="9100">1</cx:pt>
          <cx:pt idx="9101">2</cx:pt>
          <cx:pt idx="9102">2</cx:pt>
          <cx:pt idx="9103">4</cx:pt>
          <cx:pt idx="9104">2</cx:pt>
          <cx:pt idx="9105">5</cx:pt>
          <cx:pt idx="9106">5</cx:pt>
          <cx:pt idx="9107">0</cx:pt>
          <cx:pt idx="9108">3</cx:pt>
          <cx:pt idx="9109">2</cx:pt>
          <cx:pt idx="9110">3</cx:pt>
          <cx:pt idx="9111">1</cx:pt>
          <cx:pt idx="9112">1</cx:pt>
          <cx:pt idx="9113">1</cx:pt>
          <cx:pt idx="9114">1</cx:pt>
          <cx:pt idx="9115">4</cx:pt>
          <cx:pt idx="9116">4</cx:pt>
          <cx:pt idx="9117">5</cx:pt>
          <cx:pt idx="9118">3</cx:pt>
          <cx:pt idx="9119">3</cx:pt>
          <cx:pt idx="9120">4</cx:pt>
          <cx:pt idx="9121">2</cx:pt>
          <cx:pt idx="9122">3</cx:pt>
          <cx:pt idx="9123">1</cx:pt>
          <cx:pt idx="9124">2</cx:pt>
          <cx:pt idx="9125">4</cx:pt>
          <cx:pt idx="9126">0</cx:pt>
          <cx:pt idx="9127">4</cx:pt>
          <cx:pt idx="9128">4</cx:pt>
          <cx:pt idx="9129">0</cx:pt>
          <cx:pt idx="9130">3</cx:pt>
          <cx:pt idx="9131">4</cx:pt>
          <cx:pt idx="9132">1</cx:pt>
          <cx:pt idx="9133">5</cx:pt>
          <cx:pt idx="9134">1</cx:pt>
          <cx:pt idx="9135">5</cx:pt>
          <cx:pt idx="9136">1</cx:pt>
          <cx:pt idx="9137">3</cx:pt>
          <cx:pt idx="9138">1</cx:pt>
          <cx:pt idx="9139">1</cx:pt>
          <cx:pt idx="9140">0</cx:pt>
          <cx:pt idx="9141">4</cx:pt>
          <cx:pt idx="9142">1</cx:pt>
          <cx:pt idx="9143">3</cx:pt>
          <cx:pt idx="9144">3</cx:pt>
          <cx:pt idx="9145">4</cx:pt>
          <cx:pt idx="9146">5</cx:pt>
          <cx:pt idx="9147">3</cx:pt>
          <cx:pt idx="9148">5</cx:pt>
          <cx:pt idx="9149">4</cx:pt>
          <cx:pt idx="9150">3</cx:pt>
          <cx:pt idx="9151">3</cx:pt>
          <cx:pt idx="9152">5</cx:pt>
          <cx:pt idx="9153">3</cx:pt>
          <cx:pt idx="9154">3</cx:pt>
          <cx:pt idx="9155">4</cx:pt>
          <cx:pt idx="9156">3</cx:pt>
          <cx:pt idx="9157">5</cx:pt>
          <cx:pt idx="9158">1</cx:pt>
          <cx:pt idx="9159">4</cx:pt>
          <cx:pt idx="9160">3</cx:pt>
          <cx:pt idx="9161">4</cx:pt>
          <cx:pt idx="9162">2</cx:pt>
          <cx:pt idx="9163">1</cx:pt>
          <cx:pt idx="9164">2</cx:pt>
          <cx:pt idx="9165">2</cx:pt>
          <cx:pt idx="9166">4</cx:pt>
          <cx:pt idx="9167">2</cx:pt>
          <cx:pt idx="9168">2</cx:pt>
          <cx:pt idx="9169">5</cx:pt>
          <cx:pt idx="9170">5</cx:pt>
          <cx:pt idx="9171">4</cx:pt>
          <cx:pt idx="9172">5</cx:pt>
          <cx:pt idx="9173">4</cx:pt>
          <cx:pt idx="9174">1</cx:pt>
          <cx:pt idx="9175">0</cx:pt>
          <cx:pt idx="9176">2</cx:pt>
          <cx:pt idx="9177">4</cx:pt>
          <cx:pt idx="9178">4</cx:pt>
          <cx:pt idx="9179">2</cx:pt>
          <cx:pt idx="9180">5</cx:pt>
          <cx:pt idx="9181">4</cx:pt>
          <cx:pt idx="9182">2</cx:pt>
          <cx:pt idx="9183">5</cx:pt>
          <cx:pt idx="9184">2</cx:pt>
          <cx:pt idx="9185">0</cx:pt>
          <cx:pt idx="9186">3</cx:pt>
          <cx:pt idx="9187">5</cx:pt>
          <cx:pt idx="9188">5</cx:pt>
          <cx:pt idx="9189">1</cx:pt>
          <cx:pt idx="9190">4</cx:pt>
          <cx:pt idx="9191">3</cx:pt>
          <cx:pt idx="9192">3</cx:pt>
          <cx:pt idx="9193">3</cx:pt>
          <cx:pt idx="9194">4</cx:pt>
          <cx:pt idx="9195">3</cx:pt>
          <cx:pt idx="9196">3</cx:pt>
          <cx:pt idx="9197">5</cx:pt>
          <cx:pt idx="9198">4</cx:pt>
          <cx:pt idx="9199">5</cx:pt>
          <cx:pt idx="9200">5</cx:pt>
          <cx:pt idx="9201">1</cx:pt>
          <cx:pt idx="9202">2</cx:pt>
          <cx:pt idx="9203">5</cx:pt>
          <cx:pt idx="9204">5</cx:pt>
          <cx:pt idx="9205">2</cx:pt>
          <cx:pt idx="9206">3</cx:pt>
          <cx:pt idx="9207">0</cx:pt>
          <cx:pt idx="9208">4</cx:pt>
          <cx:pt idx="9209">5</cx:pt>
          <cx:pt idx="9210">3</cx:pt>
          <cx:pt idx="9211">0</cx:pt>
          <cx:pt idx="9212">3</cx:pt>
          <cx:pt idx="9213">4</cx:pt>
          <cx:pt idx="9214">3</cx:pt>
          <cx:pt idx="9215">1</cx:pt>
          <cx:pt idx="9216">1</cx:pt>
          <cx:pt idx="9217">2</cx:pt>
          <cx:pt idx="9218">2</cx:pt>
          <cx:pt idx="9219">3</cx:pt>
          <cx:pt idx="9220">1</cx:pt>
          <cx:pt idx="9221">2</cx:pt>
          <cx:pt idx="9222">2</cx:pt>
          <cx:pt idx="9223">3</cx:pt>
          <cx:pt idx="9224">3</cx:pt>
          <cx:pt idx="9225">2</cx:pt>
          <cx:pt idx="9226">3</cx:pt>
          <cx:pt idx="9227">4</cx:pt>
          <cx:pt idx="9228">1</cx:pt>
          <cx:pt idx="9229">3</cx:pt>
          <cx:pt idx="9230">5</cx:pt>
          <cx:pt idx="9231">1</cx:pt>
          <cx:pt idx="9232">5</cx:pt>
          <cx:pt idx="9233">5</cx:pt>
          <cx:pt idx="9234">5</cx:pt>
          <cx:pt idx="9235">5</cx:pt>
          <cx:pt idx="9236">4</cx:pt>
          <cx:pt idx="9237">4</cx:pt>
          <cx:pt idx="9238">4</cx:pt>
          <cx:pt idx="9239">1</cx:pt>
          <cx:pt idx="9240">1</cx:pt>
          <cx:pt idx="9241">5</cx:pt>
          <cx:pt idx="9242">3</cx:pt>
          <cx:pt idx="9243">5</cx:pt>
          <cx:pt idx="9244">1</cx:pt>
          <cx:pt idx="9245">3</cx:pt>
          <cx:pt idx="9246">3</cx:pt>
          <cx:pt idx="9247">4</cx:pt>
          <cx:pt idx="9248">3</cx:pt>
          <cx:pt idx="9249">1</cx:pt>
          <cx:pt idx="9250">3</cx:pt>
          <cx:pt idx="9251">5</cx:pt>
          <cx:pt idx="9252">2</cx:pt>
          <cx:pt idx="9253">1</cx:pt>
          <cx:pt idx="9254">1</cx:pt>
          <cx:pt idx="9255">3</cx:pt>
          <cx:pt idx="9256">2</cx:pt>
          <cx:pt idx="9257">4</cx:pt>
          <cx:pt idx="9258">1</cx:pt>
          <cx:pt idx="9259">3</cx:pt>
          <cx:pt idx="9260">3</cx:pt>
          <cx:pt idx="9261">1</cx:pt>
          <cx:pt idx="9262">2</cx:pt>
          <cx:pt idx="9263">3</cx:pt>
          <cx:pt idx="9264">3</cx:pt>
          <cx:pt idx="9265">2</cx:pt>
          <cx:pt idx="9266">1</cx:pt>
          <cx:pt idx="9267">3</cx:pt>
          <cx:pt idx="9268">2</cx:pt>
          <cx:pt idx="9269">1</cx:pt>
          <cx:pt idx="9270">5</cx:pt>
          <cx:pt idx="9271">4</cx:pt>
          <cx:pt idx="9272">5</cx:pt>
          <cx:pt idx="9273">0</cx:pt>
          <cx:pt idx="9274">2</cx:pt>
          <cx:pt idx="9275">4</cx:pt>
          <cx:pt idx="9276">2</cx:pt>
          <cx:pt idx="9277">3</cx:pt>
          <cx:pt idx="9278">2</cx:pt>
          <cx:pt idx="9279">3</cx:pt>
          <cx:pt idx="9280">2</cx:pt>
          <cx:pt idx="9281">2</cx:pt>
          <cx:pt idx="9282">2</cx:pt>
          <cx:pt idx="9283">4</cx:pt>
          <cx:pt idx="9284">2</cx:pt>
          <cx:pt idx="9285">2</cx:pt>
          <cx:pt idx="9286">3</cx:pt>
          <cx:pt idx="9287">4</cx:pt>
          <cx:pt idx="9288">4</cx:pt>
          <cx:pt idx="9289">2</cx:pt>
          <cx:pt idx="9290">2</cx:pt>
          <cx:pt idx="9291">3</cx:pt>
          <cx:pt idx="9292">2</cx:pt>
          <cx:pt idx="9293">5</cx:pt>
          <cx:pt idx="9294">4</cx:pt>
          <cx:pt idx="9295">1</cx:pt>
          <cx:pt idx="9296">4</cx:pt>
          <cx:pt idx="9297">1</cx:pt>
          <cx:pt idx="9298">2</cx:pt>
          <cx:pt idx="9299">2</cx:pt>
          <cx:pt idx="9300">4</cx:pt>
          <cx:pt idx="9301">4</cx:pt>
          <cx:pt idx="9302">2</cx:pt>
          <cx:pt idx="9303">2</cx:pt>
          <cx:pt idx="9304">3</cx:pt>
          <cx:pt idx="9305">3</cx:pt>
          <cx:pt idx="9306">4</cx:pt>
          <cx:pt idx="9307">1</cx:pt>
          <cx:pt idx="9308">5</cx:pt>
          <cx:pt idx="9309">4</cx:pt>
          <cx:pt idx="9310">1</cx:pt>
          <cx:pt idx="9311">3</cx:pt>
          <cx:pt idx="9312">1</cx:pt>
          <cx:pt idx="9313">4</cx:pt>
          <cx:pt idx="9314">1</cx:pt>
          <cx:pt idx="9315">3</cx:pt>
          <cx:pt idx="9316">3</cx:pt>
          <cx:pt idx="9317">3</cx:pt>
          <cx:pt idx="9318">2</cx:pt>
          <cx:pt idx="9319">4</cx:pt>
          <cx:pt idx="9320">1</cx:pt>
          <cx:pt idx="9321">2</cx:pt>
          <cx:pt idx="9322">4</cx:pt>
          <cx:pt idx="9323">1</cx:pt>
          <cx:pt idx="9324">2</cx:pt>
          <cx:pt idx="9325">1</cx:pt>
          <cx:pt idx="9326">2</cx:pt>
          <cx:pt idx="9327">2</cx:pt>
          <cx:pt idx="9328">3</cx:pt>
          <cx:pt idx="9329">2</cx:pt>
          <cx:pt idx="9330">1</cx:pt>
          <cx:pt idx="9331">3</cx:pt>
          <cx:pt idx="9332">3</cx:pt>
          <cx:pt idx="9333">4</cx:pt>
          <cx:pt idx="9334">4</cx:pt>
          <cx:pt idx="9335">5</cx:pt>
          <cx:pt idx="9336">3</cx:pt>
          <cx:pt idx="9337">2</cx:pt>
          <cx:pt idx="9338">3</cx:pt>
          <cx:pt idx="9339">4</cx:pt>
          <cx:pt idx="9340">1</cx:pt>
          <cx:pt idx="9341">4</cx:pt>
          <cx:pt idx="9342">2</cx:pt>
          <cx:pt idx="9343">5</cx:pt>
          <cx:pt idx="9344">5</cx:pt>
          <cx:pt idx="9345">4</cx:pt>
          <cx:pt idx="9346">2</cx:pt>
          <cx:pt idx="9347">4</cx:pt>
          <cx:pt idx="9348">3</cx:pt>
          <cx:pt idx="9349">1</cx:pt>
          <cx:pt idx="9350">4</cx:pt>
          <cx:pt idx="9351">3</cx:pt>
          <cx:pt idx="9352">4</cx:pt>
          <cx:pt idx="9353">4</cx:pt>
          <cx:pt idx="9354">1</cx:pt>
          <cx:pt idx="9355">5</cx:pt>
          <cx:pt idx="9356">2</cx:pt>
          <cx:pt idx="9357">3</cx:pt>
          <cx:pt idx="9358">4</cx:pt>
          <cx:pt idx="9359">2</cx:pt>
          <cx:pt idx="9360">1</cx:pt>
          <cx:pt idx="9361">3</cx:pt>
          <cx:pt idx="9362">4</cx:pt>
          <cx:pt idx="9363">0</cx:pt>
          <cx:pt idx="9364">0</cx:pt>
          <cx:pt idx="9365">1</cx:pt>
          <cx:pt idx="9366">1</cx:pt>
          <cx:pt idx="9367">2</cx:pt>
          <cx:pt idx="9368">2</cx:pt>
          <cx:pt idx="9369">1</cx:pt>
          <cx:pt idx="9370">3</cx:pt>
          <cx:pt idx="9371">5</cx:pt>
          <cx:pt idx="9372">1</cx:pt>
          <cx:pt idx="9373">1</cx:pt>
          <cx:pt idx="9374">4</cx:pt>
          <cx:pt idx="9375">2</cx:pt>
          <cx:pt idx="9376">2</cx:pt>
          <cx:pt idx="9377">4</cx:pt>
          <cx:pt idx="9378">2</cx:pt>
          <cx:pt idx="9379">3</cx:pt>
          <cx:pt idx="9380">1</cx:pt>
          <cx:pt idx="9381">1</cx:pt>
          <cx:pt idx="9382">2</cx:pt>
          <cx:pt idx="9383">5</cx:pt>
          <cx:pt idx="9384">4</cx:pt>
          <cx:pt idx="9385">3</cx:pt>
          <cx:pt idx="9386">3</cx:pt>
          <cx:pt idx="9387">3</cx:pt>
          <cx:pt idx="9388">3</cx:pt>
          <cx:pt idx="9389">2</cx:pt>
          <cx:pt idx="9390">1</cx:pt>
          <cx:pt idx="9391">3</cx:pt>
          <cx:pt idx="9392">5</cx:pt>
          <cx:pt idx="9393">2</cx:pt>
          <cx:pt idx="9394">3</cx:pt>
          <cx:pt idx="9395">1</cx:pt>
          <cx:pt idx="9396">3</cx:pt>
          <cx:pt idx="9397">3</cx:pt>
          <cx:pt idx="9398">4</cx:pt>
          <cx:pt idx="9399">2</cx:pt>
          <cx:pt idx="9400">5</cx:pt>
          <cx:pt idx="9401">2</cx:pt>
          <cx:pt idx="9402">2</cx:pt>
          <cx:pt idx="9403">2</cx:pt>
          <cx:pt idx="9404">5</cx:pt>
          <cx:pt idx="9405">4</cx:pt>
          <cx:pt idx="9406">2</cx:pt>
          <cx:pt idx="9407">2</cx:pt>
          <cx:pt idx="9408">1</cx:pt>
          <cx:pt idx="9409">4</cx:pt>
          <cx:pt idx="9410">0</cx:pt>
          <cx:pt idx="9411">1</cx:pt>
          <cx:pt idx="9412">5</cx:pt>
          <cx:pt idx="9413">3</cx:pt>
          <cx:pt idx="9414">1</cx:pt>
          <cx:pt idx="9415">3</cx:pt>
          <cx:pt idx="9416">2</cx:pt>
          <cx:pt idx="9417">3</cx:pt>
          <cx:pt idx="9418">5</cx:pt>
          <cx:pt idx="9419">3</cx:pt>
          <cx:pt idx="9420">3</cx:pt>
          <cx:pt idx="9421">5</cx:pt>
          <cx:pt idx="9422">5</cx:pt>
          <cx:pt idx="9423">3</cx:pt>
          <cx:pt idx="9424">1</cx:pt>
          <cx:pt idx="9425">1</cx:pt>
          <cx:pt idx="9426">5</cx:pt>
          <cx:pt idx="9427">1</cx:pt>
          <cx:pt idx="9428">4</cx:pt>
          <cx:pt idx="9429">2</cx:pt>
          <cx:pt idx="9430">0</cx:pt>
          <cx:pt idx="9431">2</cx:pt>
          <cx:pt idx="9432">3</cx:pt>
          <cx:pt idx="9433">2</cx:pt>
          <cx:pt idx="9434">3</cx:pt>
          <cx:pt idx="9435">1</cx:pt>
          <cx:pt idx="9436">3</cx:pt>
          <cx:pt idx="9437">4</cx:pt>
          <cx:pt idx="9438">1</cx:pt>
          <cx:pt idx="9439">5</cx:pt>
          <cx:pt idx="9440">3</cx:pt>
          <cx:pt idx="9441">2</cx:pt>
          <cx:pt idx="9442">3</cx:pt>
          <cx:pt idx="9443">2</cx:pt>
          <cx:pt idx="9444">2</cx:pt>
          <cx:pt idx="9445">2</cx:pt>
          <cx:pt idx="9446">3</cx:pt>
          <cx:pt idx="9447">1</cx:pt>
          <cx:pt idx="9448">3</cx:pt>
          <cx:pt idx="9449">2</cx:pt>
          <cx:pt idx="9450">3</cx:pt>
          <cx:pt idx="9451">5</cx:pt>
          <cx:pt idx="9452">3</cx:pt>
          <cx:pt idx="9453">2</cx:pt>
          <cx:pt idx="9454">1</cx:pt>
          <cx:pt idx="9455">3</cx:pt>
          <cx:pt idx="9456">4</cx:pt>
          <cx:pt idx="9457">1</cx:pt>
          <cx:pt idx="9458">4</cx:pt>
          <cx:pt idx="9459">4</cx:pt>
          <cx:pt idx="9460">5</cx:pt>
          <cx:pt idx="9461">5</cx:pt>
          <cx:pt idx="9462">2</cx:pt>
          <cx:pt idx="9463">3</cx:pt>
          <cx:pt idx="9464">4</cx:pt>
          <cx:pt idx="9465">5</cx:pt>
          <cx:pt idx="9466">5</cx:pt>
          <cx:pt idx="9467">3</cx:pt>
          <cx:pt idx="9468">2</cx:pt>
          <cx:pt idx="9469">3</cx:pt>
          <cx:pt idx="9470">3</cx:pt>
          <cx:pt idx="9471">2</cx:pt>
          <cx:pt idx="9472">3</cx:pt>
          <cx:pt idx="9473">4</cx:pt>
          <cx:pt idx="9474">2</cx:pt>
          <cx:pt idx="9475">2</cx:pt>
          <cx:pt idx="9476">3</cx:pt>
          <cx:pt idx="9477">2</cx:pt>
          <cx:pt idx="9478">4</cx:pt>
          <cx:pt idx="9479">0</cx:pt>
          <cx:pt idx="9480">2</cx:pt>
          <cx:pt idx="9481">1</cx:pt>
          <cx:pt idx="9482">1</cx:pt>
          <cx:pt idx="9483">4</cx:pt>
          <cx:pt idx="9484">3</cx:pt>
          <cx:pt idx="9485">4</cx:pt>
          <cx:pt idx="9486">1</cx:pt>
          <cx:pt idx="9487">3</cx:pt>
          <cx:pt idx="9488">3</cx:pt>
          <cx:pt idx="9489">0</cx:pt>
          <cx:pt idx="9490">3</cx:pt>
          <cx:pt idx="9491">2</cx:pt>
          <cx:pt idx="9492">5</cx:pt>
          <cx:pt idx="9493">3</cx:pt>
          <cx:pt idx="9494">3</cx:pt>
          <cx:pt idx="9495">3</cx:pt>
          <cx:pt idx="9496">3</cx:pt>
          <cx:pt idx="9497">0</cx:pt>
          <cx:pt idx="9498">0</cx:pt>
          <cx:pt idx="9499">3</cx:pt>
          <cx:pt idx="9500">2</cx:pt>
          <cx:pt idx="9501">2</cx:pt>
          <cx:pt idx="9502">5</cx:pt>
          <cx:pt idx="9503">4</cx:pt>
          <cx:pt idx="9504">4</cx:pt>
          <cx:pt idx="9505">2</cx:pt>
          <cx:pt idx="9506">5</cx:pt>
          <cx:pt idx="9507">2</cx:pt>
          <cx:pt idx="9508">5</cx:pt>
          <cx:pt idx="9509">1</cx:pt>
          <cx:pt idx="9510">1</cx:pt>
          <cx:pt idx="9511">1</cx:pt>
          <cx:pt idx="9512">2</cx:pt>
          <cx:pt idx="9513">4</cx:pt>
          <cx:pt idx="9514">0</cx:pt>
          <cx:pt idx="9515">0</cx:pt>
          <cx:pt idx="9516">3</cx:pt>
          <cx:pt idx="9517">3</cx:pt>
          <cx:pt idx="9518">3</cx:pt>
          <cx:pt idx="9519">5</cx:pt>
          <cx:pt idx="9520">3</cx:pt>
          <cx:pt idx="9521">1</cx:pt>
          <cx:pt idx="9522">4</cx:pt>
          <cx:pt idx="9523">4</cx:pt>
          <cx:pt idx="9524">1</cx:pt>
          <cx:pt idx="9525">4</cx:pt>
          <cx:pt idx="9526">3</cx:pt>
          <cx:pt idx="9527">5</cx:pt>
          <cx:pt idx="9528">3</cx:pt>
          <cx:pt idx="9529">1</cx:pt>
          <cx:pt idx="9530">4</cx:pt>
          <cx:pt idx="9531">4</cx:pt>
          <cx:pt idx="9532">2</cx:pt>
          <cx:pt idx="9533">3</cx:pt>
          <cx:pt idx="9534">4</cx:pt>
          <cx:pt idx="9535">3</cx:pt>
          <cx:pt idx="9536">2</cx:pt>
          <cx:pt idx="9537">0</cx:pt>
          <cx:pt idx="9538">4</cx:pt>
          <cx:pt idx="9539">5</cx:pt>
          <cx:pt idx="9540">3</cx:pt>
          <cx:pt idx="9541">1</cx:pt>
          <cx:pt idx="9542">5</cx:pt>
          <cx:pt idx="9543">3</cx:pt>
          <cx:pt idx="9544">4</cx:pt>
          <cx:pt idx="9545">5</cx:pt>
          <cx:pt idx="9546">1</cx:pt>
          <cx:pt idx="9547">3</cx:pt>
          <cx:pt idx="9548">1</cx:pt>
          <cx:pt idx="9549">1</cx:pt>
          <cx:pt idx="9550">1</cx:pt>
          <cx:pt idx="9551">2</cx:pt>
          <cx:pt idx="9552">4</cx:pt>
          <cx:pt idx="9553">2</cx:pt>
          <cx:pt idx="9554">2</cx:pt>
          <cx:pt idx="9555">5</cx:pt>
          <cx:pt idx="9556">0</cx:pt>
          <cx:pt idx="9557">3</cx:pt>
          <cx:pt idx="9558">1</cx:pt>
          <cx:pt idx="9559">2</cx:pt>
          <cx:pt idx="9560">4</cx:pt>
          <cx:pt idx="9561">1</cx:pt>
          <cx:pt idx="9562">2</cx:pt>
          <cx:pt idx="9563">3</cx:pt>
          <cx:pt idx="9564">1</cx:pt>
          <cx:pt idx="9565">4</cx:pt>
          <cx:pt idx="9566">4</cx:pt>
          <cx:pt idx="9567">1</cx:pt>
          <cx:pt idx="9568">1</cx:pt>
          <cx:pt idx="9569">4</cx:pt>
          <cx:pt idx="9570">3</cx:pt>
          <cx:pt idx="9571">3</cx:pt>
          <cx:pt idx="9572">2</cx:pt>
          <cx:pt idx="9573">4</cx:pt>
          <cx:pt idx="9574">4</cx:pt>
          <cx:pt idx="9575">2</cx:pt>
          <cx:pt idx="9576">2</cx:pt>
          <cx:pt idx="9577">2</cx:pt>
          <cx:pt idx="9578">4</cx:pt>
          <cx:pt idx="9579">4</cx:pt>
          <cx:pt idx="9580">1</cx:pt>
          <cx:pt idx="9581">4</cx:pt>
          <cx:pt idx="9582">2</cx:pt>
          <cx:pt idx="9583">4</cx:pt>
          <cx:pt idx="9584">2</cx:pt>
          <cx:pt idx="9585">3</cx:pt>
          <cx:pt idx="9586">1</cx:pt>
          <cx:pt idx="9587">2</cx:pt>
          <cx:pt idx="9588">3</cx:pt>
          <cx:pt idx="9589">3</cx:pt>
          <cx:pt idx="9590">1</cx:pt>
          <cx:pt idx="9591">1</cx:pt>
          <cx:pt idx="9592">3</cx:pt>
          <cx:pt idx="9593">3</cx:pt>
          <cx:pt idx="9594">1</cx:pt>
          <cx:pt idx="9595">4</cx:pt>
          <cx:pt idx="9596">4</cx:pt>
          <cx:pt idx="9597">1</cx:pt>
          <cx:pt idx="9598">4</cx:pt>
          <cx:pt idx="9599">3</cx:pt>
          <cx:pt idx="9600">2</cx:pt>
          <cx:pt idx="9601">3</cx:pt>
          <cx:pt idx="9602">0</cx:pt>
          <cx:pt idx="9603">4</cx:pt>
          <cx:pt idx="9604">5</cx:pt>
          <cx:pt idx="9605">3</cx:pt>
          <cx:pt idx="9606">5</cx:pt>
          <cx:pt idx="9607">3</cx:pt>
          <cx:pt idx="9608">5</cx:pt>
          <cx:pt idx="9609">5</cx:pt>
          <cx:pt idx="9610">1</cx:pt>
          <cx:pt idx="9611">2</cx:pt>
          <cx:pt idx="9612">5</cx:pt>
          <cx:pt idx="9613">2</cx:pt>
          <cx:pt idx="9614">1</cx:pt>
          <cx:pt idx="9615">3</cx:pt>
          <cx:pt idx="9616">1</cx:pt>
          <cx:pt idx="9617">4</cx:pt>
          <cx:pt idx="9618">5</cx:pt>
          <cx:pt idx="9619">3</cx:pt>
          <cx:pt idx="9620">3</cx:pt>
          <cx:pt idx="9621">1</cx:pt>
          <cx:pt idx="9622">5</cx:pt>
          <cx:pt idx="9623">3</cx:pt>
          <cx:pt idx="9624">3</cx:pt>
          <cx:pt idx="9625">5</cx:pt>
          <cx:pt idx="9626">4</cx:pt>
          <cx:pt idx="9627">3</cx:pt>
          <cx:pt idx="9628">2</cx:pt>
          <cx:pt idx="9629">2</cx:pt>
          <cx:pt idx="9630">2</cx:pt>
          <cx:pt idx="9631">5</cx:pt>
          <cx:pt idx="9632">2</cx:pt>
          <cx:pt idx="9633">1</cx:pt>
          <cx:pt idx="9634">1</cx:pt>
          <cx:pt idx="9635">3</cx:pt>
          <cx:pt idx="9636">4</cx:pt>
          <cx:pt idx="9637">4</cx:pt>
          <cx:pt idx="9638">2</cx:pt>
          <cx:pt idx="9639">2</cx:pt>
          <cx:pt idx="9640">4</cx:pt>
          <cx:pt idx="9641">2</cx:pt>
          <cx:pt idx="9642">5</cx:pt>
          <cx:pt idx="9643">5</cx:pt>
          <cx:pt idx="9644">4</cx:pt>
          <cx:pt idx="9645">3</cx:pt>
          <cx:pt idx="9646">1</cx:pt>
          <cx:pt idx="9647">4</cx:pt>
          <cx:pt idx="9648">2</cx:pt>
          <cx:pt idx="9649">4</cx:pt>
          <cx:pt idx="9650">2</cx:pt>
          <cx:pt idx="9651">2</cx:pt>
          <cx:pt idx="9652">3</cx:pt>
          <cx:pt idx="9653">3</cx:pt>
          <cx:pt idx="9654">2</cx:pt>
          <cx:pt idx="9655">3</cx:pt>
          <cx:pt idx="9656">2</cx:pt>
          <cx:pt idx="9657">5</cx:pt>
          <cx:pt idx="9658">3</cx:pt>
          <cx:pt idx="9659">3</cx:pt>
          <cx:pt idx="9660">2</cx:pt>
          <cx:pt idx="9661">1</cx:pt>
          <cx:pt idx="9662">2</cx:pt>
          <cx:pt idx="9663">4</cx:pt>
          <cx:pt idx="9664">2</cx:pt>
          <cx:pt idx="9665">1</cx:pt>
          <cx:pt idx="9666">3</cx:pt>
          <cx:pt idx="9667">1</cx:pt>
          <cx:pt idx="9668">3</cx:pt>
          <cx:pt idx="9669">2</cx:pt>
          <cx:pt idx="9670">2</cx:pt>
          <cx:pt idx="9671">2</cx:pt>
          <cx:pt idx="9672">0</cx:pt>
          <cx:pt idx="9673">5</cx:pt>
          <cx:pt idx="9674">3</cx:pt>
          <cx:pt idx="9675">2</cx:pt>
          <cx:pt idx="9676">4</cx:pt>
          <cx:pt idx="9677">2</cx:pt>
          <cx:pt idx="9678">2</cx:pt>
          <cx:pt idx="9679">4</cx:pt>
          <cx:pt idx="9680">3</cx:pt>
          <cx:pt idx="9681">0</cx:pt>
          <cx:pt idx="9682">2</cx:pt>
          <cx:pt idx="9683">0</cx:pt>
          <cx:pt idx="9684">3</cx:pt>
          <cx:pt idx="9685">4</cx:pt>
          <cx:pt idx="9686">3</cx:pt>
          <cx:pt idx="9687">2</cx:pt>
          <cx:pt idx="9688">4</cx:pt>
          <cx:pt idx="9689">3</cx:pt>
          <cx:pt idx="9690">3</cx:pt>
          <cx:pt idx="9691">4</cx:pt>
          <cx:pt idx="9692">3</cx:pt>
          <cx:pt idx="9693">4</cx:pt>
          <cx:pt idx="9694">3</cx:pt>
          <cx:pt idx="9695">1</cx:pt>
          <cx:pt idx="9696">3</cx:pt>
          <cx:pt idx="9697">1</cx:pt>
          <cx:pt idx="9698">0</cx:pt>
          <cx:pt idx="9699">5</cx:pt>
          <cx:pt idx="9700">2</cx:pt>
          <cx:pt idx="9701">1</cx:pt>
          <cx:pt idx="9702">3</cx:pt>
          <cx:pt idx="9703">3</cx:pt>
          <cx:pt idx="9704">0</cx:pt>
          <cx:pt idx="9705">2</cx:pt>
          <cx:pt idx="9706">4</cx:pt>
          <cx:pt idx="9707">5</cx:pt>
          <cx:pt idx="9708">2</cx:pt>
          <cx:pt idx="9709">3</cx:pt>
          <cx:pt idx="9710">2</cx:pt>
          <cx:pt idx="9711">2</cx:pt>
          <cx:pt idx="9712">1</cx:pt>
          <cx:pt idx="9713">4</cx:pt>
          <cx:pt idx="9714">2</cx:pt>
          <cx:pt idx="9715">4</cx:pt>
          <cx:pt idx="9716">5</cx:pt>
          <cx:pt idx="9717">4</cx:pt>
          <cx:pt idx="9718">2</cx:pt>
          <cx:pt idx="9719">1</cx:pt>
          <cx:pt idx="9720">2</cx:pt>
          <cx:pt idx="9721">5</cx:pt>
          <cx:pt idx="9722">2</cx:pt>
          <cx:pt idx="9723">2</cx:pt>
          <cx:pt idx="9724">5</cx:pt>
          <cx:pt idx="9725">1</cx:pt>
          <cx:pt idx="9726">3</cx:pt>
          <cx:pt idx="9727">4</cx:pt>
          <cx:pt idx="9728">5</cx:pt>
          <cx:pt idx="9729">4</cx:pt>
          <cx:pt idx="9730">1</cx:pt>
          <cx:pt idx="9731">1</cx:pt>
          <cx:pt idx="9732">4</cx:pt>
          <cx:pt idx="9733">2</cx:pt>
          <cx:pt idx="9734">2</cx:pt>
          <cx:pt idx="9735">3</cx:pt>
          <cx:pt idx="9736">4</cx:pt>
          <cx:pt idx="9737">4</cx:pt>
          <cx:pt idx="9738">1</cx:pt>
          <cx:pt idx="9739">5</cx:pt>
          <cx:pt idx="9740">3</cx:pt>
          <cx:pt idx="9741">2</cx:pt>
          <cx:pt idx="9742">2</cx:pt>
          <cx:pt idx="9743">5</cx:pt>
          <cx:pt idx="9744">1</cx:pt>
          <cx:pt idx="9745">3</cx:pt>
          <cx:pt idx="9746">1</cx:pt>
          <cx:pt idx="9747">1</cx:pt>
          <cx:pt idx="9748">4</cx:pt>
          <cx:pt idx="9749">4</cx:pt>
          <cx:pt idx="9750">4</cx:pt>
          <cx:pt idx="9751">2</cx:pt>
          <cx:pt idx="9752">2</cx:pt>
          <cx:pt idx="9753">4</cx:pt>
          <cx:pt idx="9754">3</cx:pt>
          <cx:pt idx="9755">3</cx:pt>
          <cx:pt idx="9756">3</cx:pt>
          <cx:pt idx="9757">1</cx:pt>
          <cx:pt idx="9758">0</cx:pt>
          <cx:pt idx="9759">1</cx:pt>
          <cx:pt idx="9760">5</cx:pt>
          <cx:pt idx="9761">4</cx:pt>
          <cx:pt idx="9762">3</cx:pt>
          <cx:pt idx="9763">3</cx:pt>
          <cx:pt idx="9764">3</cx:pt>
          <cx:pt idx="9765">5</cx:pt>
          <cx:pt idx="9766">2</cx:pt>
          <cx:pt idx="9767">5</cx:pt>
          <cx:pt idx="9768">1</cx:pt>
          <cx:pt idx="9769">3</cx:pt>
          <cx:pt idx="9770">2</cx:pt>
          <cx:pt idx="9771">1</cx:pt>
          <cx:pt idx="9772">2</cx:pt>
          <cx:pt idx="9773">3</cx:pt>
          <cx:pt idx="9774">1</cx:pt>
          <cx:pt idx="9775">3</cx:pt>
          <cx:pt idx="9776">1</cx:pt>
          <cx:pt idx="9777">4</cx:pt>
          <cx:pt idx="9778">3</cx:pt>
          <cx:pt idx="9779">2</cx:pt>
          <cx:pt idx="9780">2</cx:pt>
          <cx:pt idx="9781">5</cx:pt>
          <cx:pt idx="9782">1</cx:pt>
          <cx:pt idx="9783">1</cx:pt>
          <cx:pt idx="9784">5</cx:pt>
          <cx:pt idx="9785">3</cx:pt>
          <cx:pt idx="9786">1</cx:pt>
          <cx:pt idx="9787">1</cx:pt>
          <cx:pt idx="9788">1</cx:pt>
          <cx:pt idx="9789">4</cx:pt>
          <cx:pt idx="9790">2</cx:pt>
          <cx:pt idx="9791">1</cx:pt>
          <cx:pt idx="9792">3</cx:pt>
          <cx:pt idx="9793">2</cx:pt>
          <cx:pt idx="9794">5</cx:pt>
          <cx:pt idx="9795">3</cx:pt>
          <cx:pt idx="9796">2</cx:pt>
          <cx:pt idx="9797">4</cx:pt>
          <cx:pt idx="9798">1</cx:pt>
          <cx:pt idx="9799">1</cx:pt>
          <cx:pt idx="9800">1</cx:pt>
          <cx:pt idx="9801">2</cx:pt>
          <cx:pt idx="9802">3</cx:pt>
          <cx:pt idx="9803">1</cx:pt>
          <cx:pt idx="9804">5</cx:pt>
          <cx:pt idx="9805">1</cx:pt>
          <cx:pt idx="9806">3</cx:pt>
          <cx:pt idx="9807">5</cx:pt>
          <cx:pt idx="9808">5</cx:pt>
          <cx:pt idx="9809">5</cx:pt>
          <cx:pt idx="9810">2</cx:pt>
          <cx:pt idx="9811">4</cx:pt>
          <cx:pt idx="9812">5</cx:pt>
          <cx:pt idx="9813">4</cx:pt>
          <cx:pt idx="9814">5</cx:pt>
          <cx:pt idx="9815">4</cx:pt>
          <cx:pt idx="9816">3</cx:pt>
          <cx:pt idx="9817">2</cx:pt>
          <cx:pt idx="9818">1</cx:pt>
          <cx:pt idx="9819">1</cx:pt>
          <cx:pt idx="9820">3</cx:pt>
          <cx:pt idx="9821">5</cx:pt>
          <cx:pt idx="9822">1</cx:pt>
          <cx:pt idx="9823">3</cx:pt>
          <cx:pt idx="9824">1</cx:pt>
          <cx:pt idx="9825">3</cx:pt>
          <cx:pt idx="9826">5</cx:pt>
          <cx:pt idx="9827">4</cx:pt>
          <cx:pt idx="9828">3</cx:pt>
          <cx:pt idx="9829">1</cx:pt>
          <cx:pt idx="9830">4</cx:pt>
          <cx:pt idx="9831">4</cx:pt>
          <cx:pt idx="9832">4</cx:pt>
          <cx:pt idx="9833">2</cx:pt>
          <cx:pt idx="9834">1</cx:pt>
          <cx:pt idx="9835">5</cx:pt>
          <cx:pt idx="9836">4</cx:pt>
          <cx:pt idx="9837">5</cx:pt>
          <cx:pt idx="9838">4</cx:pt>
          <cx:pt idx="9839">3</cx:pt>
          <cx:pt idx="9840">4</cx:pt>
          <cx:pt idx="9841">3</cx:pt>
          <cx:pt idx="9842">4</cx:pt>
          <cx:pt idx="9843">3</cx:pt>
          <cx:pt idx="9844">3</cx:pt>
          <cx:pt idx="9845">3</cx:pt>
          <cx:pt idx="9846">4</cx:pt>
          <cx:pt idx="9847">0</cx:pt>
          <cx:pt idx="9848">2</cx:pt>
          <cx:pt idx="9849">0</cx:pt>
          <cx:pt idx="9850">2</cx:pt>
          <cx:pt idx="9851">4</cx:pt>
          <cx:pt idx="9852">1</cx:pt>
          <cx:pt idx="9853">1</cx:pt>
          <cx:pt idx="9854">3</cx:pt>
          <cx:pt idx="9855">1</cx:pt>
          <cx:pt idx="9856">1</cx:pt>
          <cx:pt idx="9857">5</cx:pt>
          <cx:pt idx="9858">3</cx:pt>
          <cx:pt idx="9859">3</cx:pt>
          <cx:pt idx="9860">2</cx:pt>
          <cx:pt idx="9861">5</cx:pt>
          <cx:pt idx="9862">4</cx:pt>
          <cx:pt idx="9863">4</cx:pt>
          <cx:pt idx="9864">4</cx:pt>
          <cx:pt idx="9865">1</cx:pt>
          <cx:pt idx="9866">5</cx:pt>
          <cx:pt idx="9867">2</cx:pt>
          <cx:pt idx="9868">1</cx:pt>
          <cx:pt idx="9869">5</cx:pt>
          <cx:pt idx="9870">1</cx:pt>
          <cx:pt idx="9871">5</cx:pt>
          <cx:pt idx="9872">2</cx:pt>
          <cx:pt idx="9873">5</cx:pt>
          <cx:pt idx="9874">2</cx:pt>
          <cx:pt idx="9875">5</cx:pt>
          <cx:pt idx="9876">2</cx:pt>
          <cx:pt idx="9877">3</cx:pt>
          <cx:pt idx="9878">5</cx:pt>
          <cx:pt idx="9879">1</cx:pt>
          <cx:pt idx="9880">2</cx:pt>
          <cx:pt idx="9881">1</cx:pt>
          <cx:pt idx="9882">3</cx:pt>
          <cx:pt idx="9883">1</cx:pt>
          <cx:pt idx="9884">2</cx:pt>
          <cx:pt idx="9885">2</cx:pt>
          <cx:pt idx="9886">1</cx:pt>
          <cx:pt idx="9887">3</cx:pt>
          <cx:pt idx="9888">1</cx:pt>
          <cx:pt idx="9889">5</cx:pt>
          <cx:pt idx="9890">2</cx:pt>
          <cx:pt idx="9891">2</cx:pt>
          <cx:pt idx="9892">2</cx:pt>
          <cx:pt idx="9893">2</cx:pt>
          <cx:pt idx="9894">3</cx:pt>
          <cx:pt idx="9895">3</cx:pt>
          <cx:pt idx="9896">5</cx:pt>
          <cx:pt idx="9897">5</cx:pt>
          <cx:pt idx="9898">4</cx:pt>
          <cx:pt idx="9899">2</cx:pt>
          <cx:pt idx="9900">4</cx:pt>
          <cx:pt idx="9901">1</cx:pt>
          <cx:pt idx="9902">5</cx:pt>
          <cx:pt idx="9903">2</cx:pt>
          <cx:pt idx="9904">1</cx:pt>
          <cx:pt idx="9905">1</cx:pt>
          <cx:pt idx="9906">3</cx:pt>
          <cx:pt idx="9907">4</cx:pt>
          <cx:pt idx="9908">2</cx:pt>
          <cx:pt idx="9909">0</cx:pt>
          <cx:pt idx="9910">1</cx:pt>
          <cx:pt idx="9911">1</cx:pt>
          <cx:pt idx="9912">0</cx:pt>
          <cx:pt idx="9913">4</cx:pt>
          <cx:pt idx="9914">2</cx:pt>
          <cx:pt idx="9915">4</cx:pt>
          <cx:pt idx="9916">1</cx:pt>
          <cx:pt idx="9917">5</cx:pt>
          <cx:pt idx="9918">4</cx:pt>
          <cx:pt idx="9919">3</cx:pt>
          <cx:pt idx="9920">1</cx:pt>
          <cx:pt idx="9921">0</cx:pt>
          <cx:pt idx="9922">2</cx:pt>
          <cx:pt idx="9923">4</cx:pt>
          <cx:pt idx="9924">2</cx:pt>
          <cx:pt idx="9925">3</cx:pt>
          <cx:pt idx="9926">1</cx:pt>
          <cx:pt idx="9927">4</cx:pt>
          <cx:pt idx="9928">1</cx:pt>
          <cx:pt idx="9929">5</cx:pt>
          <cx:pt idx="9930">1</cx:pt>
          <cx:pt idx="9931">0</cx:pt>
          <cx:pt idx="9932">4</cx:pt>
          <cx:pt idx="9933">1</cx:pt>
          <cx:pt idx="9934">1</cx:pt>
          <cx:pt idx="9935">4</cx:pt>
          <cx:pt idx="9936">0</cx:pt>
          <cx:pt idx="9937">2</cx:pt>
          <cx:pt idx="9938">2</cx:pt>
          <cx:pt idx="9939">2</cx:pt>
          <cx:pt idx="9940">3</cx:pt>
          <cx:pt idx="9941">1</cx:pt>
          <cx:pt idx="9942">1</cx:pt>
          <cx:pt idx="9943">5</cx:pt>
          <cx:pt idx="9944">3</cx:pt>
          <cx:pt idx="9945">2</cx:pt>
          <cx:pt idx="9946">3</cx:pt>
          <cx:pt idx="9947">1</cx:pt>
          <cx:pt idx="9948">3</cx:pt>
          <cx:pt idx="9949">4</cx:pt>
          <cx:pt idx="9950">2</cx:pt>
          <cx:pt idx="9951">2</cx:pt>
          <cx:pt idx="9952">2</cx:pt>
          <cx:pt idx="9953">1</cx:pt>
          <cx:pt idx="9954">1</cx:pt>
          <cx:pt idx="9955">1</cx:pt>
          <cx:pt idx="9956">3</cx:pt>
          <cx:pt idx="9957">3</cx:pt>
          <cx:pt idx="9958">1</cx:pt>
          <cx:pt idx="9959">4</cx:pt>
          <cx:pt idx="9960">2</cx:pt>
          <cx:pt idx="9961">1</cx:pt>
          <cx:pt idx="9962">5</cx:pt>
          <cx:pt idx="9963">2</cx:pt>
          <cx:pt idx="9964">2</cx:pt>
          <cx:pt idx="9965">2</cx:pt>
          <cx:pt idx="9966">5</cx:pt>
          <cx:pt idx="9967">2</cx:pt>
          <cx:pt idx="9968">1</cx:pt>
          <cx:pt idx="9969">4</cx:pt>
          <cx:pt idx="9970">1</cx:pt>
          <cx:pt idx="9971">1</cx:pt>
          <cx:pt idx="9972">1</cx:pt>
          <cx:pt idx="9973">2</cx:pt>
          <cx:pt idx="9974">3</cx:pt>
          <cx:pt idx="9975">2</cx:pt>
          <cx:pt idx="9976">1</cx:pt>
          <cx:pt idx="9977">2</cx:pt>
          <cx:pt idx="9978">5</cx:pt>
          <cx:pt idx="9979">5</cx:pt>
          <cx:pt idx="9980">3</cx:pt>
          <cx:pt idx="9981">3</cx:pt>
          <cx:pt idx="9982">4</cx:pt>
          <cx:pt idx="9983">2</cx:pt>
          <cx:pt idx="9984">3</cx:pt>
          <cx:pt idx="9985">2</cx:pt>
          <cx:pt idx="9986">5</cx:pt>
          <cx:pt idx="9987">2</cx:pt>
          <cx:pt idx="9988">3</cx:pt>
          <cx:pt idx="9989">5</cx:pt>
          <cx:pt idx="9990">2</cx:pt>
          <cx:pt idx="9991">2</cx:pt>
          <cx:pt idx="9992">2</cx:pt>
          <cx:pt idx="9993">4</cx:pt>
          <cx:pt idx="9994">2</cx:pt>
          <cx:pt idx="9995">3</cx:pt>
          <cx:pt idx="9996">5</cx:pt>
          <cx:pt idx="9997">4</cx:pt>
          <cx:pt idx="9998">5</cx:pt>
          <cx:pt idx="9999">4</cx:pt>
          <cx:pt idx="10000">4</cx:pt>
          <cx:pt idx="10001">3</cx:pt>
          <cx:pt idx="10002">4</cx:pt>
          <cx:pt idx="10003">2</cx:pt>
          <cx:pt idx="10004">4</cx:pt>
          <cx:pt idx="10005">3</cx:pt>
          <cx:pt idx="10006">1</cx:pt>
          <cx:pt idx="10007">0</cx:pt>
          <cx:pt idx="10008">2</cx:pt>
          <cx:pt idx="10009">1</cx:pt>
          <cx:pt idx="10010">5</cx:pt>
          <cx:pt idx="10011">2</cx:pt>
          <cx:pt idx="10012">5</cx:pt>
          <cx:pt idx="10013">4</cx:pt>
          <cx:pt idx="10014">3</cx:pt>
          <cx:pt idx="10015">4</cx:pt>
          <cx:pt idx="10016">1</cx:pt>
          <cx:pt idx="10017">2</cx:pt>
          <cx:pt idx="10018">0</cx:pt>
          <cx:pt idx="10019">3</cx:pt>
          <cx:pt idx="10020">1</cx:pt>
          <cx:pt idx="10021">3</cx:pt>
          <cx:pt idx="10022">1</cx:pt>
          <cx:pt idx="10023">5</cx:pt>
          <cx:pt idx="10024">1</cx:pt>
          <cx:pt idx="10025">3</cx:pt>
          <cx:pt idx="10026">2</cx:pt>
          <cx:pt idx="10027">4</cx:pt>
          <cx:pt idx="10028">3</cx:pt>
          <cx:pt idx="10029">1</cx:pt>
          <cx:pt idx="10030">3</cx:pt>
          <cx:pt idx="10031">1</cx:pt>
          <cx:pt idx="10032">2</cx:pt>
          <cx:pt idx="10033">3</cx:pt>
          <cx:pt idx="10034">4</cx:pt>
          <cx:pt idx="10035">3</cx:pt>
          <cx:pt idx="10036">0</cx:pt>
          <cx:pt idx="10037">1</cx:pt>
          <cx:pt idx="10038">0</cx:pt>
          <cx:pt idx="10039">2</cx:pt>
          <cx:pt idx="10040">1</cx:pt>
          <cx:pt idx="10041">4</cx:pt>
          <cx:pt idx="10042">3</cx:pt>
          <cx:pt idx="10043">1</cx:pt>
          <cx:pt idx="10044">5</cx:pt>
          <cx:pt idx="10045">3</cx:pt>
          <cx:pt idx="10046">3</cx:pt>
          <cx:pt idx="10047">5</cx:pt>
          <cx:pt idx="10048">1</cx:pt>
          <cx:pt idx="10049">5</cx:pt>
          <cx:pt idx="10050">5</cx:pt>
          <cx:pt idx="10051">1</cx:pt>
          <cx:pt idx="10052">5</cx:pt>
          <cx:pt idx="10053">1</cx:pt>
          <cx:pt idx="10054">0</cx:pt>
          <cx:pt idx="10055">3</cx:pt>
          <cx:pt idx="10056">2</cx:pt>
          <cx:pt idx="10057">3</cx:pt>
          <cx:pt idx="10058">2</cx:pt>
          <cx:pt idx="10059">3</cx:pt>
          <cx:pt idx="10060">2</cx:pt>
          <cx:pt idx="10061">2</cx:pt>
          <cx:pt idx="10062">1</cx:pt>
          <cx:pt idx="10063">5</cx:pt>
          <cx:pt idx="10064">1</cx:pt>
          <cx:pt idx="10065">1</cx:pt>
          <cx:pt idx="10066">5</cx:pt>
          <cx:pt idx="10067">2</cx:pt>
          <cx:pt idx="10068">1</cx:pt>
          <cx:pt idx="10069">4</cx:pt>
          <cx:pt idx="10070">1</cx:pt>
          <cx:pt idx="10071">3</cx:pt>
          <cx:pt idx="10072">5</cx:pt>
          <cx:pt idx="10073">1</cx:pt>
          <cx:pt idx="10074">4</cx:pt>
          <cx:pt idx="10075">5</cx:pt>
          <cx:pt idx="10076">1</cx:pt>
          <cx:pt idx="10077">1</cx:pt>
          <cx:pt idx="10078">4</cx:pt>
          <cx:pt idx="10079">2</cx:pt>
          <cx:pt idx="10080">2</cx:pt>
          <cx:pt idx="10081">2</cx:pt>
          <cx:pt idx="10082">3</cx:pt>
          <cx:pt idx="10083">1</cx:pt>
          <cx:pt idx="10084">4</cx:pt>
          <cx:pt idx="10085">3</cx:pt>
          <cx:pt idx="10086">2</cx:pt>
          <cx:pt idx="10087">3</cx:pt>
          <cx:pt idx="10088">2</cx:pt>
          <cx:pt idx="10089">3</cx:pt>
          <cx:pt idx="10090">3</cx:pt>
          <cx:pt idx="10091">3</cx:pt>
          <cx:pt idx="10092">4</cx:pt>
          <cx:pt idx="10093">5</cx:pt>
          <cx:pt idx="10094">4</cx:pt>
          <cx:pt idx="10095">4</cx:pt>
          <cx:pt idx="10096">2</cx:pt>
          <cx:pt idx="10097">2</cx:pt>
          <cx:pt idx="10098">2</cx:pt>
          <cx:pt idx="10099">2</cx:pt>
          <cx:pt idx="10100">4</cx:pt>
          <cx:pt idx="10101">4</cx:pt>
          <cx:pt idx="10102">3</cx:pt>
          <cx:pt idx="10103">2</cx:pt>
          <cx:pt idx="10104">1</cx:pt>
          <cx:pt idx="10105">0</cx:pt>
          <cx:pt idx="10106">1</cx:pt>
          <cx:pt idx="10107">2</cx:pt>
          <cx:pt idx="10108">5</cx:pt>
          <cx:pt idx="10109">2</cx:pt>
          <cx:pt idx="10110">4</cx:pt>
          <cx:pt idx="10111">4</cx:pt>
          <cx:pt idx="10112">4</cx:pt>
          <cx:pt idx="10113">4</cx:pt>
          <cx:pt idx="10114">3</cx:pt>
          <cx:pt idx="10115">5</cx:pt>
          <cx:pt idx="10116">3</cx:pt>
          <cx:pt idx="10117">3</cx:pt>
          <cx:pt idx="10118">5</cx:pt>
          <cx:pt idx="10119">2</cx:pt>
          <cx:pt idx="10120">2</cx:pt>
          <cx:pt idx="10121">1</cx:pt>
          <cx:pt idx="10122">4</cx:pt>
          <cx:pt idx="10123">4</cx:pt>
          <cx:pt idx="10124">1</cx:pt>
          <cx:pt idx="10125">5</cx:pt>
          <cx:pt idx="10126">4</cx:pt>
          <cx:pt idx="10127">4</cx:pt>
          <cx:pt idx="10128">5</cx:pt>
          <cx:pt idx="10129">5</cx:pt>
          <cx:pt idx="10130">4</cx:pt>
          <cx:pt idx="10131">1</cx:pt>
          <cx:pt idx="10132">5</cx:pt>
          <cx:pt idx="10133">4</cx:pt>
          <cx:pt idx="10134">1</cx:pt>
          <cx:pt idx="10135">1</cx:pt>
          <cx:pt idx="10136">5</cx:pt>
          <cx:pt idx="10137">3</cx:pt>
          <cx:pt idx="10138">3</cx:pt>
          <cx:pt idx="10139">3</cx:pt>
          <cx:pt idx="10140">4</cx:pt>
          <cx:pt idx="10141">5</cx:pt>
          <cx:pt idx="10142">4</cx:pt>
          <cx:pt idx="10143">4</cx:pt>
          <cx:pt idx="10144">0</cx:pt>
          <cx:pt idx="10145">2</cx:pt>
          <cx:pt idx="10146">1</cx:pt>
          <cx:pt idx="10147">1</cx:pt>
          <cx:pt idx="10148">4</cx:pt>
          <cx:pt idx="10149">2</cx:pt>
          <cx:pt idx="10150">5</cx:pt>
          <cx:pt idx="10151">4</cx:pt>
          <cx:pt idx="10152">4</cx:pt>
          <cx:pt idx="10153">2</cx:pt>
          <cx:pt idx="10154">3</cx:pt>
          <cx:pt idx="10155">4</cx:pt>
          <cx:pt idx="10156">3</cx:pt>
          <cx:pt idx="10157">3</cx:pt>
          <cx:pt idx="10158">1</cx:pt>
          <cx:pt idx="10159">2</cx:pt>
          <cx:pt idx="10160">3</cx:pt>
          <cx:pt idx="10161">1</cx:pt>
          <cx:pt idx="10162">3</cx:pt>
          <cx:pt idx="10163">4</cx:pt>
          <cx:pt idx="10164">1</cx:pt>
          <cx:pt idx="10165">2</cx:pt>
          <cx:pt idx="10166">3</cx:pt>
          <cx:pt idx="10167">3</cx:pt>
          <cx:pt idx="10168">4</cx:pt>
          <cx:pt idx="10169">2</cx:pt>
          <cx:pt idx="10170">4</cx:pt>
          <cx:pt idx="10171">2</cx:pt>
          <cx:pt idx="10172">2</cx:pt>
          <cx:pt idx="10173">5</cx:pt>
          <cx:pt idx="10174">4</cx:pt>
          <cx:pt idx="10175">3</cx:pt>
          <cx:pt idx="10176">1</cx:pt>
          <cx:pt idx="10177">5</cx:pt>
          <cx:pt idx="10178">1</cx:pt>
          <cx:pt idx="10179">5</cx:pt>
          <cx:pt idx="10180">5</cx:pt>
          <cx:pt idx="10181">0</cx:pt>
          <cx:pt idx="10182">4</cx:pt>
          <cx:pt idx="10183">3</cx:pt>
          <cx:pt idx="10184">1</cx:pt>
          <cx:pt idx="10185">0</cx:pt>
          <cx:pt idx="10186">1</cx:pt>
          <cx:pt idx="10187">4</cx:pt>
          <cx:pt idx="10188">3</cx:pt>
          <cx:pt idx="10189">1</cx:pt>
          <cx:pt idx="10190">5</cx:pt>
          <cx:pt idx="10191">3</cx:pt>
          <cx:pt idx="10192">5</cx:pt>
          <cx:pt idx="10193">3</cx:pt>
          <cx:pt idx="10194">2</cx:pt>
          <cx:pt idx="10195">1</cx:pt>
          <cx:pt idx="10196">3</cx:pt>
          <cx:pt idx="10197">1</cx:pt>
          <cx:pt idx="10198">4</cx:pt>
          <cx:pt idx="10199">2</cx:pt>
          <cx:pt idx="10200">2</cx:pt>
          <cx:pt idx="10201">4</cx:pt>
          <cx:pt idx="10202">2</cx:pt>
          <cx:pt idx="10203">4</cx:pt>
          <cx:pt idx="10204">3</cx:pt>
          <cx:pt idx="10205">1</cx:pt>
          <cx:pt idx="10206">1</cx:pt>
          <cx:pt idx="10207">2</cx:pt>
          <cx:pt idx="10208">2</cx:pt>
          <cx:pt idx="10209">2</cx:pt>
          <cx:pt idx="10210">1</cx:pt>
          <cx:pt idx="10211">4</cx:pt>
          <cx:pt idx="10212">5</cx:pt>
          <cx:pt idx="10213">4</cx:pt>
          <cx:pt idx="10214">4</cx:pt>
          <cx:pt idx="10215">2</cx:pt>
          <cx:pt idx="10216">5</cx:pt>
          <cx:pt idx="10217">5</cx:pt>
          <cx:pt idx="10218">2</cx:pt>
          <cx:pt idx="10219">1</cx:pt>
          <cx:pt idx="10220">2</cx:pt>
          <cx:pt idx="10221">2</cx:pt>
          <cx:pt idx="10222">0</cx:pt>
          <cx:pt idx="10223">5</cx:pt>
          <cx:pt idx="10224">5</cx:pt>
          <cx:pt idx="10225">4</cx:pt>
          <cx:pt idx="10226">4</cx:pt>
          <cx:pt idx="10227">5</cx:pt>
          <cx:pt idx="10228">0</cx:pt>
          <cx:pt idx="10229">5</cx:pt>
          <cx:pt idx="10230">1</cx:pt>
          <cx:pt idx="10231">3</cx:pt>
          <cx:pt idx="10232">1</cx:pt>
          <cx:pt idx="10233">3</cx:pt>
          <cx:pt idx="10234">4</cx:pt>
          <cx:pt idx="10235">4</cx:pt>
          <cx:pt idx="10236">3</cx:pt>
          <cx:pt idx="10237">1</cx:pt>
          <cx:pt idx="10238">4</cx:pt>
          <cx:pt idx="10239">3</cx:pt>
          <cx:pt idx="10240">4</cx:pt>
          <cx:pt idx="10241">3</cx:pt>
          <cx:pt idx="10242">4</cx:pt>
          <cx:pt idx="10243">5</cx:pt>
          <cx:pt idx="10244">4</cx:pt>
          <cx:pt idx="10245">0</cx:pt>
          <cx:pt idx="10246">2</cx:pt>
          <cx:pt idx="10247">4</cx:pt>
          <cx:pt idx="10248">3</cx:pt>
          <cx:pt idx="10249">3</cx:pt>
          <cx:pt idx="10250">4</cx:pt>
          <cx:pt idx="10251">2</cx:pt>
          <cx:pt idx="10252">3</cx:pt>
          <cx:pt idx="10253">1</cx:pt>
          <cx:pt idx="10254">3</cx:pt>
          <cx:pt idx="10255">1</cx:pt>
          <cx:pt idx="10256">4</cx:pt>
          <cx:pt idx="10257">0</cx:pt>
          <cx:pt idx="10258">1</cx:pt>
          <cx:pt idx="10259">2</cx:pt>
          <cx:pt idx="10260">3</cx:pt>
          <cx:pt idx="10261">0</cx:pt>
          <cx:pt idx="10262">3</cx:pt>
          <cx:pt idx="10263">5</cx:pt>
          <cx:pt idx="10264">4</cx:pt>
          <cx:pt idx="10265">4</cx:pt>
          <cx:pt idx="10266">5</cx:pt>
          <cx:pt idx="10267">3</cx:pt>
          <cx:pt idx="10268">5</cx:pt>
          <cx:pt idx="10269">3</cx:pt>
          <cx:pt idx="10270">5</cx:pt>
          <cx:pt idx="10271">2</cx:pt>
          <cx:pt idx="10272">4</cx:pt>
          <cx:pt idx="10273">5</cx:pt>
          <cx:pt idx="10274">3</cx:pt>
          <cx:pt idx="10275">4</cx:pt>
          <cx:pt idx="10276">2</cx:pt>
          <cx:pt idx="10277">2</cx:pt>
          <cx:pt idx="10278">4</cx:pt>
          <cx:pt idx="10279">2</cx:pt>
          <cx:pt idx="10280">1</cx:pt>
          <cx:pt idx="10281">4</cx:pt>
          <cx:pt idx="10282">2</cx:pt>
          <cx:pt idx="10283">2</cx:pt>
          <cx:pt idx="10284">4</cx:pt>
          <cx:pt idx="10285">1</cx:pt>
          <cx:pt idx="10286">1</cx:pt>
          <cx:pt idx="10287">2</cx:pt>
          <cx:pt idx="10288">3</cx:pt>
          <cx:pt idx="10289">2</cx:pt>
          <cx:pt idx="10290">3</cx:pt>
          <cx:pt idx="10291">1</cx:pt>
          <cx:pt idx="10292">2</cx:pt>
          <cx:pt idx="10293">3</cx:pt>
          <cx:pt idx="10294">2</cx:pt>
          <cx:pt idx="10295">1</cx:pt>
          <cx:pt idx="10296">2</cx:pt>
          <cx:pt idx="10297">2</cx:pt>
          <cx:pt idx="10298">5</cx:pt>
          <cx:pt idx="10299">1</cx:pt>
          <cx:pt idx="10300">3</cx:pt>
          <cx:pt idx="10301">1</cx:pt>
          <cx:pt idx="10302">2</cx:pt>
          <cx:pt idx="10303">1</cx:pt>
          <cx:pt idx="10304">4</cx:pt>
          <cx:pt idx="10305">5</cx:pt>
          <cx:pt idx="10306">4</cx:pt>
          <cx:pt idx="10307">3</cx:pt>
          <cx:pt idx="10308">3</cx:pt>
          <cx:pt idx="10309">3</cx:pt>
          <cx:pt idx="10310">2</cx:pt>
          <cx:pt idx="10311">5</cx:pt>
          <cx:pt idx="10312">5</cx:pt>
          <cx:pt idx="10313">3</cx:pt>
          <cx:pt idx="10314">3</cx:pt>
          <cx:pt idx="10315">4</cx:pt>
          <cx:pt idx="10316">0</cx:pt>
          <cx:pt idx="10317">2</cx:pt>
          <cx:pt idx="10318">4</cx:pt>
          <cx:pt idx="10319">3</cx:pt>
          <cx:pt idx="10320">3</cx:pt>
          <cx:pt idx="10321">3</cx:pt>
          <cx:pt idx="10322">3</cx:pt>
          <cx:pt idx="10323">1</cx:pt>
          <cx:pt idx="10324">5</cx:pt>
          <cx:pt idx="10325">1</cx:pt>
          <cx:pt idx="10326">2</cx:pt>
          <cx:pt idx="10327">2</cx:pt>
          <cx:pt idx="10328">4</cx:pt>
          <cx:pt idx="10329">4</cx:pt>
          <cx:pt idx="10330">0</cx:pt>
          <cx:pt idx="10331">1</cx:pt>
          <cx:pt idx="10332">3</cx:pt>
          <cx:pt idx="10333">3</cx:pt>
          <cx:pt idx="10334">5</cx:pt>
          <cx:pt idx="10335">3</cx:pt>
          <cx:pt idx="10336">2</cx:pt>
          <cx:pt idx="10337">2</cx:pt>
          <cx:pt idx="10338">3</cx:pt>
          <cx:pt idx="10339">2</cx:pt>
          <cx:pt idx="10340">2</cx:pt>
          <cx:pt idx="10341">2</cx:pt>
          <cx:pt idx="10342">5</cx:pt>
          <cx:pt idx="10343">3</cx:pt>
          <cx:pt idx="10344">1</cx:pt>
          <cx:pt idx="10345">3</cx:pt>
          <cx:pt idx="10346">2</cx:pt>
          <cx:pt idx="10347">0</cx:pt>
          <cx:pt idx="10348">4</cx:pt>
          <cx:pt idx="10349">4</cx:pt>
          <cx:pt idx="10350">3</cx:pt>
          <cx:pt idx="10351">1</cx:pt>
          <cx:pt idx="10352">1</cx:pt>
          <cx:pt idx="10353">2</cx:pt>
          <cx:pt idx="10354">0</cx:pt>
          <cx:pt idx="10355">5</cx:pt>
          <cx:pt idx="10356">5</cx:pt>
          <cx:pt idx="10357">3</cx:pt>
          <cx:pt idx="10358">1</cx:pt>
          <cx:pt idx="10359">3</cx:pt>
          <cx:pt idx="10360">4</cx:pt>
          <cx:pt idx="10361">4</cx:pt>
          <cx:pt idx="10362">3</cx:pt>
          <cx:pt idx="10363">5</cx:pt>
          <cx:pt idx="10364">5</cx:pt>
          <cx:pt idx="10365">4</cx:pt>
          <cx:pt idx="10366">2</cx:pt>
          <cx:pt idx="10367">4</cx:pt>
          <cx:pt idx="10368">3</cx:pt>
          <cx:pt idx="10369">5</cx:pt>
          <cx:pt idx="10370">2</cx:pt>
          <cx:pt idx="10371">4</cx:pt>
          <cx:pt idx="10372">5</cx:pt>
          <cx:pt idx="10373">1</cx:pt>
          <cx:pt idx="10374">5</cx:pt>
          <cx:pt idx="10375">4</cx:pt>
          <cx:pt idx="10376">2</cx:pt>
          <cx:pt idx="10377">2</cx:pt>
          <cx:pt idx="10378">4</cx:pt>
          <cx:pt idx="10379">4</cx:pt>
          <cx:pt idx="10380">1</cx:pt>
          <cx:pt idx="10381">4</cx:pt>
          <cx:pt idx="10382">3</cx:pt>
          <cx:pt idx="10383">4</cx:pt>
          <cx:pt idx="10384">2</cx:pt>
          <cx:pt idx="10385">2</cx:pt>
          <cx:pt idx="10386">3</cx:pt>
          <cx:pt idx="10387">2</cx:pt>
          <cx:pt idx="10388">2</cx:pt>
          <cx:pt idx="10389">4</cx:pt>
          <cx:pt idx="10390">5</cx:pt>
          <cx:pt idx="10391">3</cx:pt>
          <cx:pt idx="10392">2</cx:pt>
          <cx:pt idx="10393">2</cx:pt>
          <cx:pt idx="10394">2</cx:pt>
          <cx:pt idx="10395">2</cx:pt>
          <cx:pt idx="10396">3</cx:pt>
          <cx:pt idx="10397">2</cx:pt>
          <cx:pt idx="10398">4</cx:pt>
          <cx:pt idx="10399">3</cx:pt>
          <cx:pt idx="10400">3</cx:pt>
          <cx:pt idx="10401">1</cx:pt>
          <cx:pt idx="10402">2</cx:pt>
          <cx:pt idx="10403">2</cx:pt>
          <cx:pt idx="10404">4</cx:pt>
          <cx:pt idx="10405">1</cx:pt>
          <cx:pt idx="10406">5</cx:pt>
          <cx:pt idx="10407">1</cx:pt>
          <cx:pt idx="10408">2</cx:pt>
          <cx:pt idx="10409">3</cx:pt>
          <cx:pt idx="10410">4</cx:pt>
          <cx:pt idx="10411">2</cx:pt>
          <cx:pt idx="10412">0</cx:pt>
          <cx:pt idx="10413">3</cx:pt>
          <cx:pt idx="10414">4</cx:pt>
          <cx:pt idx="10415">2</cx:pt>
          <cx:pt idx="10416">4</cx:pt>
          <cx:pt idx="10417">5</cx:pt>
          <cx:pt idx="10418">3</cx:pt>
          <cx:pt idx="10419">5</cx:pt>
          <cx:pt idx="10420">3</cx:pt>
          <cx:pt idx="10421">1</cx:pt>
          <cx:pt idx="10422">2</cx:pt>
          <cx:pt idx="10423">3</cx:pt>
          <cx:pt idx="10424">3</cx:pt>
          <cx:pt idx="10425">2</cx:pt>
          <cx:pt idx="10426">1</cx:pt>
          <cx:pt idx="10427">1</cx:pt>
          <cx:pt idx="10428">4</cx:pt>
          <cx:pt idx="10429">2</cx:pt>
          <cx:pt idx="10430">1</cx:pt>
          <cx:pt idx="10431">2</cx:pt>
          <cx:pt idx="10432">5</cx:pt>
          <cx:pt idx="10433">1</cx:pt>
          <cx:pt idx="10434">5</cx:pt>
          <cx:pt idx="10435">4</cx:pt>
          <cx:pt idx="10436">4</cx:pt>
          <cx:pt idx="10437">4</cx:pt>
          <cx:pt idx="10438">1</cx:pt>
          <cx:pt idx="10439">1</cx:pt>
          <cx:pt idx="10440">5</cx:pt>
          <cx:pt idx="10441">3</cx:pt>
          <cx:pt idx="10442">2</cx:pt>
          <cx:pt idx="10443">2</cx:pt>
          <cx:pt idx="10444">3</cx:pt>
          <cx:pt idx="10445">0</cx:pt>
          <cx:pt idx="10446">5</cx:pt>
          <cx:pt idx="10447">0</cx:pt>
          <cx:pt idx="10448">1</cx:pt>
          <cx:pt idx="10449">4</cx:pt>
          <cx:pt idx="10450">1</cx:pt>
          <cx:pt idx="10451">1</cx:pt>
          <cx:pt idx="10452">2</cx:pt>
          <cx:pt idx="10453">4</cx:pt>
          <cx:pt idx="10454">5</cx:pt>
          <cx:pt idx="10455">3</cx:pt>
          <cx:pt idx="10456">5</cx:pt>
          <cx:pt idx="10457">2</cx:pt>
          <cx:pt idx="10458">1</cx:pt>
          <cx:pt idx="10459">2</cx:pt>
          <cx:pt idx="10460">1</cx:pt>
          <cx:pt idx="10461">5</cx:pt>
          <cx:pt idx="10462">1</cx:pt>
          <cx:pt idx="10463">2</cx:pt>
          <cx:pt idx="10464">4</cx:pt>
          <cx:pt idx="10465">5</cx:pt>
          <cx:pt idx="10466">1</cx:pt>
          <cx:pt idx="10467">2</cx:pt>
          <cx:pt idx="10468">1</cx:pt>
          <cx:pt idx="10469">2</cx:pt>
          <cx:pt idx="10470">1</cx:pt>
          <cx:pt idx="10471">0</cx:pt>
          <cx:pt idx="10472">3</cx:pt>
          <cx:pt idx="10473">3</cx:pt>
          <cx:pt idx="10474">3</cx:pt>
          <cx:pt idx="10475">4</cx:pt>
          <cx:pt idx="10476">4</cx:pt>
          <cx:pt idx="10477">0</cx:pt>
          <cx:pt idx="10478">3</cx:pt>
          <cx:pt idx="10479">4</cx:pt>
          <cx:pt idx="10480">3</cx:pt>
          <cx:pt idx="10481">2</cx:pt>
          <cx:pt idx="10482">2</cx:pt>
          <cx:pt idx="10483">3</cx:pt>
          <cx:pt idx="10484">1</cx:pt>
          <cx:pt idx="10485">4</cx:pt>
          <cx:pt idx="10486">2</cx:pt>
          <cx:pt idx="10487">2</cx:pt>
          <cx:pt idx="10488">5</cx:pt>
          <cx:pt idx="10489">1</cx:pt>
          <cx:pt idx="10490">3</cx:pt>
          <cx:pt idx="10491">4</cx:pt>
          <cx:pt idx="10492">3</cx:pt>
          <cx:pt idx="10493">1</cx:pt>
          <cx:pt idx="10494">2</cx:pt>
          <cx:pt idx="10495">2</cx:pt>
          <cx:pt idx="10496">2</cx:pt>
          <cx:pt idx="10497">4</cx:pt>
          <cx:pt idx="10498">3</cx:pt>
          <cx:pt idx="10499">2</cx:pt>
          <cx:pt idx="10500">1</cx:pt>
          <cx:pt idx="10501">2</cx:pt>
          <cx:pt idx="10502">2</cx:pt>
          <cx:pt idx="10503">5</cx:pt>
          <cx:pt idx="10504">3</cx:pt>
          <cx:pt idx="10505">4</cx:pt>
          <cx:pt idx="10506">2</cx:pt>
          <cx:pt idx="10507">4</cx:pt>
          <cx:pt idx="10508">4</cx:pt>
          <cx:pt idx="10509">5</cx:pt>
          <cx:pt idx="10510">5</cx:pt>
          <cx:pt idx="10511">2</cx:pt>
          <cx:pt idx="10512">1</cx:pt>
          <cx:pt idx="10513">3</cx:pt>
          <cx:pt idx="10514">3</cx:pt>
          <cx:pt idx="10515">3</cx:pt>
          <cx:pt idx="10516">3</cx:pt>
          <cx:pt idx="10517">2</cx:pt>
          <cx:pt idx="10518">3</cx:pt>
          <cx:pt idx="10519">0</cx:pt>
          <cx:pt idx="10520">2</cx:pt>
          <cx:pt idx="10521">2</cx:pt>
          <cx:pt idx="10522">1</cx:pt>
          <cx:pt idx="10523">1</cx:pt>
          <cx:pt idx="10524">2</cx:pt>
          <cx:pt idx="10525">1</cx:pt>
          <cx:pt idx="10526">5</cx:pt>
          <cx:pt idx="10527">2</cx:pt>
          <cx:pt idx="10528">5</cx:pt>
          <cx:pt idx="10529">3</cx:pt>
          <cx:pt idx="10530">4</cx:pt>
          <cx:pt idx="10531">3</cx:pt>
          <cx:pt idx="10532">2</cx:pt>
          <cx:pt idx="10533">3</cx:pt>
          <cx:pt idx="10534">1</cx:pt>
          <cx:pt idx="10535">4</cx:pt>
          <cx:pt idx="10536">3</cx:pt>
          <cx:pt idx="10537">3</cx:pt>
          <cx:pt idx="10538">1</cx:pt>
          <cx:pt idx="10539">3</cx:pt>
          <cx:pt idx="10540">4</cx:pt>
          <cx:pt idx="10541">3</cx:pt>
          <cx:pt idx="10542">3</cx:pt>
          <cx:pt idx="10543">1</cx:pt>
          <cx:pt idx="10544">3</cx:pt>
          <cx:pt idx="10545">1</cx:pt>
          <cx:pt idx="10546">2</cx:pt>
          <cx:pt idx="10547">2</cx:pt>
          <cx:pt idx="10548">1</cx:pt>
          <cx:pt idx="10549">2</cx:pt>
          <cx:pt idx="10550">2</cx:pt>
          <cx:pt idx="10551">3</cx:pt>
          <cx:pt idx="10552">3</cx:pt>
          <cx:pt idx="10553">2</cx:pt>
          <cx:pt idx="10554">0</cx:pt>
          <cx:pt idx="10555">3</cx:pt>
          <cx:pt idx="10556">4</cx:pt>
          <cx:pt idx="10557">5</cx:pt>
          <cx:pt idx="10558">2</cx:pt>
          <cx:pt idx="10559">4</cx:pt>
          <cx:pt idx="10560">3</cx:pt>
          <cx:pt idx="10561">1</cx:pt>
          <cx:pt idx="10562">1</cx:pt>
          <cx:pt idx="10563">4</cx:pt>
          <cx:pt idx="10564">3</cx:pt>
          <cx:pt idx="10565">4</cx:pt>
          <cx:pt idx="10566">2</cx:pt>
          <cx:pt idx="10567">3</cx:pt>
          <cx:pt idx="10568">5</cx:pt>
          <cx:pt idx="10569">3</cx:pt>
          <cx:pt idx="10570">4</cx:pt>
          <cx:pt idx="10571">2</cx:pt>
          <cx:pt idx="10572">1</cx:pt>
          <cx:pt idx="10573">3</cx:pt>
          <cx:pt idx="10574">1</cx:pt>
          <cx:pt idx="10575">3</cx:pt>
          <cx:pt idx="10576">1</cx:pt>
          <cx:pt idx="10577">4</cx:pt>
          <cx:pt idx="10578">4</cx:pt>
          <cx:pt idx="10579">2</cx:pt>
          <cx:pt idx="10580">1</cx:pt>
          <cx:pt idx="10581">4</cx:pt>
          <cx:pt idx="10582">4</cx:pt>
          <cx:pt idx="10583">3</cx:pt>
          <cx:pt idx="10584">3</cx:pt>
          <cx:pt idx="10585">4</cx:pt>
          <cx:pt idx="10586">0</cx:pt>
          <cx:pt idx="10587">3</cx:pt>
          <cx:pt idx="10588">3</cx:pt>
          <cx:pt idx="10589">1</cx:pt>
          <cx:pt idx="10590">3</cx:pt>
          <cx:pt idx="10591">3</cx:pt>
          <cx:pt idx="10592">4</cx:pt>
          <cx:pt idx="10593">5</cx:pt>
          <cx:pt idx="10594">2</cx:pt>
          <cx:pt idx="10595">4</cx:pt>
          <cx:pt idx="10596">2</cx:pt>
          <cx:pt idx="10597">4</cx:pt>
          <cx:pt idx="10598">3</cx:pt>
          <cx:pt idx="10599">1</cx:pt>
          <cx:pt idx="10600">4</cx:pt>
          <cx:pt idx="10601">5</cx:pt>
          <cx:pt idx="10602">2</cx:pt>
          <cx:pt idx="10603">4</cx:pt>
          <cx:pt idx="10604">3</cx:pt>
          <cx:pt idx="10605">2</cx:pt>
          <cx:pt idx="10606">3</cx:pt>
          <cx:pt idx="10607">2</cx:pt>
          <cx:pt idx="10608">3</cx:pt>
          <cx:pt idx="10609">1</cx:pt>
          <cx:pt idx="10610">4</cx:pt>
          <cx:pt idx="10611">3</cx:pt>
          <cx:pt idx="10612">2</cx:pt>
          <cx:pt idx="10613">4</cx:pt>
          <cx:pt idx="10614">1</cx:pt>
          <cx:pt idx="10615">5</cx:pt>
          <cx:pt idx="10616">3</cx:pt>
          <cx:pt idx="10617">5</cx:pt>
          <cx:pt idx="10618">3</cx:pt>
          <cx:pt idx="10619">0</cx:pt>
          <cx:pt idx="10620">3</cx:pt>
          <cx:pt idx="10621">0</cx:pt>
          <cx:pt idx="10622">4</cx:pt>
          <cx:pt idx="10623">2</cx:pt>
          <cx:pt idx="10624">5</cx:pt>
          <cx:pt idx="10625">3</cx:pt>
          <cx:pt idx="10626">1</cx:pt>
          <cx:pt idx="10627">3</cx:pt>
          <cx:pt idx="10628">3</cx:pt>
          <cx:pt idx="10629">2</cx:pt>
          <cx:pt idx="10630">4</cx:pt>
          <cx:pt idx="10631">1</cx:pt>
          <cx:pt idx="10632">4</cx:pt>
          <cx:pt idx="10633">3</cx:pt>
          <cx:pt idx="10634">4</cx:pt>
          <cx:pt idx="10635">2</cx:pt>
          <cx:pt idx="10636">3</cx:pt>
          <cx:pt idx="10637">2</cx:pt>
          <cx:pt idx="10638">3</cx:pt>
          <cx:pt idx="10639">2</cx:pt>
          <cx:pt idx="10640">5</cx:pt>
          <cx:pt idx="10641">5</cx:pt>
          <cx:pt idx="10642">4</cx:pt>
          <cx:pt idx="10643">2</cx:pt>
          <cx:pt idx="10644">2</cx:pt>
          <cx:pt idx="10645">3</cx:pt>
          <cx:pt idx="10646">3</cx:pt>
          <cx:pt idx="10647">1</cx:pt>
          <cx:pt idx="10648">3</cx:pt>
          <cx:pt idx="10649">3</cx:pt>
          <cx:pt idx="10650">3</cx:pt>
          <cx:pt idx="10651">2</cx:pt>
          <cx:pt idx="10652">3</cx:pt>
          <cx:pt idx="10653">2</cx:pt>
          <cx:pt idx="10654">1</cx:pt>
          <cx:pt idx="10655">4</cx:pt>
          <cx:pt idx="10656">5</cx:pt>
          <cx:pt idx="10657">4</cx:pt>
          <cx:pt idx="10658">5</cx:pt>
          <cx:pt idx="10659">1</cx:pt>
          <cx:pt idx="10660">2</cx:pt>
          <cx:pt idx="10661">0</cx:pt>
          <cx:pt idx="10662">2</cx:pt>
          <cx:pt idx="10663">5</cx:pt>
          <cx:pt idx="10664">2</cx:pt>
          <cx:pt idx="10665">4</cx:pt>
          <cx:pt idx="10666">1</cx:pt>
          <cx:pt idx="10667">5</cx:pt>
          <cx:pt idx="10668">5</cx:pt>
          <cx:pt idx="10669">4</cx:pt>
          <cx:pt idx="10670">1</cx:pt>
          <cx:pt idx="10671">3</cx:pt>
          <cx:pt idx="10672">4</cx:pt>
          <cx:pt idx="10673">4</cx:pt>
          <cx:pt idx="10674">2</cx:pt>
          <cx:pt idx="10675">0</cx:pt>
          <cx:pt idx="10676">4</cx:pt>
          <cx:pt idx="10677">2</cx:pt>
          <cx:pt idx="10678">4</cx:pt>
          <cx:pt idx="10679">1</cx:pt>
          <cx:pt idx="10680">0</cx:pt>
          <cx:pt idx="10681">2</cx:pt>
          <cx:pt idx="10682">1</cx:pt>
          <cx:pt idx="10683">0</cx:pt>
          <cx:pt idx="10684">2</cx:pt>
          <cx:pt idx="10685">2</cx:pt>
          <cx:pt idx="10686">5</cx:pt>
          <cx:pt idx="10687">5</cx:pt>
          <cx:pt idx="10688">0</cx:pt>
          <cx:pt idx="10689">0</cx:pt>
          <cx:pt idx="10690">2</cx:pt>
          <cx:pt idx="10691">2</cx:pt>
          <cx:pt idx="10692">2</cx:pt>
          <cx:pt idx="10693">5</cx:pt>
          <cx:pt idx="10694">0</cx:pt>
          <cx:pt idx="10695">1</cx:pt>
          <cx:pt idx="10696">3</cx:pt>
          <cx:pt idx="10697">2</cx:pt>
          <cx:pt idx="10698">2</cx:pt>
          <cx:pt idx="10699">2</cx:pt>
          <cx:pt idx="10700">4</cx:pt>
          <cx:pt idx="10701">2</cx:pt>
          <cx:pt idx="10702">2</cx:pt>
          <cx:pt idx="10703">3</cx:pt>
          <cx:pt idx="10704">3</cx:pt>
          <cx:pt idx="10705">3</cx:pt>
          <cx:pt idx="10706">4</cx:pt>
          <cx:pt idx="10707">2</cx:pt>
          <cx:pt idx="10708">4</cx:pt>
          <cx:pt idx="10709">4</cx:pt>
          <cx:pt idx="10710">4</cx:pt>
          <cx:pt idx="10711">1</cx:pt>
          <cx:pt idx="10712">2</cx:pt>
          <cx:pt idx="10713">3</cx:pt>
          <cx:pt idx="10714">1</cx:pt>
          <cx:pt idx="10715">5</cx:pt>
          <cx:pt idx="10716">3</cx:pt>
          <cx:pt idx="10717">4</cx:pt>
          <cx:pt idx="10718">4</cx:pt>
          <cx:pt idx="10719">4</cx:pt>
          <cx:pt idx="10720">4</cx:pt>
          <cx:pt idx="10721">2</cx:pt>
          <cx:pt idx="10722">0</cx:pt>
          <cx:pt idx="10723">2</cx:pt>
          <cx:pt idx="10724">4</cx:pt>
          <cx:pt idx="10725">3</cx:pt>
          <cx:pt idx="10726">2</cx:pt>
          <cx:pt idx="10727">5</cx:pt>
          <cx:pt idx="10728">3</cx:pt>
          <cx:pt idx="10729">1</cx:pt>
          <cx:pt idx="10730">3</cx:pt>
          <cx:pt idx="10731">4</cx:pt>
          <cx:pt idx="10732">1</cx:pt>
          <cx:pt idx="10733">5</cx:pt>
          <cx:pt idx="10734">2</cx:pt>
          <cx:pt idx="10735">2</cx:pt>
          <cx:pt idx="10736">2</cx:pt>
          <cx:pt idx="10737">3</cx:pt>
          <cx:pt idx="10738">1</cx:pt>
          <cx:pt idx="10739">3</cx:pt>
          <cx:pt idx="10740">1</cx:pt>
          <cx:pt idx="10741">3</cx:pt>
          <cx:pt idx="10742">4</cx:pt>
          <cx:pt idx="10743">2</cx:pt>
          <cx:pt idx="10744">3</cx:pt>
          <cx:pt idx="10745">4</cx:pt>
          <cx:pt idx="10746">3</cx:pt>
          <cx:pt idx="10747">3</cx:pt>
          <cx:pt idx="10748">2</cx:pt>
          <cx:pt idx="10749">1</cx:pt>
          <cx:pt idx="10750">1</cx:pt>
          <cx:pt idx="10751">2</cx:pt>
          <cx:pt idx="10752">1</cx:pt>
          <cx:pt idx="10753">2</cx:pt>
          <cx:pt idx="10754">2</cx:pt>
          <cx:pt idx="10755">4</cx:pt>
          <cx:pt idx="10756">3</cx:pt>
          <cx:pt idx="10757">4</cx:pt>
          <cx:pt idx="10758">2</cx:pt>
          <cx:pt idx="10759">3</cx:pt>
          <cx:pt idx="10760">3</cx:pt>
          <cx:pt idx="10761">5</cx:pt>
          <cx:pt idx="10762">2</cx:pt>
          <cx:pt idx="10763">1</cx:pt>
          <cx:pt idx="10764">3</cx:pt>
          <cx:pt idx="10765">1</cx:pt>
          <cx:pt idx="10766">2</cx:pt>
          <cx:pt idx="10767">4</cx:pt>
          <cx:pt idx="10768">3</cx:pt>
          <cx:pt idx="10769">4</cx:pt>
          <cx:pt idx="10770">2</cx:pt>
          <cx:pt idx="10771">2</cx:pt>
          <cx:pt idx="10772">2</cx:pt>
          <cx:pt idx="10773">1</cx:pt>
          <cx:pt idx="10774">4</cx:pt>
          <cx:pt idx="10775">1</cx:pt>
          <cx:pt idx="10776">3</cx:pt>
          <cx:pt idx="10777">2</cx:pt>
          <cx:pt idx="10778">3</cx:pt>
          <cx:pt idx="10779">3</cx:pt>
          <cx:pt idx="10780">4</cx:pt>
          <cx:pt idx="10781">4</cx:pt>
          <cx:pt idx="10782">5</cx:pt>
          <cx:pt idx="10783">2</cx:pt>
          <cx:pt idx="10784">3</cx:pt>
          <cx:pt idx="10785">3</cx:pt>
          <cx:pt idx="10786">1</cx:pt>
          <cx:pt idx="10787">0</cx:pt>
          <cx:pt idx="10788">2</cx:pt>
          <cx:pt idx="10789">5</cx:pt>
          <cx:pt idx="10790">1</cx:pt>
          <cx:pt idx="10791">2</cx:pt>
          <cx:pt idx="10792">5</cx:pt>
          <cx:pt idx="10793">3</cx:pt>
          <cx:pt idx="10794">5</cx:pt>
          <cx:pt idx="10795">3</cx:pt>
          <cx:pt idx="10796">4</cx:pt>
          <cx:pt idx="10797">3</cx:pt>
          <cx:pt idx="10798">2</cx:pt>
          <cx:pt idx="10799">4</cx:pt>
          <cx:pt idx="10800">2</cx:pt>
          <cx:pt idx="10801">5</cx:pt>
          <cx:pt idx="10802">4</cx:pt>
          <cx:pt idx="10803">3</cx:pt>
          <cx:pt idx="10804">3</cx:pt>
          <cx:pt idx="10805">4</cx:pt>
          <cx:pt idx="10806">1</cx:pt>
          <cx:pt idx="10807">2</cx:pt>
          <cx:pt idx="10808">5</cx:pt>
          <cx:pt idx="10809">5</cx:pt>
          <cx:pt idx="10810">4</cx:pt>
          <cx:pt idx="10811">3</cx:pt>
          <cx:pt idx="10812">5</cx:pt>
          <cx:pt idx="10813">4</cx:pt>
          <cx:pt idx="10814">1</cx:pt>
          <cx:pt idx="10815">5</cx:pt>
          <cx:pt idx="10816">3</cx:pt>
          <cx:pt idx="10817">5</cx:pt>
          <cx:pt idx="10818">3</cx:pt>
          <cx:pt idx="10819">4</cx:pt>
          <cx:pt idx="10820">5</cx:pt>
          <cx:pt idx="10821">2</cx:pt>
          <cx:pt idx="10822">4</cx:pt>
          <cx:pt idx="10823">3</cx:pt>
          <cx:pt idx="10824">5</cx:pt>
          <cx:pt idx="10825">5</cx:pt>
          <cx:pt idx="10826">2</cx:pt>
          <cx:pt idx="10827">5</cx:pt>
          <cx:pt idx="10828">1</cx:pt>
          <cx:pt idx="10829">2</cx:pt>
          <cx:pt idx="10830">4</cx:pt>
          <cx:pt idx="10831">3</cx:pt>
          <cx:pt idx="10832">3</cx:pt>
          <cx:pt idx="10833">4</cx:pt>
          <cx:pt idx="10834">1</cx:pt>
          <cx:pt idx="10835">4</cx:pt>
          <cx:pt idx="10836">0</cx:pt>
          <cx:pt idx="10837">5</cx:pt>
          <cx:pt idx="10838">2</cx:pt>
          <cx:pt idx="10839">4</cx:pt>
          <cx:pt idx="10840">4</cx:pt>
          <cx:pt idx="10841">1</cx:pt>
          <cx:pt idx="10842">5</cx:pt>
          <cx:pt idx="10843">1</cx:pt>
          <cx:pt idx="10844">5</cx:pt>
          <cx:pt idx="10845">1</cx:pt>
          <cx:pt idx="10846">2</cx:pt>
          <cx:pt idx="10847">2</cx:pt>
          <cx:pt idx="10848">1</cx:pt>
          <cx:pt idx="10849">5</cx:pt>
          <cx:pt idx="10850">3</cx:pt>
          <cx:pt idx="10851">2</cx:pt>
          <cx:pt idx="10852">2</cx:pt>
          <cx:pt idx="10853">3</cx:pt>
          <cx:pt idx="10854">4</cx:pt>
          <cx:pt idx="10855">2</cx:pt>
          <cx:pt idx="10856">3</cx:pt>
          <cx:pt idx="10857">3</cx:pt>
          <cx:pt idx="10858">3</cx:pt>
          <cx:pt idx="10859">1</cx:pt>
          <cx:pt idx="10860">1</cx:pt>
          <cx:pt idx="10861">2</cx:pt>
          <cx:pt idx="10862">2</cx:pt>
          <cx:pt idx="10863">4</cx:pt>
          <cx:pt idx="10864">2</cx:pt>
          <cx:pt idx="10865">3</cx:pt>
          <cx:pt idx="10866">3</cx:pt>
          <cx:pt idx="10867">5</cx:pt>
          <cx:pt idx="10868">1</cx:pt>
          <cx:pt idx="10869">3</cx:pt>
          <cx:pt idx="10870">0</cx:pt>
          <cx:pt idx="10871">1</cx:pt>
          <cx:pt idx="10872">3</cx:pt>
          <cx:pt idx="10873">1</cx:pt>
          <cx:pt idx="10874">0</cx:pt>
          <cx:pt idx="10875">0</cx:pt>
          <cx:pt idx="10876">5</cx:pt>
          <cx:pt idx="10877">4</cx:pt>
          <cx:pt idx="10878">4</cx:pt>
          <cx:pt idx="10879">3</cx:pt>
          <cx:pt idx="10880">1</cx:pt>
          <cx:pt idx="10881">2</cx:pt>
          <cx:pt idx="10882">5</cx:pt>
          <cx:pt idx="10883">1</cx:pt>
          <cx:pt idx="10884">5</cx:pt>
          <cx:pt idx="10885">3</cx:pt>
          <cx:pt idx="10886">2</cx:pt>
          <cx:pt idx="10887">4</cx:pt>
          <cx:pt idx="10888">2</cx:pt>
          <cx:pt idx="10889">5</cx:pt>
          <cx:pt idx="10890">2</cx:pt>
          <cx:pt idx="10891">3</cx:pt>
          <cx:pt idx="10892">4</cx:pt>
          <cx:pt idx="10893">4</cx:pt>
          <cx:pt idx="10894">3</cx:pt>
          <cx:pt idx="10895">4</cx:pt>
          <cx:pt idx="10896">5</cx:pt>
          <cx:pt idx="10897">3</cx:pt>
          <cx:pt idx="10898">2</cx:pt>
          <cx:pt idx="10899">2</cx:pt>
          <cx:pt idx="10900">2</cx:pt>
          <cx:pt idx="10901">5</cx:pt>
          <cx:pt idx="10902">1</cx:pt>
          <cx:pt idx="10903">2</cx:pt>
          <cx:pt idx="10904">3</cx:pt>
          <cx:pt idx="10905">3</cx:pt>
          <cx:pt idx="10906">2</cx:pt>
          <cx:pt idx="10907">3</cx:pt>
          <cx:pt idx="10908">1</cx:pt>
          <cx:pt idx="10909">2</cx:pt>
          <cx:pt idx="10910">2</cx:pt>
          <cx:pt idx="10911">3</cx:pt>
          <cx:pt idx="10912">3</cx:pt>
          <cx:pt idx="10913">2</cx:pt>
          <cx:pt idx="10914">2</cx:pt>
          <cx:pt idx="10915">1</cx:pt>
          <cx:pt idx="10916">5</cx:pt>
          <cx:pt idx="10917">1</cx:pt>
          <cx:pt idx="10918">2</cx:pt>
          <cx:pt idx="10919">3</cx:pt>
          <cx:pt idx="10920">0</cx:pt>
          <cx:pt idx="10921">2</cx:pt>
          <cx:pt idx="10922">1</cx:pt>
          <cx:pt idx="10923">1</cx:pt>
          <cx:pt idx="10924">5</cx:pt>
          <cx:pt idx="10925">2</cx:pt>
          <cx:pt idx="10926">3</cx:pt>
          <cx:pt idx="10927">4</cx:pt>
          <cx:pt idx="10928">2</cx:pt>
          <cx:pt idx="10929">3</cx:pt>
          <cx:pt idx="10930">3</cx:pt>
          <cx:pt idx="10931">4</cx:pt>
          <cx:pt idx="10932">5</cx:pt>
          <cx:pt idx="10933">4</cx:pt>
          <cx:pt idx="10934">2</cx:pt>
          <cx:pt idx="10935">4</cx:pt>
          <cx:pt idx="10936">5</cx:pt>
          <cx:pt idx="10937">1</cx:pt>
          <cx:pt idx="10938">4</cx:pt>
          <cx:pt idx="10939">5</cx:pt>
          <cx:pt idx="10940">2</cx:pt>
          <cx:pt idx="10941">2</cx:pt>
          <cx:pt idx="10942">4</cx:pt>
          <cx:pt idx="10943">5</cx:pt>
          <cx:pt idx="10944">5</cx:pt>
          <cx:pt idx="10945">5</cx:pt>
          <cx:pt idx="10946">2</cx:pt>
          <cx:pt idx="10947">3</cx:pt>
          <cx:pt idx="10948">5</cx:pt>
          <cx:pt idx="10949">2</cx:pt>
          <cx:pt idx="10950">2</cx:pt>
          <cx:pt idx="10951">2</cx:pt>
          <cx:pt idx="10952">2</cx:pt>
          <cx:pt idx="10953">3</cx:pt>
          <cx:pt idx="10954">5</cx:pt>
          <cx:pt idx="10955">4</cx:pt>
          <cx:pt idx="10956">3</cx:pt>
          <cx:pt idx="10957">3</cx:pt>
          <cx:pt idx="10958">1</cx:pt>
          <cx:pt idx="10959">0</cx:pt>
          <cx:pt idx="10960">5</cx:pt>
          <cx:pt idx="10961">1</cx:pt>
          <cx:pt idx="10962">3</cx:pt>
          <cx:pt idx="10963">5</cx:pt>
          <cx:pt idx="10964">5</cx:pt>
          <cx:pt idx="10965">1</cx:pt>
          <cx:pt idx="10966">1</cx:pt>
          <cx:pt idx="10967">5</cx:pt>
          <cx:pt idx="10968">2</cx:pt>
          <cx:pt idx="10969">3</cx:pt>
          <cx:pt idx="10970">1</cx:pt>
          <cx:pt idx="10971">4</cx:pt>
          <cx:pt idx="10972">4</cx:pt>
          <cx:pt idx="10973">0</cx:pt>
          <cx:pt idx="10974">1</cx:pt>
          <cx:pt idx="10975">4</cx:pt>
          <cx:pt idx="10976">1</cx:pt>
          <cx:pt idx="10977">5</cx:pt>
          <cx:pt idx="10978">4</cx:pt>
          <cx:pt idx="10979">1</cx:pt>
          <cx:pt idx="10980">3</cx:pt>
          <cx:pt idx="10981">3</cx:pt>
          <cx:pt idx="10982">1</cx:pt>
          <cx:pt idx="10983">4</cx:pt>
          <cx:pt idx="10984">3</cx:pt>
          <cx:pt idx="10985">3</cx:pt>
          <cx:pt idx="10986">5</cx:pt>
          <cx:pt idx="10987">1</cx:pt>
          <cx:pt idx="10988">4</cx:pt>
          <cx:pt idx="10989">2</cx:pt>
          <cx:pt idx="10990">0</cx:pt>
          <cx:pt idx="10991">1</cx:pt>
          <cx:pt idx="10992">5</cx:pt>
          <cx:pt idx="10993">1</cx:pt>
          <cx:pt idx="10994">4</cx:pt>
          <cx:pt idx="10995">2</cx:pt>
          <cx:pt idx="10996">2</cx:pt>
          <cx:pt idx="10997">4</cx:pt>
          <cx:pt idx="10998">1</cx:pt>
          <cx:pt idx="10999">3</cx:pt>
          <cx:pt idx="11000">3</cx:pt>
          <cx:pt idx="11001">1</cx:pt>
          <cx:pt idx="11002">4</cx:pt>
          <cx:pt idx="11003">0</cx:pt>
          <cx:pt idx="11004">3</cx:pt>
          <cx:pt idx="11005">2</cx:pt>
          <cx:pt idx="11006">2</cx:pt>
          <cx:pt idx="11007">5</cx:pt>
          <cx:pt idx="11008">3</cx:pt>
          <cx:pt idx="11009">2</cx:pt>
          <cx:pt idx="11010">3</cx:pt>
          <cx:pt idx="11011">5</cx:pt>
          <cx:pt idx="11012">3</cx:pt>
          <cx:pt idx="11013">2</cx:pt>
          <cx:pt idx="11014">4</cx:pt>
          <cx:pt idx="11015">5</cx:pt>
          <cx:pt idx="11016">4</cx:pt>
          <cx:pt idx="11017">3</cx:pt>
          <cx:pt idx="11018">3</cx:pt>
          <cx:pt idx="11019">3</cx:pt>
          <cx:pt idx="11020">1</cx:pt>
          <cx:pt idx="11021">3</cx:pt>
          <cx:pt idx="11022">1</cx:pt>
          <cx:pt idx="11023">2</cx:pt>
          <cx:pt idx="11024">2</cx:pt>
          <cx:pt idx="11025">4</cx:pt>
          <cx:pt idx="11026">1</cx:pt>
          <cx:pt idx="11027">3</cx:pt>
          <cx:pt idx="11028">3</cx:pt>
          <cx:pt idx="11029">2</cx:pt>
          <cx:pt idx="11030">3</cx:pt>
          <cx:pt idx="11031">1</cx:pt>
          <cx:pt idx="11032">5</cx:pt>
          <cx:pt idx="11033">4</cx:pt>
          <cx:pt idx="11034">2</cx:pt>
          <cx:pt idx="11035">1</cx:pt>
          <cx:pt idx="11036">0</cx:pt>
          <cx:pt idx="11037">1</cx:pt>
          <cx:pt idx="11038">1</cx:pt>
          <cx:pt idx="11039">5</cx:pt>
          <cx:pt idx="11040">3</cx:pt>
          <cx:pt idx="11041">4</cx:pt>
          <cx:pt idx="11042">3</cx:pt>
          <cx:pt idx="11043">1</cx:pt>
          <cx:pt idx="11044">3</cx:pt>
          <cx:pt idx="11045">1</cx:pt>
          <cx:pt idx="11046">5</cx:pt>
          <cx:pt idx="11047">5</cx:pt>
          <cx:pt idx="11048">1</cx:pt>
          <cx:pt idx="11049">3</cx:pt>
          <cx:pt idx="11050">1</cx:pt>
          <cx:pt idx="11051">3</cx:pt>
          <cx:pt idx="11052">2</cx:pt>
          <cx:pt idx="11053">3</cx:pt>
          <cx:pt idx="11054">5</cx:pt>
          <cx:pt idx="11055">3</cx:pt>
          <cx:pt idx="11056">2</cx:pt>
          <cx:pt idx="11057">2</cx:pt>
          <cx:pt idx="11058">1</cx:pt>
          <cx:pt idx="11059">2</cx:pt>
          <cx:pt idx="11060">2</cx:pt>
          <cx:pt idx="11061">3</cx:pt>
          <cx:pt idx="11062">4</cx:pt>
          <cx:pt idx="11063">3</cx:pt>
          <cx:pt idx="11064">4</cx:pt>
          <cx:pt idx="11065">3</cx:pt>
          <cx:pt idx="11066">3</cx:pt>
          <cx:pt idx="11067">4</cx:pt>
          <cx:pt idx="11068">4</cx:pt>
          <cx:pt idx="11069">0</cx:pt>
          <cx:pt idx="11070">2</cx:pt>
          <cx:pt idx="11071">3</cx:pt>
          <cx:pt idx="11072">1</cx:pt>
          <cx:pt idx="11073">2</cx:pt>
          <cx:pt idx="11074">3</cx:pt>
          <cx:pt idx="11075">1</cx:pt>
          <cx:pt idx="11076">4</cx:pt>
          <cx:pt idx="11077">5</cx:pt>
          <cx:pt idx="11078">2</cx:pt>
          <cx:pt idx="11079">3</cx:pt>
          <cx:pt idx="11080">3</cx:pt>
          <cx:pt idx="11081">2</cx:pt>
          <cx:pt idx="11082">1</cx:pt>
          <cx:pt idx="11083">2</cx:pt>
          <cx:pt idx="11084">4</cx:pt>
          <cx:pt idx="11085">5</cx:pt>
          <cx:pt idx="11086">5</cx:pt>
          <cx:pt idx="11087">4</cx:pt>
          <cx:pt idx="11088">2</cx:pt>
          <cx:pt idx="11089">1</cx:pt>
          <cx:pt idx="11090">4</cx:pt>
          <cx:pt idx="11091">2</cx:pt>
          <cx:pt idx="11092">4</cx:pt>
          <cx:pt idx="11093">4</cx:pt>
          <cx:pt idx="11094">2</cx:pt>
          <cx:pt idx="11095">4</cx:pt>
          <cx:pt idx="11096">3</cx:pt>
          <cx:pt idx="11097">5</cx:pt>
          <cx:pt idx="11098">3</cx:pt>
          <cx:pt idx="11099">3</cx:pt>
          <cx:pt idx="11100">2</cx:pt>
          <cx:pt idx="11101">3</cx:pt>
          <cx:pt idx="11102">4</cx:pt>
          <cx:pt idx="11103">2</cx:pt>
          <cx:pt idx="11104">2</cx:pt>
          <cx:pt idx="11105">4</cx:pt>
          <cx:pt idx="11106">2</cx:pt>
          <cx:pt idx="11107">2</cx:pt>
          <cx:pt idx="11108">1</cx:pt>
          <cx:pt idx="11109">1</cx:pt>
          <cx:pt idx="11110">5</cx:pt>
          <cx:pt idx="11111">1</cx:pt>
          <cx:pt idx="11112">4</cx:pt>
          <cx:pt idx="11113">4</cx:pt>
          <cx:pt idx="11114">3</cx:pt>
          <cx:pt idx="11115">3</cx:pt>
          <cx:pt idx="11116">2</cx:pt>
          <cx:pt idx="11117">1</cx:pt>
          <cx:pt idx="11118">1</cx:pt>
          <cx:pt idx="11119">1</cx:pt>
          <cx:pt idx="11120">2</cx:pt>
          <cx:pt idx="11121">1</cx:pt>
          <cx:pt idx="11122">1</cx:pt>
          <cx:pt idx="11123">5</cx:pt>
          <cx:pt idx="11124">5</cx:pt>
          <cx:pt idx="11125">2</cx:pt>
          <cx:pt idx="11126">2</cx:pt>
          <cx:pt idx="11127">3</cx:pt>
          <cx:pt idx="11128">5</cx:pt>
          <cx:pt idx="11129">4</cx:pt>
          <cx:pt idx="11130">3</cx:pt>
          <cx:pt idx="11131">3</cx:pt>
          <cx:pt idx="11132">3</cx:pt>
          <cx:pt idx="11133">0</cx:pt>
          <cx:pt idx="11134">2</cx:pt>
          <cx:pt idx="11135">2</cx:pt>
          <cx:pt idx="11136">4</cx:pt>
          <cx:pt idx="11137">3</cx:pt>
          <cx:pt idx="11138">1</cx:pt>
          <cx:pt idx="11139">3</cx:pt>
          <cx:pt idx="11140">2</cx:pt>
          <cx:pt idx="11141">1</cx:pt>
          <cx:pt idx="11142">1</cx:pt>
          <cx:pt idx="11143">1</cx:pt>
          <cx:pt idx="11144">3</cx:pt>
          <cx:pt idx="11145">3</cx:pt>
          <cx:pt idx="11146">4</cx:pt>
          <cx:pt idx="11147">1</cx:pt>
          <cx:pt idx="11148">5</cx:pt>
          <cx:pt idx="11149">2</cx:pt>
          <cx:pt idx="11150">3</cx:pt>
          <cx:pt idx="11151">4</cx:pt>
          <cx:pt idx="11152">3</cx:pt>
          <cx:pt idx="11153">1</cx:pt>
          <cx:pt idx="11154">1</cx:pt>
          <cx:pt idx="11155">4</cx:pt>
          <cx:pt idx="11156">2</cx:pt>
          <cx:pt idx="11157">2</cx:pt>
          <cx:pt idx="11158">5</cx:pt>
          <cx:pt idx="11159">5</cx:pt>
          <cx:pt idx="11160">2</cx:pt>
          <cx:pt idx="11161">0</cx:pt>
          <cx:pt idx="11162">5</cx:pt>
          <cx:pt idx="11163">5</cx:pt>
          <cx:pt idx="11164">4</cx:pt>
          <cx:pt idx="11165">3</cx:pt>
          <cx:pt idx="11166">5</cx:pt>
          <cx:pt idx="11167">1</cx:pt>
          <cx:pt idx="11168">0</cx:pt>
          <cx:pt idx="11169">3</cx:pt>
          <cx:pt idx="11170">3</cx:pt>
          <cx:pt idx="11171">3</cx:pt>
          <cx:pt idx="11172">4</cx:pt>
          <cx:pt idx="11173">3</cx:pt>
          <cx:pt idx="11174">4</cx:pt>
          <cx:pt idx="11175">3</cx:pt>
          <cx:pt idx="11176">0</cx:pt>
          <cx:pt idx="11177">3</cx:pt>
          <cx:pt idx="11178">5</cx:pt>
          <cx:pt idx="11179">5</cx:pt>
          <cx:pt idx="11180">3</cx:pt>
          <cx:pt idx="11181">3</cx:pt>
          <cx:pt idx="11182">3</cx:pt>
          <cx:pt idx="11183">3</cx:pt>
          <cx:pt idx="11184">2</cx:pt>
          <cx:pt idx="11185">1</cx:pt>
          <cx:pt idx="11186">3</cx:pt>
          <cx:pt idx="11187">2</cx:pt>
          <cx:pt idx="11188">4</cx:pt>
          <cx:pt idx="11189">2</cx:pt>
          <cx:pt idx="11190">2</cx:pt>
          <cx:pt idx="11191">2</cx:pt>
          <cx:pt idx="11192">2</cx:pt>
          <cx:pt idx="11193">4</cx:pt>
          <cx:pt idx="11194">3</cx:pt>
          <cx:pt idx="11195">5</cx:pt>
          <cx:pt idx="11196">2</cx:pt>
          <cx:pt idx="11197">4</cx:pt>
          <cx:pt idx="11198">4</cx:pt>
          <cx:pt idx="11199">3</cx:pt>
          <cx:pt idx="11200">3</cx:pt>
          <cx:pt idx="11201">2</cx:pt>
          <cx:pt idx="11202">2</cx:pt>
          <cx:pt idx="11203">3</cx:pt>
          <cx:pt idx="11204">5</cx:pt>
          <cx:pt idx="11205">5</cx:pt>
          <cx:pt idx="11206">2</cx:pt>
          <cx:pt idx="11207">0</cx:pt>
          <cx:pt idx="11208">1</cx:pt>
          <cx:pt idx="11209">2</cx:pt>
          <cx:pt idx="11210">2</cx:pt>
          <cx:pt idx="11211">0</cx:pt>
          <cx:pt idx="11212">5</cx:pt>
          <cx:pt idx="11213">4</cx:pt>
          <cx:pt idx="11214">5</cx:pt>
          <cx:pt idx="11215">1</cx:pt>
          <cx:pt idx="11216">5</cx:pt>
          <cx:pt idx="11217">4</cx:pt>
          <cx:pt idx="11218">2</cx:pt>
          <cx:pt idx="11219">4</cx:pt>
          <cx:pt idx="11220">4</cx:pt>
          <cx:pt idx="11221">2</cx:pt>
          <cx:pt idx="11222">4</cx:pt>
          <cx:pt idx="11223">2</cx:pt>
          <cx:pt idx="11224">1</cx:pt>
          <cx:pt idx="11225">2</cx:pt>
          <cx:pt idx="11226">4</cx:pt>
          <cx:pt idx="11227">4</cx:pt>
          <cx:pt idx="11228">4</cx:pt>
          <cx:pt idx="11229">3</cx:pt>
          <cx:pt idx="11230">3</cx:pt>
          <cx:pt idx="11231">4</cx:pt>
          <cx:pt idx="11232">1</cx:pt>
          <cx:pt idx="11233">1</cx:pt>
          <cx:pt idx="11234">1</cx:pt>
          <cx:pt idx="11235">1</cx:pt>
          <cx:pt idx="11236">4</cx:pt>
          <cx:pt idx="11237">2</cx:pt>
          <cx:pt idx="11238">5</cx:pt>
          <cx:pt idx="11239">3</cx:pt>
          <cx:pt idx="11240">1</cx:pt>
          <cx:pt idx="11241">2</cx:pt>
          <cx:pt idx="11242">2</cx:pt>
          <cx:pt idx="11243">1</cx:pt>
          <cx:pt idx="11244">2</cx:pt>
          <cx:pt idx="11245">3</cx:pt>
          <cx:pt idx="11246">2</cx:pt>
          <cx:pt idx="11247">4</cx:pt>
          <cx:pt idx="11248">2</cx:pt>
          <cx:pt idx="11249">0</cx:pt>
          <cx:pt idx="11250">1</cx:pt>
          <cx:pt idx="11251">3</cx:pt>
          <cx:pt idx="11252">2</cx:pt>
          <cx:pt idx="11253">4</cx:pt>
          <cx:pt idx="11254">1</cx:pt>
          <cx:pt idx="11255">1</cx:pt>
          <cx:pt idx="11256">2</cx:pt>
          <cx:pt idx="11257">5</cx:pt>
          <cx:pt idx="11258">5</cx:pt>
          <cx:pt idx="11259">5</cx:pt>
          <cx:pt idx="11260">1</cx:pt>
          <cx:pt idx="11261">5</cx:pt>
          <cx:pt idx="11262">1</cx:pt>
          <cx:pt idx="11263">4</cx:pt>
          <cx:pt idx="11264">1</cx:pt>
          <cx:pt idx="11265">4</cx:pt>
          <cx:pt idx="11266">3</cx:pt>
          <cx:pt idx="11267">2</cx:pt>
          <cx:pt idx="11268">5</cx:pt>
          <cx:pt idx="11269">1</cx:pt>
          <cx:pt idx="11270">0</cx:pt>
          <cx:pt idx="11271">2</cx:pt>
          <cx:pt idx="11272">3</cx:pt>
          <cx:pt idx="11273">5</cx:pt>
          <cx:pt idx="11274">3</cx:pt>
          <cx:pt idx="11275">3</cx:pt>
          <cx:pt idx="11276">4</cx:pt>
          <cx:pt idx="11277">3</cx:pt>
          <cx:pt idx="11278">4</cx:pt>
          <cx:pt idx="11279">3</cx:pt>
          <cx:pt idx="11280">3</cx:pt>
          <cx:pt idx="11281">5</cx:pt>
          <cx:pt idx="11282">3</cx:pt>
          <cx:pt idx="11283">5</cx:pt>
          <cx:pt idx="11284">3</cx:pt>
          <cx:pt idx="11285">2</cx:pt>
          <cx:pt idx="11286">1</cx:pt>
          <cx:pt idx="11287">3</cx:pt>
          <cx:pt idx="11288">2</cx:pt>
          <cx:pt idx="11289">1</cx:pt>
          <cx:pt idx="11290">1</cx:pt>
          <cx:pt idx="11291">4</cx:pt>
          <cx:pt idx="11292">4</cx:pt>
          <cx:pt idx="11293">4</cx:pt>
          <cx:pt idx="11294">3</cx:pt>
          <cx:pt idx="11295">4</cx:pt>
          <cx:pt idx="11296">2</cx:pt>
          <cx:pt idx="11297">3</cx:pt>
          <cx:pt idx="11298">5</cx:pt>
          <cx:pt idx="11299">2</cx:pt>
          <cx:pt idx="11300">5</cx:pt>
          <cx:pt idx="11301">2</cx:pt>
          <cx:pt idx="11302">4</cx:pt>
          <cx:pt idx="11303">3</cx:pt>
          <cx:pt idx="11304">3</cx:pt>
          <cx:pt idx="11305">0</cx:pt>
          <cx:pt idx="11306">5</cx:pt>
          <cx:pt idx="11307">2</cx:pt>
          <cx:pt idx="11308">5</cx:pt>
          <cx:pt idx="11309">2</cx:pt>
          <cx:pt idx="11310">4</cx:pt>
          <cx:pt idx="11311">4</cx:pt>
          <cx:pt idx="11312">3</cx:pt>
          <cx:pt idx="11313">1</cx:pt>
          <cx:pt idx="11314">4</cx:pt>
          <cx:pt idx="11315">2</cx:pt>
          <cx:pt idx="11316">4</cx:pt>
          <cx:pt idx="11317">5</cx:pt>
          <cx:pt idx="11318">2</cx:pt>
          <cx:pt idx="11319">3</cx:pt>
          <cx:pt idx="11320">3</cx:pt>
          <cx:pt idx="11321">2</cx:pt>
          <cx:pt idx="11322">5</cx:pt>
          <cx:pt idx="11323">2</cx:pt>
          <cx:pt idx="11324">1</cx:pt>
          <cx:pt idx="11325">2</cx:pt>
          <cx:pt idx="11326">3</cx:pt>
          <cx:pt idx="11327">5</cx:pt>
          <cx:pt idx="11328">2</cx:pt>
          <cx:pt idx="11329">5</cx:pt>
          <cx:pt idx="11330">4</cx:pt>
          <cx:pt idx="11331">4</cx:pt>
          <cx:pt idx="11332">2</cx:pt>
          <cx:pt idx="11333">4</cx:pt>
          <cx:pt idx="11334">1</cx:pt>
          <cx:pt idx="11335">3</cx:pt>
          <cx:pt idx="11336">2</cx:pt>
          <cx:pt idx="11337">3</cx:pt>
          <cx:pt idx="11338">4</cx:pt>
          <cx:pt idx="11339">2</cx:pt>
          <cx:pt idx="11340">4</cx:pt>
          <cx:pt idx="11341">2</cx:pt>
          <cx:pt idx="11342">2</cx:pt>
          <cx:pt idx="11343">5</cx:pt>
          <cx:pt idx="11344">0</cx:pt>
          <cx:pt idx="11345">2</cx:pt>
          <cx:pt idx="11346">1</cx:pt>
          <cx:pt idx="11347">2</cx:pt>
          <cx:pt idx="11348">4</cx:pt>
          <cx:pt idx="11349">3</cx:pt>
          <cx:pt idx="11350">5</cx:pt>
          <cx:pt idx="11351">2</cx:pt>
          <cx:pt idx="11352">2</cx:pt>
          <cx:pt idx="11353">4</cx:pt>
          <cx:pt idx="11354">4</cx:pt>
          <cx:pt idx="11355">4</cx:pt>
          <cx:pt idx="11356">2</cx:pt>
          <cx:pt idx="11357">1</cx:pt>
          <cx:pt idx="11358">3</cx:pt>
          <cx:pt idx="11359">3</cx:pt>
          <cx:pt idx="11360">4</cx:pt>
          <cx:pt idx="11361">5</cx:pt>
          <cx:pt idx="11362">2</cx:pt>
          <cx:pt idx="11363">2</cx:pt>
          <cx:pt idx="11364">2</cx:pt>
          <cx:pt idx="11365">0</cx:pt>
          <cx:pt idx="11366">3</cx:pt>
          <cx:pt idx="11367">4</cx:pt>
          <cx:pt idx="11368">3</cx:pt>
          <cx:pt idx="11369">3</cx:pt>
          <cx:pt idx="11370">3</cx:pt>
          <cx:pt idx="11371">2</cx:pt>
          <cx:pt idx="11372">4</cx:pt>
          <cx:pt idx="11373">5</cx:pt>
          <cx:pt idx="11374">3</cx:pt>
          <cx:pt idx="11375">3</cx:pt>
          <cx:pt idx="11376">4</cx:pt>
          <cx:pt idx="11377">3</cx:pt>
          <cx:pt idx="11378">5</cx:pt>
          <cx:pt idx="11379">5</cx:pt>
          <cx:pt idx="11380">3</cx:pt>
          <cx:pt idx="11381">5</cx:pt>
          <cx:pt idx="11382">3</cx:pt>
          <cx:pt idx="11383">4</cx:pt>
          <cx:pt idx="11384">3</cx:pt>
          <cx:pt idx="11385">5</cx:pt>
          <cx:pt idx="11386">5</cx:pt>
          <cx:pt idx="11387">5</cx:pt>
          <cx:pt idx="11388">5</cx:pt>
          <cx:pt idx="11389">2</cx:pt>
          <cx:pt idx="11390">1</cx:pt>
          <cx:pt idx="11391">3</cx:pt>
          <cx:pt idx="11392">4</cx:pt>
          <cx:pt idx="11393">1</cx:pt>
          <cx:pt idx="11394">1</cx:pt>
          <cx:pt idx="11395">1</cx:pt>
          <cx:pt idx="11396">4</cx:pt>
          <cx:pt idx="11397">2</cx:pt>
          <cx:pt idx="11398">3</cx:pt>
          <cx:pt idx="11399">4</cx:pt>
          <cx:pt idx="11400">5</cx:pt>
          <cx:pt idx="11401">2</cx:pt>
          <cx:pt idx="11402">4</cx:pt>
          <cx:pt idx="11403">5</cx:pt>
          <cx:pt idx="11404">2</cx:pt>
          <cx:pt idx="11405">3</cx:pt>
          <cx:pt idx="11406">3</cx:pt>
          <cx:pt idx="11407">2</cx:pt>
          <cx:pt idx="11408">5</cx:pt>
          <cx:pt idx="11409">1</cx:pt>
          <cx:pt idx="11410">5</cx:pt>
          <cx:pt idx="11411">4</cx:pt>
          <cx:pt idx="11412">2</cx:pt>
          <cx:pt idx="11413">2</cx:pt>
          <cx:pt idx="11414">2</cx:pt>
          <cx:pt idx="11415">3</cx:pt>
          <cx:pt idx="11416">1</cx:pt>
          <cx:pt idx="11417">4</cx:pt>
          <cx:pt idx="11418">4</cx:pt>
          <cx:pt idx="11419">3</cx:pt>
          <cx:pt idx="11420">5</cx:pt>
          <cx:pt idx="11421">3</cx:pt>
          <cx:pt idx="11422">2</cx:pt>
          <cx:pt idx="11423">1</cx:pt>
          <cx:pt idx="11424">5</cx:pt>
          <cx:pt idx="11425">3</cx:pt>
          <cx:pt idx="11426">2</cx:pt>
          <cx:pt idx="11427">3</cx:pt>
          <cx:pt idx="11428">3</cx:pt>
          <cx:pt idx="11429">2</cx:pt>
          <cx:pt idx="11430">3</cx:pt>
          <cx:pt idx="11431">2</cx:pt>
          <cx:pt idx="11432">5</cx:pt>
          <cx:pt idx="11433">3</cx:pt>
          <cx:pt idx="11434">4</cx:pt>
          <cx:pt idx="11435">3</cx:pt>
          <cx:pt idx="11436">4</cx:pt>
          <cx:pt idx="11437">1</cx:pt>
          <cx:pt idx="11438">2</cx:pt>
          <cx:pt idx="11439">2</cx:pt>
          <cx:pt idx="11440">0</cx:pt>
          <cx:pt idx="11441">3</cx:pt>
          <cx:pt idx="11442">4</cx:pt>
          <cx:pt idx="11443">2</cx:pt>
          <cx:pt idx="11444">5</cx:pt>
          <cx:pt idx="11445">2</cx:pt>
          <cx:pt idx="11446">5</cx:pt>
          <cx:pt idx="11447">2</cx:pt>
          <cx:pt idx="11448">3</cx:pt>
          <cx:pt idx="11449">2</cx:pt>
          <cx:pt idx="11450">2</cx:pt>
          <cx:pt idx="11451">4</cx:pt>
          <cx:pt idx="11452">4</cx:pt>
          <cx:pt idx="11453">3</cx:pt>
          <cx:pt idx="11454">2</cx:pt>
          <cx:pt idx="11455">4</cx:pt>
          <cx:pt idx="11456">3</cx:pt>
          <cx:pt idx="11457">1</cx:pt>
          <cx:pt idx="11458">4</cx:pt>
          <cx:pt idx="11459">5</cx:pt>
          <cx:pt idx="11460">3</cx:pt>
          <cx:pt idx="11461">5</cx:pt>
          <cx:pt idx="11462">3</cx:pt>
          <cx:pt idx="11463">3</cx:pt>
          <cx:pt idx="11464">3</cx:pt>
          <cx:pt idx="11465">5</cx:pt>
          <cx:pt idx="11466">5</cx:pt>
          <cx:pt idx="11467">3</cx:pt>
          <cx:pt idx="11468">1</cx:pt>
          <cx:pt idx="11469">2</cx:pt>
          <cx:pt idx="11470">2</cx:pt>
          <cx:pt idx="11471">2</cx:pt>
          <cx:pt idx="11472">5</cx:pt>
          <cx:pt idx="11473">2</cx:pt>
          <cx:pt idx="11474">1</cx:pt>
          <cx:pt idx="11475">3</cx:pt>
          <cx:pt idx="11476">2</cx:pt>
          <cx:pt idx="11477">4</cx:pt>
          <cx:pt idx="11478">2</cx:pt>
          <cx:pt idx="11479">2</cx:pt>
          <cx:pt idx="11480">0</cx:pt>
          <cx:pt idx="11481">1</cx:pt>
          <cx:pt idx="11482">2</cx:pt>
          <cx:pt idx="11483">2</cx:pt>
          <cx:pt idx="11484">4</cx:pt>
          <cx:pt idx="11485">5</cx:pt>
          <cx:pt idx="11486">4</cx:pt>
          <cx:pt idx="11487">1</cx:pt>
          <cx:pt idx="11488">2</cx:pt>
          <cx:pt idx="11489">1</cx:pt>
          <cx:pt idx="11490">1</cx:pt>
          <cx:pt idx="11491">2</cx:pt>
          <cx:pt idx="11492">2</cx:pt>
          <cx:pt idx="11493">4</cx:pt>
          <cx:pt idx="11494">2</cx:pt>
          <cx:pt idx="11495">2</cx:pt>
          <cx:pt idx="11496">2</cx:pt>
          <cx:pt idx="11497">4</cx:pt>
          <cx:pt idx="11498">3</cx:pt>
          <cx:pt idx="11499">4</cx:pt>
          <cx:pt idx="11500">5</cx:pt>
          <cx:pt idx="11501">2</cx:pt>
          <cx:pt idx="11502">4</cx:pt>
          <cx:pt idx="11503">4</cx:pt>
          <cx:pt idx="11504">3</cx:pt>
          <cx:pt idx="11505">2</cx:pt>
          <cx:pt idx="11506">4</cx:pt>
          <cx:pt idx="11507">1</cx:pt>
          <cx:pt idx="11508">5</cx:pt>
          <cx:pt idx="11509">1</cx:pt>
          <cx:pt idx="11510">2</cx:pt>
          <cx:pt idx="11511">0</cx:pt>
          <cx:pt idx="11512">2</cx:pt>
          <cx:pt idx="11513">1</cx:pt>
          <cx:pt idx="11514">4</cx:pt>
          <cx:pt idx="11515">3</cx:pt>
          <cx:pt idx="11516">2</cx:pt>
          <cx:pt idx="11517">3</cx:pt>
          <cx:pt idx="11518">1</cx:pt>
          <cx:pt idx="11519">2</cx:pt>
          <cx:pt idx="11520">3</cx:pt>
          <cx:pt idx="11521">4</cx:pt>
          <cx:pt idx="11522">2</cx:pt>
          <cx:pt idx="11523">3</cx:pt>
          <cx:pt idx="11524">4</cx:pt>
          <cx:pt idx="11525">4</cx:pt>
          <cx:pt idx="11526">3</cx:pt>
          <cx:pt idx="11527">3</cx:pt>
          <cx:pt idx="11528">1</cx:pt>
          <cx:pt idx="11529">1</cx:pt>
          <cx:pt idx="11530">3</cx:pt>
          <cx:pt idx="11531">3</cx:pt>
          <cx:pt idx="11532">5</cx:pt>
          <cx:pt idx="11533">0</cx:pt>
          <cx:pt idx="11534">3</cx:pt>
          <cx:pt idx="11535">4</cx:pt>
          <cx:pt idx="11536">1</cx:pt>
          <cx:pt idx="11537">2</cx:pt>
          <cx:pt idx="11538">2</cx:pt>
          <cx:pt idx="11539">4</cx:pt>
          <cx:pt idx="11540">3</cx:pt>
          <cx:pt idx="11541">4</cx:pt>
          <cx:pt idx="11542">5</cx:pt>
          <cx:pt idx="11543">5</cx:pt>
          <cx:pt idx="11544">3</cx:pt>
          <cx:pt idx="11545">1</cx:pt>
          <cx:pt idx="11546">3</cx:pt>
          <cx:pt idx="11547">2</cx:pt>
          <cx:pt idx="11548">2</cx:pt>
          <cx:pt idx="11549">4</cx:pt>
          <cx:pt idx="11550">2</cx:pt>
          <cx:pt idx="11551">3</cx:pt>
          <cx:pt idx="11552">4</cx:pt>
          <cx:pt idx="11553">5</cx:pt>
          <cx:pt idx="11554">4</cx:pt>
          <cx:pt idx="11555">5</cx:pt>
          <cx:pt idx="11556">4</cx:pt>
          <cx:pt idx="11557">3</cx:pt>
          <cx:pt idx="11558">3</cx:pt>
          <cx:pt idx="11559">2</cx:pt>
          <cx:pt idx="11560">2</cx:pt>
          <cx:pt idx="11561">4</cx:pt>
          <cx:pt idx="11562">3</cx:pt>
          <cx:pt idx="11563">2</cx:pt>
          <cx:pt idx="11564">3</cx:pt>
          <cx:pt idx="11565">5</cx:pt>
          <cx:pt idx="11566">3</cx:pt>
          <cx:pt idx="11567">4</cx:pt>
          <cx:pt idx="11568">3</cx:pt>
          <cx:pt idx="11569">2</cx:pt>
          <cx:pt idx="11570">4</cx:pt>
          <cx:pt idx="11571">2</cx:pt>
          <cx:pt idx="11572">1</cx:pt>
          <cx:pt idx="11573">3</cx:pt>
          <cx:pt idx="11574">4</cx:pt>
          <cx:pt idx="11575">3</cx:pt>
          <cx:pt idx="11576">0</cx:pt>
          <cx:pt idx="11577">4</cx:pt>
          <cx:pt idx="11578">1</cx:pt>
          <cx:pt idx="11579">4</cx:pt>
          <cx:pt idx="11580">5</cx:pt>
          <cx:pt idx="11581">2</cx:pt>
          <cx:pt idx="11582">2</cx:pt>
          <cx:pt idx="11583">2</cx:pt>
          <cx:pt idx="11584">2</cx:pt>
          <cx:pt idx="11585">4</cx:pt>
          <cx:pt idx="11586">5</cx:pt>
          <cx:pt idx="11587">4</cx:pt>
          <cx:pt idx="11588">4</cx:pt>
          <cx:pt idx="11589">4</cx:pt>
          <cx:pt idx="11590">5</cx:pt>
          <cx:pt idx="11591">3</cx:pt>
          <cx:pt idx="11592">1</cx:pt>
          <cx:pt idx="11593">4</cx:pt>
          <cx:pt idx="11594">1</cx:pt>
          <cx:pt idx="11595">1</cx:pt>
          <cx:pt idx="11596">2</cx:pt>
          <cx:pt idx="11597">3</cx:pt>
          <cx:pt idx="11598">3</cx:pt>
          <cx:pt idx="11599">1</cx:pt>
          <cx:pt idx="11600">3</cx:pt>
          <cx:pt idx="11601">3</cx:pt>
          <cx:pt idx="11602">5</cx:pt>
          <cx:pt idx="11603">2</cx:pt>
          <cx:pt idx="11604">0</cx:pt>
          <cx:pt idx="11605">2</cx:pt>
          <cx:pt idx="11606">1</cx:pt>
          <cx:pt idx="11607">4</cx:pt>
          <cx:pt idx="11608">1</cx:pt>
          <cx:pt idx="11609">2</cx:pt>
          <cx:pt idx="11610">5</cx:pt>
          <cx:pt idx="11611">2</cx:pt>
          <cx:pt idx="11612">5</cx:pt>
          <cx:pt idx="11613">1</cx:pt>
          <cx:pt idx="11614">4</cx:pt>
          <cx:pt idx="11615">2</cx:pt>
          <cx:pt idx="11616">3</cx:pt>
          <cx:pt idx="11617">5</cx:pt>
          <cx:pt idx="11618">1</cx:pt>
          <cx:pt idx="11619">2</cx:pt>
          <cx:pt idx="11620">5</cx:pt>
          <cx:pt idx="11621">4</cx:pt>
          <cx:pt idx="11622">5</cx:pt>
          <cx:pt idx="11623">2</cx:pt>
          <cx:pt idx="11624">4</cx:pt>
          <cx:pt idx="11625">2</cx:pt>
          <cx:pt idx="11626">4</cx:pt>
          <cx:pt idx="11627">1</cx:pt>
          <cx:pt idx="11628">5</cx:pt>
          <cx:pt idx="11629">2</cx:pt>
          <cx:pt idx="11630">3</cx:pt>
          <cx:pt idx="11631">0</cx:pt>
          <cx:pt idx="11632">0</cx:pt>
          <cx:pt idx="11633">4</cx:pt>
          <cx:pt idx="11634">2</cx:pt>
          <cx:pt idx="11635">0</cx:pt>
          <cx:pt idx="11636">2</cx:pt>
          <cx:pt idx="11637">3</cx:pt>
          <cx:pt idx="11638">4</cx:pt>
          <cx:pt idx="11639">4</cx:pt>
          <cx:pt idx="11640">5</cx:pt>
          <cx:pt idx="11641">3</cx:pt>
          <cx:pt idx="11642">4</cx:pt>
          <cx:pt idx="11643">2</cx:pt>
          <cx:pt idx="11644">2</cx:pt>
          <cx:pt idx="11645">1</cx:pt>
          <cx:pt idx="11646">5</cx:pt>
          <cx:pt idx="11647">3</cx:pt>
          <cx:pt idx="11648">2</cx:pt>
          <cx:pt idx="11649">5</cx:pt>
          <cx:pt idx="11650">3</cx:pt>
          <cx:pt idx="11651">2</cx:pt>
          <cx:pt idx="11652">4</cx:pt>
          <cx:pt idx="11653">1</cx:pt>
          <cx:pt idx="11654">5</cx:pt>
          <cx:pt idx="11655">3</cx:pt>
          <cx:pt idx="11656">2</cx:pt>
          <cx:pt idx="11657">4</cx:pt>
          <cx:pt idx="11658">1</cx:pt>
          <cx:pt idx="11659">5</cx:pt>
          <cx:pt idx="11660">2</cx:pt>
          <cx:pt idx="11661">0</cx:pt>
          <cx:pt idx="11662">1</cx:pt>
          <cx:pt idx="11663">1</cx:pt>
          <cx:pt idx="11664">3</cx:pt>
          <cx:pt idx="11665">3</cx:pt>
          <cx:pt idx="11666">1</cx:pt>
          <cx:pt idx="11667">3</cx:pt>
          <cx:pt idx="11668">1</cx:pt>
          <cx:pt idx="11669">4</cx:pt>
          <cx:pt idx="11670">4</cx:pt>
          <cx:pt idx="11671">4</cx:pt>
          <cx:pt idx="11672">3</cx:pt>
          <cx:pt idx="11673">3</cx:pt>
          <cx:pt idx="11674">1</cx:pt>
          <cx:pt idx="11675">2</cx:pt>
          <cx:pt idx="11676">4</cx:pt>
          <cx:pt idx="11677">4</cx:pt>
          <cx:pt idx="11678">1</cx:pt>
          <cx:pt idx="11679">1</cx:pt>
          <cx:pt idx="11680">3</cx:pt>
          <cx:pt idx="11681">2</cx:pt>
          <cx:pt idx="11682">0</cx:pt>
          <cx:pt idx="11683">4</cx:pt>
          <cx:pt idx="11684">2</cx:pt>
          <cx:pt idx="11685">2</cx:pt>
          <cx:pt idx="11686">2</cx:pt>
          <cx:pt idx="11687">3</cx:pt>
          <cx:pt idx="11688">2</cx:pt>
          <cx:pt idx="11689">2</cx:pt>
          <cx:pt idx="11690">5</cx:pt>
          <cx:pt idx="11691">2</cx:pt>
          <cx:pt idx="11692">4</cx:pt>
          <cx:pt idx="11693">1</cx:pt>
          <cx:pt idx="11694">4</cx:pt>
          <cx:pt idx="11695">3</cx:pt>
          <cx:pt idx="11696">1</cx:pt>
          <cx:pt idx="11697">3</cx:pt>
          <cx:pt idx="11698">2</cx:pt>
          <cx:pt idx="11699">5</cx:pt>
          <cx:pt idx="11700">2</cx:pt>
          <cx:pt idx="11701">5</cx:pt>
          <cx:pt idx="11702">2</cx:pt>
          <cx:pt idx="11703">3</cx:pt>
          <cx:pt idx="11704">4</cx:pt>
          <cx:pt idx="11705">3</cx:pt>
          <cx:pt idx="11706">3</cx:pt>
          <cx:pt idx="11707">1</cx:pt>
          <cx:pt idx="11708">1</cx:pt>
          <cx:pt idx="11709">2</cx:pt>
          <cx:pt idx="11710">1</cx:pt>
          <cx:pt idx="11711">4</cx:pt>
          <cx:pt idx="11712">4</cx:pt>
          <cx:pt idx="11713">4</cx:pt>
          <cx:pt idx="11714">0</cx:pt>
          <cx:pt idx="11715">5</cx:pt>
          <cx:pt idx="11716">3</cx:pt>
          <cx:pt idx="11717">5</cx:pt>
          <cx:pt idx="11718">3</cx:pt>
          <cx:pt idx="11719">3</cx:pt>
          <cx:pt idx="11720">2</cx:pt>
          <cx:pt idx="11721">3</cx:pt>
          <cx:pt idx="11722">2</cx:pt>
          <cx:pt idx="11723">3</cx:pt>
          <cx:pt idx="11724">2</cx:pt>
          <cx:pt idx="11725">2</cx:pt>
          <cx:pt idx="11726">0</cx:pt>
          <cx:pt idx="11727">5</cx:pt>
          <cx:pt idx="11728">3</cx:pt>
          <cx:pt idx="11729">4</cx:pt>
          <cx:pt idx="11730">1</cx:pt>
          <cx:pt idx="11731">2</cx:pt>
          <cx:pt idx="11732">1</cx:pt>
          <cx:pt idx="11733">1</cx:pt>
          <cx:pt idx="11734">2</cx:pt>
          <cx:pt idx="11735">1</cx:pt>
          <cx:pt idx="11736">3</cx:pt>
          <cx:pt idx="11737">2</cx:pt>
          <cx:pt idx="11738">2</cx:pt>
          <cx:pt idx="11739">1</cx:pt>
          <cx:pt idx="11740">3</cx:pt>
          <cx:pt idx="11741">0</cx:pt>
          <cx:pt idx="11742">0</cx:pt>
          <cx:pt idx="11743">3</cx:pt>
          <cx:pt idx="11744">2</cx:pt>
          <cx:pt idx="11745">2</cx:pt>
          <cx:pt idx="11746">2</cx:pt>
          <cx:pt idx="11747">5</cx:pt>
          <cx:pt idx="11748">5</cx:pt>
          <cx:pt idx="11749">3</cx:pt>
          <cx:pt idx="11750">1</cx:pt>
          <cx:pt idx="11751">4</cx:pt>
          <cx:pt idx="11752">3</cx:pt>
          <cx:pt idx="11753">2</cx:pt>
          <cx:pt idx="11754">4</cx:pt>
          <cx:pt idx="11755">1</cx:pt>
          <cx:pt idx="11756">3</cx:pt>
          <cx:pt idx="11757">1</cx:pt>
          <cx:pt idx="11758">2</cx:pt>
          <cx:pt idx="11759">5</cx:pt>
          <cx:pt idx="11760">3</cx:pt>
          <cx:pt idx="11761">4</cx:pt>
          <cx:pt idx="11762">2</cx:pt>
          <cx:pt idx="11763">5</cx:pt>
          <cx:pt idx="11764">2</cx:pt>
          <cx:pt idx="11765">1</cx:pt>
          <cx:pt idx="11766">2</cx:pt>
          <cx:pt idx="11767">4</cx:pt>
          <cx:pt idx="11768">3</cx:pt>
          <cx:pt idx="11769">4</cx:pt>
          <cx:pt idx="11770">2</cx:pt>
          <cx:pt idx="11771">4</cx:pt>
          <cx:pt idx="11772">3</cx:pt>
          <cx:pt idx="11773">4</cx:pt>
          <cx:pt idx="11774">0</cx:pt>
          <cx:pt idx="11775">3</cx:pt>
          <cx:pt idx="11776">3</cx:pt>
          <cx:pt idx="11777">1</cx:pt>
          <cx:pt idx="11778">2</cx:pt>
          <cx:pt idx="11779">4</cx:pt>
          <cx:pt idx="11780">1</cx:pt>
          <cx:pt idx="11781">2</cx:pt>
          <cx:pt idx="11782">5</cx:pt>
          <cx:pt idx="11783">1</cx:pt>
          <cx:pt idx="11784">2</cx:pt>
          <cx:pt idx="11785">2</cx:pt>
          <cx:pt idx="11786">3</cx:pt>
          <cx:pt idx="11787">1</cx:pt>
          <cx:pt idx="11788">2</cx:pt>
          <cx:pt idx="11789">2</cx:pt>
          <cx:pt idx="11790">2</cx:pt>
          <cx:pt idx="11791">5</cx:pt>
          <cx:pt idx="11792">2</cx:pt>
          <cx:pt idx="11793">3</cx:pt>
          <cx:pt idx="11794">5</cx:pt>
          <cx:pt idx="11795">4</cx:pt>
          <cx:pt idx="11796">4</cx:pt>
          <cx:pt idx="11797">3</cx:pt>
          <cx:pt idx="11798">0</cx:pt>
          <cx:pt idx="11799">0</cx:pt>
          <cx:pt idx="11800">0</cx:pt>
          <cx:pt idx="11801">2</cx:pt>
          <cx:pt idx="11802">4</cx:pt>
          <cx:pt idx="11803">2</cx:pt>
          <cx:pt idx="11804">3</cx:pt>
          <cx:pt idx="11805">3</cx:pt>
          <cx:pt idx="11806">4</cx:pt>
          <cx:pt idx="11807">1</cx:pt>
          <cx:pt idx="11808">4</cx:pt>
          <cx:pt idx="11809">1</cx:pt>
          <cx:pt idx="11810">5</cx:pt>
          <cx:pt idx="11811">2</cx:pt>
          <cx:pt idx="11812">3</cx:pt>
          <cx:pt idx="11813">4</cx:pt>
          <cx:pt idx="11814">3</cx:pt>
          <cx:pt idx="11815">2</cx:pt>
          <cx:pt idx="11816">1</cx:pt>
          <cx:pt idx="11817">4</cx:pt>
          <cx:pt idx="11818">0</cx:pt>
          <cx:pt idx="11819">2</cx:pt>
          <cx:pt idx="11820">0</cx:pt>
          <cx:pt idx="11821">5</cx:pt>
          <cx:pt idx="11822">2</cx:pt>
          <cx:pt idx="11823">5</cx:pt>
          <cx:pt idx="11824">2</cx:pt>
          <cx:pt idx="11825">3</cx:pt>
          <cx:pt idx="11826">1</cx:pt>
          <cx:pt idx="11827">4</cx:pt>
          <cx:pt idx="11828">3</cx:pt>
          <cx:pt idx="11829">2</cx:pt>
          <cx:pt idx="11830">1</cx:pt>
          <cx:pt idx="11831">3</cx:pt>
          <cx:pt idx="11832">2</cx:pt>
          <cx:pt idx="11833">4</cx:pt>
          <cx:pt idx="11834">4</cx:pt>
          <cx:pt idx="11835">3</cx:pt>
          <cx:pt idx="11836">4</cx:pt>
          <cx:pt idx="11837">3</cx:pt>
          <cx:pt idx="11838">3</cx:pt>
          <cx:pt idx="11839">5</cx:pt>
          <cx:pt idx="11840">4</cx:pt>
          <cx:pt idx="11841">2</cx:pt>
          <cx:pt idx="11842">5</cx:pt>
          <cx:pt idx="11843">2</cx:pt>
          <cx:pt idx="11844">5</cx:pt>
          <cx:pt idx="11845">3</cx:pt>
          <cx:pt idx="11846">2</cx:pt>
          <cx:pt idx="11847">5</cx:pt>
          <cx:pt idx="11848">2</cx:pt>
          <cx:pt idx="11849">2</cx:pt>
          <cx:pt idx="11850">3</cx:pt>
          <cx:pt idx="11851">2</cx:pt>
          <cx:pt idx="11852">5</cx:pt>
          <cx:pt idx="11853">2</cx:pt>
          <cx:pt idx="11854">3</cx:pt>
          <cx:pt idx="11855">4</cx:pt>
          <cx:pt idx="11856">2</cx:pt>
          <cx:pt idx="11857">2</cx:pt>
          <cx:pt idx="11858">2</cx:pt>
          <cx:pt idx="11859">1</cx:pt>
          <cx:pt idx="11860">3</cx:pt>
          <cx:pt idx="11861">2</cx:pt>
          <cx:pt idx="11862">3</cx:pt>
          <cx:pt idx="11863">2</cx:pt>
          <cx:pt idx="11864">3</cx:pt>
          <cx:pt idx="11865">4</cx:pt>
          <cx:pt idx="11866">4</cx:pt>
          <cx:pt idx="11867">2</cx:pt>
          <cx:pt idx="11868">2</cx:pt>
          <cx:pt idx="11869">3</cx:pt>
          <cx:pt idx="11870">1</cx:pt>
          <cx:pt idx="11871">2</cx:pt>
          <cx:pt idx="11872">1</cx:pt>
          <cx:pt idx="11873">2</cx:pt>
          <cx:pt idx="11874">4</cx:pt>
          <cx:pt idx="11875">0</cx:pt>
          <cx:pt idx="11876">2</cx:pt>
          <cx:pt idx="11877">5</cx:pt>
          <cx:pt idx="11878">0</cx:pt>
          <cx:pt idx="11879">2</cx:pt>
          <cx:pt idx="11880">3</cx:pt>
          <cx:pt idx="11881">2</cx:pt>
          <cx:pt idx="11882">5</cx:pt>
          <cx:pt idx="11883">5</cx:pt>
          <cx:pt idx="11884">1</cx:pt>
          <cx:pt idx="11885">4</cx:pt>
          <cx:pt idx="11886">1</cx:pt>
          <cx:pt idx="11887">5</cx:pt>
          <cx:pt idx="11888">1</cx:pt>
          <cx:pt idx="11889">1</cx:pt>
          <cx:pt idx="11890">1</cx:pt>
          <cx:pt idx="11891">4</cx:pt>
          <cx:pt idx="11892">3</cx:pt>
          <cx:pt idx="11893">4</cx:pt>
          <cx:pt idx="11894">3</cx:pt>
          <cx:pt idx="11895">3</cx:pt>
          <cx:pt idx="11896">2</cx:pt>
          <cx:pt idx="11897">2</cx:pt>
          <cx:pt idx="11898">2</cx:pt>
          <cx:pt idx="11899">4</cx:pt>
          <cx:pt idx="11900">3</cx:pt>
          <cx:pt idx="11901">5</cx:pt>
          <cx:pt idx="11902">4</cx:pt>
          <cx:pt idx="11903">1</cx:pt>
          <cx:pt idx="11904">4</cx:pt>
          <cx:pt idx="11905">2</cx:pt>
          <cx:pt idx="11906">0</cx:pt>
          <cx:pt idx="11907">5</cx:pt>
          <cx:pt idx="11908">3</cx:pt>
          <cx:pt idx="11909">2</cx:pt>
          <cx:pt idx="11910">1</cx:pt>
          <cx:pt idx="11911">5</cx:pt>
          <cx:pt idx="11912">3</cx:pt>
          <cx:pt idx="11913">3</cx:pt>
          <cx:pt idx="11914">4</cx:pt>
          <cx:pt idx="11915">1</cx:pt>
          <cx:pt idx="11916">5</cx:pt>
          <cx:pt idx="11917">1</cx:pt>
          <cx:pt idx="11918">2</cx:pt>
          <cx:pt idx="11919">2</cx:pt>
          <cx:pt idx="11920">3</cx:pt>
          <cx:pt idx="11921">2</cx:pt>
          <cx:pt idx="11922">1</cx:pt>
          <cx:pt idx="11923">2</cx:pt>
          <cx:pt idx="11924">2</cx:pt>
          <cx:pt idx="11925">5</cx:pt>
          <cx:pt idx="11926">3</cx:pt>
          <cx:pt idx="11927">5</cx:pt>
          <cx:pt idx="11928">2</cx:pt>
          <cx:pt idx="11929">4</cx:pt>
          <cx:pt idx="11930">1</cx:pt>
          <cx:pt idx="11931">1</cx:pt>
          <cx:pt idx="11932">3</cx:pt>
          <cx:pt idx="11933">2</cx:pt>
          <cx:pt idx="11934">1</cx:pt>
          <cx:pt idx="11935">2</cx:pt>
          <cx:pt idx="11936">4</cx:pt>
          <cx:pt idx="11937">1</cx:pt>
          <cx:pt idx="11938">5</cx:pt>
          <cx:pt idx="11939">5</cx:pt>
          <cx:pt idx="11940">4</cx:pt>
          <cx:pt idx="11941">1</cx:pt>
          <cx:pt idx="11942">1</cx:pt>
          <cx:pt idx="11943">2</cx:pt>
          <cx:pt idx="11944">1</cx:pt>
          <cx:pt idx="11945">5</cx:pt>
          <cx:pt idx="11946">4</cx:pt>
          <cx:pt idx="11947">5</cx:pt>
          <cx:pt idx="11948">4</cx:pt>
          <cx:pt idx="11949">4</cx:pt>
          <cx:pt idx="11950">4</cx:pt>
          <cx:pt idx="11951">2</cx:pt>
          <cx:pt idx="11952">4</cx:pt>
          <cx:pt idx="11953">5</cx:pt>
          <cx:pt idx="11954">2</cx:pt>
          <cx:pt idx="11955">2</cx:pt>
          <cx:pt idx="11956">2</cx:pt>
          <cx:pt idx="11957">3</cx:pt>
          <cx:pt idx="11958">2</cx:pt>
          <cx:pt idx="11959">3</cx:pt>
          <cx:pt idx="11960">5</cx:pt>
          <cx:pt idx="11961">5</cx:pt>
          <cx:pt idx="11962">1</cx:pt>
          <cx:pt idx="11963">2</cx:pt>
          <cx:pt idx="11964">4</cx:pt>
          <cx:pt idx="11965">3</cx:pt>
          <cx:pt idx="11966">1</cx:pt>
          <cx:pt idx="11967">2</cx:pt>
          <cx:pt idx="11968">5</cx:pt>
          <cx:pt idx="11969">3</cx:pt>
          <cx:pt idx="11970">3</cx:pt>
          <cx:pt idx="11971">5</cx:pt>
          <cx:pt idx="11972">4</cx:pt>
          <cx:pt idx="11973">3</cx:pt>
          <cx:pt idx="11974">4</cx:pt>
          <cx:pt idx="11975">0</cx:pt>
          <cx:pt idx="11976">3</cx:pt>
          <cx:pt idx="11977">2</cx:pt>
          <cx:pt idx="11978">4</cx:pt>
          <cx:pt idx="11979">5</cx:pt>
          <cx:pt idx="11980">5</cx:pt>
          <cx:pt idx="11981">1</cx:pt>
          <cx:pt idx="11982">1</cx:pt>
          <cx:pt idx="11983">3</cx:pt>
          <cx:pt idx="11984">5</cx:pt>
          <cx:pt idx="11985">5</cx:pt>
          <cx:pt idx="11986">2</cx:pt>
          <cx:pt idx="11987">5</cx:pt>
          <cx:pt idx="11988">4</cx:pt>
          <cx:pt idx="11989">2</cx:pt>
          <cx:pt idx="11990">4</cx:pt>
          <cx:pt idx="11991">1</cx:pt>
          <cx:pt idx="11992">5</cx:pt>
          <cx:pt idx="11993">2</cx:pt>
          <cx:pt idx="11994">5</cx:pt>
          <cx:pt idx="11995">3</cx:pt>
          <cx:pt idx="11996">5</cx:pt>
          <cx:pt idx="11997">4</cx:pt>
          <cx:pt idx="11998">4</cx:pt>
          <cx:pt idx="11999">2</cx:pt>
          <cx:pt idx="12000">5</cx:pt>
          <cx:pt idx="12001">5</cx:pt>
          <cx:pt idx="12002">5</cx:pt>
          <cx:pt idx="12003">4</cx:pt>
          <cx:pt idx="12004">1</cx:pt>
          <cx:pt idx="12005">2</cx:pt>
          <cx:pt idx="12006">2</cx:pt>
          <cx:pt idx="12007">5</cx:pt>
          <cx:pt idx="12008">3</cx:pt>
          <cx:pt idx="12009">1</cx:pt>
          <cx:pt idx="12010">4</cx:pt>
          <cx:pt idx="12011">3</cx:pt>
          <cx:pt idx="12012">3</cx:pt>
          <cx:pt idx="12013">4</cx:pt>
          <cx:pt idx="12014">2</cx:pt>
          <cx:pt idx="12015">2</cx:pt>
          <cx:pt idx="12016">3</cx:pt>
          <cx:pt idx="12017">5</cx:pt>
          <cx:pt idx="12018">3</cx:pt>
          <cx:pt idx="12019">3</cx:pt>
          <cx:pt idx="12020">0</cx:pt>
          <cx:pt idx="12021">2</cx:pt>
          <cx:pt idx="12022">5</cx:pt>
          <cx:pt idx="12023">2</cx:pt>
          <cx:pt idx="12024">2</cx:pt>
          <cx:pt idx="12025">4</cx:pt>
          <cx:pt idx="12026">2</cx:pt>
          <cx:pt idx="12027">5</cx:pt>
          <cx:pt idx="12028">3</cx:pt>
          <cx:pt idx="12029">0</cx:pt>
          <cx:pt idx="12030">2</cx:pt>
          <cx:pt idx="12031">2</cx:pt>
          <cx:pt idx="12032">2</cx:pt>
          <cx:pt idx="12033">3</cx:pt>
          <cx:pt idx="12034">3</cx:pt>
          <cx:pt idx="12035">1</cx:pt>
          <cx:pt idx="12036">2</cx:pt>
          <cx:pt idx="12037">5</cx:pt>
          <cx:pt idx="12038">4</cx:pt>
          <cx:pt idx="12039">4</cx:pt>
          <cx:pt idx="12040">4</cx:pt>
          <cx:pt idx="12041">1</cx:pt>
          <cx:pt idx="12042">2</cx:pt>
          <cx:pt idx="12043">4</cx:pt>
          <cx:pt idx="12044">4</cx:pt>
          <cx:pt idx="12045">3</cx:pt>
          <cx:pt idx="12046">2</cx:pt>
          <cx:pt idx="12047">4</cx:pt>
          <cx:pt idx="12048">4</cx:pt>
          <cx:pt idx="12049">5</cx:pt>
          <cx:pt idx="12050">1</cx:pt>
          <cx:pt idx="12051">3</cx:pt>
          <cx:pt idx="12052">3</cx:pt>
          <cx:pt idx="12053">2</cx:pt>
          <cx:pt idx="12054">1</cx:pt>
          <cx:pt idx="12055">1</cx:pt>
          <cx:pt idx="12056">3</cx:pt>
          <cx:pt idx="12057">2</cx:pt>
          <cx:pt idx="12058">2</cx:pt>
          <cx:pt idx="12059">2</cx:pt>
          <cx:pt idx="12060">1</cx:pt>
          <cx:pt idx="12061">2</cx:pt>
          <cx:pt idx="12062">1</cx:pt>
          <cx:pt idx="12063">1</cx:pt>
          <cx:pt idx="12064">3</cx:pt>
          <cx:pt idx="12065">1</cx:pt>
          <cx:pt idx="12066">3</cx:pt>
          <cx:pt idx="12067">2</cx:pt>
          <cx:pt idx="12068">5</cx:pt>
          <cx:pt idx="12069">2</cx:pt>
          <cx:pt idx="12070">2</cx:pt>
          <cx:pt idx="12071">3</cx:pt>
          <cx:pt idx="12072">1</cx:pt>
          <cx:pt idx="12073">3</cx:pt>
          <cx:pt idx="12074">3</cx:pt>
          <cx:pt idx="12075">1</cx:pt>
          <cx:pt idx="12076">3</cx:pt>
          <cx:pt idx="12077">0</cx:pt>
          <cx:pt idx="12078">2</cx:pt>
          <cx:pt idx="12079">3</cx:pt>
          <cx:pt idx="12080">3</cx:pt>
          <cx:pt idx="12081">1</cx:pt>
          <cx:pt idx="12082">4</cx:pt>
          <cx:pt idx="12083">2</cx:pt>
          <cx:pt idx="12084">4</cx:pt>
          <cx:pt idx="12085">4</cx:pt>
          <cx:pt idx="12086">4</cx:pt>
          <cx:pt idx="12087">5</cx:pt>
          <cx:pt idx="12088">3</cx:pt>
          <cx:pt idx="12089">2</cx:pt>
          <cx:pt idx="12090">5</cx:pt>
          <cx:pt idx="12091">2</cx:pt>
          <cx:pt idx="12092">4</cx:pt>
          <cx:pt idx="12093">1</cx:pt>
          <cx:pt idx="12094">1</cx:pt>
          <cx:pt idx="12095">1</cx:pt>
          <cx:pt idx="12096">4</cx:pt>
          <cx:pt idx="12097">2</cx:pt>
          <cx:pt idx="12098">3</cx:pt>
          <cx:pt idx="12099">3</cx:pt>
          <cx:pt idx="12100">3</cx:pt>
          <cx:pt idx="12101">5</cx:pt>
          <cx:pt idx="12102">5</cx:pt>
          <cx:pt idx="12103">3</cx:pt>
          <cx:pt idx="12104">5</cx:pt>
          <cx:pt idx="12105">2</cx:pt>
          <cx:pt idx="12106">3</cx:pt>
          <cx:pt idx="12107">3</cx:pt>
          <cx:pt idx="12108">3</cx:pt>
          <cx:pt idx="12109">3</cx:pt>
          <cx:pt idx="12110">4</cx:pt>
          <cx:pt idx="12111">4</cx:pt>
          <cx:pt idx="12112">4</cx:pt>
          <cx:pt idx="12113">1</cx:pt>
          <cx:pt idx="12114">3</cx:pt>
          <cx:pt idx="12115">3</cx:pt>
          <cx:pt idx="12116">3</cx:pt>
          <cx:pt idx="12117">3</cx:pt>
          <cx:pt idx="12118">4</cx:pt>
          <cx:pt idx="12119">3</cx:pt>
          <cx:pt idx="12120">2</cx:pt>
          <cx:pt idx="12121">2</cx:pt>
          <cx:pt idx="12122">3</cx:pt>
          <cx:pt idx="12123">2</cx:pt>
          <cx:pt idx="12124">5</cx:pt>
          <cx:pt idx="12125">2</cx:pt>
          <cx:pt idx="12126">4</cx:pt>
          <cx:pt idx="12127">1</cx:pt>
          <cx:pt idx="12128">5</cx:pt>
          <cx:pt idx="12129">1</cx:pt>
          <cx:pt idx="12130">5</cx:pt>
          <cx:pt idx="12131">1</cx:pt>
          <cx:pt idx="12132">2</cx:pt>
          <cx:pt idx="12133">3</cx:pt>
          <cx:pt idx="12134">3</cx:pt>
          <cx:pt idx="12135">3</cx:pt>
          <cx:pt idx="12136">5</cx:pt>
          <cx:pt idx="12137">3</cx:pt>
          <cx:pt idx="12138">2</cx:pt>
          <cx:pt idx="12139">2</cx:pt>
          <cx:pt idx="12140">4</cx:pt>
          <cx:pt idx="12141">5</cx:pt>
          <cx:pt idx="12142">3</cx:pt>
          <cx:pt idx="12143">4</cx:pt>
          <cx:pt idx="12144">3</cx:pt>
          <cx:pt idx="12145">2</cx:pt>
          <cx:pt idx="12146">5</cx:pt>
          <cx:pt idx="12147">4</cx:pt>
          <cx:pt idx="12148">4</cx:pt>
          <cx:pt idx="12149">4</cx:pt>
          <cx:pt idx="12150">4</cx:pt>
          <cx:pt idx="12151">2</cx:pt>
          <cx:pt idx="12152">1</cx:pt>
          <cx:pt idx="12153">0</cx:pt>
          <cx:pt idx="12154">2</cx:pt>
          <cx:pt idx="12155">4</cx:pt>
          <cx:pt idx="12156">1</cx:pt>
          <cx:pt idx="12157">4</cx:pt>
          <cx:pt idx="12158">5</cx:pt>
          <cx:pt idx="12159">1</cx:pt>
          <cx:pt idx="12160">1</cx:pt>
          <cx:pt idx="12161">5</cx:pt>
          <cx:pt idx="12162">3</cx:pt>
          <cx:pt idx="12163">3</cx:pt>
          <cx:pt idx="12164">4</cx:pt>
          <cx:pt idx="12165">1</cx:pt>
          <cx:pt idx="12166">2</cx:pt>
          <cx:pt idx="12167">3</cx:pt>
          <cx:pt idx="12168">5</cx:pt>
          <cx:pt idx="12169">2</cx:pt>
          <cx:pt idx="12170">3</cx:pt>
          <cx:pt idx="12171">5</cx:pt>
          <cx:pt idx="12172">1</cx:pt>
          <cx:pt idx="12173">5</cx:pt>
          <cx:pt idx="12174">2</cx:pt>
          <cx:pt idx="12175">3</cx:pt>
          <cx:pt idx="12176">1</cx:pt>
          <cx:pt idx="12177">1</cx:pt>
          <cx:pt idx="12178">2</cx:pt>
          <cx:pt idx="12179">2</cx:pt>
          <cx:pt idx="12180">3</cx:pt>
          <cx:pt idx="12181">1</cx:pt>
          <cx:pt idx="12182">5</cx:pt>
          <cx:pt idx="12183">4</cx:pt>
          <cx:pt idx="12184">3</cx:pt>
          <cx:pt idx="12185">5</cx:pt>
          <cx:pt idx="12186">3</cx:pt>
          <cx:pt idx="12187">2</cx:pt>
          <cx:pt idx="12188">4</cx:pt>
          <cx:pt idx="12189">5</cx:pt>
          <cx:pt idx="12190">2</cx:pt>
          <cx:pt idx="12191">3</cx:pt>
          <cx:pt idx="12192">2</cx:pt>
          <cx:pt idx="12193">5</cx:pt>
          <cx:pt idx="12194">5</cx:pt>
          <cx:pt idx="12195">2</cx:pt>
          <cx:pt idx="12196">3</cx:pt>
          <cx:pt idx="12197">5</cx:pt>
          <cx:pt idx="12198">2</cx:pt>
          <cx:pt idx="12199">5</cx:pt>
          <cx:pt idx="12200">4</cx:pt>
          <cx:pt idx="12201">1</cx:pt>
          <cx:pt idx="12202">4</cx:pt>
          <cx:pt idx="12203">4</cx:pt>
          <cx:pt idx="12204">3</cx:pt>
          <cx:pt idx="12205">5</cx:pt>
          <cx:pt idx="12206">1</cx:pt>
          <cx:pt idx="12207">3</cx:pt>
          <cx:pt idx="12208">5</cx:pt>
          <cx:pt idx="12209">3</cx:pt>
          <cx:pt idx="12210">2</cx:pt>
          <cx:pt idx="12211">2</cx:pt>
          <cx:pt idx="12212">2</cx:pt>
          <cx:pt idx="12213">1</cx:pt>
          <cx:pt idx="12214">2</cx:pt>
          <cx:pt idx="12215">4</cx:pt>
          <cx:pt idx="12216">1</cx:pt>
          <cx:pt idx="12217">3</cx:pt>
          <cx:pt idx="12218">1</cx:pt>
          <cx:pt idx="12219">1</cx:pt>
          <cx:pt idx="12220">2</cx:pt>
          <cx:pt idx="12221">4</cx:pt>
          <cx:pt idx="12222">2</cx:pt>
          <cx:pt idx="12223">2</cx:pt>
          <cx:pt idx="12224">1</cx:pt>
          <cx:pt idx="12225">2</cx:pt>
          <cx:pt idx="12226">2</cx:pt>
          <cx:pt idx="12227">4</cx:pt>
          <cx:pt idx="12228">1</cx:pt>
          <cx:pt idx="12229">3</cx:pt>
          <cx:pt idx="12230">4</cx:pt>
          <cx:pt idx="12231">1</cx:pt>
          <cx:pt idx="12232">1</cx:pt>
          <cx:pt idx="12233">5</cx:pt>
          <cx:pt idx="12234">4</cx:pt>
          <cx:pt idx="12235">3</cx:pt>
          <cx:pt idx="12236">1</cx:pt>
          <cx:pt idx="12237">2</cx:pt>
          <cx:pt idx="12238">5</cx:pt>
          <cx:pt idx="12239">1</cx:pt>
          <cx:pt idx="12240">5</cx:pt>
          <cx:pt idx="12241">4</cx:pt>
          <cx:pt idx="12242">3</cx:pt>
          <cx:pt idx="12243">4</cx:pt>
          <cx:pt idx="12244">2</cx:pt>
          <cx:pt idx="12245">4</cx:pt>
          <cx:pt idx="12246">2</cx:pt>
          <cx:pt idx="12247">1</cx:pt>
          <cx:pt idx="12248">1</cx:pt>
          <cx:pt idx="12249">2</cx:pt>
          <cx:pt idx="12250">2</cx:pt>
          <cx:pt idx="12251">2</cx:pt>
          <cx:pt idx="12252">4</cx:pt>
          <cx:pt idx="12253">3</cx:pt>
          <cx:pt idx="12254">2</cx:pt>
          <cx:pt idx="12255">3</cx:pt>
          <cx:pt idx="12256">2</cx:pt>
          <cx:pt idx="12257">0</cx:pt>
          <cx:pt idx="12258">4</cx:pt>
          <cx:pt idx="12259">5</cx:pt>
          <cx:pt idx="12260">2</cx:pt>
          <cx:pt idx="12261">1</cx:pt>
          <cx:pt idx="12262">3</cx:pt>
          <cx:pt idx="12263">2</cx:pt>
          <cx:pt idx="12264">4</cx:pt>
          <cx:pt idx="12265">3</cx:pt>
          <cx:pt idx="12266">2</cx:pt>
          <cx:pt idx="12267">3</cx:pt>
          <cx:pt idx="12268">5</cx:pt>
          <cx:pt idx="12269">4</cx:pt>
          <cx:pt idx="12270">2</cx:pt>
          <cx:pt idx="12271">3</cx:pt>
          <cx:pt idx="12272">4</cx:pt>
          <cx:pt idx="12273">5</cx:pt>
          <cx:pt idx="12274">2</cx:pt>
          <cx:pt idx="12275">1</cx:pt>
          <cx:pt idx="12276">3</cx:pt>
          <cx:pt idx="12277">3</cx:pt>
          <cx:pt idx="12278">1</cx:pt>
          <cx:pt idx="12279">2</cx:pt>
          <cx:pt idx="12280">5</cx:pt>
          <cx:pt idx="12281">1</cx:pt>
          <cx:pt idx="12282">3</cx:pt>
          <cx:pt idx="12283">3</cx:pt>
          <cx:pt idx="12284">3</cx:pt>
          <cx:pt idx="12285">5</cx:pt>
          <cx:pt idx="12286">1</cx:pt>
          <cx:pt idx="12287">3</cx:pt>
          <cx:pt idx="12288">3</cx:pt>
          <cx:pt idx="12289">3</cx:pt>
          <cx:pt idx="12290">1</cx:pt>
          <cx:pt idx="12291">1</cx:pt>
          <cx:pt idx="12292">2</cx:pt>
          <cx:pt idx="12293">5</cx:pt>
          <cx:pt idx="12294">3</cx:pt>
          <cx:pt idx="12295">3</cx:pt>
          <cx:pt idx="12296">3</cx:pt>
          <cx:pt idx="12297">4</cx:pt>
          <cx:pt idx="12298">2</cx:pt>
          <cx:pt idx="12299">4</cx:pt>
          <cx:pt idx="12300">2</cx:pt>
          <cx:pt idx="12301">5</cx:pt>
          <cx:pt idx="12302">4</cx:pt>
          <cx:pt idx="12303">3</cx:pt>
          <cx:pt idx="12304">3</cx:pt>
          <cx:pt idx="12305">3</cx:pt>
          <cx:pt idx="12306">4</cx:pt>
          <cx:pt idx="12307">3</cx:pt>
          <cx:pt idx="12308">1</cx:pt>
          <cx:pt idx="12309">2</cx:pt>
          <cx:pt idx="12310">4</cx:pt>
          <cx:pt idx="12311">3</cx:pt>
          <cx:pt idx="12312">3</cx:pt>
          <cx:pt idx="12313">1</cx:pt>
          <cx:pt idx="12314">3</cx:pt>
          <cx:pt idx="12315">2</cx:pt>
          <cx:pt idx="12316">3</cx:pt>
          <cx:pt idx="12317">4</cx:pt>
          <cx:pt idx="12318">0</cx:pt>
          <cx:pt idx="12319">5</cx:pt>
          <cx:pt idx="12320">4</cx:pt>
          <cx:pt idx="12321">2</cx:pt>
          <cx:pt idx="12322">4</cx:pt>
          <cx:pt idx="12323">2</cx:pt>
          <cx:pt idx="12324">2</cx:pt>
          <cx:pt idx="12325">1</cx:pt>
          <cx:pt idx="12326">3</cx:pt>
          <cx:pt idx="12327">1</cx:pt>
          <cx:pt idx="12328">3</cx:pt>
          <cx:pt idx="12329">5</cx:pt>
          <cx:pt idx="12330">1</cx:pt>
          <cx:pt idx="12331">5</cx:pt>
          <cx:pt idx="12332">4</cx:pt>
          <cx:pt idx="12333">3</cx:pt>
          <cx:pt idx="12334">4</cx:pt>
          <cx:pt idx="12335">4</cx:pt>
          <cx:pt idx="12336">5</cx:pt>
          <cx:pt idx="12337">1</cx:pt>
          <cx:pt idx="12338">1</cx:pt>
          <cx:pt idx="12339">4</cx:pt>
          <cx:pt idx="12340">4</cx:pt>
          <cx:pt idx="12341">2</cx:pt>
          <cx:pt idx="12342">5</cx:pt>
          <cx:pt idx="12343">3</cx:pt>
          <cx:pt idx="12344">4</cx:pt>
          <cx:pt idx="12345">5</cx:pt>
          <cx:pt idx="12346">3</cx:pt>
          <cx:pt idx="12347">2</cx:pt>
          <cx:pt idx="12348">1</cx:pt>
          <cx:pt idx="12349">5</cx:pt>
          <cx:pt idx="12350">0</cx:pt>
          <cx:pt idx="12351">2</cx:pt>
          <cx:pt idx="12352">4</cx:pt>
          <cx:pt idx="12353">5</cx:pt>
          <cx:pt idx="12354">2</cx:pt>
          <cx:pt idx="12355">4</cx:pt>
          <cx:pt idx="12356">4</cx:pt>
          <cx:pt idx="12357">4</cx:pt>
          <cx:pt idx="12358">3</cx:pt>
          <cx:pt idx="12359">1</cx:pt>
          <cx:pt idx="12360">1</cx:pt>
          <cx:pt idx="12361">2</cx:pt>
          <cx:pt idx="12362">3</cx:pt>
          <cx:pt idx="12363">1</cx:pt>
          <cx:pt idx="12364">4</cx:pt>
          <cx:pt idx="12365">2</cx:pt>
          <cx:pt idx="12366">3</cx:pt>
          <cx:pt idx="12367">1</cx:pt>
          <cx:pt idx="12368">2</cx:pt>
          <cx:pt idx="12369">3</cx:pt>
          <cx:pt idx="12370">2</cx:pt>
          <cx:pt idx="12371">1</cx:pt>
          <cx:pt idx="12372">1</cx:pt>
          <cx:pt idx="12373">3</cx:pt>
          <cx:pt idx="12374">3</cx:pt>
          <cx:pt idx="12375">4</cx:pt>
          <cx:pt idx="12376">3</cx:pt>
          <cx:pt idx="12377">2</cx:pt>
          <cx:pt idx="12378">2</cx:pt>
          <cx:pt idx="12379">2</cx:pt>
          <cx:pt idx="12380">3</cx:pt>
          <cx:pt idx="12381">5</cx:pt>
          <cx:pt idx="12382">3</cx:pt>
          <cx:pt idx="12383">2</cx:pt>
          <cx:pt idx="12384">4</cx:pt>
          <cx:pt idx="12385">2</cx:pt>
          <cx:pt idx="12386">4</cx:pt>
          <cx:pt idx="12387">3</cx:pt>
          <cx:pt idx="12388">3</cx:pt>
          <cx:pt idx="12389">2</cx:pt>
          <cx:pt idx="12390">4</cx:pt>
          <cx:pt idx="12391">2</cx:pt>
          <cx:pt idx="12392">2</cx:pt>
          <cx:pt idx="12393">4</cx:pt>
          <cx:pt idx="12394">3</cx:pt>
          <cx:pt idx="12395">2</cx:pt>
          <cx:pt idx="12396">2</cx:pt>
          <cx:pt idx="12397">1</cx:pt>
          <cx:pt idx="12398">1</cx:pt>
          <cx:pt idx="12399">2</cx:pt>
          <cx:pt idx="12400">2</cx:pt>
          <cx:pt idx="12401">1</cx:pt>
          <cx:pt idx="12402">4</cx:pt>
          <cx:pt idx="12403">0</cx:pt>
          <cx:pt idx="12404">4</cx:pt>
          <cx:pt idx="12405">5</cx:pt>
          <cx:pt idx="12406">1</cx:pt>
          <cx:pt idx="12407">4</cx:pt>
          <cx:pt idx="12408">3</cx:pt>
          <cx:pt idx="12409">4</cx:pt>
          <cx:pt idx="12410">4</cx:pt>
          <cx:pt idx="12411">1</cx:pt>
          <cx:pt idx="12412">4</cx:pt>
          <cx:pt idx="12413">5</cx:pt>
          <cx:pt idx="12414">2</cx:pt>
          <cx:pt idx="12415">3</cx:pt>
          <cx:pt idx="12416">2</cx:pt>
          <cx:pt idx="12417">2</cx:pt>
          <cx:pt idx="12418">4</cx:pt>
          <cx:pt idx="12419">3</cx:pt>
          <cx:pt idx="12420">1</cx:pt>
          <cx:pt idx="12421">3</cx:pt>
          <cx:pt idx="12422">5</cx:pt>
          <cx:pt idx="12423">4</cx:pt>
          <cx:pt idx="12424">3</cx:pt>
          <cx:pt idx="12425">3</cx:pt>
          <cx:pt idx="12426">4</cx:pt>
          <cx:pt idx="12427">2</cx:pt>
          <cx:pt idx="12428">3</cx:pt>
          <cx:pt idx="12429">4</cx:pt>
          <cx:pt idx="12430">3</cx:pt>
          <cx:pt idx="12431">2</cx:pt>
          <cx:pt idx="12432">3</cx:pt>
          <cx:pt idx="12433">4</cx:pt>
          <cx:pt idx="12434">2</cx:pt>
          <cx:pt idx="12435">1</cx:pt>
          <cx:pt idx="12436">1</cx:pt>
          <cx:pt idx="12437">4</cx:pt>
          <cx:pt idx="12438">2</cx:pt>
          <cx:pt idx="12439">3</cx:pt>
          <cx:pt idx="12440">4</cx:pt>
          <cx:pt idx="12441">3</cx:pt>
          <cx:pt idx="12442">3</cx:pt>
          <cx:pt idx="12443">2</cx:pt>
          <cx:pt idx="12444">3</cx:pt>
          <cx:pt idx="12445">0</cx:pt>
          <cx:pt idx="12446">1</cx:pt>
          <cx:pt idx="12447">2</cx:pt>
          <cx:pt idx="12448">3</cx:pt>
          <cx:pt idx="12449">3</cx:pt>
          <cx:pt idx="12450">4</cx:pt>
          <cx:pt idx="12451">3</cx:pt>
          <cx:pt idx="12452">4</cx:pt>
          <cx:pt idx="12453">3</cx:pt>
          <cx:pt idx="12454">2</cx:pt>
          <cx:pt idx="12455">2</cx:pt>
          <cx:pt idx="12456">2</cx:pt>
          <cx:pt idx="12457">3</cx:pt>
          <cx:pt idx="12458">2</cx:pt>
          <cx:pt idx="12459">4</cx:pt>
          <cx:pt idx="12460">1</cx:pt>
          <cx:pt idx="12461">2</cx:pt>
          <cx:pt idx="12462">5</cx:pt>
          <cx:pt idx="12463">2</cx:pt>
          <cx:pt idx="12464">0</cx:pt>
          <cx:pt idx="12465">4</cx:pt>
          <cx:pt idx="12466">2</cx:pt>
          <cx:pt idx="12467">5</cx:pt>
          <cx:pt idx="12468">4</cx:pt>
          <cx:pt idx="12469">3</cx:pt>
          <cx:pt idx="12470">5</cx:pt>
          <cx:pt idx="12471">2</cx:pt>
          <cx:pt idx="12472">2</cx:pt>
          <cx:pt idx="12473">5</cx:pt>
          <cx:pt idx="12474">3</cx:pt>
          <cx:pt idx="12475">3</cx:pt>
          <cx:pt idx="12476">5</cx:pt>
          <cx:pt idx="12477">5</cx:pt>
          <cx:pt idx="12478">3</cx:pt>
          <cx:pt idx="12479">5</cx:pt>
          <cx:pt idx="12480">4</cx:pt>
          <cx:pt idx="12481">3</cx:pt>
          <cx:pt idx="12482">3</cx:pt>
          <cx:pt idx="12483">0</cx:pt>
          <cx:pt idx="12484">1</cx:pt>
          <cx:pt idx="12485">5</cx:pt>
          <cx:pt idx="12486">2</cx:pt>
          <cx:pt idx="12487">2</cx:pt>
          <cx:pt idx="12488">2</cx:pt>
          <cx:pt idx="12489">1</cx:pt>
          <cx:pt idx="12490">1</cx:pt>
          <cx:pt idx="12491">2</cx:pt>
          <cx:pt idx="12492">1</cx:pt>
          <cx:pt idx="12493">4</cx:pt>
          <cx:pt idx="12494">2</cx:pt>
          <cx:pt idx="12495">4</cx:pt>
          <cx:pt idx="12496">2</cx:pt>
          <cx:pt idx="12497">4</cx:pt>
          <cx:pt idx="12498">2</cx:pt>
          <cx:pt idx="12499">1</cx:pt>
          <cx:pt idx="12500">2</cx:pt>
          <cx:pt idx="12501">3</cx:pt>
          <cx:pt idx="12502">3</cx:pt>
          <cx:pt idx="12503">3</cx:pt>
          <cx:pt idx="12504">5</cx:pt>
          <cx:pt idx="12505">5</cx:pt>
          <cx:pt idx="12506">2</cx:pt>
          <cx:pt idx="12507">2</cx:pt>
          <cx:pt idx="12508">1</cx:pt>
          <cx:pt idx="12509">5</cx:pt>
          <cx:pt idx="12510">4</cx:pt>
          <cx:pt idx="12511">4</cx:pt>
          <cx:pt idx="12512">4</cx:pt>
          <cx:pt idx="12513">2</cx:pt>
          <cx:pt idx="12514">5</cx:pt>
          <cx:pt idx="12515">1</cx:pt>
          <cx:pt idx="12516">5</cx:pt>
          <cx:pt idx="12517">3</cx:pt>
          <cx:pt idx="12518">3</cx:pt>
          <cx:pt idx="12519">4</cx:pt>
          <cx:pt idx="12520">1</cx:pt>
          <cx:pt idx="12521">2</cx:pt>
          <cx:pt idx="12522">4</cx:pt>
          <cx:pt idx="12523">2</cx:pt>
          <cx:pt idx="12524">2</cx:pt>
          <cx:pt idx="12525">3</cx:pt>
          <cx:pt idx="12526">5</cx:pt>
          <cx:pt idx="12527">2</cx:pt>
          <cx:pt idx="12528">3</cx:pt>
          <cx:pt idx="12529">3</cx:pt>
          <cx:pt idx="12530">4</cx:pt>
          <cx:pt idx="12531">3</cx:pt>
          <cx:pt idx="12532">5</cx:pt>
          <cx:pt idx="12533">3</cx:pt>
          <cx:pt idx="12534">2</cx:pt>
          <cx:pt idx="12535">4</cx:pt>
          <cx:pt idx="12536">1</cx:pt>
          <cx:pt idx="12537">3</cx:pt>
          <cx:pt idx="12538">5</cx:pt>
          <cx:pt idx="12539">3</cx:pt>
          <cx:pt idx="12540">4</cx:pt>
          <cx:pt idx="12541">5</cx:pt>
          <cx:pt idx="12542">0</cx:pt>
          <cx:pt idx="12543">3</cx:pt>
          <cx:pt idx="12544">4</cx:pt>
          <cx:pt idx="12545">2</cx:pt>
          <cx:pt idx="12546">2</cx:pt>
          <cx:pt idx="12547">0</cx:pt>
          <cx:pt idx="12548">3</cx:pt>
          <cx:pt idx="12549">1</cx:pt>
          <cx:pt idx="12550">1</cx:pt>
          <cx:pt idx="12551">5</cx:pt>
          <cx:pt idx="12552">4</cx:pt>
          <cx:pt idx="12553">2</cx:pt>
          <cx:pt idx="12554">0</cx:pt>
          <cx:pt idx="12555">3</cx:pt>
          <cx:pt idx="12556">2</cx:pt>
          <cx:pt idx="12557">4</cx:pt>
          <cx:pt idx="12558">4</cx:pt>
          <cx:pt idx="12559">3</cx:pt>
          <cx:pt idx="12560">5</cx:pt>
          <cx:pt idx="12561">5</cx:pt>
          <cx:pt idx="12562">5</cx:pt>
          <cx:pt idx="12563">1</cx:pt>
          <cx:pt idx="12564">2</cx:pt>
          <cx:pt idx="12565">3</cx:pt>
          <cx:pt idx="12566">1</cx:pt>
          <cx:pt idx="12567">1</cx:pt>
          <cx:pt idx="12568">3</cx:pt>
          <cx:pt idx="12569">1</cx:pt>
          <cx:pt idx="12570">5</cx:pt>
          <cx:pt idx="12571">0</cx:pt>
          <cx:pt idx="12572">2</cx:pt>
          <cx:pt idx="12573">4</cx:pt>
          <cx:pt idx="12574">1</cx:pt>
          <cx:pt idx="12575">1</cx:pt>
          <cx:pt idx="12576">4</cx:pt>
          <cx:pt idx="12577">3</cx:pt>
          <cx:pt idx="12578">3</cx:pt>
          <cx:pt idx="12579">2</cx:pt>
          <cx:pt idx="12580">5</cx:pt>
          <cx:pt idx="12581">4</cx:pt>
          <cx:pt idx="12582">3</cx:pt>
          <cx:pt idx="12583">3</cx:pt>
          <cx:pt idx="12584">4</cx:pt>
          <cx:pt idx="12585">3</cx:pt>
          <cx:pt idx="12586">4</cx:pt>
          <cx:pt idx="12587">1</cx:pt>
          <cx:pt idx="12588">3</cx:pt>
          <cx:pt idx="12589">2</cx:pt>
          <cx:pt idx="12590">3</cx:pt>
          <cx:pt idx="12591">0</cx:pt>
          <cx:pt idx="12592">4</cx:pt>
          <cx:pt idx="12593">1</cx:pt>
          <cx:pt idx="12594">3</cx:pt>
          <cx:pt idx="12595">2</cx:pt>
          <cx:pt idx="12596">4</cx:pt>
          <cx:pt idx="12597">3</cx:pt>
          <cx:pt idx="12598">4</cx:pt>
          <cx:pt idx="12599">2</cx:pt>
          <cx:pt idx="12600">2</cx:pt>
          <cx:pt idx="12601">4</cx:pt>
          <cx:pt idx="12602">5</cx:pt>
          <cx:pt idx="12603">1</cx:pt>
          <cx:pt idx="12604">2</cx:pt>
          <cx:pt idx="12605">5</cx:pt>
          <cx:pt idx="12606">2</cx:pt>
          <cx:pt idx="12607">1</cx:pt>
          <cx:pt idx="12608">2</cx:pt>
          <cx:pt idx="12609">2</cx:pt>
          <cx:pt idx="12610">0</cx:pt>
          <cx:pt idx="12611">1</cx:pt>
          <cx:pt idx="12612">4</cx:pt>
          <cx:pt idx="12613">3</cx:pt>
          <cx:pt idx="12614">5</cx:pt>
          <cx:pt idx="12615">3</cx:pt>
          <cx:pt idx="12616">1</cx:pt>
          <cx:pt idx="12617">3</cx:pt>
          <cx:pt idx="12618">5</cx:pt>
          <cx:pt idx="12619">5</cx:pt>
          <cx:pt idx="12620">1</cx:pt>
          <cx:pt idx="12621">1</cx:pt>
          <cx:pt idx="12622">1</cx:pt>
          <cx:pt idx="12623">2</cx:pt>
          <cx:pt idx="12624">0</cx:pt>
          <cx:pt idx="12625">3</cx:pt>
          <cx:pt idx="12626">2</cx:pt>
          <cx:pt idx="12627">1</cx:pt>
          <cx:pt idx="12628">3</cx:pt>
          <cx:pt idx="12629">1</cx:pt>
          <cx:pt idx="12630">3</cx:pt>
          <cx:pt idx="12631">2</cx:pt>
          <cx:pt idx="12632">2</cx:pt>
          <cx:pt idx="12633">4</cx:pt>
          <cx:pt idx="12634">4</cx:pt>
          <cx:pt idx="12635">1</cx:pt>
          <cx:pt idx="12636">2</cx:pt>
          <cx:pt idx="12637">3</cx:pt>
          <cx:pt idx="12638">3</cx:pt>
          <cx:pt idx="12639">5</cx:pt>
          <cx:pt idx="12640">2</cx:pt>
          <cx:pt idx="12641">1</cx:pt>
          <cx:pt idx="12642">2</cx:pt>
          <cx:pt idx="12643">3</cx:pt>
          <cx:pt idx="12644">4</cx:pt>
          <cx:pt idx="12645">1</cx:pt>
          <cx:pt idx="12646">2</cx:pt>
          <cx:pt idx="12647">1</cx:pt>
          <cx:pt idx="12648">2</cx:pt>
          <cx:pt idx="12649">2</cx:pt>
          <cx:pt idx="12650">0</cx:pt>
          <cx:pt idx="12651">1</cx:pt>
          <cx:pt idx="12652">4</cx:pt>
          <cx:pt idx="12653">4</cx:pt>
          <cx:pt idx="12654">3</cx:pt>
          <cx:pt idx="12655">0</cx:pt>
          <cx:pt idx="12656">5</cx:pt>
          <cx:pt idx="12657">1</cx:pt>
          <cx:pt idx="12658">4</cx:pt>
          <cx:pt idx="12659">5</cx:pt>
          <cx:pt idx="12660">1</cx:pt>
          <cx:pt idx="12661">2</cx:pt>
          <cx:pt idx="12662">4</cx:pt>
          <cx:pt idx="12663">3</cx:pt>
          <cx:pt idx="12664">4</cx:pt>
          <cx:pt idx="12665">4</cx:pt>
          <cx:pt idx="12666">3</cx:pt>
          <cx:pt idx="12667">2</cx:pt>
          <cx:pt idx="12668">4</cx:pt>
          <cx:pt idx="12669">4</cx:pt>
          <cx:pt idx="12670">5</cx:pt>
          <cx:pt idx="12671">2</cx:pt>
          <cx:pt idx="12672">4</cx:pt>
          <cx:pt idx="12673">1</cx:pt>
          <cx:pt idx="12674">2</cx:pt>
          <cx:pt idx="12675">4</cx:pt>
          <cx:pt idx="12676">2</cx:pt>
          <cx:pt idx="12677">4</cx:pt>
          <cx:pt idx="12678">1</cx:pt>
          <cx:pt idx="12679">1</cx:pt>
          <cx:pt idx="12680">5</cx:pt>
          <cx:pt idx="12681">5</cx:pt>
          <cx:pt idx="12682">1</cx:pt>
          <cx:pt idx="12683">5</cx:pt>
          <cx:pt idx="12684">3</cx:pt>
          <cx:pt idx="12685">5</cx:pt>
          <cx:pt idx="12686">4</cx:pt>
          <cx:pt idx="12687">0</cx:pt>
          <cx:pt idx="12688">1</cx:pt>
          <cx:pt idx="12689">4</cx:pt>
          <cx:pt idx="12690">5</cx:pt>
          <cx:pt idx="12691">1</cx:pt>
          <cx:pt idx="12692">4</cx:pt>
          <cx:pt idx="12693">3</cx:pt>
          <cx:pt idx="12694">5</cx:pt>
          <cx:pt idx="12695">1</cx:pt>
          <cx:pt idx="12696">5</cx:pt>
          <cx:pt idx="12697">4</cx:pt>
          <cx:pt idx="12698">2</cx:pt>
          <cx:pt idx="12699">1</cx:pt>
          <cx:pt idx="12700">4</cx:pt>
          <cx:pt idx="12701">3</cx:pt>
          <cx:pt idx="12702">3</cx:pt>
          <cx:pt idx="12703">1</cx:pt>
          <cx:pt idx="12704">4</cx:pt>
          <cx:pt idx="12705">4</cx:pt>
          <cx:pt idx="12706">2</cx:pt>
          <cx:pt idx="12707">3</cx:pt>
          <cx:pt idx="12708">0</cx:pt>
          <cx:pt idx="12709">1</cx:pt>
          <cx:pt idx="12710">3</cx:pt>
          <cx:pt idx="12711">4</cx:pt>
          <cx:pt idx="12712">5</cx:pt>
          <cx:pt idx="12713">1</cx:pt>
          <cx:pt idx="12714">5</cx:pt>
          <cx:pt idx="12715">4</cx:pt>
          <cx:pt idx="12716">2</cx:pt>
          <cx:pt idx="12717">5</cx:pt>
          <cx:pt idx="12718">0</cx:pt>
          <cx:pt idx="12719">4</cx:pt>
          <cx:pt idx="12720">1</cx:pt>
          <cx:pt idx="12721">4</cx:pt>
          <cx:pt idx="12722">3</cx:pt>
          <cx:pt idx="12723">1</cx:pt>
          <cx:pt idx="12724">2</cx:pt>
          <cx:pt idx="12725">2</cx:pt>
          <cx:pt idx="12726">3</cx:pt>
          <cx:pt idx="12727">1</cx:pt>
          <cx:pt idx="12728">3</cx:pt>
          <cx:pt idx="12729">3</cx:pt>
          <cx:pt idx="12730">4</cx:pt>
          <cx:pt idx="12731">2</cx:pt>
          <cx:pt idx="12732">2</cx:pt>
          <cx:pt idx="12733">1</cx:pt>
          <cx:pt idx="12734">4</cx:pt>
          <cx:pt idx="12735">2</cx:pt>
          <cx:pt idx="12736">2</cx:pt>
          <cx:pt idx="12737">3</cx:pt>
          <cx:pt idx="12738">3</cx:pt>
          <cx:pt idx="12739">3</cx:pt>
          <cx:pt idx="12740">5</cx:pt>
          <cx:pt idx="12741">1</cx:pt>
          <cx:pt idx="12742">1</cx:pt>
          <cx:pt idx="12743">2</cx:pt>
          <cx:pt idx="12744">2</cx:pt>
          <cx:pt idx="12745">3</cx:pt>
          <cx:pt idx="12746">5</cx:pt>
          <cx:pt idx="12747">5</cx:pt>
          <cx:pt idx="12748">3</cx:pt>
          <cx:pt idx="12749">4</cx:pt>
          <cx:pt idx="12750">1</cx:pt>
          <cx:pt idx="12751">4</cx:pt>
          <cx:pt idx="12752">3</cx:pt>
          <cx:pt idx="12753">1</cx:pt>
          <cx:pt idx="12754">5</cx:pt>
          <cx:pt idx="12755">4</cx:pt>
          <cx:pt idx="12756">3</cx:pt>
          <cx:pt idx="12757">3</cx:pt>
          <cx:pt idx="12758">4</cx:pt>
          <cx:pt idx="12759">1</cx:pt>
          <cx:pt idx="12760">3</cx:pt>
          <cx:pt idx="12761">3</cx:pt>
          <cx:pt idx="12762">4</cx:pt>
          <cx:pt idx="12763">0</cx:pt>
          <cx:pt idx="12764">5</cx:pt>
          <cx:pt idx="12765">2</cx:pt>
          <cx:pt idx="12766">5</cx:pt>
          <cx:pt idx="12767">3</cx:pt>
          <cx:pt idx="12768">5</cx:pt>
          <cx:pt idx="12769">2</cx:pt>
          <cx:pt idx="12770">4</cx:pt>
          <cx:pt idx="12771">5</cx:pt>
          <cx:pt idx="12772">3</cx:pt>
          <cx:pt idx="12773">4</cx:pt>
          <cx:pt idx="12774">2</cx:pt>
          <cx:pt idx="12775">4</cx:pt>
          <cx:pt idx="12776">2</cx:pt>
          <cx:pt idx="12777">5</cx:pt>
          <cx:pt idx="12778">1</cx:pt>
          <cx:pt idx="12779">4</cx:pt>
          <cx:pt idx="12780">1</cx:pt>
          <cx:pt idx="12781">4</cx:pt>
          <cx:pt idx="12782">2</cx:pt>
          <cx:pt idx="12783">1</cx:pt>
          <cx:pt idx="12784">4</cx:pt>
          <cx:pt idx="12785">2</cx:pt>
          <cx:pt idx="12786">2</cx:pt>
          <cx:pt idx="12787">4</cx:pt>
          <cx:pt idx="12788">3</cx:pt>
          <cx:pt idx="12789">2</cx:pt>
          <cx:pt idx="12790">5</cx:pt>
          <cx:pt idx="12791">5</cx:pt>
          <cx:pt idx="12792">1</cx:pt>
          <cx:pt idx="12793">1</cx:pt>
          <cx:pt idx="12794">3</cx:pt>
          <cx:pt idx="12795">5</cx:pt>
          <cx:pt idx="12796">4</cx:pt>
          <cx:pt idx="12797">1</cx:pt>
          <cx:pt idx="12798">3</cx:pt>
          <cx:pt idx="12799">2</cx:pt>
          <cx:pt idx="12800">5</cx:pt>
          <cx:pt idx="12801">5</cx:pt>
          <cx:pt idx="12802">4</cx:pt>
          <cx:pt idx="12803">0</cx:pt>
          <cx:pt idx="12804">4</cx:pt>
          <cx:pt idx="12805">3</cx:pt>
          <cx:pt idx="12806">3</cx:pt>
          <cx:pt idx="12807">1</cx:pt>
          <cx:pt idx="12808">4</cx:pt>
          <cx:pt idx="12809">2</cx:pt>
          <cx:pt idx="12810">5</cx:pt>
          <cx:pt idx="12811">1</cx:pt>
          <cx:pt idx="12812">1</cx:pt>
          <cx:pt idx="12813">2</cx:pt>
          <cx:pt idx="12814">1</cx:pt>
          <cx:pt idx="12815">1</cx:pt>
          <cx:pt idx="12816">4</cx:pt>
          <cx:pt idx="12817">2</cx:pt>
          <cx:pt idx="12818">2</cx:pt>
          <cx:pt idx="12819">2</cx:pt>
          <cx:pt idx="12820">1</cx:pt>
          <cx:pt idx="12821">2</cx:pt>
          <cx:pt idx="12822">4</cx:pt>
          <cx:pt idx="12823">5</cx:pt>
          <cx:pt idx="12824">2</cx:pt>
          <cx:pt idx="12825">5</cx:pt>
          <cx:pt idx="12826">1</cx:pt>
          <cx:pt idx="12827">4</cx:pt>
          <cx:pt idx="12828">2</cx:pt>
          <cx:pt idx="12829">3</cx:pt>
          <cx:pt idx="12830">3</cx:pt>
          <cx:pt idx="12831">3</cx:pt>
          <cx:pt idx="12832">2</cx:pt>
          <cx:pt idx="12833">2</cx:pt>
          <cx:pt idx="12834">2</cx:pt>
          <cx:pt idx="12835">5</cx:pt>
          <cx:pt idx="12836">2</cx:pt>
          <cx:pt idx="12837">3</cx:pt>
          <cx:pt idx="12838">2</cx:pt>
          <cx:pt idx="12839">2</cx:pt>
          <cx:pt idx="12840">4</cx:pt>
          <cx:pt idx="12841">4</cx:pt>
          <cx:pt idx="12842">5</cx:pt>
          <cx:pt idx="12843">3</cx:pt>
          <cx:pt idx="12844">2</cx:pt>
          <cx:pt idx="12845">3</cx:pt>
          <cx:pt idx="12846">2</cx:pt>
          <cx:pt idx="12847">5</cx:pt>
          <cx:pt idx="12848">4</cx:pt>
          <cx:pt idx="12849">4</cx:pt>
          <cx:pt idx="12850">4</cx:pt>
          <cx:pt idx="12851">3</cx:pt>
          <cx:pt idx="12852">4</cx:pt>
          <cx:pt idx="12853">1</cx:pt>
          <cx:pt idx="12854">4</cx:pt>
          <cx:pt idx="12855">3</cx:pt>
          <cx:pt idx="12856">3</cx:pt>
          <cx:pt idx="12857">3</cx:pt>
          <cx:pt idx="12858">2</cx:pt>
          <cx:pt idx="12859">4</cx:pt>
          <cx:pt idx="12860">2</cx:pt>
          <cx:pt idx="12861">5</cx:pt>
          <cx:pt idx="12862">4</cx:pt>
          <cx:pt idx="12863">4</cx:pt>
          <cx:pt idx="12864">4</cx:pt>
          <cx:pt idx="12865">1</cx:pt>
          <cx:pt idx="12866">2</cx:pt>
          <cx:pt idx="12867">3</cx:pt>
          <cx:pt idx="12868">1</cx:pt>
          <cx:pt idx="12869">5</cx:pt>
          <cx:pt idx="12870">2</cx:pt>
          <cx:pt idx="12871">2</cx:pt>
          <cx:pt idx="12872">2</cx:pt>
          <cx:pt idx="12873">3</cx:pt>
          <cx:pt idx="12874">5</cx:pt>
          <cx:pt idx="12875">3</cx:pt>
          <cx:pt idx="12876">3</cx:pt>
          <cx:pt idx="12877">2</cx:pt>
          <cx:pt idx="12878">2</cx:pt>
          <cx:pt idx="12879">2</cx:pt>
          <cx:pt idx="12880">3</cx:pt>
          <cx:pt idx="12881">3</cx:pt>
          <cx:pt idx="12882">2</cx:pt>
          <cx:pt idx="12883">3</cx:pt>
          <cx:pt idx="12884">4</cx:pt>
          <cx:pt idx="12885">3</cx:pt>
          <cx:pt idx="12886">2</cx:pt>
          <cx:pt idx="12887">2</cx:pt>
          <cx:pt idx="12888">2</cx:pt>
          <cx:pt idx="12889">2</cx:pt>
          <cx:pt idx="12890">5</cx:pt>
          <cx:pt idx="12891">2</cx:pt>
          <cx:pt idx="12892">5</cx:pt>
          <cx:pt idx="12893">2</cx:pt>
          <cx:pt idx="12894">2</cx:pt>
          <cx:pt idx="12895">4</cx:pt>
          <cx:pt idx="12896">0</cx:pt>
          <cx:pt idx="12897">4</cx:pt>
          <cx:pt idx="12898">5</cx:pt>
          <cx:pt idx="12899">5</cx:pt>
          <cx:pt idx="12900">4</cx:pt>
          <cx:pt idx="12901">5</cx:pt>
          <cx:pt idx="12902">4</cx:pt>
          <cx:pt idx="12903">3</cx:pt>
          <cx:pt idx="12904">1</cx:pt>
          <cx:pt idx="12905">4</cx:pt>
          <cx:pt idx="12906">3</cx:pt>
          <cx:pt idx="12907">3</cx:pt>
          <cx:pt idx="12908">2</cx:pt>
          <cx:pt idx="12909">4</cx:pt>
          <cx:pt idx="12910">1</cx:pt>
          <cx:pt idx="12911">4</cx:pt>
          <cx:pt idx="12912">0</cx:pt>
          <cx:pt idx="12913">3</cx:pt>
          <cx:pt idx="12914">2</cx:pt>
          <cx:pt idx="12915">3</cx:pt>
          <cx:pt idx="12916">3</cx:pt>
          <cx:pt idx="12917">5</cx:pt>
          <cx:pt idx="12918">4</cx:pt>
          <cx:pt idx="12919">3</cx:pt>
          <cx:pt idx="12920">1</cx:pt>
          <cx:pt idx="12921">2</cx:pt>
          <cx:pt idx="12922">2</cx:pt>
          <cx:pt idx="12923">2</cx:pt>
          <cx:pt idx="12924">1</cx:pt>
          <cx:pt idx="12925">3</cx:pt>
          <cx:pt idx="12926">3</cx:pt>
          <cx:pt idx="12927">0</cx:pt>
          <cx:pt idx="12928">3</cx:pt>
          <cx:pt idx="12929">4</cx:pt>
          <cx:pt idx="12930">2</cx:pt>
          <cx:pt idx="12931">2</cx:pt>
          <cx:pt idx="12932">2</cx:pt>
          <cx:pt idx="12933">0</cx:pt>
          <cx:pt idx="12934">5</cx:pt>
          <cx:pt idx="12935">4</cx:pt>
          <cx:pt idx="12936">2</cx:pt>
          <cx:pt idx="12937">2</cx:pt>
          <cx:pt idx="12938">2</cx:pt>
          <cx:pt idx="12939">2</cx:pt>
          <cx:pt idx="12940">3</cx:pt>
          <cx:pt idx="12941">4</cx:pt>
          <cx:pt idx="12942">3</cx:pt>
          <cx:pt idx="12943">2</cx:pt>
          <cx:pt idx="12944">1</cx:pt>
          <cx:pt idx="12945">3</cx:pt>
          <cx:pt idx="12946">2</cx:pt>
          <cx:pt idx="12947">4</cx:pt>
          <cx:pt idx="12948">3</cx:pt>
          <cx:pt idx="12949">3</cx:pt>
          <cx:pt idx="12950">2</cx:pt>
          <cx:pt idx="12951">2</cx:pt>
          <cx:pt idx="12952">2</cx:pt>
          <cx:pt idx="12953">1</cx:pt>
          <cx:pt idx="12954">2</cx:pt>
          <cx:pt idx="12955">2</cx:pt>
          <cx:pt idx="12956">1</cx:pt>
          <cx:pt idx="12957">5</cx:pt>
          <cx:pt idx="12958">3</cx:pt>
          <cx:pt idx="12959">1</cx:pt>
          <cx:pt idx="12960">5</cx:pt>
          <cx:pt idx="12961">5</cx:pt>
          <cx:pt idx="12962">4</cx:pt>
          <cx:pt idx="12963">1</cx:pt>
          <cx:pt idx="12964">5</cx:pt>
          <cx:pt idx="12965">1</cx:pt>
          <cx:pt idx="12966">3</cx:pt>
          <cx:pt idx="12967">2</cx:pt>
          <cx:pt idx="12968">4</cx:pt>
          <cx:pt idx="12969">1</cx:pt>
          <cx:pt idx="12970">5</cx:pt>
          <cx:pt idx="12971">5</cx:pt>
          <cx:pt idx="12972">1</cx:pt>
          <cx:pt idx="12973">3</cx:pt>
          <cx:pt idx="12974">3</cx:pt>
          <cx:pt idx="12975">3</cx:pt>
          <cx:pt idx="12976">4</cx:pt>
          <cx:pt idx="12977">5</cx:pt>
          <cx:pt idx="12978">2</cx:pt>
          <cx:pt idx="12979">5</cx:pt>
          <cx:pt idx="12980">5</cx:pt>
          <cx:pt idx="12981">4</cx:pt>
          <cx:pt idx="12982">5</cx:pt>
          <cx:pt idx="12983">1</cx:pt>
          <cx:pt idx="12984">2</cx:pt>
          <cx:pt idx="12985">4</cx:pt>
          <cx:pt idx="12986">3</cx:pt>
          <cx:pt idx="12987">3</cx:pt>
          <cx:pt idx="12988">2</cx:pt>
          <cx:pt idx="12989">3</cx:pt>
          <cx:pt idx="12990">1</cx:pt>
          <cx:pt idx="12991">2</cx:pt>
          <cx:pt idx="12992">5</cx:pt>
          <cx:pt idx="12993">0</cx:pt>
          <cx:pt idx="12994">3</cx:pt>
          <cx:pt idx="12995">4</cx:pt>
          <cx:pt idx="12996">2</cx:pt>
          <cx:pt idx="12997">2</cx:pt>
          <cx:pt idx="12998">4</cx:pt>
          <cx:pt idx="12999">5</cx:pt>
          <cx:pt idx="13000">2</cx:pt>
          <cx:pt idx="13001">2</cx:pt>
          <cx:pt idx="13002">3</cx:pt>
          <cx:pt idx="13003">3</cx:pt>
          <cx:pt idx="13004">2</cx:pt>
          <cx:pt idx="13005">1</cx:pt>
          <cx:pt idx="13006">3</cx:pt>
          <cx:pt idx="13007">1</cx:pt>
          <cx:pt idx="13008">1</cx:pt>
          <cx:pt idx="13009">3</cx:pt>
          <cx:pt idx="13010">2</cx:pt>
          <cx:pt idx="13011">4</cx:pt>
          <cx:pt idx="13012">3</cx:pt>
          <cx:pt idx="13013">1</cx:pt>
          <cx:pt idx="13014">4</cx:pt>
          <cx:pt idx="13015">5</cx:pt>
          <cx:pt idx="13016">4</cx:pt>
          <cx:pt idx="13017">3</cx:pt>
          <cx:pt idx="13018">2</cx:pt>
          <cx:pt idx="13019">5</cx:pt>
          <cx:pt idx="13020">4</cx:pt>
          <cx:pt idx="13021">1</cx:pt>
          <cx:pt idx="13022">0</cx:pt>
          <cx:pt idx="13023">0</cx:pt>
          <cx:pt idx="13024">1</cx:pt>
          <cx:pt idx="13025">3</cx:pt>
          <cx:pt idx="13026">2</cx:pt>
          <cx:pt idx="13027">1</cx:pt>
          <cx:pt idx="13028">3</cx:pt>
          <cx:pt idx="13029">4</cx:pt>
          <cx:pt idx="13030">3</cx:pt>
          <cx:pt idx="13031">3</cx:pt>
          <cx:pt idx="13032">5</cx:pt>
          <cx:pt idx="13033">1</cx:pt>
          <cx:pt idx="13034">4</cx:pt>
          <cx:pt idx="13035">3</cx:pt>
          <cx:pt idx="13036">2</cx:pt>
          <cx:pt idx="13037">3</cx:pt>
          <cx:pt idx="13038">4</cx:pt>
          <cx:pt idx="13039">2</cx:pt>
          <cx:pt idx="13040">4</cx:pt>
          <cx:pt idx="13041">1</cx:pt>
          <cx:pt idx="13042">4</cx:pt>
          <cx:pt idx="13043">5</cx:pt>
          <cx:pt idx="13044">3</cx:pt>
          <cx:pt idx="13045">2</cx:pt>
          <cx:pt idx="13046">3</cx:pt>
          <cx:pt idx="13047">5</cx:pt>
          <cx:pt idx="13048">0</cx:pt>
          <cx:pt idx="13049">2</cx:pt>
          <cx:pt idx="13050">5</cx:pt>
          <cx:pt idx="13051">4</cx:pt>
          <cx:pt idx="13052">4</cx:pt>
          <cx:pt idx="13053">2</cx:pt>
          <cx:pt idx="13054">2</cx:pt>
          <cx:pt idx="13055">2</cx:pt>
          <cx:pt idx="13056">4</cx:pt>
          <cx:pt idx="13057">4</cx:pt>
          <cx:pt idx="13058">1</cx:pt>
          <cx:pt idx="13059">4</cx:pt>
          <cx:pt idx="13060">2</cx:pt>
          <cx:pt idx="13061">3</cx:pt>
          <cx:pt idx="13062">3</cx:pt>
          <cx:pt idx="13063">2</cx:pt>
          <cx:pt idx="13064">1</cx:pt>
          <cx:pt idx="13065">4</cx:pt>
          <cx:pt idx="13066">5</cx:pt>
          <cx:pt idx="13067">1</cx:pt>
          <cx:pt idx="13068">3</cx:pt>
          <cx:pt idx="13069">3</cx:pt>
          <cx:pt idx="13070">3</cx:pt>
          <cx:pt idx="13071">1</cx:pt>
          <cx:pt idx="13072">2</cx:pt>
          <cx:pt idx="13073">3</cx:pt>
          <cx:pt idx="13074">2</cx:pt>
          <cx:pt idx="13075">3</cx:pt>
          <cx:pt idx="13076">4</cx:pt>
          <cx:pt idx="13077">4</cx:pt>
          <cx:pt idx="13078">3</cx:pt>
          <cx:pt idx="13079">2</cx:pt>
          <cx:pt idx="13080">0</cx:pt>
          <cx:pt idx="13081">2</cx:pt>
          <cx:pt idx="13082">2</cx:pt>
          <cx:pt idx="13083">1</cx:pt>
          <cx:pt idx="13084">5</cx:pt>
          <cx:pt idx="13085">2</cx:pt>
          <cx:pt idx="13086">2</cx:pt>
          <cx:pt idx="13087">2</cx:pt>
          <cx:pt idx="13088">1</cx:pt>
          <cx:pt idx="13089">5</cx:pt>
          <cx:pt idx="13090">4</cx:pt>
          <cx:pt idx="13091">5</cx:pt>
          <cx:pt idx="13092">3</cx:pt>
          <cx:pt idx="13093">1</cx:pt>
          <cx:pt idx="13094">4</cx:pt>
          <cx:pt idx="13095">5</cx:pt>
          <cx:pt idx="13096">4</cx:pt>
          <cx:pt idx="13097">1</cx:pt>
          <cx:pt idx="13098">2</cx:pt>
          <cx:pt idx="13099">3</cx:pt>
          <cx:pt idx="13100">5</cx:pt>
          <cx:pt idx="13101">5</cx:pt>
          <cx:pt idx="13102">3</cx:pt>
          <cx:pt idx="13103">1</cx:pt>
          <cx:pt idx="13104">1</cx:pt>
          <cx:pt idx="13105">3</cx:pt>
          <cx:pt idx="13106">2</cx:pt>
          <cx:pt idx="13107">2</cx:pt>
          <cx:pt idx="13108">1</cx:pt>
          <cx:pt idx="13109">3</cx:pt>
          <cx:pt idx="13110">3</cx:pt>
          <cx:pt idx="13111">4</cx:pt>
          <cx:pt idx="13112">3</cx:pt>
          <cx:pt idx="13113">4</cx:pt>
          <cx:pt idx="13114">2</cx:pt>
          <cx:pt idx="13115">3</cx:pt>
          <cx:pt idx="13116">1</cx:pt>
          <cx:pt idx="13117">3</cx:pt>
          <cx:pt idx="13118">4</cx:pt>
          <cx:pt idx="13119">4</cx:pt>
          <cx:pt idx="13120">4</cx:pt>
          <cx:pt idx="13121">3</cx:pt>
          <cx:pt idx="13122">2</cx:pt>
          <cx:pt idx="13123">5</cx:pt>
          <cx:pt idx="13124">3</cx:pt>
          <cx:pt idx="13125">2</cx:pt>
          <cx:pt idx="13126">4</cx:pt>
          <cx:pt idx="13127">1</cx:pt>
          <cx:pt idx="13128">5</cx:pt>
          <cx:pt idx="13129">3</cx:pt>
          <cx:pt idx="13130">4</cx:pt>
          <cx:pt idx="13131">2</cx:pt>
          <cx:pt idx="13132">3</cx:pt>
          <cx:pt idx="13133">3</cx:pt>
          <cx:pt idx="13134">2</cx:pt>
          <cx:pt idx="13135">0</cx:pt>
          <cx:pt idx="13136">4</cx:pt>
          <cx:pt idx="13137">4</cx:pt>
          <cx:pt idx="13138">2</cx:pt>
          <cx:pt idx="13139">4</cx:pt>
          <cx:pt idx="13140">1</cx:pt>
          <cx:pt idx="13141">5</cx:pt>
          <cx:pt idx="13142">0</cx:pt>
          <cx:pt idx="13143">1</cx:pt>
          <cx:pt idx="13144">2</cx:pt>
          <cx:pt idx="13145">1</cx:pt>
          <cx:pt idx="13146">2</cx:pt>
          <cx:pt idx="13147">1</cx:pt>
          <cx:pt idx="13148">4</cx:pt>
          <cx:pt idx="13149">3</cx:pt>
          <cx:pt idx="13150">1</cx:pt>
          <cx:pt idx="13151">4</cx:pt>
          <cx:pt idx="13152">2</cx:pt>
          <cx:pt idx="13153">4</cx:pt>
          <cx:pt idx="13154">4</cx:pt>
          <cx:pt idx="13155">2</cx:pt>
          <cx:pt idx="13156">4</cx:pt>
          <cx:pt idx="13157">2</cx:pt>
          <cx:pt idx="13158">3</cx:pt>
          <cx:pt idx="13159">0</cx:pt>
          <cx:pt idx="13160">1</cx:pt>
          <cx:pt idx="13161">2</cx:pt>
          <cx:pt idx="13162">4</cx:pt>
          <cx:pt idx="13163">5</cx:pt>
          <cx:pt idx="13164">2</cx:pt>
          <cx:pt idx="13165">2</cx:pt>
          <cx:pt idx="13166">4</cx:pt>
          <cx:pt idx="13167">1</cx:pt>
          <cx:pt idx="13168">5</cx:pt>
          <cx:pt idx="13169">5</cx:pt>
          <cx:pt idx="13170">3</cx:pt>
          <cx:pt idx="13171">2</cx:pt>
          <cx:pt idx="13172">1</cx:pt>
          <cx:pt idx="13173">2</cx:pt>
          <cx:pt idx="13174">4</cx:pt>
          <cx:pt idx="13175">5</cx:pt>
          <cx:pt idx="13176">1</cx:pt>
          <cx:pt idx="13177">3</cx:pt>
          <cx:pt idx="13178">3</cx:pt>
          <cx:pt idx="13179">5</cx:pt>
          <cx:pt idx="13180">2</cx:pt>
          <cx:pt idx="13181">3</cx:pt>
          <cx:pt idx="13182">2</cx:pt>
          <cx:pt idx="13183">2</cx:pt>
          <cx:pt idx="13184">1</cx:pt>
          <cx:pt idx="13185">1</cx:pt>
          <cx:pt idx="13186">2</cx:pt>
          <cx:pt idx="13187">2</cx:pt>
          <cx:pt idx="13188">2</cx:pt>
          <cx:pt idx="13189">5</cx:pt>
          <cx:pt idx="13190">5</cx:pt>
          <cx:pt idx="13191">1</cx:pt>
          <cx:pt idx="13192">1</cx:pt>
          <cx:pt idx="13193">5</cx:pt>
          <cx:pt idx="13194">5</cx:pt>
          <cx:pt idx="13195">2</cx:pt>
          <cx:pt idx="13196">5</cx:pt>
          <cx:pt idx="13197">2</cx:pt>
          <cx:pt idx="13198">3</cx:pt>
          <cx:pt idx="13199">2</cx:pt>
          <cx:pt idx="13200">4</cx:pt>
          <cx:pt idx="13201">2</cx:pt>
          <cx:pt idx="13202">3</cx:pt>
          <cx:pt idx="13203">5</cx:pt>
          <cx:pt idx="13204">5</cx:pt>
          <cx:pt idx="13205">4</cx:pt>
          <cx:pt idx="13206">2</cx:pt>
          <cx:pt idx="13207">3</cx:pt>
          <cx:pt idx="13208">3</cx:pt>
          <cx:pt idx="13209">2</cx:pt>
          <cx:pt idx="13210">2</cx:pt>
          <cx:pt idx="13211">3</cx:pt>
          <cx:pt idx="13212">5</cx:pt>
          <cx:pt idx="13213">4</cx:pt>
          <cx:pt idx="13214">0</cx:pt>
          <cx:pt idx="13215">5</cx:pt>
          <cx:pt idx="13216">4</cx:pt>
          <cx:pt idx="13217">2</cx:pt>
          <cx:pt idx="13218">5</cx:pt>
          <cx:pt idx="13219">1</cx:pt>
          <cx:pt idx="13220">4</cx:pt>
          <cx:pt idx="13221">3</cx:pt>
          <cx:pt idx="13222">3</cx:pt>
          <cx:pt idx="13223">4</cx:pt>
          <cx:pt idx="13224">1</cx:pt>
          <cx:pt idx="13225">3</cx:pt>
          <cx:pt idx="13226">2</cx:pt>
          <cx:pt idx="13227">4</cx:pt>
          <cx:pt idx="13228">5</cx:pt>
          <cx:pt idx="13229">4</cx:pt>
          <cx:pt idx="13230">1</cx:pt>
          <cx:pt idx="13231">4</cx:pt>
          <cx:pt idx="13232">0</cx:pt>
          <cx:pt idx="13233">1</cx:pt>
          <cx:pt idx="13234">4</cx:pt>
          <cx:pt idx="13235">4</cx:pt>
          <cx:pt idx="13236">5</cx:pt>
          <cx:pt idx="13237">2</cx:pt>
          <cx:pt idx="13238">3</cx:pt>
          <cx:pt idx="13239">3</cx:pt>
          <cx:pt idx="13240">3</cx:pt>
          <cx:pt idx="13241">4</cx:pt>
          <cx:pt idx="13242">3</cx:pt>
          <cx:pt idx="13243">3</cx:pt>
          <cx:pt idx="13244">4</cx:pt>
          <cx:pt idx="13245">5</cx:pt>
          <cx:pt idx="13246">4</cx:pt>
          <cx:pt idx="13247">1</cx:pt>
          <cx:pt idx="13248">5</cx:pt>
          <cx:pt idx="13249">4</cx:pt>
          <cx:pt idx="13250">4</cx:pt>
          <cx:pt idx="13251">4</cx:pt>
          <cx:pt idx="13252">1</cx:pt>
          <cx:pt idx="13253">4</cx:pt>
          <cx:pt idx="13254">3</cx:pt>
          <cx:pt idx="13255">3</cx:pt>
          <cx:pt idx="13256">5</cx:pt>
          <cx:pt idx="13257">5</cx:pt>
          <cx:pt idx="13258">0</cx:pt>
          <cx:pt idx="13259">4</cx:pt>
          <cx:pt idx="13260">1</cx:pt>
          <cx:pt idx="13261">4</cx:pt>
          <cx:pt idx="13262">4</cx:pt>
          <cx:pt idx="13263">2</cx:pt>
          <cx:pt idx="13264">3</cx:pt>
          <cx:pt idx="13265">2</cx:pt>
          <cx:pt idx="13266">3</cx:pt>
          <cx:pt idx="13267">3</cx:pt>
          <cx:pt idx="13268">5</cx:pt>
          <cx:pt idx="13269">1</cx:pt>
          <cx:pt idx="13270">4</cx:pt>
          <cx:pt idx="13271">1</cx:pt>
          <cx:pt idx="13272">4</cx:pt>
          <cx:pt idx="13273">3</cx:pt>
          <cx:pt idx="13274">2</cx:pt>
          <cx:pt idx="13275">1</cx:pt>
          <cx:pt idx="13276">4</cx:pt>
          <cx:pt idx="13277">4</cx:pt>
          <cx:pt idx="13278">1</cx:pt>
          <cx:pt idx="13279">4</cx:pt>
          <cx:pt idx="13280">4</cx:pt>
          <cx:pt idx="13281">2</cx:pt>
          <cx:pt idx="13282">4</cx:pt>
          <cx:pt idx="13283">2</cx:pt>
          <cx:pt idx="13284">2</cx:pt>
          <cx:pt idx="13285">1</cx:pt>
          <cx:pt idx="13286">4</cx:pt>
          <cx:pt idx="13287">4</cx:pt>
          <cx:pt idx="13288">2</cx:pt>
          <cx:pt idx="13289">4</cx:pt>
          <cx:pt idx="13290">1</cx:pt>
          <cx:pt idx="13291">5</cx:pt>
          <cx:pt idx="13292">2</cx:pt>
          <cx:pt idx="13293">2</cx:pt>
          <cx:pt idx="13294">3</cx:pt>
          <cx:pt idx="13295">5</cx:pt>
          <cx:pt idx="13296">4</cx:pt>
          <cx:pt idx="13297">0</cx:pt>
          <cx:pt idx="13298">4</cx:pt>
          <cx:pt idx="13299">3</cx:pt>
          <cx:pt idx="13300">2</cx:pt>
          <cx:pt idx="13301">2</cx:pt>
          <cx:pt idx="13302">1</cx:pt>
          <cx:pt idx="13303">1</cx:pt>
          <cx:pt idx="13304">3</cx:pt>
          <cx:pt idx="13305">5</cx:pt>
          <cx:pt idx="13306">1</cx:pt>
          <cx:pt idx="13307">1</cx:pt>
          <cx:pt idx="13308">1</cx:pt>
          <cx:pt idx="13309">2</cx:pt>
          <cx:pt idx="13310">5</cx:pt>
          <cx:pt idx="13311">3</cx:pt>
          <cx:pt idx="13312">3</cx:pt>
          <cx:pt idx="13313">2</cx:pt>
          <cx:pt idx="13314">2</cx:pt>
          <cx:pt idx="13315">0</cx:pt>
          <cx:pt idx="13316">3</cx:pt>
          <cx:pt idx="13317">3</cx:pt>
          <cx:pt idx="13318">2</cx:pt>
          <cx:pt idx="13319">1</cx:pt>
          <cx:pt idx="13320">4</cx:pt>
          <cx:pt idx="13321">4</cx:pt>
          <cx:pt idx="13322">1</cx:pt>
          <cx:pt idx="13323">4</cx:pt>
          <cx:pt idx="13324">3</cx:pt>
          <cx:pt idx="13325">1</cx:pt>
          <cx:pt idx="13326">3</cx:pt>
          <cx:pt idx="13327">2</cx:pt>
          <cx:pt idx="13328">2</cx:pt>
          <cx:pt idx="13329">2</cx:pt>
          <cx:pt idx="13330">5</cx:pt>
          <cx:pt idx="13331">4</cx:pt>
          <cx:pt idx="13332">1</cx:pt>
          <cx:pt idx="13333">1</cx:pt>
          <cx:pt idx="13334">4</cx:pt>
          <cx:pt idx="13335">2</cx:pt>
          <cx:pt idx="13336">3</cx:pt>
          <cx:pt idx="13337">4</cx:pt>
          <cx:pt idx="13338">2</cx:pt>
          <cx:pt idx="13339">3</cx:pt>
          <cx:pt idx="13340">1</cx:pt>
          <cx:pt idx="13341">3</cx:pt>
          <cx:pt idx="13342">3</cx:pt>
          <cx:pt idx="13343">0</cx:pt>
          <cx:pt idx="13344">1</cx:pt>
          <cx:pt idx="13345">2</cx:pt>
          <cx:pt idx="13346">2</cx:pt>
          <cx:pt idx="13347">3</cx:pt>
          <cx:pt idx="13348">1</cx:pt>
          <cx:pt idx="13349">4</cx:pt>
          <cx:pt idx="13350">4</cx:pt>
          <cx:pt idx="13351">2</cx:pt>
          <cx:pt idx="13352">4</cx:pt>
          <cx:pt idx="13353">1</cx:pt>
          <cx:pt idx="13354">1</cx:pt>
          <cx:pt idx="13355">3</cx:pt>
          <cx:pt idx="13356">4</cx:pt>
          <cx:pt idx="13357">4</cx:pt>
          <cx:pt idx="13358">3</cx:pt>
          <cx:pt idx="13359">5</cx:pt>
          <cx:pt idx="13360">2</cx:pt>
          <cx:pt idx="13361">3</cx:pt>
          <cx:pt idx="13362">2</cx:pt>
          <cx:pt idx="13363">1</cx:pt>
          <cx:pt idx="13364">2</cx:pt>
          <cx:pt idx="13365">3</cx:pt>
          <cx:pt idx="13366">4</cx:pt>
          <cx:pt idx="13367">1</cx:pt>
          <cx:pt idx="13368">1</cx:pt>
          <cx:pt idx="13369">2</cx:pt>
          <cx:pt idx="13370">2</cx:pt>
          <cx:pt idx="13371">2</cx:pt>
          <cx:pt idx="13372">5</cx:pt>
          <cx:pt idx="13373">3</cx:pt>
          <cx:pt idx="13374">2</cx:pt>
          <cx:pt idx="13375">0</cx:pt>
          <cx:pt idx="13376">4</cx:pt>
          <cx:pt idx="13377">3</cx:pt>
          <cx:pt idx="13378">2</cx:pt>
          <cx:pt idx="13379">1</cx:pt>
          <cx:pt idx="13380">4</cx:pt>
          <cx:pt idx="13381">2</cx:pt>
          <cx:pt idx="13382">0</cx:pt>
          <cx:pt idx="13383">4</cx:pt>
          <cx:pt idx="13384">1</cx:pt>
          <cx:pt idx="13385">5</cx:pt>
          <cx:pt idx="13386">4</cx:pt>
          <cx:pt idx="13387">3</cx:pt>
          <cx:pt idx="13388">2</cx:pt>
          <cx:pt idx="13389">1</cx:pt>
          <cx:pt idx="13390">3</cx:pt>
          <cx:pt idx="13391">0</cx:pt>
          <cx:pt idx="13392">1</cx:pt>
          <cx:pt idx="13393">2</cx:pt>
          <cx:pt idx="13394">2</cx:pt>
          <cx:pt idx="13395">4</cx:pt>
          <cx:pt idx="13396">2</cx:pt>
          <cx:pt idx="13397">1</cx:pt>
          <cx:pt idx="13398">4</cx:pt>
          <cx:pt idx="13399">2</cx:pt>
          <cx:pt idx="13400">3</cx:pt>
          <cx:pt idx="13401">2</cx:pt>
          <cx:pt idx="13402">5</cx:pt>
          <cx:pt idx="13403">2</cx:pt>
          <cx:pt idx="13404">5</cx:pt>
          <cx:pt idx="13405">5</cx:pt>
          <cx:pt idx="13406">1</cx:pt>
          <cx:pt idx="13407">4</cx:pt>
          <cx:pt idx="13408">3</cx:pt>
          <cx:pt idx="13409">3</cx:pt>
          <cx:pt idx="13410">2</cx:pt>
          <cx:pt idx="13411">3</cx:pt>
          <cx:pt idx="13412">2</cx:pt>
          <cx:pt idx="13413">2</cx:pt>
          <cx:pt idx="13414">3</cx:pt>
          <cx:pt idx="13415">3</cx:pt>
          <cx:pt idx="13416">5</cx:pt>
          <cx:pt idx="13417">2</cx:pt>
          <cx:pt idx="13418">4</cx:pt>
          <cx:pt idx="13419">2</cx:pt>
          <cx:pt idx="13420">2</cx:pt>
          <cx:pt idx="13421">4</cx:pt>
          <cx:pt idx="13422">3</cx:pt>
          <cx:pt idx="13423">2</cx:pt>
          <cx:pt idx="13424">4</cx:pt>
          <cx:pt idx="13425">5</cx:pt>
          <cx:pt idx="13426">4</cx:pt>
          <cx:pt idx="13427">2</cx:pt>
          <cx:pt idx="13428">3</cx:pt>
          <cx:pt idx="13429">3</cx:pt>
          <cx:pt idx="13430">3</cx:pt>
          <cx:pt idx="13431">3</cx:pt>
          <cx:pt idx="13432">3</cx:pt>
          <cx:pt idx="13433">4</cx:pt>
          <cx:pt idx="13434">5</cx:pt>
          <cx:pt idx="13435">3</cx:pt>
          <cx:pt idx="13436">2</cx:pt>
          <cx:pt idx="13437">1</cx:pt>
          <cx:pt idx="13438">5</cx:pt>
          <cx:pt idx="13439">2</cx:pt>
          <cx:pt idx="13440">0</cx:pt>
          <cx:pt idx="13441">2</cx:pt>
          <cx:pt idx="13442">1</cx:pt>
          <cx:pt idx="13443">3</cx:pt>
          <cx:pt idx="13444">5</cx:pt>
          <cx:pt idx="13445">5</cx:pt>
          <cx:pt idx="13446">1</cx:pt>
          <cx:pt idx="13447">0</cx:pt>
          <cx:pt idx="13448">3</cx:pt>
          <cx:pt idx="13449">3</cx:pt>
          <cx:pt idx="13450">2</cx:pt>
          <cx:pt idx="13451">3</cx:pt>
          <cx:pt idx="13452">2</cx:pt>
          <cx:pt idx="13453">4</cx:pt>
          <cx:pt idx="13454">1</cx:pt>
          <cx:pt idx="13455">4</cx:pt>
          <cx:pt idx="13456">5</cx:pt>
          <cx:pt idx="13457">3</cx:pt>
          <cx:pt idx="13458">3</cx:pt>
          <cx:pt idx="13459">2</cx:pt>
          <cx:pt idx="13460">3</cx:pt>
          <cx:pt idx="13461">2</cx:pt>
          <cx:pt idx="13462">4</cx:pt>
          <cx:pt idx="13463">1</cx:pt>
          <cx:pt idx="13464">2</cx:pt>
          <cx:pt idx="13465">1</cx:pt>
          <cx:pt idx="13466">5</cx:pt>
          <cx:pt idx="13467">3</cx:pt>
          <cx:pt idx="13468">4</cx:pt>
          <cx:pt idx="13469">2</cx:pt>
          <cx:pt idx="13470">2</cx:pt>
          <cx:pt idx="13471">2</cx:pt>
          <cx:pt idx="13472">0</cx:pt>
          <cx:pt idx="13473">3</cx:pt>
          <cx:pt idx="13474">4</cx:pt>
          <cx:pt idx="13475">0</cx:pt>
          <cx:pt idx="13476">4</cx:pt>
          <cx:pt idx="13477">3</cx:pt>
          <cx:pt idx="13478">3</cx:pt>
          <cx:pt idx="13479">2</cx:pt>
          <cx:pt idx="13480">2</cx:pt>
          <cx:pt idx="13481">2</cx:pt>
          <cx:pt idx="13482">5</cx:pt>
          <cx:pt idx="13483">4</cx:pt>
          <cx:pt idx="13484">5</cx:pt>
          <cx:pt idx="13485">1</cx:pt>
          <cx:pt idx="13486">1</cx:pt>
          <cx:pt idx="13487">2</cx:pt>
          <cx:pt idx="13488">1</cx:pt>
          <cx:pt idx="13489">1</cx:pt>
          <cx:pt idx="13490">0</cx:pt>
          <cx:pt idx="13491">4</cx:pt>
          <cx:pt idx="13492">2</cx:pt>
          <cx:pt idx="13493">1</cx:pt>
          <cx:pt idx="13494">4</cx:pt>
          <cx:pt idx="13495">0</cx:pt>
          <cx:pt idx="13496">0</cx:pt>
          <cx:pt idx="13497">5</cx:pt>
          <cx:pt idx="13498">3</cx:pt>
          <cx:pt idx="13499">1</cx:pt>
          <cx:pt idx="13500">2</cx:pt>
          <cx:pt idx="13501">5</cx:pt>
          <cx:pt idx="13502">1</cx:pt>
          <cx:pt idx="13503">3</cx:pt>
          <cx:pt idx="13504">5</cx:pt>
          <cx:pt idx="13505">5</cx:pt>
          <cx:pt idx="13506">2</cx:pt>
          <cx:pt idx="13507">1</cx:pt>
          <cx:pt idx="13508">0</cx:pt>
          <cx:pt idx="13509">1</cx:pt>
          <cx:pt idx="13510">4</cx:pt>
          <cx:pt idx="13511">3</cx:pt>
          <cx:pt idx="13512">3</cx:pt>
          <cx:pt idx="13513">3</cx:pt>
          <cx:pt idx="13514">4</cx:pt>
          <cx:pt idx="13515">2</cx:pt>
          <cx:pt idx="13516">1</cx:pt>
          <cx:pt idx="13517">5</cx:pt>
          <cx:pt idx="13518">1</cx:pt>
          <cx:pt idx="13519">5</cx:pt>
          <cx:pt idx="13520">3</cx:pt>
          <cx:pt idx="13521">2</cx:pt>
          <cx:pt idx="13522">5</cx:pt>
          <cx:pt idx="13523">3</cx:pt>
          <cx:pt idx="13524">3</cx:pt>
          <cx:pt idx="13525">1</cx:pt>
          <cx:pt idx="13526">3</cx:pt>
          <cx:pt idx="13527">3</cx:pt>
          <cx:pt idx="13528">0</cx:pt>
          <cx:pt idx="13529">2</cx:pt>
          <cx:pt idx="13530">2</cx:pt>
          <cx:pt idx="13531">3</cx:pt>
          <cx:pt idx="13532">4</cx:pt>
          <cx:pt idx="13533">2</cx:pt>
          <cx:pt idx="13534">4</cx:pt>
          <cx:pt idx="13535">3</cx:pt>
          <cx:pt idx="13536">2</cx:pt>
          <cx:pt idx="13537">4</cx:pt>
          <cx:pt idx="13538">5</cx:pt>
          <cx:pt idx="13539">4</cx:pt>
          <cx:pt idx="13540">4</cx:pt>
          <cx:pt idx="13541">2</cx:pt>
          <cx:pt idx="13542">4</cx:pt>
          <cx:pt idx="13543">1</cx:pt>
          <cx:pt idx="13544">4</cx:pt>
          <cx:pt idx="13545">2</cx:pt>
          <cx:pt idx="13546">3</cx:pt>
          <cx:pt idx="13547">1</cx:pt>
          <cx:pt idx="13548">3</cx:pt>
          <cx:pt idx="13549">1</cx:pt>
          <cx:pt idx="13550">2</cx:pt>
          <cx:pt idx="13551">1</cx:pt>
          <cx:pt idx="13552">5</cx:pt>
          <cx:pt idx="13553">2</cx:pt>
          <cx:pt idx="13554">4</cx:pt>
          <cx:pt idx="13555">0</cx:pt>
          <cx:pt idx="13556">5</cx:pt>
          <cx:pt idx="13557">2</cx:pt>
          <cx:pt idx="13558">2</cx:pt>
          <cx:pt idx="13559">1</cx:pt>
          <cx:pt idx="13560">3</cx:pt>
          <cx:pt idx="13561">4</cx:pt>
          <cx:pt idx="13562">1</cx:pt>
          <cx:pt idx="13563">5</cx:pt>
          <cx:pt idx="13564">5</cx:pt>
          <cx:pt idx="13565">4</cx:pt>
          <cx:pt idx="13566">5</cx:pt>
          <cx:pt idx="13567">3</cx:pt>
          <cx:pt idx="13568">3</cx:pt>
          <cx:pt idx="13569">4</cx:pt>
          <cx:pt idx="13570">1</cx:pt>
          <cx:pt idx="13571">1</cx:pt>
          <cx:pt idx="13572">4</cx:pt>
          <cx:pt idx="13573">1</cx:pt>
          <cx:pt idx="13574">3</cx:pt>
          <cx:pt idx="13575">3</cx:pt>
          <cx:pt idx="13576">2</cx:pt>
          <cx:pt idx="13577">3</cx:pt>
          <cx:pt idx="13578">2</cx:pt>
          <cx:pt idx="13579">3</cx:pt>
          <cx:pt idx="13580">5</cx:pt>
          <cx:pt idx="13581">2</cx:pt>
          <cx:pt idx="13582">4</cx:pt>
          <cx:pt idx="13583">3</cx:pt>
          <cx:pt idx="13584">4</cx:pt>
          <cx:pt idx="13585">1</cx:pt>
          <cx:pt idx="13586">3</cx:pt>
          <cx:pt idx="13587">0</cx:pt>
          <cx:pt idx="13588">2</cx:pt>
          <cx:pt idx="13589">1</cx:pt>
          <cx:pt idx="13590">3</cx:pt>
          <cx:pt idx="13591">2</cx:pt>
          <cx:pt idx="13592">4</cx:pt>
          <cx:pt idx="13593">2</cx:pt>
          <cx:pt idx="13594">0</cx:pt>
          <cx:pt idx="13595">2</cx:pt>
          <cx:pt idx="13596">5</cx:pt>
          <cx:pt idx="13597">1</cx:pt>
          <cx:pt idx="13598">2</cx:pt>
          <cx:pt idx="13599">3</cx:pt>
          <cx:pt idx="13600">4</cx:pt>
          <cx:pt idx="13601">3</cx:pt>
          <cx:pt idx="13602">1</cx:pt>
          <cx:pt idx="13603">5</cx:pt>
          <cx:pt idx="13604">4</cx:pt>
          <cx:pt idx="13605">1</cx:pt>
          <cx:pt idx="13606">2</cx:pt>
          <cx:pt idx="13607">5</cx:pt>
          <cx:pt idx="13608">2</cx:pt>
          <cx:pt idx="13609">1</cx:pt>
          <cx:pt idx="13610">4</cx:pt>
          <cx:pt idx="13611">1</cx:pt>
          <cx:pt idx="13612">4</cx:pt>
          <cx:pt idx="13613">2</cx:pt>
          <cx:pt idx="13614">5</cx:pt>
          <cx:pt idx="13615">1</cx:pt>
          <cx:pt idx="13616">2</cx:pt>
          <cx:pt idx="13617">2</cx:pt>
          <cx:pt idx="13618">2</cx:pt>
          <cx:pt idx="13619">4</cx:pt>
          <cx:pt idx="13620">3</cx:pt>
          <cx:pt idx="13621">4</cx:pt>
          <cx:pt idx="13622">3</cx:pt>
          <cx:pt idx="13623">3</cx:pt>
          <cx:pt idx="13624">4</cx:pt>
          <cx:pt idx="13625">5</cx:pt>
          <cx:pt idx="13626">4</cx:pt>
          <cx:pt idx="13627">1</cx:pt>
          <cx:pt idx="13628">2</cx:pt>
          <cx:pt idx="13629">3</cx:pt>
          <cx:pt idx="13630">2</cx:pt>
          <cx:pt idx="13631">3</cx:pt>
          <cx:pt idx="13632">0</cx:pt>
          <cx:pt idx="13633">5</cx:pt>
          <cx:pt idx="13634">4</cx:pt>
          <cx:pt idx="13635">2</cx:pt>
          <cx:pt idx="13636">0</cx:pt>
          <cx:pt idx="13637">3</cx:pt>
          <cx:pt idx="13638">5</cx:pt>
          <cx:pt idx="13639">2</cx:pt>
          <cx:pt idx="13640">4</cx:pt>
          <cx:pt idx="13641">0</cx:pt>
          <cx:pt idx="13642">1</cx:pt>
          <cx:pt idx="13643">5</cx:pt>
          <cx:pt idx="13644">0</cx:pt>
          <cx:pt idx="13645">4</cx:pt>
          <cx:pt idx="13646">1</cx:pt>
          <cx:pt idx="13647">1</cx:pt>
          <cx:pt idx="13648">2</cx:pt>
          <cx:pt idx="13649">1</cx:pt>
          <cx:pt idx="13650">5</cx:pt>
          <cx:pt idx="13651">2</cx:pt>
          <cx:pt idx="13652">5</cx:pt>
          <cx:pt idx="13653">1</cx:pt>
          <cx:pt idx="13654">1</cx:pt>
          <cx:pt idx="13655">2</cx:pt>
          <cx:pt idx="13656">3</cx:pt>
          <cx:pt idx="13657">4</cx:pt>
          <cx:pt idx="13658">2</cx:pt>
          <cx:pt idx="13659">2</cx:pt>
          <cx:pt idx="13660">3</cx:pt>
          <cx:pt idx="13661">3</cx:pt>
          <cx:pt idx="13662">2</cx:pt>
          <cx:pt idx="13663">3</cx:pt>
          <cx:pt idx="13664">4</cx:pt>
          <cx:pt idx="13665">1</cx:pt>
          <cx:pt idx="13666">2</cx:pt>
          <cx:pt idx="13667">4</cx:pt>
          <cx:pt idx="13668">5</cx:pt>
          <cx:pt idx="13669">2</cx:pt>
          <cx:pt idx="13670">4</cx:pt>
          <cx:pt idx="13671">3</cx:pt>
          <cx:pt idx="13672">4</cx:pt>
          <cx:pt idx="13673">5</cx:pt>
          <cx:pt idx="13674">2</cx:pt>
          <cx:pt idx="13675">2</cx:pt>
          <cx:pt idx="13676">1</cx:pt>
          <cx:pt idx="13677">2</cx:pt>
          <cx:pt idx="13678">0</cx:pt>
          <cx:pt idx="13679">4</cx:pt>
          <cx:pt idx="13680">5</cx:pt>
          <cx:pt idx="13681">3</cx:pt>
          <cx:pt idx="13682">4</cx:pt>
          <cx:pt idx="13683">4</cx:pt>
          <cx:pt idx="13684">4</cx:pt>
          <cx:pt idx="13685">1</cx:pt>
          <cx:pt idx="13686">2</cx:pt>
          <cx:pt idx="13687">1</cx:pt>
          <cx:pt idx="13688">3</cx:pt>
          <cx:pt idx="13689">5</cx:pt>
          <cx:pt idx="13690">3</cx:pt>
          <cx:pt idx="13691">1</cx:pt>
          <cx:pt idx="13692">3</cx:pt>
          <cx:pt idx="13693">3</cx:pt>
          <cx:pt idx="13694">2</cx:pt>
          <cx:pt idx="13695">2</cx:pt>
          <cx:pt idx="13696">3</cx:pt>
          <cx:pt idx="13697">1</cx:pt>
          <cx:pt idx="13698">5</cx:pt>
          <cx:pt idx="13699">3</cx:pt>
          <cx:pt idx="13700">2</cx:pt>
          <cx:pt idx="13701">3</cx:pt>
          <cx:pt idx="13702">1</cx:pt>
          <cx:pt idx="13703">2</cx:pt>
          <cx:pt idx="13704">4</cx:pt>
          <cx:pt idx="13705">2</cx:pt>
          <cx:pt idx="13706">2</cx:pt>
          <cx:pt idx="13707">2</cx:pt>
          <cx:pt idx="13708">5</cx:pt>
          <cx:pt idx="13709">3</cx:pt>
          <cx:pt idx="13710">4</cx:pt>
          <cx:pt idx="13711">2</cx:pt>
          <cx:pt idx="13712">2</cx:pt>
          <cx:pt idx="13713">1</cx:pt>
          <cx:pt idx="13714">2</cx:pt>
          <cx:pt idx="13715">5</cx:pt>
          <cx:pt idx="13716">2</cx:pt>
          <cx:pt idx="13717">4</cx:pt>
          <cx:pt idx="13718">5</cx:pt>
          <cx:pt idx="13719">4</cx:pt>
          <cx:pt idx="13720">0</cx:pt>
          <cx:pt idx="13721">2</cx:pt>
          <cx:pt idx="13722">1</cx:pt>
          <cx:pt idx="13723">1</cx:pt>
          <cx:pt idx="13724">5</cx:pt>
          <cx:pt idx="13725">1</cx:pt>
          <cx:pt idx="13726">3</cx:pt>
          <cx:pt idx="13727">5</cx:pt>
          <cx:pt idx="13728">3</cx:pt>
          <cx:pt idx="13729">3</cx:pt>
          <cx:pt idx="13730">4</cx:pt>
          <cx:pt idx="13731">1</cx:pt>
          <cx:pt idx="13732">0</cx:pt>
          <cx:pt idx="13733">2</cx:pt>
          <cx:pt idx="13734">3</cx:pt>
          <cx:pt idx="13735">4</cx:pt>
          <cx:pt idx="13736">2</cx:pt>
          <cx:pt idx="13737">3</cx:pt>
          <cx:pt idx="13738">4</cx:pt>
          <cx:pt idx="13739">2</cx:pt>
          <cx:pt idx="13740">3</cx:pt>
          <cx:pt idx="13741">4</cx:pt>
          <cx:pt idx="13742">4</cx:pt>
          <cx:pt idx="13743">4</cx:pt>
          <cx:pt idx="13744">1</cx:pt>
          <cx:pt idx="13745">1</cx:pt>
          <cx:pt idx="13746">1</cx:pt>
          <cx:pt idx="13747">4</cx:pt>
          <cx:pt idx="13748">3</cx:pt>
          <cx:pt idx="13749">4</cx:pt>
          <cx:pt idx="13750">3</cx:pt>
          <cx:pt idx="13751">1</cx:pt>
          <cx:pt idx="13752">2</cx:pt>
          <cx:pt idx="13753">3</cx:pt>
          <cx:pt idx="13754">3</cx:pt>
          <cx:pt idx="13755">3</cx:pt>
          <cx:pt idx="13756">2</cx:pt>
          <cx:pt idx="13757">4</cx:pt>
          <cx:pt idx="13758">3</cx:pt>
          <cx:pt idx="13759">2</cx:pt>
          <cx:pt idx="13760">1</cx:pt>
          <cx:pt idx="13761">2</cx:pt>
          <cx:pt idx="13762">3</cx:pt>
          <cx:pt idx="13763">3</cx:pt>
          <cx:pt idx="13764">5</cx:pt>
          <cx:pt idx="13765">5</cx:pt>
          <cx:pt idx="13766">4</cx:pt>
          <cx:pt idx="13767">3</cx:pt>
          <cx:pt idx="13768">5</cx:pt>
          <cx:pt idx="13769">3</cx:pt>
          <cx:pt idx="13770">4</cx:pt>
          <cx:pt idx="13771">3</cx:pt>
          <cx:pt idx="13772">3</cx:pt>
          <cx:pt idx="13773">3</cx:pt>
          <cx:pt idx="13774">3</cx:pt>
          <cx:pt idx="13775">5</cx:pt>
          <cx:pt idx="13776">5</cx:pt>
          <cx:pt idx="13777">2</cx:pt>
          <cx:pt idx="13778">3</cx:pt>
          <cx:pt idx="13779">3</cx:pt>
          <cx:pt idx="13780">4</cx:pt>
          <cx:pt idx="13781">4</cx:pt>
          <cx:pt idx="13782">4</cx:pt>
          <cx:pt idx="13783">3</cx:pt>
          <cx:pt idx="13784">2</cx:pt>
          <cx:pt idx="13785">3</cx:pt>
          <cx:pt idx="13786">3</cx:pt>
          <cx:pt idx="13787">2</cx:pt>
          <cx:pt idx="13788">1</cx:pt>
          <cx:pt idx="13789">1</cx:pt>
          <cx:pt idx="13790">3</cx:pt>
          <cx:pt idx="13791">4</cx:pt>
          <cx:pt idx="13792">5</cx:pt>
          <cx:pt idx="13793">1</cx:pt>
          <cx:pt idx="13794">2</cx:pt>
          <cx:pt idx="13795">4</cx:pt>
          <cx:pt idx="13796">4</cx:pt>
          <cx:pt idx="13797">3</cx:pt>
          <cx:pt idx="13798">2</cx:pt>
          <cx:pt idx="13799">3</cx:pt>
          <cx:pt idx="13800">1</cx:pt>
          <cx:pt idx="13801">1</cx:pt>
          <cx:pt idx="13802">2</cx:pt>
          <cx:pt idx="13803">3</cx:pt>
          <cx:pt idx="13804">4</cx:pt>
          <cx:pt idx="13805">1</cx:pt>
          <cx:pt idx="13806">2</cx:pt>
          <cx:pt idx="13807">5</cx:pt>
          <cx:pt idx="13808">2</cx:pt>
          <cx:pt idx="13809">5</cx:pt>
          <cx:pt idx="13810">4</cx:pt>
          <cx:pt idx="13811">4</cx:pt>
          <cx:pt idx="13812">2</cx:pt>
          <cx:pt idx="13813">4</cx:pt>
          <cx:pt idx="13814">4</cx:pt>
          <cx:pt idx="13815">2</cx:pt>
          <cx:pt idx="13816">2</cx:pt>
          <cx:pt idx="13817">4</cx:pt>
          <cx:pt idx="13818">2</cx:pt>
          <cx:pt idx="13819">4</cx:pt>
          <cx:pt idx="13820">1</cx:pt>
          <cx:pt idx="13821">1</cx:pt>
          <cx:pt idx="13822">1</cx:pt>
          <cx:pt idx="13823">2</cx:pt>
          <cx:pt idx="13824">3</cx:pt>
          <cx:pt idx="13825">5</cx:pt>
          <cx:pt idx="13826">3</cx:pt>
          <cx:pt idx="13827">5</cx:pt>
          <cx:pt idx="13828">5</cx:pt>
          <cx:pt idx="13829">4</cx:pt>
          <cx:pt idx="13830">3</cx:pt>
          <cx:pt idx="13831">1</cx:pt>
          <cx:pt idx="13832">5</cx:pt>
          <cx:pt idx="13833">2</cx:pt>
          <cx:pt idx="13834">1</cx:pt>
          <cx:pt idx="13835">2</cx:pt>
          <cx:pt idx="13836">4</cx:pt>
          <cx:pt idx="13837">4</cx:pt>
          <cx:pt idx="13838">1</cx:pt>
          <cx:pt idx="13839">2</cx:pt>
          <cx:pt idx="13840">2</cx:pt>
          <cx:pt idx="13841">3</cx:pt>
          <cx:pt idx="13842">4</cx:pt>
          <cx:pt idx="13843">4</cx:pt>
          <cx:pt idx="13844">0</cx:pt>
          <cx:pt idx="13845">3</cx:pt>
          <cx:pt idx="13846">1</cx:pt>
          <cx:pt idx="13847">2</cx:pt>
          <cx:pt idx="13848">0</cx:pt>
          <cx:pt idx="13849">3</cx:pt>
          <cx:pt idx="13850">2</cx:pt>
          <cx:pt idx="13851">2</cx:pt>
          <cx:pt idx="13852">4</cx:pt>
          <cx:pt idx="13853">3</cx:pt>
          <cx:pt idx="13854">1</cx:pt>
          <cx:pt idx="13855">1</cx:pt>
          <cx:pt idx="13856">3</cx:pt>
          <cx:pt idx="13857">0</cx:pt>
          <cx:pt idx="13858">1</cx:pt>
          <cx:pt idx="13859">1</cx:pt>
          <cx:pt idx="13860">3</cx:pt>
          <cx:pt idx="13861">5</cx:pt>
          <cx:pt idx="13862">4</cx:pt>
          <cx:pt idx="13863">0</cx:pt>
          <cx:pt idx="13864">4</cx:pt>
          <cx:pt idx="13865">2</cx:pt>
          <cx:pt idx="13866">4</cx:pt>
          <cx:pt idx="13867">2</cx:pt>
          <cx:pt idx="13868">4</cx:pt>
          <cx:pt idx="13869">1</cx:pt>
          <cx:pt idx="13870">1</cx:pt>
          <cx:pt idx="13871">2</cx:pt>
          <cx:pt idx="13872">2</cx:pt>
          <cx:pt idx="13873">5</cx:pt>
          <cx:pt idx="13874">3</cx:pt>
          <cx:pt idx="13875">5</cx:pt>
          <cx:pt idx="13876">2</cx:pt>
          <cx:pt idx="13877">3</cx:pt>
          <cx:pt idx="13878">5</cx:pt>
          <cx:pt idx="13879">2</cx:pt>
          <cx:pt idx="13880">1</cx:pt>
          <cx:pt idx="13881">1</cx:pt>
          <cx:pt idx="13882">3</cx:pt>
          <cx:pt idx="13883">5</cx:pt>
          <cx:pt idx="13884">1</cx:pt>
          <cx:pt idx="13885">4</cx:pt>
          <cx:pt idx="13886">3</cx:pt>
          <cx:pt idx="13887">2</cx:pt>
          <cx:pt idx="13888">2</cx:pt>
          <cx:pt idx="13889">0</cx:pt>
          <cx:pt idx="13890">3</cx:pt>
          <cx:pt idx="13891">4</cx:pt>
          <cx:pt idx="13892">5</cx:pt>
          <cx:pt idx="13893">2</cx:pt>
          <cx:pt idx="13894">2</cx:pt>
          <cx:pt idx="13895">2</cx:pt>
          <cx:pt idx="13896">4</cx:pt>
          <cx:pt idx="13897">3</cx:pt>
          <cx:pt idx="13898">1</cx:pt>
          <cx:pt idx="13899">2</cx:pt>
          <cx:pt idx="13900">4</cx:pt>
          <cx:pt idx="13901">5</cx:pt>
          <cx:pt idx="13902">2</cx:pt>
          <cx:pt idx="13903">2</cx:pt>
          <cx:pt idx="13904">0</cx:pt>
          <cx:pt idx="13905">1</cx:pt>
          <cx:pt idx="13906">4</cx:pt>
          <cx:pt idx="13907">1</cx:pt>
          <cx:pt idx="13908">1</cx:pt>
          <cx:pt idx="13909">4</cx:pt>
          <cx:pt idx="13910">4</cx:pt>
          <cx:pt idx="13911">4</cx:pt>
          <cx:pt idx="13912">2</cx:pt>
          <cx:pt idx="13913">3</cx:pt>
          <cx:pt idx="13914">2</cx:pt>
          <cx:pt idx="13915">3</cx:pt>
          <cx:pt idx="13916">4</cx:pt>
          <cx:pt idx="13917">2</cx:pt>
          <cx:pt idx="13918">3</cx:pt>
          <cx:pt idx="13919">4</cx:pt>
          <cx:pt idx="13920">3</cx:pt>
          <cx:pt idx="13921">1</cx:pt>
          <cx:pt idx="13922">3</cx:pt>
          <cx:pt idx="13923">1</cx:pt>
          <cx:pt idx="13924">3</cx:pt>
          <cx:pt idx="13925">1</cx:pt>
          <cx:pt idx="13926">4</cx:pt>
          <cx:pt idx="13927">3</cx:pt>
          <cx:pt idx="13928">4</cx:pt>
          <cx:pt idx="13929">5</cx:pt>
          <cx:pt idx="13930">4</cx:pt>
          <cx:pt idx="13931">4</cx:pt>
          <cx:pt idx="13932">4</cx:pt>
          <cx:pt idx="13933">1</cx:pt>
          <cx:pt idx="13934">3</cx:pt>
          <cx:pt idx="13935">2</cx:pt>
          <cx:pt idx="13936">2</cx:pt>
          <cx:pt idx="13937">5</cx:pt>
          <cx:pt idx="13938">4</cx:pt>
          <cx:pt idx="13939">2</cx:pt>
          <cx:pt idx="13940">5</cx:pt>
          <cx:pt idx="13941">1</cx:pt>
          <cx:pt idx="13942">3</cx:pt>
          <cx:pt idx="13943">4</cx:pt>
          <cx:pt idx="13944">2</cx:pt>
          <cx:pt idx="13945">1</cx:pt>
          <cx:pt idx="13946">2</cx:pt>
          <cx:pt idx="13947">5</cx:pt>
          <cx:pt idx="13948">1</cx:pt>
          <cx:pt idx="13949">4</cx:pt>
          <cx:pt idx="13950">1</cx:pt>
          <cx:pt idx="13951">4</cx:pt>
          <cx:pt idx="13952">1</cx:pt>
          <cx:pt idx="13953">3</cx:pt>
          <cx:pt idx="13954">3</cx:pt>
          <cx:pt idx="13955">1</cx:pt>
          <cx:pt idx="13956">2</cx:pt>
          <cx:pt idx="13957">5</cx:pt>
          <cx:pt idx="13958">4</cx:pt>
          <cx:pt idx="13959">2</cx:pt>
          <cx:pt idx="13960">2</cx:pt>
          <cx:pt idx="13961">4</cx:pt>
          <cx:pt idx="13962">1</cx:pt>
          <cx:pt idx="13963">3</cx:pt>
          <cx:pt idx="13964">5</cx:pt>
          <cx:pt idx="13965">2</cx:pt>
          <cx:pt idx="13966">3</cx:pt>
          <cx:pt idx="13967">4</cx:pt>
          <cx:pt idx="13968">4</cx:pt>
          <cx:pt idx="13969">3</cx:pt>
          <cx:pt idx="13970">0</cx:pt>
          <cx:pt idx="13971">1</cx:pt>
          <cx:pt idx="13972">2</cx:pt>
          <cx:pt idx="13973">2</cx:pt>
          <cx:pt idx="13974">1</cx:pt>
          <cx:pt idx="13975">2</cx:pt>
          <cx:pt idx="13976">4</cx:pt>
          <cx:pt idx="13977">2</cx:pt>
          <cx:pt idx="13978">1</cx:pt>
          <cx:pt idx="13979">2</cx:pt>
          <cx:pt idx="13980">5</cx:pt>
          <cx:pt idx="13981">5</cx:pt>
          <cx:pt idx="13982">3</cx:pt>
          <cx:pt idx="13983">4</cx:pt>
          <cx:pt idx="13984">4</cx:pt>
          <cx:pt idx="13985">3</cx:pt>
          <cx:pt idx="13986">1</cx:pt>
          <cx:pt idx="13987">0</cx:pt>
          <cx:pt idx="13988">1</cx:pt>
          <cx:pt idx="13989">2</cx:pt>
          <cx:pt idx="13990">3</cx:pt>
          <cx:pt idx="13991">1</cx:pt>
          <cx:pt idx="13992">5</cx:pt>
          <cx:pt idx="13993">3</cx:pt>
          <cx:pt idx="13994">1</cx:pt>
          <cx:pt idx="13995">1</cx:pt>
          <cx:pt idx="13996">3</cx:pt>
          <cx:pt idx="13997">5</cx:pt>
          <cx:pt idx="13998">4</cx:pt>
          <cx:pt idx="13999">3</cx:pt>
          <cx:pt idx="14000">2</cx:pt>
          <cx:pt idx="14001">0</cx:pt>
          <cx:pt idx="14002">2</cx:pt>
          <cx:pt idx="14003">3</cx:pt>
          <cx:pt idx="14004">4</cx:pt>
          <cx:pt idx="14005">5</cx:pt>
          <cx:pt idx="14006">5</cx:pt>
          <cx:pt idx="14007">2</cx:pt>
          <cx:pt idx="14008">0</cx:pt>
          <cx:pt idx="14009">2</cx:pt>
          <cx:pt idx="14010">2</cx:pt>
          <cx:pt idx="14011">2</cx:pt>
          <cx:pt idx="14012">3</cx:pt>
          <cx:pt idx="14013">3</cx:pt>
          <cx:pt idx="14014">5</cx:pt>
          <cx:pt idx="14015">3</cx:pt>
          <cx:pt idx="14016">3</cx:pt>
          <cx:pt idx="14017">4</cx:pt>
          <cx:pt idx="14018">5</cx:pt>
          <cx:pt idx="14019">2</cx:pt>
          <cx:pt idx="14020">4</cx:pt>
          <cx:pt idx="14021">5</cx:pt>
          <cx:pt idx="14022">5</cx:pt>
          <cx:pt idx="14023">1</cx:pt>
          <cx:pt idx="14024">1</cx:pt>
          <cx:pt idx="14025">1</cx:pt>
          <cx:pt idx="14026">1</cx:pt>
          <cx:pt idx="14027">5</cx:pt>
          <cx:pt idx="14028">1</cx:pt>
          <cx:pt idx="14029">1</cx:pt>
          <cx:pt idx="14030">2</cx:pt>
          <cx:pt idx="14031">1</cx:pt>
          <cx:pt idx="14032">2</cx:pt>
          <cx:pt idx="14033">3</cx:pt>
          <cx:pt idx="14034">1</cx:pt>
          <cx:pt idx="14035">1</cx:pt>
          <cx:pt idx="14036">4</cx:pt>
          <cx:pt idx="14037">0</cx:pt>
          <cx:pt idx="14038">2</cx:pt>
          <cx:pt idx="14039">2</cx:pt>
          <cx:pt idx="14040">3</cx:pt>
          <cx:pt idx="14041">1</cx:pt>
          <cx:pt idx="14042">2</cx:pt>
          <cx:pt idx="14043">5</cx:pt>
          <cx:pt idx="14044">2</cx:pt>
          <cx:pt idx="14045">4</cx:pt>
          <cx:pt idx="14046">3</cx:pt>
          <cx:pt idx="14047">5</cx:pt>
          <cx:pt idx="14048">3</cx:pt>
          <cx:pt idx="14049">4</cx:pt>
          <cx:pt idx="14050">3</cx:pt>
          <cx:pt idx="14051">1</cx:pt>
          <cx:pt idx="14052">4</cx:pt>
          <cx:pt idx="14053">3</cx:pt>
          <cx:pt idx="14054">2</cx:pt>
          <cx:pt idx="14055">5</cx:pt>
          <cx:pt idx="14056">3</cx:pt>
          <cx:pt idx="14057">3</cx:pt>
          <cx:pt idx="14058">3</cx:pt>
          <cx:pt idx="14059">3</cx:pt>
          <cx:pt idx="14060">2</cx:pt>
          <cx:pt idx="14061">4</cx:pt>
          <cx:pt idx="14062">4</cx:pt>
          <cx:pt idx="14063">1</cx:pt>
          <cx:pt idx="14064">5</cx:pt>
          <cx:pt idx="14065">3</cx:pt>
          <cx:pt idx="14066">4</cx:pt>
          <cx:pt idx="14067">2</cx:pt>
          <cx:pt idx="14068">5</cx:pt>
          <cx:pt idx="14069">4</cx:pt>
          <cx:pt idx="14070">3</cx:pt>
          <cx:pt idx="14071">3</cx:pt>
          <cx:pt idx="14072">2</cx:pt>
          <cx:pt idx="14073">4</cx:pt>
          <cx:pt idx="14074">2</cx:pt>
          <cx:pt idx="14075">4</cx:pt>
          <cx:pt idx="14076">2</cx:pt>
          <cx:pt idx="14077">1</cx:pt>
          <cx:pt idx="14078">3</cx:pt>
          <cx:pt idx="14079">3</cx:pt>
          <cx:pt idx="14080">4</cx:pt>
          <cx:pt idx="14081">5</cx:pt>
          <cx:pt idx="14082">3</cx:pt>
          <cx:pt idx="14083">4</cx:pt>
          <cx:pt idx="14084">1</cx:pt>
          <cx:pt idx="14085">3</cx:pt>
          <cx:pt idx="14086">2</cx:pt>
          <cx:pt idx="14087">4</cx:pt>
          <cx:pt idx="14088">1</cx:pt>
          <cx:pt idx="14089">4</cx:pt>
          <cx:pt idx="14090">3</cx:pt>
          <cx:pt idx="14091">1</cx:pt>
          <cx:pt idx="14092">2</cx:pt>
          <cx:pt idx="14093">1</cx:pt>
          <cx:pt idx="14094">2</cx:pt>
          <cx:pt idx="14095">4</cx:pt>
          <cx:pt idx="14096">2</cx:pt>
          <cx:pt idx="14097">4</cx:pt>
          <cx:pt idx="14098">3</cx:pt>
          <cx:pt idx="14099">3</cx:pt>
          <cx:pt idx="14100">5</cx:pt>
          <cx:pt idx="14101">0</cx:pt>
          <cx:pt idx="14102">1</cx:pt>
          <cx:pt idx="14103">2</cx:pt>
          <cx:pt idx="14104">1</cx:pt>
          <cx:pt idx="14105">4</cx:pt>
          <cx:pt idx="14106">4</cx:pt>
          <cx:pt idx="14107">4</cx:pt>
          <cx:pt idx="14108">5</cx:pt>
          <cx:pt idx="14109">1</cx:pt>
          <cx:pt idx="14110">4</cx:pt>
          <cx:pt idx="14111">3</cx:pt>
          <cx:pt idx="14112">2</cx:pt>
          <cx:pt idx="14113">2</cx:pt>
          <cx:pt idx="14114">5</cx:pt>
          <cx:pt idx="14115">2</cx:pt>
          <cx:pt idx="14116">1</cx:pt>
          <cx:pt idx="14117">1</cx:pt>
          <cx:pt idx="14118">4</cx:pt>
          <cx:pt idx="14119">5</cx:pt>
          <cx:pt idx="14120">2</cx:pt>
          <cx:pt idx="14121">1</cx:pt>
          <cx:pt idx="14122">2</cx:pt>
          <cx:pt idx="14123">1</cx:pt>
          <cx:pt idx="14124">4</cx:pt>
          <cx:pt idx="14125">0</cx:pt>
          <cx:pt idx="14126">0</cx:pt>
          <cx:pt idx="14127">3</cx:pt>
          <cx:pt idx="14128">3</cx:pt>
          <cx:pt idx="14129">5</cx:pt>
          <cx:pt idx="14130">2</cx:pt>
          <cx:pt idx="14131">4</cx:pt>
          <cx:pt idx="14132">5</cx:pt>
          <cx:pt idx="14133">3</cx:pt>
          <cx:pt idx="14134">3</cx:pt>
          <cx:pt idx="14135">5</cx:pt>
          <cx:pt idx="14136">1</cx:pt>
          <cx:pt idx="14137">3</cx:pt>
          <cx:pt idx="14138">2</cx:pt>
          <cx:pt idx="14139">3</cx:pt>
          <cx:pt idx="14140">3</cx:pt>
          <cx:pt idx="14141">3</cx:pt>
          <cx:pt idx="14142">4</cx:pt>
          <cx:pt idx="14143">3</cx:pt>
          <cx:pt idx="14144">4</cx:pt>
          <cx:pt idx="14145">3</cx:pt>
          <cx:pt idx="14146">4</cx:pt>
          <cx:pt idx="14147">2</cx:pt>
          <cx:pt idx="14148">4</cx:pt>
          <cx:pt idx="14149">0</cx:pt>
          <cx:pt idx="14150">4</cx:pt>
          <cx:pt idx="14151">2</cx:pt>
          <cx:pt idx="14152">1</cx:pt>
          <cx:pt idx="14153">0</cx:pt>
          <cx:pt idx="14154">1</cx:pt>
          <cx:pt idx="14155">2</cx:pt>
          <cx:pt idx="14156">5</cx:pt>
          <cx:pt idx="14157">2</cx:pt>
          <cx:pt idx="14158">2</cx:pt>
          <cx:pt idx="14159">3</cx:pt>
          <cx:pt idx="14160">5</cx:pt>
          <cx:pt idx="14161">4</cx:pt>
          <cx:pt idx="14162">2</cx:pt>
          <cx:pt idx="14163">4</cx:pt>
          <cx:pt idx="14164">1</cx:pt>
          <cx:pt idx="14165">3</cx:pt>
          <cx:pt idx="14166">4</cx:pt>
          <cx:pt idx="14167">2</cx:pt>
          <cx:pt idx="14168">3</cx:pt>
          <cx:pt idx="14169">5</cx:pt>
          <cx:pt idx="14170">1</cx:pt>
          <cx:pt idx="14171">5</cx:pt>
          <cx:pt idx="14172">0</cx:pt>
          <cx:pt idx="14173">4</cx:pt>
          <cx:pt idx="14174">4</cx:pt>
          <cx:pt idx="14175">3</cx:pt>
          <cx:pt idx="14176">0</cx:pt>
          <cx:pt idx="14177">4</cx:pt>
          <cx:pt idx="14178">4</cx:pt>
          <cx:pt idx="14179">3</cx:pt>
          <cx:pt idx="14180">4</cx:pt>
          <cx:pt idx="14181">2</cx:pt>
          <cx:pt idx="14182">5</cx:pt>
          <cx:pt idx="14183">4</cx:pt>
          <cx:pt idx="14184">1</cx:pt>
          <cx:pt idx="14185">5</cx:pt>
          <cx:pt idx="14186">5</cx:pt>
          <cx:pt idx="14187">5</cx:pt>
          <cx:pt idx="14188">3</cx:pt>
          <cx:pt idx="14189">5</cx:pt>
          <cx:pt idx="14190">2</cx:pt>
          <cx:pt idx="14191">5</cx:pt>
          <cx:pt idx="14192">4</cx:pt>
          <cx:pt idx="14193">3</cx:pt>
          <cx:pt idx="14194">2</cx:pt>
          <cx:pt idx="14195">3</cx:pt>
          <cx:pt idx="14196">3</cx:pt>
          <cx:pt idx="14197">1</cx:pt>
          <cx:pt idx="14198">1</cx:pt>
          <cx:pt idx="14199">3</cx:pt>
          <cx:pt idx="14200">4</cx:pt>
          <cx:pt idx="14201">2</cx:pt>
          <cx:pt idx="14202">2</cx:pt>
          <cx:pt idx="14203">1</cx:pt>
          <cx:pt idx="14204">4</cx:pt>
          <cx:pt idx="14205">3</cx:pt>
          <cx:pt idx="14206">4</cx:pt>
          <cx:pt idx="14207">3</cx:pt>
          <cx:pt idx="14208">3</cx:pt>
          <cx:pt idx="14209">1</cx:pt>
          <cx:pt idx="14210">1</cx:pt>
          <cx:pt idx="14211">2</cx:pt>
          <cx:pt idx="14212">5</cx:pt>
          <cx:pt idx="14213">1</cx:pt>
          <cx:pt idx="14214">2</cx:pt>
          <cx:pt idx="14215">3</cx:pt>
          <cx:pt idx="14216">2</cx:pt>
          <cx:pt idx="14217">1</cx:pt>
          <cx:pt idx="14218">2</cx:pt>
          <cx:pt idx="14219">5</cx:pt>
          <cx:pt idx="14220">3</cx:pt>
          <cx:pt idx="14221">2</cx:pt>
          <cx:pt idx="14222">2</cx:pt>
          <cx:pt idx="14223">4</cx:pt>
          <cx:pt idx="14224">1</cx:pt>
          <cx:pt idx="14225">0</cx:pt>
          <cx:pt idx="14226">4</cx:pt>
          <cx:pt idx="14227">5</cx:pt>
          <cx:pt idx="14228">1</cx:pt>
          <cx:pt idx="14229">2</cx:pt>
          <cx:pt idx="14230">3</cx:pt>
          <cx:pt idx="14231">2</cx:pt>
          <cx:pt idx="14232">3</cx:pt>
          <cx:pt idx="14233">3</cx:pt>
          <cx:pt idx="14234">5</cx:pt>
          <cx:pt idx="14235">2</cx:pt>
          <cx:pt idx="14236">4</cx:pt>
          <cx:pt idx="14237">1</cx:pt>
          <cx:pt idx="14238">4</cx:pt>
          <cx:pt idx="14239">1</cx:pt>
          <cx:pt idx="14240">5</cx:pt>
          <cx:pt idx="14241">2</cx:pt>
          <cx:pt idx="14242">3</cx:pt>
          <cx:pt idx="14243">3</cx:pt>
          <cx:pt idx="14244">4</cx:pt>
          <cx:pt idx="14245">1</cx:pt>
          <cx:pt idx="14246">5</cx:pt>
          <cx:pt idx="14247">1</cx:pt>
          <cx:pt idx="14248">3</cx:pt>
          <cx:pt idx="14249">1</cx:pt>
          <cx:pt idx="14250">5</cx:pt>
          <cx:pt idx="14251">1</cx:pt>
          <cx:pt idx="14252">3</cx:pt>
          <cx:pt idx="14253">2</cx:pt>
          <cx:pt idx="14254">2</cx:pt>
          <cx:pt idx="14255">4</cx:pt>
          <cx:pt idx="14256">1</cx:pt>
          <cx:pt idx="14257">1</cx:pt>
          <cx:pt idx="14258">2</cx:pt>
          <cx:pt idx="14259">3</cx:pt>
          <cx:pt idx="14260">3</cx:pt>
          <cx:pt idx="14261">5</cx:pt>
          <cx:pt idx="14262">5</cx:pt>
          <cx:pt idx="14263">5</cx:pt>
          <cx:pt idx="14264">4</cx:pt>
          <cx:pt idx="14265">2</cx:pt>
          <cx:pt idx="14266">2</cx:pt>
          <cx:pt idx="14267">1</cx:pt>
          <cx:pt idx="14268">0</cx:pt>
          <cx:pt idx="14269">2</cx:pt>
          <cx:pt idx="14270">2</cx:pt>
          <cx:pt idx="14271">2</cx:pt>
          <cx:pt idx="14272">5</cx:pt>
          <cx:pt idx="14273">5</cx:pt>
          <cx:pt idx="14274">1</cx:pt>
          <cx:pt idx="14275">3</cx:pt>
          <cx:pt idx="14276">5</cx:pt>
          <cx:pt idx="14277">2</cx:pt>
          <cx:pt idx="14278">5</cx:pt>
          <cx:pt idx="14279">1</cx:pt>
          <cx:pt idx="14280">2</cx:pt>
          <cx:pt idx="14281">3</cx:pt>
          <cx:pt idx="14282">5</cx:pt>
          <cx:pt idx="14283">2</cx:pt>
          <cx:pt idx="14284">1</cx:pt>
          <cx:pt idx="14285">5</cx:pt>
          <cx:pt idx="14286">1</cx:pt>
          <cx:pt idx="14287">5</cx:pt>
          <cx:pt idx="14288">2</cx:pt>
          <cx:pt idx="14289">4</cx:pt>
          <cx:pt idx="14290">5</cx:pt>
          <cx:pt idx="14291">4</cx:pt>
          <cx:pt idx="14292">4</cx:pt>
          <cx:pt idx="14293">5</cx:pt>
          <cx:pt idx="14294">4</cx:pt>
          <cx:pt idx="14295">1</cx:pt>
          <cx:pt idx="14296">4</cx:pt>
          <cx:pt idx="14297">2</cx:pt>
          <cx:pt idx="14298">3</cx:pt>
          <cx:pt idx="14299">5</cx:pt>
          <cx:pt idx="14300">3</cx:pt>
          <cx:pt idx="14301">3</cx:pt>
          <cx:pt idx="14302">1</cx:pt>
          <cx:pt idx="14303">2</cx:pt>
          <cx:pt idx="14304">3</cx:pt>
          <cx:pt idx="14305">2</cx:pt>
          <cx:pt idx="14306">3</cx:pt>
          <cx:pt idx="14307">3</cx:pt>
          <cx:pt idx="14308">3</cx:pt>
          <cx:pt idx="14309">5</cx:pt>
          <cx:pt idx="14310">1</cx:pt>
          <cx:pt idx="14311">1</cx:pt>
          <cx:pt idx="14312">3</cx:pt>
          <cx:pt idx="14313">1</cx:pt>
          <cx:pt idx="14314">3</cx:pt>
          <cx:pt idx="14315">1</cx:pt>
          <cx:pt idx="14316">0</cx:pt>
          <cx:pt idx="14317">1</cx:pt>
          <cx:pt idx="14318">3</cx:pt>
          <cx:pt idx="14319">3</cx:pt>
          <cx:pt idx="14320">4</cx:pt>
          <cx:pt idx="14321">1</cx:pt>
          <cx:pt idx="14322">2</cx:pt>
          <cx:pt idx="14323">3</cx:pt>
          <cx:pt idx="14324">3</cx:pt>
          <cx:pt idx="14325">5</cx:pt>
          <cx:pt idx="14326">3</cx:pt>
          <cx:pt idx="14327">3</cx:pt>
          <cx:pt idx="14328">2</cx:pt>
          <cx:pt idx="14329">2</cx:pt>
          <cx:pt idx="14330">4</cx:pt>
          <cx:pt idx="14331">3</cx:pt>
          <cx:pt idx="14332">1</cx:pt>
          <cx:pt idx="14333">3</cx:pt>
          <cx:pt idx="14334">4</cx:pt>
          <cx:pt idx="14335">2</cx:pt>
          <cx:pt idx="14336">4</cx:pt>
          <cx:pt idx="14337">3</cx:pt>
          <cx:pt idx="14338">4</cx:pt>
          <cx:pt idx="14339">1</cx:pt>
          <cx:pt idx="14340">3</cx:pt>
          <cx:pt idx="14341">1</cx:pt>
          <cx:pt idx="14342">2</cx:pt>
          <cx:pt idx="14343">2</cx:pt>
          <cx:pt idx="14344">4</cx:pt>
          <cx:pt idx="14345">1</cx:pt>
          <cx:pt idx="14346">2</cx:pt>
          <cx:pt idx="14347">2</cx:pt>
          <cx:pt idx="14348">4</cx:pt>
          <cx:pt idx="14349">5</cx:pt>
          <cx:pt idx="14350">5</cx:pt>
          <cx:pt idx="14351">1</cx:pt>
          <cx:pt idx="14352">3</cx:pt>
          <cx:pt idx="14353">1</cx:pt>
          <cx:pt idx="14354">2</cx:pt>
          <cx:pt idx="14355">2</cx:pt>
          <cx:pt idx="14356">3</cx:pt>
          <cx:pt idx="14357">1</cx:pt>
          <cx:pt idx="14358">4</cx:pt>
          <cx:pt idx="14359">3</cx:pt>
          <cx:pt idx="14360">4</cx:pt>
          <cx:pt idx="14361">2</cx:pt>
          <cx:pt idx="14362">3</cx:pt>
          <cx:pt idx="14363">4</cx:pt>
          <cx:pt idx="14364">4</cx:pt>
          <cx:pt idx="14365">3</cx:pt>
          <cx:pt idx="14366">5</cx:pt>
          <cx:pt idx="14367">0</cx:pt>
          <cx:pt idx="14368">2</cx:pt>
          <cx:pt idx="14369">4</cx:pt>
          <cx:pt idx="14370">3</cx:pt>
          <cx:pt idx="14371">4</cx:pt>
          <cx:pt idx="14372">3</cx:pt>
          <cx:pt idx="14373">2</cx:pt>
          <cx:pt idx="14374">3</cx:pt>
          <cx:pt idx="14375">5</cx:pt>
          <cx:pt idx="14376">5</cx:pt>
          <cx:pt idx="14377">3</cx:pt>
          <cx:pt idx="14378">3</cx:pt>
          <cx:pt idx="14379">5</cx:pt>
          <cx:pt idx="14380">1</cx:pt>
          <cx:pt idx="14381">5</cx:pt>
          <cx:pt idx="14382">5</cx:pt>
          <cx:pt idx="14383">2</cx:pt>
          <cx:pt idx="14384">3</cx:pt>
          <cx:pt idx="14385">3</cx:pt>
          <cx:pt idx="14386">3</cx:pt>
          <cx:pt idx="14387">5</cx:pt>
          <cx:pt idx="14388">1</cx:pt>
          <cx:pt idx="14389">4</cx:pt>
          <cx:pt idx="14390">5</cx:pt>
          <cx:pt idx="14391">5</cx:pt>
          <cx:pt idx="14392">4</cx:pt>
          <cx:pt idx="14393">3</cx:pt>
          <cx:pt idx="14394">3</cx:pt>
          <cx:pt idx="14395">2</cx:pt>
          <cx:pt idx="14396">2</cx:pt>
          <cx:pt idx="14397">3</cx:pt>
          <cx:pt idx="14398">5</cx:pt>
          <cx:pt idx="14399">5</cx:pt>
          <cx:pt idx="14400">3</cx:pt>
          <cx:pt idx="14401">4</cx:pt>
          <cx:pt idx="14402">3</cx:pt>
          <cx:pt idx="14403">0</cx:pt>
          <cx:pt idx="14404">3</cx:pt>
          <cx:pt idx="14405">3</cx:pt>
          <cx:pt idx="14406">4</cx:pt>
          <cx:pt idx="14407">4</cx:pt>
          <cx:pt idx="14408">1</cx:pt>
          <cx:pt idx="14409">3</cx:pt>
          <cx:pt idx="14410">5</cx:pt>
          <cx:pt idx="14411">1</cx:pt>
          <cx:pt idx="14412">2</cx:pt>
          <cx:pt idx="14413">5</cx:pt>
          <cx:pt idx="14414">3</cx:pt>
          <cx:pt idx="14415">1</cx:pt>
          <cx:pt idx="14416">2</cx:pt>
          <cx:pt idx="14417">4</cx:pt>
          <cx:pt idx="14418">1</cx:pt>
          <cx:pt idx="14419">2</cx:pt>
          <cx:pt idx="14420">4</cx:pt>
          <cx:pt idx="14421">4</cx:pt>
          <cx:pt idx="14422">2</cx:pt>
          <cx:pt idx="14423">3</cx:pt>
          <cx:pt idx="14424">2</cx:pt>
          <cx:pt idx="14425">5</cx:pt>
          <cx:pt idx="14426">2</cx:pt>
          <cx:pt idx="14427">1</cx:pt>
          <cx:pt idx="14428">3</cx:pt>
          <cx:pt idx="14429">4</cx:pt>
          <cx:pt idx="14430">1</cx:pt>
          <cx:pt idx="14431">3</cx:pt>
          <cx:pt idx="14432">1</cx:pt>
          <cx:pt idx="14433">5</cx:pt>
          <cx:pt idx="14434">2</cx:pt>
          <cx:pt idx="14435">1</cx:pt>
          <cx:pt idx="14436">4</cx:pt>
          <cx:pt idx="14437">3</cx:pt>
          <cx:pt idx="14438">2</cx:pt>
          <cx:pt idx="14439">0</cx:pt>
          <cx:pt idx="14440">4</cx:pt>
          <cx:pt idx="14441">1</cx:pt>
          <cx:pt idx="14442">3</cx:pt>
          <cx:pt idx="14443">0</cx:pt>
          <cx:pt idx="14444">2</cx:pt>
          <cx:pt idx="14445">2</cx:pt>
          <cx:pt idx="14446">2</cx:pt>
          <cx:pt idx="14447">1</cx:pt>
          <cx:pt idx="14448">1</cx:pt>
          <cx:pt idx="14449">2</cx:pt>
          <cx:pt idx="14450">2</cx:pt>
          <cx:pt idx="14451">2</cx:pt>
          <cx:pt idx="14452">4</cx:pt>
          <cx:pt idx="14453">3</cx:pt>
          <cx:pt idx="14454">4</cx:pt>
          <cx:pt idx="14455">4</cx:pt>
          <cx:pt idx="14456">3</cx:pt>
          <cx:pt idx="14457">2</cx:pt>
          <cx:pt idx="14458">2</cx:pt>
          <cx:pt idx="14459">3</cx:pt>
          <cx:pt idx="14460">3</cx:pt>
          <cx:pt idx="14461">1</cx:pt>
          <cx:pt idx="14462">4</cx:pt>
          <cx:pt idx="14463">2</cx:pt>
          <cx:pt idx="14464">2</cx:pt>
          <cx:pt idx="14465">0</cx:pt>
          <cx:pt idx="14466">2</cx:pt>
          <cx:pt idx="14467">4</cx:pt>
          <cx:pt idx="14468">4</cx:pt>
          <cx:pt idx="14469">5</cx:pt>
          <cx:pt idx="14470">1</cx:pt>
          <cx:pt idx="14471">3</cx:pt>
          <cx:pt idx="14472">2</cx:pt>
          <cx:pt idx="14473">3</cx:pt>
          <cx:pt idx="14474">3</cx:pt>
          <cx:pt idx="14475">2</cx:pt>
          <cx:pt idx="14476">3</cx:pt>
          <cx:pt idx="14477">2</cx:pt>
          <cx:pt idx="14478">2</cx:pt>
          <cx:pt idx="14479">3</cx:pt>
          <cx:pt idx="14480">2</cx:pt>
          <cx:pt idx="14481">2</cx:pt>
          <cx:pt idx="14482">5</cx:pt>
          <cx:pt idx="14483">2</cx:pt>
          <cx:pt idx="14484">2</cx:pt>
          <cx:pt idx="14485">5</cx:pt>
          <cx:pt idx="14486">1</cx:pt>
          <cx:pt idx="14487">5</cx:pt>
          <cx:pt idx="14488">3</cx:pt>
          <cx:pt idx="14489">0</cx:pt>
          <cx:pt idx="14490">5</cx:pt>
          <cx:pt idx="14491">2</cx:pt>
          <cx:pt idx="14492">4</cx:pt>
          <cx:pt idx="14493">4</cx:pt>
          <cx:pt idx="14494">0</cx:pt>
          <cx:pt idx="14495">5</cx:pt>
          <cx:pt idx="14496">1</cx:pt>
          <cx:pt idx="14497">2</cx:pt>
          <cx:pt idx="14498">4</cx:pt>
          <cx:pt idx="14499">0</cx:pt>
          <cx:pt idx="14500">3</cx:pt>
          <cx:pt idx="14501">4</cx:pt>
          <cx:pt idx="14502">2</cx:pt>
          <cx:pt idx="14503">3</cx:pt>
          <cx:pt idx="14504">3</cx:pt>
          <cx:pt idx="14505">3</cx:pt>
          <cx:pt idx="14506">3</cx:pt>
          <cx:pt idx="14507">5</cx:pt>
          <cx:pt idx="14508">3</cx:pt>
          <cx:pt idx="14509">5</cx:pt>
          <cx:pt idx="14510">4</cx:pt>
          <cx:pt idx="14511">4</cx:pt>
          <cx:pt idx="14512">3</cx:pt>
          <cx:pt idx="14513">5</cx:pt>
          <cx:pt idx="14514">1</cx:pt>
          <cx:pt idx="14515">4</cx:pt>
          <cx:pt idx="14516">4</cx:pt>
          <cx:pt idx="14517">0</cx:pt>
          <cx:pt idx="14518">2</cx:pt>
          <cx:pt idx="14519">5</cx:pt>
          <cx:pt idx="14520">1</cx:pt>
          <cx:pt idx="14521">1</cx:pt>
          <cx:pt idx="14522">2</cx:pt>
          <cx:pt idx="14523">5</cx:pt>
          <cx:pt idx="14524">1</cx:pt>
          <cx:pt idx="14525">3</cx:pt>
          <cx:pt idx="14526">5</cx:pt>
          <cx:pt idx="14527">1</cx:pt>
          <cx:pt idx="14528">4</cx:pt>
          <cx:pt idx="14529">5</cx:pt>
          <cx:pt idx="14530">5</cx:pt>
          <cx:pt idx="14531">4</cx:pt>
          <cx:pt idx="14532">1</cx:pt>
          <cx:pt idx="14533">4</cx:pt>
          <cx:pt idx="14534">4</cx:pt>
          <cx:pt idx="14535">5</cx:pt>
          <cx:pt idx="14536">1</cx:pt>
          <cx:pt idx="14537">2</cx:pt>
          <cx:pt idx="14538">3</cx:pt>
          <cx:pt idx="14539">2</cx:pt>
          <cx:pt idx="14540">4</cx:pt>
          <cx:pt idx="14541">2</cx:pt>
          <cx:pt idx="14542">1</cx:pt>
          <cx:pt idx="14543">5</cx:pt>
          <cx:pt idx="14544">5</cx:pt>
          <cx:pt idx="14545">3</cx:pt>
          <cx:pt idx="14546">3</cx:pt>
          <cx:pt idx="14547">2</cx:pt>
          <cx:pt idx="14548">0</cx:pt>
          <cx:pt idx="14549">5</cx:pt>
          <cx:pt idx="14550">4</cx:pt>
          <cx:pt idx="14551">1</cx:pt>
          <cx:pt idx="14552">0</cx:pt>
          <cx:pt idx="14553">1</cx:pt>
          <cx:pt idx="14554">5</cx:pt>
          <cx:pt idx="14555">1</cx:pt>
          <cx:pt idx="14556">2</cx:pt>
          <cx:pt idx="14557">2</cx:pt>
          <cx:pt idx="14558">1</cx:pt>
          <cx:pt idx="14559">3</cx:pt>
          <cx:pt idx="14560">4</cx:pt>
          <cx:pt idx="14561">4</cx:pt>
          <cx:pt idx="14562">5</cx:pt>
          <cx:pt idx="14563">2</cx:pt>
          <cx:pt idx="14564">5</cx:pt>
          <cx:pt idx="14565">1</cx:pt>
          <cx:pt idx="14566">4</cx:pt>
          <cx:pt idx="14567">5</cx:pt>
          <cx:pt idx="14568">2</cx:pt>
          <cx:pt idx="14569">1</cx:pt>
          <cx:pt idx="14570">1</cx:pt>
          <cx:pt idx="14571">3</cx:pt>
          <cx:pt idx="14572">1</cx:pt>
          <cx:pt idx="14573">3</cx:pt>
          <cx:pt idx="14574">3</cx:pt>
          <cx:pt idx="14575">3</cx:pt>
          <cx:pt idx="14576">2</cx:pt>
          <cx:pt idx="14577">4</cx:pt>
          <cx:pt idx="14578">3</cx:pt>
          <cx:pt idx="14579">4</cx:pt>
          <cx:pt idx="14580">2</cx:pt>
          <cx:pt idx="14581">3</cx:pt>
          <cx:pt idx="14582">0</cx:pt>
          <cx:pt idx="14583">1</cx:pt>
          <cx:pt idx="14584">2</cx:pt>
          <cx:pt idx="14585">1</cx:pt>
          <cx:pt idx="14586">5</cx:pt>
          <cx:pt idx="14587">2</cx:pt>
          <cx:pt idx="14588">2</cx:pt>
          <cx:pt idx="14589">2</cx:pt>
          <cx:pt idx="14590">3</cx:pt>
          <cx:pt idx="14591">4</cx:pt>
          <cx:pt idx="14592">2</cx:pt>
          <cx:pt idx="14593">2</cx:pt>
          <cx:pt idx="14594">2</cx:pt>
          <cx:pt idx="14595">4</cx:pt>
          <cx:pt idx="14596">2</cx:pt>
          <cx:pt idx="14597">4</cx:pt>
          <cx:pt idx="14598">0</cx:pt>
          <cx:pt idx="14599">3</cx:pt>
          <cx:pt idx="14600">2</cx:pt>
          <cx:pt idx="14601">1</cx:pt>
          <cx:pt idx="14602">2</cx:pt>
          <cx:pt idx="14603">1</cx:pt>
          <cx:pt idx="14604">2</cx:pt>
          <cx:pt idx="14605">4</cx:pt>
          <cx:pt idx="14606">1</cx:pt>
          <cx:pt idx="14607">2</cx:pt>
          <cx:pt idx="14608">0</cx:pt>
          <cx:pt idx="14609">3</cx:pt>
          <cx:pt idx="14610">3</cx:pt>
          <cx:pt idx="14611">2</cx:pt>
          <cx:pt idx="14612">2</cx:pt>
          <cx:pt idx="14613">1</cx:pt>
          <cx:pt idx="14614">1</cx:pt>
          <cx:pt idx="14615">0</cx:pt>
          <cx:pt idx="14616">4</cx:pt>
          <cx:pt idx="14617">4</cx:pt>
          <cx:pt idx="14618">4</cx:pt>
          <cx:pt idx="14619">2</cx:pt>
          <cx:pt idx="14620">3</cx:pt>
          <cx:pt idx="14621">5</cx:pt>
          <cx:pt idx="14622">5</cx:pt>
          <cx:pt idx="14623">5</cx:pt>
          <cx:pt idx="14624">0</cx:pt>
          <cx:pt idx="14625">5</cx:pt>
          <cx:pt idx="14626">4</cx:pt>
          <cx:pt idx="14627">2</cx:pt>
          <cx:pt idx="14628">5</cx:pt>
          <cx:pt idx="14629">2</cx:pt>
          <cx:pt idx="14630">3</cx:pt>
          <cx:pt idx="14631">1</cx:pt>
          <cx:pt idx="14632">5</cx:pt>
          <cx:pt idx="14633">3</cx:pt>
          <cx:pt idx="14634">1</cx:pt>
          <cx:pt idx="14635">1</cx:pt>
          <cx:pt idx="14636">5</cx:pt>
          <cx:pt idx="14637">1</cx:pt>
          <cx:pt idx="14638">3</cx:pt>
          <cx:pt idx="14639">1</cx:pt>
          <cx:pt idx="14640">3</cx:pt>
          <cx:pt idx="14641">3</cx:pt>
          <cx:pt idx="14642">3</cx:pt>
          <cx:pt idx="14643">3</cx:pt>
          <cx:pt idx="14644">5</cx:pt>
          <cx:pt idx="14645">3</cx:pt>
          <cx:pt idx="14646">4</cx:pt>
          <cx:pt idx="14647">1</cx:pt>
          <cx:pt idx="14648">3</cx:pt>
          <cx:pt idx="14649">2</cx:pt>
          <cx:pt idx="14650">3</cx:pt>
          <cx:pt idx="14651">0</cx:pt>
          <cx:pt idx="14652">4</cx:pt>
          <cx:pt idx="14653">1</cx:pt>
          <cx:pt idx="14654">2</cx:pt>
          <cx:pt idx="14655">2</cx:pt>
          <cx:pt idx="14656">2</cx:pt>
          <cx:pt idx="14657">5</cx:pt>
          <cx:pt idx="14658">3</cx:pt>
          <cx:pt idx="14659">5</cx:pt>
          <cx:pt idx="14660">3</cx:pt>
          <cx:pt idx="14661">4</cx:pt>
          <cx:pt idx="14662">0</cx:pt>
          <cx:pt idx="14663">1</cx:pt>
          <cx:pt idx="14664">1</cx:pt>
          <cx:pt idx="14665">5</cx:pt>
          <cx:pt idx="14666">2</cx:pt>
          <cx:pt idx="14667">4</cx:pt>
          <cx:pt idx="14668">3</cx:pt>
          <cx:pt idx="14669">5</cx:pt>
          <cx:pt idx="14670">1</cx:pt>
          <cx:pt idx="14671">5</cx:pt>
          <cx:pt idx="14672">2</cx:pt>
          <cx:pt idx="14673">1</cx:pt>
          <cx:pt idx="14674">4</cx:pt>
          <cx:pt idx="14675">2</cx:pt>
          <cx:pt idx="14676">3</cx:pt>
          <cx:pt idx="14677">2</cx:pt>
          <cx:pt idx="14678">3</cx:pt>
          <cx:pt idx="14679">4</cx:pt>
          <cx:pt idx="14680">5</cx:pt>
          <cx:pt idx="14681">5</cx:pt>
          <cx:pt idx="14682">3</cx:pt>
          <cx:pt idx="14683">3</cx:pt>
          <cx:pt idx="14684">4</cx:pt>
          <cx:pt idx="14685">2</cx:pt>
          <cx:pt idx="14686">2</cx:pt>
          <cx:pt idx="14687">3</cx:pt>
          <cx:pt idx="14688">5</cx:pt>
          <cx:pt idx="14689">3</cx:pt>
          <cx:pt idx="14690">2</cx:pt>
          <cx:pt idx="14691">4</cx:pt>
          <cx:pt idx="14692">4</cx:pt>
          <cx:pt idx="14693">1</cx:pt>
          <cx:pt idx="14694">3</cx:pt>
          <cx:pt idx="14695">3</cx:pt>
          <cx:pt idx="14696">1</cx:pt>
          <cx:pt idx="14697">1</cx:pt>
          <cx:pt idx="14698">5</cx:pt>
          <cx:pt idx="14699">5</cx:pt>
          <cx:pt idx="14700">3</cx:pt>
          <cx:pt idx="14701">4</cx:pt>
          <cx:pt idx="14702">3</cx:pt>
          <cx:pt idx="14703">4</cx:pt>
          <cx:pt idx="14704">3</cx:pt>
          <cx:pt idx="14705">5</cx:pt>
          <cx:pt idx="14706">3</cx:pt>
          <cx:pt idx="14707">3</cx:pt>
          <cx:pt idx="14708">1</cx:pt>
          <cx:pt idx="14709">4</cx:pt>
          <cx:pt idx="14710">5</cx:pt>
          <cx:pt idx="14711">4</cx:pt>
          <cx:pt idx="14712">2</cx:pt>
          <cx:pt idx="14713">4</cx:pt>
          <cx:pt idx="14714">0</cx:pt>
          <cx:pt idx="14715">4</cx:pt>
          <cx:pt idx="14716">2</cx:pt>
          <cx:pt idx="14717">3</cx:pt>
          <cx:pt idx="14718">2</cx:pt>
          <cx:pt idx="14719">2</cx:pt>
          <cx:pt idx="14720">1</cx:pt>
          <cx:pt idx="14721">5</cx:pt>
          <cx:pt idx="14722">4</cx:pt>
          <cx:pt idx="14723">3</cx:pt>
          <cx:pt idx="14724">5</cx:pt>
          <cx:pt idx="14725">5</cx:pt>
          <cx:pt idx="14726">0</cx:pt>
          <cx:pt idx="14727">3</cx:pt>
          <cx:pt idx="14728">1</cx:pt>
          <cx:pt idx="14729">2</cx:pt>
          <cx:pt idx="14730">3</cx:pt>
          <cx:pt idx="14731">3</cx:pt>
          <cx:pt idx="14732">0</cx:pt>
          <cx:pt idx="14733">5</cx:pt>
          <cx:pt idx="14734">4</cx:pt>
          <cx:pt idx="14735">0</cx:pt>
          <cx:pt idx="14736">4</cx:pt>
          <cx:pt idx="14737">5</cx:pt>
          <cx:pt idx="14738">2</cx:pt>
          <cx:pt idx="14739">4</cx:pt>
          <cx:pt idx="14740">2</cx:pt>
          <cx:pt idx="14741">0</cx:pt>
          <cx:pt idx="14742">5</cx:pt>
          <cx:pt idx="14743">2</cx:pt>
          <cx:pt idx="14744">4</cx:pt>
          <cx:pt idx="14745">2</cx:pt>
          <cx:pt idx="14746">1</cx:pt>
          <cx:pt idx="14747">1</cx:pt>
          <cx:pt idx="14748">4</cx:pt>
          <cx:pt idx="14749">3</cx:pt>
          <cx:pt idx="14750">2</cx:pt>
          <cx:pt idx="14751">1</cx:pt>
          <cx:pt idx="14752">1</cx:pt>
          <cx:pt idx="14753">3</cx:pt>
          <cx:pt idx="14754">3</cx:pt>
          <cx:pt idx="14755">2</cx:pt>
          <cx:pt idx="14756">0</cx:pt>
          <cx:pt idx="14757">4</cx:pt>
          <cx:pt idx="14758">5</cx:pt>
          <cx:pt idx="14759">2</cx:pt>
          <cx:pt idx="14760">1</cx:pt>
          <cx:pt idx="14761">2</cx:pt>
          <cx:pt idx="14762">1</cx:pt>
          <cx:pt idx="14763">3</cx:pt>
          <cx:pt idx="14764">1</cx:pt>
          <cx:pt idx="14765">4</cx:pt>
          <cx:pt idx="14766">1</cx:pt>
          <cx:pt idx="14767">1</cx:pt>
          <cx:pt idx="14768">1</cx:pt>
          <cx:pt idx="14769">4</cx:pt>
          <cx:pt idx="14770">5</cx:pt>
          <cx:pt idx="14771">1</cx:pt>
          <cx:pt idx="14772">3</cx:pt>
          <cx:pt idx="14773">3</cx:pt>
          <cx:pt idx="14774">5</cx:pt>
          <cx:pt idx="14775">3</cx:pt>
          <cx:pt idx="14776">1</cx:pt>
          <cx:pt idx="14777">4</cx:pt>
          <cx:pt idx="14778">5</cx:pt>
          <cx:pt idx="14779">1</cx:pt>
          <cx:pt idx="14780">4</cx:pt>
          <cx:pt idx="14781">2</cx:pt>
          <cx:pt idx="14782">4</cx:pt>
          <cx:pt idx="14783">1</cx:pt>
          <cx:pt idx="14784">5</cx:pt>
          <cx:pt idx="14785">1</cx:pt>
          <cx:pt idx="14786">5</cx:pt>
          <cx:pt idx="14787">5</cx:pt>
          <cx:pt idx="14788">4</cx:pt>
          <cx:pt idx="14789">1</cx:pt>
          <cx:pt idx="14790">4</cx:pt>
          <cx:pt idx="14791">3</cx:pt>
          <cx:pt idx="14792">3</cx:pt>
          <cx:pt idx="14793">2</cx:pt>
          <cx:pt idx="14794">4</cx:pt>
          <cx:pt idx="14795">1</cx:pt>
          <cx:pt idx="14796">2</cx:pt>
          <cx:pt idx="14797">5</cx:pt>
          <cx:pt idx="14798">3</cx:pt>
          <cx:pt idx="14799">2</cx:pt>
          <cx:pt idx="14800">2</cx:pt>
          <cx:pt idx="14801">1</cx:pt>
          <cx:pt idx="14802">3</cx:pt>
          <cx:pt idx="14803">3</cx:pt>
          <cx:pt idx="14804">5</cx:pt>
          <cx:pt idx="14805">2</cx:pt>
          <cx:pt idx="14806">1</cx:pt>
          <cx:pt idx="14807">4</cx:pt>
          <cx:pt idx="14808">5</cx:pt>
          <cx:pt idx="14809">1</cx:pt>
          <cx:pt idx="14810">4</cx:pt>
          <cx:pt idx="14811">5</cx:pt>
          <cx:pt idx="14812">2</cx:pt>
          <cx:pt idx="14813">5</cx:pt>
          <cx:pt idx="14814">2</cx:pt>
          <cx:pt idx="14815">0</cx:pt>
          <cx:pt idx="14816">5</cx:pt>
          <cx:pt idx="14817">2</cx:pt>
          <cx:pt idx="14818">1</cx:pt>
          <cx:pt idx="14819">2</cx:pt>
          <cx:pt idx="14820">3</cx:pt>
          <cx:pt idx="14821">0</cx:pt>
          <cx:pt idx="14822">4</cx:pt>
          <cx:pt idx="14823">2</cx:pt>
          <cx:pt idx="14824">5</cx:pt>
          <cx:pt idx="14825">2</cx:pt>
          <cx:pt idx="14826">2</cx:pt>
          <cx:pt idx="14827">4</cx:pt>
          <cx:pt idx="14828">5</cx:pt>
          <cx:pt idx="14829">3</cx:pt>
          <cx:pt idx="14830">5</cx:pt>
          <cx:pt idx="14831">3</cx:pt>
          <cx:pt idx="14832">4</cx:pt>
          <cx:pt idx="14833">2</cx:pt>
          <cx:pt idx="14834">3</cx:pt>
          <cx:pt idx="14835">2</cx:pt>
          <cx:pt idx="14836">3</cx:pt>
          <cx:pt idx="14837">1</cx:pt>
          <cx:pt idx="14838">3</cx:pt>
          <cx:pt idx="14839">3</cx:pt>
          <cx:pt idx="14840">2</cx:pt>
          <cx:pt idx="14841">1</cx:pt>
          <cx:pt idx="14842">5</cx:pt>
          <cx:pt idx="14843">5</cx:pt>
          <cx:pt idx="14844">4</cx:pt>
          <cx:pt idx="14845">0</cx:pt>
          <cx:pt idx="14846">3</cx:pt>
          <cx:pt idx="14847">1</cx:pt>
          <cx:pt idx="14848">4</cx:pt>
          <cx:pt idx="14849">3</cx:pt>
          <cx:pt idx="14850">3</cx:pt>
          <cx:pt idx="14851">1</cx:pt>
          <cx:pt idx="14852">4</cx:pt>
          <cx:pt idx="14853">1</cx:pt>
          <cx:pt idx="14854">4</cx:pt>
          <cx:pt idx="14855">4</cx:pt>
          <cx:pt idx="14856">1</cx:pt>
          <cx:pt idx="14857">5</cx:pt>
          <cx:pt idx="14858">4</cx:pt>
          <cx:pt idx="14859">4</cx:pt>
          <cx:pt idx="14860">4</cx:pt>
          <cx:pt idx="14861">3</cx:pt>
          <cx:pt idx="14862">5</cx:pt>
          <cx:pt idx="14863">5</cx:pt>
          <cx:pt idx="14864">3</cx:pt>
          <cx:pt idx="14865">2</cx:pt>
          <cx:pt idx="14866">4</cx:pt>
          <cx:pt idx="14867">3</cx:pt>
          <cx:pt idx="14868">3</cx:pt>
          <cx:pt idx="14869">2</cx:pt>
          <cx:pt idx="14870">5</cx:pt>
          <cx:pt idx="14871">3</cx:pt>
          <cx:pt idx="14872">1</cx:pt>
          <cx:pt idx="14873">2</cx:pt>
          <cx:pt idx="14874">4</cx:pt>
          <cx:pt idx="14875">5</cx:pt>
          <cx:pt idx="14876">3</cx:pt>
          <cx:pt idx="14877">2</cx:pt>
          <cx:pt idx="14878">5</cx:pt>
          <cx:pt idx="14879">1</cx:pt>
          <cx:pt idx="14880">2</cx:pt>
          <cx:pt idx="14881">3</cx:pt>
          <cx:pt idx="14882">5</cx:pt>
          <cx:pt idx="14883">4</cx:pt>
          <cx:pt idx="14884">1</cx:pt>
          <cx:pt idx="14885">0</cx:pt>
          <cx:pt idx="14886">2</cx:pt>
          <cx:pt idx="14887">4</cx:pt>
          <cx:pt idx="14888">5</cx:pt>
          <cx:pt idx="14889">3</cx:pt>
          <cx:pt idx="14890">4</cx:pt>
          <cx:pt idx="14891">2</cx:pt>
          <cx:pt idx="14892">5</cx:pt>
          <cx:pt idx="14893">3</cx:pt>
          <cx:pt idx="14894">5</cx:pt>
          <cx:pt idx="14895">4</cx:pt>
          <cx:pt idx="14896">1</cx:pt>
          <cx:pt idx="14897">4</cx:pt>
          <cx:pt idx="14898">3</cx:pt>
          <cx:pt idx="14899">3</cx:pt>
          <cx:pt idx="14900">3</cx:pt>
          <cx:pt idx="14901">1</cx:pt>
          <cx:pt idx="14902">3</cx:pt>
          <cx:pt idx="14903">3</cx:pt>
          <cx:pt idx="14904">1</cx:pt>
          <cx:pt idx="14905">3</cx:pt>
          <cx:pt idx="14906">0</cx:pt>
          <cx:pt idx="14907">5</cx:pt>
          <cx:pt idx="14908">1</cx:pt>
          <cx:pt idx="14909">1</cx:pt>
          <cx:pt idx="14910">5</cx:pt>
          <cx:pt idx="14911">2</cx:pt>
          <cx:pt idx="14912">3</cx:pt>
          <cx:pt idx="14913">3</cx:pt>
          <cx:pt idx="14914">4</cx:pt>
          <cx:pt idx="14915">4</cx:pt>
          <cx:pt idx="14916">2</cx:pt>
          <cx:pt idx="14917">3</cx:pt>
          <cx:pt idx="14918">5</cx:pt>
          <cx:pt idx="14919">1</cx:pt>
          <cx:pt idx="14920">4</cx:pt>
          <cx:pt idx="14921">3</cx:pt>
          <cx:pt idx="14922">5</cx:pt>
          <cx:pt idx="14923">1</cx:pt>
          <cx:pt idx="14924">5</cx:pt>
          <cx:pt idx="14925">2</cx:pt>
          <cx:pt idx="14926">2</cx:pt>
          <cx:pt idx="14927">3</cx:pt>
          <cx:pt idx="14928">2</cx:pt>
          <cx:pt idx="14929">5</cx:pt>
          <cx:pt idx="14930">4</cx:pt>
          <cx:pt idx="14931">1</cx:pt>
          <cx:pt idx="14932">4</cx:pt>
          <cx:pt idx="14933">1</cx:pt>
          <cx:pt idx="14934">2</cx:pt>
          <cx:pt idx="14935">3</cx:pt>
          <cx:pt idx="14936">4</cx:pt>
          <cx:pt idx="14937">5</cx:pt>
          <cx:pt idx="14938">1</cx:pt>
          <cx:pt idx="14939">2</cx:pt>
          <cx:pt idx="14940">2</cx:pt>
          <cx:pt idx="14941">2</cx:pt>
          <cx:pt idx="14942">3</cx:pt>
          <cx:pt idx="14943">4</cx:pt>
          <cx:pt idx="14944">2</cx:pt>
          <cx:pt idx="14945">5</cx:pt>
          <cx:pt idx="14946">3</cx:pt>
          <cx:pt idx="14947">2</cx:pt>
          <cx:pt idx="14948">0</cx:pt>
          <cx:pt idx="14949">1</cx:pt>
          <cx:pt idx="14950">4</cx:pt>
          <cx:pt idx="14951">3</cx:pt>
          <cx:pt idx="14952">0</cx:pt>
          <cx:pt idx="14953">3</cx:pt>
          <cx:pt idx="14954">5</cx:pt>
          <cx:pt idx="14955">1</cx:pt>
          <cx:pt idx="14956">4</cx:pt>
          <cx:pt idx="14957">3</cx:pt>
          <cx:pt idx="14958">4</cx:pt>
          <cx:pt idx="14959">5</cx:pt>
          <cx:pt idx="14960">2</cx:pt>
          <cx:pt idx="14961">5</cx:pt>
          <cx:pt idx="14962">3</cx:pt>
          <cx:pt idx="14963">2</cx:pt>
          <cx:pt idx="14964">2</cx:pt>
          <cx:pt idx="14965">1</cx:pt>
          <cx:pt idx="14966">1</cx:pt>
          <cx:pt idx="14967">4</cx:pt>
          <cx:pt idx="14968">1</cx:pt>
          <cx:pt idx="14969">3</cx:pt>
          <cx:pt idx="14970">5</cx:pt>
          <cx:pt idx="14971">5</cx:pt>
          <cx:pt idx="14972">1</cx:pt>
          <cx:pt idx="14973">4</cx:pt>
          <cx:pt idx="14974">5</cx:pt>
          <cx:pt idx="14975">2</cx:pt>
          <cx:pt idx="14976">3</cx:pt>
          <cx:pt idx="14977">1</cx:pt>
          <cx:pt idx="14978">3</cx:pt>
          <cx:pt idx="14979">2</cx:pt>
          <cx:pt idx="14980">1</cx:pt>
          <cx:pt idx="14981">1</cx:pt>
          <cx:pt idx="14982">4</cx:pt>
          <cx:pt idx="14983">1</cx:pt>
          <cx:pt idx="14984">3</cx:pt>
          <cx:pt idx="14985">2</cx:pt>
          <cx:pt idx="14986">4</cx:pt>
          <cx:pt idx="14987">3</cx:pt>
          <cx:pt idx="14988">2</cx:pt>
          <cx:pt idx="14989">3</cx:pt>
          <cx:pt idx="14990">2</cx:pt>
          <cx:pt idx="14991">1</cx:pt>
          <cx:pt idx="14992">3</cx:pt>
          <cx:pt idx="14993">4</cx:pt>
          <cx:pt idx="14994">5</cx:pt>
          <cx:pt idx="14995">3</cx:pt>
          <cx:pt idx="14996">2</cx:pt>
          <cx:pt idx="14997">5</cx:pt>
          <cx:pt idx="14998">2</cx:pt>
          <cx:pt idx="14999">2</cx:pt>
          <cx:pt idx="15000">3</cx:pt>
          <cx:pt idx="15001">2</cx:pt>
          <cx:pt idx="15002">1</cx:pt>
          <cx:pt idx="15003">1</cx:pt>
          <cx:pt idx="15004">1</cx:pt>
          <cx:pt idx="15005">5</cx:pt>
          <cx:pt idx="15006">5</cx:pt>
          <cx:pt idx="15007">5</cx:pt>
          <cx:pt idx="15008">5</cx:pt>
          <cx:pt idx="15009">3</cx:pt>
          <cx:pt idx="15010">2</cx:pt>
          <cx:pt idx="15011">3</cx:pt>
          <cx:pt idx="15012">1</cx:pt>
          <cx:pt idx="15013">2</cx:pt>
          <cx:pt idx="15014">3</cx:pt>
          <cx:pt idx="15015">3</cx:pt>
          <cx:pt idx="15016">0</cx:pt>
          <cx:pt idx="15017">2</cx:pt>
          <cx:pt idx="15018">3</cx:pt>
          <cx:pt idx="15019">1</cx:pt>
          <cx:pt idx="15020">1</cx:pt>
          <cx:pt idx="15021">4</cx:pt>
          <cx:pt idx="15022">3</cx:pt>
          <cx:pt idx="15023">3</cx:pt>
          <cx:pt idx="15024">5</cx:pt>
          <cx:pt idx="15025">5</cx:pt>
          <cx:pt idx="15026">3</cx:pt>
          <cx:pt idx="15027">1</cx:pt>
          <cx:pt idx="15028">5</cx:pt>
          <cx:pt idx="15029">5</cx:pt>
          <cx:pt idx="15030">3</cx:pt>
          <cx:pt idx="15031">4</cx:pt>
          <cx:pt idx="15032">1</cx:pt>
          <cx:pt idx="15033">3</cx:pt>
          <cx:pt idx="15034">2</cx:pt>
          <cx:pt idx="15035">0</cx:pt>
          <cx:pt idx="15036">4</cx:pt>
          <cx:pt idx="15037">4</cx:pt>
          <cx:pt idx="15038">4</cx:pt>
          <cx:pt idx="15039">2</cx:pt>
          <cx:pt idx="15040">2</cx:pt>
          <cx:pt idx="15041">2</cx:pt>
          <cx:pt idx="15042">4</cx:pt>
          <cx:pt idx="15043">3</cx:pt>
          <cx:pt idx="15044">4</cx:pt>
          <cx:pt idx="15045">5</cx:pt>
          <cx:pt idx="15046">4</cx:pt>
          <cx:pt idx="15047">2</cx:pt>
          <cx:pt idx="15048">2</cx:pt>
          <cx:pt idx="15049">2</cx:pt>
          <cx:pt idx="15050">1</cx:pt>
          <cx:pt idx="15051">1</cx:pt>
          <cx:pt idx="15052">4</cx:pt>
          <cx:pt idx="15053">5</cx:pt>
          <cx:pt idx="15054">5</cx:pt>
          <cx:pt idx="15055">2</cx:pt>
          <cx:pt idx="15056">1</cx:pt>
          <cx:pt idx="15057">3</cx:pt>
          <cx:pt idx="15058">2</cx:pt>
          <cx:pt idx="15059">0</cx:pt>
          <cx:pt idx="15060">3</cx:pt>
          <cx:pt idx="15061">2</cx:pt>
          <cx:pt idx="15062">2</cx:pt>
          <cx:pt idx="15063">5</cx:pt>
          <cx:pt idx="15064">3</cx:pt>
          <cx:pt idx="15065">3</cx:pt>
          <cx:pt idx="15066">4</cx:pt>
          <cx:pt idx="15067">3</cx:pt>
          <cx:pt idx="15068">2</cx:pt>
          <cx:pt idx="15069">3</cx:pt>
          <cx:pt idx="15070">5</cx:pt>
          <cx:pt idx="15071">2</cx:pt>
          <cx:pt idx="15072">3</cx:pt>
          <cx:pt idx="15073">2</cx:pt>
          <cx:pt idx="15074">2</cx:pt>
          <cx:pt idx="15075">2</cx:pt>
          <cx:pt idx="15076">4</cx:pt>
          <cx:pt idx="15077">1</cx:pt>
          <cx:pt idx="15078">4</cx:pt>
          <cx:pt idx="15079">1</cx:pt>
          <cx:pt idx="15080">5</cx:pt>
          <cx:pt idx="15081">1</cx:pt>
          <cx:pt idx="15082">2</cx:pt>
          <cx:pt idx="15083">4</cx:pt>
          <cx:pt idx="15084">5</cx:pt>
          <cx:pt idx="15085">3</cx:pt>
          <cx:pt idx="15086">3</cx:pt>
          <cx:pt idx="15087">0</cx:pt>
          <cx:pt idx="15088">3</cx:pt>
          <cx:pt idx="15089">5</cx:pt>
          <cx:pt idx="15090">5</cx:pt>
          <cx:pt idx="15091">3</cx:pt>
          <cx:pt idx="15092">3</cx:pt>
          <cx:pt idx="15093">3</cx:pt>
          <cx:pt idx="15094">4</cx:pt>
          <cx:pt idx="15095">2</cx:pt>
          <cx:pt idx="15096">2</cx:pt>
          <cx:pt idx="15097">1</cx:pt>
          <cx:pt idx="15098">3</cx:pt>
          <cx:pt idx="15099">2</cx:pt>
          <cx:pt idx="15100">0</cx:pt>
          <cx:pt idx="15101">0</cx:pt>
          <cx:pt idx="15102">2</cx:pt>
          <cx:pt idx="15103">1</cx:pt>
          <cx:pt idx="15104">3</cx:pt>
          <cx:pt idx="15105">2</cx:pt>
          <cx:pt idx="15106">2</cx:pt>
          <cx:pt idx="15107">0</cx:pt>
          <cx:pt idx="15108">1</cx:pt>
          <cx:pt idx="15109">4</cx:pt>
          <cx:pt idx="15110">1</cx:pt>
          <cx:pt idx="15111">2</cx:pt>
          <cx:pt idx="15112">3</cx:pt>
          <cx:pt idx="15113">3</cx:pt>
          <cx:pt idx="15114">5</cx:pt>
          <cx:pt idx="15115">1</cx:pt>
          <cx:pt idx="15116">2</cx:pt>
          <cx:pt idx="15117">3</cx:pt>
          <cx:pt idx="15118">2</cx:pt>
          <cx:pt idx="15119">1</cx:pt>
          <cx:pt idx="15120">2</cx:pt>
          <cx:pt idx="15121">4</cx:pt>
          <cx:pt idx="15122">4</cx:pt>
          <cx:pt idx="15123">3</cx:pt>
          <cx:pt idx="15124">3</cx:pt>
          <cx:pt idx="15125">4</cx:pt>
          <cx:pt idx="15126">3</cx:pt>
          <cx:pt idx="15127">4</cx:pt>
          <cx:pt idx="15128">2</cx:pt>
          <cx:pt idx="15129">3</cx:pt>
          <cx:pt idx="15130">3</cx:pt>
          <cx:pt idx="15131">2</cx:pt>
          <cx:pt idx="15132">4</cx:pt>
          <cx:pt idx="15133">5</cx:pt>
          <cx:pt idx="15134">4</cx:pt>
          <cx:pt idx="15135">2</cx:pt>
          <cx:pt idx="15136">3</cx:pt>
          <cx:pt idx="15137">2</cx:pt>
          <cx:pt idx="15138">3</cx:pt>
          <cx:pt idx="15139">4</cx:pt>
          <cx:pt idx="15140">3</cx:pt>
          <cx:pt idx="15141">1</cx:pt>
          <cx:pt idx="15142">3</cx:pt>
          <cx:pt idx="15143">3</cx:pt>
          <cx:pt idx="15144">4</cx:pt>
          <cx:pt idx="15145">2</cx:pt>
          <cx:pt idx="15146">3</cx:pt>
          <cx:pt idx="15147">2</cx:pt>
          <cx:pt idx="15148">5</cx:pt>
          <cx:pt idx="15149">4</cx:pt>
          <cx:pt idx="15150">4</cx:pt>
          <cx:pt idx="15151">0</cx:pt>
          <cx:pt idx="15152">1</cx:pt>
          <cx:pt idx="15153">1</cx:pt>
          <cx:pt idx="15154">2</cx:pt>
          <cx:pt idx="15155">4</cx:pt>
          <cx:pt idx="15156">4</cx:pt>
          <cx:pt idx="15157">3</cx:pt>
          <cx:pt idx="15158">2</cx:pt>
          <cx:pt idx="15159">3</cx:pt>
          <cx:pt idx="15160">2</cx:pt>
          <cx:pt idx="15161">2</cx:pt>
          <cx:pt idx="15162">5</cx:pt>
          <cx:pt idx="15163">3</cx:pt>
          <cx:pt idx="15164">5</cx:pt>
          <cx:pt idx="15165">3</cx:pt>
          <cx:pt idx="15166">5</cx:pt>
          <cx:pt idx="15167">4</cx:pt>
          <cx:pt idx="15168">2</cx:pt>
          <cx:pt idx="15169">5</cx:pt>
          <cx:pt idx="15170">4</cx:pt>
          <cx:pt idx="15171">2</cx:pt>
          <cx:pt idx="15172">5</cx:pt>
          <cx:pt idx="15173">3</cx:pt>
          <cx:pt idx="15174">1</cx:pt>
          <cx:pt idx="15175">4</cx:pt>
          <cx:pt idx="15176">3</cx:pt>
          <cx:pt idx="15177">5</cx:pt>
          <cx:pt idx="15178">4</cx:pt>
          <cx:pt idx="15179">3</cx:pt>
          <cx:pt idx="15180">5</cx:pt>
          <cx:pt idx="15181">1</cx:pt>
          <cx:pt idx="15182">4</cx:pt>
          <cx:pt idx="15183">4</cx:pt>
          <cx:pt idx="15184">3</cx:pt>
          <cx:pt idx="15185">2</cx:pt>
          <cx:pt idx="15186">2</cx:pt>
          <cx:pt idx="15187">5</cx:pt>
          <cx:pt idx="15188">3</cx:pt>
          <cx:pt idx="15189">2</cx:pt>
          <cx:pt idx="15190">3</cx:pt>
          <cx:pt idx="15191">4</cx:pt>
          <cx:pt idx="15192">2</cx:pt>
          <cx:pt idx="15193">4</cx:pt>
          <cx:pt idx="15194">1</cx:pt>
          <cx:pt idx="15195">4</cx:pt>
          <cx:pt idx="15196">3</cx:pt>
          <cx:pt idx="15197">1</cx:pt>
          <cx:pt idx="15198">4</cx:pt>
          <cx:pt idx="15199">5</cx:pt>
          <cx:pt idx="15200">3</cx:pt>
          <cx:pt idx="15201">1</cx:pt>
          <cx:pt idx="15202">2</cx:pt>
          <cx:pt idx="15203">0</cx:pt>
          <cx:pt idx="15204">5</cx:pt>
          <cx:pt idx="15205">1</cx:pt>
          <cx:pt idx="15206">4</cx:pt>
          <cx:pt idx="15207">2</cx:pt>
          <cx:pt idx="15208">2</cx:pt>
          <cx:pt idx="15209">4</cx:pt>
          <cx:pt idx="15210">5</cx:pt>
          <cx:pt idx="15211">4</cx:pt>
          <cx:pt idx="15212">3</cx:pt>
          <cx:pt idx="15213">1</cx:pt>
          <cx:pt idx="15214">5</cx:pt>
          <cx:pt idx="15215">5</cx:pt>
          <cx:pt idx="15216">2</cx:pt>
          <cx:pt idx="15217">1</cx:pt>
          <cx:pt idx="15218">1</cx:pt>
          <cx:pt idx="15219">4</cx:pt>
          <cx:pt idx="15220">5</cx:pt>
          <cx:pt idx="15221">2</cx:pt>
          <cx:pt idx="15222">1</cx:pt>
          <cx:pt idx="15223">1</cx:pt>
          <cx:pt idx="15224">3</cx:pt>
          <cx:pt idx="15225">3</cx:pt>
          <cx:pt idx="15226">2</cx:pt>
          <cx:pt idx="15227">1</cx:pt>
          <cx:pt idx="15228">5</cx:pt>
          <cx:pt idx="15229">1</cx:pt>
          <cx:pt idx="15230">2</cx:pt>
          <cx:pt idx="15231">1</cx:pt>
          <cx:pt idx="15232">2</cx:pt>
          <cx:pt idx="15233">2</cx:pt>
          <cx:pt idx="15234">4</cx:pt>
          <cx:pt idx="15235">3</cx:pt>
          <cx:pt idx="15236">3</cx:pt>
          <cx:pt idx="15237">2</cx:pt>
          <cx:pt idx="15238">3</cx:pt>
          <cx:pt idx="15239">5</cx:pt>
          <cx:pt idx="15240">3</cx:pt>
          <cx:pt idx="15241">0</cx:pt>
          <cx:pt idx="15242">3</cx:pt>
          <cx:pt idx="15243">4</cx:pt>
          <cx:pt idx="15244">3</cx:pt>
          <cx:pt idx="15245">2</cx:pt>
          <cx:pt idx="15246">2</cx:pt>
          <cx:pt idx="15247">2</cx:pt>
          <cx:pt idx="15248">4</cx:pt>
          <cx:pt idx="15249">2</cx:pt>
          <cx:pt idx="15250">5</cx:pt>
          <cx:pt idx="15251">3</cx:pt>
          <cx:pt idx="15252">1</cx:pt>
          <cx:pt idx="15253">3</cx:pt>
          <cx:pt idx="15254">4</cx:pt>
          <cx:pt idx="15255">5</cx:pt>
          <cx:pt idx="15256">1</cx:pt>
          <cx:pt idx="15257">1</cx:pt>
          <cx:pt idx="15258">1</cx:pt>
          <cx:pt idx="15259">1</cx:pt>
          <cx:pt idx="15260">0</cx:pt>
          <cx:pt idx="15261">3</cx:pt>
          <cx:pt idx="15262">2</cx:pt>
          <cx:pt idx="15263">2</cx:pt>
          <cx:pt idx="15264">5</cx:pt>
          <cx:pt idx="15265">3</cx:pt>
          <cx:pt idx="15266">5</cx:pt>
          <cx:pt idx="15267">2</cx:pt>
          <cx:pt idx="15268">4</cx:pt>
          <cx:pt idx="15269">4</cx:pt>
          <cx:pt idx="15270">1</cx:pt>
          <cx:pt idx="15271">3</cx:pt>
          <cx:pt idx="15272">2</cx:pt>
          <cx:pt idx="15273">1</cx:pt>
          <cx:pt idx="15274">3</cx:pt>
          <cx:pt idx="15275">4</cx:pt>
          <cx:pt idx="15276">4</cx:pt>
          <cx:pt idx="15277">1</cx:pt>
          <cx:pt idx="15278">1</cx:pt>
          <cx:pt idx="15279">3</cx:pt>
          <cx:pt idx="15280">0</cx:pt>
          <cx:pt idx="15281">4</cx:pt>
          <cx:pt idx="15282">3</cx:pt>
          <cx:pt idx="15283">5</cx:pt>
          <cx:pt idx="15284">2</cx:pt>
          <cx:pt idx="15285">4</cx:pt>
          <cx:pt idx="15286">4</cx:pt>
          <cx:pt idx="15287">4</cx:pt>
          <cx:pt idx="15288">4</cx:pt>
          <cx:pt idx="15289">5</cx:pt>
          <cx:pt idx="15290">4</cx:pt>
          <cx:pt idx="15291">5</cx:pt>
          <cx:pt idx="15292">5</cx:pt>
          <cx:pt idx="15293">4</cx:pt>
          <cx:pt idx="15294">4</cx:pt>
          <cx:pt idx="15295">0</cx:pt>
          <cx:pt idx="15296">2</cx:pt>
          <cx:pt idx="15297">4</cx:pt>
          <cx:pt idx="15298">1</cx:pt>
          <cx:pt idx="15299">4</cx:pt>
          <cx:pt idx="15300">3</cx:pt>
          <cx:pt idx="15301">2</cx:pt>
          <cx:pt idx="15302">5</cx:pt>
          <cx:pt idx="15303">1</cx:pt>
          <cx:pt idx="15304">2</cx:pt>
          <cx:pt idx="15305">1</cx:pt>
          <cx:pt idx="15306">1</cx:pt>
          <cx:pt idx="15307">4</cx:pt>
          <cx:pt idx="15308">2</cx:pt>
          <cx:pt idx="15309">0</cx:pt>
          <cx:pt idx="15310">3</cx:pt>
          <cx:pt idx="15311">4</cx:pt>
          <cx:pt idx="15312">0</cx:pt>
          <cx:pt idx="15313">1</cx:pt>
          <cx:pt idx="15314">3</cx:pt>
          <cx:pt idx="15315">3</cx:pt>
          <cx:pt idx="15316">2</cx:pt>
          <cx:pt idx="15317">4</cx:pt>
          <cx:pt idx="15318">5</cx:pt>
          <cx:pt idx="15319">1</cx:pt>
          <cx:pt idx="15320">4</cx:pt>
          <cx:pt idx="15321">2</cx:pt>
          <cx:pt idx="15322">2</cx:pt>
          <cx:pt idx="15323">2</cx:pt>
          <cx:pt idx="15324">3</cx:pt>
          <cx:pt idx="15325">3</cx:pt>
          <cx:pt idx="15326">3</cx:pt>
          <cx:pt idx="15327">2</cx:pt>
          <cx:pt idx="15328">4</cx:pt>
          <cx:pt idx="15329">3</cx:pt>
          <cx:pt idx="15330">3</cx:pt>
          <cx:pt idx="15331">4</cx:pt>
          <cx:pt idx="15332">2</cx:pt>
          <cx:pt idx="15333">2</cx:pt>
          <cx:pt idx="15334">3</cx:pt>
          <cx:pt idx="15335">2</cx:pt>
          <cx:pt idx="15336">2</cx:pt>
          <cx:pt idx="15337">2</cx:pt>
          <cx:pt idx="15338">4</cx:pt>
          <cx:pt idx="15339">3</cx:pt>
          <cx:pt idx="15340">3</cx:pt>
          <cx:pt idx="15341">5</cx:pt>
          <cx:pt idx="15342">4</cx:pt>
          <cx:pt idx="15343">4</cx:pt>
          <cx:pt idx="15344">3</cx:pt>
          <cx:pt idx="15345">4</cx:pt>
          <cx:pt idx="15346">4</cx:pt>
          <cx:pt idx="15347">1</cx:pt>
          <cx:pt idx="15348">4</cx:pt>
          <cx:pt idx="15349">1</cx:pt>
          <cx:pt idx="15350">3</cx:pt>
          <cx:pt idx="15351">3</cx:pt>
          <cx:pt idx="15352">3</cx:pt>
          <cx:pt idx="15353">1</cx:pt>
          <cx:pt idx="15354">3</cx:pt>
          <cx:pt idx="15355">4</cx:pt>
          <cx:pt idx="15356">3</cx:pt>
          <cx:pt idx="15357">5</cx:pt>
          <cx:pt idx="15358">1</cx:pt>
          <cx:pt idx="15359">2</cx:pt>
          <cx:pt idx="15360">1</cx:pt>
          <cx:pt idx="15361">2</cx:pt>
          <cx:pt idx="15362">3</cx:pt>
          <cx:pt idx="15363">2</cx:pt>
          <cx:pt idx="15364">2</cx:pt>
          <cx:pt idx="15365">3</cx:pt>
          <cx:pt idx="15366">4</cx:pt>
          <cx:pt idx="15367">4</cx:pt>
          <cx:pt idx="15368">2</cx:pt>
          <cx:pt idx="15369">2</cx:pt>
          <cx:pt idx="15370">1</cx:pt>
          <cx:pt idx="15371">3</cx:pt>
          <cx:pt idx="15372">4</cx:pt>
          <cx:pt idx="15373">3</cx:pt>
          <cx:pt idx="15374">3</cx:pt>
          <cx:pt idx="15375">5</cx:pt>
          <cx:pt idx="15376">5</cx:pt>
          <cx:pt idx="15377">2</cx:pt>
          <cx:pt idx="15378">0</cx:pt>
          <cx:pt idx="15379">2</cx:pt>
          <cx:pt idx="15380">3</cx:pt>
          <cx:pt idx="15381">0</cx:pt>
          <cx:pt idx="15382">1</cx:pt>
          <cx:pt idx="15383">2</cx:pt>
          <cx:pt idx="15384">4</cx:pt>
          <cx:pt idx="15385">4</cx:pt>
          <cx:pt idx="15386">1</cx:pt>
          <cx:pt idx="15387">4</cx:pt>
          <cx:pt idx="15388">3</cx:pt>
          <cx:pt idx="15389">5</cx:pt>
          <cx:pt idx="15390">1</cx:pt>
          <cx:pt idx="15391">1</cx:pt>
          <cx:pt idx="15392">3</cx:pt>
          <cx:pt idx="15393">4</cx:pt>
          <cx:pt idx="15394">2</cx:pt>
          <cx:pt idx="15395">1</cx:pt>
          <cx:pt idx="15396">1</cx:pt>
          <cx:pt idx="15397">2</cx:pt>
          <cx:pt idx="15398">5</cx:pt>
          <cx:pt idx="15399">0</cx:pt>
          <cx:pt idx="15400">5</cx:pt>
          <cx:pt idx="15401">4</cx:pt>
          <cx:pt idx="15402">1</cx:pt>
          <cx:pt idx="15403">4</cx:pt>
          <cx:pt idx="15404">1</cx:pt>
          <cx:pt idx="15405">1</cx:pt>
          <cx:pt idx="15406">3</cx:pt>
          <cx:pt idx="15407">2</cx:pt>
          <cx:pt idx="15408">4</cx:pt>
          <cx:pt idx="15409">3</cx:pt>
          <cx:pt idx="15410">5</cx:pt>
          <cx:pt idx="15411">2</cx:pt>
          <cx:pt idx="15412">3</cx:pt>
          <cx:pt idx="15413">3</cx:pt>
          <cx:pt idx="15414">3</cx:pt>
          <cx:pt idx="15415">2</cx:pt>
          <cx:pt idx="15416">3</cx:pt>
          <cx:pt idx="15417">2</cx:pt>
          <cx:pt idx="15418">2</cx:pt>
          <cx:pt idx="15419">2</cx:pt>
          <cx:pt idx="15420">2</cx:pt>
          <cx:pt idx="15421">1</cx:pt>
          <cx:pt idx="15422">4</cx:pt>
          <cx:pt idx="15423">4</cx:pt>
          <cx:pt idx="15424">2</cx:pt>
          <cx:pt idx="15425">2</cx:pt>
          <cx:pt idx="15426">5</cx:pt>
          <cx:pt idx="15427">2</cx:pt>
          <cx:pt idx="15428">4</cx:pt>
          <cx:pt idx="15429">1</cx:pt>
          <cx:pt idx="15430">1</cx:pt>
          <cx:pt idx="15431">4</cx:pt>
          <cx:pt idx="15432">1</cx:pt>
          <cx:pt idx="15433">1</cx:pt>
          <cx:pt idx="15434">1</cx:pt>
          <cx:pt idx="15435">2</cx:pt>
          <cx:pt idx="15436">1</cx:pt>
          <cx:pt idx="15437">2</cx:pt>
          <cx:pt idx="15438">1</cx:pt>
          <cx:pt idx="15439">2</cx:pt>
          <cx:pt idx="15440">2</cx:pt>
          <cx:pt idx="15441">2</cx:pt>
          <cx:pt idx="15442">3</cx:pt>
          <cx:pt idx="15443">4</cx:pt>
          <cx:pt idx="15444">3</cx:pt>
          <cx:pt idx="15445">2</cx:pt>
          <cx:pt idx="15446">3</cx:pt>
          <cx:pt idx="15447">2</cx:pt>
          <cx:pt idx="15448">5</cx:pt>
          <cx:pt idx="15449">1</cx:pt>
          <cx:pt idx="15450">0</cx:pt>
          <cx:pt idx="15451">4</cx:pt>
          <cx:pt idx="15452">1</cx:pt>
          <cx:pt idx="15453">2</cx:pt>
          <cx:pt idx="15454">3</cx:pt>
          <cx:pt idx="15455">2</cx:pt>
          <cx:pt idx="15456">3</cx:pt>
          <cx:pt idx="15457">2</cx:pt>
          <cx:pt idx="15458">3</cx:pt>
          <cx:pt idx="15459">2</cx:pt>
          <cx:pt idx="15460">3</cx:pt>
          <cx:pt idx="15461">5</cx:pt>
          <cx:pt idx="15462">2</cx:pt>
          <cx:pt idx="15463">1</cx:pt>
          <cx:pt idx="15464">2</cx:pt>
          <cx:pt idx="15465">2</cx:pt>
          <cx:pt idx="15466">2</cx:pt>
          <cx:pt idx="15467">2</cx:pt>
          <cx:pt idx="15468">3</cx:pt>
          <cx:pt idx="15469">4</cx:pt>
          <cx:pt idx="15470">3</cx:pt>
          <cx:pt idx="15471">2</cx:pt>
          <cx:pt idx="15472">5</cx:pt>
          <cx:pt idx="15473">2</cx:pt>
          <cx:pt idx="15474">0</cx:pt>
          <cx:pt idx="15475">2</cx:pt>
          <cx:pt idx="15476">4</cx:pt>
          <cx:pt idx="15477">4</cx:pt>
          <cx:pt idx="15478">4</cx:pt>
          <cx:pt idx="15479">3</cx:pt>
          <cx:pt idx="15480">4</cx:pt>
          <cx:pt idx="15481">2</cx:pt>
          <cx:pt idx="15482">3</cx:pt>
          <cx:pt idx="15483">2</cx:pt>
          <cx:pt idx="15484">4</cx:pt>
          <cx:pt idx="15485">4</cx:pt>
          <cx:pt idx="15486">4</cx:pt>
          <cx:pt idx="15487">4</cx:pt>
          <cx:pt idx="15488">3</cx:pt>
          <cx:pt idx="15489">1</cx:pt>
          <cx:pt idx="15490">2</cx:pt>
          <cx:pt idx="15491">4</cx:pt>
          <cx:pt idx="15492">4</cx:pt>
          <cx:pt idx="15493">2</cx:pt>
          <cx:pt idx="15494">2</cx:pt>
          <cx:pt idx="15495">4</cx:pt>
          <cx:pt idx="15496">2</cx:pt>
          <cx:pt idx="15497">3</cx:pt>
          <cx:pt idx="15498">3</cx:pt>
          <cx:pt idx="15499">5</cx:pt>
          <cx:pt idx="15500">1</cx:pt>
          <cx:pt idx="15501">2</cx:pt>
          <cx:pt idx="15502">4</cx:pt>
          <cx:pt idx="15503">1</cx:pt>
          <cx:pt idx="15504">1</cx:pt>
          <cx:pt idx="15505">2</cx:pt>
          <cx:pt idx="15506">1</cx:pt>
          <cx:pt idx="15507">3</cx:pt>
          <cx:pt idx="15508">1</cx:pt>
          <cx:pt idx="15509">4</cx:pt>
          <cx:pt idx="15510">3</cx:pt>
          <cx:pt idx="15511">5</cx:pt>
          <cx:pt idx="15512">5</cx:pt>
          <cx:pt idx="15513">1</cx:pt>
          <cx:pt idx="15514">2</cx:pt>
          <cx:pt idx="15515">2</cx:pt>
          <cx:pt idx="15516">1</cx:pt>
          <cx:pt idx="15517">3</cx:pt>
          <cx:pt idx="15518">1</cx:pt>
          <cx:pt idx="15519">4</cx:pt>
          <cx:pt idx="15520">4</cx:pt>
          <cx:pt idx="15521">2</cx:pt>
          <cx:pt idx="15522">2</cx:pt>
          <cx:pt idx="15523">1</cx:pt>
          <cx:pt idx="15524">3</cx:pt>
          <cx:pt idx="15525">4</cx:pt>
          <cx:pt idx="15526">5</cx:pt>
          <cx:pt idx="15527">2</cx:pt>
          <cx:pt idx="15528">3</cx:pt>
          <cx:pt idx="15529">3</cx:pt>
          <cx:pt idx="15530">3</cx:pt>
          <cx:pt idx="15531">1</cx:pt>
          <cx:pt idx="15532">5</cx:pt>
          <cx:pt idx="15533">1</cx:pt>
          <cx:pt idx="15534">5</cx:pt>
          <cx:pt idx="15535">3</cx:pt>
          <cx:pt idx="15536">5</cx:pt>
          <cx:pt idx="15537">5</cx:pt>
          <cx:pt idx="15538">3</cx:pt>
          <cx:pt idx="15539">3</cx:pt>
          <cx:pt idx="15540">2</cx:pt>
          <cx:pt idx="15541">3</cx:pt>
          <cx:pt idx="15542">3</cx:pt>
          <cx:pt idx="15543">3</cx:pt>
          <cx:pt idx="15544">2</cx:pt>
          <cx:pt idx="15545">1</cx:pt>
          <cx:pt idx="15546">3</cx:pt>
          <cx:pt idx="15547">5</cx:pt>
          <cx:pt idx="15548">4</cx:pt>
          <cx:pt idx="15549">4</cx:pt>
          <cx:pt idx="15550">5</cx:pt>
          <cx:pt idx="15551">4</cx:pt>
          <cx:pt idx="15552">4</cx:pt>
          <cx:pt idx="15553">1</cx:pt>
          <cx:pt idx="15554">4</cx:pt>
          <cx:pt idx="15555">2</cx:pt>
          <cx:pt idx="15556">2</cx:pt>
          <cx:pt idx="15557">5</cx:pt>
          <cx:pt idx="15558">1</cx:pt>
          <cx:pt idx="15559">0</cx:pt>
          <cx:pt idx="15560">3</cx:pt>
          <cx:pt idx="15561">1</cx:pt>
          <cx:pt idx="15562">3</cx:pt>
          <cx:pt idx="15563">5</cx:pt>
          <cx:pt idx="15564">2</cx:pt>
          <cx:pt idx="15565">4</cx:pt>
          <cx:pt idx="15566">4</cx:pt>
          <cx:pt idx="15567">4</cx:pt>
          <cx:pt idx="15568">3</cx:pt>
          <cx:pt idx="15569">2</cx:pt>
          <cx:pt idx="15570">4</cx:pt>
          <cx:pt idx="15571">0</cx:pt>
          <cx:pt idx="15572">3</cx:pt>
          <cx:pt idx="15573">1</cx:pt>
          <cx:pt idx="15574">1</cx:pt>
          <cx:pt idx="15575">0</cx:pt>
          <cx:pt idx="15576">3</cx:pt>
          <cx:pt idx="15577">4</cx:pt>
          <cx:pt idx="15578">3</cx:pt>
          <cx:pt idx="15579">4</cx:pt>
          <cx:pt idx="15580">2</cx:pt>
          <cx:pt idx="15581">1</cx:pt>
          <cx:pt idx="15582">3</cx:pt>
          <cx:pt idx="15583">3</cx:pt>
          <cx:pt idx="15584">3</cx:pt>
          <cx:pt idx="15585">3</cx:pt>
          <cx:pt idx="15586">1</cx:pt>
          <cx:pt idx="15587">4</cx:pt>
          <cx:pt idx="15588">4</cx:pt>
          <cx:pt idx="15589">3</cx:pt>
          <cx:pt idx="15590">2</cx:pt>
          <cx:pt idx="15591">5</cx:pt>
          <cx:pt idx="15592">5</cx:pt>
          <cx:pt idx="15593">4</cx:pt>
          <cx:pt idx="15594">1</cx:pt>
          <cx:pt idx="15595">3</cx:pt>
          <cx:pt idx="15596">2</cx:pt>
          <cx:pt idx="15597">5</cx:pt>
          <cx:pt idx="15598">1</cx:pt>
          <cx:pt idx="15599">1</cx:pt>
          <cx:pt idx="15600">4</cx:pt>
          <cx:pt idx="15601">3</cx:pt>
          <cx:pt idx="15602">0</cx:pt>
          <cx:pt idx="15603">5</cx:pt>
          <cx:pt idx="15604">5</cx:pt>
          <cx:pt idx="15605">2</cx:pt>
          <cx:pt idx="15606">1</cx:pt>
          <cx:pt idx="15607">0</cx:pt>
          <cx:pt idx="15608">2</cx:pt>
          <cx:pt idx="15609">4</cx:pt>
          <cx:pt idx="15610">3</cx:pt>
          <cx:pt idx="15611">2</cx:pt>
          <cx:pt idx="15612">5</cx:pt>
          <cx:pt idx="15613">0</cx:pt>
          <cx:pt idx="15614">1</cx:pt>
          <cx:pt idx="15615">4</cx:pt>
          <cx:pt idx="15616">1</cx:pt>
          <cx:pt idx="15617">2</cx:pt>
          <cx:pt idx="15618">0</cx:pt>
          <cx:pt idx="15619">3</cx:pt>
          <cx:pt idx="15620">3</cx:pt>
          <cx:pt idx="15621">1</cx:pt>
          <cx:pt idx="15622">3</cx:pt>
          <cx:pt idx="15623">1</cx:pt>
          <cx:pt idx="15624">2</cx:pt>
          <cx:pt idx="15625">4</cx:pt>
          <cx:pt idx="15626">5</cx:pt>
          <cx:pt idx="15627">2</cx:pt>
          <cx:pt idx="15628">4</cx:pt>
          <cx:pt idx="15629">4</cx:pt>
          <cx:pt idx="15630">3</cx:pt>
          <cx:pt idx="15631">5</cx:pt>
          <cx:pt idx="15632">1</cx:pt>
          <cx:pt idx="15633">4</cx:pt>
          <cx:pt idx="15634">1</cx:pt>
          <cx:pt idx="15635">3</cx:pt>
          <cx:pt idx="15636">3</cx:pt>
          <cx:pt idx="15637">3</cx:pt>
          <cx:pt idx="15638">4</cx:pt>
          <cx:pt idx="15639">5</cx:pt>
          <cx:pt idx="15640">3</cx:pt>
          <cx:pt idx="15641">2</cx:pt>
          <cx:pt idx="15642">2</cx:pt>
          <cx:pt idx="15643">2</cx:pt>
          <cx:pt idx="15644">2</cx:pt>
          <cx:pt idx="15645">3</cx:pt>
          <cx:pt idx="15646">2</cx:pt>
          <cx:pt idx="15647">4</cx:pt>
          <cx:pt idx="15648">2</cx:pt>
          <cx:pt idx="15649">1</cx:pt>
          <cx:pt idx="15650">3</cx:pt>
          <cx:pt idx="15651">1</cx:pt>
          <cx:pt idx="15652">4</cx:pt>
          <cx:pt idx="15653">2</cx:pt>
          <cx:pt idx="15654">2</cx:pt>
          <cx:pt idx="15655">5</cx:pt>
          <cx:pt idx="15656">3</cx:pt>
          <cx:pt idx="15657">4</cx:pt>
          <cx:pt idx="15658">2</cx:pt>
          <cx:pt idx="15659">2</cx:pt>
          <cx:pt idx="15660">2</cx:pt>
          <cx:pt idx="15661">3</cx:pt>
          <cx:pt idx="15662">4</cx:pt>
          <cx:pt idx="15663">4</cx:pt>
          <cx:pt idx="15664">4</cx:pt>
          <cx:pt idx="15665">2</cx:pt>
          <cx:pt idx="15666">1</cx:pt>
          <cx:pt idx="15667">2</cx:pt>
          <cx:pt idx="15668">2</cx:pt>
          <cx:pt idx="15669">0</cx:pt>
          <cx:pt idx="15670">3</cx:pt>
          <cx:pt idx="15671">3</cx:pt>
          <cx:pt idx="15672">4</cx:pt>
          <cx:pt idx="15673">4</cx:pt>
          <cx:pt idx="15674">5</cx:pt>
          <cx:pt idx="15675">2</cx:pt>
          <cx:pt idx="15676">2</cx:pt>
          <cx:pt idx="15677">4</cx:pt>
          <cx:pt idx="15678">4</cx:pt>
          <cx:pt idx="15679">3</cx:pt>
          <cx:pt idx="15680">3</cx:pt>
          <cx:pt idx="15681">2</cx:pt>
          <cx:pt idx="15682">3</cx:pt>
          <cx:pt idx="15683">1</cx:pt>
          <cx:pt idx="15684">4</cx:pt>
          <cx:pt idx="15685">3</cx:pt>
          <cx:pt idx="15686">5</cx:pt>
          <cx:pt idx="15687">1</cx:pt>
          <cx:pt idx="15688">1</cx:pt>
          <cx:pt idx="15689">3</cx:pt>
          <cx:pt idx="15690">1</cx:pt>
          <cx:pt idx="15691">0</cx:pt>
          <cx:pt idx="15692">1</cx:pt>
          <cx:pt idx="15693">1</cx:pt>
          <cx:pt idx="15694">4</cx:pt>
          <cx:pt idx="15695">5</cx:pt>
          <cx:pt idx="15696">4</cx:pt>
          <cx:pt idx="15697">4</cx:pt>
          <cx:pt idx="15698">2</cx:pt>
          <cx:pt idx="15699">1</cx:pt>
          <cx:pt idx="15700">3</cx:pt>
          <cx:pt idx="15701">4</cx:pt>
          <cx:pt idx="15702">4</cx:pt>
          <cx:pt idx="15703">4</cx:pt>
          <cx:pt idx="15704">1</cx:pt>
          <cx:pt idx="15705">2</cx:pt>
          <cx:pt idx="15706">2</cx:pt>
          <cx:pt idx="15707">0</cx:pt>
          <cx:pt idx="15708">3</cx:pt>
          <cx:pt idx="15709">1</cx:pt>
          <cx:pt idx="15710">4</cx:pt>
          <cx:pt idx="15711">2</cx:pt>
          <cx:pt idx="15712">2</cx:pt>
          <cx:pt idx="15713">1</cx:pt>
          <cx:pt idx="15714">2</cx:pt>
          <cx:pt idx="15715">1</cx:pt>
          <cx:pt idx="15716">3</cx:pt>
          <cx:pt idx="15717">5</cx:pt>
          <cx:pt idx="15718">5</cx:pt>
          <cx:pt idx="15719">4</cx:pt>
          <cx:pt idx="15720">2</cx:pt>
          <cx:pt idx="15721">5</cx:pt>
          <cx:pt idx="15722">4</cx:pt>
          <cx:pt idx="15723">2</cx:pt>
          <cx:pt idx="15724">2</cx:pt>
          <cx:pt idx="15725">2</cx:pt>
          <cx:pt idx="15726">4</cx:pt>
          <cx:pt idx="15727">2</cx:pt>
          <cx:pt idx="15728">4</cx:pt>
          <cx:pt idx="15729">1</cx:pt>
          <cx:pt idx="15730">5</cx:pt>
          <cx:pt idx="15731">2</cx:pt>
          <cx:pt idx="15732">3</cx:pt>
          <cx:pt idx="15733">1</cx:pt>
          <cx:pt idx="15734">4</cx:pt>
          <cx:pt idx="15735">2</cx:pt>
          <cx:pt idx="15736">4</cx:pt>
          <cx:pt idx="15737">3</cx:pt>
          <cx:pt idx="15738">1</cx:pt>
          <cx:pt idx="15739">3</cx:pt>
          <cx:pt idx="15740">4</cx:pt>
          <cx:pt idx="15741">2</cx:pt>
          <cx:pt idx="15742">2</cx:pt>
          <cx:pt idx="15743">1</cx:pt>
          <cx:pt idx="15744">3</cx:pt>
          <cx:pt idx="15745">4</cx:pt>
          <cx:pt idx="15746">1</cx:pt>
          <cx:pt idx="15747">3</cx:pt>
          <cx:pt idx="15748">3</cx:pt>
          <cx:pt idx="15749">2</cx:pt>
          <cx:pt idx="15750">1</cx:pt>
          <cx:pt idx="15751">2</cx:pt>
          <cx:pt idx="15752">1</cx:pt>
          <cx:pt idx="15753">1</cx:pt>
          <cx:pt idx="15754">3</cx:pt>
          <cx:pt idx="15755">2</cx:pt>
          <cx:pt idx="15756">3</cx:pt>
          <cx:pt idx="15757">3</cx:pt>
          <cx:pt idx="15758">1</cx:pt>
          <cx:pt idx="15759">4</cx:pt>
          <cx:pt idx="15760">3</cx:pt>
          <cx:pt idx="15761">2</cx:pt>
          <cx:pt idx="15762">5</cx:pt>
          <cx:pt idx="15763">3</cx:pt>
          <cx:pt idx="15764">3</cx:pt>
          <cx:pt idx="15765">3</cx:pt>
          <cx:pt idx="15766">2</cx:pt>
          <cx:pt idx="15767">4</cx:pt>
          <cx:pt idx="15768">3</cx:pt>
          <cx:pt idx="15769">3</cx:pt>
          <cx:pt idx="15770">3</cx:pt>
          <cx:pt idx="15771">4</cx:pt>
          <cx:pt idx="15772">2</cx:pt>
          <cx:pt idx="15773">3</cx:pt>
          <cx:pt idx="15774">4</cx:pt>
          <cx:pt idx="15775">1</cx:pt>
          <cx:pt idx="15776">2</cx:pt>
          <cx:pt idx="15777">2</cx:pt>
          <cx:pt idx="15778">1</cx:pt>
          <cx:pt idx="15779">3</cx:pt>
          <cx:pt idx="15780">1</cx:pt>
          <cx:pt idx="15781">1</cx:pt>
          <cx:pt idx="15782">2</cx:pt>
          <cx:pt idx="15783">3</cx:pt>
          <cx:pt idx="15784">1</cx:pt>
          <cx:pt idx="15785">5</cx:pt>
          <cx:pt idx="15786">5</cx:pt>
          <cx:pt idx="15787">1</cx:pt>
          <cx:pt idx="15788">3</cx:pt>
          <cx:pt idx="15789">5</cx:pt>
          <cx:pt idx="15790">2</cx:pt>
          <cx:pt idx="15791">1</cx:pt>
          <cx:pt idx="15792">2</cx:pt>
          <cx:pt idx="15793">1</cx:pt>
          <cx:pt idx="15794">5</cx:pt>
          <cx:pt idx="15795">4</cx:pt>
          <cx:pt idx="15796">3</cx:pt>
          <cx:pt idx="15797">2</cx:pt>
          <cx:pt idx="15798">3</cx:pt>
          <cx:pt idx="15799">3</cx:pt>
          <cx:pt idx="15800">2</cx:pt>
          <cx:pt idx="15801">0</cx:pt>
          <cx:pt idx="15802">4</cx:pt>
          <cx:pt idx="15803">1</cx:pt>
          <cx:pt idx="15804">3</cx:pt>
          <cx:pt idx="15805">4</cx:pt>
          <cx:pt idx="15806">1</cx:pt>
          <cx:pt idx="15807">0</cx:pt>
          <cx:pt idx="15808">3</cx:pt>
          <cx:pt idx="15809">1</cx:pt>
          <cx:pt idx="15810">5</cx:pt>
          <cx:pt idx="15811">4</cx:pt>
          <cx:pt idx="15812">2</cx:pt>
          <cx:pt idx="15813">5</cx:pt>
          <cx:pt idx="15814">3</cx:pt>
          <cx:pt idx="15815">2</cx:pt>
          <cx:pt idx="15816">1</cx:pt>
          <cx:pt idx="15817">3</cx:pt>
          <cx:pt idx="15818">4</cx:pt>
          <cx:pt idx="15819">0</cx:pt>
          <cx:pt idx="15820">2</cx:pt>
          <cx:pt idx="15821">0</cx:pt>
          <cx:pt idx="15822">4</cx:pt>
          <cx:pt idx="15823">4</cx:pt>
          <cx:pt idx="15824">3</cx:pt>
          <cx:pt idx="15825">4</cx:pt>
          <cx:pt idx="15826">1</cx:pt>
          <cx:pt idx="15827">2</cx:pt>
          <cx:pt idx="15828">1</cx:pt>
          <cx:pt idx="15829">2</cx:pt>
          <cx:pt idx="15830">4</cx:pt>
          <cx:pt idx="15831">2</cx:pt>
          <cx:pt idx="15832">5</cx:pt>
          <cx:pt idx="15833">2</cx:pt>
          <cx:pt idx="15834">4</cx:pt>
          <cx:pt idx="15835">2</cx:pt>
          <cx:pt idx="15836">2</cx:pt>
          <cx:pt idx="15837">1</cx:pt>
          <cx:pt idx="15838">2</cx:pt>
          <cx:pt idx="15839">2</cx:pt>
          <cx:pt idx="15840">3</cx:pt>
          <cx:pt idx="15841">3</cx:pt>
          <cx:pt idx="15842">1</cx:pt>
          <cx:pt idx="15843">3</cx:pt>
          <cx:pt idx="15844">2</cx:pt>
          <cx:pt idx="15845">2</cx:pt>
          <cx:pt idx="15846">2</cx:pt>
          <cx:pt idx="15847">3</cx:pt>
          <cx:pt idx="15848">1</cx:pt>
          <cx:pt idx="15849">3</cx:pt>
          <cx:pt idx="15850">1</cx:pt>
          <cx:pt idx="15851">5</cx:pt>
          <cx:pt idx="15852">3</cx:pt>
          <cx:pt idx="15853">4</cx:pt>
          <cx:pt idx="15854">3</cx:pt>
          <cx:pt idx="15855">2</cx:pt>
          <cx:pt idx="15856">2</cx:pt>
          <cx:pt idx="15857">3</cx:pt>
          <cx:pt idx="15858">0</cx:pt>
          <cx:pt idx="15859">3</cx:pt>
          <cx:pt idx="15860">3</cx:pt>
          <cx:pt idx="15861">3</cx:pt>
          <cx:pt idx="15862">3</cx:pt>
          <cx:pt idx="15863">3</cx:pt>
          <cx:pt idx="15864">5</cx:pt>
          <cx:pt idx="15865">4</cx:pt>
          <cx:pt idx="15866">1</cx:pt>
          <cx:pt idx="15867">1</cx:pt>
          <cx:pt idx="15868">5</cx:pt>
          <cx:pt idx="15869">3</cx:pt>
          <cx:pt idx="15870">1</cx:pt>
          <cx:pt idx="15871">2</cx:pt>
          <cx:pt idx="15872">2</cx:pt>
          <cx:pt idx="15873">3</cx:pt>
          <cx:pt idx="15874">4</cx:pt>
          <cx:pt idx="15875">3</cx:pt>
          <cx:pt idx="15876">3</cx:pt>
          <cx:pt idx="15877">4</cx:pt>
          <cx:pt idx="15878">5</cx:pt>
          <cx:pt idx="15879">1</cx:pt>
          <cx:pt idx="15880">2</cx:pt>
          <cx:pt idx="15881">2</cx:pt>
          <cx:pt idx="15882">1</cx:pt>
          <cx:pt idx="15883">3</cx:pt>
          <cx:pt idx="15884">3</cx:pt>
          <cx:pt idx="15885">1</cx:pt>
          <cx:pt idx="15886">1</cx:pt>
          <cx:pt idx="15887">4</cx:pt>
          <cx:pt idx="15888">4</cx:pt>
          <cx:pt idx="15889">3</cx:pt>
          <cx:pt idx="15890">3</cx:pt>
          <cx:pt idx="15891">2</cx:pt>
          <cx:pt idx="15892">2</cx:pt>
          <cx:pt idx="15893">1</cx:pt>
          <cx:pt idx="15894">3</cx:pt>
          <cx:pt idx="15895">3</cx:pt>
          <cx:pt idx="15896">3</cx:pt>
          <cx:pt idx="15897">2</cx:pt>
          <cx:pt idx="15898">5</cx:pt>
          <cx:pt idx="15899">4</cx:pt>
          <cx:pt idx="15900">4</cx:pt>
          <cx:pt idx="15901">3</cx:pt>
          <cx:pt idx="15902">5</cx:pt>
          <cx:pt idx="15903">4</cx:pt>
          <cx:pt idx="15904">2</cx:pt>
          <cx:pt idx="15905">3</cx:pt>
          <cx:pt idx="15906">4</cx:pt>
          <cx:pt idx="15907">0</cx:pt>
          <cx:pt idx="15908">3</cx:pt>
          <cx:pt idx="15909">2</cx:pt>
          <cx:pt idx="15910">4</cx:pt>
          <cx:pt idx="15911">3</cx:pt>
          <cx:pt idx="15912">1</cx:pt>
          <cx:pt idx="15913">3</cx:pt>
          <cx:pt idx="15914">5</cx:pt>
          <cx:pt idx="15915">3</cx:pt>
          <cx:pt idx="15916">1</cx:pt>
          <cx:pt idx="15917">2</cx:pt>
          <cx:pt idx="15918">2</cx:pt>
          <cx:pt idx="15919">2</cx:pt>
          <cx:pt idx="15920">1</cx:pt>
          <cx:pt idx="15921">0</cx:pt>
          <cx:pt idx="15922">2</cx:pt>
          <cx:pt idx="15923">2</cx:pt>
          <cx:pt idx="15924">3</cx:pt>
          <cx:pt idx="15925">4</cx:pt>
          <cx:pt idx="15926">2</cx:pt>
          <cx:pt idx="15927">2</cx:pt>
          <cx:pt idx="15928">2</cx:pt>
          <cx:pt idx="15929">2</cx:pt>
          <cx:pt idx="15930">1</cx:pt>
          <cx:pt idx="15931">3</cx:pt>
          <cx:pt idx="15932">2</cx:pt>
          <cx:pt idx="15933">2</cx:pt>
          <cx:pt idx="15934">2</cx:pt>
          <cx:pt idx="15935">1</cx:pt>
          <cx:pt idx="15936">1</cx:pt>
          <cx:pt idx="15937">1</cx:pt>
          <cx:pt idx="15938">4</cx:pt>
          <cx:pt idx="15939">2</cx:pt>
          <cx:pt idx="15940">4</cx:pt>
          <cx:pt idx="15941">3</cx:pt>
          <cx:pt idx="15942">5</cx:pt>
          <cx:pt idx="15943">3</cx:pt>
          <cx:pt idx="15944">1</cx:pt>
          <cx:pt idx="15945">5</cx:pt>
          <cx:pt idx="15946">1</cx:pt>
          <cx:pt idx="15947">4</cx:pt>
          <cx:pt idx="15948">1</cx:pt>
          <cx:pt idx="15949">5</cx:pt>
          <cx:pt idx="15950">1</cx:pt>
          <cx:pt idx="15951">3</cx:pt>
          <cx:pt idx="15952">1</cx:pt>
          <cx:pt idx="15953">3</cx:pt>
          <cx:pt idx="15954">1</cx:pt>
          <cx:pt idx="15955">3</cx:pt>
          <cx:pt idx="15956">2</cx:pt>
          <cx:pt idx="15957">2</cx:pt>
          <cx:pt idx="15958">3</cx:pt>
          <cx:pt idx="15959">2</cx:pt>
          <cx:pt idx="15960">3</cx:pt>
          <cx:pt idx="15961">1</cx:pt>
          <cx:pt idx="15962">1</cx:pt>
          <cx:pt idx="15963">2</cx:pt>
          <cx:pt idx="15964">1</cx:pt>
          <cx:pt idx="15965">1</cx:pt>
          <cx:pt idx="15966">4</cx:pt>
          <cx:pt idx="15967">4</cx:pt>
          <cx:pt idx="15968">4</cx:pt>
          <cx:pt idx="15969">3</cx:pt>
          <cx:pt idx="15970">4</cx:pt>
          <cx:pt idx="15971">0</cx:pt>
          <cx:pt idx="15972">3</cx:pt>
          <cx:pt idx="15973">0</cx:pt>
          <cx:pt idx="15974">1</cx:pt>
          <cx:pt idx="15975">2</cx:pt>
          <cx:pt idx="15976">1</cx:pt>
          <cx:pt idx="15977">5</cx:pt>
          <cx:pt idx="15978">1</cx:pt>
          <cx:pt idx="15979">2</cx:pt>
          <cx:pt idx="15980">3</cx:pt>
          <cx:pt idx="15981">1</cx:pt>
          <cx:pt idx="15982">2</cx:pt>
          <cx:pt idx="15983">2</cx:pt>
          <cx:pt idx="15984">5</cx:pt>
          <cx:pt idx="15985">3</cx:pt>
          <cx:pt idx="15986">4</cx:pt>
          <cx:pt idx="15987">1</cx:pt>
          <cx:pt idx="15988">1</cx:pt>
          <cx:pt idx="15989">3</cx:pt>
          <cx:pt idx="15990">3</cx:pt>
          <cx:pt idx="15991">4</cx:pt>
          <cx:pt idx="15992">4</cx:pt>
          <cx:pt idx="15993">5</cx:pt>
          <cx:pt idx="15994">2</cx:pt>
          <cx:pt idx="15995">3</cx:pt>
          <cx:pt idx="15996">5</cx:pt>
          <cx:pt idx="15997">1</cx:pt>
          <cx:pt idx="15998">4</cx:pt>
          <cx:pt idx="15999">2</cx:pt>
          <cx:pt idx="16000">3</cx:pt>
          <cx:pt idx="16001">2</cx:pt>
          <cx:pt idx="16002">3</cx:pt>
          <cx:pt idx="16003">1</cx:pt>
          <cx:pt idx="16004">2</cx:pt>
          <cx:pt idx="16005">2</cx:pt>
          <cx:pt idx="16006">4</cx:pt>
          <cx:pt idx="16007">5</cx:pt>
          <cx:pt idx="16008">1</cx:pt>
          <cx:pt idx="16009">1</cx:pt>
          <cx:pt idx="16010">5</cx:pt>
          <cx:pt idx="16011">2</cx:pt>
          <cx:pt idx="16012">2</cx:pt>
          <cx:pt idx="16013">1</cx:pt>
          <cx:pt idx="16014">3</cx:pt>
          <cx:pt idx="16015">5</cx:pt>
          <cx:pt idx="16016">3</cx:pt>
          <cx:pt idx="16017">1</cx:pt>
          <cx:pt idx="16018">3</cx:pt>
          <cx:pt idx="16019">2</cx:pt>
          <cx:pt idx="16020">5</cx:pt>
          <cx:pt idx="16021">4</cx:pt>
          <cx:pt idx="16022">1</cx:pt>
          <cx:pt idx="16023">1</cx:pt>
          <cx:pt idx="16024">4</cx:pt>
          <cx:pt idx="16025">3</cx:pt>
          <cx:pt idx="16026">3</cx:pt>
          <cx:pt idx="16027">3</cx:pt>
          <cx:pt idx="16028">5</cx:pt>
          <cx:pt idx="16029">2</cx:pt>
          <cx:pt idx="16030">5</cx:pt>
          <cx:pt idx="16031">3</cx:pt>
          <cx:pt idx="16032">1</cx:pt>
          <cx:pt idx="16033">5</cx:pt>
          <cx:pt idx="16034">4</cx:pt>
          <cx:pt idx="16035">4</cx:pt>
          <cx:pt idx="16036">3</cx:pt>
          <cx:pt idx="16037">1</cx:pt>
          <cx:pt idx="16038">2</cx:pt>
          <cx:pt idx="16039">1</cx:pt>
          <cx:pt idx="16040">3</cx:pt>
          <cx:pt idx="16041">5</cx:pt>
          <cx:pt idx="16042">1</cx:pt>
          <cx:pt idx="16043">3</cx:pt>
          <cx:pt idx="16044">2</cx:pt>
          <cx:pt idx="16045">5</cx:pt>
          <cx:pt idx="16046">3</cx:pt>
          <cx:pt idx="16047">1</cx:pt>
          <cx:pt idx="16048">5</cx:pt>
          <cx:pt idx="16049">1</cx:pt>
          <cx:pt idx="16050">0</cx:pt>
          <cx:pt idx="16051">1</cx:pt>
          <cx:pt idx="16052">2</cx:pt>
          <cx:pt idx="16053">3</cx:pt>
          <cx:pt idx="16054">3</cx:pt>
          <cx:pt idx="16055">3</cx:pt>
          <cx:pt idx="16056">1</cx:pt>
          <cx:pt idx="16057">4</cx:pt>
          <cx:pt idx="16058">3</cx:pt>
          <cx:pt idx="16059">3</cx:pt>
          <cx:pt idx="16060">1</cx:pt>
          <cx:pt idx="16061">2</cx:pt>
          <cx:pt idx="16062">3</cx:pt>
          <cx:pt idx="16063">2</cx:pt>
          <cx:pt idx="16064">1</cx:pt>
          <cx:pt idx="16065">4</cx:pt>
          <cx:pt idx="16066">5</cx:pt>
          <cx:pt idx="16067">4</cx:pt>
          <cx:pt idx="16068">4</cx:pt>
          <cx:pt idx="16069">5</cx:pt>
          <cx:pt idx="16070">1</cx:pt>
          <cx:pt idx="16071">1</cx:pt>
          <cx:pt idx="16072">1</cx:pt>
          <cx:pt idx="16073">3</cx:pt>
          <cx:pt idx="16074">0</cx:pt>
          <cx:pt idx="16075">4</cx:pt>
          <cx:pt idx="16076">0</cx:pt>
          <cx:pt idx="16077">4</cx:pt>
          <cx:pt idx="16078">3</cx:pt>
          <cx:pt idx="16079">2</cx:pt>
          <cx:pt idx="16080">4</cx:pt>
          <cx:pt idx="16081">1</cx:pt>
          <cx:pt idx="16082">2</cx:pt>
          <cx:pt idx="16083">1</cx:pt>
          <cx:pt idx="16084">3</cx:pt>
          <cx:pt idx="16085">1</cx:pt>
          <cx:pt idx="16086">2</cx:pt>
          <cx:pt idx="16087">3</cx:pt>
          <cx:pt idx="16088">2</cx:pt>
          <cx:pt idx="16089">2</cx:pt>
          <cx:pt idx="16090">3</cx:pt>
          <cx:pt idx="16091">4</cx:pt>
          <cx:pt idx="16092">4</cx:pt>
          <cx:pt idx="16093">4</cx:pt>
          <cx:pt idx="16094">3</cx:pt>
          <cx:pt idx="16095">1</cx:pt>
          <cx:pt idx="16096">4</cx:pt>
          <cx:pt idx="16097">3</cx:pt>
          <cx:pt idx="16098">3</cx:pt>
          <cx:pt idx="16099">3</cx:pt>
          <cx:pt idx="16100">1</cx:pt>
          <cx:pt idx="16101">5</cx:pt>
          <cx:pt idx="16102">2</cx:pt>
          <cx:pt idx="16103">2</cx:pt>
          <cx:pt idx="16104">2</cx:pt>
          <cx:pt idx="16105">3</cx:pt>
          <cx:pt idx="16106">1</cx:pt>
          <cx:pt idx="16107">2</cx:pt>
          <cx:pt idx="16108">3</cx:pt>
          <cx:pt idx="16109">2</cx:pt>
          <cx:pt idx="16110">2</cx:pt>
          <cx:pt idx="16111">4</cx:pt>
          <cx:pt idx="16112">1</cx:pt>
          <cx:pt idx="16113">2</cx:pt>
          <cx:pt idx="16114">1</cx:pt>
          <cx:pt idx="16115">1</cx:pt>
          <cx:pt idx="16116">1</cx:pt>
          <cx:pt idx="16117">2</cx:pt>
          <cx:pt idx="16118">2</cx:pt>
          <cx:pt idx="16119">1</cx:pt>
          <cx:pt idx="16120">4</cx:pt>
          <cx:pt idx="16121">3</cx:pt>
          <cx:pt idx="16122">3</cx:pt>
          <cx:pt idx="16123">1</cx:pt>
          <cx:pt idx="16124">1</cx:pt>
          <cx:pt idx="16125">5</cx:pt>
          <cx:pt idx="16126">5</cx:pt>
          <cx:pt idx="16127">2</cx:pt>
          <cx:pt idx="16128">5</cx:pt>
          <cx:pt idx="16129">2</cx:pt>
          <cx:pt idx="16130">1</cx:pt>
          <cx:pt idx="16131">3</cx:pt>
          <cx:pt idx="16132">5</cx:pt>
          <cx:pt idx="16133">2</cx:pt>
          <cx:pt idx="16134">3</cx:pt>
          <cx:pt idx="16135">3</cx:pt>
          <cx:pt idx="16136">1</cx:pt>
          <cx:pt idx="16137">3</cx:pt>
          <cx:pt idx="16138">2</cx:pt>
          <cx:pt idx="16139">2</cx:pt>
          <cx:pt idx="16140">1</cx:pt>
          <cx:pt idx="16141">1</cx:pt>
          <cx:pt idx="16142">4</cx:pt>
          <cx:pt idx="16143">5</cx:pt>
          <cx:pt idx="16144">4</cx:pt>
          <cx:pt idx="16145">5</cx:pt>
          <cx:pt idx="16146">2</cx:pt>
          <cx:pt idx="16147">4</cx:pt>
          <cx:pt idx="16148">2</cx:pt>
          <cx:pt idx="16149">3</cx:pt>
          <cx:pt idx="16150">2</cx:pt>
          <cx:pt idx="16151">3</cx:pt>
          <cx:pt idx="16152">2</cx:pt>
          <cx:pt idx="16153">3</cx:pt>
          <cx:pt idx="16154">1</cx:pt>
          <cx:pt idx="16155">2</cx:pt>
          <cx:pt idx="16156">4</cx:pt>
          <cx:pt idx="16157">1</cx:pt>
          <cx:pt idx="16158">4</cx:pt>
          <cx:pt idx="16159">5</cx:pt>
          <cx:pt idx="16160">5</cx:pt>
          <cx:pt idx="16161">4</cx:pt>
          <cx:pt idx="16162">5</cx:pt>
          <cx:pt idx="16163">1</cx:pt>
          <cx:pt idx="16164">2</cx:pt>
          <cx:pt idx="16165">5</cx:pt>
          <cx:pt idx="16166">1</cx:pt>
          <cx:pt idx="16167">5</cx:pt>
          <cx:pt idx="16168">4</cx:pt>
          <cx:pt idx="16169">1</cx:pt>
          <cx:pt idx="16170">2</cx:pt>
          <cx:pt idx="16171">3</cx:pt>
          <cx:pt idx="16172">1</cx:pt>
          <cx:pt idx="16173">0</cx:pt>
          <cx:pt idx="16174">3</cx:pt>
          <cx:pt idx="16175">1</cx:pt>
          <cx:pt idx="16176">4</cx:pt>
          <cx:pt idx="16177">4</cx:pt>
          <cx:pt idx="16178">3</cx:pt>
          <cx:pt idx="16179">3</cx:pt>
          <cx:pt idx="16180">3</cx:pt>
          <cx:pt idx="16181">1</cx:pt>
          <cx:pt idx="16182">1</cx:pt>
          <cx:pt idx="16183">3</cx:pt>
          <cx:pt idx="16184">4</cx:pt>
          <cx:pt idx="16185">5</cx:pt>
          <cx:pt idx="16186">4</cx:pt>
          <cx:pt idx="16187">1</cx:pt>
          <cx:pt idx="16188">2</cx:pt>
          <cx:pt idx="16189">2</cx:pt>
          <cx:pt idx="16190">4</cx:pt>
          <cx:pt idx="16191">3</cx:pt>
          <cx:pt idx="16192">5</cx:pt>
          <cx:pt idx="16193">3</cx:pt>
          <cx:pt idx="16194">5</cx:pt>
          <cx:pt idx="16195">3</cx:pt>
          <cx:pt idx="16196">0</cx:pt>
          <cx:pt idx="16197">3</cx:pt>
          <cx:pt idx="16198">5</cx:pt>
          <cx:pt idx="16199">2</cx:pt>
          <cx:pt idx="16200">4</cx:pt>
          <cx:pt idx="16201">4</cx:pt>
          <cx:pt idx="16202">2</cx:pt>
          <cx:pt idx="16203">3</cx:pt>
          <cx:pt idx="16204">2</cx:pt>
          <cx:pt idx="16205">1</cx:pt>
          <cx:pt idx="16206">1</cx:pt>
          <cx:pt idx="16207">3</cx:pt>
          <cx:pt idx="16208">2</cx:pt>
          <cx:pt idx="16209">1</cx:pt>
          <cx:pt idx="16210">4</cx:pt>
          <cx:pt idx="16211">1</cx:pt>
          <cx:pt idx="16212">4</cx:pt>
          <cx:pt idx="16213">3</cx:pt>
          <cx:pt idx="16214">1</cx:pt>
          <cx:pt idx="16215">4</cx:pt>
          <cx:pt idx="16216">1</cx:pt>
          <cx:pt idx="16217">2</cx:pt>
          <cx:pt idx="16218">3</cx:pt>
          <cx:pt idx="16219">4</cx:pt>
          <cx:pt idx="16220">1</cx:pt>
          <cx:pt idx="16221">5</cx:pt>
          <cx:pt idx="16222">3</cx:pt>
          <cx:pt idx="16223">3</cx:pt>
          <cx:pt idx="16224">1</cx:pt>
          <cx:pt idx="16225">2</cx:pt>
          <cx:pt idx="16226">3</cx:pt>
          <cx:pt idx="16227">4</cx:pt>
          <cx:pt idx="16228">3</cx:pt>
          <cx:pt idx="16229">3</cx:pt>
          <cx:pt idx="16230">3</cx:pt>
          <cx:pt idx="16231">3</cx:pt>
          <cx:pt idx="16232">1</cx:pt>
          <cx:pt idx="16233">3</cx:pt>
          <cx:pt idx="16234">2</cx:pt>
          <cx:pt idx="16235">2</cx:pt>
          <cx:pt idx="16236">2</cx:pt>
          <cx:pt idx="16237">3</cx:pt>
          <cx:pt idx="16238">3</cx:pt>
          <cx:pt idx="16239">2</cx:pt>
          <cx:pt idx="16240">4</cx:pt>
          <cx:pt idx="16241">2</cx:pt>
          <cx:pt idx="16242">2</cx:pt>
          <cx:pt idx="16243">4</cx:pt>
          <cx:pt idx="16244">1</cx:pt>
          <cx:pt idx="16245">3</cx:pt>
          <cx:pt idx="16246">4</cx:pt>
          <cx:pt idx="16247">5</cx:pt>
          <cx:pt idx="16248">0</cx:pt>
          <cx:pt idx="16249">4</cx:pt>
          <cx:pt idx="16250">3</cx:pt>
          <cx:pt idx="16251">1</cx:pt>
          <cx:pt idx="16252">3</cx:pt>
          <cx:pt idx="16253">1</cx:pt>
          <cx:pt idx="16254">2</cx:pt>
          <cx:pt idx="16255">3</cx:pt>
          <cx:pt idx="16256">4</cx:pt>
          <cx:pt idx="16257">4</cx:pt>
          <cx:pt idx="16258">5</cx:pt>
          <cx:pt idx="16259">2</cx:pt>
          <cx:pt idx="16260">5</cx:pt>
          <cx:pt idx="16261">5</cx:pt>
          <cx:pt idx="16262">2</cx:pt>
          <cx:pt idx="16263">2</cx:pt>
          <cx:pt idx="16264">1</cx:pt>
          <cx:pt idx="16265">2</cx:pt>
          <cx:pt idx="16266">1</cx:pt>
          <cx:pt idx="16267">2</cx:pt>
          <cx:pt idx="16268">0</cx:pt>
          <cx:pt idx="16269">3</cx:pt>
          <cx:pt idx="16270">2</cx:pt>
          <cx:pt idx="16271">2</cx:pt>
          <cx:pt idx="16272">2</cx:pt>
          <cx:pt idx="16273">5</cx:pt>
          <cx:pt idx="16274">2</cx:pt>
          <cx:pt idx="16275">5</cx:pt>
          <cx:pt idx="16276">5</cx:pt>
          <cx:pt idx="16277">4</cx:pt>
          <cx:pt idx="16278">4</cx:pt>
          <cx:pt idx="16279">3</cx:pt>
          <cx:pt idx="16280">3</cx:pt>
          <cx:pt idx="16281">2</cx:pt>
          <cx:pt idx="16282">1</cx:pt>
          <cx:pt idx="16283">3</cx:pt>
          <cx:pt idx="16284">3</cx:pt>
          <cx:pt idx="16285">1</cx:pt>
          <cx:pt idx="16286">3</cx:pt>
          <cx:pt idx="16287">3</cx:pt>
          <cx:pt idx="16288">1</cx:pt>
          <cx:pt idx="16289">4</cx:pt>
          <cx:pt idx="16290">2</cx:pt>
          <cx:pt idx="16291">1</cx:pt>
          <cx:pt idx="16292">4</cx:pt>
          <cx:pt idx="16293">4</cx:pt>
          <cx:pt idx="16294">5</cx:pt>
          <cx:pt idx="16295">3</cx:pt>
          <cx:pt idx="16296">1</cx:pt>
          <cx:pt idx="16297">3</cx:pt>
          <cx:pt idx="16298">3</cx:pt>
          <cx:pt idx="16299">3</cx:pt>
          <cx:pt idx="16300">4</cx:pt>
          <cx:pt idx="16301">4</cx:pt>
          <cx:pt idx="16302">3</cx:pt>
          <cx:pt idx="16303">3</cx:pt>
          <cx:pt idx="16304">3</cx:pt>
          <cx:pt idx="16305">4</cx:pt>
          <cx:pt idx="16306">0</cx:pt>
          <cx:pt idx="16307">3</cx:pt>
          <cx:pt idx="16308">2</cx:pt>
          <cx:pt idx="16309">0</cx:pt>
          <cx:pt idx="16310">2</cx:pt>
          <cx:pt idx="16311">2</cx:pt>
          <cx:pt idx="16312">4</cx:pt>
          <cx:pt idx="16313">3</cx:pt>
          <cx:pt idx="16314">5</cx:pt>
          <cx:pt idx="16315">2</cx:pt>
          <cx:pt idx="16316">0</cx:pt>
          <cx:pt idx="16317">5</cx:pt>
          <cx:pt idx="16318">1</cx:pt>
          <cx:pt idx="16319">5</cx:pt>
          <cx:pt idx="16320">2</cx:pt>
          <cx:pt idx="16321">3</cx:pt>
          <cx:pt idx="16322">2</cx:pt>
          <cx:pt idx="16323">1</cx:pt>
          <cx:pt idx="16324">3</cx:pt>
          <cx:pt idx="16325">3</cx:pt>
          <cx:pt idx="16326">1</cx:pt>
          <cx:pt idx="16327">3</cx:pt>
          <cx:pt idx="16328">2</cx:pt>
          <cx:pt idx="16329">5</cx:pt>
          <cx:pt idx="16330">5</cx:pt>
          <cx:pt idx="16331">3</cx:pt>
          <cx:pt idx="16332">3</cx:pt>
          <cx:pt idx="16333">1</cx:pt>
          <cx:pt idx="16334">3</cx:pt>
          <cx:pt idx="16335">3</cx:pt>
          <cx:pt idx="16336">5</cx:pt>
          <cx:pt idx="16337">0</cx:pt>
          <cx:pt idx="16338">3</cx:pt>
          <cx:pt idx="16339">3</cx:pt>
          <cx:pt idx="16340">4</cx:pt>
          <cx:pt idx="16341">2</cx:pt>
          <cx:pt idx="16342">5</cx:pt>
          <cx:pt idx="16343">5</cx:pt>
          <cx:pt idx="16344">4</cx:pt>
          <cx:pt idx="16345">1</cx:pt>
          <cx:pt idx="16346">0</cx:pt>
          <cx:pt idx="16347">1</cx:pt>
          <cx:pt idx="16348">1</cx:pt>
          <cx:pt idx="16349">3</cx:pt>
          <cx:pt idx="16350">2</cx:pt>
          <cx:pt idx="16351">4</cx:pt>
          <cx:pt idx="16352">5</cx:pt>
          <cx:pt idx="16353">1</cx:pt>
          <cx:pt idx="16354">4</cx:pt>
          <cx:pt idx="16355">4</cx:pt>
          <cx:pt idx="16356">4</cx:pt>
          <cx:pt idx="16357">2</cx:pt>
          <cx:pt idx="16358">1</cx:pt>
          <cx:pt idx="16359">3</cx:pt>
          <cx:pt idx="16360">2</cx:pt>
          <cx:pt idx="16361">5</cx:pt>
          <cx:pt idx="16362">5</cx:pt>
          <cx:pt idx="16363">0</cx:pt>
          <cx:pt idx="16364">1</cx:pt>
          <cx:pt idx="16365">4</cx:pt>
          <cx:pt idx="16366">1</cx:pt>
          <cx:pt idx="16367">1</cx:pt>
          <cx:pt idx="16368">4</cx:pt>
          <cx:pt idx="16369">3</cx:pt>
          <cx:pt idx="16370">4</cx:pt>
          <cx:pt idx="16371">3</cx:pt>
          <cx:pt idx="16372">4</cx:pt>
          <cx:pt idx="16373">5</cx:pt>
          <cx:pt idx="16374">5</cx:pt>
          <cx:pt idx="16375">1</cx:pt>
          <cx:pt idx="16376">1</cx:pt>
          <cx:pt idx="16377">2</cx:pt>
          <cx:pt idx="16378">2</cx:pt>
          <cx:pt idx="16379">4</cx:pt>
          <cx:pt idx="16380">5</cx:pt>
          <cx:pt idx="16381">4</cx:pt>
          <cx:pt idx="16382">1</cx:pt>
          <cx:pt idx="16383">3</cx:pt>
          <cx:pt idx="16384">1</cx:pt>
          <cx:pt idx="16385">5</cx:pt>
          <cx:pt idx="16386">3</cx:pt>
          <cx:pt idx="16387">4</cx:pt>
          <cx:pt idx="16388">1</cx:pt>
          <cx:pt idx="16389">3</cx:pt>
          <cx:pt idx="16390">3</cx:pt>
          <cx:pt idx="16391">5</cx:pt>
          <cx:pt idx="16392">2</cx:pt>
          <cx:pt idx="16393">1</cx:pt>
          <cx:pt idx="16394">2</cx:pt>
          <cx:pt idx="16395">2</cx:pt>
          <cx:pt idx="16396">1</cx:pt>
          <cx:pt idx="16397">2</cx:pt>
          <cx:pt idx="16398">4</cx:pt>
          <cx:pt idx="16399">3</cx:pt>
          <cx:pt idx="16400">3</cx:pt>
          <cx:pt idx="16401">3</cx:pt>
          <cx:pt idx="16402">1</cx:pt>
          <cx:pt idx="16403">1</cx:pt>
          <cx:pt idx="16404">2</cx:pt>
          <cx:pt idx="16405">2</cx:pt>
          <cx:pt idx="16406">3</cx:pt>
          <cx:pt idx="16407">4</cx:pt>
          <cx:pt idx="16408">3</cx:pt>
          <cx:pt idx="16409">2</cx:pt>
          <cx:pt idx="16410">4</cx:pt>
          <cx:pt idx="16411">5</cx:pt>
          <cx:pt idx="16412">3</cx:pt>
          <cx:pt idx="16413">3</cx:pt>
          <cx:pt idx="16414">4</cx:pt>
          <cx:pt idx="16415">3</cx:pt>
          <cx:pt idx="16416">4</cx:pt>
          <cx:pt idx="16417">1</cx:pt>
          <cx:pt idx="16418">2</cx:pt>
          <cx:pt idx="16419">4</cx:pt>
          <cx:pt idx="16420">3</cx:pt>
          <cx:pt idx="16421">3</cx:pt>
          <cx:pt idx="16422">0</cx:pt>
          <cx:pt idx="16423">3</cx:pt>
          <cx:pt idx="16424">3</cx:pt>
          <cx:pt idx="16425">3</cx:pt>
          <cx:pt idx="16426">4</cx:pt>
          <cx:pt idx="16427">2</cx:pt>
          <cx:pt idx="16428">4</cx:pt>
          <cx:pt idx="16429">2</cx:pt>
          <cx:pt idx="16430">5</cx:pt>
          <cx:pt idx="16431">3</cx:pt>
          <cx:pt idx="16432">5</cx:pt>
          <cx:pt idx="16433">2</cx:pt>
          <cx:pt idx="16434">1</cx:pt>
          <cx:pt idx="16435">5</cx:pt>
          <cx:pt idx="16436">2</cx:pt>
          <cx:pt idx="16437">3</cx:pt>
          <cx:pt idx="16438">2</cx:pt>
          <cx:pt idx="16439">3</cx:pt>
          <cx:pt idx="16440">1</cx:pt>
          <cx:pt idx="16441">4</cx:pt>
          <cx:pt idx="16442">4</cx:pt>
          <cx:pt idx="16443">5</cx:pt>
          <cx:pt idx="16444">3</cx:pt>
          <cx:pt idx="16445">2</cx:pt>
          <cx:pt idx="16446">4</cx:pt>
          <cx:pt idx="16447">1</cx:pt>
          <cx:pt idx="16448">3</cx:pt>
          <cx:pt idx="16449">2</cx:pt>
          <cx:pt idx="16450">5</cx:pt>
          <cx:pt idx="16451">2</cx:pt>
          <cx:pt idx="16452">3</cx:pt>
          <cx:pt idx="16453">4</cx:pt>
          <cx:pt idx="16454">5</cx:pt>
          <cx:pt idx="16455">1</cx:pt>
          <cx:pt idx="16456">2</cx:pt>
          <cx:pt idx="16457">4</cx:pt>
          <cx:pt idx="16458">4</cx:pt>
          <cx:pt idx="16459">4</cx:pt>
          <cx:pt idx="16460">2</cx:pt>
          <cx:pt idx="16461">2</cx:pt>
          <cx:pt idx="16462">4</cx:pt>
          <cx:pt idx="16463">4</cx:pt>
          <cx:pt idx="16464">5</cx:pt>
          <cx:pt idx="16465">5</cx:pt>
          <cx:pt idx="16466">0</cx:pt>
          <cx:pt idx="16467">5</cx:pt>
          <cx:pt idx="16468">1</cx:pt>
          <cx:pt idx="16469">3</cx:pt>
          <cx:pt idx="16470">3</cx:pt>
          <cx:pt idx="16471">3</cx:pt>
          <cx:pt idx="16472">4</cx:pt>
          <cx:pt idx="16473">0</cx:pt>
          <cx:pt idx="16474">5</cx:pt>
          <cx:pt idx="16475">3</cx:pt>
          <cx:pt idx="16476">5</cx:pt>
          <cx:pt idx="16477">3</cx:pt>
          <cx:pt idx="16478">2</cx:pt>
          <cx:pt idx="16479">4</cx:pt>
          <cx:pt idx="16480">1</cx:pt>
          <cx:pt idx="16481">4</cx:pt>
          <cx:pt idx="16482">2</cx:pt>
          <cx:pt idx="16483">3</cx:pt>
          <cx:pt idx="16484">5</cx:pt>
          <cx:pt idx="16485">4</cx:pt>
          <cx:pt idx="16486">2</cx:pt>
          <cx:pt idx="16487">4</cx:pt>
          <cx:pt idx="16488">4</cx:pt>
          <cx:pt idx="16489">3</cx:pt>
          <cx:pt idx="16490">2</cx:pt>
          <cx:pt idx="16491">4</cx:pt>
          <cx:pt idx="16492">1</cx:pt>
          <cx:pt idx="16493">1</cx:pt>
          <cx:pt idx="16494">5</cx:pt>
          <cx:pt idx="16495">3</cx:pt>
          <cx:pt idx="16496">5</cx:pt>
          <cx:pt idx="16497">2</cx:pt>
          <cx:pt idx="16498">4</cx:pt>
          <cx:pt idx="16499">1</cx:pt>
          <cx:pt idx="16500">2</cx:pt>
          <cx:pt idx="16501">4</cx:pt>
          <cx:pt idx="16502">5</cx:pt>
          <cx:pt idx="16503">3</cx:pt>
          <cx:pt idx="16504">2</cx:pt>
          <cx:pt idx="16505">4</cx:pt>
          <cx:pt idx="16506">3</cx:pt>
          <cx:pt idx="16507">1</cx:pt>
          <cx:pt idx="16508">1</cx:pt>
          <cx:pt idx="16509">5</cx:pt>
          <cx:pt idx="16510">0</cx:pt>
          <cx:pt idx="16511">5</cx:pt>
          <cx:pt idx="16512">1</cx:pt>
          <cx:pt idx="16513">3</cx:pt>
          <cx:pt idx="16514">3</cx:pt>
          <cx:pt idx="16515">3</cx:pt>
          <cx:pt idx="16516">3</cx:pt>
          <cx:pt idx="16517">2</cx:pt>
          <cx:pt idx="16518">0</cx:pt>
          <cx:pt idx="16519">3</cx:pt>
          <cx:pt idx="16520">3</cx:pt>
          <cx:pt idx="16521">4</cx:pt>
          <cx:pt idx="16522">4</cx:pt>
          <cx:pt idx="16523">2</cx:pt>
          <cx:pt idx="16524">1</cx:pt>
          <cx:pt idx="16525">1</cx:pt>
          <cx:pt idx="16526">2</cx:pt>
          <cx:pt idx="16527">0</cx:pt>
          <cx:pt idx="16528">3</cx:pt>
          <cx:pt idx="16529">1</cx:pt>
          <cx:pt idx="16530">3</cx:pt>
          <cx:pt idx="16531">2</cx:pt>
          <cx:pt idx="16532">2</cx:pt>
          <cx:pt idx="16533">2</cx:pt>
          <cx:pt idx="16534">4</cx:pt>
          <cx:pt idx="16535">5</cx:pt>
          <cx:pt idx="16536">1</cx:pt>
          <cx:pt idx="16537">4</cx:pt>
          <cx:pt idx="16538">4</cx:pt>
          <cx:pt idx="16539">3</cx:pt>
          <cx:pt idx="16540">3</cx:pt>
          <cx:pt idx="16541">3</cx:pt>
          <cx:pt idx="16542">2</cx:pt>
          <cx:pt idx="16543">1</cx:pt>
          <cx:pt idx="16544">1</cx:pt>
          <cx:pt idx="16545">2</cx:pt>
          <cx:pt idx="16546">4</cx:pt>
          <cx:pt idx="16547">2</cx:pt>
          <cx:pt idx="16548">3</cx:pt>
          <cx:pt idx="16549">4</cx:pt>
          <cx:pt idx="16550">5</cx:pt>
          <cx:pt idx="16551">4</cx:pt>
          <cx:pt idx="16552">2</cx:pt>
          <cx:pt idx="16553">3</cx:pt>
          <cx:pt idx="16554">3</cx:pt>
          <cx:pt idx="16555">3</cx:pt>
          <cx:pt idx="16556">2</cx:pt>
          <cx:pt idx="16557">4</cx:pt>
          <cx:pt idx="16558">3</cx:pt>
          <cx:pt idx="16559">2</cx:pt>
          <cx:pt idx="16560">4</cx:pt>
          <cx:pt idx="16561">1</cx:pt>
          <cx:pt idx="16562">2</cx:pt>
          <cx:pt idx="16563">5</cx:pt>
          <cx:pt idx="16564">0</cx:pt>
          <cx:pt idx="16565">2</cx:pt>
          <cx:pt idx="16566">2</cx:pt>
          <cx:pt idx="16567">1</cx:pt>
          <cx:pt idx="16568">4</cx:pt>
          <cx:pt idx="16569">4</cx:pt>
          <cx:pt idx="16570">5</cx:pt>
          <cx:pt idx="16571">3</cx:pt>
          <cx:pt idx="16572">3</cx:pt>
          <cx:pt idx="16573">4</cx:pt>
          <cx:pt idx="16574">4</cx:pt>
          <cx:pt idx="16575">2</cx:pt>
          <cx:pt idx="16576">3</cx:pt>
          <cx:pt idx="16577">1</cx:pt>
          <cx:pt idx="16578">3</cx:pt>
          <cx:pt idx="16579">4</cx:pt>
          <cx:pt idx="16580">1</cx:pt>
          <cx:pt idx="16581">3</cx:pt>
          <cx:pt idx="16582">1</cx:pt>
          <cx:pt idx="16583">4</cx:pt>
          <cx:pt idx="16584">4</cx:pt>
          <cx:pt idx="16585">5</cx:pt>
          <cx:pt idx="16586">4</cx:pt>
          <cx:pt idx="16587">0</cx:pt>
          <cx:pt idx="16588">1</cx:pt>
          <cx:pt idx="16589">5</cx:pt>
          <cx:pt idx="16590">3</cx:pt>
          <cx:pt idx="16591">3</cx:pt>
          <cx:pt idx="16592">1</cx:pt>
          <cx:pt idx="16593">2</cx:pt>
          <cx:pt idx="16594">3</cx:pt>
          <cx:pt idx="16595">5</cx:pt>
          <cx:pt idx="16596">2</cx:pt>
          <cx:pt idx="16597">4</cx:pt>
          <cx:pt idx="16598">4</cx:pt>
          <cx:pt idx="16599">4</cx:pt>
          <cx:pt idx="16600">1</cx:pt>
          <cx:pt idx="16601">4</cx:pt>
          <cx:pt idx="16602">4</cx:pt>
          <cx:pt idx="16603">1</cx:pt>
          <cx:pt idx="16604">4</cx:pt>
          <cx:pt idx="16605">1</cx:pt>
          <cx:pt idx="16606">3</cx:pt>
          <cx:pt idx="16607">1</cx:pt>
          <cx:pt idx="16608">3</cx:pt>
          <cx:pt idx="16609">3</cx:pt>
          <cx:pt idx="16610">4</cx:pt>
          <cx:pt idx="16611">1</cx:pt>
          <cx:pt idx="16612">2</cx:pt>
          <cx:pt idx="16613">2</cx:pt>
          <cx:pt idx="16614">2</cx:pt>
          <cx:pt idx="16615">3</cx:pt>
          <cx:pt idx="16616">2</cx:pt>
          <cx:pt idx="16617">3</cx:pt>
          <cx:pt idx="16618">4</cx:pt>
          <cx:pt idx="16619">3</cx:pt>
          <cx:pt idx="16620">5</cx:pt>
          <cx:pt idx="16621">1</cx:pt>
          <cx:pt idx="16622">2</cx:pt>
          <cx:pt idx="16623">4</cx:pt>
          <cx:pt idx="16624">1</cx:pt>
          <cx:pt idx="16625">2</cx:pt>
          <cx:pt idx="16626">3</cx:pt>
          <cx:pt idx="16627">1</cx:pt>
          <cx:pt idx="16628">4</cx:pt>
          <cx:pt idx="16629">4</cx:pt>
          <cx:pt idx="16630">4</cx:pt>
          <cx:pt idx="16631">5</cx:pt>
          <cx:pt idx="16632">3</cx:pt>
          <cx:pt idx="16633">4</cx:pt>
          <cx:pt idx="16634">5</cx:pt>
          <cx:pt idx="16635">3</cx:pt>
          <cx:pt idx="16636">2</cx:pt>
          <cx:pt idx="16637">4</cx:pt>
          <cx:pt idx="16638">3</cx:pt>
          <cx:pt idx="16639">3</cx:pt>
          <cx:pt idx="16640">3</cx:pt>
          <cx:pt idx="16641">2</cx:pt>
          <cx:pt idx="16642">3</cx:pt>
          <cx:pt idx="16643">3</cx:pt>
          <cx:pt idx="16644">2</cx:pt>
          <cx:pt idx="16645">5</cx:pt>
          <cx:pt idx="16646">2</cx:pt>
          <cx:pt idx="16647">4</cx:pt>
          <cx:pt idx="16648">4</cx:pt>
          <cx:pt idx="16649">1</cx:pt>
          <cx:pt idx="16650">1</cx:pt>
          <cx:pt idx="16651">5</cx:pt>
          <cx:pt idx="16652">4</cx:pt>
          <cx:pt idx="16653">3</cx:pt>
          <cx:pt idx="16654">1</cx:pt>
          <cx:pt idx="16655">3</cx:pt>
          <cx:pt idx="16656">0</cx:pt>
          <cx:pt idx="16657">2</cx:pt>
          <cx:pt idx="16658">5</cx:pt>
          <cx:pt idx="16659">3</cx:pt>
          <cx:pt idx="16660">1</cx:pt>
          <cx:pt idx="16661">2</cx:pt>
          <cx:pt idx="16662">5</cx:pt>
          <cx:pt idx="16663">1</cx:pt>
          <cx:pt idx="16664">1</cx:pt>
          <cx:pt idx="16665">3</cx:pt>
          <cx:pt idx="16666">1</cx:pt>
          <cx:pt idx="16667">3</cx:pt>
          <cx:pt idx="16668">3</cx:pt>
          <cx:pt idx="16669">1</cx:pt>
          <cx:pt idx="16670">3</cx:pt>
          <cx:pt idx="16671">1</cx:pt>
          <cx:pt idx="16672">2</cx:pt>
          <cx:pt idx="16673">1</cx:pt>
          <cx:pt idx="16674">4</cx:pt>
          <cx:pt idx="16675">5</cx:pt>
          <cx:pt idx="16676">1</cx:pt>
          <cx:pt idx="16677">1</cx:pt>
          <cx:pt idx="16678">4</cx:pt>
          <cx:pt idx="16679">3</cx:pt>
          <cx:pt idx="16680">4</cx:pt>
          <cx:pt idx="16681">3</cx:pt>
          <cx:pt idx="16682">3</cx:pt>
          <cx:pt idx="16683">5</cx:pt>
          <cx:pt idx="16684">3</cx:pt>
          <cx:pt idx="16685">4</cx:pt>
          <cx:pt idx="16686">4</cx:pt>
          <cx:pt idx="16687">4</cx:pt>
          <cx:pt idx="16688">3</cx:pt>
          <cx:pt idx="16689">2</cx:pt>
          <cx:pt idx="16690">4</cx:pt>
          <cx:pt idx="16691">4</cx:pt>
          <cx:pt idx="16692">3</cx:pt>
          <cx:pt idx="16693">5</cx:pt>
          <cx:pt idx="16694">5</cx:pt>
          <cx:pt idx="16695">1</cx:pt>
          <cx:pt idx="16696">5</cx:pt>
          <cx:pt idx="16697">4</cx:pt>
          <cx:pt idx="16698">3</cx:pt>
          <cx:pt idx="16699">3</cx:pt>
          <cx:pt idx="16700">1</cx:pt>
          <cx:pt idx="16701">5</cx:pt>
          <cx:pt idx="16702">0</cx:pt>
          <cx:pt idx="16703">3</cx:pt>
          <cx:pt idx="16704">1</cx:pt>
          <cx:pt idx="16705">4</cx:pt>
          <cx:pt idx="16706">2</cx:pt>
          <cx:pt idx="16707">0</cx:pt>
          <cx:pt idx="16708">3</cx:pt>
          <cx:pt idx="16709">2</cx:pt>
          <cx:pt idx="16710">5</cx:pt>
          <cx:pt idx="16711">4</cx:pt>
          <cx:pt idx="16712">4</cx:pt>
          <cx:pt idx="16713">2</cx:pt>
          <cx:pt idx="16714">3</cx:pt>
          <cx:pt idx="16715">2</cx:pt>
          <cx:pt idx="16716">2</cx:pt>
          <cx:pt idx="16717">3</cx:pt>
          <cx:pt idx="16718">1</cx:pt>
          <cx:pt idx="16719">3</cx:pt>
          <cx:pt idx="16720">4</cx:pt>
          <cx:pt idx="16721">1</cx:pt>
          <cx:pt idx="16722">2</cx:pt>
          <cx:pt idx="16723">5</cx:pt>
          <cx:pt idx="16724">2</cx:pt>
          <cx:pt idx="16725">5</cx:pt>
          <cx:pt idx="16726">1</cx:pt>
          <cx:pt idx="16727">3</cx:pt>
          <cx:pt idx="16728">0</cx:pt>
          <cx:pt idx="16729">5</cx:pt>
          <cx:pt idx="16730">1</cx:pt>
          <cx:pt idx="16731">3</cx:pt>
          <cx:pt idx="16732">3</cx:pt>
          <cx:pt idx="16733">3</cx:pt>
          <cx:pt idx="16734">1</cx:pt>
          <cx:pt idx="16735">0</cx:pt>
          <cx:pt idx="16736">0</cx:pt>
          <cx:pt idx="16737">3</cx:pt>
          <cx:pt idx="16738">3</cx:pt>
          <cx:pt idx="16739">5</cx:pt>
          <cx:pt idx="16740">0</cx:pt>
          <cx:pt idx="16741">2</cx:pt>
          <cx:pt idx="16742">4</cx:pt>
          <cx:pt idx="16743">2</cx:pt>
          <cx:pt idx="16744">2</cx:pt>
          <cx:pt idx="16745">4</cx:pt>
          <cx:pt idx="16746">3</cx:pt>
          <cx:pt idx="16747">4</cx:pt>
          <cx:pt idx="16748">3</cx:pt>
          <cx:pt idx="16749">1</cx:pt>
          <cx:pt idx="16750">2</cx:pt>
          <cx:pt idx="16751">2</cx:pt>
          <cx:pt idx="16752">4</cx:pt>
          <cx:pt idx="16753">3</cx:pt>
          <cx:pt idx="16754">3</cx:pt>
          <cx:pt idx="16755">0</cx:pt>
          <cx:pt idx="16756">5</cx:pt>
          <cx:pt idx="16757">0</cx:pt>
          <cx:pt idx="16758">3</cx:pt>
          <cx:pt idx="16759">2</cx:pt>
          <cx:pt idx="16760">3</cx:pt>
          <cx:pt idx="16761">2</cx:pt>
          <cx:pt idx="16762">5</cx:pt>
          <cx:pt idx="16763">1</cx:pt>
          <cx:pt idx="16764">2</cx:pt>
          <cx:pt idx="16765">4</cx:pt>
          <cx:pt idx="16766">3</cx:pt>
          <cx:pt idx="16767">5</cx:pt>
          <cx:pt idx="16768">3</cx:pt>
          <cx:pt idx="16769">2</cx:pt>
          <cx:pt idx="16770">1</cx:pt>
          <cx:pt idx="16771">5</cx:pt>
          <cx:pt idx="16772">3</cx:pt>
          <cx:pt idx="16773">3</cx:pt>
          <cx:pt idx="16774">1</cx:pt>
          <cx:pt idx="16775">2</cx:pt>
          <cx:pt idx="16776">2</cx:pt>
          <cx:pt idx="16777">2</cx:pt>
          <cx:pt idx="16778">3</cx:pt>
          <cx:pt idx="16779">2</cx:pt>
          <cx:pt idx="16780">5</cx:pt>
          <cx:pt idx="16781">3</cx:pt>
          <cx:pt idx="16782">2</cx:pt>
          <cx:pt idx="16783">0</cx:pt>
          <cx:pt idx="16784">4</cx:pt>
          <cx:pt idx="16785">2</cx:pt>
          <cx:pt idx="16786">3</cx:pt>
          <cx:pt idx="16787">2</cx:pt>
          <cx:pt idx="16788">1</cx:pt>
          <cx:pt idx="16789">4</cx:pt>
          <cx:pt idx="16790">5</cx:pt>
          <cx:pt idx="16791">2</cx:pt>
          <cx:pt idx="16792">1</cx:pt>
          <cx:pt idx="16793">3</cx:pt>
          <cx:pt idx="16794">5</cx:pt>
          <cx:pt idx="16795">3</cx:pt>
          <cx:pt idx="16796">3</cx:pt>
          <cx:pt idx="16797">4</cx:pt>
          <cx:pt idx="16798">3</cx:pt>
          <cx:pt idx="16799">2</cx:pt>
          <cx:pt idx="16800">2</cx:pt>
          <cx:pt idx="16801">1</cx:pt>
          <cx:pt idx="16802">3</cx:pt>
          <cx:pt idx="16803">0</cx:pt>
          <cx:pt idx="16804">3</cx:pt>
          <cx:pt idx="16805">0</cx:pt>
          <cx:pt idx="16806">0</cx:pt>
          <cx:pt idx="16807">5</cx:pt>
          <cx:pt idx="16808">3</cx:pt>
          <cx:pt idx="16809">2</cx:pt>
          <cx:pt idx="16810">1</cx:pt>
          <cx:pt idx="16811">5</cx:pt>
          <cx:pt idx="16812">0</cx:pt>
          <cx:pt idx="16813">3</cx:pt>
          <cx:pt idx="16814">4</cx:pt>
          <cx:pt idx="16815">3</cx:pt>
          <cx:pt idx="16816">1</cx:pt>
          <cx:pt idx="16817">2</cx:pt>
          <cx:pt idx="16818">2</cx:pt>
          <cx:pt idx="16819">3</cx:pt>
          <cx:pt idx="16820">2</cx:pt>
          <cx:pt idx="16821">1</cx:pt>
          <cx:pt idx="16822">2</cx:pt>
          <cx:pt idx="16823">4</cx:pt>
          <cx:pt idx="16824">4</cx:pt>
          <cx:pt idx="16825">2</cx:pt>
          <cx:pt idx="16826">4</cx:pt>
          <cx:pt idx="16827">5</cx:pt>
          <cx:pt idx="16828">2</cx:pt>
          <cx:pt idx="16829">4</cx:pt>
          <cx:pt idx="16830">1</cx:pt>
          <cx:pt idx="16831">4</cx:pt>
          <cx:pt idx="16832">4</cx:pt>
          <cx:pt idx="16833">1</cx:pt>
          <cx:pt idx="16834">4</cx:pt>
          <cx:pt idx="16835">3</cx:pt>
          <cx:pt idx="16836">5</cx:pt>
          <cx:pt idx="16837">3</cx:pt>
          <cx:pt idx="16838">3</cx:pt>
          <cx:pt idx="16839">4</cx:pt>
          <cx:pt idx="16840">3</cx:pt>
          <cx:pt idx="16841">1</cx:pt>
          <cx:pt idx="16842">1</cx:pt>
          <cx:pt idx="16843">3</cx:pt>
          <cx:pt idx="16844">1</cx:pt>
          <cx:pt idx="16845">1</cx:pt>
          <cx:pt idx="16846">2</cx:pt>
          <cx:pt idx="16847">0</cx:pt>
          <cx:pt idx="16848">3</cx:pt>
          <cx:pt idx="16849">5</cx:pt>
          <cx:pt idx="16850">1</cx:pt>
          <cx:pt idx="16851">2</cx:pt>
          <cx:pt idx="16852">2</cx:pt>
          <cx:pt idx="16853">2</cx:pt>
          <cx:pt idx="16854">5</cx:pt>
          <cx:pt idx="16855">0</cx:pt>
          <cx:pt idx="16856">3</cx:pt>
          <cx:pt idx="16857">1</cx:pt>
          <cx:pt idx="16858">2</cx:pt>
          <cx:pt idx="16859">0</cx:pt>
          <cx:pt idx="16860">1</cx:pt>
          <cx:pt idx="16861">5</cx:pt>
          <cx:pt idx="16862">5</cx:pt>
          <cx:pt idx="16863">2</cx:pt>
          <cx:pt idx="16864">4</cx:pt>
          <cx:pt idx="16865">1</cx:pt>
          <cx:pt idx="16866">2</cx:pt>
          <cx:pt idx="16867">3</cx:pt>
          <cx:pt idx="16868">4</cx:pt>
          <cx:pt idx="16869">1</cx:pt>
          <cx:pt idx="16870">5</cx:pt>
          <cx:pt idx="16871">5</cx:pt>
          <cx:pt idx="16872">4</cx:pt>
          <cx:pt idx="16873">4</cx:pt>
          <cx:pt idx="16874">5</cx:pt>
          <cx:pt idx="16875">4</cx:pt>
          <cx:pt idx="16876">3</cx:pt>
          <cx:pt idx="16877">2</cx:pt>
          <cx:pt idx="16878">5</cx:pt>
          <cx:pt idx="16879">5</cx:pt>
          <cx:pt idx="16880">5</cx:pt>
          <cx:pt idx="16881">4</cx:pt>
          <cx:pt idx="16882">4</cx:pt>
          <cx:pt idx="16883">3</cx:pt>
          <cx:pt idx="16884">3</cx:pt>
          <cx:pt idx="16885">4</cx:pt>
          <cx:pt idx="16886">2</cx:pt>
          <cx:pt idx="16887">1</cx:pt>
          <cx:pt idx="16888">2</cx:pt>
          <cx:pt idx="16889">5</cx:pt>
          <cx:pt idx="16890">3</cx:pt>
          <cx:pt idx="16891">4</cx:pt>
          <cx:pt idx="16892">1</cx:pt>
          <cx:pt idx="16893">2</cx:pt>
          <cx:pt idx="16894">1</cx:pt>
          <cx:pt idx="16895">1</cx:pt>
          <cx:pt idx="16896">2</cx:pt>
          <cx:pt idx="16897">5</cx:pt>
          <cx:pt idx="16898">2</cx:pt>
          <cx:pt idx="16899">4</cx:pt>
          <cx:pt idx="16900">3</cx:pt>
          <cx:pt idx="16901">4</cx:pt>
          <cx:pt idx="16902">0</cx:pt>
          <cx:pt idx="16903">4</cx:pt>
          <cx:pt idx="16904">2</cx:pt>
          <cx:pt idx="16905">3</cx:pt>
          <cx:pt idx="16906">3</cx:pt>
          <cx:pt idx="16907">0</cx:pt>
          <cx:pt idx="16908">5</cx:pt>
          <cx:pt idx="16909">2</cx:pt>
          <cx:pt idx="16910">2</cx:pt>
          <cx:pt idx="16911">2</cx:pt>
          <cx:pt idx="16912">2</cx:pt>
          <cx:pt idx="16913">0</cx:pt>
          <cx:pt idx="16914">2</cx:pt>
          <cx:pt idx="16915">2</cx:pt>
          <cx:pt idx="16916">3</cx:pt>
          <cx:pt idx="16917">1</cx:pt>
          <cx:pt idx="16918">2</cx:pt>
          <cx:pt idx="16919">2</cx:pt>
          <cx:pt idx="16920">4</cx:pt>
          <cx:pt idx="16921">4</cx:pt>
          <cx:pt idx="16922">3</cx:pt>
          <cx:pt idx="16923">2</cx:pt>
          <cx:pt idx="16924">3</cx:pt>
          <cx:pt idx="16925">2</cx:pt>
          <cx:pt idx="16926">4</cx:pt>
          <cx:pt idx="16927">5</cx:pt>
          <cx:pt idx="16928">4</cx:pt>
          <cx:pt idx="16929">1</cx:pt>
          <cx:pt idx="16930">3</cx:pt>
          <cx:pt idx="16931">4</cx:pt>
          <cx:pt idx="16932">1</cx:pt>
          <cx:pt idx="16933">1</cx:pt>
          <cx:pt idx="16934">3</cx:pt>
          <cx:pt idx="16935">4</cx:pt>
          <cx:pt idx="16936">4</cx:pt>
          <cx:pt idx="16937">2</cx:pt>
          <cx:pt idx="16938">4</cx:pt>
          <cx:pt idx="16939">3</cx:pt>
          <cx:pt idx="16940">1</cx:pt>
          <cx:pt idx="16941">3</cx:pt>
          <cx:pt idx="16942">5</cx:pt>
          <cx:pt idx="16943">3</cx:pt>
          <cx:pt idx="16944">2</cx:pt>
          <cx:pt idx="16945">2</cx:pt>
          <cx:pt idx="16946">5</cx:pt>
          <cx:pt idx="16947">3</cx:pt>
          <cx:pt idx="16948">1</cx:pt>
          <cx:pt idx="16949">4</cx:pt>
          <cx:pt idx="16950">1</cx:pt>
          <cx:pt idx="16951">1</cx:pt>
          <cx:pt idx="16952">2</cx:pt>
          <cx:pt idx="16953">2</cx:pt>
          <cx:pt idx="16954">1</cx:pt>
          <cx:pt idx="16955">0</cx:pt>
          <cx:pt idx="16956">2</cx:pt>
          <cx:pt idx="16957">4</cx:pt>
          <cx:pt idx="16958">2</cx:pt>
          <cx:pt idx="16959">2</cx:pt>
          <cx:pt idx="16960">1</cx:pt>
          <cx:pt idx="16961">5</cx:pt>
          <cx:pt idx="16962">5</cx:pt>
          <cx:pt idx="16963">2</cx:pt>
          <cx:pt idx="16964">3</cx:pt>
          <cx:pt idx="16965">1</cx:pt>
          <cx:pt idx="16966">4</cx:pt>
          <cx:pt idx="16967">4</cx:pt>
          <cx:pt idx="16968">5</cx:pt>
          <cx:pt idx="16969">3</cx:pt>
          <cx:pt idx="16970">4</cx:pt>
          <cx:pt idx="16971">1</cx:pt>
          <cx:pt idx="16972">2</cx:pt>
          <cx:pt idx="16973">3</cx:pt>
          <cx:pt idx="16974">2</cx:pt>
          <cx:pt idx="16975">3</cx:pt>
          <cx:pt idx="16976">3</cx:pt>
          <cx:pt idx="16977">1</cx:pt>
          <cx:pt idx="16978">4</cx:pt>
          <cx:pt idx="16979">2</cx:pt>
          <cx:pt idx="16980">4</cx:pt>
          <cx:pt idx="16981">2</cx:pt>
          <cx:pt idx="16982">1</cx:pt>
          <cx:pt idx="16983">5</cx:pt>
          <cx:pt idx="16984">4</cx:pt>
          <cx:pt idx="16985">3</cx:pt>
          <cx:pt idx="16986">4</cx:pt>
          <cx:pt idx="16987">2</cx:pt>
          <cx:pt idx="16988">1</cx:pt>
          <cx:pt idx="16989">4</cx:pt>
          <cx:pt idx="16990">4</cx:pt>
          <cx:pt idx="16991">1</cx:pt>
          <cx:pt idx="16992">3</cx:pt>
          <cx:pt idx="16993">3</cx:pt>
          <cx:pt idx="16994">5</cx:pt>
          <cx:pt idx="16995">2</cx:pt>
          <cx:pt idx="16996">3</cx:pt>
          <cx:pt idx="16997">2</cx:pt>
          <cx:pt idx="16998">2</cx:pt>
          <cx:pt idx="16999">4</cx:pt>
          <cx:pt idx="17000">1</cx:pt>
          <cx:pt idx="17001">2</cx:pt>
          <cx:pt idx="17002">5</cx:pt>
          <cx:pt idx="17003">5</cx:pt>
          <cx:pt idx="17004">2</cx:pt>
          <cx:pt idx="17005">2</cx:pt>
          <cx:pt idx="17006">4</cx:pt>
          <cx:pt idx="17007">2</cx:pt>
          <cx:pt idx="17008">4</cx:pt>
          <cx:pt idx="17009">2</cx:pt>
          <cx:pt idx="17010">2</cx:pt>
          <cx:pt idx="17011">4</cx:pt>
          <cx:pt idx="17012">3</cx:pt>
          <cx:pt idx="17013">1</cx:pt>
          <cx:pt idx="17014">3</cx:pt>
          <cx:pt idx="17015">5</cx:pt>
          <cx:pt idx="17016">3</cx:pt>
          <cx:pt idx="17017">4</cx:pt>
          <cx:pt idx="17018">3</cx:pt>
          <cx:pt idx="17019">3</cx:pt>
          <cx:pt idx="17020">2</cx:pt>
          <cx:pt idx="17021">2</cx:pt>
          <cx:pt idx="17022">4</cx:pt>
          <cx:pt idx="17023">5</cx:pt>
          <cx:pt idx="17024">5</cx:pt>
          <cx:pt idx="17025">4</cx:pt>
          <cx:pt idx="17026">1</cx:pt>
          <cx:pt idx="17027">1</cx:pt>
          <cx:pt idx="17028">3</cx:pt>
          <cx:pt idx="17029">1</cx:pt>
          <cx:pt idx="17030">3</cx:pt>
          <cx:pt idx="17031">2</cx:pt>
          <cx:pt idx="17032">4</cx:pt>
          <cx:pt idx="17033">2</cx:pt>
          <cx:pt idx="17034">3</cx:pt>
          <cx:pt idx="17035">1</cx:pt>
          <cx:pt idx="17036">4</cx:pt>
          <cx:pt idx="17037">5</cx:pt>
          <cx:pt idx="17038">2</cx:pt>
          <cx:pt idx="17039">1</cx:pt>
          <cx:pt idx="17040">5</cx:pt>
          <cx:pt idx="17041">4</cx:pt>
          <cx:pt idx="17042">1</cx:pt>
          <cx:pt idx="17043">3</cx:pt>
          <cx:pt idx="17044">3</cx:pt>
          <cx:pt idx="17045">2</cx:pt>
          <cx:pt idx="17046">2</cx:pt>
          <cx:pt idx="17047">3</cx:pt>
          <cx:pt idx="17048">3</cx:pt>
          <cx:pt idx="17049">0</cx:pt>
          <cx:pt idx="17050">5</cx:pt>
          <cx:pt idx="17051">5</cx:pt>
          <cx:pt idx="17052">2</cx:pt>
          <cx:pt idx="17053">2</cx:pt>
          <cx:pt idx="17054">4</cx:pt>
          <cx:pt idx="17055">4</cx:pt>
          <cx:pt idx="17056">1</cx:pt>
          <cx:pt idx="17057">2</cx:pt>
          <cx:pt idx="17058">1</cx:pt>
          <cx:pt idx="17059">5</cx:pt>
          <cx:pt idx="17060">3</cx:pt>
          <cx:pt idx="17061">4</cx:pt>
          <cx:pt idx="17062">5</cx:pt>
          <cx:pt idx="17063">4</cx:pt>
          <cx:pt idx="17064">3</cx:pt>
          <cx:pt idx="17065">2</cx:pt>
          <cx:pt idx="17066">3</cx:pt>
          <cx:pt idx="17067">2</cx:pt>
          <cx:pt idx="17068">2</cx:pt>
          <cx:pt idx="17069">4</cx:pt>
          <cx:pt idx="17070">3</cx:pt>
          <cx:pt idx="17071">2</cx:pt>
          <cx:pt idx="17072">2</cx:pt>
          <cx:pt idx="17073">2</cx:pt>
          <cx:pt idx="17074">3</cx:pt>
          <cx:pt idx="17075">2</cx:pt>
          <cx:pt idx="17076">3</cx:pt>
          <cx:pt idx="17077">2</cx:pt>
          <cx:pt idx="17078">5</cx:pt>
          <cx:pt idx="17079">5</cx:pt>
          <cx:pt idx="17080">2</cx:pt>
          <cx:pt idx="17081">3</cx:pt>
          <cx:pt idx="17082">4</cx:pt>
          <cx:pt idx="17083">1</cx:pt>
          <cx:pt idx="17084">1</cx:pt>
          <cx:pt idx="17085">1</cx:pt>
          <cx:pt idx="17086">2</cx:pt>
          <cx:pt idx="17087">1</cx:pt>
          <cx:pt idx="17088">5</cx:pt>
          <cx:pt idx="17089">4</cx:pt>
          <cx:pt idx="17090">2</cx:pt>
          <cx:pt idx="17091">2</cx:pt>
          <cx:pt idx="17092">1</cx:pt>
          <cx:pt idx="17093">4</cx:pt>
          <cx:pt idx="17094">4</cx:pt>
          <cx:pt idx="17095">2</cx:pt>
          <cx:pt idx="17096">0</cx:pt>
          <cx:pt idx="17097">1</cx:pt>
          <cx:pt idx="17098">5</cx:pt>
          <cx:pt idx="17099">3</cx:pt>
          <cx:pt idx="17100">5</cx:pt>
          <cx:pt idx="17101">2</cx:pt>
          <cx:pt idx="17102">3</cx:pt>
          <cx:pt idx="17103">1</cx:pt>
          <cx:pt idx="17104">4</cx:pt>
          <cx:pt idx="17105">4</cx:pt>
          <cx:pt idx="17106">0</cx:pt>
          <cx:pt idx="17107">1</cx:pt>
          <cx:pt idx="17108">3</cx:pt>
          <cx:pt idx="17109">3</cx:pt>
          <cx:pt idx="17110">5</cx:pt>
          <cx:pt idx="17111">2</cx:pt>
          <cx:pt idx="17112">2</cx:pt>
          <cx:pt idx="17113">2</cx:pt>
          <cx:pt idx="17114">5</cx:pt>
          <cx:pt idx="17115">4</cx:pt>
          <cx:pt idx="17116">2</cx:pt>
          <cx:pt idx="17117">3</cx:pt>
          <cx:pt idx="17118">4</cx:pt>
          <cx:pt idx="17119">1</cx:pt>
          <cx:pt idx="17120">1</cx:pt>
          <cx:pt idx="17121">4</cx:pt>
          <cx:pt idx="17122">4</cx:pt>
          <cx:pt idx="17123">2</cx:pt>
          <cx:pt idx="17124">0</cx:pt>
          <cx:pt idx="17125">3</cx:pt>
          <cx:pt idx="17126">2</cx:pt>
          <cx:pt idx="17127">0</cx:pt>
          <cx:pt idx="17128">5</cx:pt>
          <cx:pt idx="17129">2</cx:pt>
          <cx:pt idx="17130">3</cx:pt>
          <cx:pt idx="17131">2</cx:pt>
          <cx:pt idx="17132">3</cx:pt>
          <cx:pt idx="17133">2</cx:pt>
          <cx:pt idx="17134">2</cx:pt>
          <cx:pt idx="17135">1</cx:pt>
          <cx:pt idx="17136">5</cx:pt>
          <cx:pt idx="17137">1</cx:pt>
          <cx:pt idx="17138">4</cx:pt>
          <cx:pt idx="17139">5</cx:pt>
          <cx:pt idx="17140">4</cx:pt>
          <cx:pt idx="17141">3</cx:pt>
          <cx:pt idx="17142">2</cx:pt>
          <cx:pt idx="17143">3</cx:pt>
          <cx:pt idx="17144">1</cx:pt>
          <cx:pt idx="17145">4</cx:pt>
          <cx:pt idx="17146">3</cx:pt>
          <cx:pt idx="17147">1</cx:pt>
          <cx:pt idx="17148">5</cx:pt>
          <cx:pt idx="17149">1</cx:pt>
          <cx:pt idx="17150">4</cx:pt>
          <cx:pt idx="17151">5</cx:pt>
          <cx:pt idx="17152">5</cx:pt>
          <cx:pt idx="17153">1</cx:pt>
          <cx:pt idx="17154">1</cx:pt>
          <cx:pt idx="17155">3</cx:pt>
          <cx:pt idx="17156">5</cx:pt>
          <cx:pt idx="17157">0</cx:pt>
          <cx:pt idx="17158">3</cx:pt>
          <cx:pt idx="17159">4</cx:pt>
          <cx:pt idx="17160">4</cx:pt>
          <cx:pt idx="17161">3</cx:pt>
          <cx:pt idx="17162">3</cx:pt>
          <cx:pt idx="17163">2</cx:pt>
          <cx:pt idx="17164">2</cx:pt>
          <cx:pt idx="17165">1</cx:pt>
          <cx:pt idx="17166">4</cx:pt>
          <cx:pt idx="17167">4</cx:pt>
          <cx:pt idx="17168">3</cx:pt>
          <cx:pt idx="17169">5</cx:pt>
          <cx:pt idx="17170">1</cx:pt>
          <cx:pt idx="17171">5</cx:pt>
          <cx:pt idx="17172">2</cx:pt>
          <cx:pt idx="17173">4</cx:pt>
          <cx:pt idx="17174">2</cx:pt>
          <cx:pt idx="17175">2</cx:pt>
          <cx:pt idx="17176">2</cx:pt>
          <cx:pt idx="17177">3</cx:pt>
          <cx:pt idx="17178">4</cx:pt>
          <cx:pt idx="17179">3</cx:pt>
          <cx:pt idx="17180">2</cx:pt>
          <cx:pt idx="17181">4</cx:pt>
          <cx:pt idx="17182">4</cx:pt>
          <cx:pt idx="17183">2</cx:pt>
          <cx:pt idx="17184">1</cx:pt>
          <cx:pt idx="17185">3</cx:pt>
          <cx:pt idx="17186">4</cx:pt>
          <cx:pt idx="17187">3</cx:pt>
          <cx:pt idx="17188">2</cx:pt>
          <cx:pt idx="17189">5</cx:pt>
          <cx:pt idx="17190">2</cx:pt>
          <cx:pt idx="17191">5</cx:pt>
          <cx:pt idx="17192">3</cx:pt>
          <cx:pt idx="17193">2</cx:pt>
          <cx:pt idx="17194">5</cx:pt>
          <cx:pt idx="17195">1</cx:pt>
          <cx:pt idx="17196">4</cx:pt>
          <cx:pt idx="17197">4</cx:pt>
          <cx:pt idx="17198">3</cx:pt>
          <cx:pt idx="17199">4</cx:pt>
          <cx:pt idx="17200">4</cx:pt>
          <cx:pt idx="17201">2</cx:pt>
          <cx:pt idx="17202">2</cx:pt>
          <cx:pt idx="17203">2</cx:pt>
          <cx:pt idx="17204">4</cx:pt>
          <cx:pt idx="17205">2</cx:pt>
          <cx:pt idx="17206">5</cx:pt>
          <cx:pt idx="17207">3</cx:pt>
          <cx:pt idx="17208">4</cx:pt>
          <cx:pt idx="17209">0</cx:pt>
          <cx:pt idx="17210">1</cx:pt>
          <cx:pt idx="17211">1</cx:pt>
          <cx:pt idx="17212">1</cx:pt>
          <cx:pt idx="17213">2</cx:pt>
          <cx:pt idx="17214">2</cx:pt>
          <cx:pt idx="17215">3</cx:pt>
          <cx:pt idx="17216">3</cx:pt>
          <cx:pt idx="17217">3</cx:pt>
          <cx:pt idx="17218">1</cx:pt>
          <cx:pt idx="17219">1</cx:pt>
          <cx:pt idx="17220">1</cx:pt>
          <cx:pt idx="17221">1</cx:pt>
          <cx:pt idx="17222">4</cx:pt>
          <cx:pt idx="17223">3</cx:pt>
          <cx:pt idx="17224">4</cx:pt>
          <cx:pt idx="17225">2</cx:pt>
          <cx:pt idx="17226">1</cx:pt>
          <cx:pt idx="17227">1</cx:pt>
          <cx:pt idx="17228">3</cx:pt>
          <cx:pt idx="17229">1</cx:pt>
          <cx:pt idx="17230">1</cx:pt>
          <cx:pt idx="17231">0</cx:pt>
          <cx:pt idx="17232">4</cx:pt>
          <cx:pt idx="17233">3</cx:pt>
          <cx:pt idx="17234">1</cx:pt>
          <cx:pt idx="17235">5</cx:pt>
          <cx:pt idx="17236">4</cx:pt>
          <cx:pt idx="17237">3</cx:pt>
          <cx:pt idx="17238">3</cx:pt>
          <cx:pt idx="17239">4</cx:pt>
          <cx:pt idx="17240">3</cx:pt>
          <cx:pt idx="17241">4</cx:pt>
          <cx:pt idx="17242">3</cx:pt>
          <cx:pt idx="17243">4</cx:pt>
          <cx:pt idx="17244">3</cx:pt>
          <cx:pt idx="17245">1</cx:pt>
          <cx:pt idx="17246">3</cx:pt>
          <cx:pt idx="17247">3</cx:pt>
          <cx:pt idx="17248">2</cx:pt>
          <cx:pt idx="17249">4</cx:pt>
          <cx:pt idx="17250">1</cx:pt>
          <cx:pt idx="17251">5</cx:pt>
          <cx:pt idx="17252">3</cx:pt>
          <cx:pt idx="17253">3</cx:pt>
          <cx:pt idx="17254">2</cx:pt>
          <cx:pt idx="17255">2</cx:pt>
          <cx:pt idx="17256">2</cx:pt>
          <cx:pt idx="17257">0</cx:pt>
          <cx:pt idx="17258">0</cx:pt>
          <cx:pt idx="17259">3</cx:pt>
          <cx:pt idx="17260">3</cx:pt>
          <cx:pt idx="17261">1</cx:pt>
          <cx:pt idx="17262">4</cx:pt>
          <cx:pt idx="17263">3</cx:pt>
          <cx:pt idx="17264">1</cx:pt>
          <cx:pt idx="17265">2</cx:pt>
          <cx:pt idx="17266">2</cx:pt>
          <cx:pt idx="17267">1</cx:pt>
          <cx:pt idx="17268">2</cx:pt>
          <cx:pt idx="17269">4</cx:pt>
          <cx:pt idx="17270">2</cx:pt>
          <cx:pt idx="17271">0</cx:pt>
          <cx:pt idx="17272">2</cx:pt>
          <cx:pt idx="17273">1</cx:pt>
          <cx:pt idx="17274">2</cx:pt>
          <cx:pt idx="17275">2</cx:pt>
          <cx:pt idx="17276">3</cx:pt>
          <cx:pt idx="17277">3</cx:pt>
          <cx:pt idx="17278">1</cx:pt>
          <cx:pt idx="17279">3</cx:pt>
          <cx:pt idx="17280">3</cx:pt>
          <cx:pt idx="17281">1</cx:pt>
          <cx:pt idx="17282">3</cx:pt>
          <cx:pt idx="17283">3</cx:pt>
          <cx:pt idx="17284">3</cx:pt>
          <cx:pt idx="17285">3</cx:pt>
          <cx:pt idx="17286">4</cx:pt>
          <cx:pt idx="17287">4</cx:pt>
          <cx:pt idx="17288">3</cx:pt>
          <cx:pt idx="17289">1</cx:pt>
          <cx:pt idx="17290">3</cx:pt>
          <cx:pt idx="17291">4</cx:pt>
          <cx:pt idx="17292">2</cx:pt>
          <cx:pt idx="17293">2</cx:pt>
          <cx:pt idx="17294">1</cx:pt>
          <cx:pt idx="17295">3</cx:pt>
          <cx:pt idx="17296">1</cx:pt>
          <cx:pt idx="17297">0</cx:pt>
          <cx:pt idx="17298">3</cx:pt>
          <cx:pt idx="17299">3</cx:pt>
          <cx:pt idx="17300">3</cx:pt>
          <cx:pt idx="17301">1</cx:pt>
          <cx:pt idx="17302">5</cx:pt>
          <cx:pt idx="17303">3</cx:pt>
          <cx:pt idx="17304">4</cx:pt>
          <cx:pt idx="17305">2</cx:pt>
          <cx:pt idx="17306">4</cx:pt>
          <cx:pt idx="17307">2</cx:pt>
          <cx:pt idx="17308">4</cx:pt>
          <cx:pt idx="17309">2</cx:pt>
          <cx:pt idx="17310">1</cx:pt>
          <cx:pt idx="17311">4</cx:pt>
          <cx:pt idx="17312">3</cx:pt>
          <cx:pt idx="17313">2</cx:pt>
          <cx:pt idx="17314">3</cx:pt>
          <cx:pt idx="17315">2</cx:pt>
          <cx:pt idx="17316">3</cx:pt>
          <cx:pt idx="17317">2</cx:pt>
          <cx:pt idx="17318">4</cx:pt>
          <cx:pt idx="17319">3</cx:pt>
          <cx:pt idx="17320">4</cx:pt>
          <cx:pt idx="17321">4</cx:pt>
          <cx:pt idx="17322">1</cx:pt>
          <cx:pt idx="17323">2</cx:pt>
          <cx:pt idx="17324">2</cx:pt>
          <cx:pt idx="17325">3</cx:pt>
          <cx:pt idx="17326">5</cx:pt>
          <cx:pt idx="17327">2</cx:pt>
          <cx:pt idx="17328">2</cx:pt>
          <cx:pt idx="17329">5</cx:pt>
          <cx:pt idx="17330">3</cx:pt>
          <cx:pt idx="17331">1</cx:pt>
          <cx:pt idx="17332">3</cx:pt>
          <cx:pt idx="17333">0</cx:pt>
          <cx:pt idx="17334">4</cx:pt>
          <cx:pt idx="17335">3</cx:pt>
          <cx:pt idx="17336">2</cx:pt>
          <cx:pt idx="17337">0</cx:pt>
          <cx:pt idx="17338">1</cx:pt>
          <cx:pt idx="17339">4</cx:pt>
          <cx:pt idx="17340">4</cx:pt>
          <cx:pt idx="17341">1</cx:pt>
          <cx:pt idx="17342">3</cx:pt>
          <cx:pt idx="17343">5</cx:pt>
          <cx:pt idx="17344">2</cx:pt>
          <cx:pt idx="17345">4</cx:pt>
          <cx:pt idx="17346">3</cx:pt>
          <cx:pt idx="17347">5</cx:pt>
          <cx:pt idx="17348">2</cx:pt>
          <cx:pt idx="17349">2</cx:pt>
          <cx:pt idx="17350">4</cx:pt>
          <cx:pt idx="17351">4</cx:pt>
          <cx:pt idx="17352">5</cx:pt>
          <cx:pt idx="17353">4</cx:pt>
          <cx:pt idx="17354">5</cx:pt>
          <cx:pt idx="17355">0</cx:pt>
          <cx:pt idx="17356">1</cx:pt>
          <cx:pt idx="17357">5</cx:pt>
          <cx:pt idx="17358">2</cx:pt>
          <cx:pt idx="17359">2</cx:pt>
          <cx:pt idx="17360">2</cx:pt>
          <cx:pt idx="17361">2</cx:pt>
          <cx:pt idx="17362">2</cx:pt>
          <cx:pt idx="17363">2</cx:pt>
          <cx:pt idx="17364">1</cx:pt>
          <cx:pt idx="17365">2</cx:pt>
          <cx:pt idx="17366">3</cx:pt>
          <cx:pt idx="17367">2</cx:pt>
          <cx:pt idx="17368">2</cx:pt>
          <cx:pt idx="17369">5</cx:pt>
          <cx:pt idx="17370">2</cx:pt>
          <cx:pt idx="17371">2</cx:pt>
          <cx:pt idx="17372">1</cx:pt>
          <cx:pt idx="17373">5</cx:pt>
          <cx:pt idx="17374">4</cx:pt>
          <cx:pt idx="17375">1</cx:pt>
          <cx:pt idx="17376">3</cx:pt>
          <cx:pt idx="17377">2</cx:pt>
          <cx:pt idx="17378">3</cx:pt>
          <cx:pt idx="17379">1</cx:pt>
          <cx:pt idx="17380">3</cx:pt>
          <cx:pt idx="17381">4</cx:pt>
          <cx:pt idx="17382">1</cx:pt>
          <cx:pt idx="17383">5</cx:pt>
          <cx:pt idx="17384">2</cx:pt>
          <cx:pt idx="17385">5</cx:pt>
          <cx:pt idx="17386">0</cx:pt>
          <cx:pt idx="17387">2</cx:pt>
          <cx:pt idx="17388">0</cx:pt>
          <cx:pt idx="17389">4</cx:pt>
          <cx:pt idx="17390">4</cx:pt>
          <cx:pt idx="17391">5</cx:pt>
          <cx:pt idx="17392">5</cx:pt>
          <cx:pt idx="17393">1</cx:pt>
          <cx:pt idx="17394">2</cx:pt>
          <cx:pt idx="17395">3</cx:pt>
          <cx:pt idx="17396">4</cx:pt>
          <cx:pt idx="17397">2</cx:pt>
          <cx:pt idx="17398">1</cx:pt>
          <cx:pt idx="17399">3</cx:pt>
          <cx:pt idx="17400">0</cx:pt>
          <cx:pt idx="17401">1</cx:pt>
          <cx:pt idx="17402">3</cx:pt>
          <cx:pt idx="17403">2</cx:pt>
          <cx:pt idx="17404">4</cx:pt>
          <cx:pt idx="17405">2</cx:pt>
          <cx:pt idx="17406">0</cx:pt>
          <cx:pt idx="17407">3</cx:pt>
          <cx:pt idx="17408">1</cx:pt>
          <cx:pt idx="17409">3</cx:pt>
          <cx:pt idx="17410">5</cx:pt>
          <cx:pt idx="17411">2</cx:pt>
          <cx:pt idx="17412">4</cx:pt>
          <cx:pt idx="17413">1</cx:pt>
          <cx:pt idx="17414">1</cx:pt>
          <cx:pt idx="17415">0</cx:pt>
          <cx:pt idx="17416">3</cx:pt>
          <cx:pt idx="17417">2</cx:pt>
          <cx:pt idx="17418">5</cx:pt>
          <cx:pt idx="17419">2</cx:pt>
          <cx:pt idx="17420">1</cx:pt>
          <cx:pt idx="17421">3</cx:pt>
          <cx:pt idx="17422">3</cx:pt>
          <cx:pt idx="17423">1</cx:pt>
          <cx:pt idx="17424">4</cx:pt>
          <cx:pt idx="17425">1</cx:pt>
          <cx:pt idx="17426">5</cx:pt>
          <cx:pt idx="17427">0</cx:pt>
          <cx:pt idx="17428">2</cx:pt>
          <cx:pt idx="17429">0</cx:pt>
          <cx:pt idx="17430">5</cx:pt>
          <cx:pt idx="17431">5</cx:pt>
          <cx:pt idx="17432">1</cx:pt>
          <cx:pt idx="17433">2</cx:pt>
          <cx:pt idx="17434">3</cx:pt>
          <cx:pt idx="17435">2</cx:pt>
          <cx:pt idx="17436">4</cx:pt>
          <cx:pt idx="17437">4</cx:pt>
          <cx:pt idx="17438">4</cx:pt>
          <cx:pt idx="17439">1</cx:pt>
          <cx:pt idx="17440">2</cx:pt>
          <cx:pt idx="17441">2</cx:pt>
          <cx:pt idx="17442">0</cx:pt>
          <cx:pt idx="17443">3</cx:pt>
          <cx:pt idx="17444">4</cx:pt>
          <cx:pt idx="17445">4</cx:pt>
          <cx:pt idx="17446">2</cx:pt>
          <cx:pt idx="17447">5</cx:pt>
          <cx:pt idx="17448">4</cx:pt>
          <cx:pt idx="17449">2</cx:pt>
          <cx:pt idx="17450">3</cx:pt>
          <cx:pt idx="17451">2</cx:pt>
          <cx:pt idx="17452">5</cx:pt>
          <cx:pt idx="17453">2</cx:pt>
          <cx:pt idx="17454">3</cx:pt>
          <cx:pt idx="17455">3</cx:pt>
          <cx:pt idx="17456">4</cx:pt>
          <cx:pt idx="17457">5</cx:pt>
          <cx:pt idx="17458">5</cx:pt>
          <cx:pt idx="17459">5</cx:pt>
          <cx:pt idx="17460">5</cx:pt>
          <cx:pt idx="17461">3</cx:pt>
          <cx:pt idx="17462">4</cx:pt>
          <cx:pt idx="17463">3</cx:pt>
          <cx:pt idx="17464">0</cx:pt>
          <cx:pt idx="17465">1</cx:pt>
          <cx:pt idx="17466">3</cx:pt>
          <cx:pt idx="17467">2</cx:pt>
          <cx:pt idx="17468">2</cx:pt>
          <cx:pt idx="17469">4</cx:pt>
          <cx:pt idx="17470">3</cx:pt>
          <cx:pt idx="17471">2</cx:pt>
          <cx:pt idx="17472">1</cx:pt>
          <cx:pt idx="17473">1</cx:pt>
          <cx:pt idx="17474">5</cx:pt>
          <cx:pt idx="17475">3</cx:pt>
          <cx:pt idx="17476">1</cx:pt>
          <cx:pt idx="17477">5</cx:pt>
          <cx:pt idx="17478">5</cx:pt>
          <cx:pt idx="17479">4</cx:pt>
          <cx:pt idx="17480">5</cx:pt>
          <cx:pt idx="17481">2</cx:pt>
          <cx:pt idx="17482">5</cx:pt>
          <cx:pt idx="17483">2</cx:pt>
          <cx:pt idx="17484">1</cx:pt>
          <cx:pt idx="17485">4</cx:pt>
          <cx:pt idx="17486">4</cx:pt>
          <cx:pt idx="17487">3</cx:pt>
          <cx:pt idx="17488">2</cx:pt>
          <cx:pt idx="17489">5</cx:pt>
          <cx:pt idx="17490">1</cx:pt>
          <cx:pt idx="17491">4</cx:pt>
          <cx:pt idx="17492">1</cx:pt>
          <cx:pt idx="17493">3</cx:pt>
          <cx:pt idx="17494">3</cx:pt>
          <cx:pt idx="17495">2</cx:pt>
          <cx:pt idx="17496">2</cx:pt>
          <cx:pt idx="17497">1</cx:pt>
          <cx:pt idx="17498">2</cx:pt>
          <cx:pt idx="17499">2</cx:pt>
          <cx:pt idx="17500">5</cx:pt>
          <cx:pt idx="17501">4</cx:pt>
          <cx:pt idx="17502">1</cx:pt>
          <cx:pt idx="17503">1</cx:pt>
          <cx:pt idx="17504">3</cx:pt>
          <cx:pt idx="17505">4</cx:pt>
          <cx:pt idx="17506">5</cx:pt>
          <cx:pt idx="17507">2</cx:pt>
          <cx:pt idx="17508">3</cx:pt>
          <cx:pt idx="17509">3</cx:pt>
          <cx:pt idx="17510">3</cx:pt>
          <cx:pt idx="17511">3</cx:pt>
          <cx:pt idx="17512">3</cx:pt>
          <cx:pt idx="17513">2</cx:pt>
          <cx:pt idx="17514">4</cx:pt>
          <cx:pt idx="17515">4</cx:pt>
          <cx:pt idx="17516">3</cx:pt>
          <cx:pt idx="17517">2</cx:pt>
          <cx:pt idx="17518">2</cx:pt>
          <cx:pt idx="17519">5</cx:pt>
          <cx:pt idx="17520">3</cx:pt>
          <cx:pt idx="17521">3</cx:pt>
          <cx:pt idx="17522">4</cx:pt>
          <cx:pt idx="17523">3</cx:pt>
          <cx:pt idx="17524">4</cx:pt>
          <cx:pt idx="17525">2</cx:pt>
          <cx:pt idx="17526">4</cx:pt>
          <cx:pt idx="17527">1</cx:pt>
          <cx:pt idx="17528">4</cx:pt>
          <cx:pt idx="17529">3</cx:pt>
          <cx:pt idx="17530">5</cx:pt>
          <cx:pt idx="17531">2</cx:pt>
          <cx:pt idx="17532">2</cx:pt>
          <cx:pt idx="17533">4</cx:pt>
          <cx:pt idx="17534">5</cx:pt>
          <cx:pt idx="17535">5</cx:pt>
          <cx:pt idx="17536">5</cx:pt>
          <cx:pt idx="17537">4</cx:pt>
          <cx:pt idx="17538">2</cx:pt>
          <cx:pt idx="17539">4</cx:pt>
          <cx:pt idx="17540">2</cx:pt>
          <cx:pt idx="17541">2</cx:pt>
          <cx:pt idx="17542">2</cx:pt>
          <cx:pt idx="17543">1</cx:pt>
          <cx:pt idx="17544">3</cx:pt>
          <cx:pt idx="17545">2</cx:pt>
          <cx:pt idx="17546">5</cx:pt>
          <cx:pt idx="17547">5</cx:pt>
          <cx:pt idx="17548">3</cx:pt>
          <cx:pt idx="17549">1</cx:pt>
          <cx:pt idx="17550">3</cx:pt>
          <cx:pt idx="17551">4</cx:pt>
          <cx:pt idx="17552">2</cx:pt>
          <cx:pt idx="17553">2</cx:pt>
          <cx:pt idx="17554">2</cx:pt>
          <cx:pt idx="17555">5</cx:pt>
          <cx:pt idx="17556">4</cx:pt>
          <cx:pt idx="17557">2</cx:pt>
          <cx:pt idx="17558">2</cx:pt>
          <cx:pt idx="17559">4</cx:pt>
          <cx:pt idx="17560">3</cx:pt>
          <cx:pt idx="17561">5</cx:pt>
          <cx:pt idx="17562">3</cx:pt>
          <cx:pt idx="17563">5</cx:pt>
          <cx:pt idx="17564">2</cx:pt>
          <cx:pt idx="17565">4</cx:pt>
          <cx:pt idx="17566">4</cx:pt>
          <cx:pt idx="17567">3</cx:pt>
          <cx:pt idx="17568">2</cx:pt>
          <cx:pt idx="17569">1</cx:pt>
          <cx:pt idx="17570">4</cx:pt>
          <cx:pt idx="17571">5</cx:pt>
          <cx:pt idx="17572">4</cx:pt>
          <cx:pt idx="17573">0</cx:pt>
          <cx:pt idx="17574">2</cx:pt>
          <cx:pt idx="17575">3</cx:pt>
          <cx:pt idx="17576">4</cx:pt>
          <cx:pt idx="17577">2</cx:pt>
          <cx:pt idx="17578">4</cx:pt>
          <cx:pt idx="17579">3</cx:pt>
          <cx:pt idx="17580">2</cx:pt>
          <cx:pt idx="17581">1</cx:pt>
          <cx:pt idx="17582">2</cx:pt>
          <cx:pt idx="17583">3</cx:pt>
          <cx:pt idx="17584">3</cx:pt>
          <cx:pt idx="17585">3</cx:pt>
          <cx:pt idx="17586">4</cx:pt>
          <cx:pt idx="17587">1</cx:pt>
          <cx:pt idx="17588">3</cx:pt>
          <cx:pt idx="17589">1</cx:pt>
          <cx:pt idx="17590">4</cx:pt>
          <cx:pt idx="17591">5</cx:pt>
          <cx:pt idx="17592">1</cx:pt>
          <cx:pt idx="17593">4</cx:pt>
          <cx:pt idx="17594">5</cx:pt>
          <cx:pt idx="17595">1</cx:pt>
          <cx:pt idx="17596">4</cx:pt>
          <cx:pt idx="17597">1</cx:pt>
          <cx:pt idx="17598">1</cx:pt>
          <cx:pt idx="17599">1</cx:pt>
          <cx:pt idx="17600">3</cx:pt>
          <cx:pt idx="17601">2</cx:pt>
          <cx:pt idx="17602">4</cx:pt>
          <cx:pt idx="17603">4</cx:pt>
          <cx:pt idx="17604">3</cx:pt>
          <cx:pt idx="17605">3</cx:pt>
          <cx:pt idx="17606">4</cx:pt>
          <cx:pt idx="17607">1</cx:pt>
          <cx:pt idx="17608">2</cx:pt>
          <cx:pt idx="17609">2</cx:pt>
          <cx:pt idx="17610">4</cx:pt>
          <cx:pt idx="17611">3</cx:pt>
          <cx:pt idx="17612">1</cx:pt>
          <cx:pt idx="17613">1</cx:pt>
          <cx:pt idx="17614">0</cx:pt>
          <cx:pt idx="17615">4</cx:pt>
          <cx:pt idx="17616">4</cx:pt>
          <cx:pt idx="17617">4</cx:pt>
          <cx:pt idx="17618">5</cx:pt>
          <cx:pt idx="17619">2</cx:pt>
          <cx:pt idx="17620">1</cx:pt>
          <cx:pt idx="17621">3</cx:pt>
          <cx:pt idx="17622">5</cx:pt>
          <cx:pt idx="17623">5</cx:pt>
          <cx:pt idx="17624">3</cx:pt>
          <cx:pt idx="17625">1</cx:pt>
          <cx:pt idx="17626">2</cx:pt>
          <cx:pt idx="17627">2</cx:pt>
          <cx:pt idx="17628">4</cx:pt>
          <cx:pt idx="17629">0</cx:pt>
          <cx:pt idx="17630">0</cx:pt>
          <cx:pt idx="17631">5</cx:pt>
          <cx:pt idx="17632">0</cx:pt>
          <cx:pt idx="17633">2</cx:pt>
          <cx:pt idx="17634">5</cx:pt>
          <cx:pt idx="17635">3</cx:pt>
          <cx:pt idx="17636">5</cx:pt>
          <cx:pt idx="17637">3</cx:pt>
          <cx:pt idx="17638">3</cx:pt>
          <cx:pt idx="17639">4</cx:pt>
          <cx:pt idx="17640">4</cx:pt>
          <cx:pt idx="17641">5</cx:pt>
          <cx:pt idx="17642">3</cx:pt>
          <cx:pt idx="17643">4</cx:pt>
          <cx:pt idx="17644">4</cx:pt>
          <cx:pt idx="17645">5</cx:pt>
          <cx:pt idx="17646">1</cx:pt>
          <cx:pt idx="17647">3</cx:pt>
          <cx:pt idx="17648">4</cx:pt>
          <cx:pt idx="17649">2</cx:pt>
          <cx:pt idx="17650">2</cx:pt>
          <cx:pt idx="17651">1</cx:pt>
          <cx:pt idx="17652">1</cx:pt>
          <cx:pt idx="17653">5</cx:pt>
          <cx:pt idx="17654">0</cx:pt>
          <cx:pt idx="17655">0</cx:pt>
          <cx:pt idx="17656">3</cx:pt>
          <cx:pt idx="17657">4</cx:pt>
          <cx:pt idx="17658">3</cx:pt>
          <cx:pt idx="17659">4</cx:pt>
          <cx:pt idx="17660">4</cx:pt>
          <cx:pt idx="17661">4</cx:pt>
          <cx:pt idx="17662">4</cx:pt>
          <cx:pt idx="17663">5</cx:pt>
          <cx:pt idx="17664">5</cx:pt>
          <cx:pt idx="17665">3</cx:pt>
          <cx:pt idx="17666">3</cx:pt>
          <cx:pt idx="17667">5</cx:pt>
          <cx:pt idx="17668">2</cx:pt>
          <cx:pt idx="17669">4</cx:pt>
          <cx:pt idx="17670">5</cx:pt>
          <cx:pt idx="17671">2</cx:pt>
          <cx:pt idx="17672">2</cx:pt>
          <cx:pt idx="17673">2</cx:pt>
          <cx:pt idx="17674">2</cx:pt>
          <cx:pt idx="17675">3</cx:pt>
          <cx:pt idx="17676">0</cx:pt>
          <cx:pt idx="17677">4</cx:pt>
          <cx:pt idx="17678">2</cx:pt>
          <cx:pt idx="17679">0</cx:pt>
          <cx:pt idx="17680">5</cx:pt>
          <cx:pt idx="17681">2</cx:pt>
          <cx:pt idx="17682">5</cx:pt>
          <cx:pt idx="17683">2</cx:pt>
          <cx:pt idx="17684">1</cx:pt>
          <cx:pt idx="17685">3</cx:pt>
          <cx:pt idx="17686">4</cx:pt>
          <cx:pt idx="17687">2</cx:pt>
          <cx:pt idx="17688">4</cx:pt>
          <cx:pt idx="17689">2</cx:pt>
          <cx:pt idx="17690">0</cx:pt>
          <cx:pt idx="17691">3</cx:pt>
          <cx:pt idx="17692">3</cx:pt>
          <cx:pt idx="17693">3</cx:pt>
          <cx:pt idx="17694">4</cx:pt>
          <cx:pt idx="17695">4</cx:pt>
          <cx:pt idx="17696">3</cx:pt>
          <cx:pt idx="17697">2</cx:pt>
          <cx:pt idx="17698">1</cx:pt>
          <cx:pt idx="17699">5</cx:pt>
          <cx:pt idx="17700">3</cx:pt>
          <cx:pt idx="17701">4</cx:pt>
          <cx:pt idx="17702">3</cx:pt>
          <cx:pt idx="17703">3</cx:pt>
          <cx:pt idx="17704">4</cx:pt>
          <cx:pt idx="17705">3</cx:pt>
          <cx:pt idx="17706">2</cx:pt>
          <cx:pt idx="17707">4</cx:pt>
          <cx:pt idx="17708">2</cx:pt>
          <cx:pt idx="17709">3</cx:pt>
          <cx:pt idx="17710">4</cx:pt>
          <cx:pt idx="17711">0</cx:pt>
          <cx:pt idx="17712">1</cx:pt>
          <cx:pt idx="17713">5</cx:pt>
          <cx:pt idx="17714">1</cx:pt>
          <cx:pt idx="17715">4</cx:pt>
          <cx:pt idx="17716">3</cx:pt>
          <cx:pt idx="17717">4</cx:pt>
          <cx:pt idx="17718">3</cx:pt>
          <cx:pt idx="17719">5</cx:pt>
          <cx:pt idx="17720">2</cx:pt>
          <cx:pt idx="17721">3</cx:pt>
          <cx:pt idx="17722">3</cx:pt>
          <cx:pt idx="17723">3</cx:pt>
          <cx:pt idx="17724">5</cx:pt>
          <cx:pt idx="17725">2</cx:pt>
          <cx:pt idx="17726">5</cx:pt>
          <cx:pt idx="17727">4</cx:pt>
          <cx:pt idx="17728">0</cx:pt>
          <cx:pt idx="17729">3</cx:pt>
          <cx:pt idx="17730">5</cx:pt>
          <cx:pt idx="17731">1</cx:pt>
          <cx:pt idx="17732">3</cx:pt>
          <cx:pt idx="17733">2</cx:pt>
          <cx:pt idx="17734">4</cx:pt>
          <cx:pt idx="17735">4</cx:pt>
          <cx:pt idx="17736">1</cx:pt>
          <cx:pt idx="17737">3</cx:pt>
          <cx:pt idx="17738">4</cx:pt>
          <cx:pt idx="17739">5</cx:pt>
          <cx:pt idx="17740">1</cx:pt>
          <cx:pt idx="17741">3</cx:pt>
          <cx:pt idx="17742">4</cx:pt>
          <cx:pt idx="17743">3</cx:pt>
          <cx:pt idx="17744">1</cx:pt>
          <cx:pt idx="17745">2</cx:pt>
          <cx:pt idx="17746">5</cx:pt>
          <cx:pt idx="17747">3</cx:pt>
          <cx:pt idx="17748">2</cx:pt>
          <cx:pt idx="17749">1</cx:pt>
          <cx:pt idx="17750">2</cx:pt>
          <cx:pt idx="17751">5</cx:pt>
          <cx:pt idx="17752">3</cx:pt>
          <cx:pt idx="17753">1</cx:pt>
          <cx:pt idx="17754">4</cx:pt>
          <cx:pt idx="17755">5</cx:pt>
          <cx:pt idx="17756">2</cx:pt>
          <cx:pt idx="17757">1</cx:pt>
          <cx:pt idx="17758">3</cx:pt>
          <cx:pt idx="17759">1</cx:pt>
          <cx:pt idx="17760">1</cx:pt>
          <cx:pt idx="17761">3</cx:pt>
          <cx:pt idx="17762">2</cx:pt>
          <cx:pt idx="17763">1</cx:pt>
          <cx:pt idx="17764">2</cx:pt>
          <cx:pt idx="17765">1</cx:pt>
          <cx:pt idx="17766">3</cx:pt>
          <cx:pt idx="17767">0</cx:pt>
          <cx:pt idx="17768">2</cx:pt>
          <cx:pt idx="17769">4</cx:pt>
          <cx:pt idx="17770">3</cx:pt>
          <cx:pt idx="17771">3</cx:pt>
          <cx:pt idx="17772">5</cx:pt>
          <cx:pt idx="17773">4</cx:pt>
          <cx:pt idx="17774">4</cx:pt>
          <cx:pt idx="17775">4</cx:pt>
          <cx:pt idx="17776">1</cx:pt>
          <cx:pt idx="17777">2</cx:pt>
          <cx:pt idx="17778">1</cx:pt>
          <cx:pt idx="17779">2</cx:pt>
          <cx:pt idx="17780">2</cx:pt>
          <cx:pt idx="17781">2</cx:pt>
          <cx:pt idx="17782">4</cx:pt>
          <cx:pt idx="17783">1</cx:pt>
          <cx:pt idx="17784">2</cx:pt>
          <cx:pt idx="17785">2</cx:pt>
          <cx:pt idx="17786">5</cx:pt>
          <cx:pt idx="17787">4</cx:pt>
          <cx:pt idx="17788">4</cx:pt>
          <cx:pt idx="17789">5</cx:pt>
          <cx:pt idx="17790">1</cx:pt>
          <cx:pt idx="17791">2</cx:pt>
          <cx:pt idx="17792">1</cx:pt>
          <cx:pt idx="17793">3</cx:pt>
          <cx:pt idx="17794">2</cx:pt>
          <cx:pt idx="17795">0</cx:pt>
          <cx:pt idx="17796">3</cx:pt>
          <cx:pt idx="17797">5</cx:pt>
          <cx:pt idx="17798">3</cx:pt>
          <cx:pt idx="17799">4</cx:pt>
          <cx:pt idx="17800">4</cx:pt>
          <cx:pt idx="17801">4</cx:pt>
          <cx:pt idx="17802">4</cx:pt>
          <cx:pt idx="17803">3</cx:pt>
          <cx:pt idx="17804">3</cx:pt>
          <cx:pt idx="17805">0</cx:pt>
          <cx:pt idx="17806">0</cx:pt>
          <cx:pt idx="17807">4</cx:pt>
          <cx:pt idx="17808">1</cx:pt>
          <cx:pt idx="17809">2</cx:pt>
          <cx:pt idx="17810">2</cx:pt>
          <cx:pt idx="17811">2</cx:pt>
          <cx:pt idx="17812">1</cx:pt>
          <cx:pt idx="17813">2</cx:pt>
          <cx:pt idx="17814">3</cx:pt>
          <cx:pt idx="17815">4</cx:pt>
          <cx:pt idx="17816">3</cx:pt>
          <cx:pt idx="17817">2</cx:pt>
          <cx:pt idx="17818">5</cx:pt>
          <cx:pt idx="17819">2</cx:pt>
          <cx:pt idx="17820">4</cx:pt>
          <cx:pt idx="17821">5</cx:pt>
          <cx:pt idx="17822">2</cx:pt>
          <cx:pt idx="17823">5</cx:pt>
          <cx:pt idx="17824">4</cx:pt>
          <cx:pt idx="17825">4</cx:pt>
          <cx:pt idx="17826">4</cx:pt>
          <cx:pt idx="17827">1</cx:pt>
          <cx:pt idx="17828">5</cx:pt>
          <cx:pt idx="17829">4</cx:pt>
          <cx:pt idx="17830">5</cx:pt>
          <cx:pt idx="17831">5</cx:pt>
          <cx:pt idx="17832">3</cx:pt>
          <cx:pt idx="17833">0</cx:pt>
          <cx:pt idx="17834">3</cx:pt>
          <cx:pt idx="17835">3</cx:pt>
          <cx:pt idx="17836">2</cx:pt>
          <cx:pt idx="17837">1</cx:pt>
          <cx:pt idx="17838">2</cx:pt>
          <cx:pt idx="17839">4</cx:pt>
          <cx:pt idx="17840">5</cx:pt>
          <cx:pt idx="17841">3</cx:pt>
          <cx:pt idx="17842">1</cx:pt>
          <cx:pt idx="17843">3</cx:pt>
          <cx:pt idx="17844">1</cx:pt>
          <cx:pt idx="17845">1</cx:pt>
          <cx:pt idx="17846">2</cx:pt>
          <cx:pt idx="17847">5</cx:pt>
          <cx:pt idx="17848">3</cx:pt>
          <cx:pt idx="17849">2</cx:pt>
          <cx:pt idx="17850">5</cx:pt>
          <cx:pt idx="17851">1</cx:pt>
          <cx:pt idx="17852">4</cx:pt>
          <cx:pt idx="17853">2</cx:pt>
          <cx:pt idx="17854">4</cx:pt>
          <cx:pt idx="17855">1</cx:pt>
          <cx:pt idx="17856">3</cx:pt>
          <cx:pt idx="17857">4</cx:pt>
          <cx:pt idx="17858">2</cx:pt>
          <cx:pt idx="17859">2</cx:pt>
          <cx:pt idx="17860">2</cx:pt>
          <cx:pt idx="17861">3</cx:pt>
          <cx:pt idx="17862">3</cx:pt>
          <cx:pt idx="17863">2</cx:pt>
          <cx:pt idx="17864">5</cx:pt>
          <cx:pt idx="17865">4</cx:pt>
          <cx:pt idx="17866">4</cx:pt>
          <cx:pt idx="17867">3</cx:pt>
          <cx:pt idx="17868">2</cx:pt>
          <cx:pt idx="17869">5</cx:pt>
          <cx:pt idx="17870">3</cx:pt>
          <cx:pt idx="17871">5</cx:pt>
          <cx:pt idx="17872">0</cx:pt>
          <cx:pt idx="17873">3</cx:pt>
          <cx:pt idx="17874">4</cx:pt>
          <cx:pt idx="17875">1</cx:pt>
          <cx:pt idx="17876">2</cx:pt>
          <cx:pt idx="17877">1</cx:pt>
          <cx:pt idx="17878">1</cx:pt>
          <cx:pt idx="17879">3</cx:pt>
          <cx:pt idx="17880">4</cx:pt>
          <cx:pt idx="17881">1</cx:pt>
          <cx:pt idx="17882">4</cx:pt>
          <cx:pt idx="17883">3</cx:pt>
          <cx:pt idx="17884">5</cx:pt>
          <cx:pt idx="17885">4</cx:pt>
          <cx:pt idx="17886">4</cx:pt>
          <cx:pt idx="17887">2</cx:pt>
          <cx:pt idx="17888">2</cx:pt>
          <cx:pt idx="17889">2</cx:pt>
          <cx:pt idx="17890">4</cx:pt>
          <cx:pt idx="17891">5</cx:pt>
          <cx:pt idx="17892">3</cx:pt>
          <cx:pt idx="17893">3</cx:pt>
          <cx:pt idx="17894">1</cx:pt>
          <cx:pt idx="17895">2</cx:pt>
          <cx:pt idx="17896">2</cx:pt>
          <cx:pt idx="17897">3</cx:pt>
          <cx:pt idx="17898">4</cx:pt>
          <cx:pt idx="17899">3</cx:pt>
          <cx:pt idx="17900">4</cx:pt>
          <cx:pt idx="17901">1</cx:pt>
          <cx:pt idx="17902">3</cx:pt>
          <cx:pt idx="17903">1</cx:pt>
          <cx:pt idx="17904">4</cx:pt>
          <cx:pt idx="17905">3</cx:pt>
          <cx:pt idx="17906">2</cx:pt>
          <cx:pt idx="17907">4</cx:pt>
          <cx:pt idx="17908">1</cx:pt>
          <cx:pt idx="17909">5</cx:pt>
          <cx:pt idx="17910">3</cx:pt>
          <cx:pt idx="17911">3</cx:pt>
          <cx:pt idx="17912">2</cx:pt>
          <cx:pt idx="17913">3</cx:pt>
          <cx:pt idx="17914">4</cx:pt>
          <cx:pt idx="17915">2</cx:pt>
          <cx:pt idx="17916">3</cx:pt>
          <cx:pt idx="17917">5</cx:pt>
          <cx:pt idx="17918">4</cx:pt>
          <cx:pt idx="17919">1</cx:pt>
          <cx:pt idx="17920">5</cx:pt>
          <cx:pt idx="17921">2</cx:pt>
          <cx:pt idx="17922">2</cx:pt>
          <cx:pt idx="17923">1</cx:pt>
          <cx:pt idx="17924">3</cx:pt>
          <cx:pt idx="17925">2</cx:pt>
          <cx:pt idx="17926">1</cx:pt>
          <cx:pt idx="17927">4</cx:pt>
          <cx:pt idx="17928">2</cx:pt>
          <cx:pt idx="17929">1</cx:pt>
          <cx:pt idx="17930">1</cx:pt>
          <cx:pt idx="17931">1</cx:pt>
          <cx:pt idx="17932">2</cx:pt>
          <cx:pt idx="17933">2</cx:pt>
          <cx:pt idx="17934">2</cx:pt>
          <cx:pt idx="17935">3</cx:pt>
          <cx:pt idx="17936">2</cx:pt>
          <cx:pt idx="17937">3</cx:pt>
          <cx:pt idx="17938">4</cx:pt>
          <cx:pt idx="17939">4</cx:pt>
          <cx:pt idx="17940">2</cx:pt>
          <cx:pt idx="17941">3</cx:pt>
          <cx:pt idx="17942">4</cx:pt>
          <cx:pt idx="17943">2</cx:pt>
          <cx:pt idx="17944">0</cx:pt>
          <cx:pt idx="17945">3</cx:pt>
          <cx:pt idx="17946">5</cx:pt>
          <cx:pt idx="17947">4</cx:pt>
          <cx:pt idx="17948">2</cx:pt>
          <cx:pt idx="17949">3</cx:pt>
          <cx:pt idx="17950">1</cx:pt>
          <cx:pt idx="17951">4</cx:pt>
          <cx:pt idx="17952">4</cx:pt>
          <cx:pt idx="17953">1</cx:pt>
          <cx:pt idx="17954">0</cx:pt>
          <cx:pt idx="17955">2</cx:pt>
          <cx:pt idx="17956">4</cx:pt>
          <cx:pt idx="17957">3</cx:pt>
          <cx:pt idx="17958">3</cx:pt>
          <cx:pt idx="17959">2</cx:pt>
          <cx:pt idx="17960">5</cx:pt>
          <cx:pt idx="17961">1</cx:pt>
          <cx:pt idx="17962">0</cx:pt>
          <cx:pt idx="17963">3</cx:pt>
          <cx:pt idx="17964">4</cx:pt>
          <cx:pt idx="17965">1</cx:pt>
          <cx:pt idx="17966">3</cx:pt>
          <cx:pt idx="17967">4</cx:pt>
          <cx:pt idx="17968">4</cx:pt>
          <cx:pt idx="17969">2</cx:pt>
          <cx:pt idx="17970">1</cx:pt>
          <cx:pt idx="17971">3</cx:pt>
          <cx:pt idx="17972">2</cx:pt>
          <cx:pt idx="17973">4</cx:pt>
          <cx:pt idx="17974">2</cx:pt>
          <cx:pt idx="17975">3</cx:pt>
          <cx:pt idx="17976">4</cx:pt>
          <cx:pt idx="17977">2</cx:pt>
          <cx:pt idx="17978">3</cx:pt>
          <cx:pt idx="17979">1</cx:pt>
          <cx:pt idx="17980">5</cx:pt>
          <cx:pt idx="17981">0</cx:pt>
          <cx:pt idx="17982">2</cx:pt>
          <cx:pt idx="17983">3</cx:pt>
          <cx:pt idx="17984">3</cx:pt>
          <cx:pt idx="17985">4</cx:pt>
          <cx:pt idx="17986">5</cx:pt>
          <cx:pt idx="17987">1</cx:pt>
          <cx:pt idx="17988">5</cx:pt>
          <cx:pt idx="17989">3</cx:pt>
          <cx:pt idx="17990">0</cx:pt>
          <cx:pt idx="17991">1</cx:pt>
          <cx:pt idx="17992">3</cx:pt>
          <cx:pt idx="17993">3</cx:pt>
          <cx:pt idx="17994">2</cx:pt>
          <cx:pt idx="17995">3</cx:pt>
          <cx:pt idx="17996">2</cx:pt>
          <cx:pt idx="17997">3</cx:pt>
          <cx:pt idx="17998">5</cx:pt>
          <cx:pt idx="17999">2</cx:pt>
          <cx:pt idx="18000">0</cx:pt>
          <cx:pt idx="18001">1</cx:pt>
          <cx:pt idx="18002">3</cx:pt>
          <cx:pt idx="18003">0</cx:pt>
          <cx:pt idx="18004">3</cx:pt>
          <cx:pt idx="18005">1</cx:pt>
          <cx:pt idx="18006">3</cx:pt>
          <cx:pt idx="18007">1</cx:pt>
          <cx:pt idx="18008">1</cx:pt>
          <cx:pt idx="18009">3</cx:pt>
          <cx:pt idx="18010">5</cx:pt>
          <cx:pt idx="18011">3</cx:pt>
          <cx:pt idx="18012">5</cx:pt>
          <cx:pt idx="18013">3</cx:pt>
          <cx:pt idx="18014">3</cx:pt>
          <cx:pt idx="18015">1</cx:pt>
          <cx:pt idx="18016">2</cx:pt>
          <cx:pt idx="18017">3</cx:pt>
          <cx:pt idx="18018">5</cx:pt>
          <cx:pt idx="18019">5</cx:pt>
          <cx:pt idx="18020">4</cx:pt>
          <cx:pt idx="18021">3</cx:pt>
          <cx:pt idx="18022">4</cx:pt>
          <cx:pt idx="18023">3</cx:pt>
          <cx:pt idx="18024">1</cx:pt>
          <cx:pt idx="18025">1</cx:pt>
          <cx:pt idx="18026">1</cx:pt>
          <cx:pt idx="18027">5</cx:pt>
          <cx:pt idx="18028">3</cx:pt>
          <cx:pt idx="18029">5</cx:pt>
          <cx:pt idx="18030">2</cx:pt>
          <cx:pt idx="18031">1</cx:pt>
          <cx:pt idx="18032">3</cx:pt>
          <cx:pt idx="18033">1</cx:pt>
          <cx:pt idx="18034">3</cx:pt>
          <cx:pt idx="18035">1</cx:pt>
          <cx:pt idx="18036">0</cx:pt>
          <cx:pt idx="18037">3</cx:pt>
          <cx:pt idx="18038">2</cx:pt>
          <cx:pt idx="18039">3</cx:pt>
          <cx:pt idx="18040">0</cx:pt>
          <cx:pt idx="18041">3</cx:pt>
          <cx:pt idx="18042">4</cx:pt>
          <cx:pt idx="18043">5</cx:pt>
          <cx:pt idx="18044">5</cx:pt>
          <cx:pt idx="18045">5</cx:pt>
          <cx:pt idx="18046">2</cx:pt>
          <cx:pt idx="18047">2</cx:pt>
          <cx:pt idx="18048">2</cx:pt>
          <cx:pt idx="18049">4</cx:pt>
          <cx:pt idx="18050">4</cx:pt>
          <cx:pt idx="18051">3</cx:pt>
          <cx:pt idx="18052">3</cx:pt>
          <cx:pt idx="18053">2</cx:pt>
          <cx:pt idx="18054">2</cx:pt>
          <cx:pt idx="18055">3</cx:pt>
          <cx:pt idx="18056">4</cx:pt>
          <cx:pt idx="18057">4</cx:pt>
          <cx:pt idx="18058">4</cx:pt>
          <cx:pt idx="18059">3</cx:pt>
          <cx:pt idx="18060">4</cx:pt>
          <cx:pt idx="18061">1</cx:pt>
          <cx:pt idx="18062">3</cx:pt>
          <cx:pt idx="18063">1</cx:pt>
          <cx:pt idx="18064">4</cx:pt>
          <cx:pt idx="18065">5</cx:pt>
          <cx:pt idx="18066">3</cx:pt>
          <cx:pt idx="18067">0</cx:pt>
          <cx:pt idx="18068">4</cx:pt>
          <cx:pt idx="18069">3</cx:pt>
          <cx:pt idx="18070">2</cx:pt>
          <cx:pt idx="18071">2</cx:pt>
          <cx:pt idx="18072">4</cx:pt>
          <cx:pt idx="18073">1</cx:pt>
          <cx:pt idx="18074">4</cx:pt>
          <cx:pt idx="18075">2</cx:pt>
          <cx:pt idx="18076">3</cx:pt>
          <cx:pt idx="18077">2</cx:pt>
          <cx:pt idx="18078">5</cx:pt>
          <cx:pt idx="18079">3</cx:pt>
          <cx:pt idx="18080">2</cx:pt>
          <cx:pt idx="18081">4</cx:pt>
          <cx:pt idx="18082">4</cx:pt>
          <cx:pt idx="18083">4</cx:pt>
          <cx:pt idx="18084">3</cx:pt>
          <cx:pt idx="18085">1</cx:pt>
          <cx:pt idx="18086">2</cx:pt>
          <cx:pt idx="18087">1</cx:pt>
          <cx:pt idx="18088">4</cx:pt>
          <cx:pt idx="18089">3</cx:pt>
          <cx:pt idx="18090">1</cx:pt>
          <cx:pt idx="18091">3</cx:pt>
          <cx:pt idx="18092">2</cx:pt>
          <cx:pt idx="18093">3</cx:pt>
          <cx:pt idx="18094">4</cx:pt>
          <cx:pt idx="18095">3</cx:pt>
          <cx:pt idx="18096">2</cx:pt>
          <cx:pt idx="18097">2</cx:pt>
          <cx:pt idx="18098">3</cx:pt>
          <cx:pt idx="18099">4</cx:pt>
          <cx:pt idx="18100">5</cx:pt>
          <cx:pt idx="18101">3</cx:pt>
          <cx:pt idx="18102">4</cx:pt>
          <cx:pt idx="18103">4</cx:pt>
          <cx:pt idx="18104">3</cx:pt>
          <cx:pt idx="18105">2</cx:pt>
          <cx:pt idx="18106">4</cx:pt>
          <cx:pt idx="18107">1</cx:pt>
          <cx:pt idx="18108">1</cx:pt>
          <cx:pt idx="18109">1</cx:pt>
          <cx:pt idx="18110">3</cx:pt>
          <cx:pt idx="18111">4</cx:pt>
          <cx:pt idx="18112">4</cx:pt>
          <cx:pt idx="18113">5</cx:pt>
          <cx:pt idx="18114">1</cx:pt>
          <cx:pt idx="18115">3</cx:pt>
          <cx:pt idx="18116">1</cx:pt>
          <cx:pt idx="18117">3</cx:pt>
          <cx:pt idx="18118">1</cx:pt>
          <cx:pt idx="18119">3</cx:pt>
          <cx:pt idx="18120">4</cx:pt>
          <cx:pt idx="18121">1</cx:pt>
          <cx:pt idx="18122">1</cx:pt>
          <cx:pt idx="18123">4</cx:pt>
          <cx:pt idx="18124">5</cx:pt>
          <cx:pt idx="18125">5</cx:pt>
          <cx:pt idx="18126">4</cx:pt>
          <cx:pt idx="18127">2</cx:pt>
          <cx:pt idx="18128">3</cx:pt>
          <cx:pt idx="18129">3</cx:pt>
          <cx:pt idx="18130">5</cx:pt>
          <cx:pt idx="18131">2</cx:pt>
          <cx:pt idx="18132">3</cx:pt>
          <cx:pt idx="18133">3</cx:pt>
          <cx:pt idx="18134">5</cx:pt>
          <cx:pt idx="18135">3</cx:pt>
          <cx:pt idx="18136">1</cx:pt>
          <cx:pt idx="18137">4</cx:pt>
          <cx:pt idx="18138">3</cx:pt>
          <cx:pt idx="18139">3</cx:pt>
          <cx:pt idx="18140">2</cx:pt>
          <cx:pt idx="18141">3</cx:pt>
          <cx:pt idx="18142">3</cx:pt>
          <cx:pt idx="18143">5</cx:pt>
          <cx:pt idx="18144">0</cx:pt>
          <cx:pt idx="18145">2</cx:pt>
          <cx:pt idx="18146">2</cx:pt>
          <cx:pt idx="18147">5</cx:pt>
          <cx:pt idx="18148">3</cx:pt>
          <cx:pt idx="18149">3</cx:pt>
          <cx:pt idx="18150">2</cx:pt>
          <cx:pt idx="18151">5</cx:pt>
          <cx:pt idx="18152">2</cx:pt>
          <cx:pt idx="18153">5</cx:pt>
          <cx:pt idx="18154">1</cx:pt>
          <cx:pt idx="18155">1</cx:pt>
          <cx:pt idx="18156">3</cx:pt>
          <cx:pt idx="18157">5</cx:pt>
          <cx:pt idx="18158">4</cx:pt>
          <cx:pt idx="18159">4</cx:pt>
          <cx:pt idx="18160">3</cx:pt>
          <cx:pt idx="18161">3</cx:pt>
          <cx:pt idx="18162">2</cx:pt>
          <cx:pt idx="18163">2</cx:pt>
          <cx:pt idx="18164">2</cx:pt>
          <cx:pt idx="18165">4</cx:pt>
          <cx:pt idx="18166">3</cx:pt>
          <cx:pt idx="18167">4</cx:pt>
          <cx:pt idx="18168">2</cx:pt>
          <cx:pt idx="18169">3</cx:pt>
          <cx:pt idx="18170">1</cx:pt>
          <cx:pt idx="18171">1</cx:pt>
          <cx:pt idx="18172">2</cx:pt>
          <cx:pt idx="18173">0</cx:pt>
          <cx:pt idx="18174">1</cx:pt>
          <cx:pt idx="18175">4</cx:pt>
          <cx:pt idx="18176">2</cx:pt>
          <cx:pt idx="18177">3</cx:pt>
          <cx:pt idx="18178">4</cx:pt>
          <cx:pt idx="18179">5</cx:pt>
          <cx:pt idx="18180">2</cx:pt>
          <cx:pt idx="18181">0</cx:pt>
          <cx:pt idx="18182">4</cx:pt>
          <cx:pt idx="18183">3</cx:pt>
          <cx:pt idx="18184">3</cx:pt>
          <cx:pt idx="18185">1</cx:pt>
          <cx:pt idx="18186">1</cx:pt>
          <cx:pt idx="18187">3</cx:pt>
          <cx:pt idx="18188">2</cx:pt>
          <cx:pt idx="18189">1</cx:pt>
          <cx:pt idx="18190">3</cx:pt>
          <cx:pt idx="18191">2</cx:pt>
          <cx:pt idx="18192">4</cx:pt>
          <cx:pt idx="18193">4</cx:pt>
          <cx:pt idx="18194">2</cx:pt>
          <cx:pt idx="18195">2</cx:pt>
          <cx:pt idx="18196">2</cx:pt>
          <cx:pt idx="18197">4</cx:pt>
          <cx:pt idx="18198">2</cx:pt>
          <cx:pt idx="18199">4</cx:pt>
          <cx:pt idx="18200">3</cx:pt>
          <cx:pt idx="18201">3</cx:pt>
          <cx:pt idx="18202">5</cx:pt>
          <cx:pt idx="18203">2</cx:pt>
          <cx:pt idx="18204">2</cx:pt>
          <cx:pt idx="18205">5</cx:pt>
          <cx:pt idx="18206">5</cx:pt>
          <cx:pt idx="18207">3</cx:pt>
          <cx:pt idx="18208">4</cx:pt>
          <cx:pt idx="18209">2</cx:pt>
          <cx:pt idx="18210">1</cx:pt>
          <cx:pt idx="18211">4</cx:pt>
          <cx:pt idx="18212">1</cx:pt>
          <cx:pt idx="18213">1</cx:pt>
          <cx:pt idx="18214">3</cx:pt>
          <cx:pt idx="18215">2</cx:pt>
          <cx:pt idx="18216">1</cx:pt>
          <cx:pt idx="18217">2</cx:pt>
          <cx:pt idx="18218">5</cx:pt>
          <cx:pt idx="18219">4</cx:pt>
          <cx:pt idx="18220">5</cx:pt>
          <cx:pt idx="18221">4</cx:pt>
          <cx:pt idx="18222">2</cx:pt>
          <cx:pt idx="18223">3</cx:pt>
          <cx:pt idx="18224">2</cx:pt>
          <cx:pt idx="18225">3</cx:pt>
          <cx:pt idx="18226">3</cx:pt>
          <cx:pt idx="18227">2</cx:pt>
          <cx:pt idx="18228">4</cx:pt>
          <cx:pt idx="18229">2</cx:pt>
          <cx:pt idx="18230">1</cx:pt>
          <cx:pt idx="18231">3</cx:pt>
          <cx:pt idx="18232">5</cx:pt>
          <cx:pt idx="18233">3</cx:pt>
          <cx:pt idx="18234">1</cx:pt>
          <cx:pt idx="18235">3</cx:pt>
          <cx:pt idx="18236">4</cx:pt>
          <cx:pt idx="18237">5</cx:pt>
          <cx:pt idx="18238">4</cx:pt>
          <cx:pt idx="18239">3</cx:pt>
          <cx:pt idx="18240">5</cx:pt>
          <cx:pt idx="18241">5</cx:pt>
          <cx:pt idx="18242">1</cx:pt>
          <cx:pt idx="18243">5</cx:pt>
          <cx:pt idx="18244">5</cx:pt>
          <cx:pt idx="18245">2</cx:pt>
          <cx:pt idx="18246">2</cx:pt>
          <cx:pt idx="18247">5</cx:pt>
          <cx:pt idx="18248">1</cx:pt>
          <cx:pt idx="18249">3</cx:pt>
          <cx:pt idx="18250">3</cx:pt>
          <cx:pt idx="18251">5</cx:pt>
          <cx:pt idx="18252">5</cx:pt>
          <cx:pt idx="18253">2</cx:pt>
          <cx:pt idx="18254">1</cx:pt>
          <cx:pt idx="18255">2</cx:pt>
          <cx:pt idx="18256">1</cx:pt>
          <cx:pt idx="18257">0</cx:pt>
          <cx:pt idx="18258">2</cx:pt>
          <cx:pt idx="18259">3</cx:pt>
          <cx:pt idx="18260">3</cx:pt>
          <cx:pt idx="18261">3</cx:pt>
          <cx:pt idx="18262">1</cx:pt>
          <cx:pt idx="18263">3</cx:pt>
          <cx:pt idx="18264">5</cx:pt>
          <cx:pt idx="18265">3</cx:pt>
          <cx:pt idx="18266">1</cx:pt>
          <cx:pt idx="18267">3</cx:pt>
          <cx:pt idx="18268">2</cx:pt>
          <cx:pt idx="18269">1</cx:pt>
          <cx:pt idx="18270">3</cx:pt>
          <cx:pt idx="18271">0</cx:pt>
          <cx:pt idx="18272">0</cx:pt>
          <cx:pt idx="18273">3</cx:pt>
          <cx:pt idx="18274">1</cx:pt>
          <cx:pt idx="18275">3</cx:pt>
          <cx:pt idx="18276">3</cx:pt>
          <cx:pt idx="18277">5</cx:pt>
          <cx:pt idx="18278">4</cx:pt>
          <cx:pt idx="18279">4</cx:pt>
          <cx:pt idx="18280">3</cx:pt>
          <cx:pt idx="18281">0</cx:pt>
          <cx:pt idx="18282">1</cx:pt>
          <cx:pt idx="18283">5</cx:pt>
          <cx:pt idx="18284">1</cx:pt>
          <cx:pt idx="18285">5</cx:pt>
          <cx:pt idx="18286">4</cx:pt>
          <cx:pt idx="18287">3</cx:pt>
          <cx:pt idx="18288">1</cx:pt>
          <cx:pt idx="18289">5</cx:pt>
          <cx:pt idx="18290">2</cx:pt>
          <cx:pt idx="18291">2</cx:pt>
          <cx:pt idx="18292">1</cx:pt>
          <cx:pt idx="18293">3</cx:pt>
          <cx:pt idx="18294">4</cx:pt>
          <cx:pt idx="18295">2</cx:pt>
          <cx:pt idx="18296">4</cx:pt>
          <cx:pt idx="18297">3</cx:pt>
          <cx:pt idx="18298">1</cx:pt>
          <cx:pt idx="18299">1</cx:pt>
          <cx:pt idx="18300">5</cx:pt>
          <cx:pt idx="18301">2</cx:pt>
          <cx:pt idx="18302">1</cx:pt>
          <cx:pt idx="18303">3</cx:pt>
          <cx:pt idx="18304">0</cx:pt>
          <cx:pt idx="18305">5</cx:pt>
          <cx:pt idx="18306">4</cx:pt>
          <cx:pt idx="18307">3</cx:pt>
          <cx:pt idx="18308">2</cx:pt>
          <cx:pt idx="18309">1</cx:pt>
          <cx:pt idx="18310">3</cx:pt>
          <cx:pt idx="18311">3</cx:pt>
          <cx:pt idx="18312">2</cx:pt>
          <cx:pt idx="18313">3</cx:pt>
          <cx:pt idx="18314">1</cx:pt>
          <cx:pt idx="18315">1</cx:pt>
          <cx:pt idx="18316">4</cx:pt>
          <cx:pt idx="18317">1</cx:pt>
          <cx:pt idx="18318">2</cx:pt>
          <cx:pt idx="18319">0</cx:pt>
          <cx:pt idx="18320">2</cx:pt>
          <cx:pt idx="18321">2</cx:pt>
          <cx:pt idx="18322">3</cx:pt>
          <cx:pt idx="18323">2</cx:pt>
          <cx:pt idx="18324">3</cx:pt>
          <cx:pt idx="18325">1</cx:pt>
          <cx:pt idx="18326">3</cx:pt>
          <cx:pt idx="18327">5</cx:pt>
          <cx:pt idx="18328">3</cx:pt>
          <cx:pt idx="18329">1</cx:pt>
          <cx:pt idx="18330">4</cx:pt>
          <cx:pt idx="18331">5</cx:pt>
          <cx:pt idx="18332">3</cx:pt>
          <cx:pt idx="18333">1</cx:pt>
          <cx:pt idx="18334">3</cx:pt>
          <cx:pt idx="18335">1</cx:pt>
          <cx:pt idx="18336">3</cx:pt>
          <cx:pt idx="18337">1</cx:pt>
          <cx:pt idx="18338">3</cx:pt>
          <cx:pt idx="18339">2</cx:pt>
          <cx:pt idx="18340">4</cx:pt>
          <cx:pt idx="18341">1</cx:pt>
          <cx:pt idx="18342">0</cx:pt>
          <cx:pt idx="18343">1</cx:pt>
          <cx:pt idx="18344">5</cx:pt>
          <cx:pt idx="18345">1</cx:pt>
          <cx:pt idx="18346">1</cx:pt>
          <cx:pt idx="18347">3</cx:pt>
          <cx:pt idx="18348">1</cx:pt>
          <cx:pt idx="18349">5</cx:pt>
          <cx:pt idx="18350">4</cx:pt>
          <cx:pt idx="18351">3</cx:pt>
          <cx:pt idx="18352">4</cx:pt>
          <cx:pt idx="18353">5</cx:pt>
          <cx:pt idx="18354">4</cx:pt>
          <cx:pt idx="18355">4</cx:pt>
          <cx:pt idx="18356">2</cx:pt>
          <cx:pt idx="18357">1</cx:pt>
          <cx:pt idx="18358">1</cx:pt>
          <cx:pt idx="18359">2</cx:pt>
          <cx:pt idx="18360">3</cx:pt>
          <cx:pt idx="18361">4</cx:pt>
          <cx:pt idx="18362">3</cx:pt>
          <cx:pt idx="18363">2</cx:pt>
          <cx:pt idx="18364">2</cx:pt>
          <cx:pt idx="18365">5</cx:pt>
          <cx:pt idx="18366">2</cx:pt>
          <cx:pt idx="18367">3</cx:pt>
          <cx:pt idx="18368">1</cx:pt>
          <cx:pt idx="18369">1</cx:pt>
          <cx:pt idx="18370">5</cx:pt>
          <cx:pt idx="18371">5</cx:pt>
          <cx:pt idx="18372">3</cx:pt>
          <cx:pt idx="18373">4</cx:pt>
          <cx:pt idx="18374">3</cx:pt>
          <cx:pt idx="18375">3</cx:pt>
          <cx:pt idx="18376">2</cx:pt>
          <cx:pt idx="18377">4</cx:pt>
          <cx:pt idx="18378">3</cx:pt>
          <cx:pt idx="18379">1</cx:pt>
          <cx:pt idx="18380">5</cx:pt>
          <cx:pt idx="18381">1</cx:pt>
          <cx:pt idx="18382">2</cx:pt>
          <cx:pt idx="18383">2</cx:pt>
          <cx:pt idx="18384">3</cx:pt>
          <cx:pt idx="18385">3</cx:pt>
          <cx:pt idx="18386">2</cx:pt>
          <cx:pt idx="18387">3</cx:pt>
          <cx:pt idx="18388">2</cx:pt>
          <cx:pt idx="18389">2</cx:pt>
          <cx:pt idx="18390">4</cx:pt>
          <cx:pt idx="18391">2</cx:pt>
          <cx:pt idx="18392">1</cx:pt>
          <cx:pt idx="18393">1</cx:pt>
          <cx:pt idx="18394">2</cx:pt>
          <cx:pt idx="18395">4</cx:pt>
          <cx:pt idx="18396">2</cx:pt>
          <cx:pt idx="18397">1</cx:pt>
          <cx:pt idx="18398">3</cx:pt>
          <cx:pt idx="18399">5</cx:pt>
          <cx:pt idx="18400">2</cx:pt>
          <cx:pt idx="18401">2</cx:pt>
          <cx:pt idx="18402">3</cx:pt>
          <cx:pt idx="18403">3</cx:pt>
          <cx:pt idx="18404">5</cx:pt>
          <cx:pt idx="18405">3</cx:pt>
          <cx:pt idx="18406">3</cx:pt>
          <cx:pt idx="18407">2</cx:pt>
          <cx:pt idx="18408">4</cx:pt>
          <cx:pt idx="18409">1</cx:pt>
          <cx:pt idx="18410">5</cx:pt>
          <cx:pt idx="18411">3</cx:pt>
          <cx:pt idx="18412">3</cx:pt>
          <cx:pt idx="18413">2</cx:pt>
          <cx:pt idx="18414">3</cx:pt>
          <cx:pt idx="18415">4</cx:pt>
          <cx:pt idx="18416">4</cx:pt>
          <cx:pt idx="18417">2</cx:pt>
          <cx:pt idx="18418">5</cx:pt>
          <cx:pt idx="18419">0</cx:pt>
          <cx:pt idx="18420">3</cx:pt>
          <cx:pt idx="18421">1</cx:pt>
          <cx:pt idx="18422">3</cx:pt>
          <cx:pt idx="18423">3</cx:pt>
          <cx:pt idx="18424">1</cx:pt>
          <cx:pt idx="18425">3</cx:pt>
          <cx:pt idx="18426">4</cx:pt>
          <cx:pt idx="18427">3</cx:pt>
          <cx:pt idx="18428">3</cx:pt>
          <cx:pt idx="18429">3</cx:pt>
          <cx:pt idx="18430">2</cx:pt>
          <cx:pt idx="18431">2</cx:pt>
          <cx:pt idx="18432">1</cx:pt>
          <cx:pt idx="18433">2</cx:pt>
          <cx:pt idx="18434">3</cx:pt>
          <cx:pt idx="18435">5</cx:pt>
          <cx:pt idx="18436">4</cx:pt>
          <cx:pt idx="18437">4</cx:pt>
          <cx:pt idx="18438">2</cx:pt>
          <cx:pt idx="18439">3</cx:pt>
          <cx:pt idx="18440">5</cx:pt>
          <cx:pt idx="18441">3</cx:pt>
          <cx:pt idx="18442">5</cx:pt>
          <cx:pt idx="18443">5</cx:pt>
          <cx:pt idx="18444">3</cx:pt>
          <cx:pt idx="18445">3</cx:pt>
          <cx:pt idx="18446">3</cx:pt>
          <cx:pt idx="18447">2</cx:pt>
          <cx:pt idx="18448">4</cx:pt>
          <cx:pt idx="18449">2</cx:pt>
          <cx:pt idx="18450">1</cx:pt>
          <cx:pt idx="18451">3</cx:pt>
          <cx:pt idx="18452">4</cx:pt>
          <cx:pt idx="18453">3</cx:pt>
          <cx:pt idx="18454">3</cx:pt>
          <cx:pt idx="18455">5</cx:pt>
          <cx:pt idx="18456">1</cx:pt>
          <cx:pt idx="18457">1</cx:pt>
          <cx:pt idx="18458">4</cx:pt>
          <cx:pt idx="18459">4</cx:pt>
          <cx:pt idx="18460">3</cx:pt>
          <cx:pt idx="18461">2</cx:pt>
          <cx:pt idx="18462">3</cx:pt>
          <cx:pt idx="18463">3</cx:pt>
          <cx:pt idx="18464">5</cx:pt>
          <cx:pt idx="18465">1</cx:pt>
          <cx:pt idx="18466">5</cx:pt>
          <cx:pt idx="18467">5</cx:pt>
          <cx:pt idx="18468">5</cx:pt>
          <cx:pt idx="18469">4</cx:pt>
          <cx:pt idx="18470">2</cx:pt>
          <cx:pt idx="18471">3</cx:pt>
          <cx:pt idx="18472">3</cx:pt>
          <cx:pt idx="18473">3</cx:pt>
          <cx:pt idx="18474">1</cx:pt>
          <cx:pt idx="18475">2</cx:pt>
          <cx:pt idx="18476">5</cx:pt>
          <cx:pt idx="18477">5</cx:pt>
          <cx:pt idx="18478">4</cx:pt>
          <cx:pt idx="18479">3</cx:pt>
          <cx:pt idx="18480">2</cx:pt>
          <cx:pt idx="18481">4</cx:pt>
          <cx:pt idx="18482">4</cx:pt>
          <cx:pt idx="18483">3</cx:pt>
          <cx:pt idx="18484">0</cx:pt>
          <cx:pt idx="18485">3</cx:pt>
          <cx:pt idx="18486">3</cx:pt>
          <cx:pt idx="18487">2</cx:pt>
          <cx:pt idx="18488">2</cx:pt>
          <cx:pt idx="18489">3</cx:pt>
          <cx:pt idx="18490">3</cx:pt>
          <cx:pt idx="18491">3</cx:pt>
          <cx:pt idx="18492">3</cx:pt>
          <cx:pt idx="18493">2</cx:pt>
          <cx:pt idx="18494">2</cx:pt>
          <cx:pt idx="18495">1</cx:pt>
          <cx:pt idx="18496">4</cx:pt>
          <cx:pt idx="18497">3</cx:pt>
          <cx:pt idx="18498">3</cx:pt>
          <cx:pt idx="18499">1</cx:pt>
          <cx:pt idx="18500">1</cx:pt>
          <cx:pt idx="18501">1</cx:pt>
          <cx:pt idx="18502">1</cx:pt>
          <cx:pt idx="18503">2</cx:pt>
          <cx:pt idx="18504">5</cx:pt>
          <cx:pt idx="18505">1</cx:pt>
          <cx:pt idx="18506">1</cx:pt>
          <cx:pt idx="18507">0</cx:pt>
          <cx:pt idx="18508">1</cx:pt>
          <cx:pt idx="18509">4</cx:pt>
          <cx:pt idx="18510">3</cx:pt>
          <cx:pt idx="18511">4</cx:pt>
          <cx:pt idx="18512">3</cx:pt>
          <cx:pt idx="18513">2</cx:pt>
          <cx:pt idx="18514">5</cx:pt>
          <cx:pt idx="18515">3</cx:pt>
          <cx:pt idx="18516">3</cx:pt>
          <cx:pt idx="18517">3</cx:pt>
          <cx:pt idx="18518">2</cx:pt>
          <cx:pt idx="18519">2</cx:pt>
          <cx:pt idx="18520">2</cx:pt>
          <cx:pt idx="18521">4</cx:pt>
          <cx:pt idx="18522">2</cx:pt>
          <cx:pt idx="18523">3</cx:pt>
          <cx:pt idx="18524">2</cx:pt>
          <cx:pt idx="18525">3</cx:pt>
          <cx:pt idx="18526">1</cx:pt>
          <cx:pt idx="18527">4</cx:pt>
          <cx:pt idx="18528">1</cx:pt>
          <cx:pt idx="18529">4</cx:pt>
          <cx:pt idx="18530">1</cx:pt>
          <cx:pt idx="18531">3</cx:pt>
          <cx:pt idx="18532">5</cx:pt>
          <cx:pt idx="18533">3</cx:pt>
          <cx:pt idx="18534">4</cx:pt>
          <cx:pt idx="18535">1</cx:pt>
          <cx:pt idx="18536">5</cx:pt>
          <cx:pt idx="18537">2</cx:pt>
          <cx:pt idx="18538">4</cx:pt>
          <cx:pt idx="18539">4</cx:pt>
          <cx:pt idx="18540">3</cx:pt>
          <cx:pt idx="18541">2</cx:pt>
          <cx:pt idx="18542">4</cx:pt>
          <cx:pt idx="18543">1</cx:pt>
          <cx:pt idx="18544">5</cx:pt>
          <cx:pt idx="18545">1</cx:pt>
          <cx:pt idx="18546">1</cx:pt>
          <cx:pt idx="18547">2</cx:pt>
          <cx:pt idx="18548">4</cx:pt>
          <cx:pt idx="18549">2</cx:pt>
          <cx:pt idx="18550">3</cx:pt>
          <cx:pt idx="18551">0</cx:pt>
          <cx:pt idx="18552">1</cx:pt>
          <cx:pt idx="18553">0</cx:pt>
          <cx:pt idx="18554">5</cx:pt>
          <cx:pt idx="18555">5</cx:pt>
          <cx:pt idx="18556">3</cx:pt>
          <cx:pt idx="18557">3</cx:pt>
          <cx:pt idx="18558">2</cx:pt>
          <cx:pt idx="18559">3</cx:pt>
          <cx:pt idx="18560">2</cx:pt>
          <cx:pt idx="18561">5</cx:pt>
          <cx:pt idx="18562">1</cx:pt>
          <cx:pt idx="18563">0</cx:pt>
          <cx:pt idx="18564">1</cx:pt>
          <cx:pt idx="18565">4</cx:pt>
          <cx:pt idx="18566">2</cx:pt>
          <cx:pt idx="18567">2</cx:pt>
          <cx:pt idx="18568">2</cx:pt>
          <cx:pt idx="18569">1</cx:pt>
          <cx:pt idx="18570">2</cx:pt>
          <cx:pt idx="18571">2</cx:pt>
          <cx:pt idx="18572">3</cx:pt>
          <cx:pt idx="18573">1</cx:pt>
          <cx:pt idx="18574">3</cx:pt>
          <cx:pt idx="18575">5</cx:pt>
          <cx:pt idx="18576">2</cx:pt>
          <cx:pt idx="18577">5</cx:pt>
          <cx:pt idx="18578">2</cx:pt>
          <cx:pt idx="18579">1</cx:pt>
          <cx:pt idx="18580">2</cx:pt>
          <cx:pt idx="18581">4</cx:pt>
          <cx:pt idx="18582">3</cx:pt>
          <cx:pt idx="18583">2</cx:pt>
          <cx:pt idx="18584">5</cx:pt>
          <cx:pt idx="18585">4</cx:pt>
          <cx:pt idx="18586">5</cx:pt>
          <cx:pt idx="18587">5</cx:pt>
          <cx:pt idx="18588">2</cx:pt>
          <cx:pt idx="18589">4</cx:pt>
          <cx:pt idx="18590">2</cx:pt>
          <cx:pt idx="18591">2</cx:pt>
          <cx:pt idx="18592">2</cx:pt>
          <cx:pt idx="18593">3</cx:pt>
          <cx:pt idx="18594">5</cx:pt>
          <cx:pt idx="18595">2</cx:pt>
          <cx:pt idx="18596">1</cx:pt>
          <cx:pt idx="18597">3</cx:pt>
          <cx:pt idx="18598">2</cx:pt>
          <cx:pt idx="18599">3</cx:pt>
          <cx:pt idx="18600">1</cx:pt>
          <cx:pt idx="18601">0</cx:pt>
          <cx:pt idx="18602">4</cx:pt>
          <cx:pt idx="18603">5</cx:pt>
          <cx:pt idx="18604">3</cx:pt>
          <cx:pt idx="18605">5</cx:pt>
          <cx:pt idx="18606">1</cx:pt>
          <cx:pt idx="18607">1</cx:pt>
          <cx:pt idx="18608">0</cx:pt>
          <cx:pt idx="18609">2</cx:pt>
          <cx:pt idx="18610">5</cx:pt>
          <cx:pt idx="18611">4</cx:pt>
          <cx:pt idx="18612">1</cx:pt>
          <cx:pt idx="18613">1</cx:pt>
          <cx:pt idx="18614">0</cx:pt>
          <cx:pt idx="18615">3</cx:pt>
          <cx:pt idx="18616">3</cx:pt>
          <cx:pt idx="18617">3</cx:pt>
          <cx:pt idx="18618">1</cx:pt>
          <cx:pt idx="18619">1</cx:pt>
          <cx:pt idx="18620">2</cx:pt>
          <cx:pt idx="18621">2</cx:pt>
          <cx:pt idx="18622">5</cx:pt>
          <cx:pt idx="18623">2</cx:pt>
          <cx:pt idx="18624">5</cx:pt>
          <cx:pt idx="18625">2</cx:pt>
          <cx:pt idx="18626">4</cx:pt>
          <cx:pt idx="18627">1</cx:pt>
          <cx:pt idx="18628">4</cx:pt>
          <cx:pt idx="18629">3</cx:pt>
          <cx:pt idx="18630">4</cx:pt>
          <cx:pt idx="18631">2</cx:pt>
          <cx:pt idx="18632">3</cx:pt>
          <cx:pt idx="18633">0</cx:pt>
          <cx:pt idx="18634">3</cx:pt>
          <cx:pt idx="18635">4</cx:pt>
          <cx:pt idx="18636">5</cx:pt>
          <cx:pt idx="18637">4</cx:pt>
          <cx:pt idx="18638">4</cx:pt>
          <cx:pt idx="18639">4</cx:pt>
          <cx:pt idx="18640">2</cx:pt>
          <cx:pt idx="18641">2</cx:pt>
          <cx:pt idx="18642">2</cx:pt>
          <cx:pt idx="18643">3</cx:pt>
          <cx:pt idx="18644">1</cx:pt>
          <cx:pt idx="18645">2</cx:pt>
          <cx:pt idx="18646">2</cx:pt>
          <cx:pt idx="18647">1</cx:pt>
          <cx:pt idx="18648">2</cx:pt>
          <cx:pt idx="18649">1</cx:pt>
          <cx:pt idx="18650">3</cx:pt>
          <cx:pt idx="18651">4</cx:pt>
          <cx:pt idx="18652">4</cx:pt>
          <cx:pt idx="18653">1</cx:pt>
          <cx:pt idx="18654">3</cx:pt>
          <cx:pt idx="18655">3</cx:pt>
          <cx:pt idx="18656">2</cx:pt>
          <cx:pt idx="18657">2</cx:pt>
          <cx:pt idx="18658">2</cx:pt>
          <cx:pt idx="18659">3</cx:pt>
          <cx:pt idx="18660">5</cx:pt>
          <cx:pt idx="18661">1</cx:pt>
          <cx:pt idx="18662">1</cx:pt>
          <cx:pt idx="18663">4</cx:pt>
          <cx:pt idx="18664">5</cx:pt>
          <cx:pt idx="18665">4</cx:pt>
          <cx:pt idx="18666">4</cx:pt>
          <cx:pt idx="18667">4</cx:pt>
          <cx:pt idx="18668">3</cx:pt>
          <cx:pt idx="18669">2</cx:pt>
          <cx:pt idx="18670">3</cx:pt>
          <cx:pt idx="18671">5</cx:pt>
          <cx:pt idx="18672">3</cx:pt>
          <cx:pt idx="18673">3</cx:pt>
          <cx:pt idx="18674">4</cx:pt>
          <cx:pt idx="18675">3</cx:pt>
          <cx:pt idx="18676">4</cx:pt>
          <cx:pt idx="18677">2</cx:pt>
          <cx:pt idx="18678">3</cx:pt>
          <cx:pt idx="18679">3</cx:pt>
          <cx:pt idx="18680">4</cx:pt>
          <cx:pt idx="18681">3</cx:pt>
          <cx:pt idx="18682">0</cx:pt>
          <cx:pt idx="18683">4</cx:pt>
          <cx:pt idx="18684">2</cx:pt>
          <cx:pt idx="18685">3</cx:pt>
          <cx:pt idx="18686">1</cx:pt>
          <cx:pt idx="18687">4</cx:pt>
          <cx:pt idx="18688">4</cx:pt>
          <cx:pt idx="18689">2</cx:pt>
          <cx:pt idx="18690">4</cx:pt>
          <cx:pt idx="18691">1</cx:pt>
          <cx:pt idx="18692">4</cx:pt>
          <cx:pt idx="18693">2</cx:pt>
          <cx:pt idx="18694">1</cx:pt>
          <cx:pt idx="18695">1</cx:pt>
          <cx:pt idx="18696">3</cx:pt>
          <cx:pt idx="18697">3</cx:pt>
          <cx:pt idx="18698">1</cx:pt>
          <cx:pt idx="18699">2</cx:pt>
          <cx:pt idx="18700">5</cx:pt>
          <cx:pt idx="18701">3</cx:pt>
          <cx:pt idx="18702">2</cx:pt>
          <cx:pt idx="18703">1</cx:pt>
          <cx:pt idx="18704">2</cx:pt>
          <cx:pt idx="18705">0</cx:pt>
          <cx:pt idx="18706">3</cx:pt>
          <cx:pt idx="18707">4</cx:pt>
          <cx:pt idx="18708">2</cx:pt>
          <cx:pt idx="18709">4</cx:pt>
          <cx:pt idx="18710">1</cx:pt>
          <cx:pt idx="18711">4</cx:pt>
          <cx:pt idx="18712">5</cx:pt>
          <cx:pt idx="18713">2</cx:pt>
          <cx:pt idx="18714">3</cx:pt>
          <cx:pt idx="18715">2</cx:pt>
          <cx:pt idx="18716">4</cx:pt>
          <cx:pt idx="18717">3</cx:pt>
          <cx:pt idx="18718">2</cx:pt>
          <cx:pt idx="18719">4</cx:pt>
          <cx:pt idx="18720">4</cx:pt>
          <cx:pt idx="18721">0</cx:pt>
          <cx:pt idx="18722">4</cx:pt>
          <cx:pt idx="18723">5</cx:pt>
          <cx:pt idx="18724">3</cx:pt>
          <cx:pt idx="18725">4</cx:pt>
          <cx:pt idx="18726">2</cx:pt>
          <cx:pt idx="18727">5</cx:pt>
          <cx:pt idx="18728">3</cx:pt>
          <cx:pt idx="18729">4</cx:pt>
          <cx:pt idx="18730">2</cx:pt>
          <cx:pt idx="18731">5</cx:pt>
          <cx:pt idx="18732">3</cx:pt>
          <cx:pt idx="18733">2</cx:pt>
          <cx:pt idx="18734">5</cx:pt>
          <cx:pt idx="18735">4</cx:pt>
          <cx:pt idx="18736">2</cx:pt>
          <cx:pt idx="18737">1</cx:pt>
          <cx:pt idx="18738">5</cx:pt>
          <cx:pt idx="18739">3</cx:pt>
          <cx:pt idx="18740">1</cx:pt>
          <cx:pt idx="18741">3</cx:pt>
          <cx:pt idx="18742">3</cx:pt>
          <cx:pt idx="18743">5</cx:pt>
          <cx:pt idx="18744">4</cx:pt>
          <cx:pt idx="18745">2</cx:pt>
          <cx:pt idx="18746">2</cx:pt>
          <cx:pt idx="18747">3</cx:pt>
          <cx:pt idx="18748">2</cx:pt>
          <cx:pt idx="18749">3</cx:pt>
          <cx:pt idx="18750">2</cx:pt>
          <cx:pt idx="18751">2</cx:pt>
          <cx:pt idx="18752">5</cx:pt>
          <cx:pt idx="18753">2</cx:pt>
          <cx:pt idx="18754">2</cx:pt>
          <cx:pt idx="18755">4</cx:pt>
          <cx:pt idx="18756">4</cx:pt>
          <cx:pt idx="18757">1</cx:pt>
          <cx:pt idx="18758">3</cx:pt>
          <cx:pt idx="18759">1</cx:pt>
          <cx:pt idx="18760">3</cx:pt>
          <cx:pt idx="18761">2</cx:pt>
          <cx:pt idx="18762">0</cx:pt>
          <cx:pt idx="18763">3</cx:pt>
          <cx:pt idx="18764">2</cx:pt>
          <cx:pt idx="18765">3</cx:pt>
          <cx:pt idx="18766">1</cx:pt>
          <cx:pt idx="18767">4</cx:pt>
          <cx:pt idx="18768">4</cx:pt>
          <cx:pt idx="18769">1</cx:pt>
          <cx:pt idx="18770">4</cx:pt>
          <cx:pt idx="18771">4</cx:pt>
          <cx:pt idx="18772">4</cx:pt>
          <cx:pt idx="18773">5</cx:pt>
          <cx:pt idx="18774">4</cx:pt>
          <cx:pt idx="18775">4</cx:pt>
          <cx:pt idx="18776">3</cx:pt>
          <cx:pt idx="18777">4</cx:pt>
          <cx:pt idx="18778">3</cx:pt>
          <cx:pt idx="18779">2</cx:pt>
          <cx:pt idx="18780">4</cx:pt>
          <cx:pt idx="18781">2</cx:pt>
          <cx:pt idx="18782">2</cx:pt>
          <cx:pt idx="18783">1</cx:pt>
          <cx:pt idx="18784">1</cx:pt>
          <cx:pt idx="18785">3</cx:pt>
          <cx:pt idx="18786">3</cx:pt>
          <cx:pt idx="18787">2</cx:pt>
          <cx:pt idx="18788">2</cx:pt>
          <cx:pt idx="18789">5</cx:pt>
          <cx:pt idx="18790">2</cx:pt>
          <cx:pt idx="18791">4</cx:pt>
          <cx:pt idx="18792">1</cx:pt>
          <cx:pt idx="18793">0</cx:pt>
          <cx:pt idx="18794">5</cx:pt>
          <cx:pt idx="18795">2</cx:pt>
          <cx:pt idx="18796">2</cx:pt>
          <cx:pt idx="18797">2</cx:pt>
          <cx:pt idx="18798">4</cx:pt>
          <cx:pt idx="18799">4</cx:pt>
          <cx:pt idx="18800">4</cx:pt>
          <cx:pt idx="18801">1</cx:pt>
          <cx:pt idx="18802">3</cx:pt>
          <cx:pt idx="18803">5</cx:pt>
          <cx:pt idx="18804">4</cx:pt>
          <cx:pt idx="18805">3</cx:pt>
          <cx:pt idx="18806">5</cx:pt>
          <cx:pt idx="18807">3</cx:pt>
          <cx:pt idx="18808">1</cx:pt>
          <cx:pt idx="18809">2</cx:pt>
          <cx:pt idx="18810">4</cx:pt>
          <cx:pt idx="18811">4</cx:pt>
          <cx:pt idx="18812">4</cx:pt>
          <cx:pt idx="18813">3</cx:pt>
          <cx:pt idx="18814">0</cx:pt>
          <cx:pt idx="18815">2</cx:pt>
          <cx:pt idx="18816">5</cx:pt>
          <cx:pt idx="18817">4</cx:pt>
          <cx:pt idx="18818">4</cx:pt>
          <cx:pt idx="18819">1</cx:pt>
          <cx:pt idx="18820">1</cx:pt>
          <cx:pt idx="18821">1</cx:pt>
          <cx:pt idx="18822">5</cx:pt>
          <cx:pt idx="18823">2</cx:pt>
          <cx:pt idx="18824">2</cx:pt>
          <cx:pt idx="18825">3</cx:pt>
          <cx:pt idx="18826">3</cx:pt>
          <cx:pt idx="18827">5</cx:pt>
          <cx:pt idx="18828">0</cx:pt>
          <cx:pt idx="18829">4</cx:pt>
          <cx:pt idx="18830">3</cx:pt>
          <cx:pt idx="18831">2</cx:pt>
          <cx:pt idx="18832">3</cx:pt>
          <cx:pt idx="18833">4</cx:pt>
          <cx:pt idx="18834">1</cx:pt>
          <cx:pt idx="18835">1</cx:pt>
          <cx:pt idx="18836">2</cx:pt>
          <cx:pt idx="18837">2</cx:pt>
          <cx:pt idx="18838">5</cx:pt>
          <cx:pt idx="18839">2</cx:pt>
          <cx:pt idx="18840">5</cx:pt>
          <cx:pt idx="18841">2</cx:pt>
          <cx:pt idx="18842">5</cx:pt>
          <cx:pt idx="18843">4</cx:pt>
          <cx:pt idx="18844">2</cx:pt>
          <cx:pt idx="18845">3</cx:pt>
          <cx:pt idx="18846">2</cx:pt>
          <cx:pt idx="18847">1</cx:pt>
          <cx:pt idx="18848">2</cx:pt>
          <cx:pt idx="18849">5</cx:pt>
          <cx:pt idx="18850">2</cx:pt>
          <cx:pt idx="18851">3</cx:pt>
          <cx:pt idx="18852">2</cx:pt>
          <cx:pt idx="18853">1</cx:pt>
          <cx:pt idx="18854">4</cx:pt>
          <cx:pt idx="18855">4</cx:pt>
          <cx:pt idx="18856">2</cx:pt>
          <cx:pt idx="18857">2</cx:pt>
          <cx:pt idx="18858">2</cx:pt>
          <cx:pt idx="18859">3</cx:pt>
          <cx:pt idx="18860">2</cx:pt>
          <cx:pt idx="18861">2</cx:pt>
          <cx:pt idx="18862">2</cx:pt>
          <cx:pt idx="18863">4</cx:pt>
          <cx:pt idx="18864">5</cx:pt>
          <cx:pt idx="18865">2</cx:pt>
          <cx:pt idx="18866">1</cx:pt>
          <cx:pt idx="18867">2</cx:pt>
          <cx:pt idx="18868">4</cx:pt>
          <cx:pt idx="18869">2</cx:pt>
          <cx:pt idx="18870">1</cx:pt>
          <cx:pt idx="18871">3</cx:pt>
          <cx:pt idx="18872">1</cx:pt>
          <cx:pt idx="18873">2</cx:pt>
          <cx:pt idx="18874">5</cx:pt>
          <cx:pt idx="18875">4</cx:pt>
          <cx:pt idx="18876">1</cx:pt>
          <cx:pt idx="18877">2</cx:pt>
          <cx:pt idx="18878">4</cx:pt>
          <cx:pt idx="18879">4</cx:pt>
          <cx:pt idx="18880">1</cx:pt>
          <cx:pt idx="18881">2</cx:pt>
          <cx:pt idx="18882">3</cx:pt>
          <cx:pt idx="18883">5</cx:pt>
          <cx:pt idx="18884">4</cx:pt>
          <cx:pt idx="18885">4</cx:pt>
          <cx:pt idx="18886">4</cx:pt>
          <cx:pt idx="18887">3</cx:pt>
          <cx:pt idx="18888">4</cx:pt>
          <cx:pt idx="18889">1</cx:pt>
          <cx:pt idx="18890">3</cx:pt>
          <cx:pt idx="18891">5</cx:pt>
          <cx:pt idx="18892">3</cx:pt>
          <cx:pt idx="18893">2</cx:pt>
          <cx:pt idx="18894">0</cx:pt>
          <cx:pt idx="18895">2</cx:pt>
          <cx:pt idx="18896">3</cx:pt>
          <cx:pt idx="18897">4</cx:pt>
          <cx:pt idx="18898">3</cx:pt>
          <cx:pt idx="18899">5</cx:pt>
          <cx:pt idx="18900">4</cx:pt>
          <cx:pt idx="18901">4</cx:pt>
          <cx:pt idx="18902">4</cx:pt>
          <cx:pt idx="18903">3</cx:pt>
          <cx:pt idx="18904">2</cx:pt>
          <cx:pt idx="18905">2</cx:pt>
          <cx:pt idx="18906">1</cx:pt>
          <cx:pt idx="18907">2</cx:pt>
          <cx:pt idx="18908">3</cx:pt>
          <cx:pt idx="18909">1</cx:pt>
          <cx:pt idx="18910">2</cx:pt>
          <cx:pt idx="18911">2</cx:pt>
          <cx:pt idx="18912">0</cx:pt>
          <cx:pt idx="18913">1</cx:pt>
          <cx:pt idx="18914">5</cx:pt>
          <cx:pt idx="18915">2</cx:pt>
          <cx:pt idx="18916">2</cx:pt>
          <cx:pt idx="18917">1</cx:pt>
          <cx:pt idx="18918">1</cx:pt>
          <cx:pt idx="18919">1</cx:pt>
          <cx:pt idx="18920">2</cx:pt>
          <cx:pt idx="18921">2</cx:pt>
          <cx:pt idx="18922">4</cx:pt>
          <cx:pt idx="18923">2</cx:pt>
          <cx:pt idx="18924">4</cx:pt>
          <cx:pt idx="18925">4</cx:pt>
          <cx:pt idx="18926">2</cx:pt>
          <cx:pt idx="18927">2</cx:pt>
          <cx:pt idx="18928">3</cx:pt>
          <cx:pt idx="18929">5</cx:pt>
          <cx:pt idx="18930">4</cx:pt>
          <cx:pt idx="18931">2</cx:pt>
          <cx:pt idx="18932">3</cx:pt>
          <cx:pt idx="18933">1</cx:pt>
          <cx:pt idx="18934">2</cx:pt>
          <cx:pt idx="18935">2</cx:pt>
          <cx:pt idx="18936">4</cx:pt>
          <cx:pt idx="18937">4</cx:pt>
          <cx:pt idx="18938">1</cx:pt>
          <cx:pt idx="18939">2</cx:pt>
          <cx:pt idx="18940">1</cx:pt>
          <cx:pt idx="18941">3</cx:pt>
          <cx:pt idx="18942">5</cx:pt>
          <cx:pt idx="18943">4</cx:pt>
          <cx:pt idx="18944">3</cx:pt>
          <cx:pt idx="18945">0</cx:pt>
          <cx:pt idx="18946">4</cx:pt>
          <cx:pt idx="18947">5</cx:pt>
          <cx:pt idx="18948">4</cx:pt>
          <cx:pt idx="18949">5</cx:pt>
          <cx:pt idx="18950">2</cx:pt>
          <cx:pt idx="18951">2</cx:pt>
          <cx:pt idx="18952">2</cx:pt>
          <cx:pt idx="18953">4</cx:pt>
          <cx:pt idx="18954">5</cx:pt>
          <cx:pt idx="18955">2</cx:pt>
          <cx:pt idx="18956">2</cx:pt>
          <cx:pt idx="18957">2</cx:pt>
          <cx:pt idx="18958">5</cx:pt>
          <cx:pt idx="18959">2</cx:pt>
          <cx:pt idx="18960">2</cx:pt>
          <cx:pt idx="18961">4</cx:pt>
          <cx:pt idx="18962">2</cx:pt>
          <cx:pt idx="18963">3</cx:pt>
          <cx:pt idx="18964">4</cx:pt>
          <cx:pt idx="18965">3</cx:pt>
          <cx:pt idx="18966">2</cx:pt>
          <cx:pt idx="18967">4</cx:pt>
          <cx:pt idx="18968">3</cx:pt>
          <cx:pt idx="18969">2</cx:pt>
          <cx:pt idx="18970">3</cx:pt>
          <cx:pt idx="18971">1</cx:pt>
          <cx:pt idx="18972">1</cx:pt>
          <cx:pt idx="18973">2</cx:pt>
          <cx:pt idx="18974">2</cx:pt>
          <cx:pt idx="18975">2</cx:pt>
          <cx:pt idx="18976">3</cx:pt>
          <cx:pt idx="18977">2</cx:pt>
          <cx:pt idx="18978">4</cx:pt>
          <cx:pt idx="18979">3</cx:pt>
          <cx:pt idx="18980">3</cx:pt>
          <cx:pt idx="18981">2</cx:pt>
          <cx:pt idx="18982">1</cx:pt>
          <cx:pt idx="18983">1</cx:pt>
          <cx:pt idx="18984">2</cx:pt>
          <cx:pt idx="18985">1</cx:pt>
          <cx:pt idx="18986">3</cx:pt>
          <cx:pt idx="18987">2</cx:pt>
          <cx:pt idx="18988">1</cx:pt>
          <cx:pt idx="18989">5</cx:pt>
          <cx:pt idx="18990">2</cx:pt>
          <cx:pt idx="18991">2</cx:pt>
          <cx:pt idx="18992">3</cx:pt>
          <cx:pt idx="18993">3</cx:pt>
          <cx:pt idx="18994">2</cx:pt>
          <cx:pt idx="18995">3</cx:pt>
          <cx:pt idx="18996">4</cx:pt>
          <cx:pt idx="18997">4</cx:pt>
          <cx:pt idx="18998">3</cx:pt>
          <cx:pt idx="18999">5</cx:pt>
          <cx:pt idx="19000">1</cx:pt>
          <cx:pt idx="19001">4</cx:pt>
          <cx:pt idx="19002">1</cx:pt>
          <cx:pt idx="19003">3</cx:pt>
          <cx:pt idx="19004">2</cx:pt>
          <cx:pt idx="19005">0</cx:pt>
          <cx:pt idx="19006">0</cx:pt>
          <cx:pt idx="19007">1</cx:pt>
          <cx:pt idx="19008">4</cx:pt>
          <cx:pt idx="19009">4</cx:pt>
          <cx:pt idx="19010">4</cx:pt>
          <cx:pt idx="19011">5</cx:pt>
          <cx:pt idx="19012">4</cx:pt>
          <cx:pt idx="19013">4</cx:pt>
          <cx:pt idx="19014">2</cx:pt>
          <cx:pt idx="19015">2</cx:pt>
          <cx:pt idx="19016">4</cx:pt>
          <cx:pt idx="19017">1</cx:pt>
          <cx:pt idx="19018">1</cx:pt>
          <cx:pt idx="19019">3</cx:pt>
          <cx:pt idx="19020">5</cx:pt>
          <cx:pt idx="19021">2</cx:pt>
          <cx:pt idx="19022">2</cx:pt>
          <cx:pt idx="19023">2</cx:pt>
          <cx:pt idx="19024">5</cx:pt>
          <cx:pt idx="19025">2</cx:pt>
          <cx:pt idx="19026">5</cx:pt>
          <cx:pt idx="19027">3</cx:pt>
          <cx:pt idx="19028">4</cx:pt>
          <cx:pt idx="19029">0</cx:pt>
          <cx:pt idx="19030">3</cx:pt>
          <cx:pt idx="19031">5</cx:pt>
          <cx:pt idx="19032">3</cx:pt>
          <cx:pt idx="19033">5</cx:pt>
          <cx:pt idx="19034">4</cx:pt>
          <cx:pt idx="19035">4</cx:pt>
          <cx:pt idx="19036">3</cx:pt>
          <cx:pt idx="19037">5</cx:pt>
          <cx:pt idx="19038">4</cx:pt>
          <cx:pt idx="19039">4</cx:pt>
          <cx:pt idx="19040">3</cx:pt>
          <cx:pt idx="19041">5</cx:pt>
          <cx:pt idx="19042">0</cx:pt>
          <cx:pt idx="19043">4</cx:pt>
          <cx:pt idx="19044">2</cx:pt>
          <cx:pt idx="19045">4</cx:pt>
          <cx:pt idx="19046">2</cx:pt>
          <cx:pt idx="19047">2</cx:pt>
          <cx:pt idx="19048">3</cx:pt>
          <cx:pt idx="19049">3</cx:pt>
          <cx:pt idx="19050">3</cx:pt>
          <cx:pt idx="19051">5</cx:pt>
          <cx:pt idx="19052">1</cx:pt>
          <cx:pt idx="19053">2</cx:pt>
          <cx:pt idx="19054">3</cx:pt>
          <cx:pt idx="19055">5</cx:pt>
          <cx:pt idx="19056">3</cx:pt>
          <cx:pt idx="19057">4</cx:pt>
          <cx:pt idx="19058">5</cx:pt>
          <cx:pt idx="19059">3</cx:pt>
          <cx:pt idx="19060">3</cx:pt>
          <cx:pt idx="19061">5</cx:pt>
          <cx:pt idx="19062">2</cx:pt>
          <cx:pt idx="19063">2</cx:pt>
          <cx:pt idx="19064">3</cx:pt>
          <cx:pt idx="19065">3</cx:pt>
          <cx:pt idx="19066">2</cx:pt>
          <cx:pt idx="19067">4</cx:pt>
          <cx:pt idx="19068">0</cx:pt>
          <cx:pt idx="19069">4</cx:pt>
          <cx:pt idx="19070">5</cx:pt>
          <cx:pt idx="19071">1</cx:pt>
          <cx:pt idx="19072">0</cx:pt>
          <cx:pt idx="19073">4</cx:pt>
          <cx:pt idx="19074">4</cx:pt>
          <cx:pt idx="19075">2</cx:pt>
          <cx:pt idx="19076">5</cx:pt>
          <cx:pt idx="19077">2</cx:pt>
          <cx:pt idx="19078">1</cx:pt>
          <cx:pt idx="19079">2</cx:pt>
          <cx:pt idx="19080">2</cx:pt>
          <cx:pt idx="19081">1</cx:pt>
          <cx:pt idx="19082">1</cx:pt>
          <cx:pt idx="19083">3</cx:pt>
          <cx:pt idx="19084">4</cx:pt>
          <cx:pt idx="19085">1</cx:pt>
          <cx:pt idx="19086">2</cx:pt>
          <cx:pt idx="19087">1</cx:pt>
          <cx:pt idx="19088">5</cx:pt>
          <cx:pt idx="19089">1</cx:pt>
          <cx:pt idx="19090">3</cx:pt>
          <cx:pt idx="19091">0</cx:pt>
          <cx:pt idx="19092">3</cx:pt>
          <cx:pt idx="19093">2</cx:pt>
          <cx:pt idx="19094">3</cx:pt>
          <cx:pt idx="19095">1</cx:pt>
          <cx:pt idx="19096">2</cx:pt>
          <cx:pt idx="19097">5</cx:pt>
          <cx:pt idx="19098">4</cx:pt>
          <cx:pt idx="19099">1</cx:pt>
          <cx:pt idx="19100">2</cx:pt>
          <cx:pt idx="19101">1</cx:pt>
          <cx:pt idx="19102">2</cx:pt>
          <cx:pt idx="19103">1</cx:pt>
          <cx:pt idx="19104">2</cx:pt>
          <cx:pt idx="19105">3</cx:pt>
          <cx:pt idx="19106">3</cx:pt>
          <cx:pt idx="19107">4</cx:pt>
          <cx:pt idx="19108">1</cx:pt>
          <cx:pt idx="19109">3</cx:pt>
          <cx:pt idx="19110">0</cx:pt>
          <cx:pt idx="19111">0</cx:pt>
          <cx:pt idx="19112">3</cx:pt>
          <cx:pt idx="19113">2</cx:pt>
          <cx:pt idx="19114">3</cx:pt>
          <cx:pt idx="19115">3</cx:pt>
          <cx:pt idx="19116">1</cx:pt>
          <cx:pt idx="19117">1</cx:pt>
          <cx:pt idx="19118">2</cx:pt>
          <cx:pt idx="19119">0</cx:pt>
          <cx:pt idx="19120">4</cx:pt>
          <cx:pt idx="19121">4</cx:pt>
          <cx:pt idx="19122">4</cx:pt>
          <cx:pt idx="19123">3</cx:pt>
          <cx:pt idx="19124">3</cx:pt>
          <cx:pt idx="19125">2</cx:pt>
          <cx:pt idx="19126">5</cx:pt>
          <cx:pt idx="19127">2</cx:pt>
          <cx:pt idx="19128">4</cx:pt>
          <cx:pt idx="19129">0</cx:pt>
          <cx:pt idx="19130">3</cx:pt>
          <cx:pt idx="19131">4</cx:pt>
          <cx:pt idx="19132">1</cx:pt>
          <cx:pt idx="19133">0</cx:pt>
          <cx:pt idx="19134">3</cx:pt>
          <cx:pt idx="19135">2</cx:pt>
          <cx:pt idx="19136">4</cx:pt>
          <cx:pt idx="19137">3</cx:pt>
          <cx:pt idx="19138">2</cx:pt>
          <cx:pt idx="19139">2</cx:pt>
          <cx:pt idx="19140">2</cx:pt>
          <cx:pt idx="19141">3</cx:pt>
          <cx:pt idx="19142">2</cx:pt>
          <cx:pt idx="19143">2</cx:pt>
          <cx:pt idx="19144">3</cx:pt>
          <cx:pt idx="19145">5</cx:pt>
          <cx:pt idx="19146">2</cx:pt>
          <cx:pt idx="19147">2</cx:pt>
          <cx:pt idx="19148">5</cx:pt>
          <cx:pt idx="19149">5</cx:pt>
          <cx:pt idx="19150">2</cx:pt>
          <cx:pt idx="19151">3</cx:pt>
          <cx:pt idx="19152">5</cx:pt>
          <cx:pt idx="19153">4</cx:pt>
          <cx:pt idx="19154">3</cx:pt>
          <cx:pt idx="19155">5</cx:pt>
          <cx:pt idx="19156">0</cx:pt>
          <cx:pt idx="19157">0</cx:pt>
          <cx:pt idx="19158">2</cx:pt>
          <cx:pt idx="19159">5</cx:pt>
          <cx:pt idx="19160">4</cx:pt>
          <cx:pt idx="19161">2</cx:pt>
          <cx:pt idx="19162">2</cx:pt>
          <cx:pt idx="19163">1</cx:pt>
          <cx:pt idx="19164">2</cx:pt>
          <cx:pt idx="19165">4</cx:pt>
          <cx:pt idx="19166">1</cx:pt>
          <cx:pt idx="19167">5</cx:pt>
          <cx:pt idx="19168">3</cx:pt>
          <cx:pt idx="19169">1</cx:pt>
          <cx:pt idx="19170">0</cx:pt>
          <cx:pt idx="19171">3</cx:pt>
          <cx:pt idx="19172">2</cx:pt>
          <cx:pt idx="19173">5</cx:pt>
          <cx:pt idx="19174">2</cx:pt>
          <cx:pt idx="19175">2</cx:pt>
          <cx:pt idx="19176">3</cx:pt>
          <cx:pt idx="19177">0</cx:pt>
          <cx:pt idx="19178">2</cx:pt>
          <cx:pt idx="19179">0</cx:pt>
          <cx:pt idx="19180">3</cx:pt>
          <cx:pt idx="19181">1</cx:pt>
          <cx:pt idx="19182">2</cx:pt>
          <cx:pt idx="19183">4</cx:pt>
          <cx:pt idx="19184">3</cx:pt>
          <cx:pt idx="19185">2</cx:pt>
          <cx:pt idx="19186">1</cx:pt>
          <cx:pt idx="19187">4</cx:pt>
          <cx:pt idx="19188">2</cx:pt>
          <cx:pt idx="19189">5</cx:pt>
          <cx:pt idx="19190">3</cx:pt>
          <cx:pt idx="19191">5</cx:pt>
          <cx:pt idx="19192">2</cx:pt>
          <cx:pt idx="19193">1</cx:pt>
          <cx:pt idx="19194">1</cx:pt>
          <cx:pt idx="19195">4</cx:pt>
          <cx:pt idx="19196">3</cx:pt>
          <cx:pt idx="19197">1</cx:pt>
          <cx:pt idx="19198">2</cx:pt>
          <cx:pt idx="19199">2</cx:pt>
          <cx:pt idx="19200">3</cx:pt>
          <cx:pt idx="19201">2</cx:pt>
          <cx:pt idx="19202">2</cx:pt>
          <cx:pt idx="19203">5</cx:pt>
          <cx:pt idx="19204">2</cx:pt>
          <cx:pt idx="19205">5</cx:pt>
          <cx:pt idx="19206">2</cx:pt>
          <cx:pt idx="19207">1</cx:pt>
          <cx:pt idx="19208">3</cx:pt>
          <cx:pt idx="19209">5</cx:pt>
          <cx:pt idx="19210">1</cx:pt>
          <cx:pt idx="19211">4</cx:pt>
          <cx:pt idx="19212">0</cx:pt>
          <cx:pt idx="19213">1</cx:pt>
          <cx:pt idx="19214">2</cx:pt>
          <cx:pt idx="19215">0</cx:pt>
          <cx:pt idx="19216">1</cx:pt>
          <cx:pt idx="19217">4</cx:pt>
          <cx:pt idx="19218">3</cx:pt>
          <cx:pt idx="19219">2</cx:pt>
          <cx:pt idx="19220">1</cx:pt>
          <cx:pt idx="19221">1</cx:pt>
          <cx:pt idx="19222">2</cx:pt>
          <cx:pt idx="19223">0</cx:pt>
          <cx:pt idx="19224">2</cx:pt>
          <cx:pt idx="19225">5</cx:pt>
          <cx:pt idx="19226">3</cx:pt>
          <cx:pt idx="19227">3</cx:pt>
          <cx:pt idx="19228">2</cx:pt>
          <cx:pt idx="19229">4</cx:pt>
          <cx:pt idx="19230">2</cx:pt>
          <cx:pt idx="19231">1</cx:pt>
          <cx:pt idx="19232">1</cx:pt>
          <cx:pt idx="19233">3</cx:pt>
          <cx:pt idx="19234">3</cx:pt>
          <cx:pt idx="19235">4</cx:pt>
          <cx:pt idx="19236">5</cx:pt>
          <cx:pt idx="19237">2</cx:pt>
          <cx:pt idx="19238">2</cx:pt>
          <cx:pt idx="19239">1</cx:pt>
          <cx:pt idx="19240">4</cx:pt>
          <cx:pt idx="19241">0</cx:pt>
          <cx:pt idx="19242">1</cx:pt>
          <cx:pt idx="19243">4</cx:pt>
          <cx:pt idx="19244">1</cx:pt>
          <cx:pt idx="19245">5</cx:pt>
          <cx:pt idx="19246">2</cx:pt>
          <cx:pt idx="19247">4</cx:pt>
          <cx:pt idx="19248">5</cx:pt>
          <cx:pt idx="19249">2</cx:pt>
          <cx:pt idx="19250">0</cx:pt>
          <cx:pt idx="19251">3</cx:pt>
          <cx:pt idx="19252">5</cx:pt>
          <cx:pt idx="19253">2</cx:pt>
          <cx:pt idx="19254">4</cx:pt>
          <cx:pt idx="19255">2</cx:pt>
          <cx:pt idx="19256">3</cx:pt>
          <cx:pt idx="19257">4</cx:pt>
          <cx:pt idx="19258">5</cx:pt>
          <cx:pt idx="19259">4</cx:pt>
          <cx:pt idx="19260">2</cx:pt>
          <cx:pt idx="19261">2</cx:pt>
          <cx:pt idx="19262">0</cx:pt>
          <cx:pt idx="19263">2</cx:pt>
          <cx:pt idx="19264">5</cx:pt>
          <cx:pt idx="19265">4</cx:pt>
          <cx:pt idx="19266">5</cx:pt>
          <cx:pt idx="19267">5</cx:pt>
          <cx:pt idx="19268">1</cx:pt>
          <cx:pt idx="19269">4</cx:pt>
          <cx:pt idx="19270">1</cx:pt>
          <cx:pt idx="19271">1</cx:pt>
          <cx:pt idx="19272">3</cx:pt>
          <cx:pt idx="19273">2</cx:pt>
          <cx:pt idx="19274">1</cx:pt>
          <cx:pt idx="19275">5</cx:pt>
          <cx:pt idx="19276">3</cx:pt>
          <cx:pt idx="19277">4</cx:pt>
          <cx:pt idx="19278">1</cx:pt>
          <cx:pt idx="19279">2</cx:pt>
          <cx:pt idx="19280">4</cx:pt>
          <cx:pt idx="19281">3</cx:pt>
          <cx:pt idx="19282">2</cx:pt>
          <cx:pt idx="19283">1</cx:pt>
          <cx:pt idx="19284">3</cx:pt>
          <cx:pt idx="19285">2</cx:pt>
          <cx:pt idx="19286">0</cx:pt>
          <cx:pt idx="19287">2</cx:pt>
          <cx:pt idx="19288">3</cx:pt>
          <cx:pt idx="19289">3</cx:pt>
          <cx:pt idx="19290">3</cx:pt>
          <cx:pt idx="19291">3</cx:pt>
          <cx:pt idx="19292">0</cx:pt>
          <cx:pt idx="19293">2</cx:pt>
          <cx:pt idx="19294">2</cx:pt>
          <cx:pt idx="19295">1</cx:pt>
          <cx:pt idx="19296">2</cx:pt>
          <cx:pt idx="19297">3</cx:pt>
          <cx:pt idx="19298">3</cx:pt>
          <cx:pt idx="19299">4</cx:pt>
          <cx:pt idx="19300">2</cx:pt>
          <cx:pt idx="19301">2</cx:pt>
          <cx:pt idx="19302">3</cx:pt>
          <cx:pt idx="19303">4</cx:pt>
          <cx:pt idx="19304">2</cx:pt>
          <cx:pt idx="19305">1</cx:pt>
          <cx:pt idx="19306">1</cx:pt>
          <cx:pt idx="19307">3</cx:pt>
          <cx:pt idx="19308">4</cx:pt>
          <cx:pt idx="19309">4</cx:pt>
          <cx:pt idx="19310">3</cx:pt>
          <cx:pt idx="19311">2</cx:pt>
          <cx:pt idx="19312">2</cx:pt>
          <cx:pt idx="19313">5</cx:pt>
          <cx:pt idx="19314">5</cx:pt>
          <cx:pt idx="19315">5</cx:pt>
          <cx:pt idx="19316">5</cx:pt>
          <cx:pt idx="19317">3</cx:pt>
          <cx:pt idx="19318">2</cx:pt>
          <cx:pt idx="19319">2</cx:pt>
          <cx:pt idx="19320">3</cx:pt>
          <cx:pt idx="19321">3</cx:pt>
          <cx:pt idx="19322">1</cx:pt>
          <cx:pt idx="19323">3</cx:pt>
          <cx:pt idx="19324">5</cx:pt>
          <cx:pt idx="19325">5</cx:pt>
          <cx:pt idx="19326">1</cx:pt>
          <cx:pt idx="19327">1</cx:pt>
          <cx:pt idx="19328">3</cx:pt>
          <cx:pt idx="19329">5</cx:pt>
          <cx:pt idx="19330">4</cx:pt>
          <cx:pt idx="19331">3</cx:pt>
          <cx:pt idx="19332">3</cx:pt>
          <cx:pt idx="19333">2</cx:pt>
          <cx:pt idx="19334">4</cx:pt>
          <cx:pt idx="19335">1</cx:pt>
          <cx:pt idx="19336">2</cx:pt>
          <cx:pt idx="19337">2</cx:pt>
          <cx:pt idx="19338">2</cx:pt>
          <cx:pt idx="19339">3</cx:pt>
          <cx:pt idx="19340">4</cx:pt>
          <cx:pt idx="19341">2</cx:pt>
          <cx:pt idx="19342">1</cx:pt>
          <cx:pt idx="19343">3</cx:pt>
          <cx:pt idx="19344">0</cx:pt>
          <cx:pt idx="19345">3</cx:pt>
          <cx:pt idx="19346">2</cx:pt>
          <cx:pt idx="19347">4</cx:pt>
          <cx:pt idx="19348">2</cx:pt>
          <cx:pt idx="19349">4</cx:pt>
          <cx:pt idx="19350">2</cx:pt>
          <cx:pt idx="19351">4</cx:pt>
          <cx:pt idx="19352">3</cx:pt>
          <cx:pt idx="19353">2</cx:pt>
          <cx:pt idx="19354">2</cx:pt>
          <cx:pt idx="19355">3</cx:pt>
          <cx:pt idx="19356">3</cx:pt>
          <cx:pt idx="19357">2</cx:pt>
          <cx:pt idx="19358">3</cx:pt>
          <cx:pt idx="19359">5</cx:pt>
          <cx:pt idx="19360">5</cx:pt>
          <cx:pt idx="19361">2</cx:pt>
          <cx:pt idx="19362">1</cx:pt>
          <cx:pt idx="19363">5</cx:pt>
          <cx:pt idx="19364">2</cx:pt>
          <cx:pt idx="19365">1</cx:pt>
          <cx:pt idx="19366">1</cx:pt>
          <cx:pt idx="19367">0</cx:pt>
          <cx:pt idx="19368">1</cx:pt>
          <cx:pt idx="19369">5</cx:pt>
          <cx:pt idx="19370">2</cx:pt>
          <cx:pt idx="19371">0</cx:pt>
          <cx:pt idx="19372">3</cx:pt>
          <cx:pt idx="19373">2</cx:pt>
          <cx:pt idx="19374">1</cx:pt>
          <cx:pt idx="19375">3</cx:pt>
          <cx:pt idx="19376">2</cx:pt>
          <cx:pt idx="19377">0</cx:pt>
          <cx:pt idx="19378">3</cx:pt>
          <cx:pt idx="19379">2</cx:pt>
          <cx:pt idx="19380">1</cx:pt>
          <cx:pt idx="19381">5</cx:pt>
          <cx:pt idx="19382">3</cx:pt>
          <cx:pt idx="19383">4</cx:pt>
          <cx:pt idx="19384">0</cx:pt>
          <cx:pt idx="19385">1</cx:pt>
          <cx:pt idx="19386">2</cx:pt>
          <cx:pt idx="19387">4</cx:pt>
          <cx:pt idx="19388">5</cx:pt>
          <cx:pt idx="19389">4</cx:pt>
          <cx:pt idx="19390">2</cx:pt>
          <cx:pt idx="19391">4</cx:pt>
          <cx:pt idx="19392">1</cx:pt>
          <cx:pt idx="19393">3</cx:pt>
          <cx:pt idx="19394">2</cx:pt>
          <cx:pt idx="19395">4</cx:pt>
          <cx:pt idx="19396">4</cx:pt>
          <cx:pt idx="19397">3</cx:pt>
          <cx:pt idx="19398">2</cx:pt>
          <cx:pt idx="19399">1</cx:pt>
          <cx:pt idx="19400">3</cx:pt>
          <cx:pt idx="19401">4</cx:pt>
          <cx:pt idx="19402">4</cx:pt>
          <cx:pt idx="19403">2</cx:pt>
          <cx:pt idx="19404">2</cx:pt>
          <cx:pt idx="19405">2</cx:pt>
          <cx:pt idx="19406">2</cx:pt>
          <cx:pt idx="19407">5</cx:pt>
          <cx:pt idx="19408">4</cx:pt>
          <cx:pt idx="19409">3</cx:pt>
          <cx:pt idx="19410">2</cx:pt>
          <cx:pt idx="19411">5</cx:pt>
          <cx:pt idx="19412">1</cx:pt>
          <cx:pt idx="19413">2</cx:pt>
          <cx:pt idx="19414">5</cx:pt>
          <cx:pt idx="19415">4</cx:pt>
          <cx:pt idx="19416">4</cx:pt>
          <cx:pt idx="19417">5</cx:pt>
          <cx:pt idx="19418">3</cx:pt>
          <cx:pt idx="19419">3</cx:pt>
          <cx:pt idx="19420">5</cx:pt>
          <cx:pt idx="19421">2</cx:pt>
          <cx:pt idx="19422">3</cx:pt>
          <cx:pt idx="19423">2</cx:pt>
          <cx:pt idx="19424">1</cx:pt>
          <cx:pt idx="19425">4</cx:pt>
          <cx:pt idx="19426">1</cx:pt>
          <cx:pt idx="19427">4</cx:pt>
          <cx:pt idx="19428">2</cx:pt>
          <cx:pt idx="19429">4</cx:pt>
          <cx:pt idx="19430">5</cx:pt>
          <cx:pt idx="19431">3</cx:pt>
          <cx:pt idx="19432">2</cx:pt>
          <cx:pt idx="19433">3</cx:pt>
          <cx:pt idx="19434">2</cx:pt>
          <cx:pt idx="19435">2</cx:pt>
          <cx:pt idx="19436">3</cx:pt>
          <cx:pt idx="19437">2</cx:pt>
          <cx:pt idx="19438">3</cx:pt>
          <cx:pt idx="19439">0</cx:pt>
          <cx:pt idx="19440">3</cx:pt>
          <cx:pt idx="19441">5</cx:pt>
          <cx:pt idx="19442">5</cx:pt>
          <cx:pt idx="19443">3</cx:pt>
          <cx:pt idx="19444">5</cx:pt>
          <cx:pt idx="19445">4</cx:pt>
          <cx:pt idx="19446">4</cx:pt>
          <cx:pt idx="19447">4</cx:pt>
          <cx:pt idx="19448">2</cx:pt>
          <cx:pt idx="19449">4</cx:pt>
          <cx:pt idx="19450">2</cx:pt>
          <cx:pt idx="19451">2</cx:pt>
          <cx:pt idx="19452">5</cx:pt>
          <cx:pt idx="19453">1</cx:pt>
          <cx:pt idx="19454">2</cx:pt>
          <cx:pt idx="19455">4</cx:pt>
          <cx:pt idx="19456">3</cx:pt>
          <cx:pt idx="19457">2</cx:pt>
          <cx:pt idx="19458">5</cx:pt>
          <cx:pt idx="19459">3</cx:pt>
          <cx:pt idx="19460">1</cx:pt>
          <cx:pt idx="19461">1</cx:pt>
          <cx:pt idx="19462">1</cx:pt>
          <cx:pt idx="19463">4</cx:pt>
          <cx:pt idx="19464">3</cx:pt>
          <cx:pt idx="19465">5</cx:pt>
          <cx:pt idx="19466">2</cx:pt>
          <cx:pt idx="19467">5</cx:pt>
          <cx:pt idx="19468">1</cx:pt>
          <cx:pt idx="19469">1</cx:pt>
          <cx:pt idx="19470">3</cx:pt>
          <cx:pt idx="19471">4</cx:pt>
          <cx:pt idx="19472">3</cx:pt>
          <cx:pt idx="19473">4</cx:pt>
          <cx:pt idx="19474">0</cx:pt>
          <cx:pt idx="19475">5</cx:pt>
          <cx:pt idx="19476">2</cx:pt>
          <cx:pt idx="19477">1</cx:pt>
          <cx:pt idx="19478">1</cx:pt>
          <cx:pt idx="19479">1</cx:pt>
          <cx:pt idx="19480">2</cx:pt>
          <cx:pt idx="19481">4</cx:pt>
          <cx:pt idx="19482">1</cx:pt>
          <cx:pt idx="19483">5</cx:pt>
          <cx:pt idx="19484">5</cx:pt>
          <cx:pt idx="19485">2</cx:pt>
          <cx:pt idx="19486">2</cx:pt>
          <cx:pt idx="19487">4</cx:pt>
          <cx:pt idx="19488">3</cx:pt>
          <cx:pt idx="19489">1</cx:pt>
          <cx:pt idx="19490">2</cx:pt>
          <cx:pt idx="19491">1</cx:pt>
          <cx:pt idx="19492">2</cx:pt>
          <cx:pt idx="19493">2</cx:pt>
          <cx:pt idx="19494">2</cx:pt>
          <cx:pt idx="19495">4</cx:pt>
          <cx:pt idx="19496">2</cx:pt>
          <cx:pt idx="19497">3</cx:pt>
          <cx:pt idx="19498">1</cx:pt>
          <cx:pt idx="19499">2</cx:pt>
          <cx:pt idx="19500">0</cx:pt>
          <cx:pt idx="19501">1</cx:pt>
          <cx:pt idx="19502">4</cx:pt>
          <cx:pt idx="19503">3</cx:pt>
          <cx:pt idx="19504">1</cx:pt>
          <cx:pt idx="19505">2</cx:pt>
          <cx:pt idx="19506">1</cx:pt>
          <cx:pt idx="19507">4</cx:pt>
          <cx:pt idx="19508">3</cx:pt>
          <cx:pt idx="19509">3</cx:pt>
          <cx:pt idx="19510">2</cx:pt>
          <cx:pt idx="19511">2</cx:pt>
          <cx:pt idx="19512">4</cx:pt>
          <cx:pt idx="19513">2</cx:pt>
          <cx:pt idx="19514">4</cx:pt>
          <cx:pt idx="19515">5</cx:pt>
          <cx:pt idx="19516">1</cx:pt>
          <cx:pt idx="19517">5</cx:pt>
          <cx:pt idx="19518">1</cx:pt>
          <cx:pt idx="19519">2</cx:pt>
          <cx:pt idx="19520">3</cx:pt>
          <cx:pt idx="19521">5</cx:pt>
          <cx:pt idx="19522">5</cx:pt>
          <cx:pt idx="19523">3</cx:pt>
          <cx:pt idx="19524">5</cx:pt>
          <cx:pt idx="19525">3</cx:pt>
          <cx:pt idx="19526">3</cx:pt>
          <cx:pt idx="19527">3</cx:pt>
          <cx:pt idx="19528">5</cx:pt>
          <cx:pt idx="19529">4</cx:pt>
          <cx:pt idx="19530">3</cx:pt>
          <cx:pt idx="19531">3</cx:pt>
          <cx:pt idx="19532">3</cx:pt>
          <cx:pt idx="19533">2</cx:pt>
          <cx:pt idx="19534">3</cx:pt>
          <cx:pt idx="19535">3</cx:pt>
          <cx:pt idx="19536">3</cx:pt>
          <cx:pt idx="19537">2</cx:pt>
          <cx:pt idx="19538">2</cx:pt>
          <cx:pt idx="19539">3</cx:pt>
          <cx:pt idx="19540">4</cx:pt>
          <cx:pt idx="19541">3</cx:pt>
          <cx:pt idx="19542">1</cx:pt>
          <cx:pt idx="19543">4</cx:pt>
          <cx:pt idx="19544">1</cx:pt>
          <cx:pt idx="19545">4</cx:pt>
          <cx:pt idx="19546">1</cx:pt>
          <cx:pt idx="19547">1</cx:pt>
          <cx:pt idx="19548">3</cx:pt>
          <cx:pt idx="19549">4</cx:pt>
          <cx:pt idx="19550">3</cx:pt>
          <cx:pt idx="19551">4</cx:pt>
          <cx:pt idx="19552">1</cx:pt>
          <cx:pt idx="19553">3</cx:pt>
          <cx:pt idx="19554">0</cx:pt>
          <cx:pt idx="19555">3</cx:pt>
          <cx:pt idx="19556">2</cx:pt>
          <cx:pt idx="19557">4</cx:pt>
          <cx:pt idx="19558">2</cx:pt>
          <cx:pt idx="19559">3</cx:pt>
          <cx:pt idx="19560">2</cx:pt>
          <cx:pt idx="19561">2</cx:pt>
          <cx:pt idx="19562">3</cx:pt>
          <cx:pt idx="19563">5</cx:pt>
          <cx:pt idx="19564">5</cx:pt>
          <cx:pt idx="19565">3</cx:pt>
          <cx:pt idx="19566">4</cx:pt>
          <cx:pt idx="19567">3</cx:pt>
          <cx:pt idx="19568">1</cx:pt>
          <cx:pt idx="19569">2</cx:pt>
          <cx:pt idx="19570">2</cx:pt>
          <cx:pt idx="19571">2</cx:pt>
          <cx:pt idx="19572">2</cx:pt>
          <cx:pt idx="19573">5</cx:pt>
          <cx:pt idx="19574">2</cx:pt>
          <cx:pt idx="19575">2</cx:pt>
          <cx:pt idx="19576">4</cx:pt>
          <cx:pt idx="19577">3</cx:pt>
          <cx:pt idx="19578">2</cx:pt>
          <cx:pt idx="19579">1</cx:pt>
          <cx:pt idx="19580">2</cx:pt>
          <cx:pt idx="19581">3</cx:pt>
          <cx:pt idx="19582">0</cx:pt>
          <cx:pt idx="19583">1</cx:pt>
          <cx:pt idx="19584">3</cx:pt>
          <cx:pt idx="19585">3</cx:pt>
          <cx:pt idx="19586">4</cx:pt>
          <cx:pt idx="19587">2</cx:pt>
          <cx:pt idx="19588">5</cx:pt>
          <cx:pt idx="19589">1</cx:pt>
          <cx:pt idx="19590">1</cx:pt>
          <cx:pt idx="19591">2</cx:pt>
          <cx:pt idx="19592">2</cx:pt>
          <cx:pt idx="19593">4</cx:pt>
          <cx:pt idx="19594">4</cx:pt>
          <cx:pt idx="19595">2</cx:pt>
          <cx:pt idx="19596">2</cx:pt>
          <cx:pt idx="19597">4</cx:pt>
          <cx:pt idx="19598">2</cx:pt>
          <cx:pt idx="19599">1</cx:pt>
          <cx:pt idx="19600">4</cx:pt>
          <cx:pt idx="19601">3</cx:pt>
          <cx:pt idx="19602">1</cx:pt>
          <cx:pt idx="19603">3</cx:pt>
          <cx:pt idx="19604">2</cx:pt>
          <cx:pt idx="19605">2</cx:pt>
          <cx:pt idx="19606">2</cx:pt>
          <cx:pt idx="19607">3</cx:pt>
          <cx:pt idx="19608">3</cx:pt>
          <cx:pt idx="19609">2</cx:pt>
          <cx:pt idx="19610">4</cx:pt>
          <cx:pt idx="19611">4</cx:pt>
          <cx:pt idx="19612">1</cx:pt>
          <cx:pt idx="19613">5</cx:pt>
          <cx:pt idx="19614">3</cx:pt>
          <cx:pt idx="19615">4</cx:pt>
          <cx:pt idx="19616">5</cx:pt>
          <cx:pt idx="19617">4</cx:pt>
          <cx:pt idx="19618">4</cx:pt>
          <cx:pt idx="19619">2</cx:pt>
          <cx:pt idx="19620">1</cx:pt>
          <cx:pt idx="19621">3</cx:pt>
          <cx:pt idx="19622">2</cx:pt>
          <cx:pt idx="19623">5</cx:pt>
          <cx:pt idx="19624">1</cx:pt>
          <cx:pt idx="19625">0</cx:pt>
          <cx:pt idx="19626">1</cx:pt>
          <cx:pt idx="19627">4</cx:pt>
          <cx:pt idx="19628">5</cx:pt>
          <cx:pt idx="19629">3</cx:pt>
          <cx:pt idx="19630">2</cx:pt>
          <cx:pt idx="19631">3</cx:pt>
          <cx:pt idx="19632">1</cx:pt>
          <cx:pt idx="19633">0</cx:pt>
          <cx:pt idx="19634">3</cx:pt>
          <cx:pt idx="19635">4</cx:pt>
          <cx:pt idx="19636">4</cx:pt>
          <cx:pt idx="19637">1</cx:pt>
          <cx:pt idx="19638">2</cx:pt>
          <cx:pt idx="19639">4</cx:pt>
          <cx:pt idx="19640">0</cx:pt>
          <cx:pt idx="19641">4</cx:pt>
          <cx:pt idx="19642">4</cx:pt>
          <cx:pt idx="19643">5</cx:pt>
          <cx:pt idx="19644">2</cx:pt>
          <cx:pt idx="19645">2</cx:pt>
          <cx:pt idx="19646">2</cx:pt>
          <cx:pt idx="19647">0</cx:pt>
          <cx:pt idx="19648">3</cx:pt>
          <cx:pt idx="19649">1</cx:pt>
          <cx:pt idx="19650">4</cx:pt>
          <cx:pt idx="19651">0</cx:pt>
          <cx:pt idx="19652">2</cx:pt>
          <cx:pt idx="19653">4</cx:pt>
          <cx:pt idx="19654">4</cx:pt>
          <cx:pt idx="19655">1</cx:pt>
          <cx:pt idx="19656">1</cx:pt>
          <cx:pt idx="19657">4</cx:pt>
          <cx:pt idx="19658">3</cx:pt>
          <cx:pt idx="19659">4</cx:pt>
          <cx:pt idx="19660">2</cx:pt>
          <cx:pt idx="19661">4</cx:pt>
          <cx:pt idx="19662">2</cx:pt>
          <cx:pt idx="19663">5</cx:pt>
          <cx:pt idx="19664">1</cx:pt>
          <cx:pt idx="19665">2</cx:pt>
          <cx:pt idx="19666">4</cx:pt>
          <cx:pt idx="19667">5</cx:pt>
          <cx:pt idx="19668">4</cx:pt>
          <cx:pt idx="19669">3</cx:pt>
          <cx:pt idx="19670">3</cx:pt>
          <cx:pt idx="19671">3</cx:pt>
          <cx:pt idx="19672">3</cx:pt>
          <cx:pt idx="19673">2</cx:pt>
          <cx:pt idx="19674">5</cx:pt>
          <cx:pt idx="19675">2</cx:pt>
          <cx:pt idx="19676">3</cx:pt>
          <cx:pt idx="19677">3</cx:pt>
          <cx:pt idx="19678">5</cx:pt>
          <cx:pt idx="19679">2</cx:pt>
          <cx:pt idx="19680">2</cx:pt>
          <cx:pt idx="19681">4</cx:pt>
          <cx:pt idx="19682">3</cx:pt>
          <cx:pt idx="19683">3</cx:pt>
          <cx:pt idx="19684">2</cx:pt>
          <cx:pt idx="19685">4</cx:pt>
          <cx:pt idx="19686">3</cx:pt>
          <cx:pt idx="19687">3</cx:pt>
          <cx:pt idx="19688">3</cx:pt>
          <cx:pt idx="19689">4</cx:pt>
          <cx:pt idx="19690">2</cx:pt>
          <cx:pt idx="19691">5</cx:pt>
          <cx:pt idx="19692">4</cx:pt>
          <cx:pt idx="19693">2</cx:pt>
          <cx:pt idx="19694">4</cx:pt>
          <cx:pt idx="19695">3</cx:pt>
          <cx:pt idx="19696">0</cx:pt>
          <cx:pt idx="19697">1</cx:pt>
          <cx:pt idx="19698">5</cx:pt>
          <cx:pt idx="19699">3</cx:pt>
          <cx:pt idx="19700">5</cx:pt>
          <cx:pt idx="19701">5</cx:pt>
          <cx:pt idx="19702">3</cx:pt>
          <cx:pt idx="19703">1</cx:pt>
          <cx:pt idx="19704">1</cx:pt>
          <cx:pt idx="19705">2</cx:pt>
          <cx:pt idx="19706">2</cx:pt>
          <cx:pt idx="19707">2</cx:pt>
          <cx:pt idx="19708">4</cx:pt>
          <cx:pt idx="19709">3</cx:pt>
          <cx:pt idx="19710">2</cx:pt>
          <cx:pt idx="19711">5</cx:pt>
          <cx:pt idx="19712">1</cx:pt>
          <cx:pt idx="19713">1</cx:pt>
          <cx:pt idx="19714">3</cx:pt>
          <cx:pt idx="19715">4</cx:pt>
          <cx:pt idx="19716">5</cx:pt>
          <cx:pt idx="19717">2</cx:pt>
          <cx:pt idx="19718">3</cx:pt>
          <cx:pt idx="19719">2</cx:pt>
          <cx:pt idx="19720">2</cx:pt>
          <cx:pt idx="19721">1</cx:pt>
          <cx:pt idx="19722">4</cx:pt>
          <cx:pt idx="19723">2</cx:pt>
          <cx:pt idx="19724">4</cx:pt>
          <cx:pt idx="19725">2</cx:pt>
          <cx:pt idx="19726">2</cx:pt>
          <cx:pt idx="19727">0</cx:pt>
          <cx:pt idx="19728">2</cx:pt>
          <cx:pt idx="19729">1</cx:pt>
          <cx:pt idx="19730">3</cx:pt>
          <cx:pt idx="19731">2</cx:pt>
          <cx:pt idx="19732">5</cx:pt>
          <cx:pt idx="19733">2</cx:pt>
          <cx:pt idx="19734">2</cx:pt>
          <cx:pt idx="19735">2</cx:pt>
          <cx:pt idx="19736">2</cx:pt>
          <cx:pt idx="19737">2</cx:pt>
          <cx:pt idx="19738">2</cx:pt>
          <cx:pt idx="19739">2</cx:pt>
          <cx:pt idx="19740">4</cx:pt>
          <cx:pt idx="19741">3</cx:pt>
          <cx:pt idx="19742">3</cx:pt>
          <cx:pt idx="19743">5</cx:pt>
          <cx:pt idx="19744">3</cx:pt>
          <cx:pt idx="19745">4</cx:pt>
          <cx:pt idx="19746">1</cx:pt>
          <cx:pt idx="19747">0</cx:pt>
          <cx:pt idx="19748">2</cx:pt>
          <cx:pt idx="19749">1</cx:pt>
          <cx:pt idx="19750">1</cx:pt>
          <cx:pt idx="19751">3</cx:pt>
          <cx:pt idx="19752">2</cx:pt>
          <cx:pt idx="19753">2</cx:pt>
          <cx:pt idx="19754">5</cx:pt>
          <cx:pt idx="19755">5</cx:pt>
          <cx:pt idx="19756">3</cx:pt>
          <cx:pt idx="19757">3</cx:pt>
          <cx:pt idx="19758">4</cx:pt>
          <cx:pt idx="19759">2</cx:pt>
          <cx:pt idx="19760">2</cx:pt>
          <cx:pt idx="19761">4</cx:pt>
          <cx:pt idx="19762">1</cx:pt>
          <cx:pt idx="19763">3</cx:pt>
          <cx:pt idx="19764">0</cx:pt>
          <cx:pt idx="19765">2</cx:pt>
          <cx:pt idx="19766">4</cx:pt>
          <cx:pt idx="19767">3</cx:pt>
          <cx:pt idx="19768">5</cx:pt>
          <cx:pt idx="19769">2</cx:pt>
          <cx:pt idx="19770">1</cx:pt>
          <cx:pt idx="19771">4</cx:pt>
          <cx:pt idx="19772">1</cx:pt>
          <cx:pt idx="19773">3</cx:pt>
          <cx:pt idx="19774">3</cx:pt>
          <cx:pt idx="19775">2</cx:pt>
          <cx:pt idx="19776">1</cx:pt>
          <cx:pt idx="19777">2</cx:pt>
          <cx:pt idx="19778">1</cx:pt>
          <cx:pt idx="19779">3</cx:pt>
          <cx:pt idx="19780">4</cx:pt>
          <cx:pt idx="19781">4</cx:pt>
          <cx:pt idx="19782">3</cx:pt>
          <cx:pt idx="19783">4</cx:pt>
          <cx:pt idx="19784">2</cx:pt>
          <cx:pt idx="19785">2</cx:pt>
          <cx:pt idx="19786">5</cx:pt>
          <cx:pt idx="19787">5</cx:pt>
          <cx:pt idx="19788">4</cx:pt>
          <cx:pt idx="19789">3</cx:pt>
          <cx:pt idx="19790">2</cx:pt>
          <cx:pt idx="19791">3</cx:pt>
          <cx:pt idx="19792">2</cx:pt>
          <cx:pt idx="19793">3</cx:pt>
          <cx:pt idx="19794">2</cx:pt>
          <cx:pt idx="19795">3</cx:pt>
          <cx:pt idx="19796">5</cx:pt>
          <cx:pt idx="19797">3</cx:pt>
          <cx:pt idx="19798">3</cx:pt>
          <cx:pt idx="19799">2</cx:pt>
          <cx:pt idx="19800">5</cx:pt>
          <cx:pt idx="19801">5</cx:pt>
          <cx:pt idx="19802">5</cx:pt>
          <cx:pt idx="19803">1</cx:pt>
          <cx:pt idx="19804">4</cx:pt>
          <cx:pt idx="19805">3</cx:pt>
          <cx:pt idx="19806">5</cx:pt>
          <cx:pt idx="19807">3</cx:pt>
          <cx:pt idx="19808">4</cx:pt>
          <cx:pt idx="19809">1</cx:pt>
          <cx:pt idx="19810">5</cx:pt>
          <cx:pt idx="19811">4</cx:pt>
          <cx:pt idx="19812">4</cx:pt>
          <cx:pt idx="19813">1</cx:pt>
          <cx:pt idx="19814">5</cx:pt>
          <cx:pt idx="19815">2</cx:pt>
          <cx:pt idx="19816">1</cx:pt>
          <cx:pt idx="19817">3</cx:pt>
          <cx:pt idx="19818">3</cx:pt>
          <cx:pt idx="19819">1</cx:pt>
          <cx:pt idx="19820">4</cx:pt>
          <cx:pt idx="19821">1</cx:pt>
          <cx:pt idx="19822">2</cx:pt>
          <cx:pt idx="19823">2</cx:pt>
          <cx:pt idx="19824">4</cx:pt>
          <cx:pt idx="19825">5</cx:pt>
          <cx:pt idx="19826">3</cx:pt>
          <cx:pt idx="19827">2</cx:pt>
          <cx:pt idx="19828">1</cx:pt>
          <cx:pt idx="19829">2</cx:pt>
          <cx:pt idx="19830">1</cx:pt>
          <cx:pt idx="19831">0</cx:pt>
          <cx:pt idx="19832">2</cx:pt>
          <cx:pt idx="19833">5</cx:pt>
          <cx:pt idx="19834">3</cx:pt>
          <cx:pt idx="19835">0</cx:pt>
          <cx:pt idx="19836">2</cx:pt>
          <cx:pt idx="19837">3</cx:pt>
          <cx:pt idx="19838">2</cx:pt>
          <cx:pt idx="19839">0</cx:pt>
          <cx:pt idx="19840">4</cx:pt>
          <cx:pt idx="19841">3</cx:pt>
          <cx:pt idx="19842">2</cx:pt>
          <cx:pt idx="19843">3</cx:pt>
          <cx:pt idx="19844">4</cx:pt>
          <cx:pt idx="19845">1</cx:pt>
          <cx:pt idx="19846">4</cx:pt>
          <cx:pt idx="19847">1</cx:pt>
          <cx:pt idx="19848">2</cx:pt>
          <cx:pt idx="19849">1</cx:pt>
          <cx:pt idx="19850">4</cx:pt>
          <cx:pt idx="19851">1</cx:pt>
          <cx:pt idx="19852">3</cx:pt>
          <cx:pt idx="19853">1</cx:pt>
          <cx:pt idx="19854">3</cx:pt>
          <cx:pt idx="19855">2</cx:pt>
          <cx:pt idx="19856">5</cx:pt>
          <cx:pt idx="19857">2</cx:pt>
          <cx:pt idx="19858">2</cx:pt>
          <cx:pt idx="19859">3</cx:pt>
          <cx:pt idx="19860">5</cx:pt>
          <cx:pt idx="19861">5</cx:pt>
          <cx:pt idx="19862">1</cx:pt>
          <cx:pt idx="19863">1</cx:pt>
          <cx:pt idx="19864">3</cx:pt>
          <cx:pt idx="19865">4</cx:pt>
          <cx:pt idx="19866">3</cx:pt>
          <cx:pt idx="19867">4</cx:pt>
          <cx:pt idx="19868">2</cx:pt>
          <cx:pt idx="19869">5</cx:pt>
          <cx:pt idx="19870">1</cx:pt>
          <cx:pt idx="19871">3</cx:pt>
          <cx:pt idx="19872">2</cx:pt>
          <cx:pt idx="19873">5</cx:pt>
          <cx:pt idx="19874">3</cx:pt>
          <cx:pt idx="19875">3</cx:pt>
          <cx:pt idx="19876">1</cx:pt>
          <cx:pt idx="19877">5</cx:pt>
          <cx:pt idx="19878">1</cx:pt>
          <cx:pt idx="19879">3</cx:pt>
          <cx:pt idx="19880">4</cx:pt>
          <cx:pt idx="19881">4</cx:pt>
          <cx:pt idx="19882">3</cx:pt>
          <cx:pt idx="19883">4</cx:pt>
          <cx:pt idx="19884">3</cx:pt>
          <cx:pt idx="19885">3</cx:pt>
          <cx:pt idx="19886">5</cx:pt>
          <cx:pt idx="19887">4</cx:pt>
          <cx:pt idx="19888">1</cx:pt>
          <cx:pt idx="19889">1</cx:pt>
          <cx:pt idx="19890">1</cx:pt>
          <cx:pt idx="19891">1</cx:pt>
          <cx:pt idx="19892">3</cx:pt>
          <cx:pt idx="19893">4</cx:pt>
          <cx:pt idx="19894">2</cx:pt>
          <cx:pt idx="19895">0</cx:pt>
          <cx:pt idx="19896">3</cx:pt>
          <cx:pt idx="19897">3</cx:pt>
          <cx:pt idx="19898">3</cx:pt>
          <cx:pt idx="19899">3</cx:pt>
          <cx:pt idx="19900">1</cx:pt>
          <cx:pt idx="19901">5</cx:pt>
          <cx:pt idx="19902">0</cx:pt>
          <cx:pt idx="19903">1</cx:pt>
          <cx:pt idx="19904">5</cx:pt>
          <cx:pt idx="19905">1</cx:pt>
          <cx:pt idx="19906">4</cx:pt>
          <cx:pt idx="19907">2</cx:pt>
          <cx:pt idx="19908">2</cx:pt>
          <cx:pt idx="19909">5</cx:pt>
          <cx:pt idx="19910">2</cx:pt>
          <cx:pt idx="19911">3</cx:pt>
          <cx:pt idx="19912">4</cx:pt>
          <cx:pt idx="19913">4</cx:pt>
          <cx:pt idx="19914">3</cx:pt>
          <cx:pt idx="19915">1</cx:pt>
          <cx:pt idx="19916">2</cx:pt>
          <cx:pt idx="19917">3</cx:pt>
          <cx:pt idx="19918">5</cx:pt>
          <cx:pt idx="19919">0</cx:pt>
          <cx:pt idx="19920">4</cx:pt>
          <cx:pt idx="19921">5</cx:pt>
          <cx:pt idx="19922">0</cx:pt>
          <cx:pt idx="19923">2</cx:pt>
          <cx:pt idx="19924">4</cx:pt>
          <cx:pt idx="19925">2</cx:pt>
          <cx:pt idx="19926">3</cx:pt>
          <cx:pt idx="19927">5</cx:pt>
          <cx:pt idx="19928">2</cx:pt>
          <cx:pt idx="19929">2</cx:pt>
          <cx:pt idx="19930">2</cx:pt>
          <cx:pt idx="19931">3</cx:pt>
          <cx:pt idx="19932">2</cx:pt>
          <cx:pt idx="19933">3</cx:pt>
          <cx:pt idx="19934">4</cx:pt>
          <cx:pt idx="19935">3</cx:pt>
          <cx:pt idx="19936">4</cx:pt>
          <cx:pt idx="19937">2</cx:pt>
          <cx:pt idx="19938">5</cx:pt>
          <cx:pt idx="19939">5</cx:pt>
          <cx:pt idx="19940">5</cx:pt>
          <cx:pt idx="19941">4</cx:pt>
          <cx:pt idx="19942">4</cx:pt>
          <cx:pt idx="19943">0</cx:pt>
          <cx:pt idx="19944">3</cx:pt>
          <cx:pt idx="19945">5</cx:pt>
          <cx:pt idx="19946">4</cx:pt>
          <cx:pt idx="19947">4</cx:pt>
          <cx:pt idx="19948">1</cx:pt>
          <cx:pt idx="19949">2</cx:pt>
          <cx:pt idx="19950">2</cx:pt>
          <cx:pt idx="19951">2</cx:pt>
          <cx:pt idx="19952">4</cx:pt>
          <cx:pt idx="19953">1</cx:pt>
          <cx:pt idx="19954">5</cx:pt>
          <cx:pt idx="19955">5</cx:pt>
          <cx:pt idx="19956">4</cx:pt>
          <cx:pt idx="19957">2</cx:pt>
          <cx:pt idx="19958">3</cx:pt>
          <cx:pt idx="19959">4</cx:pt>
          <cx:pt idx="19960">2</cx:pt>
          <cx:pt idx="19961">0</cx:pt>
          <cx:pt idx="19962">1</cx:pt>
          <cx:pt idx="19963">3</cx:pt>
          <cx:pt idx="19964">3</cx:pt>
          <cx:pt idx="19965">4</cx:pt>
          <cx:pt idx="19966">3</cx:pt>
          <cx:pt idx="19967">4</cx:pt>
          <cx:pt idx="19968">4</cx:pt>
          <cx:pt idx="19969">1</cx:pt>
          <cx:pt idx="19970">3</cx:pt>
          <cx:pt idx="19971">5</cx:pt>
          <cx:pt idx="19972">3</cx:pt>
          <cx:pt idx="19973">1</cx:pt>
          <cx:pt idx="19974">4</cx:pt>
          <cx:pt idx="19975">2</cx:pt>
          <cx:pt idx="19976">2</cx:pt>
          <cx:pt idx="19977">3</cx:pt>
          <cx:pt idx="19978">4</cx:pt>
          <cx:pt idx="19979">2</cx:pt>
          <cx:pt idx="19980">3</cx:pt>
          <cx:pt idx="19981">4</cx:pt>
          <cx:pt idx="19982">3</cx:pt>
          <cx:pt idx="19983">1</cx:pt>
          <cx:pt idx="19984">4</cx:pt>
          <cx:pt idx="19985">2</cx:pt>
          <cx:pt idx="19986">3</cx:pt>
          <cx:pt idx="19987">1</cx:pt>
          <cx:pt idx="19988">2</cx:pt>
          <cx:pt idx="19989">2</cx:pt>
          <cx:pt idx="19990">4</cx:pt>
          <cx:pt idx="19991">2</cx:pt>
          <cx:pt idx="19992">5</cx:pt>
          <cx:pt idx="19993">3</cx:pt>
          <cx:pt idx="19994">5</cx:pt>
          <cx:pt idx="19995">2</cx:pt>
          <cx:pt idx="19996">2</cx:pt>
          <cx:pt idx="19997">1</cx:pt>
          <cx:pt idx="19998">1</cx:pt>
          <cx:pt idx="19999">2</cx:pt>
          <cx:pt idx="20000">3</cx:pt>
          <cx:pt idx="20001">2</cx:pt>
          <cx:pt idx="20002">4</cx:pt>
          <cx:pt idx="20003">1</cx:pt>
          <cx:pt idx="20004">5</cx:pt>
          <cx:pt idx="20005">5</cx:pt>
          <cx:pt idx="20006">1</cx:pt>
          <cx:pt idx="20007">4</cx:pt>
          <cx:pt idx="20008">3</cx:pt>
          <cx:pt idx="20009">0</cx:pt>
          <cx:pt idx="20010">3</cx:pt>
          <cx:pt idx="20011">1</cx:pt>
          <cx:pt idx="20012">3</cx:pt>
          <cx:pt idx="20013">3</cx:pt>
          <cx:pt idx="20014">5</cx:pt>
          <cx:pt idx="20015">1</cx:pt>
          <cx:pt idx="20016">3</cx:pt>
          <cx:pt idx="20017">5</cx:pt>
          <cx:pt idx="20018">1</cx:pt>
          <cx:pt idx="20019">2</cx:pt>
          <cx:pt idx="20020">5</cx:pt>
          <cx:pt idx="20021">0</cx:pt>
          <cx:pt idx="20022">1</cx:pt>
          <cx:pt idx="20023">2</cx:pt>
          <cx:pt idx="20024">1</cx:pt>
          <cx:pt idx="20025">2</cx:pt>
          <cx:pt idx="20026">4</cx:pt>
          <cx:pt idx="20027">1</cx:pt>
          <cx:pt idx="20028">1</cx:pt>
          <cx:pt idx="20029">1</cx:pt>
          <cx:pt idx="20030">5</cx:pt>
          <cx:pt idx="20031">4</cx:pt>
          <cx:pt idx="20032">1</cx:pt>
          <cx:pt idx="20033">2</cx:pt>
          <cx:pt idx="20034">4</cx:pt>
          <cx:pt idx="20035">2</cx:pt>
          <cx:pt idx="20036">2</cx:pt>
          <cx:pt idx="20037">4</cx:pt>
          <cx:pt idx="20038">1</cx:pt>
          <cx:pt idx="20039">3</cx:pt>
          <cx:pt idx="20040">2</cx:pt>
          <cx:pt idx="20041">1</cx:pt>
          <cx:pt idx="20042">3</cx:pt>
          <cx:pt idx="20043">4</cx:pt>
          <cx:pt idx="20044">3</cx:pt>
          <cx:pt idx="20045">3</cx:pt>
          <cx:pt idx="20046">2</cx:pt>
          <cx:pt idx="20047">5</cx:pt>
          <cx:pt idx="20048">5</cx:pt>
          <cx:pt idx="20049">4</cx:pt>
          <cx:pt idx="20050">3</cx:pt>
          <cx:pt idx="20051">3</cx:pt>
          <cx:pt idx="20052">4</cx:pt>
          <cx:pt idx="20053">1</cx:pt>
          <cx:pt idx="20054">4</cx:pt>
          <cx:pt idx="20055">3</cx:pt>
          <cx:pt idx="20056">2</cx:pt>
          <cx:pt idx="20057">3</cx:pt>
          <cx:pt idx="20058">2</cx:pt>
          <cx:pt idx="20059">3</cx:pt>
          <cx:pt idx="20060">2</cx:pt>
          <cx:pt idx="20061">3</cx:pt>
          <cx:pt idx="20062">5</cx:pt>
          <cx:pt idx="20063">4</cx:pt>
          <cx:pt idx="20064">3</cx:pt>
          <cx:pt idx="20065">0</cx:pt>
          <cx:pt idx="20066">1</cx:pt>
          <cx:pt idx="20067">4</cx:pt>
          <cx:pt idx="20068">2</cx:pt>
          <cx:pt idx="20069">3</cx:pt>
          <cx:pt idx="20070">4</cx:pt>
          <cx:pt idx="20071">1</cx:pt>
          <cx:pt idx="20072">3</cx:pt>
          <cx:pt idx="20073">3</cx:pt>
          <cx:pt idx="20074">3</cx:pt>
          <cx:pt idx="20075">4</cx:pt>
          <cx:pt idx="20076">3</cx:pt>
          <cx:pt idx="20077">0</cx:pt>
          <cx:pt idx="20078">5</cx:pt>
          <cx:pt idx="20079">3</cx:pt>
          <cx:pt idx="20080">4</cx:pt>
          <cx:pt idx="20081">2</cx:pt>
          <cx:pt idx="20082">2</cx:pt>
          <cx:pt idx="20083">1</cx:pt>
          <cx:pt idx="20084">2</cx:pt>
          <cx:pt idx="20085">1</cx:pt>
          <cx:pt idx="20086">2</cx:pt>
          <cx:pt idx="20087">3</cx:pt>
          <cx:pt idx="20088">2</cx:pt>
          <cx:pt idx="20089">2</cx:pt>
          <cx:pt idx="20090">2</cx:pt>
          <cx:pt idx="20091">1</cx:pt>
          <cx:pt idx="20092">2</cx:pt>
          <cx:pt idx="20093">3</cx:pt>
          <cx:pt idx="20094">1</cx:pt>
          <cx:pt idx="20095">5</cx:pt>
          <cx:pt idx="20096">5</cx:pt>
          <cx:pt idx="20097">3</cx:pt>
          <cx:pt idx="20098">2</cx:pt>
          <cx:pt idx="20099">4</cx:pt>
          <cx:pt idx="20100">5</cx:pt>
          <cx:pt idx="20101">3</cx:pt>
          <cx:pt idx="20102">5</cx:pt>
          <cx:pt idx="20103">2</cx:pt>
          <cx:pt idx="20104">2</cx:pt>
          <cx:pt idx="20105">3</cx:pt>
          <cx:pt idx="20106">5</cx:pt>
          <cx:pt idx="20107">1</cx:pt>
          <cx:pt idx="20108">1</cx:pt>
          <cx:pt idx="20109">4</cx:pt>
          <cx:pt idx="20110">5</cx:pt>
          <cx:pt idx="20111">0</cx:pt>
          <cx:pt idx="20112">1</cx:pt>
          <cx:pt idx="20113">3</cx:pt>
          <cx:pt idx="20114">2</cx:pt>
          <cx:pt idx="20115">1</cx:pt>
          <cx:pt idx="20116">3</cx:pt>
          <cx:pt idx="20117">1</cx:pt>
          <cx:pt idx="20118">1</cx:pt>
          <cx:pt idx="20119">1</cx:pt>
          <cx:pt idx="20120">3</cx:pt>
          <cx:pt idx="20121">2</cx:pt>
          <cx:pt idx="20122">1</cx:pt>
          <cx:pt idx="20123">2</cx:pt>
          <cx:pt idx="20124">1</cx:pt>
          <cx:pt idx="20125">4</cx:pt>
          <cx:pt idx="20126">1</cx:pt>
          <cx:pt idx="20127">2</cx:pt>
          <cx:pt idx="20128">2</cx:pt>
          <cx:pt idx="20129">1</cx:pt>
          <cx:pt idx="20130">2</cx:pt>
          <cx:pt idx="20131">3</cx:pt>
          <cx:pt idx="20132">2</cx:pt>
          <cx:pt idx="20133">3</cx:pt>
          <cx:pt idx="20134">2</cx:pt>
          <cx:pt idx="20135">1</cx:pt>
          <cx:pt idx="20136">5</cx:pt>
          <cx:pt idx="20137">0</cx:pt>
          <cx:pt idx="20138">1</cx:pt>
          <cx:pt idx="20139">4</cx:pt>
          <cx:pt idx="20140">3</cx:pt>
          <cx:pt idx="20141">3</cx:pt>
          <cx:pt idx="20142">1</cx:pt>
          <cx:pt idx="20143">3</cx:pt>
          <cx:pt idx="20144">5</cx:pt>
          <cx:pt idx="20145">4</cx:pt>
          <cx:pt idx="20146">4</cx:pt>
          <cx:pt idx="20147">5</cx:pt>
          <cx:pt idx="20148">2</cx:pt>
          <cx:pt idx="20149">5</cx:pt>
          <cx:pt idx="20150">4</cx:pt>
          <cx:pt idx="20151">3</cx:pt>
          <cx:pt idx="20152">5</cx:pt>
          <cx:pt idx="20153">2</cx:pt>
          <cx:pt idx="20154">2</cx:pt>
          <cx:pt idx="20155">3</cx:pt>
          <cx:pt idx="20156">2</cx:pt>
          <cx:pt idx="20157">2</cx:pt>
          <cx:pt idx="20158">2</cx:pt>
          <cx:pt idx="20159">4</cx:pt>
          <cx:pt idx="20160">5</cx:pt>
          <cx:pt idx="20161">4</cx:pt>
          <cx:pt idx="20162">5</cx:pt>
          <cx:pt idx="20163">1</cx:pt>
          <cx:pt idx="20164">4</cx:pt>
          <cx:pt idx="20165">4</cx:pt>
          <cx:pt idx="20166">3</cx:pt>
          <cx:pt idx="20167">5</cx:pt>
          <cx:pt idx="20168">1</cx:pt>
          <cx:pt idx="20169">2</cx:pt>
          <cx:pt idx="20170">3</cx:pt>
          <cx:pt idx="20171">5</cx:pt>
          <cx:pt idx="20172">2</cx:pt>
          <cx:pt idx="20173">2</cx:pt>
          <cx:pt idx="20174">3</cx:pt>
          <cx:pt idx="20175">3</cx:pt>
          <cx:pt idx="20176">5</cx:pt>
          <cx:pt idx="20177">3</cx:pt>
          <cx:pt idx="20178">5</cx:pt>
          <cx:pt idx="20179">5</cx:pt>
          <cx:pt idx="20180">5</cx:pt>
          <cx:pt idx="20181">4</cx:pt>
          <cx:pt idx="20182">2</cx:pt>
          <cx:pt idx="20183">4</cx:pt>
          <cx:pt idx="20184">1</cx:pt>
          <cx:pt idx="20185">2</cx:pt>
          <cx:pt idx="20186">4</cx:pt>
          <cx:pt idx="20187">0</cx:pt>
          <cx:pt idx="20188">5</cx:pt>
          <cx:pt idx="20189">2</cx:pt>
          <cx:pt idx="20190">0</cx:pt>
          <cx:pt idx="20191">3</cx:pt>
          <cx:pt idx="20192">3</cx:pt>
          <cx:pt idx="20193">3</cx:pt>
          <cx:pt idx="20194">4</cx:pt>
          <cx:pt idx="20195">2</cx:pt>
          <cx:pt idx="20196">3</cx:pt>
          <cx:pt idx="20197">2</cx:pt>
          <cx:pt idx="20198">4</cx:pt>
          <cx:pt idx="20199">1</cx:pt>
          <cx:pt idx="20200">2</cx:pt>
          <cx:pt idx="20201">3</cx:pt>
          <cx:pt idx="20202">5</cx:pt>
          <cx:pt idx="20203">1</cx:pt>
          <cx:pt idx="20204">4</cx:pt>
          <cx:pt idx="20205">1</cx:pt>
          <cx:pt idx="20206">1</cx:pt>
          <cx:pt idx="20207">2</cx:pt>
          <cx:pt idx="20208">2</cx:pt>
          <cx:pt idx="20209">0</cx:pt>
          <cx:pt idx="20210">5</cx:pt>
          <cx:pt idx="20211">3</cx:pt>
          <cx:pt idx="20212">2</cx:pt>
          <cx:pt idx="20213">1</cx:pt>
          <cx:pt idx="20214">3</cx:pt>
          <cx:pt idx="20215">5</cx:pt>
          <cx:pt idx="20216">2</cx:pt>
          <cx:pt idx="20217">4</cx:pt>
          <cx:pt idx="20218">2</cx:pt>
          <cx:pt idx="20219">1</cx:pt>
          <cx:pt idx="20220">0</cx:pt>
          <cx:pt idx="20221">2</cx:pt>
          <cx:pt idx="20222">4</cx:pt>
          <cx:pt idx="20223">4</cx:pt>
          <cx:pt idx="20224">2</cx:pt>
          <cx:pt idx="20225">3</cx:pt>
          <cx:pt idx="20226">1</cx:pt>
          <cx:pt idx="20227">3</cx:pt>
          <cx:pt idx="20228">1</cx:pt>
          <cx:pt idx="20229">1</cx:pt>
          <cx:pt idx="20230">1</cx:pt>
          <cx:pt idx="20231">2</cx:pt>
          <cx:pt idx="20232">3</cx:pt>
          <cx:pt idx="20233">5</cx:pt>
          <cx:pt idx="20234">1</cx:pt>
          <cx:pt idx="20235">4</cx:pt>
          <cx:pt idx="20236">3</cx:pt>
          <cx:pt idx="20237">2</cx:pt>
          <cx:pt idx="20238">5</cx:pt>
          <cx:pt idx="20239">3</cx:pt>
          <cx:pt idx="20240">5</cx:pt>
          <cx:pt idx="20241">2</cx:pt>
          <cx:pt idx="20242">3</cx:pt>
          <cx:pt idx="20243">1</cx:pt>
          <cx:pt idx="20244">2</cx:pt>
          <cx:pt idx="20245">2</cx:pt>
          <cx:pt idx="20246">2</cx:pt>
          <cx:pt idx="20247">4</cx:pt>
          <cx:pt idx="20248">2</cx:pt>
          <cx:pt idx="20249">5</cx:pt>
          <cx:pt idx="20250">3</cx:pt>
          <cx:pt idx="20251">0</cx:pt>
          <cx:pt idx="20252">1</cx:pt>
          <cx:pt idx="20253">1</cx:pt>
          <cx:pt idx="20254">2</cx:pt>
          <cx:pt idx="20255">3</cx:pt>
          <cx:pt idx="20256">3</cx:pt>
          <cx:pt idx="20257">3</cx:pt>
          <cx:pt idx="20258">3</cx:pt>
          <cx:pt idx="20259">2</cx:pt>
          <cx:pt idx="20260">3</cx:pt>
          <cx:pt idx="20261">5</cx:pt>
          <cx:pt idx="20262">2</cx:pt>
          <cx:pt idx="20263">3</cx:pt>
          <cx:pt idx="20264">2</cx:pt>
          <cx:pt idx="20265">3</cx:pt>
          <cx:pt idx="20266">5</cx:pt>
          <cx:pt idx="20267">3</cx:pt>
          <cx:pt idx="20268">2</cx:pt>
          <cx:pt idx="20269">4</cx:pt>
          <cx:pt idx="20270">2</cx:pt>
          <cx:pt idx="20271">4</cx:pt>
          <cx:pt idx="20272">4</cx:pt>
          <cx:pt idx="20273">2</cx:pt>
          <cx:pt idx="20274">2</cx:pt>
          <cx:pt idx="20275">3</cx:pt>
          <cx:pt idx="20276">2</cx:pt>
          <cx:pt idx="20277">2</cx:pt>
          <cx:pt idx="20278">1</cx:pt>
          <cx:pt idx="20279">1</cx:pt>
          <cx:pt idx="20280">4</cx:pt>
          <cx:pt idx="20281">1</cx:pt>
          <cx:pt idx="20282">4</cx:pt>
          <cx:pt idx="20283">2</cx:pt>
          <cx:pt idx="20284">5</cx:pt>
          <cx:pt idx="20285">2</cx:pt>
          <cx:pt idx="20286">1</cx:pt>
          <cx:pt idx="20287">1</cx:pt>
          <cx:pt idx="20288">3</cx:pt>
          <cx:pt idx="20289">4</cx:pt>
          <cx:pt idx="20290">4</cx:pt>
          <cx:pt idx="20291">5</cx:pt>
          <cx:pt idx="20292">3</cx:pt>
          <cx:pt idx="20293">1</cx:pt>
          <cx:pt idx="20294">2</cx:pt>
          <cx:pt idx="20295">1</cx:pt>
          <cx:pt idx="20296">1</cx:pt>
          <cx:pt idx="20297">1</cx:pt>
          <cx:pt idx="20298">5</cx:pt>
          <cx:pt idx="20299">4</cx:pt>
          <cx:pt idx="20300">2</cx:pt>
          <cx:pt idx="20301">2</cx:pt>
          <cx:pt idx="20302">2</cx:pt>
          <cx:pt idx="20303">2</cx:pt>
          <cx:pt idx="20304">1</cx:pt>
          <cx:pt idx="20305">3</cx:pt>
          <cx:pt idx="20306">1</cx:pt>
          <cx:pt idx="20307">2</cx:pt>
          <cx:pt idx="20308">1</cx:pt>
          <cx:pt idx="20309">3</cx:pt>
          <cx:pt idx="20310">2</cx:pt>
          <cx:pt idx="20311">1</cx:pt>
          <cx:pt idx="20312">3</cx:pt>
          <cx:pt idx="20313">2</cx:pt>
          <cx:pt idx="20314">1</cx:pt>
          <cx:pt idx="20315">5</cx:pt>
          <cx:pt idx="20316">4</cx:pt>
          <cx:pt idx="20317">5</cx:pt>
          <cx:pt idx="20318">4</cx:pt>
          <cx:pt idx="20319">1</cx:pt>
          <cx:pt idx="20320">3</cx:pt>
          <cx:pt idx="20321">4</cx:pt>
          <cx:pt idx="20322">3</cx:pt>
          <cx:pt idx="20323">3</cx:pt>
          <cx:pt idx="20324">3</cx:pt>
          <cx:pt idx="20325">4</cx:pt>
          <cx:pt idx="20326">3</cx:pt>
          <cx:pt idx="20327">4</cx:pt>
          <cx:pt idx="20328">3</cx:pt>
          <cx:pt idx="20329">5</cx:pt>
          <cx:pt idx="20330">5</cx:pt>
          <cx:pt idx="20331">2</cx:pt>
          <cx:pt idx="20332">2</cx:pt>
          <cx:pt idx="20333">1</cx:pt>
          <cx:pt idx="20334">4</cx:pt>
          <cx:pt idx="20335">3</cx:pt>
          <cx:pt idx="20336">3</cx:pt>
          <cx:pt idx="20337">3</cx:pt>
          <cx:pt idx="20338">2</cx:pt>
          <cx:pt idx="20339">3</cx:pt>
          <cx:pt idx="20340">1</cx:pt>
          <cx:pt idx="20341">5</cx:pt>
          <cx:pt idx="20342">3</cx:pt>
          <cx:pt idx="20343">5</cx:pt>
          <cx:pt idx="20344">5</cx:pt>
          <cx:pt idx="20345">3</cx:pt>
          <cx:pt idx="20346">3</cx:pt>
          <cx:pt idx="20347">3</cx:pt>
          <cx:pt idx="20348">1</cx:pt>
          <cx:pt idx="20349">5</cx:pt>
          <cx:pt idx="20350">4</cx:pt>
          <cx:pt idx="20351">5</cx:pt>
          <cx:pt idx="20352">5</cx:pt>
          <cx:pt idx="20353">3</cx:pt>
          <cx:pt idx="20354">5</cx:pt>
          <cx:pt idx="20355">0</cx:pt>
          <cx:pt idx="20356">1</cx:pt>
          <cx:pt idx="20357">2</cx:pt>
          <cx:pt idx="20358">4</cx:pt>
          <cx:pt idx="20359">4</cx:pt>
          <cx:pt idx="20360">4</cx:pt>
          <cx:pt idx="20361">3</cx:pt>
          <cx:pt idx="20362">4</cx:pt>
          <cx:pt idx="20363">2</cx:pt>
          <cx:pt idx="20364">4</cx:pt>
          <cx:pt idx="20365">5</cx:pt>
          <cx:pt idx="20366">4</cx:pt>
          <cx:pt idx="20367">2</cx:pt>
          <cx:pt idx="20368">1</cx:pt>
          <cx:pt idx="20369">2</cx:pt>
          <cx:pt idx="20370">5</cx:pt>
          <cx:pt idx="20371">2</cx:pt>
          <cx:pt idx="20372">1</cx:pt>
          <cx:pt idx="20373">3</cx:pt>
          <cx:pt idx="20374">2</cx:pt>
          <cx:pt idx="20375">4</cx:pt>
          <cx:pt idx="20376">5</cx:pt>
          <cx:pt idx="20377">2</cx:pt>
          <cx:pt idx="20378">3</cx:pt>
          <cx:pt idx="20379">4</cx:pt>
          <cx:pt idx="20380">2</cx:pt>
          <cx:pt idx="20381">3</cx:pt>
          <cx:pt idx="20382">0</cx:pt>
          <cx:pt idx="20383">4</cx:pt>
          <cx:pt idx="20384">3</cx:pt>
          <cx:pt idx="20385">4</cx:pt>
          <cx:pt idx="20386">2</cx:pt>
          <cx:pt idx="20387">3</cx:pt>
          <cx:pt idx="20388">2</cx:pt>
          <cx:pt idx="20389">1</cx:pt>
          <cx:pt idx="20390">2</cx:pt>
          <cx:pt idx="20391">5</cx:pt>
          <cx:pt idx="20392">2</cx:pt>
          <cx:pt idx="20393">4</cx:pt>
          <cx:pt idx="20394">2</cx:pt>
          <cx:pt idx="20395">1</cx:pt>
          <cx:pt idx="20396">5</cx:pt>
          <cx:pt idx="20397">1</cx:pt>
          <cx:pt idx="20398">4</cx:pt>
          <cx:pt idx="20399">4</cx:pt>
          <cx:pt idx="20400">5</cx:pt>
          <cx:pt idx="20401">4</cx:pt>
          <cx:pt idx="20402">5</cx:pt>
          <cx:pt idx="20403">2</cx:pt>
          <cx:pt idx="20404">4</cx:pt>
          <cx:pt idx="20405">3</cx:pt>
          <cx:pt idx="20406">2</cx:pt>
          <cx:pt idx="20407">5</cx:pt>
          <cx:pt idx="20408">4</cx:pt>
          <cx:pt idx="20409">4</cx:pt>
          <cx:pt idx="20410">5</cx:pt>
          <cx:pt idx="20411">4</cx:pt>
          <cx:pt idx="20412">2</cx:pt>
          <cx:pt idx="20413">3</cx:pt>
          <cx:pt idx="20414">4</cx:pt>
          <cx:pt idx="20415">4</cx:pt>
          <cx:pt idx="20416">3</cx:pt>
          <cx:pt idx="20417">4</cx:pt>
          <cx:pt idx="20418">4</cx:pt>
          <cx:pt idx="20419">3</cx:pt>
          <cx:pt idx="20420">4</cx:pt>
          <cx:pt idx="20421">2</cx:pt>
          <cx:pt idx="20422">3</cx:pt>
          <cx:pt idx="20423">4</cx:pt>
          <cx:pt idx="20424">1</cx:pt>
          <cx:pt idx="20425">1</cx:pt>
          <cx:pt idx="20426">4</cx:pt>
          <cx:pt idx="20427">3</cx:pt>
          <cx:pt idx="20428">1</cx:pt>
          <cx:pt idx="20429">5</cx:pt>
          <cx:pt idx="20430">5</cx:pt>
          <cx:pt idx="20431">3</cx:pt>
          <cx:pt idx="20432">1</cx:pt>
          <cx:pt idx="20433">2</cx:pt>
          <cx:pt idx="20434">2</cx:pt>
          <cx:pt idx="20435">4</cx:pt>
          <cx:pt idx="20436">3</cx:pt>
          <cx:pt idx="20437">1</cx:pt>
          <cx:pt idx="20438">5</cx:pt>
          <cx:pt idx="20439">3</cx:pt>
          <cx:pt idx="20440">1</cx:pt>
          <cx:pt idx="20441">3</cx:pt>
          <cx:pt idx="20442">3</cx:pt>
          <cx:pt idx="20443">3</cx:pt>
          <cx:pt idx="20444">5</cx:pt>
          <cx:pt idx="20445">1</cx:pt>
          <cx:pt idx="20446">0</cx:pt>
          <cx:pt idx="20447">5</cx:pt>
          <cx:pt idx="20448">3</cx:pt>
          <cx:pt idx="20449">0</cx:pt>
          <cx:pt idx="20450">2</cx:pt>
          <cx:pt idx="20451">4</cx:pt>
          <cx:pt idx="20452">4</cx:pt>
          <cx:pt idx="20453">4</cx:pt>
          <cx:pt idx="20454">2</cx:pt>
          <cx:pt idx="20455">1</cx:pt>
          <cx:pt idx="20456">5</cx:pt>
          <cx:pt idx="20457">1</cx:pt>
          <cx:pt idx="20458">2</cx:pt>
          <cx:pt idx="20459">3</cx:pt>
          <cx:pt idx="20460">2</cx:pt>
          <cx:pt idx="20461">5</cx:pt>
          <cx:pt idx="20462">2</cx:pt>
          <cx:pt idx="20463">2</cx:pt>
          <cx:pt idx="20464">3</cx:pt>
          <cx:pt idx="20465">0</cx:pt>
          <cx:pt idx="20466">1</cx:pt>
          <cx:pt idx="20467">3</cx:pt>
          <cx:pt idx="20468">4</cx:pt>
          <cx:pt idx="20469">1</cx:pt>
          <cx:pt idx="20470">2</cx:pt>
          <cx:pt idx="20471">4</cx:pt>
          <cx:pt idx="20472">2</cx:pt>
          <cx:pt idx="20473">4</cx:pt>
          <cx:pt idx="20474">3</cx:pt>
          <cx:pt idx="20475">2</cx:pt>
          <cx:pt idx="20476">2</cx:pt>
          <cx:pt idx="20477">2</cx:pt>
          <cx:pt idx="20478">3</cx:pt>
          <cx:pt idx="20479">0</cx:pt>
          <cx:pt idx="20480">5</cx:pt>
          <cx:pt idx="20481">4</cx:pt>
          <cx:pt idx="20482">5</cx:pt>
          <cx:pt idx="20483">4</cx:pt>
          <cx:pt idx="20484">4</cx:pt>
          <cx:pt idx="20485">0</cx:pt>
          <cx:pt idx="20486">1</cx:pt>
          <cx:pt idx="20487">1</cx:pt>
          <cx:pt idx="20488">0</cx:pt>
          <cx:pt idx="20489">4</cx:pt>
          <cx:pt idx="20490">2</cx:pt>
          <cx:pt idx="20491">4</cx:pt>
          <cx:pt idx="20492">4</cx:pt>
          <cx:pt idx="20493">2</cx:pt>
          <cx:pt idx="20494">3</cx:pt>
          <cx:pt idx="20495">3</cx:pt>
          <cx:pt idx="20496">0</cx:pt>
          <cx:pt idx="20497">0</cx:pt>
          <cx:pt idx="20498">1</cx:pt>
          <cx:pt idx="20499">0</cx:pt>
          <cx:pt idx="20500">3</cx:pt>
          <cx:pt idx="20501">1</cx:pt>
          <cx:pt idx="20502">2</cx:pt>
          <cx:pt idx="20503">5</cx:pt>
          <cx:pt idx="20504">1</cx:pt>
          <cx:pt idx="20505">2</cx:pt>
          <cx:pt idx="20506">5</cx:pt>
          <cx:pt idx="20507">4</cx:pt>
          <cx:pt idx="20508">2</cx:pt>
          <cx:pt idx="20509">3</cx:pt>
          <cx:pt idx="20510">2</cx:pt>
          <cx:pt idx="20511">1</cx:pt>
          <cx:pt idx="20512">3</cx:pt>
          <cx:pt idx="20513">4</cx:pt>
          <cx:pt idx="20514">4</cx:pt>
          <cx:pt idx="20515">3</cx:pt>
          <cx:pt idx="20516">4</cx:pt>
          <cx:pt idx="20517">1</cx:pt>
          <cx:pt idx="20518">1</cx:pt>
          <cx:pt idx="20519">4</cx:pt>
          <cx:pt idx="20520">1</cx:pt>
          <cx:pt idx="20521">3</cx:pt>
          <cx:pt idx="20522">1</cx:pt>
          <cx:pt idx="20523">1</cx:pt>
          <cx:pt idx="20524">3</cx:pt>
          <cx:pt idx="20525">5</cx:pt>
          <cx:pt idx="20526">4</cx:pt>
          <cx:pt idx="20527">0</cx:pt>
          <cx:pt idx="20528">1</cx:pt>
          <cx:pt idx="20529">3</cx:pt>
          <cx:pt idx="20530">4</cx:pt>
          <cx:pt idx="20531">1</cx:pt>
          <cx:pt idx="20532">3</cx:pt>
          <cx:pt idx="20533">1</cx:pt>
          <cx:pt idx="20534">4</cx:pt>
          <cx:pt idx="20535">2</cx:pt>
          <cx:pt idx="20536">2</cx:pt>
          <cx:pt idx="20537">1</cx:pt>
          <cx:pt idx="20538">2</cx:pt>
          <cx:pt idx="20539">4</cx:pt>
          <cx:pt idx="20540">2</cx:pt>
          <cx:pt idx="20541">4</cx:pt>
          <cx:pt idx="20542">3</cx:pt>
          <cx:pt idx="20543">2</cx:pt>
          <cx:pt idx="20544">4</cx:pt>
          <cx:pt idx="20545">5</cx:pt>
          <cx:pt idx="20546">1</cx:pt>
          <cx:pt idx="20547">4</cx:pt>
          <cx:pt idx="20548">4</cx:pt>
          <cx:pt idx="20549">3</cx:pt>
          <cx:pt idx="20550">5</cx:pt>
          <cx:pt idx="20551">1</cx:pt>
          <cx:pt idx="20552">1</cx:pt>
          <cx:pt idx="20553">3</cx:pt>
          <cx:pt idx="20554">3</cx:pt>
          <cx:pt idx="20555">2</cx:pt>
          <cx:pt idx="20556">3</cx:pt>
          <cx:pt idx="20557">2</cx:pt>
          <cx:pt idx="20558">4</cx:pt>
          <cx:pt idx="20559">4</cx:pt>
          <cx:pt idx="20560">2</cx:pt>
          <cx:pt idx="20561">1</cx:pt>
          <cx:pt idx="20562">4</cx:pt>
          <cx:pt idx="20563">3</cx:pt>
          <cx:pt idx="20564">1</cx:pt>
          <cx:pt idx="20565">5</cx:pt>
          <cx:pt idx="20566">1</cx:pt>
          <cx:pt idx="20567">2</cx:pt>
          <cx:pt idx="20568">5</cx:pt>
          <cx:pt idx="20569">2</cx:pt>
          <cx:pt idx="20570">2</cx:pt>
          <cx:pt idx="20571">3</cx:pt>
          <cx:pt idx="20572">3</cx:pt>
          <cx:pt idx="20573">4</cx:pt>
          <cx:pt idx="20574">1</cx:pt>
          <cx:pt idx="20575">0</cx:pt>
          <cx:pt idx="20576">3</cx:pt>
          <cx:pt idx="20577">2</cx:pt>
          <cx:pt idx="20578">5</cx:pt>
          <cx:pt idx="20579">3</cx:pt>
          <cx:pt idx="20580">4</cx:pt>
          <cx:pt idx="20581">4</cx:pt>
          <cx:pt idx="20582">1</cx:pt>
          <cx:pt idx="20583">4</cx:pt>
          <cx:pt idx="20584">2</cx:pt>
          <cx:pt idx="20585">4</cx:pt>
          <cx:pt idx="20586">4</cx:pt>
          <cx:pt idx="20587">3</cx:pt>
          <cx:pt idx="20588">1</cx:pt>
          <cx:pt idx="20589">5</cx:pt>
          <cx:pt idx="20590">1</cx:pt>
          <cx:pt idx="20591">0</cx:pt>
          <cx:pt idx="20592">1</cx:pt>
          <cx:pt idx="20593">2</cx:pt>
          <cx:pt idx="20594">5</cx:pt>
          <cx:pt idx="20595">5</cx:pt>
          <cx:pt idx="20596">3</cx:pt>
          <cx:pt idx="20597">0</cx:pt>
          <cx:pt idx="20598">1</cx:pt>
          <cx:pt idx="20599">1</cx:pt>
          <cx:pt idx="20600">1</cx:pt>
          <cx:pt idx="20601">4</cx:pt>
          <cx:pt idx="20602">4</cx:pt>
          <cx:pt idx="20603">4</cx:pt>
          <cx:pt idx="20604">2</cx:pt>
          <cx:pt idx="20605">0</cx:pt>
          <cx:pt idx="20606">2</cx:pt>
          <cx:pt idx="20607">0</cx:pt>
          <cx:pt idx="20608">2</cx:pt>
          <cx:pt idx="20609">2</cx:pt>
          <cx:pt idx="20610">4</cx:pt>
          <cx:pt idx="20611">2</cx:pt>
          <cx:pt idx="20612">2</cx:pt>
          <cx:pt idx="20613">3</cx:pt>
          <cx:pt idx="20614">1</cx:pt>
          <cx:pt idx="20615">1</cx:pt>
          <cx:pt idx="20616">1</cx:pt>
          <cx:pt idx="20617">1</cx:pt>
          <cx:pt idx="20618">3</cx:pt>
          <cx:pt idx="20619">3</cx:pt>
          <cx:pt idx="20620">5</cx:pt>
          <cx:pt idx="20621">5</cx:pt>
          <cx:pt idx="20622">3</cx:pt>
          <cx:pt idx="20623">5</cx:pt>
          <cx:pt idx="20624">2</cx:pt>
          <cx:pt idx="20625">5</cx:pt>
          <cx:pt idx="20626">5</cx:pt>
          <cx:pt idx="20627">5</cx:pt>
          <cx:pt idx="20628">3</cx:pt>
          <cx:pt idx="20629">2</cx:pt>
          <cx:pt idx="20630">5</cx:pt>
          <cx:pt idx="20631">4</cx:pt>
          <cx:pt idx="20632">1</cx:pt>
          <cx:pt idx="20633">4</cx:pt>
          <cx:pt idx="20634">2</cx:pt>
          <cx:pt idx="20635">3</cx:pt>
          <cx:pt idx="20636">4</cx:pt>
          <cx:pt idx="20637">4</cx:pt>
          <cx:pt idx="20638">2</cx:pt>
          <cx:pt idx="20639">1</cx:pt>
          <cx:pt idx="20640">3</cx:pt>
          <cx:pt idx="20641">0</cx:pt>
          <cx:pt idx="20642">1</cx:pt>
          <cx:pt idx="20643">3</cx:pt>
          <cx:pt idx="20644">4</cx:pt>
          <cx:pt idx="20645">2</cx:pt>
          <cx:pt idx="20646">4</cx:pt>
          <cx:pt idx="20647">2</cx:pt>
          <cx:pt idx="20648">5</cx:pt>
          <cx:pt idx="20649">5</cx:pt>
          <cx:pt idx="20650">1</cx:pt>
          <cx:pt idx="20651">1</cx:pt>
          <cx:pt idx="20652">1</cx:pt>
          <cx:pt idx="20653">2</cx:pt>
          <cx:pt idx="20654">3</cx:pt>
          <cx:pt idx="20655">4</cx:pt>
          <cx:pt idx="20656">3</cx:pt>
          <cx:pt idx="20657">3</cx:pt>
          <cx:pt idx="20658">2</cx:pt>
          <cx:pt idx="20659">2</cx:pt>
          <cx:pt idx="20660">3</cx:pt>
          <cx:pt idx="20661">3</cx:pt>
          <cx:pt idx="20662">5</cx:pt>
          <cx:pt idx="20663">1</cx:pt>
          <cx:pt idx="20664">5</cx:pt>
          <cx:pt idx="20665">5</cx:pt>
          <cx:pt idx="20666">1</cx:pt>
          <cx:pt idx="20667">2</cx:pt>
          <cx:pt idx="20668">5</cx:pt>
          <cx:pt idx="20669">2</cx:pt>
          <cx:pt idx="20670">2</cx:pt>
          <cx:pt idx="20671">2</cx:pt>
          <cx:pt idx="20672">2</cx:pt>
          <cx:pt idx="20673">3</cx:pt>
          <cx:pt idx="20674">1</cx:pt>
          <cx:pt idx="20675">1</cx:pt>
          <cx:pt idx="20676">4</cx:pt>
          <cx:pt idx="20677">4</cx:pt>
          <cx:pt idx="20678">1</cx:pt>
          <cx:pt idx="20679">4</cx:pt>
          <cx:pt idx="20680">5</cx:pt>
          <cx:pt idx="20681">2</cx:pt>
          <cx:pt idx="20682">3</cx:pt>
          <cx:pt idx="20683">1</cx:pt>
          <cx:pt idx="20684">2</cx:pt>
          <cx:pt idx="20685">4</cx:pt>
          <cx:pt idx="20686">4</cx:pt>
          <cx:pt idx="20687">5</cx:pt>
          <cx:pt idx="20688">4</cx:pt>
          <cx:pt idx="20689">2</cx:pt>
          <cx:pt idx="20690">3</cx:pt>
          <cx:pt idx="20691">4</cx:pt>
          <cx:pt idx="20692">1</cx:pt>
          <cx:pt idx="20693">1</cx:pt>
          <cx:pt idx="20694">3</cx:pt>
          <cx:pt idx="20695">1</cx:pt>
          <cx:pt idx="20696">3</cx:pt>
          <cx:pt idx="20697">4</cx:pt>
          <cx:pt idx="20698">4</cx:pt>
          <cx:pt idx="20699">4</cx:pt>
          <cx:pt idx="20700">3</cx:pt>
          <cx:pt idx="20701">2</cx:pt>
          <cx:pt idx="20702">3</cx:pt>
          <cx:pt idx="20703">4</cx:pt>
          <cx:pt idx="20704">3</cx:pt>
          <cx:pt idx="20705">2</cx:pt>
          <cx:pt idx="20706">3</cx:pt>
          <cx:pt idx="20707">3</cx:pt>
          <cx:pt idx="20708">2</cx:pt>
          <cx:pt idx="20709">5</cx:pt>
          <cx:pt idx="20710">3</cx:pt>
          <cx:pt idx="20711">0</cx:pt>
          <cx:pt idx="20712">4</cx:pt>
          <cx:pt idx="20713">1</cx:pt>
          <cx:pt idx="20714">1</cx:pt>
          <cx:pt idx="20715">2</cx:pt>
          <cx:pt idx="20716">1</cx:pt>
          <cx:pt idx="20717">5</cx:pt>
          <cx:pt idx="20718">4</cx:pt>
          <cx:pt idx="20719">2</cx:pt>
          <cx:pt idx="20720">1</cx:pt>
          <cx:pt idx="20721">2</cx:pt>
          <cx:pt idx="20722">3</cx:pt>
          <cx:pt idx="20723">4</cx:pt>
          <cx:pt idx="20724">4</cx:pt>
          <cx:pt idx="20725">3</cx:pt>
          <cx:pt idx="20726">4</cx:pt>
          <cx:pt idx="20727">2</cx:pt>
          <cx:pt idx="20728">3</cx:pt>
          <cx:pt idx="20729">2</cx:pt>
          <cx:pt idx="20730">1</cx:pt>
          <cx:pt idx="20731">1</cx:pt>
          <cx:pt idx="20732">5</cx:pt>
          <cx:pt idx="20733">1</cx:pt>
          <cx:pt idx="20734">3</cx:pt>
          <cx:pt idx="20735">4</cx:pt>
          <cx:pt idx="20736">2</cx:pt>
          <cx:pt idx="20737">3</cx:pt>
          <cx:pt idx="20738">5</cx:pt>
          <cx:pt idx="20739">4</cx:pt>
          <cx:pt idx="20740">5</cx:pt>
          <cx:pt idx="20741">3</cx:pt>
          <cx:pt idx="20742">3</cx:pt>
          <cx:pt idx="20743">2</cx:pt>
          <cx:pt idx="20744">1</cx:pt>
          <cx:pt idx="20745">3</cx:pt>
          <cx:pt idx="20746">2</cx:pt>
          <cx:pt idx="20747">2</cx:pt>
          <cx:pt idx="20748">2</cx:pt>
          <cx:pt idx="20749">3</cx:pt>
          <cx:pt idx="20750">4</cx:pt>
          <cx:pt idx="20751">3</cx:pt>
          <cx:pt idx="20752">5</cx:pt>
          <cx:pt idx="20753">3</cx:pt>
          <cx:pt idx="20754">5</cx:pt>
          <cx:pt idx="20755">1</cx:pt>
          <cx:pt idx="20756">3</cx:pt>
          <cx:pt idx="20757">3</cx:pt>
          <cx:pt idx="20758">3</cx:pt>
          <cx:pt idx="20759">2</cx:pt>
          <cx:pt idx="20760">4</cx:pt>
          <cx:pt idx="20761">4</cx:pt>
          <cx:pt idx="20762">2</cx:pt>
          <cx:pt idx="20763">1</cx:pt>
          <cx:pt idx="20764">4</cx:pt>
          <cx:pt idx="20765">1</cx:pt>
          <cx:pt idx="20766">2</cx:pt>
          <cx:pt idx="20767">2</cx:pt>
          <cx:pt idx="20768">4</cx:pt>
          <cx:pt idx="20769">2</cx:pt>
          <cx:pt idx="20770">3</cx:pt>
          <cx:pt idx="20771">4</cx:pt>
          <cx:pt idx="20772">1</cx:pt>
          <cx:pt idx="20773">3</cx:pt>
          <cx:pt idx="20774">2</cx:pt>
          <cx:pt idx="20775">1</cx:pt>
          <cx:pt idx="20776">5</cx:pt>
          <cx:pt idx="20777">5</cx:pt>
          <cx:pt idx="20778">2</cx:pt>
          <cx:pt idx="20779">5</cx:pt>
          <cx:pt idx="20780">3</cx:pt>
          <cx:pt idx="20781">4</cx:pt>
          <cx:pt idx="20782">4</cx:pt>
          <cx:pt idx="20783">3</cx:pt>
          <cx:pt idx="20784">1</cx:pt>
          <cx:pt idx="20785">5</cx:pt>
          <cx:pt idx="20786">3</cx:pt>
          <cx:pt idx="20787">3</cx:pt>
          <cx:pt idx="20788">5</cx:pt>
          <cx:pt idx="20789">3</cx:pt>
          <cx:pt idx="20790">3</cx:pt>
          <cx:pt idx="20791">5</cx:pt>
          <cx:pt idx="20792">1</cx:pt>
          <cx:pt idx="20793">1</cx:pt>
          <cx:pt idx="20794">4</cx:pt>
          <cx:pt idx="20795">0</cx:pt>
          <cx:pt idx="20796">4</cx:pt>
          <cx:pt idx="20797">1</cx:pt>
          <cx:pt idx="20798">1</cx:pt>
          <cx:pt idx="20799">5</cx:pt>
          <cx:pt idx="20800">3</cx:pt>
          <cx:pt idx="20801">2</cx:pt>
          <cx:pt idx="20802">3</cx:pt>
          <cx:pt idx="20803">1</cx:pt>
          <cx:pt idx="20804">5</cx:pt>
          <cx:pt idx="20805">4</cx:pt>
          <cx:pt idx="20806">4</cx:pt>
          <cx:pt idx="20807">2</cx:pt>
          <cx:pt idx="20808">4</cx:pt>
          <cx:pt idx="20809">2</cx:pt>
          <cx:pt idx="20810">3</cx:pt>
          <cx:pt idx="20811">4</cx:pt>
          <cx:pt idx="20812">5</cx:pt>
          <cx:pt idx="20813">2</cx:pt>
          <cx:pt idx="20814">4</cx:pt>
          <cx:pt idx="20815">2</cx:pt>
          <cx:pt idx="20816">0</cx:pt>
          <cx:pt idx="20817">1</cx:pt>
          <cx:pt idx="20818">3</cx:pt>
          <cx:pt idx="20819">4</cx:pt>
          <cx:pt idx="20820">2</cx:pt>
          <cx:pt idx="20821">5</cx:pt>
          <cx:pt idx="20822">1</cx:pt>
          <cx:pt idx="20823">3</cx:pt>
          <cx:pt idx="20824">2</cx:pt>
          <cx:pt idx="20825">3</cx:pt>
          <cx:pt idx="20826">3</cx:pt>
          <cx:pt idx="20827">4</cx:pt>
          <cx:pt idx="20828">4</cx:pt>
          <cx:pt idx="20829">2</cx:pt>
          <cx:pt idx="20830">5</cx:pt>
          <cx:pt idx="20831">1</cx:pt>
          <cx:pt idx="20832">2</cx:pt>
          <cx:pt idx="20833">5</cx:pt>
          <cx:pt idx="20834">4</cx:pt>
          <cx:pt idx="20835">2</cx:pt>
          <cx:pt idx="20836">1</cx:pt>
          <cx:pt idx="20837">4</cx:pt>
          <cx:pt idx="20838">3</cx:pt>
          <cx:pt idx="20839">2</cx:pt>
          <cx:pt idx="20840">4</cx:pt>
          <cx:pt idx="20841">2</cx:pt>
          <cx:pt idx="20842">4</cx:pt>
          <cx:pt idx="20843">3</cx:pt>
          <cx:pt idx="20844">2</cx:pt>
          <cx:pt idx="20845">3</cx:pt>
          <cx:pt idx="20846">1</cx:pt>
          <cx:pt idx="20847">3</cx:pt>
          <cx:pt idx="20848">3</cx:pt>
          <cx:pt idx="20849">3</cx:pt>
          <cx:pt idx="20850">2</cx:pt>
          <cx:pt idx="20851">2</cx:pt>
          <cx:pt idx="20852">3</cx:pt>
          <cx:pt idx="20853">3</cx:pt>
          <cx:pt idx="20854">5</cx:pt>
          <cx:pt idx="20855">3</cx:pt>
          <cx:pt idx="20856">4</cx:pt>
          <cx:pt idx="20857">1</cx:pt>
          <cx:pt idx="20858">3</cx:pt>
          <cx:pt idx="20859">3</cx:pt>
          <cx:pt idx="20860">4</cx:pt>
          <cx:pt idx="20861">1</cx:pt>
          <cx:pt idx="20862">3</cx:pt>
          <cx:pt idx="20863">2</cx:pt>
          <cx:pt idx="20864">4</cx:pt>
          <cx:pt idx="20865">5</cx:pt>
          <cx:pt idx="20866">1</cx:pt>
          <cx:pt idx="20867">5</cx:pt>
          <cx:pt idx="20868">5</cx:pt>
          <cx:pt idx="20869">5</cx:pt>
          <cx:pt idx="20870">1</cx:pt>
          <cx:pt idx="20871">2</cx:pt>
          <cx:pt idx="20872">2</cx:pt>
          <cx:pt idx="20873">3</cx:pt>
          <cx:pt idx="20874">2</cx:pt>
          <cx:pt idx="20875">2</cx:pt>
          <cx:pt idx="20876">2</cx:pt>
          <cx:pt idx="20877">3</cx:pt>
          <cx:pt idx="20878">5</cx:pt>
          <cx:pt idx="20879">3</cx:pt>
          <cx:pt idx="20880">1</cx:pt>
          <cx:pt idx="20881">3</cx:pt>
          <cx:pt idx="20882">3</cx:pt>
          <cx:pt idx="20883">2</cx:pt>
          <cx:pt idx="20884">5</cx:pt>
          <cx:pt idx="20885">2</cx:pt>
          <cx:pt idx="20886">2</cx:pt>
          <cx:pt idx="20887">3</cx:pt>
          <cx:pt idx="20888">3</cx:pt>
          <cx:pt idx="20889">1</cx:pt>
          <cx:pt idx="20890">0</cx:pt>
          <cx:pt idx="20891">1</cx:pt>
          <cx:pt idx="20892">1</cx:pt>
          <cx:pt idx="20893">2</cx:pt>
          <cx:pt idx="20894">1</cx:pt>
          <cx:pt idx="20895">4</cx:pt>
          <cx:pt idx="20896">3</cx:pt>
          <cx:pt idx="20897">5</cx:pt>
          <cx:pt idx="20898">1</cx:pt>
          <cx:pt idx="20899">1</cx:pt>
          <cx:pt idx="20900">3</cx:pt>
          <cx:pt idx="20901">1</cx:pt>
          <cx:pt idx="20902">3</cx:pt>
          <cx:pt idx="20903">4</cx:pt>
          <cx:pt idx="20904">1</cx:pt>
          <cx:pt idx="20905">3</cx:pt>
          <cx:pt idx="20906">5</cx:pt>
          <cx:pt idx="20907">0</cx:pt>
          <cx:pt idx="20908">3</cx:pt>
          <cx:pt idx="20909">5</cx:pt>
          <cx:pt idx="20910">3</cx:pt>
          <cx:pt idx="20911">2</cx:pt>
          <cx:pt idx="20912">5</cx:pt>
          <cx:pt idx="20913">1</cx:pt>
          <cx:pt idx="20914">3</cx:pt>
          <cx:pt idx="20915">3</cx:pt>
          <cx:pt idx="20916">5</cx:pt>
          <cx:pt idx="20917">4</cx:pt>
          <cx:pt idx="20918">4</cx:pt>
          <cx:pt idx="20919">4</cx:pt>
          <cx:pt idx="20920">3</cx:pt>
          <cx:pt idx="20921">4</cx:pt>
          <cx:pt idx="20922">2</cx:pt>
          <cx:pt idx="20923">3</cx:pt>
          <cx:pt idx="20924">1</cx:pt>
          <cx:pt idx="20925">4</cx:pt>
          <cx:pt idx="20926">4</cx:pt>
          <cx:pt idx="20927">5</cx:pt>
          <cx:pt idx="20928">3</cx:pt>
          <cx:pt idx="20929">0</cx:pt>
          <cx:pt idx="20930">1</cx:pt>
          <cx:pt idx="20931">5</cx:pt>
          <cx:pt idx="20932">3</cx:pt>
          <cx:pt idx="20933">3</cx:pt>
          <cx:pt idx="20934">4</cx:pt>
          <cx:pt idx="20935">5</cx:pt>
          <cx:pt idx="20936">4</cx:pt>
          <cx:pt idx="20937">3</cx:pt>
          <cx:pt idx="20938">3</cx:pt>
          <cx:pt idx="20939">1</cx:pt>
          <cx:pt idx="20940">2</cx:pt>
          <cx:pt idx="20941">1</cx:pt>
          <cx:pt idx="20942">3</cx:pt>
          <cx:pt idx="20943">3</cx:pt>
          <cx:pt idx="20944">3</cx:pt>
          <cx:pt idx="20945">2</cx:pt>
          <cx:pt idx="20946">3</cx:pt>
          <cx:pt idx="20947">4</cx:pt>
          <cx:pt idx="20948">1</cx:pt>
          <cx:pt idx="20949">2</cx:pt>
          <cx:pt idx="20950">1</cx:pt>
          <cx:pt idx="20951">1</cx:pt>
          <cx:pt idx="20952">1</cx:pt>
          <cx:pt idx="20953">3</cx:pt>
          <cx:pt idx="20954">0</cx:pt>
          <cx:pt idx="20955">3</cx:pt>
          <cx:pt idx="20956">2</cx:pt>
          <cx:pt idx="20957">4</cx:pt>
          <cx:pt idx="20958">5</cx:pt>
          <cx:pt idx="20959">0</cx:pt>
          <cx:pt idx="20960">2</cx:pt>
          <cx:pt idx="20961">5</cx:pt>
          <cx:pt idx="20962">4</cx:pt>
          <cx:pt idx="20963">3</cx:pt>
          <cx:pt idx="20964">3</cx:pt>
          <cx:pt idx="20965">3</cx:pt>
          <cx:pt idx="20966">1</cx:pt>
          <cx:pt idx="20967">2</cx:pt>
          <cx:pt idx="20968">0</cx:pt>
          <cx:pt idx="20969">1</cx:pt>
          <cx:pt idx="20970">4</cx:pt>
          <cx:pt idx="20971">5</cx:pt>
          <cx:pt idx="20972">1</cx:pt>
          <cx:pt idx="20973">1</cx:pt>
          <cx:pt idx="20974">1</cx:pt>
          <cx:pt idx="20975">3</cx:pt>
          <cx:pt idx="20976">4</cx:pt>
          <cx:pt idx="20977">0</cx:pt>
          <cx:pt idx="20978">0</cx:pt>
          <cx:pt idx="20979">1</cx:pt>
          <cx:pt idx="20980">4</cx:pt>
          <cx:pt idx="20981">3</cx:pt>
          <cx:pt idx="20982">2</cx:pt>
          <cx:pt idx="20983">5</cx:pt>
          <cx:pt idx="20984">4</cx:pt>
          <cx:pt idx="20985">3</cx:pt>
          <cx:pt idx="20986">4</cx:pt>
          <cx:pt idx="20987">5</cx:pt>
          <cx:pt idx="20988">1</cx:pt>
          <cx:pt idx="20989">1</cx:pt>
          <cx:pt idx="20990">2</cx:pt>
          <cx:pt idx="20991">5</cx:pt>
          <cx:pt idx="20992">4</cx:pt>
          <cx:pt idx="20993">1</cx:pt>
          <cx:pt idx="20994">3</cx:pt>
          <cx:pt idx="20995">1</cx:pt>
          <cx:pt idx="20996">3</cx:pt>
          <cx:pt idx="20997">4</cx:pt>
          <cx:pt idx="20998">2</cx:pt>
          <cx:pt idx="20999">2</cx:pt>
          <cx:pt idx="21000">4</cx:pt>
          <cx:pt idx="21001">2</cx:pt>
          <cx:pt idx="21002">5</cx:pt>
          <cx:pt idx="21003">3</cx:pt>
          <cx:pt idx="21004">1</cx:pt>
          <cx:pt idx="21005">2</cx:pt>
          <cx:pt idx="21006">3</cx:pt>
          <cx:pt idx="21007">2</cx:pt>
          <cx:pt idx="21008">1</cx:pt>
          <cx:pt idx="21009">3</cx:pt>
          <cx:pt idx="21010">3</cx:pt>
          <cx:pt idx="21011">4</cx:pt>
          <cx:pt idx="21012">4</cx:pt>
          <cx:pt idx="21013">2</cx:pt>
          <cx:pt idx="21014">4</cx:pt>
          <cx:pt idx="21015">5</cx:pt>
          <cx:pt idx="21016">3</cx:pt>
          <cx:pt idx="21017">3</cx:pt>
          <cx:pt idx="21018">1</cx:pt>
          <cx:pt idx="21019">3</cx:pt>
          <cx:pt idx="21020">4</cx:pt>
          <cx:pt idx="21021">3</cx:pt>
          <cx:pt idx="21022">2</cx:pt>
          <cx:pt idx="21023">5</cx:pt>
          <cx:pt idx="21024">4</cx:pt>
          <cx:pt idx="21025">4</cx:pt>
          <cx:pt idx="21026">1</cx:pt>
          <cx:pt idx="21027">3</cx:pt>
          <cx:pt idx="21028">2</cx:pt>
          <cx:pt idx="21029">3</cx:pt>
          <cx:pt idx="21030">0</cx:pt>
          <cx:pt idx="21031">2</cx:pt>
          <cx:pt idx="21032">1</cx:pt>
          <cx:pt idx="21033">3</cx:pt>
          <cx:pt idx="21034">4</cx:pt>
          <cx:pt idx="21035">4</cx:pt>
          <cx:pt idx="21036">3</cx:pt>
          <cx:pt idx="21037">1</cx:pt>
          <cx:pt idx="21038">5</cx:pt>
          <cx:pt idx="21039">2</cx:pt>
          <cx:pt idx="21040">4</cx:pt>
          <cx:pt idx="21041">0</cx:pt>
          <cx:pt idx="21042">5</cx:pt>
          <cx:pt idx="21043">1</cx:pt>
          <cx:pt idx="21044">5</cx:pt>
          <cx:pt idx="21045">5</cx:pt>
          <cx:pt idx="21046">5</cx:pt>
          <cx:pt idx="21047">4</cx:pt>
          <cx:pt idx="21048">5</cx:pt>
          <cx:pt idx="21049">2</cx:pt>
          <cx:pt idx="21050">2</cx:pt>
          <cx:pt idx="21051">4</cx:pt>
          <cx:pt idx="21052">4</cx:pt>
          <cx:pt idx="21053">1</cx:pt>
          <cx:pt idx="21054">4</cx:pt>
          <cx:pt idx="21055">3</cx:pt>
          <cx:pt idx="21056">1</cx:pt>
          <cx:pt idx="21057">3</cx:pt>
          <cx:pt idx="21058">5</cx:pt>
          <cx:pt idx="21059">2</cx:pt>
          <cx:pt idx="21060">1</cx:pt>
          <cx:pt idx="21061">1</cx:pt>
          <cx:pt idx="21062">1</cx:pt>
          <cx:pt idx="21063">2</cx:pt>
          <cx:pt idx="21064">4</cx:pt>
          <cx:pt idx="21065">3</cx:pt>
          <cx:pt idx="21066">3</cx:pt>
          <cx:pt idx="21067">4</cx:pt>
          <cx:pt idx="21068">1</cx:pt>
          <cx:pt idx="21069">5</cx:pt>
          <cx:pt idx="21070">5</cx:pt>
          <cx:pt idx="21071">1</cx:pt>
          <cx:pt idx="21072">2</cx:pt>
          <cx:pt idx="21073">4</cx:pt>
          <cx:pt idx="21074">2</cx:pt>
          <cx:pt idx="21075">4</cx:pt>
          <cx:pt idx="21076">0</cx:pt>
          <cx:pt idx="21077">1</cx:pt>
          <cx:pt idx="21078">5</cx:pt>
          <cx:pt idx="21079">5</cx:pt>
          <cx:pt idx="21080">3</cx:pt>
          <cx:pt idx="21081">1</cx:pt>
          <cx:pt idx="21082">4</cx:pt>
          <cx:pt idx="21083">2</cx:pt>
          <cx:pt idx="21084">5</cx:pt>
          <cx:pt idx="21085">0</cx:pt>
          <cx:pt idx="21086">2</cx:pt>
          <cx:pt idx="21087">4</cx:pt>
          <cx:pt idx="21088">1</cx:pt>
          <cx:pt idx="21089">2</cx:pt>
          <cx:pt idx="21090">2</cx:pt>
          <cx:pt idx="21091">0</cx:pt>
          <cx:pt idx="21092">4</cx:pt>
          <cx:pt idx="21093">2</cx:pt>
          <cx:pt idx="21094">2</cx:pt>
          <cx:pt idx="21095">3</cx:pt>
          <cx:pt idx="21096">1</cx:pt>
          <cx:pt idx="21097">1</cx:pt>
          <cx:pt idx="21098">1</cx:pt>
          <cx:pt idx="21099">1</cx:pt>
          <cx:pt idx="21100">1</cx:pt>
          <cx:pt idx="21101">4</cx:pt>
          <cx:pt idx="21102">5</cx:pt>
          <cx:pt idx="21103">5</cx:pt>
          <cx:pt idx="21104">3</cx:pt>
          <cx:pt idx="21105">2</cx:pt>
          <cx:pt idx="21106">2</cx:pt>
          <cx:pt idx="21107">2</cx:pt>
          <cx:pt idx="21108">5</cx:pt>
          <cx:pt idx="21109">4</cx:pt>
          <cx:pt idx="21110">1</cx:pt>
          <cx:pt idx="21111">3</cx:pt>
          <cx:pt idx="21112">3</cx:pt>
          <cx:pt idx="21113">2</cx:pt>
          <cx:pt idx="21114">2</cx:pt>
          <cx:pt idx="21115">5</cx:pt>
          <cx:pt idx="21116">4</cx:pt>
          <cx:pt idx="21117">4</cx:pt>
          <cx:pt idx="21118">2</cx:pt>
          <cx:pt idx="21119">1</cx:pt>
          <cx:pt idx="21120">3</cx:pt>
          <cx:pt idx="21121">0</cx:pt>
          <cx:pt idx="21122">2</cx:pt>
          <cx:pt idx="21123">2</cx:pt>
          <cx:pt idx="21124">5</cx:pt>
          <cx:pt idx="21125">1</cx:pt>
          <cx:pt idx="21126">4</cx:pt>
          <cx:pt idx="21127">1</cx:pt>
          <cx:pt idx="21128">2</cx:pt>
          <cx:pt idx="21129">4</cx:pt>
          <cx:pt idx="21130">5</cx:pt>
          <cx:pt idx="21131">2</cx:pt>
          <cx:pt idx="21132">5</cx:pt>
          <cx:pt idx="21133">3</cx:pt>
          <cx:pt idx="21134">2</cx:pt>
          <cx:pt idx="21135">3</cx:pt>
          <cx:pt idx="21136">2</cx:pt>
          <cx:pt idx="21137">1</cx:pt>
          <cx:pt idx="21138">1</cx:pt>
          <cx:pt idx="21139">3</cx:pt>
          <cx:pt idx="21140">5</cx:pt>
          <cx:pt idx="21141">4</cx:pt>
          <cx:pt idx="21142">2</cx:pt>
          <cx:pt idx="21143">2</cx:pt>
          <cx:pt idx="21144">1</cx:pt>
          <cx:pt idx="21145">3</cx:pt>
          <cx:pt idx="21146">1</cx:pt>
          <cx:pt idx="21147">4</cx:pt>
          <cx:pt idx="21148">4</cx:pt>
          <cx:pt idx="21149">2</cx:pt>
          <cx:pt idx="21150">1</cx:pt>
          <cx:pt idx="21151">5</cx:pt>
          <cx:pt idx="21152">1</cx:pt>
          <cx:pt idx="21153">5</cx:pt>
          <cx:pt idx="21154">2</cx:pt>
          <cx:pt idx="21155">1</cx:pt>
          <cx:pt idx="21156">4</cx:pt>
          <cx:pt idx="21157">2</cx:pt>
          <cx:pt idx="21158">1</cx:pt>
          <cx:pt idx="21159">2</cx:pt>
          <cx:pt idx="21160">2</cx:pt>
          <cx:pt idx="21161">5</cx:pt>
          <cx:pt idx="21162">4</cx:pt>
          <cx:pt idx="21163">3</cx:pt>
          <cx:pt idx="21164">2</cx:pt>
          <cx:pt idx="21165">3</cx:pt>
          <cx:pt idx="21166">3</cx:pt>
          <cx:pt idx="21167">2</cx:pt>
          <cx:pt idx="21168">5</cx:pt>
          <cx:pt idx="21169">5</cx:pt>
          <cx:pt idx="21170">0</cx:pt>
          <cx:pt idx="21171">2</cx:pt>
          <cx:pt idx="21172">4</cx:pt>
          <cx:pt idx="21173">2</cx:pt>
          <cx:pt idx="21174">4</cx:pt>
          <cx:pt idx="21175">2</cx:pt>
          <cx:pt idx="21176">4</cx:pt>
          <cx:pt idx="21177">4</cx:pt>
          <cx:pt idx="21178">3</cx:pt>
          <cx:pt idx="21179">3</cx:pt>
          <cx:pt idx="21180">5</cx:pt>
          <cx:pt idx="21181">3</cx:pt>
          <cx:pt idx="21182">3</cx:pt>
          <cx:pt idx="21183">2</cx:pt>
          <cx:pt idx="21184">3</cx:pt>
          <cx:pt idx="21185">5</cx:pt>
          <cx:pt idx="21186">1</cx:pt>
          <cx:pt idx="21187">2</cx:pt>
          <cx:pt idx="21188">3</cx:pt>
          <cx:pt idx="21189">4</cx:pt>
          <cx:pt idx="21190">3</cx:pt>
          <cx:pt idx="21191">5</cx:pt>
          <cx:pt idx="21192">3</cx:pt>
          <cx:pt idx="21193">5</cx:pt>
          <cx:pt idx="21194">4</cx:pt>
          <cx:pt idx="21195">4</cx:pt>
          <cx:pt idx="21196">1</cx:pt>
          <cx:pt idx="21197">3</cx:pt>
          <cx:pt idx="21198">5</cx:pt>
          <cx:pt idx="21199">2</cx:pt>
          <cx:pt idx="21200">3</cx:pt>
          <cx:pt idx="21201">4</cx:pt>
          <cx:pt idx="21202">4</cx:pt>
          <cx:pt idx="21203">3</cx:pt>
          <cx:pt idx="21204">5</cx:pt>
          <cx:pt idx="21205">1</cx:pt>
          <cx:pt idx="21206">1</cx:pt>
          <cx:pt idx="21207">0</cx:pt>
          <cx:pt idx="21208">5</cx:pt>
          <cx:pt idx="21209">2</cx:pt>
          <cx:pt idx="21210">2</cx:pt>
          <cx:pt idx="21211">0</cx:pt>
          <cx:pt idx="21212">4</cx:pt>
          <cx:pt idx="21213">2</cx:pt>
          <cx:pt idx="21214">4</cx:pt>
          <cx:pt idx="21215">1</cx:pt>
          <cx:pt idx="21216">0</cx:pt>
          <cx:pt idx="21217">1</cx:pt>
          <cx:pt idx="21218">4</cx:pt>
          <cx:pt idx="21219">2</cx:pt>
          <cx:pt idx="21220">4</cx:pt>
          <cx:pt idx="21221">2</cx:pt>
          <cx:pt idx="21222">3</cx:pt>
          <cx:pt idx="21223">2</cx:pt>
          <cx:pt idx="21224">3</cx:pt>
          <cx:pt idx="21225">5</cx:pt>
          <cx:pt idx="21226">2</cx:pt>
          <cx:pt idx="21227">4</cx:pt>
          <cx:pt idx="21228">3</cx:pt>
          <cx:pt idx="21229">2</cx:pt>
          <cx:pt idx="21230">4</cx:pt>
          <cx:pt idx="21231">2</cx:pt>
          <cx:pt idx="21232">5</cx:pt>
          <cx:pt idx="21233">2</cx:pt>
          <cx:pt idx="21234">1</cx:pt>
          <cx:pt idx="21235">5</cx:pt>
          <cx:pt idx="21236">1</cx:pt>
          <cx:pt idx="21237">3</cx:pt>
          <cx:pt idx="21238">2</cx:pt>
          <cx:pt idx="21239">4</cx:pt>
          <cx:pt idx="21240">3</cx:pt>
          <cx:pt idx="21241">3</cx:pt>
          <cx:pt idx="21242">1</cx:pt>
          <cx:pt idx="21243">1</cx:pt>
          <cx:pt idx="21244">1</cx:pt>
          <cx:pt idx="21245">2</cx:pt>
          <cx:pt idx="21246">1</cx:pt>
          <cx:pt idx="21247">2</cx:pt>
          <cx:pt idx="21248">5</cx:pt>
          <cx:pt idx="21249">1</cx:pt>
          <cx:pt idx="21250">3</cx:pt>
          <cx:pt idx="21251">5</cx:pt>
          <cx:pt idx="21252">2</cx:pt>
          <cx:pt idx="21253">4</cx:pt>
          <cx:pt idx="21254">2</cx:pt>
          <cx:pt idx="21255">3</cx:pt>
          <cx:pt idx="21256">5</cx:pt>
          <cx:pt idx="21257">1</cx:pt>
          <cx:pt idx="21258">3</cx:pt>
          <cx:pt idx="21259">1</cx:pt>
          <cx:pt idx="21260">2</cx:pt>
          <cx:pt idx="21261">2</cx:pt>
          <cx:pt idx="21262">5</cx:pt>
          <cx:pt idx="21263">3</cx:pt>
          <cx:pt idx="21264">3</cx:pt>
          <cx:pt idx="21265">0</cx:pt>
          <cx:pt idx="21266">3</cx:pt>
          <cx:pt idx="21267">3</cx:pt>
          <cx:pt idx="21268">3</cx:pt>
          <cx:pt idx="21269">2</cx:pt>
          <cx:pt idx="21270">3</cx:pt>
          <cx:pt idx="21271">0</cx:pt>
          <cx:pt idx="21272">1</cx:pt>
          <cx:pt idx="21273">1</cx:pt>
          <cx:pt idx="21274">4</cx:pt>
          <cx:pt idx="21275">1</cx:pt>
          <cx:pt idx="21276">3</cx:pt>
          <cx:pt idx="21277">2</cx:pt>
          <cx:pt idx="21278">1</cx:pt>
          <cx:pt idx="21279">1</cx:pt>
          <cx:pt idx="21280">2</cx:pt>
          <cx:pt idx="21281">4</cx:pt>
          <cx:pt idx="21282">2</cx:pt>
          <cx:pt idx="21283">5</cx:pt>
          <cx:pt idx="21284">0</cx:pt>
          <cx:pt idx="21285">2</cx:pt>
          <cx:pt idx="21286">3</cx:pt>
          <cx:pt idx="21287">1</cx:pt>
          <cx:pt idx="21288">4</cx:pt>
          <cx:pt idx="21289">3</cx:pt>
          <cx:pt idx="21290">4</cx:pt>
          <cx:pt idx="21291">1</cx:pt>
          <cx:pt idx="21292">2</cx:pt>
          <cx:pt idx="21293">3</cx:pt>
          <cx:pt idx="21294">2</cx:pt>
          <cx:pt idx="21295">4</cx:pt>
          <cx:pt idx="21296">5</cx:pt>
          <cx:pt idx="21297">1</cx:pt>
          <cx:pt idx="21298">5</cx:pt>
          <cx:pt idx="21299">4</cx:pt>
          <cx:pt idx="21300">3</cx:pt>
          <cx:pt idx="21301">0</cx:pt>
          <cx:pt idx="21302">5</cx:pt>
          <cx:pt idx="21303">3</cx:pt>
          <cx:pt idx="21304">2</cx:pt>
          <cx:pt idx="21305">1</cx:pt>
          <cx:pt idx="21306">3</cx:pt>
          <cx:pt idx="21307">2</cx:pt>
          <cx:pt idx="21308">4</cx:pt>
          <cx:pt idx="21309">3</cx:pt>
          <cx:pt idx="21310">4</cx:pt>
          <cx:pt idx="21311">3</cx:pt>
          <cx:pt idx="21312">3</cx:pt>
          <cx:pt idx="21313">3</cx:pt>
          <cx:pt idx="21314">2</cx:pt>
          <cx:pt idx="21315">3</cx:pt>
          <cx:pt idx="21316">0</cx:pt>
          <cx:pt idx="21317">4</cx:pt>
          <cx:pt idx="21318">1</cx:pt>
          <cx:pt idx="21319">1</cx:pt>
          <cx:pt idx="21320">2</cx:pt>
          <cx:pt idx="21321">3</cx:pt>
          <cx:pt idx="21322">2</cx:pt>
          <cx:pt idx="21323">2</cx:pt>
          <cx:pt idx="21324">3</cx:pt>
          <cx:pt idx="21325">2</cx:pt>
          <cx:pt idx="21326">2</cx:pt>
          <cx:pt idx="21327">1</cx:pt>
          <cx:pt idx="21328">1</cx:pt>
          <cx:pt idx="21329">4</cx:pt>
          <cx:pt idx="21330">2</cx:pt>
          <cx:pt idx="21331">3</cx:pt>
          <cx:pt idx="21332">1</cx:pt>
          <cx:pt idx="21333">5</cx:pt>
          <cx:pt idx="21334">1</cx:pt>
          <cx:pt idx="21335">2</cx:pt>
          <cx:pt idx="21336">3</cx:pt>
          <cx:pt idx="21337">4</cx:pt>
          <cx:pt idx="21338">5</cx:pt>
          <cx:pt idx="21339">4</cx:pt>
          <cx:pt idx="21340">2</cx:pt>
          <cx:pt idx="21341">2</cx:pt>
          <cx:pt idx="21342">1</cx:pt>
          <cx:pt idx="21343">3</cx:pt>
          <cx:pt idx="21344">3</cx:pt>
          <cx:pt idx="21345">3</cx:pt>
          <cx:pt idx="21346">3</cx:pt>
          <cx:pt idx="21347">4</cx:pt>
          <cx:pt idx="21348">2</cx:pt>
          <cx:pt idx="21349">2</cx:pt>
          <cx:pt idx="21350">2</cx:pt>
          <cx:pt idx="21351">2</cx:pt>
          <cx:pt idx="21352">2</cx:pt>
          <cx:pt idx="21353">3</cx:pt>
          <cx:pt idx="21354">1</cx:pt>
          <cx:pt idx="21355">4</cx:pt>
          <cx:pt idx="21356">4</cx:pt>
          <cx:pt idx="21357">3</cx:pt>
          <cx:pt idx="21358">4</cx:pt>
          <cx:pt idx="21359">5</cx:pt>
          <cx:pt idx="21360">2</cx:pt>
          <cx:pt idx="21361">1</cx:pt>
          <cx:pt idx="21362">2</cx:pt>
          <cx:pt idx="21363">3</cx:pt>
          <cx:pt idx="21364">2</cx:pt>
          <cx:pt idx="21365">1</cx:pt>
          <cx:pt idx="21366">5</cx:pt>
          <cx:pt idx="21367">4</cx:pt>
          <cx:pt idx="21368">4</cx:pt>
          <cx:pt idx="21369">5</cx:pt>
          <cx:pt idx="21370">3</cx:pt>
          <cx:pt idx="21371">2</cx:pt>
          <cx:pt idx="21372">5</cx:pt>
          <cx:pt idx="21373">1</cx:pt>
          <cx:pt idx="21374">2</cx:pt>
          <cx:pt idx="21375">3</cx:pt>
          <cx:pt idx="21376">2</cx:pt>
          <cx:pt idx="21377">3</cx:pt>
          <cx:pt idx="21378">2</cx:pt>
          <cx:pt idx="21379">5</cx:pt>
          <cx:pt idx="21380">1</cx:pt>
          <cx:pt idx="21381">5</cx:pt>
          <cx:pt idx="21382">4</cx:pt>
          <cx:pt idx="21383">4</cx:pt>
          <cx:pt idx="21384">2</cx:pt>
          <cx:pt idx="21385">2</cx:pt>
          <cx:pt idx="21386">2</cx:pt>
          <cx:pt idx="21387">2</cx:pt>
          <cx:pt idx="21388">1</cx:pt>
          <cx:pt idx="21389">3</cx:pt>
          <cx:pt idx="21390">4</cx:pt>
          <cx:pt idx="21391">3</cx:pt>
          <cx:pt idx="21392">3</cx:pt>
          <cx:pt idx="21393">5</cx:pt>
          <cx:pt idx="21394">4</cx:pt>
          <cx:pt idx="21395">1</cx:pt>
          <cx:pt idx="21396">3</cx:pt>
          <cx:pt idx="21397">4</cx:pt>
          <cx:pt idx="21398">3</cx:pt>
          <cx:pt idx="21399">5</cx:pt>
          <cx:pt idx="21400">3</cx:pt>
          <cx:pt idx="21401">3</cx:pt>
          <cx:pt idx="21402">4</cx:pt>
          <cx:pt idx="21403">2</cx:pt>
          <cx:pt idx="21404">1</cx:pt>
          <cx:pt idx="21405">0</cx:pt>
          <cx:pt idx="21406">5</cx:pt>
          <cx:pt idx="21407">3</cx:pt>
          <cx:pt idx="21408">2</cx:pt>
          <cx:pt idx="21409">1</cx:pt>
          <cx:pt idx="21410">4</cx:pt>
          <cx:pt idx="21411">5</cx:pt>
          <cx:pt idx="21412">4</cx:pt>
          <cx:pt idx="21413">3</cx:pt>
          <cx:pt idx="21414">2</cx:pt>
          <cx:pt idx="21415">1</cx:pt>
          <cx:pt idx="21416">4</cx:pt>
          <cx:pt idx="21417">4</cx:pt>
          <cx:pt idx="21418">2</cx:pt>
          <cx:pt idx="21419">4</cx:pt>
          <cx:pt idx="21420">4</cx:pt>
          <cx:pt idx="21421">2</cx:pt>
          <cx:pt idx="21422">3</cx:pt>
          <cx:pt idx="21423">2</cx:pt>
          <cx:pt idx="21424">3</cx:pt>
          <cx:pt idx="21425">5</cx:pt>
          <cx:pt idx="21426">3</cx:pt>
          <cx:pt idx="21427">2</cx:pt>
          <cx:pt idx="21428">4</cx:pt>
          <cx:pt idx="21429">5</cx:pt>
          <cx:pt idx="21430">2</cx:pt>
          <cx:pt idx="21431">4</cx:pt>
          <cx:pt idx="21432">3</cx:pt>
          <cx:pt idx="21433">1</cx:pt>
          <cx:pt idx="21434">1</cx:pt>
          <cx:pt idx="21435">4</cx:pt>
          <cx:pt idx="21436">2</cx:pt>
          <cx:pt idx="21437">2</cx:pt>
          <cx:pt idx="21438">4</cx:pt>
          <cx:pt idx="21439">2</cx:pt>
          <cx:pt idx="21440">5</cx:pt>
          <cx:pt idx="21441">4</cx:pt>
          <cx:pt idx="21442">4</cx:pt>
          <cx:pt idx="21443">1</cx:pt>
          <cx:pt idx="21444">4</cx:pt>
          <cx:pt idx="21445">3</cx:pt>
          <cx:pt idx="21446">2</cx:pt>
          <cx:pt idx="21447">4</cx:pt>
          <cx:pt idx="21448">3</cx:pt>
          <cx:pt idx="21449">4</cx:pt>
          <cx:pt idx="21450">2</cx:pt>
          <cx:pt idx="21451">1</cx:pt>
          <cx:pt idx="21452">1</cx:pt>
          <cx:pt idx="21453">4</cx:pt>
          <cx:pt idx="21454">3</cx:pt>
          <cx:pt idx="21455">4</cx:pt>
          <cx:pt idx="21456">2</cx:pt>
          <cx:pt idx="21457">3</cx:pt>
          <cx:pt idx="21458">3</cx:pt>
          <cx:pt idx="21459">2</cx:pt>
          <cx:pt idx="21460">4</cx:pt>
          <cx:pt idx="21461">5</cx:pt>
          <cx:pt idx="21462">3</cx:pt>
          <cx:pt idx="21463">3</cx:pt>
          <cx:pt idx="21464">0</cx:pt>
          <cx:pt idx="21465">1</cx:pt>
          <cx:pt idx="21466">5</cx:pt>
          <cx:pt idx="21467">1</cx:pt>
          <cx:pt idx="21468">2</cx:pt>
          <cx:pt idx="21469">1</cx:pt>
          <cx:pt idx="21470">4</cx:pt>
          <cx:pt idx="21471">3</cx:pt>
          <cx:pt idx="21472">4</cx:pt>
          <cx:pt idx="21473">3</cx:pt>
          <cx:pt idx="21474">2</cx:pt>
          <cx:pt idx="21475">4</cx:pt>
          <cx:pt idx="21476">5</cx:pt>
          <cx:pt idx="21477">0</cx:pt>
          <cx:pt idx="21478">2</cx:pt>
          <cx:pt idx="21479">5</cx:pt>
          <cx:pt idx="21480">1</cx:pt>
          <cx:pt idx="21481">5</cx:pt>
          <cx:pt idx="21482">2</cx:pt>
          <cx:pt idx="21483">1</cx:pt>
          <cx:pt idx="21484">0</cx:pt>
          <cx:pt idx="21485">2</cx:pt>
          <cx:pt idx="21486">3</cx:pt>
          <cx:pt idx="21487">5</cx:pt>
          <cx:pt idx="21488">3</cx:pt>
          <cx:pt idx="21489">4</cx:pt>
          <cx:pt idx="21490">3</cx:pt>
          <cx:pt idx="21491">3</cx:pt>
          <cx:pt idx="21492">3</cx:pt>
          <cx:pt idx="21493">4</cx:pt>
          <cx:pt idx="21494">3</cx:pt>
          <cx:pt idx="21495">4</cx:pt>
          <cx:pt idx="21496">4</cx:pt>
          <cx:pt idx="21497">4</cx:pt>
          <cx:pt idx="21498">3</cx:pt>
          <cx:pt idx="21499">2</cx:pt>
          <cx:pt idx="21500">1</cx:pt>
          <cx:pt idx="21501">3</cx:pt>
          <cx:pt idx="21502">2</cx:pt>
          <cx:pt idx="21503">4</cx:pt>
          <cx:pt idx="21504">3</cx:pt>
          <cx:pt idx="21505">1</cx:pt>
          <cx:pt idx="21506">2</cx:pt>
          <cx:pt idx="21507">4</cx:pt>
          <cx:pt idx="21508">1</cx:pt>
          <cx:pt idx="21509">3</cx:pt>
          <cx:pt idx="21510">1</cx:pt>
          <cx:pt idx="21511">2</cx:pt>
          <cx:pt idx="21512">3</cx:pt>
          <cx:pt idx="21513">3</cx:pt>
          <cx:pt idx="21514">4</cx:pt>
          <cx:pt idx="21515">1</cx:pt>
          <cx:pt idx="21516">4</cx:pt>
          <cx:pt idx="21517">4</cx:pt>
          <cx:pt idx="21518">2</cx:pt>
          <cx:pt idx="21519">5</cx:pt>
          <cx:pt idx="21520">3</cx:pt>
          <cx:pt idx="21521">2</cx:pt>
          <cx:pt idx="21522">2</cx:pt>
          <cx:pt idx="21523">2</cx:pt>
          <cx:pt idx="21524">4</cx:pt>
          <cx:pt idx="21525">2</cx:pt>
          <cx:pt idx="21526">5</cx:pt>
          <cx:pt idx="21527">3</cx:pt>
          <cx:pt idx="21528">1</cx:pt>
          <cx:pt idx="21529">3</cx:pt>
          <cx:pt idx="21530">1</cx:pt>
          <cx:pt idx="21531">1</cx:pt>
          <cx:pt idx="21532">4</cx:pt>
          <cx:pt idx="21533">3</cx:pt>
          <cx:pt idx="21534">2</cx:pt>
          <cx:pt idx="21535">2</cx:pt>
          <cx:pt idx="21536">2</cx:pt>
          <cx:pt idx="21537">2</cx:pt>
          <cx:pt idx="21538">1</cx:pt>
          <cx:pt idx="21539">3</cx:pt>
          <cx:pt idx="21540">3</cx:pt>
          <cx:pt idx="21541">5</cx:pt>
          <cx:pt idx="21542">3</cx:pt>
          <cx:pt idx="21543">5</cx:pt>
          <cx:pt idx="21544">2</cx:pt>
          <cx:pt idx="21545">2</cx:pt>
          <cx:pt idx="21546">1</cx:pt>
          <cx:pt idx="21547">3</cx:pt>
          <cx:pt idx="21548">1</cx:pt>
          <cx:pt idx="21549">3</cx:pt>
          <cx:pt idx="21550">5</cx:pt>
          <cx:pt idx="21551">4</cx:pt>
          <cx:pt idx="21552">4</cx:pt>
          <cx:pt idx="21553">4</cx:pt>
          <cx:pt idx="21554">3</cx:pt>
          <cx:pt idx="21555">5</cx:pt>
          <cx:pt idx="21556">4</cx:pt>
          <cx:pt idx="21557">3</cx:pt>
          <cx:pt idx="21558">4</cx:pt>
          <cx:pt idx="21559">3</cx:pt>
          <cx:pt idx="21560">4</cx:pt>
          <cx:pt idx="21561">1</cx:pt>
          <cx:pt idx="21562">3</cx:pt>
          <cx:pt idx="21563">3</cx:pt>
          <cx:pt idx="21564">3</cx:pt>
          <cx:pt idx="21565">1</cx:pt>
          <cx:pt idx="21566">3</cx:pt>
          <cx:pt idx="21567">5</cx:pt>
          <cx:pt idx="21568">0</cx:pt>
          <cx:pt idx="21569">3</cx:pt>
          <cx:pt idx="21570">1</cx:pt>
          <cx:pt idx="21571">1</cx:pt>
          <cx:pt idx="21572">2</cx:pt>
          <cx:pt idx="21573">2</cx:pt>
          <cx:pt idx="21574">4</cx:pt>
          <cx:pt idx="21575">3</cx:pt>
          <cx:pt idx="21576">0</cx:pt>
          <cx:pt idx="21577">1</cx:pt>
          <cx:pt idx="21578">1</cx:pt>
          <cx:pt idx="21579">4</cx:pt>
          <cx:pt idx="21580">2</cx:pt>
          <cx:pt idx="21581">3</cx:pt>
          <cx:pt idx="21582">1</cx:pt>
          <cx:pt idx="21583">3</cx:pt>
          <cx:pt idx="21584">4</cx:pt>
          <cx:pt idx="21585">4</cx:pt>
          <cx:pt idx="21586">2</cx:pt>
          <cx:pt idx="21587">5</cx:pt>
          <cx:pt idx="21588">4</cx:pt>
          <cx:pt idx="21589">4</cx:pt>
          <cx:pt idx="21590">0</cx:pt>
          <cx:pt idx="21591">3</cx:pt>
          <cx:pt idx="21592">1</cx:pt>
          <cx:pt idx="21593">1</cx:pt>
          <cx:pt idx="21594">5</cx:pt>
          <cx:pt idx="21595">4</cx:pt>
          <cx:pt idx="21596">1</cx:pt>
          <cx:pt idx="21597">2</cx:pt>
          <cx:pt idx="21598">1</cx:pt>
          <cx:pt idx="21599">4</cx:pt>
          <cx:pt idx="21600">4</cx:pt>
          <cx:pt idx="21601">2</cx:pt>
          <cx:pt idx="21602">2</cx:pt>
          <cx:pt idx="21603">3</cx:pt>
          <cx:pt idx="21604">1</cx:pt>
          <cx:pt idx="21605">3</cx:pt>
          <cx:pt idx="21606">4</cx:pt>
          <cx:pt idx="21607">3</cx:pt>
          <cx:pt idx="21608">2</cx:pt>
          <cx:pt idx="21609">2</cx:pt>
          <cx:pt idx="21610">4</cx:pt>
          <cx:pt idx="21611">1</cx:pt>
          <cx:pt idx="21612">5</cx:pt>
          <cx:pt idx="21613">2</cx:pt>
          <cx:pt idx="21614">3</cx:pt>
          <cx:pt idx="21615">5</cx:pt>
          <cx:pt idx="21616">1</cx:pt>
          <cx:pt idx="21617">2</cx:pt>
          <cx:pt idx="21618">4</cx:pt>
          <cx:pt idx="21619">5</cx:pt>
          <cx:pt idx="21620">2</cx:pt>
          <cx:pt idx="21621">2</cx:pt>
          <cx:pt idx="21622">5</cx:pt>
          <cx:pt idx="21623">1</cx:pt>
          <cx:pt idx="21624">2</cx:pt>
          <cx:pt idx="21625">3</cx:pt>
          <cx:pt idx="21626">1</cx:pt>
          <cx:pt idx="21627">1</cx:pt>
          <cx:pt idx="21628">2</cx:pt>
          <cx:pt idx="21629">2</cx:pt>
          <cx:pt idx="21630">3</cx:pt>
          <cx:pt idx="21631">3</cx:pt>
          <cx:pt idx="21632">2</cx:pt>
          <cx:pt idx="21633">3</cx:pt>
          <cx:pt idx="21634">5</cx:pt>
          <cx:pt idx="21635">2</cx:pt>
          <cx:pt idx="21636">4</cx:pt>
          <cx:pt idx="21637">4</cx:pt>
          <cx:pt idx="21638">3</cx:pt>
          <cx:pt idx="21639">2</cx:pt>
          <cx:pt idx="21640">5</cx:pt>
          <cx:pt idx="21641">3</cx:pt>
          <cx:pt idx="21642">1</cx:pt>
          <cx:pt idx="21643">1</cx:pt>
          <cx:pt idx="21644">2</cx:pt>
          <cx:pt idx="21645">4</cx:pt>
          <cx:pt idx="21646">5</cx:pt>
          <cx:pt idx="21647">1</cx:pt>
          <cx:pt idx="21648">2</cx:pt>
          <cx:pt idx="21649">2</cx:pt>
          <cx:pt idx="21650">3</cx:pt>
          <cx:pt idx="21651">5</cx:pt>
          <cx:pt idx="21652">5</cx:pt>
          <cx:pt idx="21653">1</cx:pt>
          <cx:pt idx="21654">1</cx:pt>
          <cx:pt idx="21655">1</cx:pt>
          <cx:pt idx="21656">2</cx:pt>
          <cx:pt idx="21657">5</cx:pt>
          <cx:pt idx="21658">1</cx:pt>
          <cx:pt idx="21659">4</cx:pt>
          <cx:pt idx="21660">4</cx:pt>
          <cx:pt idx="21661">3</cx:pt>
          <cx:pt idx="21662">3</cx:pt>
          <cx:pt idx="21663">4</cx:pt>
          <cx:pt idx="21664">4</cx:pt>
          <cx:pt idx="21665">2</cx:pt>
          <cx:pt idx="21666">5</cx:pt>
          <cx:pt idx="21667">2</cx:pt>
          <cx:pt idx="21668">1</cx:pt>
          <cx:pt idx="21669">3</cx:pt>
          <cx:pt idx="21670">1</cx:pt>
          <cx:pt idx="21671">3</cx:pt>
          <cx:pt idx="21672">2</cx:pt>
          <cx:pt idx="21673">4</cx:pt>
          <cx:pt idx="21674">3</cx:pt>
          <cx:pt idx="21675">4</cx:pt>
          <cx:pt idx="21676">3</cx:pt>
          <cx:pt idx="21677">5</cx:pt>
          <cx:pt idx="21678">2</cx:pt>
          <cx:pt idx="21679">4</cx:pt>
          <cx:pt idx="21680">2</cx:pt>
          <cx:pt idx="21681">1</cx:pt>
          <cx:pt idx="21682">5</cx:pt>
          <cx:pt idx="21683">2</cx:pt>
          <cx:pt idx="21684">4</cx:pt>
          <cx:pt idx="21685">1</cx:pt>
          <cx:pt idx="21686">4</cx:pt>
          <cx:pt idx="21687">0</cx:pt>
          <cx:pt idx="21688">4</cx:pt>
          <cx:pt idx="21689">4</cx:pt>
          <cx:pt idx="21690">2</cx:pt>
          <cx:pt idx="21691">2</cx:pt>
          <cx:pt idx="21692">4</cx:pt>
          <cx:pt idx="21693">2</cx:pt>
          <cx:pt idx="21694">4</cx:pt>
          <cx:pt idx="21695">3</cx:pt>
          <cx:pt idx="21696">4</cx:pt>
          <cx:pt idx="21697">2</cx:pt>
          <cx:pt idx="21698">5</cx:pt>
          <cx:pt idx="21699">2</cx:pt>
          <cx:pt idx="21700">4</cx:pt>
          <cx:pt idx="21701">1</cx:pt>
          <cx:pt idx="21702">3</cx:pt>
          <cx:pt idx="21703">5</cx:pt>
          <cx:pt idx="21704">1</cx:pt>
          <cx:pt idx="21705">3</cx:pt>
          <cx:pt idx="21706">4</cx:pt>
          <cx:pt idx="21707">1</cx:pt>
          <cx:pt idx="21708">3</cx:pt>
          <cx:pt idx="21709">5</cx:pt>
          <cx:pt idx="21710">1</cx:pt>
          <cx:pt idx="21711">4</cx:pt>
          <cx:pt idx="21712">1</cx:pt>
          <cx:pt idx="21713">2</cx:pt>
          <cx:pt idx="21714">2</cx:pt>
          <cx:pt idx="21715">1</cx:pt>
          <cx:pt idx="21716">2</cx:pt>
          <cx:pt idx="21717">5</cx:pt>
          <cx:pt idx="21718">3</cx:pt>
          <cx:pt idx="21719">3</cx:pt>
          <cx:pt idx="21720">1</cx:pt>
          <cx:pt idx="21721">3</cx:pt>
          <cx:pt idx="21722">0</cx:pt>
          <cx:pt idx="21723">2</cx:pt>
          <cx:pt idx="21724">2</cx:pt>
          <cx:pt idx="21725">2</cx:pt>
          <cx:pt idx="21726">4</cx:pt>
          <cx:pt idx="21727">3</cx:pt>
          <cx:pt idx="21728">1</cx:pt>
          <cx:pt idx="21729">2</cx:pt>
          <cx:pt idx="21730">3</cx:pt>
          <cx:pt idx="21731">3</cx:pt>
          <cx:pt idx="21732">3</cx:pt>
          <cx:pt idx="21733">3</cx:pt>
          <cx:pt idx="21734">2</cx:pt>
          <cx:pt idx="21735">2</cx:pt>
          <cx:pt idx="21736">2</cx:pt>
          <cx:pt idx="21737">3</cx:pt>
          <cx:pt idx="21738">1</cx:pt>
          <cx:pt idx="21739">2</cx:pt>
          <cx:pt idx="21740">0</cx:pt>
          <cx:pt idx="21741">2</cx:pt>
          <cx:pt idx="21742">4</cx:pt>
          <cx:pt idx="21743">3</cx:pt>
          <cx:pt idx="21744">3</cx:pt>
          <cx:pt idx="21745">0</cx:pt>
          <cx:pt idx="21746">1</cx:pt>
          <cx:pt idx="21747">4</cx:pt>
          <cx:pt idx="21748">3</cx:pt>
          <cx:pt idx="21749">2</cx:pt>
          <cx:pt idx="21750">2</cx:pt>
          <cx:pt idx="21751">2</cx:pt>
          <cx:pt idx="21752">5</cx:pt>
          <cx:pt idx="21753">5</cx:pt>
          <cx:pt idx="21754">5</cx:pt>
          <cx:pt idx="21755">5</cx:pt>
          <cx:pt idx="21756">5</cx:pt>
          <cx:pt idx="21757">2</cx:pt>
          <cx:pt idx="21758">1</cx:pt>
          <cx:pt idx="21759">5</cx:pt>
          <cx:pt idx="21760">3</cx:pt>
          <cx:pt idx="21761">2</cx:pt>
          <cx:pt idx="21762">2</cx:pt>
          <cx:pt idx="21763">2</cx:pt>
          <cx:pt idx="21764">4</cx:pt>
          <cx:pt idx="21765">4</cx:pt>
          <cx:pt idx="21766">5</cx:pt>
          <cx:pt idx="21767">2</cx:pt>
          <cx:pt idx="21768">1</cx:pt>
          <cx:pt idx="21769">3</cx:pt>
          <cx:pt idx="21770">2</cx:pt>
          <cx:pt idx="21771">2</cx:pt>
          <cx:pt idx="21772">1</cx:pt>
          <cx:pt idx="21773">4</cx:pt>
          <cx:pt idx="21774">5</cx:pt>
          <cx:pt idx="21775">1</cx:pt>
          <cx:pt idx="21776">4</cx:pt>
          <cx:pt idx="21777">1</cx:pt>
          <cx:pt idx="21778">0</cx:pt>
          <cx:pt idx="21779">4</cx:pt>
          <cx:pt idx="21780">4</cx:pt>
          <cx:pt idx="21781">3</cx:pt>
          <cx:pt idx="21782">2</cx:pt>
          <cx:pt idx="21783">3</cx:pt>
          <cx:pt idx="21784">4</cx:pt>
          <cx:pt idx="21785">5</cx:pt>
          <cx:pt idx="21786">5</cx:pt>
          <cx:pt idx="21787">4</cx:pt>
          <cx:pt idx="21788">1</cx:pt>
          <cx:pt idx="21789">2</cx:pt>
          <cx:pt idx="21790">3</cx:pt>
          <cx:pt idx="21791">2</cx:pt>
          <cx:pt idx="21792">5</cx:pt>
          <cx:pt idx="21793">4</cx:pt>
          <cx:pt idx="21794">2</cx:pt>
          <cx:pt idx="21795">1</cx:pt>
          <cx:pt idx="21796">1</cx:pt>
          <cx:pt idx="21797">4</cx:pt>
          <cx:pt idx="21798">4</cx:pt>
          <cx:pt idx="21799">2</cx:pt>
          <cx:pt idx="21800">1</cx:pt>
          <cx:pt idx="21801">3</cx:pt>
          <cx:pt idx="21802">4</cx:pt>
          <cx:pt idx="21803">2</cx:pt>
          <cx:pt idx="21804">2</cx:pt>
          <cx:pt idx="21805">2</cx:pt>
          <cx:pt idx="21806">5</cx:pt>
          <cx:pt idx="21807">2</cx:pt>
          <cx:pt idx="21808">1</cx:pt>
          <cx:pt idx="21809">3</cx:pt>
          <cx:pt idx="21810">5</cx:pt>
          <cx:pt idx="21811">1</cx:pt>
          <cx:pt idx="21812">3</cx:pt>
          <cx:pt idx="21813">4</cx:pt>
          <cx:pt idx="21814">5</cx:pt>
          <cx:pt idx="21815">3</cx:pt>
          <cx:pt idx="21816">0</cx:pt>
          <cx:pt idx="21817">4</cx:pt>
          <cx:pt idx="21818">4</cx:pt>
          <cx:pt idx="21819">2</cx:pt>
          <cx:pt idx="21820">2</cx:pt>
          <cx:pt idx="21821">2</cx:pt>
          <cx:pt idx="21822">5</cx:pt>
          <cx:pt idx="21823">5</cx:pt>
          <cx:pt idx="21824">5</cx:pt>
          <cx:pt idx="21825">3</cx:pt>
          <cx:pt idx="21826">4</cx:pt>
          <cx:pt idx="21827">1</cx:pt>
          <cx:pt idx="21828">1</cx:pt>
          <cx:pt idx="21829">3</cx:pt>
          <cx:pt idx="21830">4</cx:pt>
          <cx:pt idx="21831">3</cx:pt>
          <cx:pt idx="21832">2</cx:pt>
          <cx:pt idx="21833">3</cx:pt>
          <cx:pt idx="21834">5</cx:pt>
          <cx:pt idx="21835">1</cx:pt>
          <cx:pt idx="21836">4</cx:pt>
          <cx:pt idx="21837">4</cx:pt>
          <cx:pt idx="21838">3</cx:pt>
          <cx:pt idx="21839">3</cx:pt>
          <cx:pt idx="21840">2</cx:pt>
          <cx:pt idx="21841">5</cx:pt>
          <cx:pt idx="21842">3</cx:pt>
          <cx:pt idx="21843">5</cx:pt>
          <cx:pt idx="21844">3</cx:pt>
          <cx:pt idx="21845">5</cx:pt>
          <cx:pt idx="21846">1</cx:pt>
          <cx:pt idx="21847">1</cx:pt>
          <cx:pt idx="21848">1</cx:pt>
          <cx:pt idx="21849">1</cx:pt>
          <cx:pt idx="21850">0</cx:pt>
          <cx:pt idx="21851">5</cx:pt>
          <cx:pt idx="21852">4</cx:pt>
          <cx:pt idx="21853">0</cx:pt>
          <cx:pt idx="21854">2</cx:pt>
          <cx:pt idx="21855">5</cx:pt>
          <cx:pt idx="21856">3</cx:pt>
          <cx:pt idx="21857">2</cx:pt>
          <cx:pt idx="21858">5</cx:pt>
          <cx:pt idx="21859">0</cx:pt>
          <cx:pt idx="21860">4</cx:pt>
          <cx:pt idx="21861">4</cx:pt>
          <cx:pt idx="21862">2</cx:pt>
          <cx:pt idx="21863">2</cx:pt>
          <cx:pt idx="21864">4</cx:pt>
          <cx:pt idx="21865">4</cx:pt>
          <cx:pt idx="21866">2</cx:pt>
          <cx:pt idx="21867">3</cx:pt>
          <cx:pt idx="21868">5</cx:pt>
          <cx:pt idx="21869">2</cx:pt>
          <cx:pt idx="21870">2</cx:pt>
          <cx:pt idx="21871">2</cx:pt>
          <cx:pt idx="21872">2</cx:pt>
          <cx:pt idx="21873">4</cx:pt>
          <cx:pt idx="21874">2</cx:pt>
          <cx:pt idx="21875">2</cx:pt>
          <cx:pt idx="21876">4</cx:pt>
          <cx:pt idx="21877">3</cx:pt>
          <cx:pt idx="21878">4</cx:pt>
          <cx:pt idx="21879">3</cx:pt>
          <cx:pt idx="21880">5</cx:pt>
          <cx:pt idx="21881">1</cx:pt>
          <cx:pt idx="21882">1</cx:pt>
          <cx:pt idx="21883">2</cx:pt>
          <cx:pt idx="21884">4</cx:pt>
          <cx:pt idx="21885">1</cx:pt>
          <cx:pt idx="21886">3</cx:pt>
          <cx:pt idx="21887">4</cx:pt>
          <cx:pt idx="21888">5</cx:pt>
          <cx:pt idx="21889">3</cx:pt>
          <cx:pt idx="21890">5</cx:pt>
          <cx:pt idx="21891">3</cx:pt>
          <cx:pt idx="21892">0</cx:pt>
          <cx:pt idx="21893">4</cx:pt>
          <cx:pt idx="21894">3</cx:pt>
          <cx:pt idx="21895">4</cx:pt>
          <cx:pt idx="21896">3</cx:pt>
          <cx:pt idx="21897">3</cx:pt>
          <cx:pt idx="21898">2</cx:pt>
          <cx:pt idx="21899">3</cx:pt>
          <cx:pt idx="21900">3</cx:pt>
          <cx:pt idx="21901">1</cx:pt>
          <cx:pt idx="21902">4</cx:pt>
          <cx:pt idx="21903">1</cx:pt>
          <cx:pt idx="21904">1</cx:pt>
          <cx:pt idx="21905">2</cx:pt>
          <cx:pt idx="21906">4</cx:pt>
          <cx:pt idx="21907">5</cx:pt>
          <cx:pt idx="21908">2</cx:pt>
          <cx:pt idx="21909">1</cx:pt>
          <cx:pt idx="21910">2</cx:pt>
          <cx:pt idx="21911">4</cx:pt>
          <cx:pt idx="21912">2</cx:pt>
          <cx:pt idx="21913">3</cx:pt>
          <cx:pt idx="21914">4</cx:pt>
          <cx:pt idx="21915">2</cx:pt>
          <cx:pt idx="21916">1</cx:pt>
          <cx:pt idx="21917">2</cx:pt>
          <cx:pt idx="21918">4</cx:pt>
          <cx:pt idx="21919">3</cx:pt>
          <cx:pt idx="21920">1</cx:pt>
          <cx:pt idx="21921">4</cx:pt>
          <cx:pt idx="21922">3</cx:pt>
          <cx:pt idx="21923">4</cx:pt>
          <cx:pt idx="21924">4</cx:pt>
          <cx:pt idx="21925">3</cx:pt>
          <cx:pt idx="21926">5</cx:pt>
          <cx:pt idx="21927">0</cx:pt>
          <cx:pt idx="21928">3</cx:pt>
          <cx:pt idx="21929">2</cx:pt>
          <cx:pt idx="21930">3</cx:pt>
          <cx:pt idx="21931">4</cx:pt>
          <cx:pt idx="21932">3</cx:pt>
          <cx:pt idx="21933">2</cx:pt>
          <cx:pt idx="21934">0</cx:pt>
          <cx:pt idx="21935">2</cx:pt>
          <cx:pt idx="21936">2</cx:pt>
          <cx:pt idx="21937">2</cx:pt>
          <cx:pt idx="21938">5</cx:pt>
          <cx:pt idx="21939">4</cx:pt>
          <cx:pt idx="21940">5</cx:pt>
          <cx:pt idx="21941">1</cx:pt>
          <cx:pt idx="21942">0</cx:pt>
          <cx:pt idx="21943">2</cx:pt>
          <cx:pt idx="21944">1</cx:pt>
          <cx:pt idx="21945">4</cx:pt>
          <cx:pt idx="21946">1</cx:pt>
          <cx:pt idx="21947">5</cx:pt>
          <cx:pt idx="21948">4</cx:pt>
          <cx:pt idx="21949">4</cx:pt>
          <cx:pt idx="21950">4</cx:pt>
          <cx:pt idx="21951">2</cx:pt>
          <cx:pt idx="21952">1</cx:pt>
          <cx:pt idx="21953">1</cx:pt>
          <cx:pt idx="21954">3</cx:pt>
          <cx:pt idx="21955">4</cx:pt>
          <cx:pt idx="21956">2</cx:pt>
          <cx:pt idx="21957">2</cx:pt>
          <cx:pt idx="21958">4</cx:pt>
          <cx:pt idx="21959">2</cx:pt>
          <cx:pt idx="21960">5</cx:pt>
          <cx:pt idx="21961">4</cx:pt>
          <cx:pt idx="21962">5</cx:pt>
          <cx:pt idx="21963">4</cx:pt>
          <cx:pt idx="21964">1</cx:pt>
          <cx:pt idx="21965">2</cx:pt>
          <cx:pt idx="21966">5</cx:pt>
          <cx:pt idx="21967">3</cx:pt>
          <cx:pt idx="21968">1</cx:pt>
          <cx:pt idx="21969">5</cx:pt>
          <cx:pt idx="21970">3</cx:pt>
          <cx:pt idx="21971">3</cx:pt>
          <cx:pt idx="21972">0</cx:pt>
          <cx:pt idx="21973">3</cx:pt>
          <cx:pt idx="21974">1</cx:pt>
          <cx:pt idx="21975">4</cx:pt>
          <cx:pt idx="21976">5</cx:pt>
          <cx:pt idx="21977">1</cx:pt>
          <cx:pt idx="21978">5</cx:pt>
          <cx:pt idx="21979">2</cx:pt>
          <cx:pt idx="21980">2</cx:pt>
          <cx:pt idx="21981">2</cx:pt>
          <cx:pt idx="21982">3</cx:pt>
          <cx:pt idx="21983">2</cx:pt>
          <cx:pt idx="21984">3</cx:pt>
          <cx:pt idx="21985">1</cx:pt>
          <cx:pt idx="21986">5</cx:pt>
          <cx:pt idx="21987">4</cx:pt>
          <cx:pt idx="21988">3</cx:pt>
          <cx:pt idx="21989">1</cx:pt>
          <cx:pt idx="21990">3</cx:pt>
          <cx:pt idx="21991">4</cx:pt>
          <cx:pt idx="21992">2</cx:pt>
          <cx:pt idx="21993">3</cx:pt>
          <cx:pt idx="21994">4</cx:pt>
          <cx:pt idx="21995">2</cx:pt>
          <cx:pt idx="21996">4</cx:pt>
          <cx:pt idx="21997">3</cx:pt>
          <cx:pt idx="21998">3</cx:pt>
          <cx:pt idx="21999">2</cx:pt>
          <cx:pt idx="22000">3</cx:pt>
          <cx:pt idx="22001">2</cx:pt>
          <cx:pt idx="22002">4</cx:pt>
          <cx:pt idx="22003">1</cx:pt>
          <cx:pt idx="22004">4</cx:pt>
          <cx:pt idx="22005">2</cx:pt>
          <cx:pt idx="22006">3</cx:pt>
          <cx:pt idx="22007">4</cx:pt>
          <cx:pt idx="22008">5</cx:pt>
          <cx:pt idx="22009">2</cx:pt>
          <cx:pt idx="22010">2</cx:pt>
          <cx:pt idx="22011">1</cx:pt>
          <cx:pt idx="22012">1</cx:pt>
          <cx:pt idx="22013">3</cx:pt>
          <cx:pt idx="22014">3</cx:pt>
          <cx:pt idx="22015">3</cx:pt>
          <cx:pt idx="22016">3</cx:pt>
          <cx:pt idx="22017">4</cx:pt>
          <cx:pt idx="22018">3</cx:pt>
          <cx:pt idx="22019">1</cx:pt>
          <cx:pt idx="22020">4</cx:pt>
          <cx:pt idx="22021">4</cx:pt>
          <cx:pt idx="22022">3</cx:pt>
          <cx:pt idx="22023">1</cx:pt>
          <cx:pt idx="22024">1</cx:pt>
          <cx:pt idx="22025">3</cx:pt>
          <cx:pt idx="22026">4</cx:pt>
          <cx:pt idx="22027">3</cx:pt>
          <cx:pt idx="22028">2</cx:pt>
          <cx:pt idx="22029">3</cx:pt>
          <cx:pt idx="22030">2</cx:pt>
          <cx:pt idx="22031">0</cx:pt>
          <cx:pt idx="22032">5</cx:pt>
          <cx:pt idx="22033">4</cx:pt>
          <cx:pt idx="22034">3</cx:pt>
          <cx:pt idx="22035">4</cx:pt>
          <cx:pt idx="22036">1</cx:pt>
          <cx:pt idx="22037">2</cx:pt>
          <cx:pt idx="22038">3</cx:pt>
          <cx:pt idx="22039">3</cx:pt>
          <cx:pt idx="22040">5</cx:pt>
          <cx:pt idx="22041">4</cx:pt>
          <cx:pt idx="22042">2</cx:pt>
          <cx:pt idx="22043">3</cx:pt>
          <cx:pt idx="22044">2</cx:pt>
          <cx:pt idx="22045">2</cx:pt>
          <cx:pt idx="22046">2</cx:pt>
          <cx:pt idx="22047">4</cx:pt>
          <cx:pt idx="22048">2</cx:pt>
          <cx:pt idx="22049">4</cx:pt>
          <cx:pt idx="22050">3</cx:pt>
          <cx:pt idx="22051">5</cx:pt>
          <cx:pt idx="22052">4</cx:pt>
          <cx:pt idx="22053">5</cx:pt>
          <cx:pt idx="22054">1</cx:pt>
          <cx:pt idx="22055">2</cx:pt>
          <cx:pt idx="22056">1</cx:pt>
          <cx:pt idx="22057">4</cx:pt>
          <cx:pt idx="22058">3</cx:pt>
          <cx:pt idx="22059">1</cx:pt>
          <cx:pt idx="22060">4</cx:pt>
          <cx:pt idx="22061">2</cx:pt>
          <cx:pt idx="22062">2</cx:pt>
          <cx:pt idx="22063">1</cx:pt>
          <cx:pt idx="22064">5</cx:pt>
          <cx:pt idx="22065">5</cx:pt>
          <cx:pt idx="22066">3</cx:pt>
          <cx:pt idx="22067">2</cx:pt>
          <cx:pt idx="22068">2</cx:pt>
          <cx:pt idx="22069">4</cx:pt>
          <cx:pt idx="22070">2</cx:pt>
          <cx:pt idx="22071">2</cx:pt>
          <cx:pt idx="22072">2</cx:pt>
          <cx:pt idx="22073">1</cx:pt>
          <cx:pt idx="22074">0</cx:pt>
          <cx:pt idx="22075">3</cx:pt>
          <cx:pt idx="22076">1</cx:pt>
          <cx:pt idx="22077">5</cx:pt>
          <cx:pt idx="22078">3</cx:pt>
          <cx:pt idx="22079">2</cx:pt>
          <cx:pt idx="22080">2</cx:pt>
          <cx:pt idx="22081">5</cx:pt>
          <cx:pt idx="22082">5</cx:pt>
          <cx:pt idx="22083">1</cx:pt>
          <cx:pt idx="22084">4</cx:pt>
          <cx:pt idx="22085">0</cx:pt>
          <cx:pt idx="22086">3</cx:pt>
          <cx:pt idx="22087">1</cx:pt>
          <cx:pt idx="22088">4</cx:pt>
          <cx:pt idx="22089">5</cx:pt>
          <cx:pt idx="22090">5</cx:pt>
          <cx:pt idx="22091">5</cx:pt>
          <cx:pt idx="22092">1</cx:pt>
          <cx:pt idx="22093">3</cx:pt>
          <cx:pt idx="22094">5</cx:pt>
          <cx:pt idx="22095">3</cx:pt>
          <cx:pt idx="22096">3</cx:pt>
          <cx:pt idx="22097">4</cx:pt>
          <cx:pt idx="22098">1</cx:pt>
          <cx:pt idx="22099">2</cx:pt>
          <cx:pt idx="22100">2</cx:pt>
          <cx:pt idx="22101">5</cx:pt>
          <cx:pt idx="22102">1</cx:pt>
          <cx:pt idx="22103">2</cx:pt>
          <cx:pt idx="22104">5</cx:pt>
          <cx:pt idx="22105">2</cx:pt>
          <cx:pt idx="22106">2</cx:pt>
          <cx:pt idx="22107">4</cx:pt>
          <cx:pt idx="22108">4</cx:pt>
          <cx:pt idx="22109">0</cx:pt>
          <cx:pt idx="22110">4</cx:pt>
          <cx:pt idx="22111">3</cx:pt>
          <cx:pt idx="22112">2</cx:pt>
          <cx:pt idx="22113">2</cx:pt>
          <cx:pt idx="22114">3</cx:pt>
          <cx:pt idx="22115">4</cx:pt>
          <cx:pt idx="22116">2</cx:pt>
          <cx:pt idx="22117">4</cx:pt>
          <cx:pt idx="22118">3</cx:pt>
          <cx:pt idx="22119">1</cx:pt>
          <cx:pt idx="22120">1</cx:pt>
          <cx:pt idx="22121">4</cx:pt>
          <cx:pt idx="22122">5</cx:pt>
          <cx:pt idx="22123">5</cx:pt>
          <cx:pt idx="22124">0</cx:pt>
          <cx:pt idx="22125">3</cx:pt>
          <cx:pt idx="22126">5</cx:pt>
          <cx:pt idx="22127">1</cx:pt>
          <cx:pt idx="22128">1</cx:pt>
          <cx:pt idx="22129">4</cx:pt>
          <cx:pt idx="22130">1</cx:pt>
          <cx:pt idx="22131">3</cx:pt>
          <cx:pt idx="22132">1</cx:pt>
          <cx:pt idx="22133">4</cx:pt>
          <cx:pt idx="22134">3</cx:pt>
          <cx:pt idx="22135">4</cx:pt>
          <cx:pt idx="22136">1</cx:pt>
          <cx:pt idx="22137">1</cx:pt>
          <cx:pt idx="22138">1</cx:pt>
          <cx:pt idx="22139">4</cx:pt>
          <cx:pt idx="22140">3</cx:pt>
          <cx:pt idx="22141">4</cx:pt>
          <cx:pt idx="22142">0</cx:pt>
          <cx:pt idx="22143">4</cx:pt>
          <cx:pt idx="22144">1</cx:pt>
          <cx:pt idx="22145">4</cx:pt>
          <cx:pt idx="22146">3</cx:pt>
          <cx:pt idx="22147">2</cx:pt>
          <cx:pt idx="22148">2</cx:pt>
          <cx:pt idx="22149">1</cx:pt>
          <cx:pt idx="22150">2</cx:pt>
          <cx:pt idx="22151">3</cx:pt>
          <cx:pt idx="22152">5</cx:pt>
          <cx:pt idx="22153">1</cx:pt>
          <cx:pt idx="22154">1</cx:pt>
          <cx:pt idx="22155">2</cx:pt>
          <cx:pt idx="22156">1</cx:pt>
          <cx:pt idx="22157">3</cx:pt>
          <cx:pt idx="22158">2</cx:pt>
          <cx:pt idx="22159">3</cx:pt>
          <cx:pt idx="22160">4</cx:pt>
          <cx:pt idx="22161">4</cx:pt>
          <cx:pt idx="22162">5</cx:pt>
          <cx:pt idx="22163">5</cx:pt>
          <cx:pt idx="22164">4</cx:pt>
          <cx:pt idx="22165">3</cx:pt>
          <cx:pt idx="22166">4</cx:pt>
          <cx:pt idx="22167">2</cx:pt>
          <cx:pt idx="22168">4</cx:pt>
          <cx:pt idx="22169">2</cx:pt>
          <cx:pt idx="22170">5</cx:pt>
          <cx:pt idx="22171">2</cx:pt>
          <cx:pt idx="22172">2</cx:pt>
          <cx:pt idx="22173">1</cx:pt>
          <cx:pt idx="22174">4</cx:pt>
          <cx:pt idx="22175">5</cx:pt>
          <cx:pt idx="22176">5</cx:pt>
          <cx:pt idx="22177">5</cx:pt>
          <cx:pt idx="22178">0</cx:pt>
          <cx:pt idx="22179">3</cx:pt>
          <cx:pt idx="22180">2</cx:pt>
          <cx:pt idx="22181">1</cx:pt>
          <cx:pt idx="22182">1</cx:pt>
          <cx:pt idx="22183">0</cx:pt>
          <cx:pt idx="22184">3</cx:pt>
          <cx:pt idx="22185">3</cx:pt>
          <cx:pt idx="22186">2</cx:pt>
          <cx:pt idx="22187">2</cx:pt>
          <cx:pt idx="22188">5</cx:pt>
          <cx:pt idx="22189">2</cx:pt>
          <cx:pt idx="22190">4</cx:pt>
          <cx:pt idx="22191">4</cx:pt>
          <cx:pt idx="22192">1</cx:pt>
          <cx:pt idx="22193">2</cx:pt>
          <cx:pt idx="22194">4</cx:pt>
          <cx:pt idx="22195">4</cx:pt>
          <cx:pt idx="22196">5</cx:pt>
          <cx:pt idx="22197">2</cx:pt>
          <cx:pt idx="22198">1</cx:pt>
          <cx:pt idx="22199">2</cx:pt>
          <cx:pt idx="22200">5</cx:pt>
          <cx:pt idx="22201">5</cx:pt>
          <cx:pt idx="22202">5</cx:pt>
          <cx:pt idx="22203">1</cx:pt>
          <cx:pt idx="22204">5</cx:pt>
          <cx:pt idx="22205">5</cx:pt>
          <cx:pt idx="22206">2</cx:pt>
          <cx:pt idx="22207">4</cx:pt>
          <cx:pt idx="22208">5</cx:pt>
          <cx:pt idx="22209">2</cx:pt>
          <cx:pt idx="22210">3</cx:pt>
          <cx:pt idx="22211">0</cx:pt>
          <cx:pt idx="22212">5</cx:pt>
          <cx:pt idx="22213">5</cx:pt>
          <cx:pt idx="22214">3</cx:pt>
          <cx:pt idx="22215">2</cx:pt>
          <cx:pt idx="22216">4</cx:pt>
          <cx:pt idx="22217">3</cx:pt>
          <cx:pt idx="22218">2</cx:pt>
          <cx:pt idx="22219">4</cx:pt>
          <cx:pt idx="22220">3</cx:pt>
          <cx:pt idx="22221">4</cx:pt>
          <cx:pt idx="22222">5</cx:pt>
          <cx:pt idx="22223">3</cx:pt>
          <cx:pt idx="22224">0</cx:pt>
          <cx:pt idx="22225">1</cx:pt>
          <cx:pt idx="22226">3</cx:pt>
          <cx:pt idx="22227">4</cx:pt>
          <cx:pt idx="22228">1</cx:pt>
          <cx:pt idx="22229">3</cx:pt>
          <cx:pt idx="22230">2</cx:pt>
          <cx:pt idx="22231">2</cx:pt>
          <cx:pt idx="22232">1</cx:pt>
          <cx:pt idx="22233">1</cx:pt>
          <cx:pt idx="22234">5</cx:pt>
          <cx:pt idx="22235">5</cx:pt>
          <cx:pt idx="22236">2</cx:pt>
          <cx:pt idx="22237">3</cx:pt>
          <cx:pt idx="22238">2</cx:pt>
          <cx:pt idx="22239">4</cx:pt>
          <cx:pt idx="22240">3</cx:pt>
          <cx:pt idx="22241">5</cx:pt>
          <cx:pt idx="22242">3</cx:pt>
          <cx:pt idx="22243">4</cx:pt>
          <cx:pt idx="22244">3</cx:pt>
          <cx:pt idx="22245">0</cx:pt>
          <cx:pt idx="22246">1</cx:pt>
          <cx:pt idx="22247">2</cx:pt>
          <cx:pt idx="22248">3</cx:pt>
          <cx:pt idx="22249">2</cx:pt>
          <cx:pt idx="22250">2</cx:pt>
          <cx:pt idx="22251">5</cx:pt>
          <cx:pt idx="22252">1</cx:pt>
          <cx:pt idx="22253">1</cx:pt>
          <cx:pt idx="22254">1</cx:pt>
          <cx:pt idx="22255">1</cx:pt>
          <cx:pt idx="22256">2</cx:pt>
          <cx:pt idx="22257">2</cx:pt>
          <cx:pt idx="22258">1</cx:pt>
          <cx:pt idx="22259">2</cx:pt>
          <cx:pt idx="22260">3</cx:pt>
          <cx:pt idx="22261">1</cx:pt>
          <cx:pt idx="22262">5</cx:pt>
          <cx:pt idx="22263">5</cx:pt>
          <cx:pt idx="22264">3</cx:pt>
          <cx:pt idx="22265">4</cx:pt>
          <cx:pt idx="22266">3</cx:pt>
          <cx:pt idx="22267">3</cx:pt>
          <cx:pt idx="22268">3</cx:pt>
          <cx:pt idx="22269">1</cx:pt>
          <cx:pt idx="22270">3</cx:pt>
          <cx:pt idx="22271">3</cx:pt>
          <cx:pt idx="22272">2</cx:pt>
          <cx:pt idx="22273">1</cx:pt>
          <cx:pt idx="22274">1</cx:pt>
          <cx:pt idx="22275">1</cx:pt>
          <cx:pt idx="22276">1</cx:pt>
          <cx:pt idx="22277">2</cx:pt>
          <cx:pt idx="22278">4</cx:pt>
          <cx:pt idx="22279">4</cx:pt>
          <cx:pt idx="22280">2</cx:pt>
          <cx:pt idx="22281">4</cx:pt>
          <cx:pt idx="22282">1</cx:pt>
          <cx:pt idx="22283">5</cx:pt>
          <cx:pt idx="22284">0</cx:pt>
          <cx:pt idx="22285">2</cx:pt>
          <cx:pt idx="22286">3</cx:pt>
          <cx:pt idx="22287">1</cx:pt>
          <cx:pt idx="22288">4</cx:pt>
          <cx:pt idx="22289">1</cx:pt>
          <cx:pt idx="22290">3</cx:pt>
          <cx:pt idx="22291">4</cx:pt>
          <cx:pt idx="22292">4</cx:pt>
          <cx:pt idx="22293">3</cx:pt>
          <cx:pt idx="22294">3</cx:pt>
          <cx:pt idx="22295">3</cx:pt>
          <cx:pt idx="22296">2</cx:pt>
          <cx:pt idx="22297">3</cx:pt>
          <cx:pt idx="22298">3</cx:pt>
          <cx:pt idx="22299">0</cx:pt>
          <cx:pt idx="22300">2</cx:pt>
          <cx:pt idx="22301">3</cx:pt>
          <cx:pt idx="22302">3</cx:pt>
          <cx:pt idx="22303">1</cx:pt>
          <cx:pt idx="22304">0</cx:pt>
          <cx:pt idx="22305">4</cx:pt>
          <cx:pt idx="22306">5</cx:pt>
          <cx:pt idx="22307">5</cx:pt>
          <cx:pt idx="22308">5</cx:pt>
          <cx:pt idx="22309">3</cx:pt>
          <cx:pt idx="22310">3</cx:pt>
          <cx:pt idx="22311">4</cx:pt>
          <cx:pt idx="22312">2</cx:pt>
          <cx:pt idx="22313">5</cx:pt>
          <cx:pt idx="22314">3</cx:pt>
          <cx:pt idx="22315">5</cx:pt>
          <cx:pt idx="22316">2</cx:pt>
          <cx:pt idx="22317">4</cx:pt>
          <cx:pt idx="22318">3</cx:pt>
          <cx:pt idx="22319">2</cx:pt>
          <cx:pt idx="22320">4</cx:pt>
          <cx:pt idx="22321">3</cx:pt>
          <cx:pt idx="22322">4</cx:pt>
          <cx:pt idx="22323">0</cx:pt>
          <cx:pt idx="22324">5</cx:pt>
          <cx:pt idx="22325">4</cx:pt>
          <cx:pt idx="22326">4</cx:pt>
          <cx:pt idx="22327">4</cx:pt>
          <cx:pt idx="22328">4</cx:pt>
          <cx:pt idx="22329">1</cx:pt>
          <cx:pt idx="22330">2</cx:pt>
          <cx:pt idx="22331">4</cx:pt>
          <cx:pt idx="22332">2</cx:pt>
          <cx:pt idx="22333">1</cx:pt>
          <cx:pt idx="22334">0</cx:pt>
          <cx:pt idx="22335">4</cx:pt>
          <cx:pt idx="22336">3</cx:pt>
          <cx:pt idx="22337">4</cx:pt>
          <cx:pt idx="22338">4</cx:pt>
          <cx:pt idx="22339">3</cx:pt>
          <cx:pt idx="22340">3</cx:pt>
          <cx:pt idx="22341">3</cx:pt>
          <cx:pt idx="22342">0</cx:pt>
          <cx:pt idx="22343">5</cx:pt>
          <cx:pt idx="22344">4</cx:pt>
          <cx:pt idx="22345">4</cx:pt>
          <cx:pt idx="22346">3</cx:pt>
          <cx:pt idx="22347">2</cx:pt>
          <cx:pt idx="22348">2</cx:pt>
          <cx:pt idx="22349">2</cx:pt>
          <cx:pt idx="22350">2</cx:pt>
          <cx:pt idx="22351">4</cx:pt>
          <cx:pt idx="22352">3</cx:pt>
          <cx:pt idx="22353">2</cx:pt>
          <cx:pt idx="22354">4</cx:pt>
          <cx:pt idx="22355">1</cx:pt>
          <cx:pt idx="22356">3</cx:pt>
          <cx:pt idx="22357">1</cx:pt>
          <cx:pt idx="22358">1</cx:pt>
          <cx:pt idx="22359">4</cx:pt>
          <cx:pt idx="22360">1</cx:pt>
          <cx:pt idx="22361">3</cx:pt>
          <cx:pt idx="22362">4</cx:pt>
          <cx:pt idx="22363">4</cx:pt>
          <cx:pt idx="22364">1</cx:pt>
          <cx:pt idx="22365">1</cx:pt>
          <cx:pt idx="22366">1</cx:pt>
          <cx:pt idx="22367">0</cx:pt>
          <cx:pt idx="22368">4</cx:pt>
          <cx:pt idx="22369">2</cx:pt>
          <cx:pt idx="22370">0</cx:pt>
          <cx:pt idx="22371">3</cx:pt>
          <cx:pt idx="22372">3</cx:pt>
          <cx:pt idx="22373">4</cx:pt>
          <cx:pt idx="22374">5</cx:pt>
          <cx:pt idx="22375">1</cx:pt>
          <cx:pt idx="22376">2</cx:pt>
          <cx:pt idx="22377">1</cx:pt>
          <cx:pt idx="22378">2</cx:pt>
          <cx:pt idx="22379">4</cx:pt>
          <cx:pt idx="22380">2</cx:pt>
          <cx:pt idx="22381">3</cx:pt>
          <cx:pt idx="22382">2</cx:pt>
          <cx:pt idx="22383">4</cx:pt>
          <cx:pt idx="22384">3</cx:pt>
          <cx:pt idx="22385">4</cx:pt>
          <cx:pt idx="22386">5</cx:pt>
          <cx:pt idx="22387">3</cx:pt>
          <cx:pt idx="22388">2</cx:pt>
          <cx:pt idx="22389">3</cx:pt>
          <cx:pt idx="22390">0</cx:pt>
          <cx:pt idx="22391">2</cx:pt>
          <cx:pt idx="22392">4</cx:pt>
          <cx:pt idx="22393">1</cx:pt>
          <cx:pt idx="22394">3</cx:pt>
          <cx:pt idx="22395">4</cx:pt>
          <cx:pt idx="22396">1</cx:pt>
          <cx:pt idx="22397">2</cx:pt>
          <cx:pt idx="22398">1</cx:pt>
          <cx:pt idx="22399">4</cx:pt>
          <cx:pt idx="22400">3</cx:pt>
          <cx:pt idx="22401">2</cx:pt>
          <cx:pt idx="22402">1</cx:pt>
          <cx:pt idx="22403">4</cx:pt>
          <cx:pt idx="22404">5</cx:pt>
          <cx:pt idx="22405">4</cx:pt>
          <cx:pt idx="22406">2</cx:pt>
          <cx:pt idx="22407">2</cx:pt>
          <cx:pt idx="22408">0</cx:pt>
          <cx:pt idx="22409">3</cx:pt>
          <cx:pt idx="22410">3</cx:pt>
          <cx:pt idx="22411">4</cx:pt>
          <cx:pt idx="22412">3</cx:pt>
          <cx:pt idx="22413">4</cx:pt>
          <cx:pt idx="22414">4</cx:pt>
          <cx:pt idx="22415">3</cx:pt>
          <cx:pt idx="22416">4</cx:pt>
          <cx:pt idx="22417">2</cx:pt>
          <cx:pt idx="22418">2</cx:pt>
          <cx:pt idx="22419">2</cx:pt>
          <cx:pt idx="22420">5</cx:pt>
          <cx:pt idx="22421">1</cx:pt>
          <cx:pt idx="22422">5</cx:pt>
          <cx:pt idx="22423">4</cx:pt>
          <cx:pt idx="22424">5</cx:pt>
          <cx:pt idx="22425">0</cx:pt>
          <cx:pt idx="22426">2</cx:pt>
          <cx:pt idx="22427">2</cx:pt>
          <cx:pt idx="22428">2</cx:pt>
          <cx:pt idx="22429">2</cx:pt>
          <cx:pt idx="22430">1</cx:pt>
          <cx:pt idx="22431">2</cx:pt>
          <cx:pt idx="22432">2</cx:pt>
          <cx:pt idx="22433">1</cx:pt>
          <cx:pt idx="22434">4</cx:pt>
          <cx:pt idx="22435">3</cx:pt>
          <cx:pt idx="22436">2</cx:pt>
          <cx:pt idx="22437">4</cx:pt>
          <cx:pt idx="22438">1</cx:pt>
          <cx:pt idx="22439">2</cx:pt>
          <cx:pt idx="22440">5</cx:pt>
          <cx:pt idx="22441">1</cx:pt>
          <cx:pt idx="22442">5</cx:pt>
          <cx:pt idx="22443">4</cx:pt>
          <cx:pt idx="22444">2</cx:pt>
          <cx:pt idx="22445">5</cx:pt>
          <cx:pt idx="22446">3</cx:pt>
          <cx:pt idx="22447">3</cx:pt>
          <cx:pt idx="22448">3</cx:pt>
          <cx:pt idx="22449">3</cx:pt>
          <cx:pt idx="22450">4</cx:pt>
          <cx:pt idx="22451">3</cx:pt>
          <cx:pt idx="22452">4</cx:pt>
          <cx:pt idx="22453">3</cx:pt>
          <cx:pt idx="22454">0</cx:pt>
          <cx:pt idx="22455">2</cx:pt>
          <cx:pt idx="22456">1</cx:pt>
          <cx:pt idx="22457">3</cx:pt>
          <cx:pt idx="22458">1</cx:pt>
          <cx:pt idx="22459">2</cx:pt>
          <cx:pt idx="22460">3</cx:pt>
          <cx:pt idx="22461">1</cx:pt>
          <cx:pt idx="22462">2</cx:pt>
          <cx:pt idx="22463">3</cx:pt>
          <cx:pt idx="22464">2</cx:pt>
          <cx:pt idx="22465">4</cx:pt>
          <cx:pt idx="22466">2</cx:pt>
          <cx:pt idx="22467">3</cx:pt>
          <cx:pt idx="22468">1</cx:pt>
          <cx:pt idx="22469">1</cx:pt>
          <cx:pt idx="22470">5</cx:pt>
          <cx:pt idx="22471">3</cx:pt>
          <cx:pt idx="22472">5</cx:pt>
          <cx:pt idx="22473">3</cx:pt>
          <cx:pt idx="22474">2</cx:pt>
          <cx:pt idx="22475">2</cx:pt>
          <cx:pt idx="22476">3</cx:pt>
          <cx:pt idx="22477">4</cx:pt>
          <cx:pt idx="22478">2</cx:pt>
          <cx:pt idx="22479">4</cx:pt>
          <cx:pt idx="22480">4</cx:pt>
          <cx:pt idx="22481">2</cx:pt>
          <cx:pt idx="22482">5</cx:pt>
          <cx:pt idx="22483">3</cx:pt>
          <cx:pt idx="22484">3</cx:pt>
          <cx:pt idx="22485">1</cx:pt>
          <cx:pt idx="22486">1</cx:pt>
          <cx:pt idx="22487">5</cx:pt>
          <cx:pt idx="22488">1</cx:pt>
          <cx:pt idx="22489">3</cx:pt>
          <cx:pt idx="22490">2</cx:pt>
          <cx:pt idx="22491">1</cx:pt>
          <cx:pt idx="22492">0</cx:pt>
          <cx:pt idx="22493">4</cx:pt>
          <cx:pt idx="22494">3</cx:pt>
          <cx:pt idx="22495">3</cx:pt>
          <cx:pt idx="22496">2</cx:pt>
          <cx:pt idx="22497">5</cx:pt>
          <cx:pt idx="22498">3</cx:pt>
          <cx:pt idx="22499">4</cx:pt>
          <cx:pt idx="22500">1</cx:pt>
          <cx:pt idx="22501">2</cx:pt>
          <cx:pt idx="22502">2</cx:pt>
          <cx:pt idx="22503">4</cx:pt>
          <cx:pt idx="22504">4</cx:pt>
          <cx:pt idx="22505">4</cx:pt>
          <cx:pt idx="22506">1</cx:pt>
          <cx:pt idx="22507">3</cx:pt>
          <cx:pt idx="22508">3</cx:pt>
          <cx:pt idx="22509">1</cx:pt>
          <cx:pt idx="22510">3</cx:pt>
          <cx:pt idx="22511">3</cx:pt>
          <cx:pt idx="22512">5</cx:pt>
          <cx:pt idx="22513">1</cx:pt>
          <cx:pt idx="22514">4</cx:pt>
          <cx:pt idx="22515">2</cx:pt>
          <cx:pt idx="22516">3</cx:pt>
          <cx:pt idx="22517">5</cx:pt>
          <cx:pt idx="22518">3</cx:pt>
          <cx:pt idx="22519">3</cx:pt>
          <cx:pt idx="22520">1</cx:pt>
          <cx:pt idx="22521">2</cx:pt>
          <cx:pt idx="22522">1</cx:pt>
          <cx:pt idx="22523">2</cx:pt>
          <cx:pt idx="22524">4</cx:pt>
          <cx:pt idx="22525">1</cx:pt>
          <cx:pt idx="22526">3</cx:pt>
          <cx:pt idx="22527">1</cx:pt>
          <cx:pt idx="22528">1</cx:pt>
          <cx:pt idx="22529">3</cx:pt>
          <cx:pt idx="22530">1</cx:pt>
          <cx:pt idx="22531">1</cx:pt>
          <cx:pt idx="22532">5</cx:pt>
          <cx:pt idx="22533">2</cx:pt>
          <cx:pt idx="22534">2</cx:pt>
          <cx:pt idx="22535">4</cx:pt>
          <cx:pt idx="22536">2</cx:pt>
          <cx:pt idx="22537">4</cx:pt>
          <cx:pt idx="22538">4</cx:pt>
          <cx:pt idx="22539">4</cx:pt>
          <cx:pt idx="22540">0</cx:pt>
          <cx:pt idx="22541">1</cx:pt>
          <cx:pt idx="22542">4</cx:pt>
          <cx:pt idx="22543">1</cx:pt>
          <cx:pt idx="22544">4</cx:pt>
          <cx:pt idx="22545">3</cx:pt>
          <cx:pt idx="22546">1</cx:pt>
          <cx:pt idx="22547">3</cx:pt>
          <cx:pt idx="22548">1</cx:pt>
          <cx:pt idx="22549">2</cx:pt>
          <cx:pt idx="22550">3</cx:pt>
          <cx:pt idx="22551">0</cx:pt>
          <cx:pt idx="22552">3</cx:pt>
          <cx:pt idx="22553">5</cx:pt>
          <cx:pt idx="22554">0</cx:pt>
          <cx:pt idx="22555">2</cx:pt>
          <cx:pt idx="22556">4</cx:pt>
          <cx:pt idx="22557">1</cx:pt>
          <cx:pt idx="22558">5</cx:pt>
          <cx:pt idx="22559">3</cx:pt>
          <cx:pt idx="22560">4</cx:pt>
          <cx:pt idx="22561">5</cx:pt>
          <cx:pt idx="22562">4</cx:pt>
          <cx:pt idx="22563">3</cx:pt>
          <cx:pt idx="22564">3</cx:pt>
          <cx:pt idx="22565">2</cx:pt>
          <cx:pt idx="22566">5</cx:pt>
          <cx:pt idx="22567">1</cx:pt>
          <cx:pt idx="22568">2</cx:pt>
          <cx:pt idx="22569">5</cx:pt>
          <cx:pt idx="22570">4</cx:pt>
          <cx:pt idx="22571">5</cx:pt>
          <cx:pt idx="22572">3</cx:pt>
          <cx:pt idx="22573">2</cx:pt>
          <cx:pt idx="22574">5</cx:pt>
          <cx:pt idx="22575">5</cx:pt>
          <cx:pt idx="22576">2</cx:pt>
          <cx:pt idx="22577">3</cx:pt>
          <cx:pt idx="22578">3</cx:pt>
          <cx:pt idx="22579">2</cx:pt>
          <cx:pt idx="22580">5</cx:pt>
          <cx:pt idx="22581">3</cx:pt>
          <cx:pt idx="22582">3</cx:pt>
          <cx:pt idx="22583">3</cx:pt>
          <cx:pt idx="22584">1</cx:pt>
          <cx:pt idx="22585">3</cx:pt>
          <cx:pt idx="22586">3</cx:pt>
          <cx:pt idx="22587">2</cx:pt>
          <cx:pt idx="22588">1</cx:pt>
          <cx:pt idx="22589">2</cx:pt>
          <cx:pt idx="22590">0</cx:pt>
          <cx:pt idx="22591">3</cx:pt>
          <cx:pt idx="22592">5</cx:pt>
          <cx:pt idx="22593">2</cx:pt>
          <cx:pt idx="22594">1</cx:pt>
          <cx:pt idx="22595">4</cx:pt>
          <cx:pt idx="22596">2</cx:pt>
          <cx:pt idx="22597">1</cx:pt>
          <cx:pt idx="22598">2</cx:pt>
          <cx:pt idx="22599">4</cx:pt>
          <cx:pt idx="22600">1</cx:pt>
          <cx:pt idx="22601">4</cx:pt>
          <cx:pt idx="22602">4</cx:pt>
          <cx:pt idx="22603">2</cx:pt>
          <cx:pt idx="22604">3</cx:pt>
          <cx:pt idx="22605">2</cx:pt>
          <cx:pt idx="22606">4</cx:pt>
          <cx:pt idx="22607">2</cx:pt>
          <cx:pt idx="22608">2</cx:pt>
          <cx:pt idx="22609">2</cx:pt>
          <cx:pt idx="22610">2</cx:pt>
          <cx:pt idx="22611">4</cx:pt>
          <cx:pt idx="22612">1</cx:pt>
          <cx:pt idx="22613">1</cx:pt>
          <cx:pt idx="22614">3</cx:pt>
          <cx:pt idx="22615">5</cx:pt>
          <cx:pt idx="22616">2</cx:pt>
          <cx:pt idx="22617">4</cx:pt>
          <cx:pt idx="22618">4</cx:pt>
          <cx:pt idx="22619">3</cx:pt>
          <cx:pt idx="22620">3</cx:pt>
          <cx:pt idx="22621">1</cx:pt>
          <cx:pt idx="22622">5</cx:pt>
          <cx:pt idx="22623">3</cx:pt>
          <cx:pt idx="22624">2</cx:pt>
          <cx:pt idx="22625">4</cx:pt>
          <cx:pt idx="22626">1</cx:pt>
          <cx:pt idx="22627">1</cx:pt>
          <cx:pt idx="22628">1</cx:pt>
          <cx:pt idx="22629">1</cx:pt>
          <cx:pt idx="22630">3</cx:pt>
          <cx:pt idx="22631">3</cx:pt>
          <cx:pt idx="22632">3</cx:pt>
          <cx:pt idx="22633">1</cx:pt>
          <cx:pt idx="22634">1</cx:pt>
          <cx:pt idx="22635">1</cx:pt>
          <cx:pt idx="22636">5</cx:pt>
          <cx:pt idx="22637">1</cx:pt>
          <cx:pt idx="22638">2</cx:pt>
          <cx:pt idx="22639">2</cx:pt>
          <cx:pt idx="22640">1</cx:pt>
          <cx:pt idx="22641">1</cx:pt>
          <cx:pt idx="22642">5</cx:pt>
          <cx:pt idx="22643">2</cx:pt>
          <cx:pt idx="22644">5</cx:pt>
          <cx:pt idx="22645">5</cx:pt>
          <cx:pt idx="22646">5</cx:pt>
          <cx:pt idx="22647">1</cx:pt>
          <cx:pt idx="22648">3</cx:pt>
          <cx:pt idx="22649">1</cx:pt>
          <cx:pt idx="22650">1</cx:pt>
          <cx:pt idx="22651">3</cx:pt>
          <cx:pt idx="22652">1</cx:pt>
          <cx:pt idx="22653">1</cx:pt>
          <cx:pt idx="22654">5</cx:pt>
          <cx:pt idx="22655">4</cx:pt>
          <cx:pt idx="22656">1</cx:pt>
          <cx:pt idx="22657">4</cx:pt>
          <cx:pt idx="22658">4</cx:pt>
          <cx:pt idx="22659">3</cx:pt>
          <cx:pt idx="22660">5</cx:pt>
          <cx:pt idx="22661">2</cx:pt>
          <cx:pt idx="22662">2</cx:pt>
          <cx:pt idx="22663">2</cx:pt>
          <cx:pt idx="22664">1</cx:pt>
          <cx:pt idx="22665">4</cx:pt>
          <cx:pt idx="22666">2</cx:pt>
          <cx:pt idx="22667">2</cx:pt>
          <cx:pt idx="22668">4</cx:pt>
          <cx:pt idx="22669">3</cx:pt>
          <cx:pt idx="22670">5</cx:pt>
          <cx:pt idx="22671">0</cx:pt>
          <cx:pt idx="22672">1</cx:pt>
          <cx:pt idx="22673">3</cx:pt>
          <cx:pt idx="22674">0</cx:pt>
          <cx:pt idx="22675">1</cx:pt>
          <cx:pt idx="22676">3</cx:pt>
          <cx:pt idx="22677">5</cx:pt>
          <cx:pt idx="22678">0</cx:pt>
          <cx:pt idx="22679">3</cx:pt>
          <cx:pt idx="22680">2</cx:pt>
          <cx:pt idx="22681">4</cx:pt>
          <cx:pt idx="22682">2</cx:pt>
          <cx:pt idx="22683">1</cx:pt>
          <cx:pt idx="22684">5</cx:pt>
          <cx:pt idx="22685">4</cx:pt>
          <cx:pt idx="22686">3</cx:pt>
          <cx:pt idx="22687">0</cx:pt>
          <cx:pt idx="22688">3</cx:pt>
          <cx:pt idx="22689">2</cx:pt>
          <cx:pt idx="22690">5</cx:pt>
          <cx:pt idx="22691">2</cx:pt>
          <cx:pt idx="22692">1</cx:pt>
          <cx:pt idx="22693">3</cx:pt>
          <cx:pt idx="22694">2</cx:pt>
          <cx:pt idx="22695">4</cx:pt>
          <cx:pt idx="22696">2</cx:pt>
          <cx:pt idx="22697">2</cx:pt>
          <cx:pt idx="22698">0</cx:pt>
          <cx:pt idx="22699">5</cx:pt>
          <cx:pt idx="22700">4</cx:pt>
          <cx:pt idx="22701">5</cx:pt>
          <cx:pt idx="22702">3</cx:pt>
          <cx:pt idx="22703">2</cx:pt>
          <cx:pt idx="22704">1</cx:pt>
          <cx:pt idx="22705">5</cx:pt>
          <cx:pt idx="22706">5</cx:pt>
          <cx:pt idx="22707">2</cx:pt>
          <cx:pt idx="22708">3</cx:pt>
          <cx:pt idx="22709">5</cx:pt>
          <cx:pt idx="22710">3</cx:pt>
          <cx:pt idx="22711">3</cx:pt>
          <cx:pt idx="22712">1</cx:pt>
          <cx:pt idx="22713">1</cx:pt>
          <cx:pt idx="22714">3</cx:pt>
          <cx:pt idx="22715">2</cx:pt>
          <cx:pt idx="22716">3</cx:pt>
          <cx:pt idx="22717">2</cx:pt>
          <cx:pt idx="22718">4</cx:pt>
          <cx:pt idx="22719">4</cx:pt>
          <cx:pt idx="22720">5</cx:pt>
          <cx:pt idx="22721">3</cx:pt>
          <cx:pt idx="22722">3</cx:pt>
          <cx:pt idx="22723">3</cx:pt>
          <cx:pt idx="22724">2</cx:pt>
          <cx:pt idx="22725">2</cx:pt>
          <cx:pt idx="22726">2</cx:pt>
          <cx:pt idx="22727">0</cx:pt>
          <cx:pt idx="22728">4</cx:pt>
          <cx:pt idx="22729">2</cx:pt>
          <cx:pt idx="22730">2</cx:pt>
          <cx:pt idx="22731">4</cx:pt>
          <cx:pt idx="22732">3</cx:pt>
          <cx:pt idx="22733">2</cx:pt>
          <cx:pt idx="22734">5</cx:pt>
          <cx:pt idx="22735">3</cx:pt>
          <cx:pt idx="22736">2</cx:pt>
          <cx:pt idx="22737">4</cx:pt>
          <cx:pt idx="22738">4</cx:pt>
          <cx:pt idx="22739">1</cx:pt>
          <cx:pt idx="22740">4</cx:pt>
          <cx:pt idx="22741">2</cx:pt>
          <cx:pt idx="22742">2</cx:pt>
          <cx:pt idx="22743">4</cx:pt>
          <cx:pt idx="22744">4</cx:pt>
          <cx:pt idx="22745">3</cx:pt>
          <cx:pt idx="22746">1</cx:pt>
          <cx:pt idx="22747">2</cx:pt>
          <cx:pt idx="22748">1</cx:pt>
          <cx:pt idx="22749">4</cx:pt>
          <cx:pt idx="22750">1</cx:pt>
          <cx:pt idx="22751">2</cx:pt>
          <cx:pt idx="22752">5</cx:pt>
          <cx:pt idx="22753">5</cx:pt>
          <cx:pt idx="22754">4</cx:pt>
          <cx:pt idx="22755">2</cx:pt>
          <cx:pt idx="22756">2</cx:pt>
          <cx:pt idx="22757">2</cx:pt>
          <cx:pt idx="22758">3</cx:pt>
          <cx:pt idx="22759">5</cx:pt>
          <cx:pt idx="22760">5</cx:pt>
          <cx:pt idx="22761">2</cx:pt>
          <cx:pt idx="22762">1</cx:pt>
          <cx:pt idx="22763">3</cx:pt>
          <cx:pt idx="22764">3</cx:pt>
          <cx:pt idx="22765">5</cx:pt>
          <cx:pt idx="22766">5</cx:pt>
          <cx:pt idx="22767">4</cx:pt>
          <cx:pt idx="22768">2</cx:pt>
          <cx:pt idx="22769">5</cx:pt>
          <cx:pt idx="22770">1</cx:pt>
          <cx:pt idx="22771">5</cx:pt>
          <cx:pt idx="22772">5</cx:pt>
          <cx:pt idx="22773">4</cx:pt>
          <cx:pt idx="22774">2</cx:pt>
          <cx:pt idx="22775">4</cx:pt>
          <cx:pt idx="22776">2</cx:pt>
          <cx:pt idx="22777">4</cx:pt>
          <cx:pt idx="22778">4</cx:pt>
          <cx:pt idx="22779">4</cx:pt>
          <cx:pt idx="22780">4</cx:pt>
          <cx:pt idx="22781">5</cx:pt>
          <cx:pt idx="22782">4</cx:pt>
          <cx:pt idx="22783">3</cx:pt>
          <cx:pt idx="22784">1</cx:pt>
          <cx:pt idx="22785">2</cx:pt>
          <cx:pt idx="22786">1</cx:pt>
          <cx:pt idx="22787">3</cx:pt>
          <cx:pt idx="22788">4</cx:pt>
          <cx:pt idx="22789">3</cx:pt>
          <cx:pt idx="22790">4</cx:pt>
          <cx:pt idx="22791">5</cx:pt>
          <cx:pt idx="22792">1</cx:pt>
          <cx:pt idx="22793">5</cx:pt>
          <cx:pt idx="22794">4</cx:pt>
          <cx:pt idx="22795">3</cx:pt>
          <cx:pt idx="22796">2</cx:pt>
          <cx:pt idx="22797">3</cx:pt>
          <cx:pt idx="22798">3</cx:pt>
          <cx:pt idx="22799">2</cx:pt>
          <cx:pt idx="22800">3</cx:pt>
          <cx:pt idx="22801">4</cx:pt>
          <cx:pt idx="22802">4</cx:pt>
          <cx:pt idx="22803">3</cx:pt>
          <cx:pt idx="22804">2</cx:pt>
          <cx:pt idx="22805">3</cx:pt>
          <cx:pt idx="22806">2</cx:pt>
          <cx:pt idx="22807">0</cx:pt>
          <cx:pt idx="22808">1</cx:pt>
          <cx:pt idx="22809">3</cx:pt>
          <cx:pt idx="22810">4</cx:pt>
          <cx:pt idx="22811">4</cx:pt>
          <cx:pt idx="22812">3</cx:pt>
          <cx:pt idx="22813">2</cx:pt>
          <cx:pt idx="22814">1</cx:pt>
          <cx:pt idx="22815">1</cx:pt>
          <cx:pt idx="22816">2</cx:pt>
          <cx:pt idx="22817">2</cx:pt>
          <cx:pt idx="22818">1</cx:pt>
          <cx:pt idx="22819">4</cx:pt>
          <cx:pt idx="22820">4</cx:pt>
          <cx:pt idx="22821">1</cx:pt>
          <cx:pt idx="22822">5</cx:pt>
          <cx:pt idx="22823">5</cx:pt>
          <cx:pt idx="22824">3</cx:pt>
          <cx:pt idx="22825">4</cx:pt>
          <cx:pt idx="22826">2</cx:pt>
          <cx:pt idx="22827">4</cx:pt>
          <cx:pt idx="22828">2</cx:pt>
          <cx:pt idx="22829">2</cx:pt>
          <cx:pt idx="22830">2</cx:pt>
          <cx:pt idx="22831">2</cx:pt>
          <cx:pt idx="22832">3</cx:pt>
          <cx:pt idx="22833">5</cx:pt>
          <cx:pt idx="22834">4</cx:pt>
          <cx:pt idx="22835">2</cx:pt>
          <cx:pt idx="22836">4</cx:pt>
          <cx:pt idx="22837">4</cx:pt>
          <cx:pt idx="22838">3</cx:pt>
          <cx:pt idx="22839">4</cx:pt>
          <cx:pt idx="22840">3</cx:pt>
          <cx:pt idx="22841">5</cx:pt>
          <cx:pt idx="22842">1</cx:pt>
          <cx:pt idx="22843">3</cx:pt>
          <cx:pt idx="22844">3</cx:pt>
          <cx:pt idx="22845">3</cx:pt>
          <cx:pt idx="22846">2</cx:pt>
          <cx:pt idx="22847">1</cx:pt>
          <cx:pt idx="22848">5</cx:pt>
          <cx:pt idx="22849">4</cx:pt>
          <cx:pt idx="22850">4</cx:pt>
          <cx:pt idx="22851">4</cx:pt>
          <cx:pt idx="22852">2</cx:pt>
          <cx:pt idx="22853">4</cx:pt>
          <cx:pt idx="22854">1</cx:pt>
          <cx:pt idx="22855">5</cx:pt>
          <cx:pt idx="22856">2</cx:pt>
          <cx:pt idx="22857">2</cx:pt>
          <cx:pt idx="22858">1</cx:pt>
          <cx:pt idx="22859">4</cx:pt>
          <cx:pt idx="22860">0</cx:pt>
          <cx:pt idx="22861">1</cx:pt>
          <cx:pt idx="22862">2</cx:pt>
          <cx:pt idx="22863">4</cx:pt>
          <cx:pt idx="22864">2</cx:pt>
          <cx:pt idx="22865">3</cx:pt>
          <cx:pt idx="22866">1</cx:pt>
          <cx:pt idx="22867">3</cx:pt>
          <cx:pt idx="22868">2</cx:pt>
          <cx:pt idx="22869">5</cx:pt>
          <cx:pt idx="22870">4</cx:pt>
          <cx:pt idx="22871">3</cx:pt>
          <cx:pt idx="22872">3</cx:pt>
          <cx:pt idx="22873">1</cx:pt>
          <cx:pt idx="22874">1</cx:pt>
          <cx:pt idx="22875">5</cx:pt>
          <cx:pt idx="22876">1</cx:pt>
          <cx:pt idx="22877">4</cx:pt>
          <cx:pt idx="22878">3</cx:pt>
          <cx:pt idx="22879">1</cx:pt>
          <cx:pt idx="22880">2</cx:pt>
          <cx:pt idx="22881">2</cx:pt>
          <cx:pt idx="22882">4</cx:pt>
          <cx:pt idx="22883">5</cx:pt>
          <cx:pt idx="22884">4</cx:pt>
          <cx:pt idx="22885">2</cx:pt>
          <cx:pt idx="22886">4</cx:pt>
          <cx:pt idx="22887">5</cx:pt>
          <cx:pt idx="22888">5</cx:pt>
          <cx:pt idx="22889">3</cx:pt>
          <cx:pt idx="22890">4</cx:pt>
          <cx:pt idx="22891">4</cx:pt>
          <cx:pt idx="22892">3</cx:pt>
          <cx:pt idx="22893">1</cx:pt>
          <cx:pt idx="22894">4</cx:pt>
          <cx:pt idx="22895">3</cx:pt>
          <cx:pt idx="22896">3</cx:pt>
          <cx:pt idx="22897">3</cx:pt>
          <cx:pt idx="22898">4</cx:pt>
          <cx:pt idx="22899">2</cx:pt>
          <cx:pt idx="22900">4</cx:pt>
          <cx:pt idx="22901">1</cx:pt>
          <cx:pt idx="22902">5</cx:pt>
          <cx:pt idx="22903">3</cx:pt>
          <cx:pt idx="22904">3</cx:pt>
          <cx:pt idx="22905">0</cx:pt>
          <cx:pt idx="22906">1</cx:pt>
          <cx:pt idx="22907">4</cx:pt>
          <cx:pt idx="22908">1</cx:pt>
          <cx:pt idx="22909">2</cx:pt>
          <cx:pt idx="22910">4</cx:pt>
          <cx:pt idx="22911">4</cx:pt>
          <cx:pt idx="22912">2</cx:pt>
          <cx:pt idx="22913">3</cx:pt>
          <cx:pt idx="22914">0</cx:pt>
          <cx:pt idx="22915">5</cx:pt>
          <cx:pt idx="22916">3</cx:pt>
          <cx:pt idx="22917">5</cx:pt>
          <cx:pt idx="22918">3</cx:pt>
          <cx:pt idx="22919">2</cx:pt>
          <cx:pt idx="22920">0</cx:pt>
          <cx:pt idx="22921">3</cx:pt>
          <cx:pt idx="22922">5</cx:pt>
          <cx:pt idx="22923">1</cx:pt>
          <cx:pt idx="22924">2</cx:pt>
          <cx:pt idx="22925">4</cx:pt>
          <cx:pt idx="22926">3</cx:pt>
          <cx:pt idx="22927">4</cx:pt>
          <cx:pt idx="22928">2</cx:pt>
          <cx:pt idx="22929">3</cx:pt>
          <cx:pt idx="22930">4</cx:pt>
          <cx:pt idx="22931">1</cx:pt>
          <cx:pt idx="22932">3</cx:pt>
          <cx:pt idx="22933">4</cx:pt>
          <cx:pt idx="22934">3</cx:pt>
          <cx:pt idx="22935">2</cx:pt>
          <cx:pt idx="22936">4</cx:pt>
          <cx:pt idx="22937">4</cx:pt>
          <cx:pt idx="22938">3</cx:pt>
          <cx:pt idx="22939">0</cx:pt>
          <cx:pt idx="22940">1</cx:pt>
          <cx:pt idx="22941">0</cx:pt>
          <cx:pt idx="22942">5</cx:pt>
          <cx:pt idx="22943">4</cx:pt>
          <cx:pt idx="22944">3</cx:pt>
          <cx:pt idx="22945">3</cx:pt>
          <cx:pt idx="22946">4</cx:pt>
          <cx:pt idx="22947">0</cx:pt>
          <cx:pt idx="22948">0</cx:pt>
          <cx:pt idx="22949">1</cx:pt>
          <cx:pt idx="22950">4</cx:pt>
          <cx:pt idx="22951">4</cx:pt>
          <cx:pt idx="22952">1</cx:pt>
          <cx:pt idx="22953">3</cx:pt>
          <cx:pt idx="22954">1</cx:pt>
          <cx:pt idx="22955">2</cx:pt>
          <cx:pt idx="22956">3</cx:pt>
          <cx:pt idx="22957">3</cx:pt>
          <cx:pt idx="22958">5</cx:pt>
          <cx:pt idx="22959">5</cx:pt>
          <cx:pt idx="22960">3</cx:pt>
          <cx:pt idx="22961">5</cx:pt>
          <cx:pt idx="22962">1</cx:pt>
          <cx:pt idx="22963">1</cx:pt>
          <cx:pt idx="22964">4</cx:pt>
          <cx:pt idx="22965">1</cx:pt>
          <cx:pt idx="22966">4</cx:pt>
          <cx:pt idx="22967">3</cx:pt>
          <cx:pt idx="22968">3</cx:pt>
          <cx:pt idx="22969">3</cx:pt>
          <cx:pt idx="22970">2</cx:pt>
          <cx:pt idx="22971">4</cx:pt>
          <cx:pt idx="22972">2</cx:pt>
          <cx:pt idx="22973">1</cx:pt>
          <cx:pt idx="22974">2</cx:pt>
          <cx:pt idx="22975">1</cx:pt>
          <cx:pt idx="22976">2</cx:pt>
          <cx:pt idx="22977">2</cx:pt>
          <cx:pt idx="22978">2</cx:pt>
          <cx:pt idx="22979">4</cx:pt>
          <cx:pt idx="22980">1</cx:pt>
          <cx:pt idx="22981">3</cx:pt>
          <cx:pt idx="22982">5</cx:pt>
          <cx:pt idx="22983">2</cx:pt>
          <cx:pt idx="22984">3</cx:pt>
          <cx:pt idx="22985">5</cx:pt>
          <cx:pt idx="22986">0</cx:pt>
          <cx:pt idx="22987">2</cx:pt>
          <cx:pt idx="22988">3</cx:pt>
          <cx:pt idx="22989">0</cx:pt>
          <cx:pt idx="22990">3</cx:pt>
          <cx:pt idx="22991">1</cx:pt>
          <cx:pt idx="22992">2</cx:pt>
          <cx:pt idx="22993">2</cx:pt>
          <cx:pt idx="22994">4</cx:pt>
          <cx:pt idx="22995">4</cx:pt>
          <cx:pt idx="22996">2</cx:pt>
          <cx:pt idx="22997">3</cx:pt>
          <cx:pt idx="22998">4</cx:pt>
          <cx:pt idx="22999">4</cx:pt>
          <cx:pt idx="23000">4</cx:pt>
          <cx:pt idx="23001">1</cx:pt>
          <cx:pt idx="23002">4</cx:pt>
          <cx:pt idx="23003">2</cx:pt>
          <cx:pt idx="23004">3</cx:pt>
          <cx:pt idx="23005">3</cx:pt>
          <cx:pt idx="23006">3</cx:pt>
          <cx:pt idx="23007">3</cx:pt>
          <cx:pt idx="23008">0</cx:pt>
          <cx:pt idx="23009">5</cx:pt>
          <cx:pt idx="23010">0</cx:pt>
          <cx:pt idx="23011">1</cx:pt>
          <cx:pt idx="23012">1</cx:pt>
          <cx:pt idx="23013">4</cx:pt>
          <cx:pt idx="23014">1</cx:pt>
          <cx:pt idx="23015">3</cx:pt>
          <cx:pt idx="23016">3</cx:pt>
          <cx:pt idx="23017">3</cx:pt>
          <cx:pt idx="23018">2</cx:pt>
          <cx:pt idx="23019">3</cx:pt>
          <cx:pt idx="23020">4</cx:pt>
          <cx:pt idx="23021">1</cx:pt>
          <cx:pt idx="23022">5</cx:pt>
          <cx:pt idx="23023">3</cx:pt>
          <cx:pt idx="23024">5</cx:pt>
          <cx:pt idx="23025">3</cx:pt>
          <cx:pt idx="23026">5</cx:pt>
          <cx:pt idx="23027">2</cx:pt>
          <cx:pt idx="23028">3</cx:pt>
          <cx:pt idx="23029">1</cx:pt>
          <cx:pt idx="23030">1</cx:pt>
          <cx:pt idx="23031">2</cx:pt>
          <cx:pt idx="23032">2</cx:pt>
          <cx:pt idx="23033">5</cx:pt>
          <cx:pt idx="23034">4</cx:pt>
          <cx:pt idx="23035">3</cx:pt>
          <cx:pt idx="23036">3</cx:pt>
          <cx:pt idx="23037">3</cx:pt>
          <cx:pt idx="23038">1</cx:pt>
          <cx:pt idx="23039">3</cx:pt>
          <cx:pt idx="23040">5</cx:pt>
          <cx:pt idx="23041">3</cx:pt>
          <cx:pt idx="23042">1</cx:pt>
          <cx:pt idx="23043">2</cx:pt>
          <cx:pt idx="23044">4</cx:pt>
          <cx:pt idx="23045">3</cx:pt>
          <cx:pt idx="23046">1</cx:pt>
          <cx:pt idx="23047">5</cx:pt>
          <cx:pt idx="23048">3</cx:pt>
          <cx:pt idx="23049">1</cx:pt>
          <cx:pt idx="23050">4</cx:pt>
          <cx:pt idx="23051">3</cx:pt>
          <cx:pt idx="23052">2</cx:pt>
          <cx:pt idx="23053">3</cx:pt>
          <cx:pt idx="23054">1</cx:pt>
          <cx:pt idx="23055">1</cx:pt>
          <cx:pt idx="23056">1</cx:pt>
          <cx:pt idx="23057">4</cx:pt>
          <cx:pt idx="23058">1</cx:pt>
          <cx:pt idx="23059">3</cx:pt>
          <cx:pt idx="23060">3</cx:pt>
          <cx:pt idx="23061">2</cx:pt>
          <cx:pt idx="23062">4</cx:pt>
          <cx:pt idx="23063">3</cx:pt>
          <cx:pt idx="23064">1</cx:pt>
          <cx:pt idx="23065">3</cx:pt>
          <cx:pt idx="23066">2</cx:pt>
          <cx:pt idx="23067">1</cx:pt>
          <cx:pt idx="23068">3</cx:pt>
          <cx:pt idx="23069">2</cx:pt>
          <cx:pt idx="23070">1</cx:pt>
          <cx:pt idx="23071">1</cx:pt>
          <cx:pt idx="23072">4</cx:pt>
          <cx:pt idx="23073">1</cx:pt>
          <cx:pt idx="23074">1</cx:pt>
          <cx:pt idx="23075">5</cx:pt>
          <cx:pt idx="23076">3</cx:pt>
          <cx:pt idx="23077">4</cx:pt>
          <cx:pt idx="23078">4</cx:pt>
          <cx:pt idx="23079">2</cx:pt>
          <cx:pt idx="23080">2</cx:pt>
          <cx:pt idx="23081">4</cx:pt>
          <cx:pt idx="23082">4</cx:pt>
          <cx:pt idx="23083">2</cx:pt>
          <cx:pt idx="23084">1</cx:pt>
          <cx:pt idx="23085">4</cx:pt>
          <cx:pt idx="23086">5</cx:pt>
          <cx:pt idx="23087">3</cx:pt>
          <cx:pt idx="23088">2</cx:pt>
          <cx:pt idx="23089">3</cx:pt>
          <cx:pt idx="23090">3</cx:pt>
          <cx:pt idx="23091">3</cx:pt>
          <cx:pt idx="23092">4</cx:pt>
          <cx:pt idx="23093">2</cx:pt>
          <cx:pt idx="23094">3</cx:pt>
          <cx:pt idx="23095">5</cx:pt>
          <cx:pt idx="23096">4</cx:pt>
          <cx:pt idx="23097">2</cx:pt>
          <cx:pt idx="23098">5</cx:pt>
          <cx:pt idx="23099">2</cx:pt>
          <cx:pt idx="23100">5</cx:pt>
          <cx:pt idx="23101">4</cx:pt>
          <cx:pt idx="23102">1</cx:pt>
          <cx:pt idx="23103">1</cx:pt>
          <cx:pt idx="23104">3</cx:pt>
          <cx:pt idx="23105">5</cx:pt>
          <cx:pt idx="23106">5</cx:pt>
          <cx:pt idx="23107">4</cx:pt>
          <cx:pt idx="23108">5</cx:pt>
          <cx:pt idx="23109">4</cx:pt>
          <cx:pt idx="23110">4</cx:pt>
          <cx:pt idx="23111">1</cx:pt>
          <cx:pt idx="23112">4</cx:pt>
          <cx:pt idx="23113">3</cx:pt>
          <cx:pt idx="23114">2</cx:pt>
          <cx:pt idx="23115">4</cx:pt>
          <cx:pt idx="23116">2</cx:pt>
          <cx:pt idx="23117">4</cx:pt>
          <cx:pt idx="23118">5</cx:pt>
          <cx:pt idx="23119">3</cx:pt>
          <cx:pt idx="23120">3</cx:pt>
          <cx:pt idx="23121">4</cx:pt>
          <cx:pt idx="23122">3</cx:pt>
          <cx:pt idx="23123">5</cx:pt>
          <cx:pt idx="23124">5</cx:pt>
          <cx:pt idx="23125">5</cx:pt>
          <cx:pt idx="23126">5</cx:pt>
          <cx:pt idx="23127">5</cx:pt>
          <cx:pt idx="23128">1</cx:pt>
          <cx:pt idx="23129">1</cx:pt>
          <cx:pt idx="23130">1</cx:pt>
          <cx:pt idx="23131">3</cx:pt>
          <cx:pt idx="23132">3</cx:pt>
          <cx:pt idx="23133">1</cx:pt>
          <cx:pt idx="23134">4</cx:pt>
          <cx:pt idx="23135">0</cx:pt>
          <cx:pt idx="23136">4</cx:pt>
          <cx:pt idx="23137">3</cx:pt>
          <cx:pt idx="23138">2</cx:pt>
          <cx:pt idx="23139">3</cx:pt>
          <cx:pt idx="23140">2</cx:pt>
          <cx:pt idx="23141">3</cx:pt>
          <cx:pt idx="23142">4</cx:pt>
          <cx:pt idx="23143">3</cx:pt>
          <cx:pt idx="23144">3</cx:pt>
          <cx:pt idx="23145">1</cx:pt>
          <cx:pt idx="23146">4</cx:pt>
          <cx:pt idx="23147">4</cx:pt>
          <cx:pt idx="23148">0</cx:pt>
          <cx:pt idx="23149">0</cx:pt>
          <cx:pt idx="23150">2</cx:pt>
          <cx:pt idx="23151">5</cx:pt>
          <cx:pt idx="23152">1</cx:pt>
          <cx:pt idx="23153">1</cx:pt>
          <cx:pt idx="23154">1</cx:pt>
          <cx:pt idx="23155">5</cx:pt>
          <cx:pt idx="23156">5</cx:pt>
          <cx:pt idx="23157">1</cx:pt>
          <cx:pt idx="23158">1</cx:pt>
          <cx:pt idx="23159">3</cx:pt>
          <cx:pt idx="23160">5</cx:pt>
          <cx:pt idx="23161">3</cx:pt>
          <cx:pt idx="23162">5</cx:pt>
          <cx:pt idx="23163">1</cx:pt>
          <cx:pt idx="23164">5</cx:pt>
          <cx:pt idx="23165">4</cx:pt>
          <cx:pt idx="23166">2</cx:pt>
          <cx:pt idx="23167">2</cx:pt>
          <cx:pt idx="23168">1</cx:pt>
          <cx:pt idx="23169">5</cx:pt>
          <cx:pt idx="23170">5</cx:pt>
          <cx:pt idx="23171">3</cx:pt>
          <cx:pt idx="23172">5</cx:pt>
          <cx:pt idx="23173">1</cx:pt>
          <cx:pt idx="23174">4</cx:pt>
          <cx:pt idx="23175">2</cx:pt>
          <cx:pt idx="23176">2</cx:pt>
          <cx:pt idx="23177">0</cx:pt>
          <cx:pt idx="23178">2</cx:pt>
          <cx:pt idx="23179">3</cx:pt>
          <cx:pt idx="23180">3</cx:pt>
          <cx:pt idx="23181">2</cx:pt>
          <cx:pt idx="23182">3</cx:pt>
          <cx:pt idx="23183">3</cx:pt>
          <cx:pt idx="23184">3</cx:pt>
          <cx:pt idx="23185">3</cx:pt>
          <cx:pt idx="23186">3</cx:pt>
          <cx:pt idx="23187">5</cx:pt>
          <cx:pt idx="23188">1</cx:pt>
          <cx:pt idx="23189">3</cx:pt>
          <cx:pt idx="23190">2</cx:pt>
          <cx:pt idx="23191">4</cx:pt>
          <cx:pt idx="23192">3</cx:pt>
          <cx:pt idx="23193">1</cx:pt>
          <cx:pt idx="23194">2</cx:pt>
          <cx:pt idx="23195">1</cx:pt>
          <cx:pt idx="23196">1</cx:pt>
          <cx:pt idx="23197">1</cx:pt>
          <cx:pt idx="23198">3</cx:pt>
          <cx:pt idx="23199">4</cx:pt>
          <cx:pt idx="23200">3</cx:pt>
          <cx:pt idx="23201">5</cx:pt>
          <cx:pt idx="23202">2</cx:pt>
          <cx:pt idx="23203">3</cx:pt>
          <cx:pt idx="23204">2</cx:pt>
          <cx:pt idx="23205">1</cx:pt>
          <cx:pt idx="23206">2</cx:pt>
          <cx:pt idx="23207">1</cx:pt>
          <cx:pt idx="23208">3</cx:pt>
          <cx:pt idx="23209">3</cx:pt>
          <cx:pt idx="23210">1</cx:pt>
          <cx:pt idx="23211">1</cx:pt>
          <cx:pt idx="23212">2</cx:pt>
          <cx:pt idx="23213">4</cx:pt>
          <cx:pt idx="23214">4</cx:pt>
          <cx:pt idx="23215">3</cx:pt>
          <cx:pt idx="23216">2</cx:pt>
          <cx:pt idx="23217">4</cx:pt>
          <cx:pt idx="23218">2</cx:pt>
          <cx:pt idx="23219">3</cx:pt>
          <cx:pt idx="23220">2</cx:pt>
          <cx:pt idx="23221">2</cx:pt>
          <cx:pt idx="23222">4</cx:pt>
          <cx:pt idx="23223">3</cx:pt>
          <cx:pt idx="23224">3</cx:pt>
          <cx:pt idx="23225">5</cx:pt>
          <cx:pt idx="23226">3</cx:pt>
          <cx:pt idx="23227">1</cx:pt>
          <cx:pt idx="23228">2</cx:pt>
          <cx:pt idx="23229">4</cx:pt>
          <cx:pt idx="23230">4</cx:pt>
          <cx:pt idx="23231">3</cx:pt>
          <cx:pt idx="23232">2</cx:pt>
          <cx:pt idx="23233">3</cx:pt>
          <cx:pt idx="23234">5</cx:pt>
          <cx:pt idx="23235">5</cx:pt>
          <cx:pt idx="23236">5</cx:pt>
          <cx:pt idx="23237">5</cx:pt>
          <cx:pt idx="23238">3</cx:pt>
          <cx:pt idx="23239">1</cx:pt>
          <cx:pt idx="23240">3</cx:pt>
          <cx:pt idx="23241">1</cx:pt>
          <cx:pt idx="23242">2</cx:pt>
          <cx:pt idx="23243">3</cx:pt>
          <cx:pt idx="23244">1</cx:pt>
          <cx:pt idx="23245">3</cx:pt>
          <cx:pt idx="23246">2</cx:pt>
          <cx:pt idx="23247">0</cx:pt>
          <cx:pt idx="23248">2</cx:pt>
          <cx:pt idx="23249">1</cx:pt>
          <cx:pt idx="23250">3</cx:pt>
          <cx:pt idx="23251">2</cx:pt>
          <cx:pt idx="23252">3</cx:pt>
          <cx:pt idx="23253">1</cx:pt>
          <cx:pt idx="23254">3</cx:pt>
          <cx:pt idx="23255">3</cx:pt>
          <cx:pt idx="23256">1</cx:pt>
          <cx:pt idx="23257">5</cx:pt>
          <cx:pt idx="23258">0</cx:pt>
          <cx:pt idx="23259">0</cx:pt>
          <cx:pt idx="23260">3</cx:pt>
          <cx:pt idx="23261">3</cx:pt>
          <cx:pt idx="23262">2</cx:pt>
          <cx:pt idx="23263">4</cx:pt>
          <cx:pt idx="23264">3</cx:pt>
          <cx:pt idx="23265">2</cx:pt>
          <cx:pt idx="23266">4</cx:pt>
          <cx:pt idx="23267">4</cx:pt>
          <cx:pt idx="23268">3</cx:pt>
          <cx:pt idx="23269">1</cx:pt>
          <cx:pt idx="23270">5</cx:pt>
          <cx:pt idx="23271">2</cx:pt>
          <cx:pt idx="23272">3</cx:pt>
          <cx:pt idx="23273">3</cx:pt>
          <cx:pt idx="23274">5</cx:pt>
          <cx:pt idx="23275">3</cx:pt>
          <cx:pt idx="23276">5</cx:pt>
          <cx:pt idx="23277">4</cx:pt>
          <cx:pt idx="23278">1</cx:pt>
          <cx:pt idx="23279">3</cx:pt>
          <cx:pt idx="23280">2</cx:pt>
          <cx:pt idx="23281">3</cx:pt>
          <cx:pt idx="23282">0</cx:pt>
          <cx:pt idx="23283">5</cx:pt>
          <cx:pt idx="23284">4</cx:pt>
          <cx:pt idx="23285">3</cx:pt>
          <cx:pt idx="23286">1</cx:pt>
          <cx:pt idx="23287">3</cx:pt>
          <cx:pt idx="23288">2</cx:pt>
          <cx:pt idx="23289">3</cx:pt>
          <cx:pt idx="23290">3</cx:pt>
          <cx:pt idx="23291">3</cx:pt>
          <cx:pt idx="23292">4</cx:pt>
          <cx:pt idx="23293">2</cx:pt>
          <cx:pt idx="23294">2</cx:pt>
          <cx:pt idx="23295">2</cx:pt>
          <cx:pt idx="23296">4</cx:pt>
          <cx:pt idx="23297">3</cx:pt>
          <cx:pt idx="23298">4</cx:pt>
          <cx:pt idx="23299">5</cx:pt>
          <cx:pt idx="23300">3</cx:pt>
          <cx:pt idx="23301">4</cx:pt>
          <cx:pt idx="23302">2</cx:pt>
          <cx:pt idx="23303">3</cx:pt>
          <cx:pt idx="23304">1</cx:pt>
          <cx:pt idx="23305">5</cx:pt>
          <cx:pt idx="23306">3</cx:pt>
          <cx:pt idx="23307">3</cx:pt>
          <cx:pt idx="23308">2</cx:pt>
          <cx:pt idx="23309">2</cx:pt>
          <cx:pt idx="23310">1</cx:pt>
          <cx:pt idx="23311">1</cx:pt>
          <cx:pt idx="23312">2</cx:pt>
          <cx:pt idx="23313">2</cx:pt>
          <cx:pt idx="23314">0</cx:pt>
          <cx:pt idx="23315">2</cx:pt>
          <cx:pt idx="23316">2</cx:pt>
          <cx:pt idx="23317">3</cx:pt>
          <cx:pt idx="23318">5</cx:pt>
          <cx:pt idx="23319">2</cx:pt>
          <cx:pt idx="23320">4</cx:pt>
          <cx:pt idx="23321">3</cx:pt>
          <cx:pt idx="23322">2</cx:pt>
          <cx:pt idx="23323">5</cx:pt>
          <cx:pt idx="23324">4</cx:pt>
          <cx:pt idx="23325">3</cx:pt>
          <cx:pt idx="23326">4</cx:pt>
          <cx:pt idx="23327">1</cx:pt>
          <cx:pt idx="23328">4</cx:pt>
          <cx:pt idx="23329">1</cx:pt>
          <cx:pt idx="23330">4</cx:pt>
          <cx:pt idx="23331">4</cx:pt>
          <cx:pt idx="23332">1</cx:pt>
          <cx:pt idx="23333">2</cx:pt>
          <cx:pt idx="23334">4</cx:pt>
          <cx:pt idx="23335">1</cx:pt>
          <cx:pt idx="23336">3</cx:pt>
          <cx:pt idx="23337">5</cx:pt>
          <cx:pt idx="23338">2</cx:pt>
          <cx:pt idx="23339">1</cx:pt>
          <cx:pt idx="23340">2</cx:pt>
          <cx:pt idx="23341">2</cx:pt>
          <cx:pt idx="23342">1</cx:pt>
          <cx:pt idx="23343">1</cx:pt>
          <cx:pt idx="23344">1</cx:pt>
          <cx:pt idx="23345">0</cx:pt>
          <cx:pt idx="23346">4</cx:pt>
          <cx:pt idx="23347">4</cx:pt>
          <cx:pt idx="23348">4</cx:pt>
          <cx:pt idx="23349">4</cx:pt>
          <cx:pt idx="23350">2</cx:pt>
          <cx:pt idx="23351">3</cx:pt>
          <cx:pt idx="23352">1</cx:pt>
          <cx:pt idx="23353">0</cx:pt>
          <cx:pt idx="23354">2</cx:pt>
          <cx:pt idx="23355">3</cx:pt>
          <cx:pt idx="23356">5</cx:pt>
          <cx:pt idx="23357">2</cx:pt>
          <cx:pt idx="23358">2</cx:pt>
          <cx:pt idx="23359">4</cx:pt>
          <cx:pt idx="23360">2</cx:pt>
          <cx:pt idx="23361">4</cx:pt>
          <cx:pt idx="23362">5</cx:pt>
          <cx:pt idx="23363">0</cx:pt>
          <cx:pt idx="23364">3</cx:pt>
          <cx:pt idx="23365">4</cx:pt>
          <cx:pt idx="23366">1</cx:pt>
          <cx:pt idx="23367">2</cx:pt>
          <cx:pt idx="23368">5</cx:pt>
          <cx:pt idx="23369">0</cx:pt>
          <cx:pt idx="23370">0</cx:pt>
          <cx:pt idx="23371">2</cx:pt>
          <cx:pt idx="23372">1</cx:pt>
          <cx:pt idx="23373">1</cx:pt>
          <cx:pt idx="23374">5</cx:pt>
          <cx:pt idx="23375">5</cx:pt>
          <cx:pt idx="23376">4</cx:pt>
          <cx:pt idx="23377">5</cx:pt>
          <cx:pt idx="23378">4</cx:pt>
          <cx:pt idx="23379">5</cx:pt>
          <cx:pt idx="23380">4</cx:pt>
          <cx:pt idx="23381">3</cx:pt>
          <cx:pt idx="23382">3</cx:pt>
          <cx:pt idx="23383">3</cx:pt>
          <cx:pt idx="23384">2</cx:pt>
          <cx:pt idx="23385">3</cx:pt>
          <cx:pt idx="23386">2</cx:pt>
          <cx:pt idx="23387">0</cx:pt>
          <cx:pt idx="23388">4</cx:pt>
          <cx:pt idx="23389">1</cx:pt>
          <cx:pt idx="23390">3</cx:pt>
          <cx:pt idx="23391">3</cx:pt>
          <cx:pt idx="23392">3</cx:pt>
          <cx:pt idx="23393">3</cx:pt>
          <cx:pt idx="23394">2</cx:pt>
          <cx:pt idx="23395">4</cx:pt>
          <cx:pt idx="23396">1</cx:pt>
          <cx:pt idx="23397">5</cx:pt>
          <cx:pt idx="23398">3</cx:pt>
          <cx:pt idx="23399">2</cx:pt>
          <cx:pt idx="23400">1</cx:pt>
          <cx:pt idx="23401">2</cx:pt>
          <cx:pt idx="23402">5</cx:pt>
          <cx:pt idx="23403">4</cx:pt>
          <cx:pt idx="23404">2</cx:pt>
          <cx:pt idx="23405">2</cx:pt>
          <cx:pt idx="23406">5</cx:pt>
          <cx:pt idx="23407">1</cx:pt>
          <cx:pt idx="23408">5</cx:pt>
          <cx:pt idx="23409">5</cx:pt>
          <cx:pt idx="23410">2</cx:pt>
          <cx:pt idx="23411">0</cx:pt>
          <cx:pt idx="23412">4</cx:pt>
          <cx:pt idx="23413">2</cx:pt>
          <cx:pt idx="23414">2</cx:pt>
          <cx:pt idx="23415">2</cx:pt>
          <cx:pt idx="23416">1</cx:pt>
          <cx:pt idx="23417">2</cx:pt>
          <cx:pt idx="23418">4</cx:pt>
          <cx:pt idx="23419">3</cx:pt>
          <cx:pt idx="23420">5</cx:pt>
          <cx:pt idx="23421">1</cx:pt>
          <cx:pt idx="23422">4</cx:pt>
          <cx:pt idx="23423">4</cx:pt>
          <cx:pt idx="23424">2</cx:pt>
          <cx:pt idx="23425">5</cx:pt>
          <cx:pt idx="23426">4</cx:pt>
          <cx:pt idx="23427">4</cx:pt>
          <cx:pt idx="23428">4</cx:pt>
          <cx:pt idx="23429">2</cx:pt>
          <cx:pt idx="23430">5</cx:pt>
          <cx:pt idx="23431">5</cx:pt>
          <cx:pt idx="23432">4</cx:pt>
          <cx:pt idx="23433">3</cx:pt>
          <cx:pt idx="23434">3</cx:pt>
          <cx:pt idx="23435">2</cx:pt>
          <cx:pt idx="23436">4</cx:pt>
          <cx:pt idx="23437">5</cx:pt>
          <cx:pt idx="23438">2</cx:pt>
          <cx:pt idx="23439">3</cx:pt>
          <cx:pt idx="23440">4</cx:pt>
          <cx:pt idx="23441">1</cx:pt>
          <cx:pt idx="23442">1</cx:pt>
          <cx:pt idx="23443">1</cx:pt>
          <cx:pt idx="23444">4</cx:pt>
          <cx:pt idx="23445">3</cx:pt>
          <cx:pt idx="23446">1</cx:pt>
          <cx:pt idx="23447">0</cx:pt>
          <cx:pt idx="23448">4</cx:pt>
          <cx:pt idx="23449">1</cx:pt>
          <cx:pt idx="23450">4</cx:pt>
          <cx:pt idx="23451">2</cx:pt>
          <cx:pt idx="23452">2</cx:pt>
          <cx:pt idx="23453">2</cx:pt>
          <cx:pt idx="23454">4</cx:pt>
          <cx:pt idx="23455">4</cx:pt>
          <cx:pt idx="23456">4</cx:pt>
          <cx:pt idx="23457">2</cx:pt>
          <cx:pt idx="23458">2</cx:pt>
          <cx:pt idx="23459">5</cx:pt>
          <cx:pt idx="23460">3</cx:pt>
          <cx:pt idx="23461">5</cx:pt>
          <cx:pt idx="23462">1</cx:pt>
          <cx:pt idx="23463">4</cx:pt>
          <cx:pt idx="23464">4</cx:pt>
          <cx:pt idx="23465">2</cx:pt>
          <cx:pt idx="23466">1</cx:pt>
          <cx:pt idx="23467">2</cx:pt>
          <cx:pt idx="23468">5</cx:pt>
          <cx:pt idx="23469">3</cx:pt>
          <cx:pt idx="23470">4</cx:pt>
          <cx:pt idx="23471">4</cx:pt>
          <cx:pt idx="23472">0</cx:pt>
          <cx:pt idx="23473">5</cx:pt>
          <cx:pt idx="23474">5</cx:pt>
          <cx:pt idx="23475">4</cx:pt>
          <cx:pt idx="23476">3</cx:pt>
          <cx:pt idx="23477">2</cx:pt>
          <cx:pt idx="23478">3</cx:pt>
          <cx:pt idx="23479">0</cx:pt>
          <cx:pt idx="23480">5</cx:pt>
          <cx:pt idx="23481">1</cx:pt>
          <cx:pt idx="23482">5</cx:pt>
          <cx:pt idx="23483">1</cx:pt>
          <cx:pt idx="23484">3</cx:pt>
          <cx:pt idx="23485">5</cx:pt>
          <cx:pt idx="23486">4</cx:pt>
          <cx:pt idx="23487">4</cx:pt>
          <cx:pt idx="23488">3</cx:pt>
          <cx:pt idx="23489">2</cx:pt>
          <cx:pt idx="23490">0</cx:pt>
          <cx:pt idx="23491">4</cx:pt>
          <cx:pt idx="23492">0</cx:pt>
          <cx:pt idx="23493">4</cx:pt>
          <cx:pt idx="23494">1</cx:pt>
          <cx:pt idx="23495">5</cx:pt>
          <cx:pt idx="23496">1</cx:pt>
          <cx:pt idx="23497">3</cx:pt>
          <cx:pt idx="23498">0</cx:pt>
          <cx:pt idx="23499">1</cx:pt>
          <cx:pt idx="23500">2</cx:pt>
          <cx:pt idx="23501">1</cx:pt>
          <cx:pt idx="23502">3</cx:pt>
          <cx:pt idx="23503">3</cx:pt>
          <cx:pt idx="23504">1</cx:pt>
          <cx:pt idx="23505">3</cx:pt>
          <cx:pt idx="23506">2</cx:pt>
          <cx:pt idx="23507">3</cx:pt>
          <cx:pt idx="23508">4</cx:pt>
          <cx:pt idx="23509">5</cx:pt>
          <cx:pt idx="23510">4</cx:pt>
          <cx:pt idx="23511">2</cx:pt>
          <cx:pt idx="23512">3</cx:pt>
          <cx:pt idx="23513">5</cx:pt>
          <cx:pt idx="23514">3</cx:pt>
          <cx:pt idx="23515">4</cx:pt>
          <cx:pt idx="23516">3</cx:pt>
          <cx:pt idx="23517">2</cx:pt>
          <cx:pt idx="23518">2</cx:pt>
          <cx:pt idx="23519">3</cx:pt>
          <cx:pt idx="23520">3</cx:pt>
          <cx:pt idx="23521">5</cx:pt>
          <cx:pt idx="23522">2</cx:pt>
          <cx:pt idx="23523">3</cx:pt>
          <cx:pt idx="23524">5</cx:pt>
          <cx:pt idx="23525">2</cx:pt>
          <cx:pt idx="23526">3</cx:pt>
          <cx:pt idx="23527">4</cx:pt>
          <cx:pt idx="23528">2</cx:pt>
          <cx:pt idx="23529">3</cx:pt>
          <cx:pt idx="23530">4</cx:pt>
          <cx:pt idx="23531">2</cx:pt>
          <cx:pt idx="23532">3</cx:pt>
          <cx:pt idx="23533">3</cx:pt>
          <cx:pt idx="23534">5</cx:pt>
          <cx:pt idx="23535">4</cx:pt>
          <cx:pt idx="23536">5</cx:pt>
          <cx:pt idx="23537">4</cx:pt>
          <cx:pt idx="23538">2</cx:pt>
          <cx:pt idx="23539">1</cx:pt>
          <cx:pt idx="23540">0</cx:pt>
          <cx:pt idx="23541">1</cx:pt>
          <cx:pt idx="23542">3</cx:pt>
          <cx:pt idx="23543">3</cx:pt>
          <cx:pt idx="23544">5</cx:pt>
          <cx:pt idx="23545">2</cx:pt>
          <cx:pt idx="23546">3</cx:pt>
          <cx:pt idx="23547">2</cx:pt>
          <cx:pt idx="23548">1</cx:pt>
          <cx:pt idx="23549">4</cx:pt>
          <cx:pt idx="23550">4</cx:pt>
          <cx:pt idx="23551">1</cx:pt>
          <cx:pt idx="23552">3</cx:pt>
          <cx:pt idx="23553">4</cx:pt>
          <cx:pt idx="23554">2</cx:pt>
          <cx:pt idx="23555">4</cx:pt>
          <cx:pt idx="23556">2</cx:pt>
          <cx:pt idx="23557">2</cx:pt>
          <cx:pt idx="23558">3</cx:pt>
          <cx:pt idx="23559">3</cx:pt>
          <cx:pt idx="23560">3</cx:pt>
          <cx:pt idx="23561">4</cx:pt>
          <cx:pt idx="23562">5</cx:pt>
          <cx:pt idx="23563">5</cx:pt>
          <cx:pt idx="23564">2</cx:pt>
          <cx:pt idx="23565">5</cx:pt>
          <cx:pt idx="23566">2</cx:pt>
          <cx:pt idx="23567">4</cx:pt>
          <cx:pt idx="23568">2</cx:pt>
          <cx:pt idx="23569">2</cx:pt>
          <cx:pt idx="23570">1</cx:pt>
          <cx:pt idx="23571">4</cx:pt>
          <cx:pt idx="23572">3</cx:pt>
          <cx:pt idx="23573">1</cx:pt>
          <cx:pt idx="23574">4</cx:pt>
          <cx:pt idx="23575">4</cx:pt>
          <cx:pt idx="23576">3</cx:pt>
          <cx:pt idx="23577">5</cx:pt>
          <cx:pt idx="23578">5</cx:pt>
          <cx:pt idx="23579">4</cx:pt>
          <cx:pt idx="23580">3</cx:pt>
          <cx:pt idx="23581">5</cx:pt>
          <cx:pt idx="23582">1</cx:pt>
          <cx:pt idx="23583">3</cx:pt>
          <cx:pt idx="23584">4</cx:pt>
          <cx:pt idx="23585">2</cx:pt>
          <cx:pt idx="23586">5</cx:pt>
          <cx:pt idx="23587">1</cx:pt>
          <cx:pt idx="23588">4</cx:pt>
          <cx:pt idx="23589">1</cx:pt>
          <cx:pt idx="23590">5</cx:pt>
          <cx:pt idx="23591">3</cx:pt>
          <cx:pt idx="23592">2</cx:pt>
          <cx:pt idx="23593">3</cx:pt>
          <cx:pt idx="23594">3</cx:pt>
          <cx:pt idx="23595">1</cx:pt>
          <cx:pt idx="23596">5</cx:pt>
          <cx:pt idx="23597">2</cx:pt>
          <cx:pt idx="23598">4</cx:pt>
          <cx:pt idx="23599">3</cx:pt>
          <cx:pt idx="23600">3</cx:pt>
          <cx:pt idx="23601">4</cx:pt>
          <cx:pt idx="23602">2</cx:pt>
          <cx:pt idx="23603">4</cx:pt>
          <cx:pt idx="23604">4</cx:pt>
          <cx:pt idx="23605">5</cx:pt>
          <cx:pt idx="23606">4</cx:pt>
          <cx:pt idx="23607">4</cx:pt>
          <cx:pt idx="23608">2</cx:pt>
          <cx:pt idx="23609">5</cx:pt>
          <cx:pt idx="23610">5</cx:pt>
          <cx:pt idx="23611">3</cx:pt>
          <cx:pt idx="23612">4</cx:pt>
          <cx:pt idx="23613">4</cx:pt>
          <cx:pt idx="23614">2</cx:pt>
          <cx:pt idx="23615">5</cx:pt>
          <cx:pt idx="23616">2</cx:pt>
          <cx:pt idx="23617">2</cx:pt>
          <cx:pt idx="23618">1</cx:pt>
          <cx:pt idx="23619">1</cx:pt>
          <cx:pt idx="23620">4</cx:pt>
          <cx:pt idx="23621">2</cx:pt>
          <cx:pt idx="23622">2</cx:pt>
          <cx:pt idx="23623">1</cx:pt>
          <cx:pt idx="23624">5</cx:pt>
          <cx:pt idx="23625">3</cx:pt>
          <cx:pt idx="23626">4</cx:pt>
          <cx:pt idx="23627">5</cx:pt>
          <cx:pt idx="23628">3</cx:pt>
          <cx:pt idx="23629">3</cx:pt>
          <cx:pt idx="23630">0</cx:pt>
          <cx:pt idx="23631">3</cx:pt>
          <cx:pt idx="23632">3</cx:pt>
          <cx:pt idx="23633">3</cx:pt>
          <cx:pt idx="23634">0</cx:pt>
          <cx:pt idx="23635">3</cx:pt>
          <cx:pt idx="23636">2</cx:pt>
          <cx:pt idx="23637">1</cx:pt>
          <cx:pt idx="23638">2</cx:pt>
          <cx:pt idx="23639">3</cx:pt>
          <cx:pt idx="23640">4</cx:pt>
          <cx:pt idx="23641">4</cx:pt>
          <cx:pt idx="23642">2</cx:pt>
          <cx:pt idx="23643">4</cx:pt>
          <cx:pt idx="23644">5</cx:pt>
          <cx:pt idx="23645">2</cx:pt>
          <cx:pt idx="23646">1</cx:pt>
          <cx:pt idx="23647">0</cx:pt>
          <cx:pt idx="23648">5</cx:pt>
          <cx:pt idx="23649">4</cx:pt>
          <cx:pt idx="23650">3</cx:pt>
          <cx:pt idx="23651">5</cx:pt>
          <cx:pt idx="23652">2</cx:pt>
          <cx:pt idx="23653">2</cx:pt>
          <cx:pt idx="23654">2</cx:pt>
          <cx:pt idx="23655">2</cx:pt>
          <cx:pt idx="23656">5</cx:pt>
          <cx:pt idx="23657">2</cx:pt>
          <cx:pt idx="23658">1</cx:pt>
          <cx:pt idx="23659">2</cx:pt>
          <cx:pt idx="23660">1</cx:pt>
          <cx:pt idx="23661">1</cx:pt>
          <cx:pt idx="23662">1</cx:pt>
          <cx:pt idx="23663">4</cx:pt>
          <cx:pt idx="23664">2</cx:pt>
          <cx:pt idx="23665">3</cx:pt>
          <cx:pt idx="23666">1</cx:pt>
          <cx:pt idx="23667">5</cx:pt>
          <cx:pt idx="23668">2</cx:pt>
          <cx:pt idx="23669">2</cx:pt>
          <cx:pt idx="23670">2</cx:pt>
          <cx:pt idx="23671">0</cx:pt>
          <cx:pt idx="23672">2</cx:pt>
          <cx:pt idx="23673">0</cx:pt>
          <cx:pt idx="23674">5</cx:pt>
          <cx:pt idx="23675">4</cx:pt>
          <cx:pt idx="23676">4</cx:pt>
          <cx:pt idx="23677">1</cx:pt>
          <cx:pt idx="23678">3</cx:pt>
          <cx:pt idx="23679">3</cx:pt>
          <cx:pt idx="23680">2</cx:pt>
          <cx:pt idx="23681">4</cx:pt>
          <cx:pt idx="23682">2</cx:pt>
          <cx:pt idx="23683">4</cx:pt>
          <cx:pt idx="23684">5</cx:pt>
          <cx:pt idx="23685">5</cx:pt>
          <cx:pt idx="23686">2</cx:pt>
          <cx:pt idx="23687">3</cx:pt>
          <cx:pt idx="23688">2</cx:pt>
          <cx:pt idx="23689">2</cx:pt>
          <cx:pt idx="23690">1</cx:pt>
          <cx:pt idx="23691">3</cx:pt>
          <cx:pt idx="23692">3</cx:pt>
          <cx:pt idx="23693">2</cx:pt>
          <cx:pt idx="23694">1</cx:pt>
          <cx:pt idx="23695">2</cx:pt>
          <cx:pt idx="23696">4</cx:pt>
          <cx:pt idx="23697">1</cx:pt>
          <cx:pt idx="23698">4</cx:pt>
          <cx:pt idx="23699">3</cx:pt>
          <cx:pt idx="23700">4</cx:pt>
          <cx:pt idx="23701">1</cx:pt>
          <cx:pt idx="23702">1</cx:pt>
          <cx:pt idx="23703">2</cx:pt>
          <cx:pt idx="23704">3</cx:pt>
          <cx:pt idx="23705">3</cx:pt>
          <cx:pt idx="23706">0</cx:pt>
          <cx:pt idx="23707">1</cx:pt>
          <cx:pt idx="23708">4</cx:pt>
          <cx:pt idx="23709">5</cx:pt>
          <cx:pt idx="23710">0</cx:pt>
          <cx:pt idx="23711">5</cx:pt>
          <cx:pt idx="23712">1</cx:pt>
          <cx:pt idx="23713">4</cx:pt>
          <cx:pt idx="23714">2</cx:pt>
          <cx:pt idx="23715">2</cx:pt>
          <cx:pt idx="23716">3</cx:pt>
          <cx:pt idx="23717">5</cx:pt>
          <cx:pt idx="23718">4</cx:pt>
          <cx:pt idx="23719">0</cx:pt>
          <cx:pt idx="23720">2</cx:pt>
          <cx:pt idx="23721">2</cx:pt>
          <cx:pt idx="23722">1</cx:pt>
          <cx:pt idx="23723">3</cx:pt>
          <cx:pt idx="23724">3</cx:pt>
          <cx:pt idx="23725">2</cx:pt>
          <cx:pt idx="23726">1</cx:pt>
          <cx:pt idx="23727">3</cx:pt>
          <cx:pt idx="23728">3</cx:pt>
          <cx:pt idx="23729">4</cx:pt>
          <cx:pt idx="23730">2</cx:pt>
          <cx:pt idx="23731">4</cx:pt>
          <cx:pt idx="23732">5</cx:pt>
          <cx:pt idx="23733">2</cx:pt>
          <cx:pt idx="23734">5</cx:pt>
          <cx:pt idx="23735">5</cx:pt>
          <cx:pt idx="23736">2</cx:pt>
          <cx:pt idx="23737">1</cx:pt>
          <cx:pt idx="23738">3</cx:pt>
          <cx:pt idx="23739">2</cx:pt>
          <cx:pt idx="23740">1</cx:pt>
          <cx:pt idx="23741">4</cx:pt>
          <cx:pt idx="23742">3</cx:pt>
          <cx:pt idx="23743">2</cx:pt>
          <cx:pt idx="23744">5</cx:pt>
          <cx:pt idx="23745">3</cx:pt>
          <cx:pt idx="23746">5</cx:pt>
          <cx:pt idx="23747">2</cx:pt>
          <cx:pt idx="23748">1</cx:pt>
          <cx:pt idx="23749">2</cx:pt>
          <cx:pt idx="23750">4</cx:pt>
          <cx:pt idx="23751">4</cx:pt>
          <cx:pt idx="23752">5</cx:pt>
          <cx:pt idx="23753">4</cx:pt>
          <cx:pt idx="23754">1</cx:pt>
          <cx:pt idx="23755">1</cx:pt>
          <cx:pt idx="23756">4</cx:pt>
          <cx:pt idx="23757">5</cx:pt>
          <cx:pt idx="23758">5</cx:pt>
          <cx:pt idx="23759">3</cx:pt>
          <cx:pt idx="23760">2</cx:pt>
          <cx:pt idx="23761">2</cx:pt>
          <cx:pt idx="23762">3</cx:pt>
          <cx:pt idx="23763">3</cx:pt>
          <cx:pt idx="23764">5</cx:pt>
          <cx:pt idx="23765">2</cx:pt>
          <cx:pt idx="23766">2</cx:pt>
          <cx:pt idx="23767">1</cx:pt>
          <cx:pt idx="23768">2</cx:pt>
          <cx:pt idx="23769">0</cx:pt>
          <cx:pt idx="23770">3</cx:pt>
          <cx:pt idx="23771">2</cx:pt>
          <cx:pt idx="23772">3</cx:pt>
          <cx:pt idx="23773">1</cx:pt>
          <cx:pt idx="23774">5</cx:pt>
          <cx:pt idx="23775">1</cx:pt>
          <cx:pt idx="23776">4</cx:pt>
          <cx:pt idx="23777">2</cx:pt>
          <cx:pt idx="23778">2</cx:pt>
          <cx:pt idx="23779">1</cx:pt>
          <cx:pt idx="23780">5</cx:pt>
          <cx:pt idx="23781">3</cx:pt>
          <cx:pt idx="23782">4</cx:pt>
          <cx:pt idx="23783">3</cx:pt>
          <cx:pt idx="23784">2</cx:pt>
          <cx:pt idx="23785">1</cx:pt>
          <cx:pt idx="23786">2</cx:pt>
          <cx:pt idx="23787">0</cx:pt>
          <cx:pt idx="23788">2</cx:pt>
          <cx:pt idx="23789">3</cx:pt>
          <cx:pt idx="23790">5</cx:pt>
          <cx:pt idx="23791">3</cx:pt>
          <cx:pt idx="23792">4</cx:pt>
          <cx:pt idx="23793">3</cx:pt>
          <cx:pt idx="23794">1</cx:pt>
          <cx:pt idx="23795">1</cx:pt>
          <cx:pt idx="23796">2</cx:pt>
          <cx:pt idx="23797">1</cx:pt>
          <cx:pt idx="23798">1</cx:pt>
          <cx:pt idx="23799">1</cx:pt>
          <cx:pt idx="23800">1</cx:pt>
          <cx:pt idx="23801">0</cx:pt>
          <cx:pt idx="23802">5</cx:pt>
          <cx:pt idx="23803">1</cx:pt>
          <cx:pt idx="23804">2</cx:pt>
          <cx:pt idx="23805">4</cx:pt>
          <cx:pt idx="23806">2</cx:pt>
          <cx:pt idx="23807">2</cx:pt>
          <cx:pt idx="23808">1</cx:pt>
          <cx:pt idx="23809">1</cx:pt>
          <cx:pt idx="23810">4</cx:pt>
          <cx:pt idx="23811">3</cx:pt>
          <cx:pt idx="23812">5</cx:pt>
          <cx:pt idx="23813">4</cx:pt>
          <cx:pt idx="23814">4</cx:pt>
          <cx:pt idx="23815">5</cx:pt>
          <cx:pt idx="23816">4</cx:pt>
          <cx:pt idx="23817">3</cx:pt>
          <cx:pt idx="23818">4</cx:pt>
          <cx:pt idx="23819">2</cx:pt>
          <cx:pt idx="23820">3</cx:pt>
          <cx:pt idx="23821">2</cx:pt>
          <cx:pt idx="23822">1</cx:pt>
          <cx:pt idx="23823">3</cx:pt>
          <cx:pt idx="23824">2</cx:pt>
          <cx:pt idx="23825">0</cx:pt>
          <cx:pt idx="23826">5</cx:pt>
          <cx:pt idx="23827">2</cx:pt>
          <cx:pt idx="23828">4</cx:pt>
          <cx:pt idx="23829">2</cx:pt>
          <cx:pt idx="23830">2</cx:pt>
          <cx:pt idx="23831">5</cx:pt>
          <cx:pt idx="23832">5</cx:pt>
          <cx:pt idx="23833">2</cx:pt>
          <cx:pt idx="23834">3</cx:pt>
          <cx:pt idx="23835">5</cx:pt>
          <cx:pt idx="23836">2</cx:pt>
          <cx:pt idx="23837">3</cx:pt>
          <cx:pt idx="23838">2</cx:pt>
          <cx:pt idx="23839">1</cx:pt>
          <cx:pt idx="23840">3</cx:pt>
          <cx:pt idx="23841">3</cx:pt>
          <cx:pt idx="23842">5</cx:pt>
          <cx:pt idx="23843">1</cx:pt>
          <cx:pt idx="23844">3</cx:pt>
          <cx:pt idx="23845">1</cx:pt>
          <cx:pt idx="23846">1</cx:pt>
          <cx:pt idx="23847">2</cx:pt>
          <cx:pt idx="23848">5</cx:pt>
          <cx:pt idx="23849">5</cx:pt>
          <cx:pt idx="23850">4</cx:pt>
          <cx:pt idx="23851">2</cx:pt>
          <cx:pt idx="23852">3</cx:pt>
          <cx:pt idx="23853">4</cx:pt>
          <cx:pt idx="23854">3</cx:pt>
          <cx:pt idx="23855">3</cx:pt>
          <cx:pt idx="23856">4</cx:pt>
          <cx:pt idx="23857">4</cx:pt>
          <cx:pt idx="23858">5</cx:pt>
          <cx:pt idx="23859">2</cx:pt>
          <cx:pt idx="23860">1</cx:pt>
          <cx:pt idx="23861">2</cx:pt>
          <cx:pt idx="23862">4</cx:pt>
          <cx:pt idx="23863">4</cx:pt>
          <cx:pt idx="23864">4</cx:pt>
          <cx:pt idx="23865">3</cx:pt>
          <cx:pt idx="23866">5</cx:pt>
          <cx:pt idx="23867">3</cx:pt>
          <cx:pt idx="23868">2</cx:pt>
          <cx:pt idx="23869">2</cx:pt>
          <cx:pt idx="23870">5</cx:pt>
          <cx:pt idx="23871">4</cx:pt>
          <cx:pt idx="23872">5</cx:pt>
          <cx:pt idx="23873">4</cx:pt>
          <cx:pt idx="23874">3</cx:pt>
          <cx:pt idx="23875">1</cx:pt>
          <cx:pt idx="23876">4</cx:pt>
          <cx:pt idx="23877">3</cx:pt>
          <cx:pt idx="23878">1</cx:pt>
          <cx:pt idx="23879">3</cx:pt>
          <cx:pt idx="23880">0</cx:pt>
          <cx:pt idx="23881">2</cx:pt>
          <cx:pt idx="23882">4</cx:pt>
          <cx:pt idx="23883">2</cx:pt>
          <cx:pt idx="23884">1</cx:pt>
          <cx:pt idx="23885">0</cx:pt>
          <cx:pt idx="23886">2</cx:pt>
          <cx:pt idx="23887">2</cx:pt>
          <cx:pt idx="23888">2</cx:pt>
          <cx:pt idx="23889">2</cx:pt>
          <cx:pt idx="23890">5</cx:pt>
          <cx:pt idx="23891">2</cx:pt>
          <cx:pt idx="23892">3</cx:pt>
          <cx:pt idx="23893">1</cx:pt>
          <cx:pt idx="23894">2</cx:pt>
          <cx:pt idx="23895">2</cx:pt>
          <cx:pt idx="23896">5</cx:pt>
          <cx:pt idx="23897">2</cx:pt>
          <cx:pt idx="23898">1</cx:pt>
          <cx:pt idx="23899">3</cx:pt>
          <cx:pt idx="23900">5</cx:pt>
          <cx:pt idx="23901">3</cx:pt>
          <cx:pt idx="23902">0</cx:pt>
          <cx:pt idx="23903">2</cx:pt>
          <cx:pt idx="23904">2</cx:pt>
          <cx:pt idx="23905">4</cx:pt>
          <cx:pt idx="23906">5</cx:pt>
          <cx:pt idx="23907">4</cx:pt>
          <cx:pt idx="23908">5</cx:pt>
          <cx:pt idx="23909">3</cx:pt>
          <cx:pt idx="23910">5</cx:pt>
          <cx:pt idx="23911">2</cx:pt>
          <cx:pt idx="23912">0</cx:pt>
          <cx:pt idx="23913">3</cx:pt>
          <cx:pt idx="23914">4</cx:pt>
          <cx:pt idx="23915">1</cx:pt>
          <cx:pt idx="23916">1</cx:pt>
          <cx:pt idx="23917">2</cx:pt>
          <cx:pt idx="23918">4</cx:pt>
          <cx:pt idx="23919">3</cx:pt>
          <cx:pt idx="23920">1</cx:pt>
          <cx:pt idx="23921">1</cx:pt>
          <cx:pt idx="23922">2</cx:pt>
          <cx:pt idx="23923">3</cx:pt>
          <cx:pt idx="23924">3</cx:pt>
          <cx:pt idx="23925">3</cx:pt>
          <cx:pt idx="23926">1</cx:pt>
          <cx:pt idx="23927">5</cx:pt>
          <cx:pt idx="23928">3</cx:pt>
          <cx:pt idx="23929">3</cx:pt>
          <cx:pt idx="23930">4</cx:pt>
          <cx:pt idx="23931">4</cx:pt>
          <cx:pt idx="23932">1</cx:pt>
          <cx:pt idx="23933">1</cx:pt>
          <cx:pt idx="23934">2</cx:pt>
          <cx:pt idx="23935">4</cx:pt>
          <cx:pt idx="23936">2</cx:pt>
          <cx:pt idx="23937">4</cx:pt>
          <cx:pt idx="23938">3</cx:pt>
          <cx:pt idx="23939">3</cx:pt>
          <cx:pt idx="23940">3</cx:pt>
          <cx:pt idx="23941">2</cx:pt>
          <cx:pt idx="23942">2</cx:pt>
          <cx:pt idx="23943">2</cx:pt>
          <cx:pt idx="23944">4</cx:pt>
          <cx:pt idx="23945">1</cx:pt>
          <cx:pt idx="23946">4</cx:pt>
          <cx:pt idx="23947">3</cx:pt>
          <cx:pt idx="23948">2</cx:pt>
          <cx:pt idx="23949">4</cx:pt>
          <cx:pt idx="23950">2</cx:pt>
          <cx:pt idx="23951">2</cx:pt>
          <cx:pt idx="23952">2</cx:pt>
          <cx:pt idx="23953">3</cx:pt>
          <cx:pt idx="23954">5</cx:pt>
          <cx:pt idx="23955">5</cx:pt>
          <cx:pt idx="23956">5</cx:pt>
          <cx:pt idx="23957">1</cx:pt>
          <cx:pt idx="23958">2</cx:pt>
          <cx:pt idx="23959">1</cx:pt>
          <cx:pt idx="23960">2</cx:pt>
          <cx:pt idx="23961">1</cx:pt>
          <cx:pt idx="23962">2</cx:pt>
          <cx:pt idx="23963">2</cx:pt>
          <cx:pt idx="23964">4</cx:pt>
          <cx:pt idx="23965">4</cx:pt>
          <cx:pt idx="23966">4</cx:pt>
          <cx:pt idx="23967">3</cx:pt>
          <cx:pt idx="23968">2</cx:pt>
          <cx:pt idx="23969">5</cx:pt>
          <cx:pt idx="23970">3</cx:pt>
          <cx:pt idx="23971">3</cx:pt>
          <cx:pt idx="23972">0</cx:pt>
          <cx:pt idx="23973">1</cx:pt>
          <cx:pt idx="23974">4</cx:pt>
          <cx:pt idx="23975">4</cx:pt>
          <cx:pt idx="23976">3</cx:pt>
          <cx:pt idx="23977">5</cx:pt>
          <cx:pt idx="23978">5</cx:pt>
          <cx:pt idx="23979">3</cx:pt>
          <cx:pt idx="23980">5</cx:pt>
          <cx:pt idx="23981">2</cx:pt>
          <cx:pt idx="23982">2</cx:pt>
          <cx:pt idx="23983">4</cx:pt>
          <cx:pt idx="23984">5</cx:pt>
          <cx:pt idx="23985">1</cx:pt>
          <cx:pt idx="23986">1</cx:pt>
          <cx:pt idx="23987">1</cx:pt>
          <cx:pt idx="23988">2</cx:pt>
          <cx:pt idx="23989">2</cx:pt>
          <cx:pt idx="23990">5</cx:pt>
          <cx:pt idx="23991">2</cx:pt>
          <cx:pt idx="23992">4</cx:pt>
          <cx:pt idx="23993">2</cx:pt>
          <cx:pt idx="23994">0</cx:pt>
          <cx:pt idx="23995">3</cx:pt>
          <cx:pt idx="23996">3</cx:pt>
          <cx:pt idx="23997">4</cx:pt>
          <cx:pt idx="23998">1</cx:pt>
          <cx:pt idx="23999">5</cx:pt>
          <cx:pt idx="24000">4</cx:pt>
          <cx:pt idx="24001">2</cx:pt>
          <cx:pt idx="24002">5</cx:pt>
          <cx:pt idx="24003">4</cx:pt>
          <cx:pt idx="24004">2</cx:pt>
          <cx:pt idx="24005">0</cx:pt>
          <cx:pt idx="24006">4</cx:pt>
          <cx:pt idx="24007">2</cx:pt>
          <cx:pt idx="24008">1</cx:pt>
          <cx:pt idx="24009">2</cx:pt>
          <cx:pt idx="24010">1</cx:pt>
          <cx:pt idx="24011">2</cx:pt>
          <cx:pt idx="24012">3</cx:pt>
          <cx:pt idx="24013">4</cx:pt>
          <cx:pt idx="24014">4</cx:pt>
          <cx:pt idx="24015">2</cx:pt>
          <cx:pt idx="24016">2</cx:pt>
          <cx:pt idx="24017">0</cx:pt>
          <cx:pt idx="24018">2</cx:pt>
          <cx:pt idx="24019">3</cx:pt>
          <cx:pt idx="24020">2</cx:pt>
          <cx:pt idx="24021">3</cx:pt>
          <cx:pt idx="24022">2</cx:pt>
          <cx:pt idx="24023">4</cx:pt>
          <cx:pt idx="24024">0</cx:pt>
          <cx:pt idx="24025">3</cx:pt>
          <cx:pt idx="24026">0</cx:pt>
          <cx:pt idx="24027">3</cx:pt>
          <cx:pt idx="24028">3</cx:pt>
          <cx:pt idx="24029">2</cx:pt>
          <cx:pt idx="24030">3</cx:pt>
          <cx:pt idx="24031">2</cx:pt>
          <cx:pt idx="24032">2</cx:pt>
          <cx:pt idx="24033">1</cx:pt>
          <cx:pt idx="24034">0</cx:pt>
          <cx:pt idx="24035">0</cx:pt>
          <cx:pt idx="24036">4</cx:pt>
          <cx:pt idx="24037">2</cx:pt>
          <cx:pt idx="24038">1</cx:pt>
          <cx:pt idx="24039">2</cx:pt>
          <cx:pt idx="24040">3</cx:pt>
          <cx:pt idx="24041">2</cx:pt>
          <cx:pt idx="24042">2</cx:pt>
          <cx:pt idx="24043">3</cx:pt>
          <cx:pt idx="24044">3</cx:pt>
          <cx:pt idx="24045">3</cx:pt>
          <cx:pt idx="24046">3</cx:pt>
          <cx:pt idx="24047">1</cx:pt>
          <cx:pt idx="24048">1</cx:pt>
          <cx:pt idx="24049">4</cx:pt>
          <cx:pt idx="24050">4</cx:pt>
          <cx:pt idx="24051">1</cx:pt>
          <cx:pt idx="24052">2</cx:pt>
          <cx:pt idx="24053">2</cx:pt>
          <cx:pt idx="24054">5</cx:pt>
          <cx:pt idx="24055">2</cx:pt>
          <cx:pt idx="24056">0</cx:pt>
          <cx:pt idx="24057">4</cx:pt>
          <cx:pt idx="24058">1</cx:pt>
          <cx:pt idx="24059">3</cx:pt>
          <cx:pt idx="24060">2</cx:pt>
          <cx:pt idx="24061">4</cx:pt>
          <cx:pt idx="24062">3</cx:pt>
          <cx:pt idx="24063">0</cx:pt>
          <cx:pt idx="24064">1</cx:pt>
          <cx:pt idx="24065">4</cx:pt>
          <cx:pt idx="24066">3</cx:pt>
          <cx:pt idx="24067">4</cx:pt>
          <cx:pt idx="24068">0</cx:pt>
          <cx:pt idx="24069">2</cx:pt>
          <cx:pt idx="24070">3</cx:pt>
          <cx:pt idx="24071">3</cx:pt>
          <cx:pt idx="24072">1</cx:pt>
          <cx:pt idx="24073">3</cx:pt>
          <cx:pt idx="24074">5</cx:pt>
          <cx:pt idx="24075">2</cx:pt>
          <cx:pt idx="24076">1</cx:pt>
          <cx:pt idx="24077">3</cx:pt>
          <cx:pt idx="24078">2</cx:pt>
          <cx:pt idx="24079">2</cx:pt>
          <cx:pt idx="24080">4</cx:pt>
          <cx:pt idx="24081">2</cx:pt>
          <cx:pt idx="24082">2</cx:pt>
          <cx:pt idx="24083">2</cx:pt>
          <cx:pt idx="24084">2</cx:pt>
          <cx:pt idx="24085">2</cx:pt>
          <cx:pt idx="24086">5</cx:pt>
          <cx:pt idx="24087">4</cx:pt>
          <cx:pt idx="24088">3</cx:pt>
          <cx:pt idx="24089">1</cx:pt>
          <cx:pt idx="24090">2</cx:pt>
          <cx:pt idx="24091">4</cx:pt>
          <cx:pt idx="24092">4</cx:pt>
          <cx:pt idx="24093">5</cx:pt>
          <cx:pt idx="24094">2</cx:pt>
          <cx:pt idx="24095">2</cx:pt>
          <cx:pt idx="24096">2</cx:pt>
          <cx:pt idx="24097">0</cx:pt>
          <cx:pt idx="24098">3</cx:pt>
          <cx:pt idx="24099">1</cx:pt>
          <cx:pt idx="24100">5</cx:pt>
          <cx:pt idx="24101">5</cx:pt>
          <cx:pt idx="24102">4</cx:pt>
          <cx:pt idx="24103">1</cx:pt>
          <cx:pt idx="24104">1</cx:pt>
          <cx:pt idx="24105">5</cx:pt>
          <cx:pt idx="24106">4</cx:pt>
          <cx:pt idx="24107">4</cx:pt>
          <cx:pt idx="24108">2</cx:pt>
          <cx:pt idx="24109">4</cx:pt>
          <cx:pt idx="24110">2</cx:pt>
          <cx:pt idx="24111">4</cx:pt>
          <cx:pt idx="24112">2</cx:pt>
          <cx:pt idx="24113">2</cx:pt>
          <cx:pt idx="24114">0</cx:pt>
          <cx:pt idx="24115">3</cx:pt>
          <cx:pt idx="24116">5</cx:pt>
          <cx:pt idx="24117">3</cx:pt>
          <cx:pt idx="24118">5</cx:pt>
          <cx:pt idx="24119">5</cx:pt>
          <cx:pt idx="24120">3</cx:pt>
          <cx:pt idx="24121">2</cx:pt>
          <cx:pt idx="24122">2</cx:pt>
          <cx:pt idx="24123">3</cx:pt>
          <cx:pt idx="24124">5</cx:pt>
          <cx:pt idx="24125">3</cx:pt>
          <cx:pt idx="24126">2</cx:pt>
          <cx:pt idx="24127">5</cx:pt>
          <cx:pt idx="24128">3</cx:pt>
          <cx:pt idx="24129">4</cx:pt>
          <cx:pt idx="24130">1</cx:pt>
          <cx:pt idx="24131">2</cx:pt>
          <cx:pt idx="24132">1</cx:pt>
          <cx:pt idx="24133">4</cx:pt>
          <cx:pt idx="24134">1</cx:pt>
          <cx:pt idx="24135">2</cx:pt>
          <cx:pt idx="24136">4</cx:pt>
          <cx:pt idx="24137">0</cx:pt>
          <cx:pt idx="24138">5</cx:pt>
          <cx:pt idx="24139">2</cx:pt>
          <cx:pt idx="24140">2</cx:pt>
          <cx:pt idx="24141">3</cx:pt>
          <cx:pt idx="24142">3</cx:pt>
          <cx:pt idx="24143">3</cx:pt>
          <cx:pt idx="24144">2</cx:pt>
          <cx:pt idx="24145">2</cx:pt>
          <cx:pt idx="24146">5</cx:pt>
          <cx:pt idx="24147">3</cx:pt>
          <cx:pt idx="24148">5</cx:pt>
          <cx:pt idx="24149">4</cx:pt>
          <cx:pt idx="24150">1</cx:pt>
          <cx:pt idx="24151">2</cx:pt>
          <cx:pt idx="24152">2</cx:pt>
          <cx:pt idx="24153">3</cx:pt>
          <cx:pt idx="24154">4</cx:pt>
          <cx:pt idx="24155">2</cx:pt>
          <cx:pt idx="24156">1</cx:pt>
          <cx:pt idx="24157">2</cx:pt>
          <cx:pt idx="24158">2</cx:pt>
          <cx:pt idx="24159">1</cx:pt>
          <cx:pt idx="24160">4</cx:pt>
          <cx:pt idx="24161">4</cx:pt>
          <cx:pt idx="24162">2</cx:pt>
          <cx:pt idx="24163">2</cx:pt>
          <cx:pt idx="24164">3</cx:pt>
          <cx:pt idx="24165">2</cx:pt>
          <cx:pt idx="24166">2</cx:pt>
          <cx:pt idx="24167">4</cx:pt>
          <cx:pt idx="24168">3</cx:pt>
          <cx:pt idx="24169">1</cx:pt>
          <cx:pt idx="24170">3</cx:pt>
          <cx:pt idx="24171">1</cx:pt>
          <cx:pt idx="24172">2</cx:pt>
          <cx:pt idx="24173">3</cx:pt>
          <cx:pt idx="24174">2</cx:pt>
          <cx:pt idx="24175">1</cx:pt>
          <cx:pt idx="24176">5</cx:pt>
          <cx:pt idx="24177">3</cx:pt>
          <cx:pt idx="24178">0</cx:pt>
          <cx:pt idx="24179">3</cx:pt>
          <cx:pt idx="24180">3</cx:pt>
          <cx:pt idx="24181">2</cx:pt>
          <cx:pt idx="24182">2</cx:pt>
          <cx:pt idx="24183">1</cx:pt>
          <cx:pt idx="24184">4</cx:pt>
          <cx:pt idx="24185">5</cx:pt>
          <cx:pt idx="24186">4</cx:pt>
          <cx:pt idx="24187">2</cx:pt>
          <cx:pt idx="24188">5</cx:pt>
          <cx:pt idx="24189">1</cx:pt>
          <cx:pt idx="24190">2</cx:pt>
          <cx:pt idx="24191">4</cx:pt>
          <cx:pt idx="24192">4</cx:pt>
          <cx:pt idx="24193">4</cx:pt>
          <cx:pt idx="24194">4</cx:pt>
          <cx:pt idx="24195">2</cx:pt>
          <cx:pt idx="24196">2</cx:pt>
          <cx:pt idx="24197">4</cx:pt>
          <cx:pt idx="24198">3</cx:pt>
          <cx:pt idx="24199">3</cx:pt>
          <cx:pt idx="24200">3</cx:pt>
          <cx:pt idx="24201">3</cx:pt>
          <cx:pt idx="24202">5</cx:pt>
          <cx:pt idx="24203">2</cx:pt>
          <cx:pt idx="24204">3</cx:pt>
          <cx:pt idx="24205">3</cx:pt>
          <cx:pt idx="24206">4</cx:pt>
          <cx:pt idx="24207">1</cx:pt>
          <cx:pt idx="24208">4</cx:pt>
          <cx:pt idx="24209">2</cx:pt>
          <cx:pt idx="24210">2</cx:pt>
          <cx:pt idx="24211">1</cx:pt>
          <cx:pt idx="24212">3</cx:pt>
          <cx:pt idx="24213">1</cx:pt>
          <cx:pt idx="24214">2</cx:pt>
          <cx:pt idx="24215">4</cx:pt>
          <cx:pt idx="24216">3</cx:pt>
          <cx:pt idx="24217">4</cx:pt>
          <cx:pt idx="24218">3</cx:pt>
          <cx:pt idx="24219">5</cx:pt>
          <cx:pt idx="24220">2</cx:pt>
          <cx:pt idx="24221">5</cx:pt>
          <cx:pt idx="24222">4</cx:pt>
          <cx:pt idx="24223">1</cx:pt>
          <cx:pt idx="24224">2</cx:pt>
          <cx:pt idx="24225">2</cx:pt>
          <cx:pt idx="24226">5</cx:pt>
          <cx:pt idx="24227">4</cx:pt>
          <cx:pt idx="24228">2</cx:pt>
          <cx:pt idx="24229">2</cx:pt>
          <cx:pt idx="24230">1</cx:pt>
          <cx:pt idx="24231">2</cx:pt>
          <cx:pt idx="24232">4</cx:pt>
          <cx:pt idx="24233">5</cx:pt>
          <cx:pt idx="24234">5</cx:pt>
          <cx:pt idx="24235">3</cx:pt>
          <cx:pt idx="24236">1</cx:pt>
          <cx:pt idx="24237">1</cx:pt>
          <cx:pt idx="24238">4</cx:pt>
          <cx:pt idx="24239">4</cx:pt>
          <cx:pt idx="24240">4</cx:pt>
          <cx:pt idx="24241">1</cx:pt>
          <cx:pt idx="24242">2</cx:pt>
          <cx:pt idx="24243">1</cx:pt>
          <cx:pt idx="24244">5</cx:pt>
          <cx:pt idx="24245">3</cx:pt>
          <cx:pt idx="24246">4</cx:pt>
          <cx:pt idx="24247">2</cx:pt>
          <cx:pt idx="24248">5</cx:pt>
          <cx:pt idx="24249">3</cx:pt>
          <cx:pt idx="24250">1</cx:pt>
          <cx:pt idx="24251">3</cx:pt>
          <cx:pt idx="24252">4</cx:pt>
          <cx:pt idx="24253">2</cx:pt>
          <cx:pt idx="24254">3</cx:pt>
          <cx:pt idx="24255">2</cx:pt>
          <cx:pt idx="24256">0</cx:pt>
          <cx:pt idx="24257">4</cx:pt>
          <cx:pt idx="24258">3</cx:pt>
          <cx:pt idx="24259">3</cx:pt>
          <cx:pt idx="24260">2</cx:pt>
          <cx:pt idx="24261">4</cx:pt>
          <cx:pt idx="24262">3</cx:pt>
          <cx:pt idx="24263">4</cx:pt>
          <cx:pt idx="24264">5</cx:pt>
          <cx:pt idx="24265">5</cx:pt>
          <cx:pt idx="24266">4</cx:pt>
          <cx:pt idx="24267">3</cx:pt>
          <cx:pt idx="24268">1</cx:pt>
          <cx:pt idx="24269">3</cx:pt>
          <cx:pt idx="24270">3</cx:pt>
          <cx:pt idx="24271">2</cx:pt>
          <cx:pt idx="24272">3</cx:pt>
          <cx:pt idx="24273">3</cx:pt>
          <cx:pt idx="24274">1</cx:pt>
          <cx:pt idx="24275">1</cx:pt>
          <cx:pt idx="24276">0</cx:pt>
          <cx:pt idx="24277">3</cx:pt>
          <cx:pt idx="24278">0</cx:pt>
          <cx:pt idx="24279">2</cx:pt>
          <cx:pt idx="24280">2</cx:pt>
          <cx:pt idx="24281">2</cx:pt>
          <cx:pt idx="24282">1</cx:pt>
          <cx:pt idx="24283">4</cx:pt>
          <cx:pt idx="24284">2</cx:pt>
          <cx:pt idx="24285">2</cx:pt>
          <cx:pt idx="24286">5</cx:pt>
          <cx:pt idx="24287">5</cx:pt>
          <cx:pt idx="24288">2</cx:pt>
          <cx:pt idx="24289">3</cx:pt>
          <cx:pt idx="24290">4</cx:pt>
          <cx:pt idx="24291">2</cx:pt>
          <cx:pt idx="24292">5</cx:pt>
          <cx:pt idx="24293">1</cx:pt>
          <cx:pt idx="24294">3</cx:pt>
          <cx:pt idx="24295">0</cx:pt>
          <cx:pt idx="24296">2</cx:pt>
          <cx:pt idx="24297">4</cx:pt>
          <cx:pt idx="24298">2</cx:pt>
          <cx:pt idx="24299">3</cx:pt>
          <cx:pt idx="24300">1</cx:pt>
          <cx:pt idx="24301">0</cx:pt>
          <cx:pt idx="24302">3</cx:pt>
          <cx:pt idx="24303">2</cx:pt>
          <cx:pt idx="24304">3</cx:pt>
          <cx:pt idx="24305">3</cx:pt>
          <cx:pt idx="24306">5</cx:pt>
          <cx:pt idx="24307">3</cx:pt>
          <cx:pt idx="24308">1</cx:pt>
          <cx:pt idx="24309">0</cx:pt>
          <cx:pt idx="24310">2</cx:pt>
          <cx:pt idx="24311">4</cx:pt>
          <cx:pt idx="24312">1</cx:pt>
          <cx:pt idx="24313">5</cx:pt>
          <cx:pt idx="24314">0</cx:pt>
          <cx:pt idx="24315">5</cx:pt>
          <cx:pt idx="24316">1</cx:pt>
          <cx:pt idx="24317">3</cx:pt>
          <cx:pt idx="24318">3</cx:pt>
          <cx:pt idx="24319">5</cx:pt>
          <cx:pt idx="24320">3</cx:pt>
          <cx:pt idx="24321">4</cx:pt>
          <cx:pt idx="24322">3</cx:pt>
          <cx:pt idx="24323">5</cx:pt>
          <cx:pt idx="24324">4</cx:pt>
          <cx:pt idx="24325">4</cx:pt>
          <cx:pt idx="24326">4</cx:pt>
          <cx:pt idx="24327">2</cx:pt>
          <cx:pt idx="24328">2</cx:pt>
          <cx:pt idx="24329">4</cx:pt>
          <cx:pt idx="24330">3</cx:pt>
          <cx:pt idx="24331">4</cx:pt>
          <cx:pt idx="24332">4</cx:pt>
          <cx:pt idx="24333">1</cx:pt>
          <cx:pt idx="24334">3</cx:pt>
          <cx:pt idx="24335">2</cx:pt>
          <cx:pt idx="24336">1</cx:pt>
          <cx:pt idx="24337">5</cx:pt>
          <cx:pt idx="24338">4</cx:pt>
          <cx:pt idx="24339">3</cx:pt>
          <cx:pt idx="24340">2</cx:pt>
          <cx:pt idx="24341">4</cx:pt>
          <cx:pt idx="24342">2</cx:pt>
          <cx:pt idx="24343">4</cx:pt>
          <cx:pt idx="24344">2</cx:pt>
          <cx:pt idx="24345">2</cx:pt>
          <cx:pt idx="24346">3</cx:pt>
          <cx:pt idx="24347">3</cx:pt>
          <cx:pt idx="24348">3</cx:pt>
          <cx:pt idx="24349">5</cx:pt>
          <cx:pt idx="24350">3</cx:pt>
          <cx:pt idx="24351">2</cx:pt>
          <cx:pt idx="24352">5</cx:pt>
          <cx:pt idx="24353">5</cx:pt>
          <cx:pt idx="24354">2</cx:pt>
          <cx:pt idx="24355">3</cx:pt>
          <cx:pt idx="24356">4</cx:pt>
          <cx:pt idx="24357">2</cx:pt>
          <cx:pt idx="24358">5</cx:pt>
          <cx:pt idx="24359">3</cx:pt>
          <cx:pt idx="24360">0</cx:pt>
          <cx:pt idx="24361">4</cx:pt>
          <cx:pt idx="24362">4</cx:pt>
          <cx:pt idx="24363">2</cx:pt>
          <cx:pt idx="24364">0</cx:pt>
          <cx:pt idx="24365">4</cx:pt>
          <cx:pt idx="24366">2</cx:pt>
          <cx:pt idx="24367">5</cx:pt>
          <cx:pt idx="24368">4</cx:pt>
          <cx:pt idx="24369">3</cx:pt>
          <cx:pt idx="24370">1</cx:pt>
          <cx:pt idx="24371">5</cx:pt>
          <cx:pt idx="24372">3</cx:pt>
          <cx:pt idx="24373">2</cx:pt>
          <cx:pt idx="24374">3</cx:pt>
          <cx:pt idx="24375">3</cx:pt>
          <cx:pt idx="24376">5</cx:pt>
          <cx:pt idx="24377">0</cx:pt>
          <cx:pt idx="24378">0</cx:pt>
          <cx:pt idx="24379">2</cx:pt>
          <cx:pt idx="24380">3</cx:pt>
          <cx:pt idx="24381">4</cx:pt>
          <cx:pt idx="24382">1</cx:pt>
          <cx:pt idx="24383">2</cx:pt>
          <cx:pt idx="24384">5</cx:pt>
          <cx:pt idx="24385">3</cx:pt>
          <cx:pt idx="24386">3</cx:pt>
          <cx:pt idx="24387">4</cx:pt>
          <cx:pt idx="24388">2</cx:pt>
          <cx:pt idx="24389">0</cx:pt>
          <cx:pt idx="24390">5</cx:pt>
          <cx:pt idx="24391">4</cx:pt>
          <cx:pt idx="24392">1</cx:pt>
          <cx:pt idx="24393">3</cx:pt>
          <cx:pt idx="24394">1</cx:pt>
          <cx:pt idx="24395">5</cx:pt>
          <cx:pt idx="24396">0</cx:pt>
          <cx:pt idx="24397">1</cx:pt>
          <cx:pt idx="24398">2</cx:pt>
          <cx:pt idx="24399">3</cx:pt>
          <cx:pt idx="24400">5</cx:pt>
          <cx:pt idx="24401">3</cx:pt>
          <cx:pt idx="24402">5</cx:pt>
          <cx:pt idx="24403">2</cx:pt>
          <cx:pt idx="24404">3</cx:pt>
          <cx:pt idx="24405">3</cx:pt>
          <cx:pt idx="24406">0</cx:pt>
          <cx:pt idx="24407">5</cx:pt>
          <cx:pt idx="24408">1</cx:pt>
          <cx:pt idx="24409">1</cx:pt>
          <cx:pt idx="24410">5</cx:pt>
          <cx:pt idx="24411">2</cx:pt>
          <cx:pt idx="24412">0</cx:pt>
          <cx:pt idx="24413">1</cx:pt>
          <cx:pt idx="24414">5</cx:pt>
          <cx:pt idx="24415">2</cx:pt>
          <cx:pt idx="24416">3</cx:pt>
          <cx:pt idx="24417">0</cx:pt>
          <cx:pt idx="24418">0</cx:pt>
          <cx:pt idx="24419">4</cx:pt>
          <cx:pt idx="24420">3</cx:pt>
          <cx:pt idx="24421">3</cx:pt>
          <cx:pt idx="24422">1</cx:pt>
          <cx:pt idx="24423">1</cx:pt>
          <cx:pt idx="24424">1</cx:pt>
          <cx:pt idx="24425">2</cx:pt>
          <cx:pt idx="24426">3</cx:pt>
          <cx:pt idx="24427">3</cx:pt>
          <cx:pt idx="24428">3</cx:pt>
          <cx:pt idx="24429">2</cx:pt>
          <cx:pt idx="24430">3</cx:pt>
          <cx:pt idx="24431">2</cx:pt>
          <cx:pt idx="24432">2</cx:pt>
          <cx:pt idx="24433">1</cx:pt>
          <cx:pt idx="24434">4</cx:pt>
          <cx:pt idx="24435">3</cx:pt>
          <cx:pt idx="24436">2</cx:pt>
          <cx:pt idx="24437">5</cx:pt>
          <cx:pt idx="24438">3</cx:pt>
          <cx:pt idx="24439">3</cx:pt>
          <cx:pt idx="24440">2</cx:pt>
          <cx:pt idx="24441">3</cx:pt>
          <cx:pt idx="24442">3</cx:pt>
          <cx:pt idx="24443">1</cx:pt>
          <cx:pt idx="24444">4</cx:pt>
          <cx:pt idx="24445">5</cx:pt>
          <cx:pt idx="24446">3</cx:pt>
          <cx:pt idx="24447">1</cx:pt>
          <cx:pt idx="24448">0</cx:pt>
          <cx:pt idx="24449">4</cx:pt>
          <cx:pt idx="24450">1</cx:pt>
          <cx:pt idx="24451">4</cx:pt>
          <cx:pt idx="24452">4</cx:pt>
          <cx:pt idx="24453">3</cx:pt>
          <cx:pt idx="24454">4</cx:pt>
          <cx:pt idx="24455">1</cx:pt>
          <cx:pt idx="24456">3</cx:pt>
          <cx:pt idx="24457">5</cx:pt>
          <cx:pt idx="24458">3</cx:pt>
          <cx:pt idx="24459">3</cx:pt>
          <cx:pt idx="24460">2</cx:pt>
          <cx:pt idx="24461">2</cx:pt>
          <cx:pt idx="24462">2</cx:pt>
          <cx:pt idx="24463">4</cx:pt>
          <cx:pt idx="24464">2</cx:pt>
          <cx:pt idx="24465">5</cx:pt>
          <cx:pt idx="24466">4</cx:pt>
          <cx:pt idx="24467">1</cx:pt>
          <cx:pt idx="24468">2</cx:pt>
          <cx:pt idx="24469">1</cx:pt>
          <cx:pt idx="24470">1</cx:pt>
          <cx:pt idx="24471">1</cx:pt>
          <cx:pt idx="24472">1</cx:pt>
          <cx:pt idx="24473">3</cx:pt>
          <cx:pt idx="24474">1</cx:pt>
          <cx:pt idx="24475">3</cx:pt>
          <cx:pt idx="24476">1</cx:pt>
          <cx:pt idx="24477">2</cx:pt>
          <cx:pt idx="24478">5</cx:pt>
          <cx:pt idx="24479">2</cx:pt>
          <cx:pt idx="24480">1</cx:pt>
          <cx:pt idx="24481">5</cx:pt>
          <cx:pt idx="24482">5</cx:pt>
          <cx:pt idx="24483">5</cx:pt>
          <cx:pt idx="24484">3</cx:pt>
          <cx:pt idx="24485">4</cx:pt>
          <cx:pt idx="24486">0</cx:pt>
          <cx:pt idx="24487">1</cx:pt>
          <cx:pt idx="24488">5</cx:pt>
          <cx:pt idx="24489">2</cx:pt>
          <cx:pt idx="24490">1</cx:pt>
          <cx:pt idx="24491">0</cx:pt>
          <cx:pt idx="24492">4</cx:pt>
          <cx:pt idx="24493">3</cx:pt>
          <cx:pt idx="24494">3</cx:pt>
          <cx:pt idx="24495">2</cx:pt>
          <cx:pt idx="24496">0</cx:pt>
          <cx:pt idx="24497">5</cx:pt>
          <cx:pt idx="24498">5</cx:pt>
          <cx:pt idx="24499">5</cx:pt>
          <cx:pt idx="24500">3</cx:pt>
          <cx:pt idx="24501">4</cx:pt>
          <cx:pt idx="24502">4</cx:pt>
          <cx:pt idx="24503">3</cx:pt>
          <cx:pt idx="24504">1</cx:pt>
          <cx:pt idx="24505">2</cx:pt>
          <cx:pt idx="24506">5</cx:pt>
          <cx:pt idx="24507">4</cx:pt>
          <cx:pt idx="24508">4</cx:pt>
          <cx:pt idx="24509">2</cx:pt>
          <cx:pt idx="24510">4</cx:pt>
          <cx:pt idx="24511">3</cx:pt>
          <cx:pt idx="24512">4</cx:pt>
          <cx:pt idx="24513">1</cx:pt>
          <cx:pt idx="24514">2</cx:pt>
          <cx:pt idx="24515">2</cx:pt>
          <cx:pt idx="24516">3</cx:pt>
          <cx:pt idx="24517">4</cx:pt>
          <cx:pt idx="24518">3</cx:pt>
          <cx:pt idx="24519">2</cx:pt>
          <cx:pt idx="24520">3</cx:pt>
          <cx:pt idx="24521">2</cx:pt>
          <cx:pt idx="24522">3</cx:pt>
          <cx:pt idx="24523">3</cx:pt>
          <cx:pt idx="24524">3</cx:pt>
          <cx:pt idx="24525">5</cx:pt>
          <cx:pt idx="24526">3</cx:pt>
          <cx:pt idx="24527">2</cx:pt>
          <cx:pt idx="24528">3</cx:pt>
          <cx:pt idx="24529">2</cx:pt>
          <cx:pt idx="24530">3</cx:pt>
          <cx:pt idx="24531">0</cx:pt>
          <cx:pt idx="24532">2</cx:pt>
          <cx:pt idx="24533">2</cx:pt>
          <cx:pt idx="24534">3</cx:pt>
          <cx:pt idx="24535">2</cx:pt>
          <cx:pt idx="24536">5</cx:pt>
          <cx:pt idx="24537">5</cx:pt>
          <cx:pt idx="24538">3</cx:pt>
          <cx:pt idx="24539">3</cx:pt>
          <cx:pt idx="24540">1</cx:pt>
          <cx:pt idx="24541">1</cx:pt>
          <cx:pt idx="24542">5</cx:pt>
          <cx:pt idx="24543">2</cx:pt>
          <cx:pt idx="24544">3</cx:pt>
          <cx:pt idx="24545">5</cx:pt>
          <cx:pt idx="24546">5</cx:pt>
          <cx:pt idx="24547">0</cx:pt>
          <cx:pt idx="24548">4</cx:pt>
          <cx:pt idx="24549">3</cx:pt>
          <cx:pt idx="24550">1</cx:pt>
          <cx:pt idx="24551">0</cx:pt>
          <cx:pt idx="24552">4</cx:pt>
          <cx:pt idx="24553">2</cx:pt>
          <cx:pt idx="24554">3</cx:pt>
          <cx:pt idx="24555">3</cx:pt>
          <cx:pt idx="24556">1</cx:pt>
          <cx:pt idx="24557">1</cx:pt>
          <cx:pt idx="24558">1</cx:pt>
          <cx:pt idx="24559">1</cx:pt>
          <cx:pt idx="24560">2</cx:pt>
          <cx:pt idx="24561">3</cx:pt>
          <cx:pt idx="24562">1</cx:pt>
          <cx:pt idx="24563">3</cx:pt>
          <cx:pt idx="24564">4</cx:pt>
          <cx:pt idx="24565">1</cx:pt>
          <cx:pt idx="24566">1</cx:pt>
          <cx:pt idx="24567">2</cx:pt>
          <cx:pt idx="24568">0</cx:pt>
          <cx:pt idx="24569">3</cx:pt>
          <cx:pt idx="24570">2</cx:pt>
          <cx:pt idx="24571">2</cx:pt>
          <cx:pt idx="24572">2</cx:pt>
          <cx:pt idx="24573">3</cx:pt>
          <cx:pt idx="24574">1</cx:pt>
          <cx:pt idx="24575">4</cx:pt>
          <cx:pt idx="24576">0</cx:pt>
          <cx:pt idx="24577">3</cx:pt>
          <cx:pt idx="24578">3</cx:pt>
          <cx:pt idx="24579">0</cx:pt>
          <cx:pt idx="24580">1</cx:pt>
          <cx:pt idx="24581">2</cx:pt>
          <cx:pt idx="24582">5</cx:pt>
          <cx:pt idx="24583">3</cx:pt>
          <cx:pt idx="24584">2</cx:pt>
          <cx:pt idx="24585">3</cx:pt>
          <cx:pt idx="24586">2</cx:pt>
          <cx:pt idx="24587">2</cx:pt>
          <cx:pt idx="24588">4</cx:pt>
          <cx:pt idx="24589">3</cx:pt>
          <cx:pt idx="24590">3</cx:pt>
          <cx:pt idx="24591">2</cx:pt>
          <cx:pt idx="24592">3</cx:pt>
          <cx:pt idx="24593">2</cx:pt>
          <cx:pt idx="24594">3</cx:pt>
          <cx:pt idx="24595">0</cx:pt>
          <cx:pt idx="24596">4</cx:pt>
          <cx:pt idx="24597">2</cx:pt>
          <cx:pt idx="24598">3</cx:pt>
          <cx:pt idx="24599">4</cx:pt>
          <cx:pt idx="24600">4</cx:pt>
          <cx:pt idx="24601">2</cx:pt>
          <cx:pt idx="24602">2</cx:pt>
          <cx:pt idx="24603">1</cx:pt>
          <cx:pt idx="24604">1</cx:pt>
          <cx:pt idx="24605">2</cx:pt>
          <cx:pt idx="24606">4</cx:pt>
          <cx:pt idx="24607">3</cx:pt>
          <cx:pt idx="24608">3</cx:pt>
          <cx:pt idx="24609">3</cx:pt>
          <cx:pt idx="24610">1</cx:pt>
          <cx:pt idx="24611">3</cx:pt>
          <cx:pt idx="24612">0</cx:pt>
          <cx:pt idx="24613">1</cx:pt>
          <cx:pt idx="24614">1</cx:pt>
          <cx:pt idx="24615">5</cx:pt>
          <cx:pt idx="24616">3</cx:pt>
          <cx:pt idx="24617">3</cx:pt>
          <cx:pt idx="24618">4</cx:pt>
          <cx:pt idx="24619">2</cx:pt>
          <cx:pt idx="24620">2</cx:pt>
          <cx:pt idx="24621">3</cx:pt>
          <cx:pt idx="24622">5</cx:pt>
          <cx:pt idx="24623">3</cx:pt>
          <cx:pt idx="24624">1</cx:pt>
          <cx:pt idx="24625">2</cx:pt>
          <cx:pt idx="24626">1</cx:pt>
          <cx:pt idx="24627">3</cx:pt>
          <cx:pt idx="24628">4</cx:pt>
          <cx:pt idx="24629">1</cx:pt>
          <cx:pt idx="24630">5</cx:pt>
          <cx:pt idx="24631">2</cx:pt>
          <cx:pt idx="24632">2</cx:pt>
          <cx:pt idx="24633">3</cx:pt>
          <cx:pt idx="24634">4</cx:pt>
          <cx:pt idx="24635">4</cx:pt>
          <cx:pt idx="24636">3</cx:pt>
          <cx:pt idx="24637">2</cx:pt>
          <cx:pt idx="24638">4</cx:pt>
          <cx:pt idx="24639">3</cx:pt>
          <cx:pt idx="24640">1</cx:pt>
          <cx:pt idx="24641">2</cx:pt>
          <cx:pt idx="24642">3</cx:pt>
          <cx:pt idx="24643">4</cx:pt>
          <cx:pt idx="24644">2</cx:pt>
          <cx:pt idx="24645">3</cx:pt>
          <cx:pt idx="24646">0</cx:pt>
          <cx:pt idx="24647">2</cx:pt>
          <cx:pt idx="24648">2</cx:pt>
          <cx:pt idx="24649">3</cx:pt>
          <cx:pt idx="24650">2</cx:pt>
          <cx:pt idx="24651">2</cx:pt>
          <cx:pt idx="24652">1</cx:pt>
          <cx:pt idx="24653">2</cx:pt>
          <cx:pt idx="24654">2</cx:pt>
          <cx:pt idx="24655">1</cx:pt>
          <cx:pt idx="24656">3</cx:pt>
          <cx:pt idx="24657">2</cx:pt>
          <cx:pt idx="24658">5</cx:pt>
          <cx:pt idx="24659">4</cx:pt>
          <cx:pt idx="24660">5</cx:pt>
          <cx:pt idx="24661">4</cx:pt>
          <cx:pt idx="24662">3</cx:pt>
          <cx:pt idx="24663">1</cx:pt>
          <cx:pt idx="24664">3</cx:pt>
          <cx:pt idx="24665">1</cx:pt>
          <cx:pt idx="24666">3</cx:pt>
          <cx:pt idx="24667">3</cx:pt>
          <cx:pt idx="24668">2</cx:pt>
          <cx:pt idx="24669">3</cx:pt>
          <cx:pt idx="24670">4</cx:pt>
          <cx:pt idx="24671">5</cx:pt>
          <cx:pt idx="24672">5</cx:pt>
          <cx:pt idx="24673">3</cx:pt>
          <cx:pt idx="24674">0</cx:pt>
          <cx:pt idx="24675">3</cx:pt>
          <cx:pt idx="24676">5</cx:pt>
          <cx:pt idx="24677">4</cx:pt>
          <cx:pt idx="24678">1</cx:pt>
          <cx:pt idx="24679">0</cx:pt>
          <cx:pt idx="24680">2</cx:pt>
          <cx:pt idx="24681">1</cx:pt>
          <cx:pt idx="24682">4</cx:pt>
          <cx:pt idx="24683">4</cx:pt>
          <cx:pt idx="24684">2</cx:pt>
          <cx:pt idx="24685">4</cx:pt>
          <cx:pt idx="24686">5</cx:pt>
          <cx:pt idx="24687">3</cx:pt>
          <cx:pt idx="24688">2</cx:pt>
          <cx:pt idx="24689">5</cx:pt>
          <cx:pt idx="24690">2</cx:pt>
          <cx:pt idx="24691">5</cx:pt>
          <cx:pt idx="24692">3</cx:pt>
          <cx:pt idx="24693">3</cx:pt>
          <cx:pt idx="24694">4</cx:pt>
          <cx:pt idx="24695">4</cx:pt>
          <cx:pt idx="24696">5</cx:pt>
          <cx:pt idx="24697">3</cx:pt>
          <cx:pt idx="24698">5</cx:pt>
          <cx:pt idx="24699">5</cx:pt>
          <cx:pt idx="24700">4</cx:pt>
          <cx:pt idx="24701">5</cx:pt>
          <cx:pt idx="24702">4</cx:pt>
          <cx:pt idx="24703">2</cx:pt>
          <cx:pt idx="24704">5</cx:pt>
          <cx:pt idx="24705">1</cx:pt>
          <cx:pt idx="24706">3</cx:pt>
          <cx:pt idx="24707">3</cx:pt>
          <cx:pt idx="24708">4</cx:pt>
          <cx:pt idx="24709">3</cx:pt>
          <cx:pt idx="24710">3</cx:pt>
          <cx:pt idx="24711">5</cx:pt>
          <cx:pt idx="24712">2</cx:pt>
          <cx:pt idx="24713">3</cx:pt>
          <cx:pt idx="24714">2</cx:pt>
          <cx:pt idx="24715">2</cx:pt>
          <cx:pt idx="24716">3</cx:pt>
          <cx:pt idx="24717">2</cx:pt>
          <cx:pt idx="24718">3</cx:pt>
          <cx:pt idx="24719">1</cx:pt>
          <cx:pt idx="24720">2</cx:pt>
          <cx:pt idx="24721">1</cx:pt>
          <cx:pt idx="24722">2</cx:pt>
          <cx:pt idx="24723">1</cx:pt>
          <cx:pt idx="24724">4</cx:pt>
          <cx:pt idx="24725">2</cx:pt>
          <cx:pt idx="24726">3</cx:pt>
          <cx:pt idx="24727">2</cx:pt>
          <cx:pt idx="24728">0</cx:pt>
          <cx:pt idx="24729">5</cx:pt>
          <cx:pt idx="24730">5</cx:pt>
          <cx:pt idx="24731">5</cx:pt>
          <cx:pt idx="24732">2</cx:pt>
          <cx:pt idx="24733">5</cx:pt>
          <cx:pt idx="24734">4</cx:pt>
          <cx:pt idx="24735">2</cx:pt>
          <cx:pt idx="24736">1</cx:pt>
          <cx:pt idx="24737">4</cx:pt>
          <cx:pt idx="24738">5</cx:pt>
          <cx:pt idx="24739">2</cx:pt>
          <cx:pt idx="24740">2</cx:pt>
          <cx:pt idx="24741">1</cx:pt>
          <cx:pt idx="24742">1</cx:pt>
          <cx:pt idx="24743">5</cx:pt>
          <cx:pt idx="24744">3</cx:pt>
          <cx:pt idx="24745">5</cx:pt>
          <cx:pt idx="24746">2</cx:pt>
          <cx:pt idx="24747">1</cx:pt>
          <cx:pt idx="24748">4</cx:pt>
          <cx:pt idx="24749">1</cx:pt>
          <cx:pt idx="24750">3</cx:pt>
          <cx:pt idx="24751">2</cx:pt>
          <cx:pt idx="24752">1</cx:pt>
          <cx:pt idx="24753">5</cx:pt>
          <cx:pt idx="24754">2</cx:pt>
          <cx:pt idx="24755">2</cx:pt>
          <cx:pt idx="24756">2</cx:pt>
          <cx:pt idx="24757">3</cx:pt>
          <cx:pt idx="24758">4</cx:pt>
          <cx:pt idx="24759">3</cx:pt>
          <cx:pt idx="24760">4</cx:pt>
          <cx:pt idx="24761">3</cx:pt>
          <cx:pt idx="24762">1</cx:pt>
          <cx:pt idx="24763">4</cx:pt>
          <cx:pt idx="24764">2</cx:pt>
          <cx:pt idx="24765">1</cx:pt>
          <cx:pt idx="24766">1</cx:pt>
          <cx:pt idx="24767">3</cx:pt>
          <cx:pt idx="24768">3</cx:pt>
          <cx:pt idx="24769">5</cx:pt>
          <cx:pt idx="24770">2</cx:pt>
          <cx:pt idx="24771">2</cx:pt>
          <cx:pt idx="24772">4</cx:pt>
          <cx:pt idx="24773">4</cx:pt>
          <cx:pt idx="24774">4</cx:pt>
          <cx:pt idx="24775">3</cx:pt>
          <cx:pt idx="24776">2</cx:pt>
          <cx:pt idx="24777">1</cx:pt>
          <cx:pt idx="24778">0</cx:pt>
          <cx:pt idx="24779">3</cx:pt>
          <cx:pt idx="24780">4</cx:pt>
          <cx:pt idx="24781">1</cx:pt>
          <cx:pt idx="24782">4</cx:pt>
          <cx:pt idx="24783">3</cx:pt>
          <cx:pt idx="24784">1</cx:pt>
          <cx:pt idx="24785">4</cx:pt>
          <cx:pt idx="24786">4</cx:pt>
          <cx:pt idx="24787">5</cx:pt>
          <cx:pt idx="24788">2</cx:pt>
          <cx:pt idx="24789">2</cx:pt>
          <cx:pt idx="24790">4</cx:pt>
          <cx:pt idx="24791">2</cx:pt>
          <cx:pt idx="24792">0</cx:pt>
          <cx:pt idx="24793">5</cx:pt>
          <cx:pt idx="24794">4</cx:pt>
          <cx:pt idx="24795">4</cx:pt>
          <cx:pt idx="24796">4</cx:pt>
          <cx:pt idx="24797">2</cx:pt>
          <cx:pt idx="24798">3</cx:pt>
          <cx:pt idx="24799">5</cx:pt>
          <cx:pt idx="24800">3</cx:pt>
          <cx:pt idx="24801">2</cx:pt>
          <cx:pt idx="24802">4</cx:pt>
          <cx:pt idx="24803">1</cx:pt>
          <cx:pt idx="24804">3</cx:pt>
          <cx:pt idx="24805">2</cx:pt>
          <cx:pt idx="24806">1</cx:pt>
          <cx:pt idx="24807">4</cx:pt>
          <cx:pt idx="24808">2</cx:pt>
          <cx:pt idx="24809">3</cx:pt>
          <cx:pt idx="24810">5</cx:pt>
          <cx:pt idx="24811">3</cx:pt>
          <cx:pt idx="24812">1</cx:pt>
          <cx:pt idx="24813">3</cx:pt>
          <cx:pt idx="24814">2</cx:pt>
          <cx:pt idx="24815">3</cx:pt>
          <cx:pt idx="24816">2</cx:pt>
          <cx:pt idx="24817">1</cx:pt>
          <cx:pt idx="24818">3</cx:pt>
          <cx:pt idx="24819">3</cx:pt>
          <cx:pt idx="24820">3</cx:pt>
          <cx:pt idx="24821">3</cx:pt>
          <cx:pt idx="24822">3</cx:pt>
          <cx:pt idx="24823">1</cx:pt>
          <cx:pt idx="24824">3</cx:pt>
          <cx:pt idx="24825">3</cx:pt>
          <cx:pt idx="24826">0</cx:pt>
          <cx:pt idx="24827">5</cx:pt>
          <cx:pt idx="24828">2</cx:pt>
          <cx:pt idx="24829">3</cx:pt>
          <cx:pt idx="24830">5</cx:pt>
          <cx:pt idx="24831">4</cx:pt>
          <cx:pt idx="24832">1</cx:pt>
          <cx:pt idx="24833">4</cx:pt>
          <cx:pt idx="24834">3</cx:pt>
          <cx:pt idx="24835">4</cx:pt>
          <cx:pt idx="24836">1</cx:pt>
          <cx:pt idx="24837">2</cx:pt>
          <cx:pt idx="24838">1</cx:pt>
          <cx:pt idx="24839">4</cx:pt>
          <cx:pt idx="24840">2</cx:pt>
          <cx:pt idx="24841">1</cx:pt>
          <cx:pt idx="24842">5</cx:pt>
          <cx:pt idx="24843">2</cx:pt>
          <cx:pt idx="24844">1</cx:pt>
          <cx:pt idx="24845">2</cx:pt>
          <cx:pt idx="24846">4</cx:pt>
          <cx:pt idx="24847">2</cx:pt>
          <cx:pt idx="24848">2</cx:pt>
          <cx:pt idx="24849">2</cx:pt>
          <cx:pt idx="24850">1</cx:pt>
          <cx:pt idx="24851">2</cx:pt>
          <cx:pt idx="24852">4</cx:pt>
          <cx:pt idx="24853">1</cx:pt>
          <cx:pt idx="24854">2</cx:pt>
          <cx:pt idx="24855">2</cx:pt>
          <cx:pt idx="24856">1</cx:pt>
          <cx:pt idx="24857">5</cx:pt>
          <cx:pt idx="24858">3</cx:pt>
          <cx:pt idx="24859">2</cx:pt>
          <cx:pt idx="24860">3</cx:pt>
          <cx:pt idx="24861">1</cx:pt>
          <cx:pt idx="24862">2</cx:pt>
          <cx:pt idx="24863">3</cx:pt>
          <cx:pt idx="24864">3</cx:pt>
          <cx:pt idx="24865">1</cx:pt>
          <cx:pt idx="24866">5</cx:pt>
          <cx:pt idx="24867">3</cx:pt>
          <cx:pt idx="24868">4</cx:pt>
          <cx:pt idx="24869">3</cx:pt>
          <cx:pt idx="24870">3</cx:pt>
          <cx:pt idx="24871">0</cx:pt>
          <cx:pt idx="24872">1</cx:pt>
          <cx:pt idx="24873">1</cx:pt>
          <cx:pt idx="24874">2</cx:pt>
          <cx:pt idx="24875">4</cx:pt>
          <cx:pt idx="24876">5</cx:pt>
          <cx:pt idx="24877">1</cx:pt>
          <cx:pt idx="24878">3</cx:pt>
          <cx:pt idx="24879">3</cx:pt>
          <cx:pt idx="24880">1</cx:pt>
          <cx:pt idx="24881">2</cx:pt>
          <cx:pt idx="24882">3</cx:pt>
          <cx:pt idx="24883">4</cx:pt>
          <cx:pt idx="24884">5</cx:pt>
          <cx:pt idx="24885">2</cx:pt>
          <cx:pt idx="24886">4</cx:pt>
          <cx:pt idx="24887">1</cx:pt>
          <cx:pt idx="24888">4</cx:pt>
          <cx:pt idx="24889">3</cx:pt>
          <cx:pt idx="24890">2</cx:pt>
          <cx:pt idx="24891">5</cx:pt>
          <cx:pt idx="24892">2</cx:pt>
          <cx:pt idx="24893">3</cx:pt>
          <cx:pt idx="24894">5</cx:pt>
          <cx:pt idx="24895">2</cx:pt>
          <cx:pt idx="24896">2</cx:pt>
          <cx:pt idx="24897">1</cx:pt>
          <cx:pt idx="24898">2</cx:pt>
          <cx:pt idx="24899">1</cx:pt>
          <cx:pt idx="24900">3</cx:pt>
          <cx:pt idx="24901">2</cx:pt>
          <cx:pt idx="24902">3</cx:pt>
          <cx:pt idx="24903">1</cx:pt>
          <cx:pt idx="24904">2</cx:pt>
          <cx:pt idx="24905">1</cx:pt>
          <cx:pt idx="24906">3</cx:pt>
          <cx:pt idx="24907">2</cx:pt>
          <cx:pt idx="24908">4</cx:pt>
          <cx:pt idx="24909">2</cx:pt>
          <cx:pt idx="24910">5</cx:pt>
          <cx:pt idx="24911">4</cx:pt>
          <cx:pt idx="24912">3</cx:pt>
          <cx:pt idx="24913">3</cx:pt>
          <cx:pt idx="24914">4</cx:pt>
          <cx:pt idx="24915">1</cx:pt>
          <cx:pt idx="24916">3</cx:pt>
          <cx:pt idx="24917">2</cx:pt>
          <cx:pt idx="24918">5</cx:pt>
          <cx:pt idx="24919">2</cx:pt>
          <cx:pt idx="24920">4</cx:pt>
          <cx:pt idx="24921">4</cx:pt>
          <cx:pt idx="24922">3</cx:pt>
          <cx:pt idx="24923">1</cx:pt>
          <cx:pt idx="24924">3</cx:pt>
          <cx:pt idx="24925">2</cx:pt>
          <cx:pt idx="24926">4</cx:pt>
          <cx:pt idx="24927">5</cx:pt>
          <cx:pt idx="24928">2</cx:pt>
          <cx:pt idx="24929">4</cx:pt>
          <cx:pt idx="24930">3</cx:pt>
          <cx:pt idx="24931">5</cx:pt>
          <cx:pt idx="24932">2</cx:pt>
          <cx:pt idx="24933">3</cx:pt>
          <cx:pt idx="24934">4</cx:pt>
          <cx:pt idx="24935">2</cx:pt>
          <cx:pt idx="24936">2</cx:pt>
          <cx:pt idx="24937">3</cx:pt>
          <cx:pt idx="24938">4</cx:pt>
          <cx:pt idx="24939">2</cx:pt>
          <cx:pt idx="24940">4</cx:pt>
          <cx:pt idx="24941">3</cx:pt>
          <cx:pt idx="24942">3</cx:pt>
          <cx:pt idx="24943">5</cx:pt>
          <cx:pt idx="24944">4</cx:pt>
          <cx:pt idx="24945">5</cx:pt>
          <cx:pt idx="24946">1</cx:pt>
          <cx:pt idx="24947">2</cx:pt>
          <cx:pt idx="24948">5</cx:pt>
          <cx:pt idx="24949">2</cx:pt>
          <cx:pt idx="24950">3</cx:pt>
          <cx:pt idx="24951">3</cx:pt>
          <cx:pt idx="24952">5</cx:pt>
          <cx:pt idx="24953">2</cx:pt>
          <cx:pt idx="24954">1</cx:pt>
          <cx:pt idx="24955">3</cx:pt>
          <cx:pt idx="24956">3</cx:pt>
          <cx:pt idx="24957">4</cx:pt>
          <cx:pt idx="24958">4</cx:pt>
          <cx:pt idx="24959">4</cx:pt>
          <cx:pt idx="24960">4</cx:pt>
          <cx:pt idx="24961">3</cx:pt>
          <cx:pt idx="24962">5</cx:pt>
          <cx:pt idx="24963">2</cx:pt>
          <cx:pt idx="24964">1</cx:pt>
          <cx:pt idx="24965">5</cx:pt>
          <cx:pt idx="24966">1</cx:pt>
          <cx:pt idx="24967">4</cx:pt>
          <cx:pt idx="24968">2</cx:pt>
          <cx:pt idx="24969">2</cx:pt>
          <cx:pt idx="24970">4</cx:pt>
          <cx:pt idx="24971">4</cx:pt>
          <cx:pt idx="24972">3</cx:pt>
          <cx:pt idx="24973">2</cx:pt>
          <cx:pt idx="24974">2</cx:pt>
          <cx:pt idx="24975">1</cx:pt>
          <cx:pt idx="24976">3</cx:pt>
          <cx:pt idx="24977">2</cx:pt>
          <cx:pt idx="24978">4</cx:pt>
          <cx:pt idx="24979">1</cx:pt>
          <cx:pt idx="24980">2</cx:pt>
          <cx:pt idx="24981">4</cx:pt>
          <cx:pt idx="24982">5</cx:pt>
          <cx:pt idx="24983">5</cx:pt>
          <cx:pt idx="24984">4</cx:pt>
          <cx:pt idx="24985">3</cx:pt>
          <cx:pt idx="24986">2</cx:pt>
          <cx:pt idx="24987">2</cx:pt>
          <cx:pt idx="24988">2</cx:pt>
          <cx:pt idx="24989">4</cx:pt>
          <cx:pt idx="24990">2</cx:pt>
          <cx:pt idx="24991">4</cx:pt>
          <cx:pt idx="24992">4</cx:pt>
          <cx:pt idx="24993">3</cx:pt>
          <cx:pt idx="24994">3</cx:pt>
          <cx:pt idx="24995">1</cx:pt>
          <cx:pt idx="24996">5</cx:pt>
          <cx:pt idx="24997">1</cx:pt>
          <cx:pt idx="24998">4</cx:pt>
          <cx:pt idx="24999">4</cx:pt>
          <cx:pt idx="25000">3</cx:pt>
          <cx:pt idx="25001">0</cx:pt>
          <cx:pt idx="25002">3</cx:pt>
          <cx:pt idx="25003">5</cx:pt>
          <cx:pt idx="25004">3</cx:pt>
          <cx:pt idx="25005">3</cx:pt>
          <cx:pt idx="25006">3</cx:pt>
          <cx:pt idx="25007">2</cx:pt>
          <cx:pt idx="25008">2</cx:pt>
          <cx:pt idx="25009">3</cx:pt>
          <cx:pt idx="25010">2</cx:pt>
          <cx:pt idx="25011">3</cx:pt>
          <cx:pt idx="25012">3</cx:pt>
          <cx:pt idx="25013">4</cx:pt>
          <cx:pt idx="25014">3</cx:pt>
          <cx:pt idx="25015">1</cx:pt>
          <cx:pt idx="25016">3</cx:pt>
          <cx:pt idx="25017">4</cx:pt>
          <cx:pt idx="25018">2</cx:pt>
          <cx:pt idx="25019">1</cx:pt>
          <cx:pt idx="25020">3</cx:pt>
          <cx:pt idx="25021">4</cx:pt>
          <cx:pt idx="25022">2</cx:pt>
          <cx:pt idx="25023">5</cx:pt>
          <cx:pt idx="25024">3</cx:pt>
          <cx:pt idx="25025">2</cx:pt>
          <cx:pt idx="25026">3</cx:pt>
          <cx:pt idx="25027">5</cx:pt>
          <cx:pt idx="25028">3</cx:pt>
          <cx:pt idx="25029">4</cx:pt>
          <cx:pt idx="25030">2</cx:pt>
          <cx:pt idx="25031">4</cx:pt>
          <cx:pt idx="25032">4</cx:pt>
          <cx:pt idx="25033">2</cx:pt>
          <cx:pt idx="25034">0</cx:pt>
          <cx:pt idx="25035">2</cx:pt>
          <cx:pt idx="25036">3</cx:pt>
          <cx:pt idx="25037">1</cx:pt>
          <cx:pt idx="25038">2</cx:pt>
          <cx:pt idx="25039">3</cx:pt>
          <cx:pt idx="25040">2</cx:pt>
          <cx:pt idx="25041">0</cx:pt>
          <cx:pt idx="25042">3</cx:pt>
          <cx:pt idx="25043">0</cx:pt>
          <cx:pt idx="25044">2</cx:pt>
          <cx:pt idx="25045">5</cx:pt>
          <cx:pt idx="25046">4</cx:pt>
          <cx:pt idx="25047">5</cx:pt>
          <cx:pt idx="25048">4</cx:pt>
          <cx:pt idx="25049">3</cx:pt>
          <cx:pt idx="25050">4</cx:pt>
          <cx:pt idx="25051">3</cx:pt>
          <cx:pt idx="25052">5</cx:pt>
          <cx:pt idx="25053">2</cx:pt>
          <cx:pt idx="25054">5</cx:pt>
          <cx:pt idx="25055">4</cx:pt>
          <cx:pt idx="25056">1</cx:pt>
          <cx:pt idx="25057">4</cx:pt>
          <cx:pt idx="25058">2</cx:pt>
          <cx:pt idx="25059">5</cx:pt>
          <cx:pt idx="25060">4</cx:pt>
          <cx:pt idx="25061">1</cx:pt>
          <cx:pt idx="25062">3</cx:pt>
          <cx:pt idx="25063">3</cx:pt>
          <cx:pt idx="25064">2</cx:pt>
          <cx:pt idx="25065">2</cx:pt>
          <cx:pt idx="25066">2</cx:pt>
          <cx:pt idx="25067">3</cx:pt>
          <cx:pt idx="25068">5</cx:pt>
          <cx:pt idx="25069">2</cx:pt>
          <cx:pt idx="25070">5</cx:pt>
          <cx:pt idx="25071">1</cx:pt>
          <cx:pt idx="25072">4</cx:pt>
          <cx:pt idx="25073">3</cx:pt>
          <cx:pt idx="25074">1</cx:pt>
          <cx:pt idx="25075">3</cx:pt>
          <cx:pt idx="25076">1</cx:pt>
          <cx:pt idx="25077">1</cx:pt>
          <cx:pt idx="25078">0</cx:pt>
          <cx:pt idx="25079">3</cx:pt>
          <cx:pt idx="25080">4</cx:pt>
          <cx:pt idx="25081">0</cx:pt>
          <cx:pt idx="25082">4</cx:pt>
          <cx:pt idx="25083">3</cx:pt>
          <cx:pt idx="25084">1</cx:pt>
          <cx:pt idx="25085">3</cx:pt>
          <cx:pt idx="25086">3</cx:pt>
          <cx:pt idx="25087">4</cx:pt>
          <cx:pt idx="25088">2</cx:pt>
          <cx:pt idx="25089">2</cx:pt>
          <cx:pt idx="25090">2</cx:pt>
          <cx:pt idx="25091">5</cx:pt>
          <cx:pt idx="25092">5</cx:pt>
          <cx:pt idx="25093">4</cx:pt>
          <cx:pt idx="25094">2</cx:pt>
          <cx:pt idx="25095">4</cx:pt>
          <cx:pt idx="25096">1</cx:pt>
          <cx:pt idx="25097">3</cx:pt>
          <cx:pt idx="25098">2</cx:pt>
          <cx:pt idx="25099">3</cx:pt>
          <cx:pt idx="25100">5</cx:pt>
          <cx:pt idx="25101">2</cx:pt>
          <cx:pt idx="25102">2</cx:pt>
          <cx:pt idx="25103">1</cx:pt>
          <cx:pt idx="25104">4</cx:pt>
          <cx:pt idx="25105">1</cx:pt>
          <cx:pt idx="25106">4</cx:pt>
          <cx:pt idx="25107">1</cx:pt>
          <cx:pt idx="25108">3</cx:pt>
          <cx:pt idx="25109">4</cx:pt>
          <cx:pt idx="25110">0</cx:pt>
          <cx:pt idx="25111">4</cx:pt>
          <cx:pt idx="25112">3</cx:pt>
          <cx:pt idx="25113">2</cx:pt>
          <cx:pt idx="25114">2</cx:pt>
          <cx:pt idx="25115">2</cx:pt>
          <cx:pt idx="25116">4</cx:pt>
          <cx:pt idx="25117">2</cx:pt>
          <cx:pt idx="25118">5</cx:pt>
          <cx:pt idx="25119">1</cx:pt>
          <cx:pt idx="25120">2</cx:pt>
          <cx:pt idx="25121">4</cx:pt>
          <cx:pt idx="25122">4</cx:pt>
          <cx:pt idx="25123">1</cx:pt>
          <cx:pt idx="25124">3</cx:pt>
          <cx:pt idx="25125">4</cx:pt>
          <cx:pt idx="25126">1</cx:pt>
          <cx:pt idx="25127">5</cx:pt>
          <cx:pt idx="25128">2</cx:pt>
          <cx:pt idx="25129">3</cx:pt>
          <cx:pt idx="25130">3</cx:pt>
          <cx:pt idx="25131">3</cx:pt>
          <cx:pt idx="25132">5</cx:pt>
          <cx:pt idx="25133">3</cx:pt>
          <cx:pt idx="25134">0</cx:pt>
          <cx:pt idx="25135">1</cx:pt>
          <cx:pt idx="25136">2</cx:pt>
          <cx:pt idx="25137">3</cx:pt>
          <cx:pt idx="25138">2</cx:pt>
          <cx:pt idx="25139">2</cx:pt>
          <cx:pt idx="25140">1</cx:pt>
          <cx:pt idx="25141">2</cx:pt>
          <cx:pt idx="25142">3</cx:pt>
          <cx:pt idx="25143">2</cx:pt>
          <cx:pt idx="25144">0</cx:pt>
          <cx:pt idx="25145">5</cx:pt>
          <cx:pt idx="25146">1</cx:pt>
          <cx:pt idx="25147">5</cx:pt>
          <cx:pt idx="25148">4</cx:pt>
          <cx:pt idx="25149">3</cx:pt>
          <cx:pt idx="25150">2</cx:pt>
          <cx:pt idx="25151">3</cx:pt>
          <cx:pt idx="25152">4</cx:pt>
          <cx:pt idx="25153">2</cx:pt>
          <cx:pt idx="25154">4</cx:pt>
          <cx:pt idx="25155">2</cx:pt>
          <cx:pt idx="25156">3</cx:pt>
          <cx:pt idx="25157">2</cx:pt>
          <cx:pt idx="25158">2</cx:pt>
          <cx:pt idx="25159">2</cx:pt>
          <cx:pt idx="25160">2</cx:pt>
          <cx:pt idx="25161">1</cx:pt>
          <cx:pt idx="25162">3</cx:pt>
          <cx:pt idx="25163">3</cx:pt>
          <cx:pt idx="25164">3</cx:pt>
          <cx:pt idx="25165">1</cx:pt>
          <cx:pt idx="25166">1</cx:pt>
          <cx:pt idx="25167">5</cx:pt>
          <cx:pt idx="25168">2</cx:pt>
          <cx:pt idx="25169">3</cx:pt>
          <cx:pt idx="25170">5</cx:pt>
          <cx:pt idx="25171">3</cx:pt>
          <cx:pt idx="25172">4</cx:pt>
          <cx:pt idx="25173">4</cx:pt>
          <cx:pt idx="25174">3</cx:pt>
          <cx:pt idx="25175">2</cx:pt>
          <cx:pt idx="25176">3</cx:pt>
          <cx:pt idx="25177">5</cx:pt>
          <cx:pt idx="25178">3</cx:pt>
          <cx:pt idx="25179">1</cx:pt>
          <cx:pt idx="25180">1</cx:pt>
          <cx:pt idx="25181">2</cx:pt>
          <cx:pt idx="25182">0</cx:pt>
          <cx:pt idx="25183">2</cx:pt>
          <cx:pt idx="25184">5</cx:pt>
          <cx:pt idx="25185">3</cx:pt>
          <cx:pt idx="25186">2</cx:pt>
          <cx:pt idx="25187">2</cx:pt>
          <cx:pt idx="25188">5</cx:pt>
          <cx:pt idx="25189">4</cx:pt>
          <cx:pt idx="25190">2</cx:pt>
          <cx:pt idx="25191">4</cx:pt>
          <cx:pt idx="25192">3</cx:pt>
          <cx:pt idx="25193">3</cx:pt>
          <cx:pt idx="25194">5</cx:pt>
          <cx:pt idx="25195">2</cx:pt>
          <cx:pt idx="25196">3</cx:pt>
          <cx:pt idx="25197">2</cx:pt>
          <cx:pt idx="25198">1</cx:pt>
          <cx:pt idx="25199">3</cx:pt>
          <cx:pt idx="25200">2</cx:pt>
          <cx:pt idx="25201">3</cx:pt>
          <cx:pt idx="25202">2</cx:pt>
          <cx:pt idx="25203">2</cx:pt>
          <cx:pt idx="25204">2</cx:pt>
          <cx:pt idx="25205">2</cx:pt>
          <cx:pt idx="25206">3</cx:pt>
          <cx:pt idx="25207">5</cx:pt>
          <cx:pt idx="25208">3</cx:pt>
          <cx:pt idx="25209">2</cx:pt>
          <cx:pt idx="25210">2</cx:pt>
          <cx:pt idx="25211">4</cx:pt>
          <cx:pt idx="25212">1</cx:pt>
          <cx:pt idx="25213">0</cx:pt>
          <cx:pt idx="25214">4</cx:pt>
          <cx:pt idx="25215">3</cx:pt>
          <cx:pt idx="25216">4</cx:pt>
          <cx:pt idx="25217">2</cx:pt>
          <cx:pt idx="25218">3</cx:pt>
          <cx:pt idx="25219">3</cx:pt>
          <cx:pt idx="25220">1</cx:pt>
          <cx:pt idx="25221">2</cx:pt>
          <cx:pt idx="25222">3</cx:pt>
          <cx:pt idx="25223">5</cx:pt>
          <cx:pt idx="25224">3</cx:pt>
          <cx:pt idx="25225">4</cx:pt>
          <cx:pt idx="25226">4</cx:pt>
          <cx:pt idx="25227">5</cx:pt>
          <cx:pt idx="25228">1</cx:pt>
          <cx:pt idx="25229">2</cx:pt>
          <cx:pt idx="25230">5</cx:pt>
          <cx:pt idx="25231">1</cx:pt>
          <cx:pt idx="25232">2</cx:pt>
          <cx:pt idx="25233">2</cx:pt>
          <cx:pt idx="25234">2</cx:pt>
          <cx:pt idx="25235">2</cx:pt>
          <cx:pt idx="25236">4</cx:pt>
          <cx:pt idx="25237">3</cx:pt>
          <cx:pt idx="25238">2</cx:pt>
          <cx:pt idx="25239">4</cx:pt>
          <cx:pt idx="25240">1</cx:pt>
          <cx:pt idx="25241">1</cx:pt>
          <cx:pt idx="25242">5</cx:pt>
          <cx:pt idx="25243">3</cx:pt>
          <cx:pt idx="25244">2</cx:pt>
          <cx:pt idx="25245">2</cx:pt>
          <cx:pt idx="25246">4</cx:pt>
          <cx:pt idx="25247">4</cx:pt>
          <cx:pt idx="25248">4</cx:pt>
          <cx:pt idx="25249">4</cx:pt>
          <cx:pt idx="25250">3</cx:pt>
          <cx:pt idx="25251">1</cx:pt>
          <cx:pt idx="25252">1</cx:pt>
          <cx:pt idx="25253">3</cx:pt>
          <cx:pt idx="25254">5</cx:pt>
          <cx:pt idx="25255">0</cx:pt>
          <cx:pt idx="25256">5</cx:pt>
          <cx:pt idx="25257">1</cx:pt>
          <cx:pt idx="25258">2</cx:pt>
          <cx:pt idx="25259">3</cx:pt>
          <cx:pt idx="25260">4</cx:pt>
          <cx:pt idx="25261">5</cx:pt>
          <cx:pt idx="25262">3</cx:pt>
          <cx:pt idx="25263">1</cx:pt>
          <cx:pt idx="25264">2</cx:pt>
          <cx:pt idx="25265">3</cx:pt>
          <cx:pt idx="25266">1</cx:pt>
          <cx:pt idx="25267">2</cx:pt>
          <cx:pt idx="25268">3</cx:pt>
          <cx:pt idx="25269">4</cx:pt>
          <cx:pt idx="25270">3</cx:pt>
          <cx:pt idx="25271">1</cx:pt>
          <cx:pt idx="25272">4</cx:pt>
          <cx:pt idx="25273">2</cx:pt>
          <cx:pt idx="25274">5</cx:pt>
          <cx:pt idx="25275">3</cx:pt>
          <cx:pt idx="25276">4</cx:pt>
          <cx:pt idx="25277">5</cx:pt>
          <cx:pt idx="25278">4</cx:pt>
          <cx:pt idx="25279">0</cx:pt>
          <cx:pt idx="25280">3</cx:pt>
          <cx:pt idx="25281">3</cx:pt>
          <cx:pt idx="25282">2</cx:pt>
          <cx:pt idx="25283">1</cx:pt>
          <cx:pt idx="25284">3</cx:pt>
          <cx:pt idx="25285">1</cx:pt>
          <cx:pt idx="25286">4</cx:pt>
          <cx:pt idx="25287">3</cx:pt>
          <cx:pt idx="25288">3</cx:pt>
          <cx:pt idx="25289">5</cx:pt>
          <cx:pt idx="25290">5</cx:pt>
          <cx:pt idx="25291">1</cx:pt>
          <cx:pt idx="25292">2</cx:pt>
          <cx:pt idx="25293">5</cx:pt>
          <cx:pt idx="25294">2</cx:pt>
          <cx:pt idx="25295">3</cx:pt>
          <cx:pt idx="25296">4</cx:pt>
          <cx:pt idx="25297">4</cx:pt>
          <cx:pt idx="25298">1</cx:pt>
          <cx:pt idx="25299">2</cx:pt>
          <cx:pt idx="25300">4</cx:pt>
          <cx:pt idx="25301">1</cx:pt>
          <cx:pt idx="25302">1</cx:pt>
          <cx:pt idx="25303">3</cx:pt>
          <cx:pt idx="25304">5</cx:pt>
          <cx:pt idx="25305">2</cx:pt>
          <cx:pt idx="25306">5</cx:pt>
          <cx:pt idx="25307">3</cx:pt>
          <cx:pt idx="25308">2</cx:pt>
          <cx:pt idx="25309">3</cx:pt>
          <cx:pt idx="25310">5</cx:pt>
          <cx:pt idx="25311">0</cx:pt>
          <cx:pt idx="25312">3</cx:pt>
          <cx:pt idx="25313">1</cx:pt>
          <cx:pt idx="25314">4</cx:pt>
          <cx:pt idx="25315">1</cx:pt>
          <cx:pt idx="25316">4</cx:pt>
          <cx:pt idx="25317">3</cx:pt>
          <cx:pt idx="25318">5</cx:pt>
          <cx:pt idx="25319">4</cx:pt>
          <cx:pt idx="25320">3</cx:pt>
          <cx:pt idx="25321">2</cx:pt>
          <cx:pt idx="25322">3</cx:pt>
          <cx:pt idx="25323">3</cx:pt>
          <cx:pt idx="25324">2</cx:pt>
          <cx:pt idx="25325">4</cx:pt>
          <cx:pt idx="25326">3</cx:pt>
          <cx:pt idx="25327">5</cx:pt>
          <cx:pt idx="25328">5</cx:pt>
          <cx:pt idx="25329">2</cx:pt>
          <cx:pt idx="25330">2</cx:pt>
          <cx:pt idx="25331">3</cx:pt>
          <cx:pt idx="25332">3</cx:pt>
          <cx:pt idx="25333">2</cx:pt>
          <cx:pt idx="25334">4</cx:pt>
          <cx:pt idx="25335">2</cx:pt>
          <cx:pt idx="25336">3</cx:pt>
          <cx:pt idx="25337">3</cx:pt>
          <cx:pt idx="25338">5</cx:pt>
          <cx:pt idx="25339">3</cx:pt>
          <cx:pt idx="25340">2</cx:pt>
          <cx:pt idx="25341">0</cx:pt>
          <cx:pt idx="25342">5</cx:pt>
          <cx:pt idx="25343">2</cx:pt>
          <cx:pt idx="25344">2</cx:pt>
          <cx:pt idx="25345">5</cx:pt>
          <cx:pt idx="25346">2</cx:pt>
          <cx:pt idx="25347">5</cx:pt>
          <cx:pt idx="25348">1</cx:pt>
          <cx:pt idx="25349">1</cx:pt>
          <cx:pt idx="25350">4</cx:pt>
          <cx:pt idx="25351">2</cx:pt>
          <cx:pt idx="25352">2</cx:pt>
          <cx:pt idx="25353">4</cx:pt>
          <cx:pt idx="25354">0</cx:pt>
          <cx:pt idx="25355">4</cx:pt>
          <cx:pt idx="25356">5</cx:pt>
          <cx:pt idx="25357">2</cx:pt>
          <cx:pt idx="25358">2</cx:pt>
          <cx:pt idx="25359">3</cx:pt>
          <cx:pt idx="25360">3</cx:pt>
          <cx:pt idx="25361">3</cx:pt>
          <cx:pt idx="25362">5</cx:pt>
          <cx:pt idx="25363">5</cx:pt>
          <cx:pt idx="25364">1</cx:pt>
          <cx:pt idx="25365">2</cx:pt>
          <cx:pt idx="25366">2</cx:pt>
          <cx:pt idx="25367">3</cx:pt>
          <cx:pt idx="25368">4</cx:pt>
          <cx:pt idx="25369">5</cx:pt>
          <cx:pt idx="25370">2</cx:pt>
          <cx:pt idx="25371">5</cx:pt>
          <cx:pt idx="25372">2</cx:pt>
          <cx:pt idx="25373">1</cx:pt>
          <cx:pt idx="25374">1</cx:pt>
          <cx:pt idx="25375">1</cx:pt>
          <cx:pt idx="25376">2</cx:pt>
          <cx:pt idx="25377">2</cx:pt>
          <cx:pt idx="25378">5</cx:pt>
          <cx:pt idx="25379">1</cx:pt>
          <cx:pt idx="25380">1</cx:pt>
          <cx:pt idx="25381">3</cx:pt>
          <cx:pt idx="25382">2</cx:pt>
          <cx:pt idx="25383">1</cx:pt>
          <cx:pt idx="25384">5</cx:pt>
          <cx:pt idx="25385">4</cx:pt>
          <cx:pt idx="25386">2</cx:pt>
          <cx:pt idx="25387">2</cx:pt>
          <cx:pt idx="25388">5</cx:pt>
          <cx:pt idx="25389">2</cx:pt>
          <cx:pt idx="25390">5</cx:pt>
          <cx:pt idx="25391">5</cx:pt>
          <cx:pt idx="25392">1</cx:pt>
          <cx:pt idx="25393">4</cx:pt>
          <cx:pt idx="25394">4</cx:pt>
          <cx:pt idx="25395">4</cx:pt>
          <cx:pt idx="25396">2</cx:pt>
          <cx:pt idx="25397">5</cx:pt>
          <cx:pt idx="25398">2</cx:pt>
          <cx:pt idx="25399">2</cx:pt>
          <cx:pt idx="25400">2</cx:pt>
          <cx:pt idx="25401">5</cx:pt>
          <cx:pt idx="25402">2</cx:pt>
          <cx:pt idx="25403">4</cx:pt>
          <cx:pt idx="25404">4</cx:pt>
          <cx:pt idx="25405">4</cx:pt>
          <cx:pt idx="25406">4</cx:pt>
          <cx:pt idx="25407">2</cx:pt>
          <cx:pt idx="25408">4</cx:pt>
          <cx:pt idx="25409">3</cx:pt>
          <cx:pt idx="25410">1</cx:pt>
          <cx:pt idx="25411">5</cx:pt>
          <cx:pt idx="25412">5</cx:pt>
          <cx:pt idx="25413">3</cx:pt>
          <cx:pt idx="25414">3</cx:pt>
          <cx:pt idx="25415">2</cx:pt>
          <cx:pt idx="25416">3</cx:pt>
          <cx:pt idx="25417">2</cx:pt>
          <cx:pt idx="25418">2</cx:pt>
          <cx:pt idx="25419">4</cx:pt>
          <cx:pt idx="25420">4</cx:pt>
          <cx:pt idx="25421">1</cx:pt>
          <cx:pt idx="25422">1</cx:pt>
          <cx:pt idx="25423">3</cx:pt>
          <cx:pt idx="25424">2</cx:pt>
          <cx:pt idx="25425">3</cx:pt>
          <cx:pt idx="25426">2</cx:pt>
          <cx:pt idx="25427">2</cx:pt>
          <cx:pt idx="25428">3</cx:pt>
          <cx:pt idx="25429">3</cx:pt>
          <cx:pt idx="25430">4</cx:pt>
          <cx:pt idx="25431">2</cx:pt>
          <cx:pt idx="25432">4</cx:pt>
          <cx:pt idx="25433">2</cx:pt>
          <cx:pt idx="25434">4</cx:pt>
          <cx:pt idx="25435">2</cx:pt>
          <cx:pt idx="25436">3</cx:pt>
          <cx:pt idx="25437">4</cx:pt>
          <cx:pt idx="25438">3</cx:pt>
          <cx:pt idx="25439">2</cx:pt>
          <cx:pt idx="25440">1</cx:pt>
          <cx:pt idx="25441">2</cx:pt>
          <cx:pt idx="25442">2</cx:pt>
          <cx:pt idx="25443">4</cx:pt>
          <cx:pt idx="25444">4</cx:pt>
          <cx:pt idx="25445">3</cx:pt>
          <cx:pt idx="25446">4</cx:pt>
          <cx:pt idx="25447">4</cx:pt>
          <cx:pt idx="25448">3</cx:pt>
          <cx:pt idx="25449">4</cx:pt>
          <cx:pt idx="25450">5</cx:pt>
          <cx:pt idx="25451">2</cx:pt>
          <cx:pt idx="25452">5</cx:pt>
          <cx:pt idx="25453">3</cx:pt>
          <cx:pt idx="25454">2</cx:pt>
          <cx:pt idx="25455">3</cx:pt>
          <cx:pt idx="25456">1</cx:pt>
          <cx:pt idx="25457">2</cx:pt>
          <cx:pt idx="25458">0</cx:pt>
          <cx:pt idx="25459">5</cx:pt>
          <cx:pt idx="25460">2</cx:pt>
          <cx:pt idx="25461">3</cx:pt>
          <cx:pt idx="25462">4</cx:pt>
          <cx:pt idx="25463">2</cx:pt>
          <cx:pt idx="25464">4</cx:pt>
          <cx:pt idx="25465">0</cx:pt>
          <cx:pt idx="25466">4</cx:pt>
          <cx:pt idx="25467">3</cx:pt>
          <cx:pt idx="25468">5</cx:pt>
          <cx:pt idx="25469">3</cx:pt>
          <cx:pt idx="25470">1</cx:pt>
          <cx:pt idx="25471">3</cx:pt>
          <cx:pt idx="25472">5</cx:pt>
          <cx:pt idx="25473">2</cx:pt>
          <cx:pt idx="25474">3</cx:pt>
          <cx:pt idx="25475">3</cx:pt>
          <cx:pt idx="25476">3</cx:pt>
          <cx:pt idx="25477">3</cx:pt>
          <cx:pt idx="25478">4</cx:pt>
          <cx:pt idx="25479">5</cx:pt>
          <cx:pt idx="25480">3</cx:pt>
          <cx:pt idx="25481">3</cx:pt>
          <cx:pt idx="25482">0</cx:pt>
          <cx:pt idx="25483">2</cx:pt>
          <cx:pt idx="25484">1</cx:pt>
          <cx:pt idx="25485">2</cx:pt>
          <cx:pt idx="25486">3</cx:pt>
          <cx:pt idx="25487">2</cx:pt>
          <cx:pt idx="25488">1</cx:pt>
          <cx:pt idx="25489">0</cx:pt>
          <cx:pt idx="25490">2</cx:pt>
          <cx:pt idx="25491">2</cx:pt>
          <cx:pt idx="25492">1</cx:pt>
          <cx:pt idx="25493">5</cx:pt>
          <cx:pt idx="25494">4</cx:pt>
          <cx:pt idx="25495">4</cx:pt>
          <cx:pt idx="25496">1</cx:pt>
          <cx:pt idx="25497">3</cx:pt>
          <cx:pt idx="25498">2</cx:pt>
          <cx:pt idx="25499">5</cx:pt>
          <cx:pt idx="25500">5</cx:pt>
          <cx:pt idx="25501">3</cx:pt>
          <cx:pt idx="25502">1</cx:pt>
          <cx:pt idx="25503">3</cx:pt>
          <cx:pt idx="25504">2</cx:pt>
          <cx:pt idx="25505">3</cx:pt>
          <cx:pt idx="25506">2</cx:pt>
          <cx:pt idx="25507">2</cx:pt>
          <cx:pt idx="25508">2</cx:pt>
          <cx:pt idx="25509">4</cx:pt>
          <cx:pt idx="25510">2</cx:pt>
          <cx:pt idx="25511">3</cx:pt>
          <cx:pt idx="25512">2</cx:pt>
          <cx:pt idx="25513">3</cx:pt>
          <cx:pt idx="25514">3</cx:pt>
          <cx:pt idx="25515">2</cx:pt>
          <cx:pt idx="25516">0</cx:pt>
          <cx:pt idx="25517">2</cx:pt>
          <cx:pt idx="25518">2</cx:pt>
          <cx:pt idx="25519">2</cx:pt>
          <cx:pt idx="25520">4</cx:pt>
          <cx:pt idx="25521">1</cx:pt>
          <cx:pt idx="25522">1</cx:pt>
          <cx:pt idx="25523">5</cx:pt>
          <cx:pt idx="25524">2</cx:pt>
          <cx:pt idx="25525">4</cx:pt>
          <cx:pt idx="25526">1</cx:pt>
          <cx:pt idx="25527">2</cx:pt>
          <cx:pt idx="25528">4</cx:pt>
          <cx:pt idx="25529">4</cx:pt>
          <cx:pt idx="25530">2</cx:pt>
          <cx:pt idx="25531">4</cx:pt>
          <cx:pt idx="25532">0</cx:pt>
          <cx:pt idx="25533">4</cx:pt>
          <cx:pt idx="25534">4</cx:pt>
          <cx:pt idx="25535">3</cx:pt>
          <cx:pt idx="25536">3</cx:pt>
          <cx:pt idx="25537">2</cx:pt>
          <cx:pt idx="25538">2</cx:pt>
          <cx:pt idx="25539">3</cx:pt>
          <cx:pt idx="25540">2</cx:pt>
          <cx:pt idx="25541">4</cx:pt>
          <cx:pt idx="25542">4</cx:pt>
          <cx:pt idx="25543">2</cx:pt>
          <cx:pt idx="25544">0</cx:pt>
          <cx:pt idx="25545">5</cx:pt>
          <cx:pt idx="25546">3</cx:pt>
          <cx:pt idx="25547">2</cx:pt>
          <cx:pt idx="25548">3</cx:pt>
          <cx:pt idx="25549">2</cx:pt>
          <cx:pt idx="25550">4</cx:pt>
          <cx:pt idx="25551">4</cx:pt>
          <cx:pt idx="25552">4</cx:pt>
          <cx:pt idx="25553">0</cx:pt>
          <cx:pt idx="25554">1</cx:pt>
          <cx:pt idx="25555">2</cx:pt>
          <cx:pt idx="25556">4</cx:pt>
          <cx:pt idx="25557">2</cx:pt>
          <cx:pt idx="25558">0</cx:pt>
          <cx:pt idx="25559">1</cx:pt>
          <cx:pt idx="25560">1</cx:pt>
          <cx:pt idx="25561">3</cx:pt>
          <cx:pt idx="25562">0</cx:pt>
          <cx:pt idx="25563">4</cx:pt>
          <cx:pt idx="25564">5</cx:pt>
          <cx:pt idx="25565">3</cx:pt>
          <cx:pt idx="25566">2</cx:pt>
          <cx:pt idx="25567">2</cx:pt>
          <cx:pt idx="25568">4</cx:pt>
          <cx:pt idx="25569">2</cx:pt>
          <cx:pt idx="25570">0</cx:pt>
          <cx:pt idx="25571">2</cx:pt>
          <cx:pt idx="25572">3</cx:pt>
          <cx:pt idx="25573">3</cx:pt>
          <cx:pt idx="25574">4</cx:pt>
          <cx:pt idx="25575">5</cx:pt>
          <cx:pt idx="25576">1</cx:pt>
          <cx:pt idx="25577">3</cx:pt>
          <cx:pt idx="25578">2</cx:pt>
          <cx:pt idx="25579">5</cx:pt>
          <cx:pt idx="25580">4</cx:pt>
          <cx:pt idx="25581">3</cx:pt>
          <cx:pt idx="25582">4</cx:pt>
          <cx:pt idx="25583">5</cx:pt>
          <cx:pt idx="25584">4</cx:pt>
          <cx:pt idx="25585">2</cx:pt>
          <cx:pt idx="25586">4</cx:pt>
          <cx:pt idx="25587">1</cx:pt>
          <cx:pt idx="25588">2</cx:pt>
          <cx:pt idx="25589">2</cx:pt>
          <cx:pt idx="25590">3</cx:pt>
          <cx:pt idx="25591">2</cx:pt>
          <cx:pt idx="25592">5</cx:pt>
          <cx:pt idx="25593">4</cx:pt>
          <cx:pt idx="25594">3</cx:pt>
          <cx:pt idx="25595">2</cx:pt>
          <cx:pt idx="25596">4</cx:pt>
          <cx:pt idx="25597">4</cx:pt>
          <cx:pt idx="25598">1</cx:pt>
          <cx:pt idx="25599">1</cx:pt>
          <cx:pt idx="25600">2</cx:pt>
          <cx:pt idx="25601">1</cx:pt>
          <cx:pt idx="25602">5</cx:pt>
          <cx:pt idx="25603">3</cx:pt>
          <cx:pt idx="25604">4</cx:pt>
          <cx:pt idx="25605">5</cx:pt>
          <cx:pt idx="25606">5</cx:pt>
          <cx:pt idx="25607">1</cx:pt>
          <cx:pt idx="25608">2</cx:pt>
          <cx:pt idx="25609">5</cx:pt>
          <cx:pt idx="25610">5</cx:pt>
          <cx:pt idx="25611">1</cx:pt>
          <cx:pt idx="25612">3</cx:pt>
          <cx:pt idx="25613">3</cx:pt>
          <cx:pt idx="25614">4</cx:pt>
          <cx:pt idx="25615">1</cx:pt>
          <cx:pt idx="25616">3</cx:pt>
          <cx:pt idx="25617">4</cx:pt>
          <cx:pt idx="25618">1</cx:pt>
          <cx:pt idx="25619">2</cx:pt>
          <cx:pt idx="25620">2</cx:pt>
          <cx:pt idx="25621">1</cx:pt>
          <cx:pt idx="25622">2</cx:pt>
          <cx:pt idx="25623">2</cx:pt>
          <cx:pt idx="25624">0</cx:pt>
          <cx:pt idx="25625">1</cx:pt>
          <cx:pt idx="25626">1</cx:pt>
          <cx:pt idx="25627">5</cx:pt>
          <cx:pt idx="25628">5</cx:pt>
          <cx:pt idx="25629">1</cx:pt>
          <cx:pt idx="25630">2</cx:pt>
          <cx:pt idx="25631">2</cx:pt>
          <cx:pt idx="25632">2</cx:pt>
          <cx:pt idx="25633">2</cx:pt>
          <cx:pt idx="25634">3</cx:pt>
          <cx:pt idx="25635">3</cx:pt>
          <cx:pt idx="25636">5</cx:pt>
          <cx:pt idx="25637">2</cx:pt>
          <cx:pt idx="25638">5</cx:pt>
          <cx:pt idx="25639">4</cx:pt>
          <cx:pt idx="25640">4</cx:pt>
          <cx:pt idx="25641">3</cx:pt>
          <cx:pt idx="25642">0</cx:pt>
          <cx:pt idx="25643">4</cx:pt>
          <cx:pt idx="25644">4</cx:pt>
          <cx:pt idx="25645">0</cx:pt>
          <cx:pt idx="25646">4</cx:pt>
          <cx:pt idx="25647">5</cx:pt>
          <cx:pt idx="25648">1</cx:pt>
          <cx:pt idx="25649">2</cx:pt>
          <cx:pt idx="25650">4</cx:pt>
          <cx:pt idx="25651">3</cx:pt>
          <cx:pt idx="25652">2</cx:pt>
          <cx:pt idx="25653">1</cx:pt>
          <cx:pt idx="25654">2</cx:pt>
          <cx:pt idx="25655">4</cx:pt>
          <cx:pt idx="25656">1</cx:pt>
          <cx:pt idx="25657">3</cx:pt>
          <cx:pt idx="25658">3</cx:pt>
          <cx:pt idx="25659">3</cx:pt>
          <cx:pt idx="25660">2</cx:pt>
          <cx:pt idx="25661">1</cx:pt>
          <cx:pt idx="25662">1</cx:pt>
          <cx:pt idx="25663">1</cx:pt>
          <cx:pt idx="25664">5</cx:pt>
          <cx:pt idx="25665">5</cx:pt>
          <cx:pt idx="25666">3</cx:pt>
          <cx:pt idx="25667">1</cx:pt>
          <cx:pt idx="25668">5</cx:pt>
          <cx:pt idx="25669">1</cx:pt>
          <cx:pt idx="25670">3</cx:pt>
          <cx:pt idx="25671">5</cx:pt>
          <cx:pt idx="25672">5</cx:pt>
          <cx:pt idx="25673">2</cx:pt>
          <cx:pt idx="25674">4</cx:pt>
          <cx:pt idx="25675">2</cx:pt>
          <cx:pt idx="25676">0</cx:pt>
          <cx:pt idx="25677">1</cx:pt>
          <cx:pt idx="25678">3</cx:pt>
          <cx:pt idx="25679">5</cx:pt>
          <cx:pt idx="25680">2</cx:pt>
          <cx:pt idx="25681">4</cx:pt>
          <cx:pt idx="25682">2</cx:pt>
          <cx:pt idx="25683">3</cx:pt>
          <cx:pt idx="25684">1</cx:pt>
          <cx:pt idx="25685">2</cx:pt>
          <cx:pt idx="25686">2</cx:pt>
          <cx:pt idx="25687">2</cx:pt>
          <cx:pt idx="25688">2</cx:pt>
          <cx:pt idx="25689">3</cx:pt>
          <cx:pt idx="25690">2</cx:pt>
          <cx:pt idx="25691">4</cx:pt>
          <cx:pt idx="25692">4</cx:pt>
          <cx:pt idx="25693">2</cx:pt>
          <cx:pt idx="25694">0</cx:pt>
          <cx:pt idx="25695">4</cx:pt>
          <cx:pt idx="25696">3</cx:pt>
          <cx:pt idx="25697">5</cx:pt>
          <cx:pt idx="25698">0</cx:pt>
          <cx:pt idx="25699">2</cx:pt>
          <cx:pt idx="25700">1</cx:pt>
          <cx:pt idx="25701">2</cx:pt>
          <cx:pt idx="25702">4</cx:pt>
          <cx:pt idx="25703">2</cx:pt>
          <cx:pt idx="25704">1</cx:pt>
          <cx:pt idx="25705">1</cx:pt>
          <cx:pt idx="25706">2</cx:pt>
          <cx:pt idx="25707">2</cx:pt>
          <cx:pt idx="25708">4</cx:pt>
          <cx:pt idx="25709">1</cx:pt>
          <cx:pt idx="25710">4</cx:pt>
          <cx:pt idx="25711">3</cx:pt>
          <cx:pt idx="25712">2</cx:pt>
          <cx:pt idx="25713">1</cx:pt>
          <cx:pt idx="25714">2</cx:pt>
          <cx:pt idx="25715">2</cx:pt>
          <cx:pt idx="25716">2</cx:pt>
          <cx:pt idx="25717">1</cx:pt>
          <cx:pt idx="25718">2</cx:pt>
          <cx:pt idx="25719">2</cx:pt>
          <cx:pt idx="25720">1</cx:pt>
          <cx:pt idx="25721">2</cx:pt>
          <cx:pt idx="25722">2</cx:pt>
          <cx:pt idx="25723">3</cx:pt>
          <cx:pt idx="25724">2</cx:pt>
          <cx:pt idx="25725">1</cx:pt>
          <cx:pt idx="25726">5</cx:pt>
          <cx:pt idx="25727">1</cx:pt>
          <cx:pt idx="25728">2</cx:pt>
          <cx:pt idx="25729">1</cx:pt>
          <cx:pt idx="25730">1</cx:pt>
          <cx:pt idx="25731">1</cx:pt>
          <cx:pt idx="25732">3</cx:pt>
          <cx:pt idx="25733">3</cx:pt>
          <cx:pt idx="25734">1</cx:pt>
          <cx:pt idx="25735">3</cx:pt>
          <cx:pt idx="25736">2</cx:pt>
          <cx:pt idx="25737">3</cx:pt>
          <cx:pt idx="25738">3</cx:pt>
          <cx:pt idx="25739">4</cx:pt>
          <cx:pt idx="25740">0</cx:pt>
          <cx:pt idx="25741">0</cx:pt>
          <cx:pt idx="25742">4</cx:pt>
          <cx:pt idx="25743">1</cx:pt>
          <cx:pt idx="25744">4</cx:pt>
          <cx:pt idx="25745">3</cx:pt>
          <cx:pt idx="25746">1</cx:pt>
          <cx:pt idx="25747">3</cx:pt>
          <cx:pt idx="25748">2</cx:pt>
          <cx:pt idx="25749">1</cx:pt>
          <cx:pt idx="25750">3</cx:pt>
          <cx:pt idx="25751">2</cx:pt>
          <cx:pt idx="25752">2</cx:pt>
          <cx:pt idx="25753">3</cx:pt>
          <cx:pt idx="25754">5</cx:pt>
          <cx:pt idx="25755">4</cx:pt>
          <cx:pt idx="25756">1</cx:pt>
          <cx:pt idx="25757">5</cx:pt>
          <cx:pt idx="25758">3</cx:pt>
          <cx:pt idx="25759">2</cx:pt>
          <cx:pt idx="25760">2</cx:pt>
          <cx:pt idx="25761">1</cx:pt>
          <cx:pt idx="25762">3</cx:pt>
          <cx:pt idx="25763">3</cx:pt>
          <cx:pt idx="25764">2</cx:pt>
          <cx:pt idx="25765">2</cx:pt>
          <cx:pt idx="25766">1</cx:pt>
          <cx:pt idx="25767">2</cx:pt>
          <cx:pt idx="25768">5</cx:pt>
          <cx:pt idx="25769">4</cx:pt>
          <cx:pt idx="25770">3</cx:pt>
          <cx:pt idx="25771">4</cx:pt>
          <cx:pt idx="25772">3</cx:pt>
          <cx:pt idx="25773">4</cx:pt>
          <cx:pt idx="25774">4</cx:pt>
          <cx:pt idx="25775">2</cx:pt>
          <cx:pt idx="25776">2</cx:pt>
          <cx:pt idx="25777">2</cx:pt>
          <cx:pt idx="25778">4</cx:pt>
          <cx:pt idx="25779">3</cx:pt>
          <cx:pt idx="25780">2</cx:pt>
          <cx:pt idx="25781">3</cx:pt>
          <cx:pt idx="25782">2</cx:pt>
          <cx:pt idx="25783">1</cx:pt>
          <cx:pt idx="25784">2</cx:pt>
          <cx:pt idx="25785">5</cx:pt>
          <cx:pt idx="25786">3</cx:pt>
          <cx:pt idx="25787">2</cx:pt>
          <cx:pt idx="25788">2</cx:pt>
          <cx:pt idx="25789">3</cx:pt>
          <cx:pt idx="25790">1</cx:pt>
          <cx:pt idx="25791">4</cx:pt>
          <cx:pt idx="25792">2</cx:pt>
          <cx:pt idx="25793">3</cx:pt>
          <cx:pt idx="25794">3</cx:pt>
          <cx:pt idx="25795">3</cx:pt>
          <cx:pt idx="25796">1</cx:pt>
          <cx:pt idx="25797">4</cx:pt>
          <cx:pt idx="25798">3</cx:pt>
          <cx:pt idx="25799">5</cx:pt>
          <cx:pt idx="25800">4</cx:pt>
          <cx:pt idx="25801">2</cx:pt>
          <cx:pt idx="25802">1</cx:pt>
          <cx:pt idx="25803">2</cx:pt>
          <cx:pt idx="25804">1</cx:pt>
          <cx:pt idx="25805">5</cx:pt>
          <cx:pt idx="25806">3</cx:pt>
          <cx:pt idx="25807">5</cx:pt>
          <cx:pt idx="25808">2</cx:pt>
          <cx:pt idx="25809">3</cx:pt>
          <cx:pt idx="25810">4</cx:pt>
          <cx:pt idx="25811">3</cx:pt>
          <cx:pt idx="25812">5</cx:pt>
          <cx:pt idx="25813">2</cx:pt>
          <cx:pt idx="25814">3</cx:pt>
          <cx:pt idx="25815">4</cx:pt>
          <cx:pt idx="25816">5</cx:pt>
          <cx:pt idx="25817">1</cx:pt>
          <cx:pt idx="25818">1</cx:pt>
          <cx:pt idx="25819">3</cx:pt>
          <cx:pt idx="25820">2</cx:pt>
          <cx:pt idx="25821">3</cx:pt>
          <cx:pt idx="25822">0</cx:pt>
          <cx:pt idx="25823">1</cx:pt>
          <cx:pt idx="25824">2</cx:pt>
          <cx:pt idx="25825">0</cx:pt>
          <cx:pt idx="25826">4</cx:pt>
          <cx:pt idx="25827">1</cx:pt>
          <cx:pt idx="25828">4</cx:pt>
          <cx:pt idx="25829">4</cx:pt>
          <cx:pt idx="25830">2</cx:pt>
          <cx:pt idx="25831">2</cx:pt>
          <cx:pt idx="25832">5</cx:pt>
          <cx:pt idx="25833">4</cx:pt>
          <cx:pt idx="25834">4</cx:pt>
          <cx:pt idx="25835">1</cx:pt>
          <cx:pt idx="25836">2</cx:pt>
          <cx:pt idx="25837">2</cx:pt>
          <cx:pt idx="25838">4</cx:pt>
          <cx:pt idx="25839">1</cx:pt>
          <cx:pt idx="25840">4</cx:pt>
          <cx:pt idx="25841">5</cx:pt>
          <cx:pt idx="25842">5</cx:pt>
          <cx:pt idx="25843">4</cx:pt>
          <cx:pt idx="25844">4</cx:pt>
          <cx:pt idx="25845">2</cx:pt>
          <cx:pt idx="25846">3</cx:pt>
          <cx:pt idx="25847">1</cx:pt>
          <cx:pt idx="25848">5</cx:pt>
          <cx:pt idx="25849">4</cx:pt>
          <cx:pt idx="25850">2</cx:pt>
          <cx:pt idx="25851">2</cx:pt>
          <cx:pt idx="25852">3</cx:pt>
          <cx:pt idx="25853">4</cx:pt>
          <cx:pt idx="25854">4</cx:pt>
          <cx:pt idx="25855">2</cx:pt>
          <cx:pt idx="25856">4</cx:pt>
          <cx:pt idx="25857">1</cx:pt>
          <cx:pt idx="25858">1</cx:pt>
          <cx:pt idx="25859">1</cx:pt>
          <cx:pt idx="25860">1</cx:pt>
          <cx:pt idx="25861">2</cx:pt>
          <cx:pt idx="25862">1</cx:pt>
          <cx:pt idx="25863">3</cx:pt>
          <cx:pt idx="25864">2</cx:pt>
          <cx:pt idx="25865">1</cx:pt>
          <cx:pt idx="25866">4</cx:pt>
          <cx:pt idx="25867">4</cx:pt>
          <cx:pt idx="25868">2</cx:pt>
          <cx:pt idx="25869">2</cx:pt>
          <cx:pt idx="25870">2</cx:pt>
          <cx:pt idx="25871">4</cx:pt>
          <cx:pt idx="25872">4</cx:pt>
          <cx:pt idx="25873">3</cx:pt>
          <cx:pt idx="25874">0</cx:pt>
          <cx:pt idx="25875">2</cx:pt>
          <cx:pt idx="25876">1</cx:pt>
          <cx:pt idx="25877">3</cx:pt>
          <cx:pt idx="25878">1</cx:pt>
          <cx:pt idx="25879">1</cx:pt>
          <cx:pt idx="25880">4</cx:pt>
          <cx:pt idx="25881">1</cx:pt>
          <cx:pt idx="25882">5</cx:pt>
          <cx:pt idx="25883">4</cx:pt>
          <cx:pt idx="25884">2</cx:pt>
          <cx:pt idx="25885">3</cx:pt>
          <cx:pt idx="25886">4</cx:pt>
          <cx:pt idx="25887">4</cx:pt>
          <cx:pt idx="25888">2</cx:pt>
          <cx:pt idx="25889">5</cx:pt>
          <cx:pt idx="25890">1</cx:pt>
          <cx:pt idx="25891">4</cx:pt>
          <cx:pt idx="25892">5</cx:pt>
          <cx:pt idx="25893">5</cx:pt>
          <cx:pt idx="25894">3</cx:pt>
          <cx:pt idx="25895">2</cx:pt>
          <cx:pt idx="25896">1</cx:pt>
          <cx:pt idx="25897">3</cx:pt>
          <cx:pt idx="25898">4</cx:pt>
          <cx:pt idx="25899">0</cx:pt>
          <cx:pt idx="25900">1</cx:pt>
          <cx:pt idx="25901">2</cx:pt>
          <cx:pt idx="25902">3</cx:pt>
          <cx:pt idx="25903">4</cx:pt>
          <cx:pt idx="25904">1</cx:pt>
          <cx:pt idx="25905">3</cx:pt>
          <cx:pt idx="25906">5</cx:pt>
          <cx:pt idx="25907">1</cx:pt>
          <cx:pt idx="25908">3</cx:pt>
          <cx:pt idx="25909">1</cx:pt>
          <cx:pt idx="25910">1</cx:pt>
          <cx:pt idx="25911">1</cx:pt>
          <cx:pt idx="25912">3</cx:pt>
          <cx:pt idx="25913">3</cx:pt>
          <cx:pt idx="25914">3</cx:pt>
          <cx:pt idx="25915">3</cx:pt>
          <cx:pt idx="25916">5</cx:pt>
          <cx:pt idx="25917">3</cx:pt>
          <cx:pt idx="25918">4</cx:pt>
          <cx:pt idx="25919">2</cx:pt>
          <cx:pt idx="25920">1</cx:pt>
          <cx:pt idx="25921">5</cx:pt>
          <cx:pt idx="25922">4</cx:pt>
          <cx:pt idx="25923">3</cx:pt>
          <cx:pt idx="25924">3</cx:pt>
          <cx:pt idx="25925">4</cx:pt>
          <cx:pt idx="25926">1</cx:pt>
          <cx:pt idx="25927">1</cx:pt>
          <cx:pt idx="25928">2</cx:pt>
          <cx:pt idx="25929">3</cx:pt>
          <cx:pt idx="25930">1</cx:pt>
          <cx:pt idx="25931">3</cx:pt>
          <cx:pt idx="25932">3</cx:pt>
          <cx:pt idx="25933">2</cx:pt>
          <cx:pt idx="25934">1</cx:pt>
          <cx:pt idx="25935">2</cx:pt>
          <cx:pt idx="25936">5</cx:pt>
          <cx:pt idx="25937">2</cx:pt>
          <cx:pt idx="25938">3</cx:pt>
          <cx:pt idx="25939">2</cx:pt>
          <cx:pt idx="25940">4</cx:pt>
          <cx:pt idx="25941">3</cx:pt>
          <cx:pt idx="25942">2</cx:pt>
          <cx:pt idx="25943">1</cx:pt>
          <cx:pt idx="25944">0</cx:pt>
          <cx:pt idx="25945">3</cx:pt>
          <cx:pt idx="25946">1</cx:pt>
          <cx:pt idx="25947">5</cx:pt>
          <cx:pt idx="25948">5</cx:pt>
          <cx:pt idx="25949">5</cx:pt>
          <cx:pt idx="25950">4</cx:pt>
          <cx:pt idx="25951">1</cx:pt>
          <cx:pt idx="25952">4</cx:pt>
          <cx:pt idx="25953">5</cx:pt>
          <cx:pt idx="25954">1</cx:pt>
          <cx:pt idx="25955">3</cx:pt>
          <cx:pt idx="25956">5</cx:pt>
          <cx:pt idx="25957">4</cx:pt>
          <cx:pt idx="25958">2</cx:pt>
          <cx:pt idx="25959">4</cx:pt>
          <cx:pt idx="25960">5</cx:pt>
          <cx:pt idx="25961">2</cx:pt>
          <cx:pt idx="25962">4</cx:pt>
          <cx:pt idx="25963">3</cx:pt>
          <cx:pt idx="25964">2</cx:pt>
          <cx:pt idx="25965">5</cx:pt>
          <cx:pt idx="25966">2</cx:pt>
          <cx:pt idx="25967">4</cx:pt>
          <cx:pt idx="25968">2</cx:pt>
          <cx:pt idx="25969">4</cx:pt>
          <cx:pt idx="25970">2</cx:pt>
          <cx:pt idx="25971">4</cx:pt>
          <cx:pt idx="25972">4</cx:pt>
          <cx:pt idx="25973">4</cx:pt>
          <cx:pt idx="25974">1</cx:pt>
          <cx:pt idx="25975">3</cx:pt>
          <cx:pt idx="25976">4</cx:pt>
          <cx:pt idx="25977">4</cx:pt>
          <cx:pt idx="25978">2</cx:pt>
          <cx:pt idx="25979">1</cx:pt>
          <cx:pt idx="25980">4</cx:pt>
          <cx:pt idx="25981">2</cx:pt>
          <cx:pt idx="25982">3</cx:pt>
          <cx:pt idx="25983">5</cx:pt>
          <cx:pt idx="25984">5</cx:pt>
          <cx:pt idx="25985">5</cx:pt>
          <cx:pt idx="25986">1</cx:pt>
          <cx:pt idx="25987">3</cx:pt>
          <cx:pt idx="25988">2</cx:pt>
          <cx:pt idx="25989">2</cx:pt>
          <cx:pt idx="25990">4</cx:pt>
          <cx:pt idx="25991">3</cx:pt>
          <cx:pt idx="25992">2</cx:pt>
          <cx:pt idx="25993">4</cx:pt>
          <cx:pt idx="25994">4</cx:pt>
          <cx:pt idx="25995">5</cx:pt>
          <cx:pt idx="25996">2</cx:pt>
          <cx:pt idx="25997">5</cx:pt>
          <cx:pt idx="25998">5</cx:pt>
          <cx:pt idx="25999">1</cx:pt>
          <cx:pt idx="26000">2</cx:pt>
          <cx:pt idx="26001">2</cx:pt>
          <cx:pt idx="26002">1</cx:pt>
          <cx:pt idx="26003">4</cx:pt>
          <cx:pt idx="26004">2</cx:pt>
          <cx:pt idx="26005">3</cx:pt>
          <cx:pt idx="26006">2</cx:pt>
          <cx:pt idx="26007">2</cx:pt>
          <cx:pt idx="26008">3</cx:pt>
          <cx:pt idx="26009">2</cx:pt>
          <cx:pt idx="26010">3</cx:pt>
          <cx:pt idx="26011">3</cx:pt>
          <cx:pt idx="26012">2</cx:pt>
          <cx:pt idx="26013">4</cx:pt>
          <cx:pt idx="26014">4</cx:pt>
          <cx:pt idx="26015">3</cx:pt>
          <cx:pt idx="26016">0</cx:pt>
          <cx:pt idx="26017">3</cx:pt>
          <cx:pt idx="26018">2</cx:pt>
          <cx:pt idx="26019">1</cx:pt>
          <cx:pt idx="26020">2</cx:pt>
          <cx:pt idx="26021">4</cx:pt>
          <cx:pt idx="26022">5</cx:pt>
          <cx:pt idx="26023">2</cx:pt>
          <cx:pt idx="26024">4</cx:pt>
          <cx:pt idx="26025">1</cx:pt>
          <cx:pt idx="26026">1</cx:pt>
          <cx:pt idx="26027">2</cx:pt>
          <cx:pt idx="26028">0</cx:pt>
          <cx:pt idx="26029">1</cx:pt>
          <cx:pt idx="26030">3</cx:pt>
          <cx:pt idx="26031">3</cx:pt>
          <cx:pt idx="26032">3</cx:pt>
          <cx:pt idx="26033">3</cx:pt>
          <cx:pt idx="26034">4</cx:pt>
          <cx:pt idx="26035">5</cx:pt>
          <cx:pt idx="26036">2</cx:pt>
          <cx:pt idx="26037">2</cx:pt>
          <cx:pt idx="26038">2</cx:pt>
          <cx:pt idx="26039">2</cx:pt>
          <cx:pt idx="26040">3</cx:pt>
          <cx:pt idx="26041">3</cx:pt>
          <cx:pt idx="26042">3</cx:pt>
          <cx:pt idx="26043">5</cx:pt>
          <cx:pt idx="26044">3</cx:pt>
          <cx:pt idx="26045">4</cx:pt>
          <cx:pt idx="26046">2</cx:pt>
          <cx:pt idx="26047">4</cx:pt>
          <cx:pt idx="26048">5</cx:pt>
          <cx:pt idx="26049">3</cx:pt>
          <cx:pt idx="26050">4</cx:pt>
          <cx:pt idx="26051">5</cx:pt>
          <cx:pt idx="26052">3</cx:pt>
          <cx:pt idx="26053">1</cx:pt>
          <cx:pt idx="26054">2</cx:pt>
          <cx:pt idx="26055">4</cx:pt>
          <cx:pt idx="26056">4</cx:pt>
          <cx:pt idx="26057">5</cx:pt>
          <cx:pt idx="26058">2</cx:pt>
          <cx:pt idx="26059">3</cx:pt>
          <cx:pt idx="26060">0</cx:pt>
          <cx:pt idx="26061">1</cx:pt>
          <cx:pt idx="26062">3</cx:pt>
          <cx:pt idx="26063">3</cx:pt>
          <cx:pt idx="26064">4</cx:pt>
          <cx:pt idx="26065">3</cx:pt>
          <cx:pt idx="26066">1</cx:pt>
          <cx:pt idx="26067">3</cx:pt>
          <cx:pt idx="26068">2</cx:pt>
          <cx:pt idx="26069">1</cx:pt>
          <cx:pt idx="26070">4</cx:pt>
          <cx:pt idx="26071">3</cx:pt>
          <cx:pt idx="26072">3</cx:pt>
          <cx:pt idx="26073">1</cx:pt>
          <cx:pt idx="26074">3</cx:pt>
          <cx:pt idx="26075">5</cx:pt>
          <cx:pt idx="26076">4</cx:pt>
          <cx:pt idx="26077">0</cx:pt>
          <cx:pt idx="26078">2</cx:pt>
          <cx:pt idx="26079">1</cx:pt>
          <cx:pt idx="26080">5</cx:pt>
          <cx:pt idx="26081">2</cx:pt>
          <cx:pt idx="26082">4</cx:pt>
          <cx:pt idx="26083">3</cx:pt>
          <cx:pt idx="26084">3</cx:pt>
          <cx:pt idx="26085">4</cx:pt>
          <cx:pt idx="26086">3</cx:pt>
          <cx:pt idx="26087">4</cx:pt>
          <cx:pt idx="26088">2</cx:pt>
          <cx:pt idx="26089">4</cx:pt>
          <cx:pt idx="26090">0</cx:pt>
          <cx:pt idx="26091">3</cx:pt>
          <cx:pt idx="26092">1</cx:pt>
          <cx:pt idx="26093">4</cx:pt>
          <cx:pt idx="26094">4</cx:pt>
          <cx:pt idx="26095">3</cx:pt>
          <cx:pt idx="26096">3</cx:pt>
          <cx:pt idx="26097">2</cx:pt>
          <cx:pt idx="26098">3</cx:pt>
          <cx:pt idx="26099">1</cx:pt>
          <cx:pt idx="26100">5</cx:pt>
          <cx:pt idx="26101">4</cx:pt>
          <cx:pt idx="26102">5</cx:pt>
          <cx:pt idx="26103">4</cx:pt>
          <cx:pt idx="26104">2</cx:pt>
          <cx:pt idx="26105">3</cx:pt>
          <cx:pt idx="26106">2</cx:pt>
          <cx:pt idx="26107">4</cx:pt>
          <cx:pt idx="26108">2</cx:pt>
          <cx:pt idx="26109">3</cx:pt>
          <cx:pt idx="26110">2</cx:pt>
          <cx:pt idx="26111">3</cx:pt>
          <cx:pt idx="26112">1</cx:pt>
          <cx:pt idx="26113">5</cx:pt>
          <cx:pt idx="26114">4</cx:pt>
          <cx:pt idx="26115">2</cx:pt>
          <cx:pt idx="26116">0</cx:pt>
          <cx:pt idx="26117">3</cx:pt>
          <cx:pt idx="26118">3</cx:pt>
          <cx:pt idx="26119">3</cx:pt>
          <cx:pt idx="26120">4</cx:pt>
          <cx:pt idx="26121">2</cx:pt>
          <cx:pt idx="26122">3</cx:pt>
          <cx:pt idx="26123">3</cx:pt>
          <cx:pt idx="26124">4</cx:pt>
          <cx:pt idx="26125">2</cx:pt>
          <cx:pt idx="26126">1</cx:pt>
          <cx:pt idx="26127">2</cx:pt>
          <cx:pt idx="26128">4</cx:pt>
          <cx:pt idx="26129">4</cx:pt>
          <cx:pt idx="26130">5</cx:pt>
          <cx:pt idx="26131">2</cx:pt>
          <cx:pt idx="26132">3</cx:pt>
          <cx:pt idx="26133">2</cx:pt>
          <cx:pt idx="26134">1</cx:pt>
          <cx:pt idx="26135">5</cx:pt>
          <cx:pt idx="26136">4</cx:pt>
          <cx:pt idx="26137">3</cx:pt>
          <cx:pt idx="26138">1</cx:pt>
          <cx:pt idx="26139">3</cx:pt>
          <cx:pt idx="26140">4</cx:pt>
          <cx:pt idx="26141">3</cx:pt>
          <cx:pt idx="26142">5</cx:pt>
          <cx:pt idx="26143">4</cx:pt>
          <cx:pt idx="26144">4</cx:pt>
          <cx:pt idx="26145">2</cx:pt>
          <cx:pt idx="26146">3</cx:pt>
          <cx:pt idx="26147">1</cx:pt>
          <cx:pt idx="26148">4</cx:pt>
          <cx:pt idx="26149">2</cx:pt>
          <cx:pt idx="26150">3</cx:pt>
          <cx:pt idx="26151">1</cx:pt>
          <cx:pt idx="26152">1</cx:pt>
          <cx:pt idx="26153">4</cx:pt>
          <cx:pt idx="26154">3</cx:pt>
          <cx:pt idx="26155">4</cx:pt>
          <cx:pt idx="26156">5</cx:pt>
          <cx:pt idx="26157">5</cx:pt>
          <cx:pt idx="26158">5</cx:pt>
          <cx:pt idx="26159">5</cx:pt>
          <cx:pt idx="26160">3</cx:pt>
          <cx:pt idx="26161">1</cx:pt>
          <cx:pt idx="26162">5</cx:pt>
          <cx:pt idx="26163">1</cx:pt>
          <cx:pt idx="26164">3</cx:pt>
          <cx:pt idx="26165">2</cx:pt>
          <cx:pt idx="26166">5</cx:pt>
          <cx:pt idx="26167">4</cx:pt>
          <cx:pt idx="26168">2</cx:pt>
          <cx:pt idx="26169">5</cx:pt>
          <cx:pt idx="26170">1</cx:pt>
          <cx:pt idx="26171">3</cx:pt>
          <cx:pt idx="26172">5</cx:pt>
          <cx:pt idx="26173">4</cx:pt>
          <cx:pt idx="26174">0</cx:pt>
          <cx:pt idx="26175">1</cx:pt>
          <cx:pt idx="26176">4</cx:pt>
          <cx:pt idx="26177">3</cx:pt>
          <cx:pt idx="26178">4</cx:pt>
          <cx:pt idx="26179">3</cx:pt>
          <cx:pt idx="26180">1</cx:pt>
          <cx:pt idx="26181">1</cx:pt>
          <cx:pt idx="26182">0</cx:pt>
          <cx:pt idx="26183">0</cx:pt>
          <cx:pt idx="26184">4</cx:pt>
          <cx:pt idx="26185">1</cx:pt>
          <cx:pt idx="26186">5</cx:pt>
          <cx:pt idx="26187">4</cx:pt>
          <cx:pt idx="26188">1</cx:pt>
          <cx:pt idx="26189">4</cx:pt>
          <cx:pt idx="26190">2</cx:pt>
          <cx:pt idx="26191">1</cx:pt>
          <cx:pt idx="26192">2</cx:pt>
          <cx:pt idx="26193">4</cx:pt>
          <cx:pt idx="26194">3</cx:pt>
          <cx:pt idx="26195">2</cx:pt>
          <cx:pt idx="26196">2</cx:pt>
          <cx:pt idx="26197">5</cx:pt>
          <cx:pt idx="26198">4</cx:pt>
          <cx:pt idx="26199">4</cx:pt>
          <cx:pt idx="26200">1</cx:pt>
          <cx:pt idx="26201">3</cx:pt>
          <cx:pt idx="26202">5</cx:pt>
          <cx:pt idx="26203">3</cx:pt>
          <cx:pt idx="26204">5</cx:pt>
          <cx:pt idx="26205">1</cx:pt>
          <cx:pt idx="26206">5</cx:pt>
          <cx:pt idx="26207">4</cx:pt>
          <cx:pt idx="26208">1</cx:pt>
          <cx:pt idx="26209">2</cx:pt>
          <cx:pt idx="26210">3</cx:pt>
          <cx:pt idx="26211">2</cx:pt>
          <cx:pt idx="26212">1</cx:pt>
          <cx:pt idx="26213">4</cx:pt>
          <cx:pt idx="26214">2</cx:pt>
          <cx:pt idx="26215">1</cx:pt>
          <cx:pt idx="26216">5</cx:pt>
          <cx:pt idx="26217">3</cx:pt>
          <cx:pt idx="26218">2</cx:pt>
          <cx:pt idx="26219">2</cx:pt>
          <cx:pt idx="26220">5</cx:pt>
          <cx:pt idx="26221">4</cx:pt>
          <cx:pt idx="26222">3</cx:pt>
          <cx:pt idx="26223">4</cx:pt>
          <cx:pt idx="26224">2</cx:pt>
          <cx:pt idx="26225">3</cx:pt>
          <cx:pt idx="26226">3</cx:pt>
          <cx:pt idx="26227">5</cx:pt>
          <cx:pt idx="26228">5</cx:pt>
          <cx:pt idx="26229">0</cx:pt>
          <cx:pt idx="26230">4</cx:pt>
          <cx:pt idx="26231">2</cx:pt>
          <cx:pt idx="26232">0</cx:pt>
          <cx:pt idx="26233">2</cx:pt>
          <cx:pt idx="26234">5</cx:pt>
          <cx:pt idx="26235">3</cx:pt>
          <cx:pt idx="26236">1</cx:pt>
          <cx:pt idx="26237">3</cx:pt>
          <cx:pt idx="26238">2</cx:pt>
          <cx:pt idx="26239">4</cx:pt>
          <cx:pt idx="26240">1</cx:pt>
          <cx:pt idx="26241">4</cx:pt>
          <cx:pt idx="26242">3</cx:pt>
          <cx:pt idx="26243">2</cx:pt>
          <cx:pt idx="26244">2</cx:pt>
          <cx:pt idx="26245">4</cx:pt>
          <cx:pt idx="26246">3</cx:pt>
          <cx:pt idx="26247">4</cx:pt>
          <cx:pt idx="26248">3</cx:pt>
          <cx:pt idx="26249">1</cx:pt>
          <cx:pt idx="26250">5</cx:pt>
          <cx:pt idx="26251">1</cx:pt>
          <cx:pt idx="26252">1</cx:pt>
          <cx:pt idx="26253">1</cx:pt>
          <cx:pt idx="26254">2</cx:pt>
          <cx:pt idx="26255">2</cx:pt>
          <cx:pt idx="26256">5</cx:pt>
          <cx:pt idx="26257">2</cx:pt>
          <cx:pt idx="26258">3</cx:pt>
          <cx:pt idx="26259">3</cx:pt>
          <cx:pt idx="26260">5</cx:pt>
          <cx:pt idx="26261">4</cx:pt>
          <cx:pt idx="26262">5</cx:pt>
          <cx:pt idx="26263">5</cx:pt>
          <cx:pt idx="26264">1</cx:pt>
          <cx:pt idx="26265">4</cx:pt>
          <cx:pt idx="26266">2</cx:pt>
          <cx:pt idx="26267">2</cx:pt>
          <cx:pt idx="26268">1</cx:pt>
          <cx:pt idx="26269">4</cx:pt>
          <cx:pt idx="26270">2</cx:pt>
          <cx:pt idx="26271">5</cx:pt>
          <cx:pt idx="26272">4</cx:pt>
          <cx:pt idx="26273">3</cx:pt>
          <cx:pt idx="26274">4</cx:pt>
          <cx:pt idx="26275">3</cx:pt>
          <cx:pt idx="26276">2</cx:pt>
          <cx:pt idx="26277">4</cx:pt>
          <cx:pt idx="26278">2</cx:pt>
          <cx:pt idx="26279">2</cx:pt>
          <cx:pt idx="26280">2</cx:pt>
          <cx:pt idx="26281">1</cx:pt>
          <cx:pt idx="26282">3</cx:pt>
          <cx:pt idx="26283">2</cx:pt>
          <cx:pt idx="26284">2</cx:pt>
          <cx:pt idx="26285">3</cx:pt>
          <cx:pt idx="26286">4</cx:pt>
          <cx:pt idx="26287">1</cx:pt>
          <cx:pt idx="26288">3</cx:pt>
          <cx:pt idx="26289">0</cx:pt>
          <cx:pt idx="26290">5</cx:pt>
          <cx:pt idx="26291">4</cx:pt>
          <cx:pt idx="26292">4</cx:pt>
          <cx:pt idx="26293">3</cx:pt>
          <cx:pt idx="26294">4</cx:pt>
          <cx:pt idx="26295">1</cx:pt>
          <cx:pt idx="26296">5</cx:pt>
          <cx:pt idx="26297">1</cx:pt>
          <cx:pt idx="26298">4</cx:pt>
          <cx:pt idx="26299">2</cx:pt>
          <cx:pt idx="26300">0</cx:pt>
          <cx:pt idx="26301">2</cx:pt>
          <cx:pt idx="26302">2</cx:pt>
          <cx:pt idx="26303">3</cx:pt>
          <cx:pt idx="26304">3</cx:pt>
          <cx:pt idx="26305">2</cx:pt>
          <cx:pt idx="26306">1</cx:pt>
          <cx:pt idx="26307">2</cx:pt>
          <cx:pt idx="26308">2</cx:pt>
          <cx:pt idx="26309">3</cx:pt>
          <cx:pt idx="26310">3</cx:pt>
          <cx:pt idx="26311">2</cx:pt>
          <cx:pt idx="26312">4</cx:pt>
          <cx:pt idx="26313">4</cx:pt>
          <cx:pt idx="26314">1</cx:pt>
          <cx:pt idx="26315">4</cx:pt>
          <cx:pt idx="26316">4</cx:pt>
          <cx:pt idx="26317">0</cx:pt>
          <cx:pt idx="26318">3</cx:pt>
          <cx:pt idx="26319">2</cx:pt>
          <cx:pt idx="26320">4</cx:pt>
          <cx:pt idx="26321">0</cx:pt>
          <cx:pt idx="26322">4</cx:pt>
          <cx:pt idx="26323">2</cx:pt>
          <cx:pt idx="26324">3</cx:pt>
          <cx:pt idx="26325">4</cx:pt>
          <cx:pt idx="26326">5</cx:pt>
          <cx:pt idx="26327">2</cx:pt>
          <cx:pt idx="26328">1</cx:pt>
          <cx:pt idx="26329">1</cx:pt>
          <cx:pt idx="26330">3</cx:pt>
          <cx:pt idx="26331">3</cx:pt>
          <cx:pt idx="26332">2</cx:pt>
          <cx:pt idx="26333">2</cx:pt>
          <cx:pt idx="26334">3</cx:pt>
          <cx:pt idx="26335">3</cx:pt>
          <cx:pt idx="26336">1</cx:pt>
          <cx:pt idx="26337">2</cx:pt>
          <cx:pt idx="26338">2</cx:pt>
          <cx:pt idx="26339">3</cx:pt>
          <cx:pt idx="26340">4</cx:pt>
          <cx:pt idx="26341">4</cx:pt>
          <cx:pt idx="26342">2</cx:pt>
          <cx:pt idx="26343">5</cx:pt>
          <cx:pt idx="26344">5</cx:pt>
          <cx:pt idx="26345">4</cx:pt>
          <cx:pt idx="26346">1</cx:pt>
          <cx:pt idx="26347">3</cx:pt>
          <cx:pt idx="26348">4</cx:pt>
          <cx:pt idx="26349">3</cx:pt>
          <cx:pt idx="26350">1</cx:pt>
          <cx:pt idx="26351">4</cx:pt>
          <cx:pt idx="26352">2</cx:pt>
          <cx:pt idx="26353">3</cx:pt>
          <cx:pt idx="26354">3</cx:pt>
          <cx:pt idx="26355">2</cx:pt>
          <cx:pt idx="26356">3</cx:pt>
          <cx:pt idx="26357">5</cx:pt>
          <cx:pt idx="26358">4</cx:pt>
          <cx:pt idx="26359">3</cx:pt>
          <cx:pt idx="26360">2</cx:pt>
          <cx:pt idx="26361">2</cx:pt>
          <cx:pt idx="26362">3</cx:pt>
          <cx:pt idx="26363">5</cx:pt>
          <cx:pt idx="26364">3</cx:pt>
          <cx:pt idx="26365">3</cx:pt>
          <cx:pt idx="26366">4</cx:pt>
          <cx:pt idx="26367">4</cx:pt>
          <cx:pt idx="26368">4</cx:pt>
          <cx:pt idx="26369">2</cx:pt>
          <cx:pt idx="26370">2</cx:pt>
          <cx:pt idx="26371">4</cx:pt>
          <cx:pt idx="26372">4</cx:pt>
          <cx:pt idx="26373">3</cx:pt>
          <cx:pt idx="26374">2</cx:pt>
          <cx:pt idx="26375">2</cx:pt>
          <cx:pt idx="26376">2</cx:pt>
          <cx:pt idx="26377">3</cx:pt>
          <cx:pt idx="26378">1</cx:pt>
          <cx:pt idx="26379">3</cx:pt>
          <cx:pt idx="26380">2</cx:pt>
          <cx:pt idx="26381">5</cx:pt>
          <cx:pt idx="26382">1</cx:pt>
          <cx:pt idx="26383">3</cx:pt>
          <cx:pt idx="26384">1</cx:pt>
          <cx:pt idx="26385">3</cx:pt>
          <cx:pt idx="26386">2</cx:pt>
          <cx:pt idx="26387">3</cx:pt>
          <cx:pt idx="26388">3</cx:pt>
          <cx:pt idx="26389">1</cx:pt>
          <cx:pt idx="26390">4</cx:pt>
          <cx:pt idx="26391">2</cx:pt>
          <cx:pt idx="26392">2</cx:pt>
          <cx:pt idx="26393">4</cx:pt>
          <cx:pt idx="26394">1</cx:pt>
          <cx:pt idx="26395">5</cx:pt>
          <cx:pt idx="26396">4</cx:pt>
          <cx:pt idx="26397">3</cx:pt>
          <cx:pt idx="26398">4</cx:pt>
          <cx:pt idx="26399">2</cx:pt>
          <cx:pt idx="26400">2</cx:pt>
          <cx:pt idx="26401">1</cx:pt>
          <cx:pt idx="26402">4</cx:pt>
          <cx:pt idx="26403">3</cx:pt>
          <cx:pt idx="26404">3</cx:pt>
          <cx:pt idx="26405">2</cx:pt>
          <cx:pt idx="26406">1</cx:pt>
          <cx:pt idx="26407">4</cx:pt>
          <cx:pt idx="26408">3</cx:pt>
          <cx:pt idx="26409">4</cx:pt>
          <cx:pt idx="26410">3</cx:pt>
          <cx:pt idx="26411">1</cx:pt>
          <cx:pt idx="26412">1</cx:pt>
          <cx:pt idx="26413">3</cx:pt>
          <cx:pt idx="26414">0</cx:pt>
          <cx:pt idx="26415">2</cx:pt>
          <cx:pt idx="26416">0</cx:pt>
          <cx:pt idx="26417">2</cx:pt>
          <cx:pt idx="26418">4</cx:pt>
          <cx:pt idx="26419">2</cx:pt>
          <cx:pt idx="26420">2</cx:pt>
          <cx:pt idx="26421">1</cx:pt>
          <cx:pt idx="26422">3</cx:pt>
          <cx:pt idx="26423">4</cx:pt>
          <cx:pt idx="26424">3</cx:pt>
          <cx:pt idx="26425">1</cx:pt>
          <cx:pt idx="26426">1</cx:pt>
          <cx:pt idx="26427">2</cx:pt>
          <cx:pt idx="26428">3</cx:pt>
          <cx:pt idx="26429">5</cx:pt>
          <cx:pt idx="26430">3</cx:pt>
          <cx:pt idx="26431">2</cx:pt>
          <cx:pt idx="26432">5</cx:pt>
          <cx:pt idx="26433">3</cx:pt>
          <cx:pt idx="26434">2</cx:pt>
          <cx:pt idx="26435">2</cx:pt>
          <cx:pt idx="26436">4</cx:pt>
          <cx:pt idx="26437">1</cx:pt>
          <cx:pt idx="26438">5</cx:pt>
          <cx:pt idx="26439">4</cx:pt>
          <cx:pt idx="26440">5</cx:pt>
          <cx:pt idx="26441">1</cx:pt>
          <cx:pt idx="26442">3</cx:pt>
          <cx:pt idx="26443">2</cx:pt>
          <cx:pt idx="26444">1</cx:pt>
          <cx:pt idx="26445">5</cx:pt>
          <cx:pt idx="26446">1</cx:pt>
          <cx:pt idx="26447">1</cx:pt>
          <cx:pt idx="26448">2</cx:pt>
          <cx:pt idx="26449">2</cx:pt>
          <cx:pt idx="26450">5</cx:pt>
          <cx:pt idx="26451">2</cx:pt>
          <cx:pt idx="26452">3</cx:pt>
          <cx:pt idx="26453">1</cx:pt>
          <cx:pt idx="26454">1</cx:pt>
          <cx:pt idx="26455">2</cx:pt>
          <cx:pt idx="26456">5</cx:pt>
          <cx:pt idx="26457">5</cx:pt>
          <cx:pt idx="26458">4</cx:pt>
          <cx:pt idx="26459">2</cx:pt>
          <cx:pt idx="26460">1</cx:pt>
          <cx:pt idx="26461">3</cx:pt>
          <cx:pt idx="26462">4</cx:pt>
          <cx:pt idx="26463">3</cx:pt>
          <cx:pt idx="26464">1</cx:pt>
          <cx:pt idx="26465">0</cx:pt>
          <cx:pt idx="26466">5</cx:pt>
          <cx:pt idx="26467">1</cx:pt>
          <cx:pt idx="26468">5</cx:pt>
          <cx:pt idx="26469">1</cx:pt>
          <cx:pt idx="26470">4</cx:pt>
          <cx:pt idx="26471">0</cx:pt>
          <cx:pt idx="26472">5</cx:pt>
          <cx:pt idx="26473">5</cx:pt>
          <cx:pt idx="26474">1</cx:pt>
          <cx:pt idx="26475">0</cx:pt>
          <cx:pt idx="26476">2</cx:pt>
          <cx:pt idx="26477">0</cx:pt>
          <cx:pt idx="26478">1</cx:pt>
          <cx:pt idx="26479">2</cx:pt>
          <cx:pt idx="26480">3</cx:pt>
          <cx:pt idx="26481">5</cx:pt>
          <cx:pt idx="26482">3</cx:pt>
          <cx:pt idx="26483">4</cx:pt>
          <cx:pt idx="26484">4</cx:pt>
          <cx:pt idx="26485">5</cx:pt>
          <cx:pt idx="26486">3</cx:pt>
          <cx:pt idx="26487">5</cx:pt>
          <cx:pt idx="26488">2</cx:pt>
          <cx:pt idx="26489">2</cx:pt>
          <cx:pt idx="26490">2</cx:pt>
          <cx:pt idx="26491">3</cx:pt>
          <cx:pt idx="26492">2</cx:pt>
          <cx:pt idx="26493">3</cx:pt>
          <cx:pt idx="26494">4</cx:pt>
          <cx:pt idx="26495">0</cx:pt>
          <cx:pt idx="26496">2</cx:pt>
          <cx:pt idx="26497">4</cx:pt>
          <cx:pt idx="26498">3</cx:pt>
          <cx:pt idx="26499">4</cx:pt>
          <cx:pt idx="26500">0</cx:pt>
          <cx:pt idx="26501">2</cx:pt>
          <cx:pt idx="26502">4</cx:pt>
          <cx:pt idx="26503">4</cx:pt>
          <cx:pt idx="26504">2</cx:pt>
          <cx:pt idx="26505">2</cx:pt>
          <cx:pt idx="26506">1</cx:pt>
          <cx:pt idx="26507">2</cx:pt>
          <cx:pt idx="26508">5</cx:pt>
          <cx:pt idx="26509">2</cx:pt>
          <cx:pt idx="26510">5</cx:pt>
          <cx:pt idx="26511">1</cx:pt>
          <cx:pt idx="26512">1</cx:pt>
          <cx:pt idx="26513">2</cx:pt>
          <cx:pt idx="26514">3</cx:pt>
          <cx:pt idx="26515">4</cx:pt>
          <cx:pt idx="26516">2</cx:pt>
          <cx:pt idx="26517">2</cx:pt>
          <cx:pt idx="26518">2</cx:pt>
          <cx:pt idx="26519">4</cx:pt>
          <cx:pt idx="26520">1</cx:pt>
          <cx:pt idx="26521">0</cx:pt>
          <cx:pt idx="26522">5</cx:pt>
          <cx:pt idx="26523">2</cx:pt>
          <cx:pt idx="26524">3</cx:pt>
          <cx:pt idx="26525">5</cx:pt>
          <cx:pt idx="26526">5</cx:pt>
          <cx:pt idx="26527">1</cx:pt>
          <cx:pt idx="26528">1</cx:pt>
          <cx:pt idx="26529">3</cx:pt>
          <cx:pt idx="26530">1</cx:pt>
          <cx:pt idx="26531">2</cx:pt>
          <cx:pt idx="26532">2</cx:pt>
          <cx:pt idx="26533">2</cx:pt>
          <cx:pt idx="26534">3</cx:pt>
          <cx:pt idx="26535">1</cx:pt>
          <cx:pt idx="26536">2</cx:pt>
          <cx:pt idx="26537">4</cx:pt>
          <cx:pt idx="26538">5</cx:pt>
          <cx:pt idx="26539">2</cx:pt>
          <cx:pt idx="26540">3</cx:pt>
          <cx:pt idx="26541">5</cx:pt>
          <cx:pt idx="26542">2</cx:pt>
          <cx:pt idx="26543">2</cx:pt>
          <cx:pt idx="26544">2</cx:pt>
          <cx:pt idx="26545">3</cx:pt>
          <cx:pt idx="26546">5</cx:pt>
          <cx:pt idx="26547">3</cx:pt>
          <cx:pt idx="26548">3</cx:pt>
          <cx:pt idx="26549">4</cx:pt>
          <cx:pt idx="26550">2</cx:pt>
          <cx:pt idx="26551">2</cx:pt>
          <cx:pt idx="26552">1</cx:pt>
          <cx:pt idx="26553">5</cx:pt>
          <cx:pt idx="26554">1</cx:pt>
          <cx:pt idx="26555">2</cx:pt>
          <cx:pt idx="26556">2</cx:pt>
          <cx:pt idx="26557">5</cx:pt>
          <cx:pt idx="26558">4</cx:pt>
          <cx:pt idx="26559">2</cx:pt>
          <cx:pt idx="26560">4</cx:pt>
          <cx:pt idx="26561">3</cx:pt>
          <cx:pt idx="26562">4</cx:pt>
          <cx:pt idx="26563">1</cx:pt>
          <cx:pt idx="26564">4</cx:pt>
          <cx:pt idx="26565">4</cx:pt>
          <cx:pt idx="26566">4</cx:pt>
          <cx:pt idx="26567">4</cx:pt>
          <cx:pt idx="26568">3</cx:pt>
          <cx:pt idx="26569">3</cx:pt>
          <cx:pt idx="26570">1</cx:pt>
          <cx:pt idx="26571">3</cx:pt>
          <cx:pt idx="26572">1</cx:pt>
          <cx:pt idx="26573">1</cx:pt>
          <cx:pt idx="26574">3</cx:pt>
          <cx:pt idx="26575">3</cx:pt>
          <cx:pt idx="26576">3</cx:pt>
          <cx:pt idx="26577">2</cx:pt>
          <cx:pt idx="26578">5</cx:pt>
          <cx:pt idx="26579">4</cx:pt>
          <cx:pt idx="26580">4</cx:pt>
          <cx:pt idx="26581">0</cx:pt>
          <cx:pt idx="26582">3</cx:pt>
          <cx:pt idx="26583">2</cx:pt>
          <cx:pt idx="26584">5</cx:pt>
          <cx:pt idx="26585">3</cx:pt>
          <cx:pt idx="26586">4</cx:pt>
          <cx:pt idx="26587">3</cx:pt>
          <cx:pt idx="26588">5</cx:pt>
          <cx:pt idx="26589">3</cx:pt>
          <cx:pt idx="26590">3</cx:pt>
          <cx:pt idx="26591">4</cx:pt>
          <cx:pt idx="26592">4</cx:pt>
          <cx:pt idx="26593">0</cx:pt>
          <cx:pt idx="26594">2</cx:pt>
          <cx:pt idx="26595">5</cx:pt>
          <cx:pt idx="26596">3</cx:pt>
          <cx:pt idx="26597">4</cx:pt>
          <cx:pt idx="26598">5</cx:pt>
          <cx:pt idx="26599">1</cx:pt>
          <cx:pt idx="26600">1</cx:pt>
          <cx:pt idx="26601">3</cx:pt>
          <cx:pt idx="26602">2</cx:pt>
          <cx:pt idx="26603">2</cx:pt>
          <cx:pt idx="26604">2</cx:pt>
          <cx:pt idx="26605">4</cx:pt>
          <cx:pt idx="26606">5</cx:pt>
          <cx:pt idx="26607">3</cx:pt>
          <cx:pt idx="26608">3</cx:pt>
          <cx:pt idx="26609">0</cx:pt>
          <cx:pt idx="26610">5</cx:pt>
          <cx:pt idx="26611">4</cx:pt>
          <cx:pt idx="26612">2</cx:pt>
          <cx:pt idx="26613">4</cx:pt>
          <cx:pt idx="26614">2</cx:pt>
          <cx:pt idx="26615">3</cx:pt>
          <cx:pt idx="26616">1</cx:pt>
          <cx:pt idx="26617">4</cx:pt>
          <cx:pt idx="26618">1</cx:pt>
          <cx:pt idx="26619">2</cx:pt>
          <cx:pt idx="26620">1</cx:pt>
          <cx:pt idx="26621">2</cx:pt>
          <cx:pt idx="26622">4</cx:pt>
          <cx:pt idx="26623">3</cx:pt>
          <cx:pt idx="26624">2</cx:pt>
          <cx:pt idx="26625">3</cx:pt>
          <cx:pt idx="26626">4</cx:pt>
          <cx:pt idx="26627">1</cx:pt>
          <cx:pt idx="26628">5</cx:pt>
          <cx:pt idx="26629">2</cx:pt>
          <cx:pt idx="26630">2</cx:pt>
          <cx:pt idx="26631">2</cx:pt>
          <cx:pt idx="26632">2</cx:pt>
          <cx:pt idx="26633">3</cx:pt>
          <cx:pt idx="26634">0</cx:pt>
          <cx:pt idx="26635">5</cx:pt>
          <cx:pt idx="26636">1</cx:pt>
          <cx:pt idx="26637">4</cx:pt>
          <cx:pt idx="26638">4</cx:pt>
          <cx:pt idx="26639">1</cx:pt>
          <cx:pt idx="26640">5</cx:pt>
          <cx:pt idx="26641">4</cx:pt>
          <cx:pt idx="26642">2</cx:pt>
          <cx:pt idx="26643">5</cx:pt>
          <cx:pt idx="26644">1</cx:pt>
          <cx:pt idx="26645">3</cx:pt>
          <cx:pt idx="26646">0</cx:pt>
          <cx:pt idx="26647">1</cx:pt>
          <cx:pt idx="26648">1</cx:pt>
          <cx:pt idx="26649">4</cx:pt>
          <cx:pt idx="26650">2</cx:pt>
          <cx:pt idx="26651">3</cx:pt>
          <cx:pt idx="26652">4</cx:pt>
          <cx:pt idx="26653">3</cx:pt>
          <cx:pt idx="26654">2</cx:pt>
          <cx:pt idx="26655">5</cx:pt>
          <cx:pt idx="26656">1</cx:pt>
          <cx:pt idx="26657">1</cx:pt>
          <cx:pt idx="26658">2</cx:pt>
          <cx:pt idx="26659">1</cx:pt>
          <cx:pt idx="26660">5</cx:pt>
          <cx:pt idx="26661">4</cx:pt>
          <cx:pt idx="26662">4</cx:pt>
          <cx:pt idx="26663">2</cx:pt>
          <cx:pt idx="26664">1</cx:pt>
          <cx:pt idx="26665">3</cx:pt>
          <cx:pt idx="26666">1</cx:pt>
          <cx:pt idx="26667">0</cx:pt>
          <cx:pt idx="26668">2</cx:pt>
          <cx:pt idx="26669">2</cx:pt>
          <cx:pt idx="26670">0</cx:pt>
          <cx:pt idx="26671">2</cx:pt>
          <cx:pt idx="26672">5</cx:pt>
          <cx:pt idx="26673">5</cx:pt>
          <cx:pt idx="26674">5</cx:pt>
          <cx:pt idx="26675">1</cx:pt>
          <cx:pt idx="26676">1</cx:pt>
          <cx:pt idx="26677">4</cx:pt>
          <cx:pt idx="26678">4</cx:pt>
          <cx:pt idx="26679">4</cx:pt>
          <cx:pt idx="26680">4</cx:pt>
          <cx:pt idx="26681">5</cx:pt>
          <cx:pt idx="26682">4</cx:pt>
          <cx:pt idx="26683">3</cx:pt>
          <cx:pt idx="26684">0</cx:pt>
          <cx:pt idx="26685">3</cx:pt>
          <cx:pt idx="26686">4</cx:pt>
          <cx:pt idx="26687">4</cx:pt>
          <cx:pt idx="26688">3</cx:pt>
          <cx:pt idx="26689">5</cx:pt>
          <cx:pt idx="26690">3</cx:pt>
          <cx:pt idx="26691">3</cx:pt>
          <cx:pt idx="26692">3</cx:pt>
          <cx:pt idx="26693">2</cx:pt>
          <cx:pt idx="26694">4</cx:pt>
          <cx:pt idx="26695">0</cx:pt>
          <cx:pt idx="26696">1</cx:pt>
          <cx:pt idx="26697">1</cx:pt>
          <cx:pt idx="26698">4</cx:pt>
          <cx:pt idx="26699">5</cx:pt>
          <cx:pt idx="26700">3</cx:pt>
          <cx:pt idx="26701">0</cx:pt>
          <cx:pt idx="26702">3</cx:pt>
          <cx:pt idx="26703">2</cx:pt>
          <cx:pt idx="26704">4</cx:pt>
          <cx:pt idx="26705">0</cx:pt>
          <cx:pt idx="26706">2</cx:pt>
          <cx:pt idx="26707">4</cx:pt>
          <cx:pt idx="26708">1</cx:pt>
          <cx:pt idx="26709">3</cx:pt>
          <cx:pt idx="26710">2</cx:pt>
          <cx:pt idx="26711">4</cx:pt>
          <cx:pt idx="26712">3</cx:pt>
          <cx:pt idx="26713">3</cx:pt>
          <cx:pt idx="26714">4</cx:pt>
          <cx:pt idx="26715">2</cx:pt>
          <cx:pt idx="26716">4</cx:pt>
          <cx:pt idx="26717">1</cx:pt>
          <cx:pt idx="26718">5</cx:pt>
          <cx:pt idx="26719">4</cx:pt>
          <cx:pt idx="26720">4</cx:pt>
          <cx:pt idx="26721">4</cx:pt>
          <cx:pt idx="26722">1</cx:pt>
          <cx:pt idx="26723">4</cx:pt>
          <cx:pt idx="26724">4</cx:pt>
          <cx:pt idx="26725">4</cx:pt>
          <cx:pt idx="26726">4</cx:pt>
          <cx:pt idx="26727">4</cx:pt>
          <cx:pt idx="26728">2</cx:pt>
          <cx:pt idx="26729">2</cx:pt>
          <cx:pt idx="26730">1</cx:pt>
          <cx:pt idx="26731">2</cx:pt>
          <cx:pt idx="26732">2</cx:pt>
          <cx:pt idx="26733">4</cx:pt>
          <cx:pt idx="26734">5</cx:pt>
          <cx:pt idx="26735">1</cx:pt>
          <cx:pt idx="26736">0</cx:pt>
          <cx:pt idx="26737">5</cx:pt>
          <cx:pt idx="26738">2</cx:pt>
          <cx:pt idx="26739">1</cx:pt>
          <cx:pt idx="26740">5</cx:pt>
          <cx:pt idx="26741">1</cx:pt>
          <cx:pt idx="26742">4</cx:pt>
          <cx:pt idx="26743">0</cx:pt>
          <cx:pt idx="26744">1</cx:pt>
          <cx:pt idx="26745">1</cx:pt>
          <cx:pt idx="26746">2</cx:pt>
          <cx:pt idx="26747">1</cx:pt>
          <cx:pt idx="26748">1</cx:pt>
          <cx:pt idx="26749">4</cx:pt>
          <cx:pt idx="26750">1</cx:pt>
          <cx:pt idx="26751">5</cx:pt>
          <cx:pt idx="26752">4</cx:pt>
          <cx:pt idx="26753">4</cx:pt>
          <cx:pt idx="26754">3</cx:pt>
          <cx:pt idx="26755">1</cx:pt>
          <cx:pt idx="26756">3</cx:pt>
          <cx:pt idx="26757">4</cx:pt>
          <cx:pt idx="26758">1</cx:pt>
          <cx:pt idx="26759">0</cx:pt>
          <cx:pt idx="26760">2</cx:pt>
          <cx:pt idx="26761">4</cx:pt>
          <cx:pt idx="26762">0</cx:pt>
          <cx:pt idx="26763">2</cx:pt>
          <cx:pt idx="26764">5</cx:pt>
          <cx:pt idx="26765">5</cx:pt>
          <cx:pt idx="26766">4</cx:pt>
          <cx:pt idx="26767">1</cx:pt>
          <cx:pt idx="26768">3</cx:pt>
          <cx:pt idx="26769">5</cx:pt>
          <cx:pt idx="26770">5</cx:pt>
          <cx:pt idx="26771">5</cx:pt>
          <cx:pt idx="26772">2</cx:pt>
          <cx:pt idx="26773">4</cx:pt>
          <cx:pt idx="26774">3</cx:pt>
          <cx:pt idx="26775">3</cx:pt>
          <cx:pt idx="26776">0</cx:pt>
          <cx:pt idx="26777">2</cx:pt>
          <cx:pt idx="26778">2</cx:pt>
          <cx:pt idx="26779">3</cx:pt>
          <cx:pt idx="26780">4</cx:pt>
          <cx:pt idx="26781">3</cx:pt>
          <cx:pt idx="26782">3</cx:pt>
          <cx:pt idx="26783">3</cx:pt>
          <cx:pt idx="26784">2</cx:pt>
          <cx:pt idx="26785">1</cx:pt>
          <cx:pt idx="26786">2</cx:pt>
          <cx:pt idx="26787">2</cx:pt>
          <cx:pt idx="26788">2</cx:pt>
          <cx:pt idx="26789">5</cx:pt>
          <cx:pt idx="26790">2</cx:pt>
          <cx:pt idx="26791">1</cx:pt>
          <cx:pt idx="26792">4</cx:pt>
          <cx:pt idx="26793">1</cx:pt>
          <cx:pt idx="26794">5</cx:pt>
          <cx:pt idx="26795">2</cx:pt>
          <cx:pt idx="26796">2</cx:pt>
          <cx:pt idx="26797">2</cx:pt>
          <cx:pt idx="26798">4</cx:pt>
          <cx:pt idx="26799">1</cx:pt>
          <cx:pt idx="26800">2</cx:pt>
          <cx:pt idx="26801">4</cx:pt>
          <cx:pt idx="26802">3</cx:pt>
          <cx:pt idx="26803">2</cx:pt>
          <cx:pt idx="26804">2</cx:pt>
          <cx:pt idx="26805">2</cx:pt>
          <cx:pt idx="26806">1</cx:pt>
          <cx:pt idx="26807">1</cx:pt>
          <cx:pt idx="26808">1</cx:pt>
          <cx:pt idx="26809">4</cx:pt>
          <cx:pt idx="26810">3</cx:pt>
          <cx:pt idx="26811">4</cx:pt>
          <cx:pt idx="26812">3</cx:pt>
          <cx:pt idx="26813">2</cx:pt>
          <cx:pt idx="26814">1</cx:pt>
          <cx:pt idx="26815">2</cx:pt>
          <cx:pt idx="26816">3</cx:pt>
          <cx:pt idx="26817">4</cx:pt>
          <cx:pt idx="26818">2</cx:pt>
          <cx:pt idx="26819">2</cx:pt>
          <cx:pt idx="26820">4</cx:pt>
          <cx:pt idx="26821">3</cx:pt>
          <cx:pt idx="26822">5</cx:pt>
          <cx:pt idx="26823">1</cx:pt>
          <cx:pt idx="26824">0</cx:pt>
          <cx:pt idx="26825">5</cx:pt>
          <cx:pt idx="26826">2</cx:pt>
          <cx:pt idx="26827">5</cx:pt>
          <cx:pt idx="26828">5</cx:pt>
          <cx:pt idx="26829">4</cx:pt>
          <cx:pt idx="26830">2</cx:pt>
          <cx:pt idx="26831">2</cx:pt>
          <cx:pt idx="26832">5</cx:pt>
          <cx:pt idx="26833">4</cx:pt>
          <cx:pt idx="26834">4</cx:pt>
          <cx:pt idx="26835">1</cx:pt>
          <cx:pt idx="26836">5</cx:pt>
          <cx:pt idx="26837">1</cx:pt>
          <cx:pt idx="26838">3</cx:pt>
          <cx:pt idx="26839">1</cx:pt>
          <cx:pt idx="26840">3</cx:pt>
          <cx:pt idx="26841">1</cx:pt>
          <cx:pt idx="26842">5</cx:pt>
          <cx:pt idx="26843">3</cx:pt>
          <cx:pt idx="26844">2</cx:pt>
          <cx:pt idx="26845">4</cx:pt>
          <cx:pt idx="26846">3</cx:pt>
          <cx:pt idx="26847">2</cx:pt>
          <cx:pt idx="26848">2</cx:pt>
          <cx:pt idx="26849">4</cx:pt>
          <cx:pt idx="26850">1</cx:pt>
          <cx:pt idx="26851">4</cx:pt>
          <cx:pt idx="26852">3</cx:pt>
          <cx:pt idx="26853">1</cx:pt>
          <cx:pt idx="26854">4</cx:pt>
          <cx:pt idx="26855">3</cx:pt>
          <cx:pt idx="26856">2</cx:pt>
          <cx:pt idx="26857">2</cx:pt>
          <cx:pt idx="26858">3</cx:pt>
          <cx:pt idx="26859">2</cx:pt>
          <cx:pt idx="26860">2</cx:pt>
          <cx:pt idx="26861">1</cx:pt>
          <cx:pt idx="26862">2</cx:pt>
          <cx:pt idx="26863">3</cx:pt>
          <cx:pt idx="26864">3</cx:pt>
          <cx:pt idx="26865">2</cx:pt>
          <cx:pt idx="26866">4</cx:pt>
          <cx:pt idx="26867">3</cx:pt>
          <cx:pt idx="26868">5</cx:pt>
          <cx:pt idx="26869">1</cx:pt>
          <cx:pt idx="26870">3</cx:pt>
          <cx:pt idx="26871">5</cx:pt>
          <cx:pt idx="26872">3</cx:pt>
          <cx:pt idx="26873">5</cx:pt>
          <cx:pt idx="26874">3</cx:pt>
          <cx:pt idx="26875">2</cx:pt>
          <cx:pt idx="26876">3</cx:pt>
          <cx:pt idx="26877">2</cx:pt>
          <cx:pt idx="26878">2</cx:pt>
          <cx:pt idx="26879">2</cx:pt>
          <cx:pt idx="26880">3</cx:pt>
          <cx:pt idx="26881">1</cx:pt>
          <cx:pt idx="26882">2</cx:pt>
          <cx:pt idx="26883">5</cx:pt>
          <cx:pt idx="26884">2</cx:pt>
          <cx:pt idx="26885">3</cx:pt>
          <cx:pt idx="26886">5</cx:pt>
          <cx:pt idx="26887">3</cx:pt>
          <cx:pt idx="26888">5</cx:pt>
          <cx:pt idx="26889">5</cx:pt>
          <cx:pt idx="26890">2</cx:pt>
          <cx:pt idx="26891">2</cx:pt>
          <cx:pt idx="26892">5</cx:pt>
          <cx:pt idx="26893">5</cx:pt>
          <cx:pt idx="26894">5</cx:pt>
          <cx:pt idx="26895">2</cx:pt>
          <cx:pt idx="26896">1</cx:pt>
          <cx:pt idx="26897">5</cx:pt>
          <cx:pt idx="26898">3</cx:pt>
          <cx:pt idx="26899">5</cx:pt>
          <cx:pt idx="26900">1</cx:pt>
          <cx:pt idx="26901">4</cx:pt>
          <cx:pt idx="26902">4</cx:pt>
          <cx:pt idx="26903">3</cx:pt>
          <cx:pt idx="26904">2</cx:pt>
          <cx:pt idx="26905">3</cx:pt>
          <cx:pt idx="26906">1</cx:pt>
          <cx:pt idx="26907">1</cx:pt>
          <cx:pt idx="26908">1</cx:pt>
          <cx:pt idx="26909">3</cx:pt>
          <cx:pt idx="26910">2</cx:pt>
          <cx:pt idx="26911">4</cx:pt>
          <cx:pt idx="26912">2</cx:pt>
          <cx:pt idx="26913">3</cx:pt>
          <cx:pt idx="26914">2</cx:pt>
          <cx:pt idx="26915">4</cx:pt>
          <cx:pt idx="26916">1</cx:pt>
          <cx:pt idx="26917">1</cx:pt>
          <cx:pt idx="26918">4</cx:pt>
          <cx:pt idx="26919">2</cx:pt>
          <cx:pt idx="26920">4</cx:pt>
          <cx:pt idx="26921">1</cx:pt>
          <cx:pt idx="26922">3</cx:pt>
          <cx:pt idx="26923">1</cx:pt>
          <cx:pt idx="26924">0</cx:pt>
          <cx:pt idx="26925">2</cx:pt>
          <cx:pt idx="26926">2</cx:pt>
          <cx:pt idx="26927">2</cx:pt>
          <cx:pt idx="26928">0</cx:pt>
          <cx:pt idx="26929">4</cx:pt>
          <cx:pt idx="26930">3</cx:pt>
          <cx:pt idx="26931">4</cx:pt>
          <cx:pt idx="26932">1</cx:pt>
          <cx:pt idx="26933">3</cx:pt>
          <cx:pt idx="26934">2</cx:pt>
          <cx:pt idx="26935">0</cx:pt>
          <cx:pt idx="26936">1</cx:pt>
          <cx:pt idx="26937">4</cx:pt>
          <cx:pt idx="26938">2</cx:pt>
          <cx:pt idx="26939">5</cx:pt>
          <cx:pt idx="26940">2</cx:pt>
          <cx:pt idx="26941">1</cx:pt>
          <cx:pt idx="26942">5</cx:pt>
          <cx:pt idx="26943">2</cx:pt>
          <cx:pt idx="26944">3</cx:pt>
          <cx:pt idx="26945">5</cx:pt>
          <cx:pt idx="26946">3</cx:pt>
          <cx:pt idx="26947">2</cx:pt>
          <cx:pt idx="26948">5</cx:pt>
          <cx:pt idx="26949">2</cx:pt>
          <cx:pt idx="26950">3</cx:pt>
          <cx:pt idx="26951">5</cx:pt>
          <cx:pt idx="26952">3</cx:pt>
          <cx:pt idx="26953">4</cx:pt>
          <cx:pt idx="26954">3</cx:pt>
          <cx:pt idx="26955">1</cx:pt>
          <cx:pt idx="26956">3</cx:pt>
          <cx:pt idx="26957">3</cx:pt>
          <cx:pt idx="26958">3</cx:pt>
          <cx:pt idx="26959">4</cx:pt>
          <cx:pt idx="26960">3</cx:pt>
          <cx:pt idx="26961">5</cx:pt>
          <cx:pt idx="26962">3</cx:pt>
          <cx:pt idx="26963">4</cx:pt>
          <cx:pt idx="26964">3</cx:pt>
          <cx:pt idx="26965">3</cx:pt>
          <cx:pt idx="26966">4</cx:pt>
          <cx:pt idx="26967">2</cx:pt>
          <cx:pt idx="26968">5</cx:pt>
          <cx:pt idx="26969">1</cx:pt>
          <cx:pt idx="26970">3</cx:pt>
          <cx:pt idx="26971">5</cx:pt>
          <cx:pt idx="26972">3</cx:pt>
          <cx:pt idx="26973">2</cx:pt>
          <cx:pt idx="26974">2</cx:pt>
          <cx:pt idx="26975">2</cx:pt>
          <cx:pt idx="26976">1</cx:pt>
          <cx:pt idx="26977">1</cx:pt>
          <cx:pt idx="26978">3</cx:pt>
          <cx:pt idx="26979">1</cx:pt>
          <cx:pt idx="26980">4</cx:pt>
          <cx:pt idx="26981">3</cx:pt>
          <cx:pt idx="26982">2</cx:pt>
          <cx:pt idx="26983">2</cx:pt>
          <cx:pt idx="26984">5</cx:pt>
          <cx:pt idx="26985">2</cx:pt>
          <cx:pt idx="26986">2</cx:pt>
          <cx:pt idx="26987">5</cx:pt>
          <cx:pt idx="26988">4</cx:pt>
          <cx:pt idx="26989">1</cx:pt>
          <cx:pt idx="26990">0</cx:pt>
          <cx:pt idx="26991">2</cx:pt>
          <cx:pt idx="26992">4</cx:pt>
          <cx:pt idx="26993">4</cx:pt>
          <cx:pt idx="26994">0</cx:pt>
          <cx:pt idx="26995">2</cx:pt>
          <cx:pt idx="26996">2</cx:pt>
          <cx:pt idx="26997">2</cx:pt>
          <cx:pt idx="26998">2</cx:pt>
          <cx:pt idx="26999">2</cx:pt>
          <cx:pt idx="27000">5</cx:pt>
          <cx:pt idx="27001">1</cx:pt>
          <cx:pt idx="27002">3</cx:pt>
          <cx:pt idx="27003">4</cx:pt>
          <cx:pt idx="27004">5</cx:pt>
          <cx:pt idx="27005">2</cx:pt>
          <cx:pt idx="27006">3</cx:pt>
          <cx:pt idx="27007">1</cx:pt>
          <cx:pt idx="27008">3</cx:pt>
          <cx:pt idx="27009">4</cx:pt>
          <cx:pt idx="27010">3</cx:pt>
          <cx:pt idx="27011">5</cx:pt>
          <cx:pt idx="27012">4</cx:pt>
          <cx:pt idx="27013">3</cx:pt>
          <cx:pt idx="27014">5</cx:pt>
          <cx:pt idx="27015">5</cx:pt>
          <cx:pt idx="27016">4</cx:pt>
          <cx:pt idx="27017">3</cx:pt>
          <cx:pt idx="27018">1</cx:pt>
          <cx:pt idx="27019">4</cx:pt>
          <cx:pt idx="27020">2</cx:pt>
          <cx:pt idx="27021">2</cx:pt>
          <cx:pt idx="27022">5</cx:pt>
          <cx:pt idx="27023">2</cx:pt>
          <cx:pt idx="27024">2</cx:pt>
          <cx:pt idx="27025">3</cx:pt>
          <cx:pt idx="27026">0</cx:pt>
          <cx:pt idx="27027">3</cx:pt>
          <cx:pt idx="27028">2</cx:pt>
          <cx:pt idx="27029">1</cx:pt>
          <cx:pt idx="27030">2</cx:pt>
          <cx:pt idx="27031">0</cx:pt>
          <cx:pt idx="27032">1</cx:pt>
          <cx:pt idx="27033">3</cx:pt>
          <cx:pt idx="27034">0</cx:pt>
          <cx:pt idx="27035">5</cx:pt>
          <cx:pt idx="27036">3</cx:pt>
          <cx:pt idx="27037">4</cx:pt>
          <cx:pt idx="27038">4</cx:pt>
          <cx:pt idx="27039">1</cx:pt>
          <cx:pt idx="27040">3</cx:pt>
          <cx:pt idx="27041">5</cx:pt>
          <cx:pt idx="27042">1</cx:pt>
          <cx:pt idx="27043">1</cx:pt>
          <cx:pt idx="27044">4</cx:pt>
          <cx:pt idx="27045">2</cx:pt>
          <cx:pt idx="27046">4</cx:pt>
          <cx:pt idx="27047">2</cx:pt>
          <cx:pt idx="27048">4</cx:pt>
          <cx:pt idx="27049">3</cx:pt>
          <cx:pt idx="27050">2</cx:pt>
          <cx:pt idx="27051">4</cx:pt>
          <cx:pt idx="27052">1</cx:pt>
          <cx:pt idx="27053">4</cx:pt>
          <cx:pt idx="27054">3</cx:pt>
          <cx:pt idx="27055">3</cx:pt>
          <cx:pt idx="27056">3</cx:pt>
          <cx:pt idx="27057">1</cx:pt>
          <cx:pt idx="27058">4</cx:pt>
          <cx:pt idx="27059">3</cx:pt>
          <cx:pt idx="27060">2</cx:pt>
          <cx:pt idx="27061">2</cx:pt>
          <cx:pt idx="27062">4</cx:pt>
          <cx:pt idx="27063">1</cx:pt>
          <cx:pt idx="27064">4</cx:pt>
          <cx:pt idx="27065">5</cx:pt>
          <cx:pt idx="27066">4</cx:pt>
          <cx:pt idx="27067">3</cx:pt>
          <cx:pt idx="27068">3</cx:pt>
          <cx:pt idx="27069">4</cx:pt>
          <cx:pt idx="27070">1</cx:pt>
          <cx:pt idx="27071">2</cx:pt>
          <cx:pt idx="27072">1</cx:pt>
          <cx:pt idx="27073">4</cx:pt>
          <cx:pt idx="27074">2</cx:pt>
          <cx:pt idx="27075">4</cx:pt>
          <cx:pt idx="27076">4</cx:pt>
          <cx:pt idx="27077">5</cx:pt>
          <cx:pt idx="27078">5</cx:pt>
          <cx:pt idx="27079">3</cx:pt>
          <cx:pt idx="27080">5</cx:pt>
          <cx:pt idx="27081">2</cx:pt>
          <cx:pt idx="27082">5</cx:pt>
          <cx:pt idx="27083">3</cx:pt>
          <cx:pt idx="27084">3</cx:pt>
          <cx:pt idx="27085">3</cx:pt>
          <cx:pt idx="27086">3</cx:pt>
          <cx:pt idx="27087">2</cx:pt>
          <cx:pt idx="27088">3</cx:pt>
          <cx:pt idx="27089">0</cx:pt>
          <cx:pt idx="27090">2</cx:pt>
          <cx:pt idx="27091">3</cx:pt>
          <cx:pt idx="27092">4</cx:pt>
          <cx:pt idx="27093">4</cx:pt>
          <cx:pt idx="27094">4</cx:pt>
          <cx:pt idx="27095">2</cx:pt>
          <cx:pt idx="27096">3</cx:pt>
          <cx:pt idx="27097">3</cx:pt>
          <cx:pt idx="27098">1</cx:pt>
          <cx:pt idx="27099">1</cx:pt>
          <cx:pt idx="27100">3</cx:pt>
          <cx:pt idx="27101">4</cx:pt>
          <cx:pt idx="27102">2</cx:pt>
          <cx:pt idx="27103">2</cx:pt>
          <cx:pt idx="27104">1</cx:pt>
          <cx:pt idx="27105">3</cx:pt>
          <cx:pt idx="27106">3</cx:pt>
          <cx:pt idx="27107">4</cx:pt>
          <cx:pt idx="27108">3</cx:pt>
          <cx:pt idx="27109">2</cx:pt>
          <cx:pt idx="27110">4</cx:pt>
          <cx:pt idx="27111">3</cx:pt>
          <cx:pt idx="27112">1</cx:pt>
          <cx:pt idx="27113">2</cx:pt>
          <cx:pt idx="27114">2</cx:pt>
          <cx:pt idx="27115">4</cx:pt>
          <cx:pt idx="27116">3</cx:pt>
          <cx:pt idx="27117">4</cx:pt>
          <cx:pt idx="27118">3</cx:pt>
          <cx:pt idx="27119">1</cx:pt>
          <cx:pt idx="27120">4</cx:pt>
          <cx:pt idx="27121">1</cx:pt>
          <cx:pt idx="27122">3</cx:pt>
          <cx:pt idx="27123">3</cx:pt>
          <cx:pt idx="27124">3</cx:pt>
          <cx:pt idx="27125">3</cx:pt>
          <cx:pt idx="27126">4</cx:pt>
          <cx:pt idx="27127">2</cx:pt>
          <cx:pt idx="27128">5</cx:pt>
          <cx:pt idx="27129">2</cx:pt>
          <cx:pt idx="27130">3</cx:pt>
          <cx:pt idx="27131">5</cx:pt>
          <cx:pt idx="27132">4</cx:pt>
          <cx:pt idx="27133">5</cx:pt>
          <cx:pt idx="27134">1</cx:pt>
          <cx:pt idx="27135">2</cx:pt>
          <cx:pt idx="27136">5</cx:pt>
          <cx:pt idx="27137">2</cx:pt>
          <cx:pt idx="27138">1</cx:pt>
          <cx:pt idx="27139">0</cx:pt>
          <cx:pt idx="27140">0</cx:pt>
          <cx:pt idx="27141">1</cx:pt>
          <cx:pt idx="27142">2</cx:pt>
          <cx:pt idx="27143">2</cx:pt>
          <cx:pt idx="27144">1</cx:pt>
          <cx:pt idx="27145">3</cx:pt>
          <cx:pt idx="27146">3</cx:pt>
          <cx:pt idx="27147">1</cx:pt>
          <cx:pt idx="27148">4</cx:pt>
          <cx:pt idx="27149">2</cx:pt>
          <cx:pt idx="27150">2</cx:pt>
          <cx:pt idx="27151">2</cx:pt>
          <cx:pt idx="27152">3</cx:pt>
          <cx:pt idx="27153">1</cx:pt>
          <cx:pt idx="27154">2</cx:pt>
          <cx:pt idx="27155">1</cx:pt>
          <cx:pt idx="27156">3</cx:pt>
          <cx:pt idx="27157">3</cx:pt>
          <cx:pt idx="27158">0</cx:pt>
          <cx:pt idx="27159">0</cx:pt>
          <cx:pt idx="27160">2</cx:pt>
          <cx:pt idx="27161">5</cx:pt>
          <cx:pt idx="27162">3</cx:pt>
          <cx:pt idx="27163">4</cx:pt>
          <cx:pt idx="27164">3</cx:pt>
          <cx:pt idx="27165">3</cx:pt>
          <cx:pt idx="27166">4</cx:pt>
          <cx:pt idx="27167">2</cx:pt>
          <cx:pt idx="27168">2</cx:pt>
          <cx:pt idx="27169">2</cx:pt>
          <cx:pt idx="27170">2</cx:pt>
          <cx:pt idx="27171">5</cx:pt>
          <cx:pt idx="27172">2</cx:pt>
          <cx:pt idx="27173">1</cx:pt>
          <cx:pt idx="27174">2</cx:pt>
          <cx:pt idx="27175">3</cx:pt>
          <cx:pt idx="27176">1</cx:pt>
          <cx:pt idx="27177">4</cx:pt>
          <cx:pt idx="27178">0</cx:pt>
          <cx:pt idx="27179">2</cx:pt>
          <cx:pt idx="27180">4</cx:pt>
          <cx:pt idx="27181">1</cx:pt>
          <cx:pt idx="27182">3</cx:pt>
          <cx:pt idx="27183">5</cx:pt>
          <cx:pt idx="27184">1</cx:pt>
          <cx:pt idx="27185">4</cx:pt>
          <cx:pt idx="27186">3</cx:pt>
          <cx:pt idx="27187">3</cx:pt>
          <cx:pt idx="27188">2</cx:pt>
          <cx:pt idx="27189">2</cx:pt>
          <cx:pt idx="27190">3</cx:pt>
          <cx:pt idx="27191">2</cx:pt>
          <cx:pt idx="27192">3</cx:pt>
          <cx:pt idx="27193">3</cx:pt>
          <cx:pt idx="27194">5</cx:pt>
          <cx:pt idx="27195">2</cx:pt>
          <cx:pt idx="27196">1</cx:pt>
          <cx:pt idx="27197">1</cx:pt>
          <cx:pt idx="27198">1</cx:pt>
          <cx:pt idx="27199">1</cx:pt>
          <cx:pt idx="27200">5</cx:pt>
          <cx:pt idx="27201">5</cx:pt>
          <cx:pt idx="27202">4</cx:pt>
          <cx:pt idx="27203">3</cx:pt>
          <cx:pt idx="27204">3</cx:pt>
          <cx:pt idx="27205">3</cx:pt>
          <cx:pt idx="27206">4</cx:pt>
          <cx:pt idx="27207">4</cx:pt>
          <cx:pt idx="27208">3</cx:pt>
          <cx:pt idx="27209">2</cx:pt>
          <cx:pt idx="27210">2</cx:pt>
          <cx:pt idx="27211">2</cx:pt>
          <cx:pt idx="27212">3</cx:pt>
          <cx:pt idx="27213">3</cx:pt>
          <cx:pt idx="27214">2</cx:pt>
          <cx:pt idx="27215">1</cx:pt>
          <cx:pt idx="27216">1</cx:pt>
          <cx:pt idx="27217">4</cx:pt>
          <cx:pt idx="27218">2</cx:pt>
          <cx:pt idx="27219">1</cx:pt>
          <cx:pt idx="27220">4</cx:pt>
          <cx:pt idx="27221">4</cx:pt>
          <cx:pt idx="27222">3</cx:pt>
          <cx:pt idx="27223">2</cx:pt>
          <cx:pt idx="27224">5</cx:pt>
          <cx:pt idx="27225">3</cx:pt>
          <cx:pt idx="27226">4</cx:pt>
          <cx:pt idx="27227">3</cx:pt>
          <cx:pt idx="27228">2</cx:pt>
          <cx:pt idx="27229">3</cx:pt>
          <cx:pt idx="27230">2</cx:pt>
          <cx:pt idx="27231">1</cx:pt>
          <cx:pt idx="27232">1</cx:pt>
          <cx:pt idx="27233">2</cx:pt>
          <cx:pt idx="27234">5</cx:pt>
          <cx:pt idx="27235">5</cx:pt>
          <cx:pt idx="27236">0</cx:pt>
          <cx:pt idx="27237">5</cx:pt>
          <cx:pt idx="27238">1</cx:pt>
          <cx:pt idx="27239">2</cx:pt>
          <cx:pt idx="27240">2</cx:pt>
          <cx:pt idx="27241">3</cx:pt>
          <cx:pt idx="27242">5</cx:pt>
          <cx:pt idx="27243">3</cx:pt>
          <cx:pt idx="27244">1</cx:pt>
          <cx:pt idx="27245">2</cx:pt>
          <cx:pt idx="27246">5</cx:pt>
          <cx:pt idx="27247">2</cx:pt>
          <cx:pt idx="27248">1</cx:pt>
          <cx:pt idx="27249">2</cx:pt>
          <cx:pt idx="27250">5</cx:pt>
          <cx:pt idx="27251">5</cx:pt>
          <cx:pt idx="27252">4</cx:pt>
          <cx:pt idx="27253">3</cx:pt>
          <cx:pt idx="27254">2</cx:pt>
          <cx:pt idx="27255">4</cx:pt>
          <cx:pt idx="27256">3</cx:pt>
          <cx:pt idx="27257">5</cx:pt>
          <cx:pt idx="27258">1</cx:pt>
          <cx:pt idx="27259">1</cx:pt>
          <cx:pt idx="27260">5</cx:pt>
          <cx:pt idx="27261">5</cx:pt>
          <cx:pt idx="27262">4</cx:pt>
          <cx:pt idx="27263">2</cx:pt>
          <cx:pt idx="27264">3</cx:pt>
          <cx:pt idx="27265">4</cx:pt>
          <cx:pt idx="27266">5</cx:pt>
          <cx:pt idx="27267">2</cx:pt>
          <cx:pt idx="27268">2</cx:pt>
          <cx:pt idx="27269">1</cx:pt>
          <cx:pt idx="27270">4</cx:pt>
          <cx:pt idx="27271">3</cx:pt>
          <cx:pt idx="27272">3</cx:pt>
          <cx:pt idx="27273">1</cx:pt>
          <cx:pt idx="27274">5</cx:pt>
          <cx:pt idx="27275">4</cx:pt>
          <cx:pt idx="27276">4</cx:pt>
          <cx:pt idx="27277">5</cx:pt>
          <cx:pt idx="27278">5</cx:pt>
          <cx:pt idx="27279">2</cx:pt>
          <cx:pt idx="27280">2</cx:pt>
          <cx:pt idx="27281">3</cx:pt>
          <cx:pt idx="27282">3</cx:pt>
          <cx:pt idx="27283">1</cx:pt>
          <cx:pt idx="27284">3</cx:pt>
          <cx:pt idx="27285">2</cx:pt>
          <cx:pt idx="27286">0</cx:pt>
          <cx:pt idx="27287">2</cx:pt>
          <cx:pt idx="27288">3</cx:pt>
          <cx:pt idx="27289">1</cx:pt>
          <cx:pt idx="27290">3</cx:pt>
          <cx:pt idx="27291">2</cx:pt>
          <cx:pt idx="27292">3</cx:pt>
          <cx:pt idx="27293">1</cx:pt>
          <cx:pt idx="27294">4</cx:pt>
          <cx:pt idx="27295">3</cx:pt>
          <cx:pt idx="27296">1</cx:pt>
          <cx:pt idx="27297">4</cx:pt>
          <cx:pt idx="27298">1</cx:pt>
          <cx:pt idx="27299">4</cx:pt>
          <cx:pt idx="27300">5</cx:pt>
          <cx:pt idx="27301">1</cx:pt>
          <cx:pt idx="27302">5</cx:pt>
          <cx:pt idx="27303">3</cx:pt>
          <cx:pt idx="27304">0</cx:pt>
          <cx:pt idx="27305">5</cx:pt>
          <cx:pt idx="27306">5</cx:pt>
          <cx:pt idx="27307">3</cx:pt>
          <cx:pt idx="27308">3</cx:pt>
          <cx:pt idx="27309">1</cx:pt>
          <cx:pt idx="27310">5</cx:pt>
          <cx:pt idx="27311">4</cx:pt>
          <cx:pt idx="27312">3</cx:pt>
          <cx:pt idx="27313">2</cx:pt>
          <cx:pt idx="27314">3</cx:pt>
          <cx:pt idx="27315">2</cx:pt>
          <cx:pt idx="27316">1</cx:pt>
          <cx:pt idx="27317">2</cx:pt>
          <cx:pt idx="27318">4</cx:pt>
          <cx:pt idx="27319">3</cx:pt>
          <cx:pt idx="27320">3</cx:pt>
          <cx:pt idx="27321">3</cx:pt>
          <cx:pt idx="27322">4</cx:pt>
          <cx:pt idx="27323">3</cx:pt>
          <cx:pt idx="27324">3</cx:pt>
          <cx:pt idx="27325">3</cx:pt>
          <cx:pt idx="27326">2</cx:pt>
          <cx:pt idx="27327">1</cx:pt>
          <cx:pt idx="27328">4</cx:pt>
          <cx:pt idx="27329">2</cx:pt>
          <cx:pt idx="27330">2</cx:pt>
          <cx:pt idx="27331">2</cx:pt>
          <cx:pt idx="27332">4</cx:pt>
          <cx:pt idx="27333">3</cx:pt>
          <cx:pt idx="27334">2</cx:pt>
          <cx:pt idx="27335">1</cx:pt>
          <cx:pt idx="27336">1</cx:pt>
          <cx:pt idx="27337">3</cx:pt>
          <cx:pt idx="27338">5</cx:pt>
          <cx:pt idx="27339">3</cx:pt>
          <cx:pt idx="27340">5</cx:pt>
          <cx:pt idx="27341">3</cx:pt>
          <cx:pt idx="27342">3</cx:pt>
          <cx:pt idx="27343">3</cx:pt>
          <cx:pt idx="27344">5</cx:pt>
          <cx:pt idx="27345">2</cx:pt>
          <cx:pt idx="27346">3</cx:pt>
          <cx:pt idx="27347">5</cx:pt>
          <cx:pt idx="27348">1</cx:pt>
          <cx:pt idx="27349">5</cx:pt>
          <cx:pt idx="27350">0</cx:pt>
          <cx:pt idx="27351">4</cx:pt>
          <cx:pt idx="27352">2</cx:pt>
          <cx:pt idx="27353">3</cx:pt>
          <cx:pt idx="27354">3</cx:pt>
          <cx:pt idx="27355">3</cx:pt>
          <cx:pt idx="27356">3</cx:pt>
          <cx:pt idx="27357">3</cx:pt>
          <cx:pt idx="27358">5</cx:pt>
          <cx:pt idx="27359">4</cx:pt>
          <cx:pt idx="27360">1</cx:pt>
          <cx:pt idx="27361">4</cx:pt>
          <cx:pt idx="27362">5</cx:pt>
          <cx:pt idx="27363">1</cx:pt>
          <cx:pt idx="27364">4</cx:pt>
          <cx:pt idx="27365">2</cx:pt>
          <cx:pt idx="27366">3</cx:pt>
          <cx:pt idx="27367">2</cx:pt>
          <cx:pt idx="27368">5</cx:pt>
          <cx:pt idx="27369">2</cx:pt>
          <cx:pt idx="27370">5</cx:pt>
          <cx:pt idx="27371">4</cx:pt>
          <cx:pt idx="27372">3</cx:pt>
          <cx:pt idx="27373">4</cx:pt>
          <cx:pt idx="27374">0</cx:pt>
          <cx:pt idx="27375">4</cx:pt>
          <cx:pt idx="27376">1</cx:pt>
          <cx:pt idx="27377">4</cx:pt>
          <cx:pt idx="27378">3</cx:pt>
          <cx:pt idx="27379">3</cx:pt>
          <cx:pt idx="27380">4</cx:pt>
          <cx:pt idx="27381">3</cx:pt>
          <cx:pt idx="27382">5</cx:pt>
          <cx:pt idx="27383">2</cx:pt>
          <cx:pt idx="27384">1</cx:pt>
          <cx:pt idx="27385">3</cx:pt>
          <cx:pt idx="27386">3</cx:pt>
          <cx:pt idx="27387">1</cx:pt>
          <cx:pt idx="27388">1</cx:pt>
          <cx:pt idx="27389">2</cx:pt>
          <cx:pt idx="27390">1</cx:pt>
          <cx:pt idx="27391">1</cx:pt>
          <cx:pt idx="27392">3</cx:pt>
          <cx:pt idx="27393">5</cx:pt>
          <cx:pt idx="27394">2</cx:pt>
          <cx:pt idx="27395">3</cx:pt>
          <cx:pt idx="27396">1</cx:pt>
          <cx:pt idx="27397">3</cx:pt>
          <cx:pt idx="27398">1</cx:pt>
          <cx:pt idx="27399">2</cx:pt>
          <cx:pt idx="27400">5</cx:pt>
          <cx:pt idx="27401">2</cx:pt>
          <cx:pt idx="27402">5</cx:pt>
          <cx:pt idx="27403">2</cx:pt>
          <cx:pt idx="27404">5</cx:pt>
          <cx:pt idx="27405">3</cx:pt>
          <cx:pt idx="27406">2</cx:pt>
          <cx:pt idx="27407">3</cx:pt>
          <cx:pt idx="27408">2</cx:pt>
          <cx:pt idx="27409">2</cx:pt>
          <cx:pt idx="27410">5</cx:pt>
          <cx:pt idx="27411">1</cx:pt>
          <cx:pt idx="27412">2</cx:pt>
          <cx:pt idx="27413">3</cx:pt>
          <cx:pt idx="27414">5</cx:pt>
          <cx:pt idx="27415">3</cx:pt>
          <cx:pt idx="27416">1</cx:pt>
          <cx:pt idx="27417">4</cx:pt>
          <cx:pt idx="27418">0</cx:pt>
          <cx:pt idx="27419">1</cx:pt>
          <cx:pt idx="27420">4</cx:pt>
          <cx:pt idx="27421">2</cx:pt>
          <cx:pt idx="27422">1</cx:pt>
          <cx:pt idx="27423">4</cx:pt>
          <cx:pt idx="27424">3</cx:pt>
          <cx:pt idx="27425">1</cx:pt>
          <cx:pt idx="27426">1</cx:pt>
          <cx:pt idx="27427">5</cx:pt>
          <cx:pt idx="27428">5</cx:pt>
          <cx:pt idx="27429">3</cx:pt>
          <cx:pt idx="27430">3</cx:pt>
          <cx:pt idx="27431">0</cx:pt>
          <cx:pt idx="27432">2</cx:pt>
          <cx:pt idx="27433">0</cx:pt>
          <cx:pt idx="27434">5</cx:pt>
          <cx:pt idx="27435">3</cx:pt>
          <cx:pt idx="27436">4</cx:pt>
          <cx:pt idx="27437">2</cx:pt>
          <cx:pt idx="27438">5</cx:pt>
          <cx:pt idx="27439">5</cx:pt>
          <cx:pt idx="27440">3</cx:pt>
          <cx:pt idx="27441">2</cx:pt>
          <cx:pt idx="27442">5</cx:pt>
          <cx:pt idx="27443">4</cx:pt>
          <cx:pt idx="27444">3</cx:pt>
          <cx:pt idx="27445">2</cx:pt>
          <cx:pt idx="27446">4</cx:pt>
          <cx:pt idx="27447">4</cx:pt>
          <cx:pt idx="27448">2</cx:pt>
          <cx:pt idx="27449">3</cx:pt>
          <cx:pt idx="27450">2</cx:pt>
          <cx:pt idx="27451">0</cx:pt>
          <cx:pt idx="27452">2</cx:pt>
          <cx:pt idx="27453">1</cx:pt>
          <cx:pt idx="27454">2</cx:pt>
          <cx:pt idx="27455">5</cx:pt>
          <cx:pt idx="27456">3</cx:pt>
          <cx:pt idx="27457">2</cx:pt>
          <cx:pt idx="27458">3</cx:pt>
          <cx:pt idx="27459">3</cx:pt>
          <cx:pt idx="27460">3</cx:pt>
          <cx:pt idx="27461">1</cx:pt>
          <cx:pt idx="27462">2</cx:pt>
          <cx:pt idx="27463">5</cx:pt>
          <cx:pt idx="27464">5</cx:pt>
          <cx:pt idx="27465">1</cx:pt>
          <cx:pt idx="27466">5</cx:pt>
          <cx:pt idx="27467">2</cx:pt>
          <cx:pt idx="27468">4</cx:pt>
          <cx:pt idx="27469">2</cx:pt>
          <cx:pt idx="27470">3</cx:pt>
          <cx:pt idx="27471">2</cx:pt>
          <cx:pt idx="27472">1</cx:pt>
          <cx:pt idx="27473">2</cx:pt>
          <cx:pt idx="27474">4</cx:pt>
          <cx:pt idx="27475">3</cx:pt>
          <cx:pt idx="27476">3</cx:pt>
          <cx:pt idx="27477">1</cx:pt>
          <cx:pt idx="27478">3</cx:pt>
          <cx:pt idx="27479">1</cx:pt>
          <cx:pt idx="27480">5</cx:pt>
          <cx:pt idx="27481">5</cx:pt>
          <cx:pt idx="27482">0</cx:pt>
          <cx:pt idx="27483">3</cx:pt>
          <cx:pt idx="27484">1</cx:pt>
          <cx:pt idx="27485">4</cx:pt>
          <cx:pt idx="27486">1</cx:pt>
          <cx:pt idx="27487">1</cx:pt>
          <cx:pt idx="27488">1</cx:pt>
          <cx:pt idx="27489">1</cx:pt>
          <cx:pt idx="27490">5</cx:pt>
          <cx:pt idx="27491">5</cx:pt>
          <cx:pt idx="27492">3</cx:pt>
          <cx:pt idx="27493">1</cx:pt>
          <cx:pt idx="27494">2</cx:pt>
          <cx:pt idx="27495">2</cx:pt>
          <cx:pt idx="27496">3</cx:pt>
          <cx:pt idx="27497">2</cx:pt>
          <cx:pt idx="27498">1</cx:pt>
          <cx:pt idx="27499">2</cx:pt>
          <cx:pt idx="27500">3</cx:pt>
          <cx:pt idx="27501">4</cx:pt>
          <cx:pt idx="27502">3</cx:pt>
          <cx:pt idx="27503">2</cx:pt>
          <cx:pt idx="27504">2</cx:pt>
          <cx:pt idx="27505">0</cx:pt>
          <cx:pt idx="27506">3</cx:pt>
          <cx:pt idx="27507">2</cx:pt>
          <cx:pt idx="27508">3</cx:pt>
          <cx:pt idx="27509">2</cx:pt>
          <cx:pt idx="27510">2</cx:pt>
          <cx:pt idx="27511">2</cx:pt>
          <cx:pt idx="27512">2</cx:pt>
          <cx:pt idx="27513">2</cx:pt>
          <cx:pt idx="27514">5</cx:pt>
          <cx:pt idx="27515">5</cx:pt>
          <cx:pt idx="27516">1</cx:pt>
          <cx:pt idx="27517">4</cx:pt>
          <cx:pt idx="27518">4</cx:pt>
          <cx:pt idx="27519">1</cx:pt>
          <cx:pt idx="27520">3</cx:pt>
          <cx:pt idx="27521">3</cx:pt>
          <cx:pt idx="27522">3</cx:pt>
          <cx:pt idx="27523">4</cx:pt>
          <cx:pt idx="27524">2</cx:pt>
          <cx:pt idx="27525">3</cx:pt>
          <cx:pt idx="27526">1</cx:pt>
          <cx:pt idx="27527">0</cx:pt>
          <cx:pt idx="27528">1</cx:pt>
          <cx:pt idx="27529">2</cx:pt>
          <cx:pt idx="27530">2</cx:pt>
          <cx:pt idx="27531">2</cx:pt>
          <cx:pt idx="27532">2</cx:pt>
          <cx:pt idx="27533">5</cx:pt>
          <cx:pt idx="27534">1</cx:pt>
          <cx:pt idx="27535">4</cx:pt>
          <cx:pt idx="27536">4</cx:pt>
          <cx:pt idx="27537">1</cx:pt>
          <cx:pt idx="27538">5</cx:pt>
          <cx:pt idx="27539">4</cx:pt>
          <cx:pt idx="27540">4</cx:pt>
          <cx:pt idx="27541">3</cx:pt>
          <cx:pt idx="27542">4</cx:pt>
          <cx:pt idx="27543">2</cx:pt>
          <cx:pt idx="27544">4</cx:pt>
          <cx:pt idx="27545">2</cx:pt>
          <cx:pt idx="27546">4</cx:pt>
          <cx:pt idx="27547">3</cx:pt>
          <cx:pt idx="27548">2</cx:pt>
          <cx:pt idx="27549">2</cx:pt>
          <cx:pt idx="27550">5</cx:pt>
          <cx:pt idx="27551">5</cx:pt>
          <cx:pt idx="27552">2</cx:pt>
          <cx:pt idx="27553">1</cx:pt>
          <cx:pt idx="27554">2</cx:pt>
          <cx:pt idx="27555">4</cx:pt>
          <cx:pt idx="27556">1</cx:pt>
          <cx:pt idx="27557">2</cx:pt>
          <cx:pt idx="27558">2</cx:pt>
          <cx:pt idx="27559">2</cx:pt>
          <cx:pt idx="27560">1</cx:pt>
          <cx:pt idx="27561">2</cx:pt>
          <cx:pt idx="27562">3</cx:pt>
          <cx:pt idx="27563">5</cx:pt>
          <cx:pt idx="27564">3</cx:pt>
          <cx:pt idx="27565">4</cx:pt>
          <cx:pt idx="27566">4</cx:pt>
          <cx:pt idx="27567">5</cx:pt>
          <cx:pt idx="27568">0</cx:pt>
          <cx:pt idx="27569">5</cx:pt>
          <cx:pt idx="27570">5</cx:pt>
          <cx:pt idx="27571">5</cx:pt>
          <cx:pt idx="27572">3</cx:pt>
          <cx:pt idx="27573">2</cx:pt>
          <cx:pt idx="27574">3</cx:pt>
          <cx:pt idx="27575">4</cx:pt>
          <cx:pt idx="27576">3</cx:pt>
          <cx:pt idx="27577">1</cx:pt>
          <cx:pt idx="27578">1</cx:pt>
          <cx:pt idx="27579">1</cx:pt>
          <cx:pt idx="27580">1</cx:pt>
          <cx:pt idx="27581">4</cx:pt>
          <cx:pt idx="27582">4</cx:pt>
          <cx:pt idx="27583">3</cx:pt>
          <cx:pt idx="27584">2</cx:pt>
          <cx:pt idx="27585">4</cx:pt>
          <cx:pt idx="27586">3</cx:pt>
          <cx:pt idx="27587">2</cx:pt>
          <cx:pt idx="27588">1</cx:pt>
          <cx:pt idx="27589">4</cx:pt>
          <cx:pt idx="27590">2</cx:pt>
          <cx:pt idx="27591">3</cx:pt>
          <cx:pt idx="27592">4</cx:pt>
          <cx:pt idx="27593">5</cx:pt>
          <cx:pt idx="27594">4</cx:pt>
          <cx:pt idx="27595">5</cx:pt>
          <cx:pt idx="27596">1</cx:pt>
          <cx:pt idx="27597">4</cx:pt>
          <cx:pt idx="27598">4</cx:pt>
          <cx:pt idx="27599">4</cx:pt>
          <cx:pt idx="27600">1</cx:pt>
          <cx:pt idx="27601">3</cx:pt>
          <cx:pt idx="27602">1</cx:pt>
          <cx:pt idx="27603">0</cx:pt>
          <cx:pt idx="27604">1</cx:pt>
          <cx:pt idx="27605">2</cx:pt>
          <cx:pt idx="27606">1</cx:pt>
          <cx:pt idx="27607">5</cx:pt>
          <cx:pt idx="27608">2</cx:pt>
          <cx:pt idx="27609">3</cx:pt>
          <cx:pt idx="27610">5</cx:pt>
          <cx:pt idx="27611">4</cx:pt>
          <cx:pt idx="27612">3</cx:pt>
          <cx:pt idx="27613">2</cx:pt>
          <cx:pt idx="27614">2</cx:pt>
          <cx:pt idx="27615">4</cx:pt>
          <cx:pt idx="27616">5</cx:pt>
          <cx:pt idx="27617">0</cx:pt>
          <cx:pt idx="27618">1</cx:pt>
          <cx:pt idx="27619">3</cx:pt>
          <cx:pt idx="27620">3</cx:pt>
          <cx:pt idx="27621">5</cx:pt>
          <cx:pt idx="27622">2</cx:pt>
          <cx:pt idx="27623">5</cx:pt>
          <cx:pt idx="27624">2</cx:pt>
          <cx:pt idx="27625">3</cx:pt>
          <cx:pt idx="27626">1</cx:pt>
          <cx:pt idx="27627">3</cx:pt>
          <cx:pt idx="27628">3</cx:pt>
          <cx:pt idx="27629">5</cx:pt>
          <cx:pt idx="27630">4</cx:pt>
          <cx:pt idx="27631">2</cx:pt>
          <cx:pt idx="27632">3</cx:pt>
          <cx:pt idx="27633">1</cx:pt>
          <cx:pt idx="27634">2</cx:pt>
          <cx:pt idx="27635">3</cx:pt>
          <cx:pt idx="27636">4</cx:pt>
          <cx:pt idx="27637">1</cx:pt>
          <cx:pt idx="27638">1</cx:pt>
          <cx:pt idx="27639">3</cx:pt>
          <cx:pt idx="27640">2</cx:pt>
          <cx:pt idx="27641">2</cx:pt>
          <cx:pt idx="27642">3</cx:pt>
          <cx:pt idx="27643">3</cx:pt>
          <cx:pt idx="27644">4</cx:pt>
          <cx:pt idx="27645">3</cx:pt>
          <cx:pt idx="27646">2</cx:pt>
          <cx:pt idx="27647">1</cx:pt>
          <cx:pt idx="27648">4</cx:pt>
          <cx:pt idx="27649">4</cx:pt>
          <cx:pt idx="27650">1</cx:pt>
          <cx:pt idx="27651">3</cx:pt>
          <cx:pt idx="27652">1</cx:pt>
          <cx:pt idx="27653">1</cx:pt>
          <cx:pt idx="27654">2</cx:pt>
          <cx:pt idx="27655">3</cx:pt>
          <cx:pt idx="27656">1</cx:pt>
          <cx:pt idx="27657">2</cx:pt>
          <cx:pt idx="27658">5</cx:pt>
          <cx:pt idx="27659">1</cx:pt>
          <cx:pt idx="27660">3</cx:pt>
          <cx:pt idx="27661">2</cx:pt>
          <cx:pt idx="27662">3</cx:pt>
          <cx:pt idx="27663">5</cx:pt>
          <cx:pt idx="27664">2</cx:pt>
          <cx:pt idx="27665">2</cx:pt>
          <cx:pt idx="27666">0</cx:pt>
          <cx:pt idx="27667">4</cx:pt>
          <cx:pt idx="27668">2</cx:pt>
          <cx:pt idx="27669">3</cx:pt>
          <cx:pt idx="27670">1</cx:pt>
          <cx:pt idx="27671">1</cx:pt>
          <cx:pt idx="27672">1</cx:pt>
          <cx:pt idx="27673">4</cx:pt>
          <cx:pt idx="27674">3</cx:pt>
          <cx:pt idx="27675">4</cx:pt>
          <cx:pt idx="27676">3</cx:pt>
          <cx:pt idx="27677">3</cx:pt>
          <cx:pt idx="27678">5</cx:pt>
          <cx:pt idx="27679">2</cx:pt>
          <cx:pt idx="27680">3</cx:pt>
          <cx:pt idx="27681">4</cx:pt>
          <cx:pt idx="27682">3</cx:pt>
          <cx:pt idx="27683">0</cx:pt>
          <cx:pt idx="27684">0</cx:pt>
          <cx:pt idx="27685">3</cx:pt>
          <cx:pt idx="27686">4</cx:pt>
          <cx:pt idx="27687">4</cx:pt>
          <cx:pt idx="27688">2</cx:pt>
          <cx:pt idx="27689">3</cx:pt>
          <cx:pt idx="27690">2</cx:pt>
          <cx:pt idx="27691">1</cx:pt>
          <cx:pt idx="27692">5</cx:pt>
          <cx:pt idx="27693">1</cx:pt>
          <cx:pt idx="27694">1</cx:pt>
          <cx:pt idx="27695">4</cx:pt>
          <cx:pt idx="27696">2</cx:pt>
          <cx:pt idx="27697">4</cx:pt>
          <cx:pt idx="27698">2</cx:pt>
          <cx:pt idx="27699">4</cx:pt>
          <cx:pt idx="27700">4</cx:pt>
          <cx:pt idx="27701">1</cx:pt>
          <cx:pt idx="27702">4</cx:pt>
          <cx:pt idx="27703">3</cx:pt>
          <cx:pt idx="27704">4</cx:pt>
          <cx:pt idx="27705">2</cx:pt>
          <cx:pt idx="27706">5</cx:pt>
          <cx:pt idx="27707">4</cx:pt>
          <cx:pt idx="27708">3</cx:pt>
          <cx:pt idx="27709">1</cx:pt>
          <cx:pt idx="27710">3</cx:pt>
          <cx:pt idx="27711">3</cx:pt>
          <cx:pt idx="27712">3</cx:pt>
          <cx:pt idx="27713">3</cx:pt>
          <cx:pt idx="27714">1</cx:pt>
          <cx:pt idx="27715">3</cx:pt>
          <cx:pt idx="27716">4</cx:pt>
          <cx:pt idx="27717">2</cx:pt>
          <cx:pt idx="27718">0</cx:pt>
          <cx:pt idx="27719">1</cx:pt>
          <cx:pt idx="27720">3</cx:pt>
          <cx:pt idx="27721">2</cx:pt>
          <cx:pt idx="27722">5</cx:pt>
          <cx:pt idx="27723">2</cx:pt>
          <cx:pt idx="27724">1</cx:pt>
          <cx:pt idx="27725">3</cx:pt>
          <cx:pt idx="27726">3</cx:pt>
          <cx:pt idx="27727">2</cx:pt>
          <cx:pt idx="27728">1</cx:pt>
          <cx:pt idx="27729">4</cx:pt>
          <cx:pt idx="27730">2</cx:pt>
          <cx:pt idx="27731">1</cx:pt>
          <cx:pt idx="27732">4</cx:pt>
          <cx:pt idx="27733">1</cx:pt>
          <cx:pt idx="27734">1</cx:pt>
          <cx:pt idx="27735">5</cx:pt>
          <cx:pt idx="27736">3</cx:pt>
          <cx:pt idx="27737">4</cx:pt>
          <cx:pt idx="27738">5</cx:pt>
          <cx:pt idx="27739">4</cx:pt>
          <cx:pt idx="27740">1</cx:pt>
          <cx:pt idx="27741">3</cx:pt>
          <cx:pt idx="27742">3</cx:pt>
          <cx:pt idx="27743">0</cx:pt>
          <cx:pt idx="27744">3</cx:pt>
          <cx:pt idx="27745">0</cx:pt>
          <cx:pt idx="27746">3</cx:pt>
          <cx:pt idx="27747">2</cx:pt>
          <cx:pt idx="27748">2</cx:pt>
          <cx:pt idx="27749">2</cx:pt>
          <cx:pt idx="27750">3</cx:pt>
          <cx:pt idx="27751">0</cx:pt>
          <cx:pt idx="27752">2</cx:pt>
          <cx:pt idx="27753">4</cx:pt>
          <cx:pt idx="27754">3</cx:pt>
          <cx:pt idx="27755">5</cx:pt>
          <cx:pt idx="27756">3</cx:pt>
          <cx:pt idx="27757">0</cx:pt>
          <cx:pt idx="27758">0</cx:pt>
          <cx:pt idx="27759">1</cx:pt>
          <cx:pt idx="27760">3</cx:pt>
          <cx:pt idx="27761">3</cx:pt>
          <cx:pt idx="27762">2</cx:pt>
          <cx:pt idx="27763">5</cx:pt>
          <cx:pt idx="27764">2</cx:pt>
          <cx:pt idx="27765">1</cx:pt>
          <cx:pt idx="27766">1</cx:pt>
          <cx:pt idx="27767">3</cx:pt>
          <cx:pt idx="27768">5</cx:pt>
          <cx:pt idx="27769">0</cx:pt>
          <cx:pt idx="27770">3</cx:pt>
          <cx:pt idx="27771">3</cx:pt>
          <cx:pt idx="27772">4</cx:pt>
          <cx:pt idx="27773">4</cx:pt>
          <cx:pt idx="27774">1</cx:pt>
          <cx:pt idx="27775">3</cx:pt>
          <cx:pt idx="27776">3</cx:pt>
          <cx:pt idx="27777">3</cx:pt>
          <cx:pt idx="27778">3</cx:pt>
          <cx:pt idx="27779">3</cx:pt>
          <cx:pt idx="27780">0</cx:pt>
          <cx:pt idx="27781">1</cx:pt>
          <cx:pt idx="27782">3</cx:pt>
          <cx:pt idx="27783">5</cx:pt>
          <cx:pt idx="27784">2</cx:pt>
          <cx:pt idx="27785">5</cx:pt>
          <cx:pt idx="27786">3</cx:pt>
          <cx:pt idx="27787">2</cx:pt>
          <cx:pt idx="27788">2</cx:pt>
          <cx:pt idx="27789">4</cx:pt>
          <cx:pt idx="27790">1</cx:pt>
          <cx:pt idx="27791">4</cx:pt>
          <cx:pt idx="27792">3</cx:pt>
          <cx:pt idx="27793">2</cx:pt>
          <cx:pt idx="27794">4</cx:pt>
          <cx:pt idx="27795">2</cx:pt>
          <cx:pt idx="27796">0</cx:pt>
          <cx:pt idx="27797">3</cx:pt>
          <cx:pt idx="27798">4</cx:pt>
          <cx:pt idx="27799">2</cx:pt>
          <cx:pt idx="27800">1</cx:pt>
          <cx:pt idx="27801">0</cx:pt>
          <cx:pt idx="27802">2</cx:pt>
          <cx:pt idx="27803">2</cx:pt>
          <cx:pt idx="27804">1</cx:pt>
          <cx:pt idx="27805">1</cx:pt>
          <cx:pt idx="27806">2</cx:pt>
          <cx:pt idx="27807">5</cx:pt>
          <cx:pt idx="27808">1</cx:pt>
          <cx:pt idx="27809">4</cx:pt>
          <cx:pt idx="27810">1</cx:pt>
          <cx:pt idx="27811">1</cx:pt>
          <cx:pt idx="27812">0</cx:pt>
          <cx:pt idx="27813">2</cx:pt>
          <cx:pt idx="27814">2</cx:pt>
          <cx:pt idx="27815">1</cx:pt>
          <cx:pt idx="27816">3</cx:pt>
          <cx:pt idx="27817">2</cx:pt>
          <cx:pt idx="27818">4</cx:pt>
          <cx:pt idx="27819">0</cx:pt>
          <cx:pt idx="27820">1</cx:pt>
          <cx:pt idx="27821">4</cx:pt>
          <cx:pt idx="27822">4</cx:pt>
          <cx:pt idx="27823">1</cx:pt>
          <cx:pt idx="27824">3</cx:pt>
          <cx:pt idx="27825">2</cx:pt>
          <cx:pt idx="27826">5</cx:pt>
          <cx:pt idx="27827">5</cx:pt>
          <cx:pt idx="27828">4</cx:pt>
          <cx:pt idx="27829">2</cx:pt>
          <cx:pt idx="27830">1</cx:pt>
          <cx:pt idx="27831">2</cx:pt>
          <cx:pt idx="27832">1</cx:pt>
          <cx:pt idx="27833">1</cx:pt>
          <cx:pt idx="27834">3</cx:pt>
          <cx:pt idx="27835">2</cx:pt>
          <cx:pt idx="27836">4</cx:pt>
          <cx:pt idx="27837">2</cx:pt>
          <cx:pt idx="27838">2</cx:pt>
          <cx:pt idx="27839">4</cx:pt>
          <cx:pt idx="27840">3</cx:pt>
          <cx:pt idx="27841">3</cx:pt>
          <cx:pt idx="27842">4</cx:pt>
          <cx:pt idx="27843">4</cx:pt>
          <cx:pt idx="27844">4</cx:pt>
          <cx:pt idx="27845">4</cx:pt>
          <cx:pt idx="27846">4</cx:pt>
          <cx:pt idx="27847">1</cx:pt>
          <cx:pt idx="27848">5</cx:pt>
          <cx:pt idx="27849">4</cx:pt>
          <cx:pt idx="27850">1</cx:pt>
          <cx:pt idx="27851">1</cx:pt>
          <cx:pt idx="27852">5</cx:pt>
          <cx:pt idx="27853">2</cx:pt>
          <cx:pt idx="27854">0</cx:pt>
          <cx:pt idx="27855">2</cx:pt>
          <cx:pt idx="27856">2</cx:pt>
          <cx:pt idx="27857">0</cx:pt>
          <cx:pt idx="27858">2</cx:pt>
          <cx:pt idx="27859">1</cx:pt>
          <cx:pt idx="27860">2</cx:pt>
          <cx:pt idx="27861">4</cx:pt>
          <cx:pt idx="27862">4</cx:pt>
          <cx:pt idx="27863">1</cx:pt>
          <cx:pt idx="27864">4</cx:pt>
          <cx:pt idx="27865">1</cx:pt>
          <cx:pt idx="27866">3</cx:pt>
          <cx:pt idx="27867">1</cx:pt>
          <cx:pt idx="27868">3</cx:pt>
          <cx:pt idx="27869">3</cx:pt>
          <cx:pt idx="27870">1</cx:pt>
          <cx:pt idx="27871">2</cx:pt>
          <cx:pt idx="27872">3</cx:pt>
          <cx:pt idx="27873">1</cx:pt>
          <cx:pt idx="27874">2</cx:pt>
          <cx:pt idx="27875">5</cx:pt>
          <cx:pt idx="27876">1</cx:pt>
          <cx:pt idx="27877">2</cx:pt>
          <cx:pt idx="27878">2</cx:pt>
          <cx:pt idx="27879">0</cx:pt>
          <cx:pt idx="27880">2</cx:pt>
          <cx:pt idx="27881">5</cx:pt>
          <cx:pt idx="27882">2</cx:pt>
          <cx:pt idx="27883">2</cx:pt>
          <cx:pt idx="27884">5</cx:pt>
          <cx:pt idx="27885">4</cx:pt>
          <cx:pt idx="27886">5</cx:pt>
          <cx:pt idx="27887">3</cx:pt>
          <cx:pt idx="27888">3</cx:pt>
          <cx:pt idx="27889">1</cx:pt>
          <cx:pt idx="27890">2</cx:pt>
          <cx:pt idx="27891">3</cx:pt>
          <cx:pt idx="27892">1</cx:pt>
          <cx:pt idx="27893">5</cx:pt>
          <cx:pt idx="27894">4</cx:pt>
          <cx:pt idx="27895">5</cx:pt>
          <cx:pt idx="27896">2</cx:pt>
          <cx:pt idx="27897">4</cx:pt>
          <cx:pt idx="27898">4</cx:pt>
          <cx:pt idx="27899">4</cx:pt>
          <cx:pt idx="27900">2</cx:pt>
          <cx:pt idx="27901">3</cx:pt>
          <cx:pt idx="27902">5</cx:pt>
          <cx:pt idx="27903">2</cx:pt>
          <cx:pt idx="27904">2</cx:pt>
          <cx:pt idx="27905">2</cx:pt>
          <cx:pt idx="27906">1</cx:pt>
          <cx:pt idx="27907">2</cx:pt>
          <cx:pt idx="27908">5</cx:pt>
          <cx:pt idx="27909">3</cx:pt>
          <cx:pt idx="27910">3</cx:pt>
          <cx:pt idx="27911">1</cx:pt>
          <cx:pt idx="27912">2</cx:pt>
          <cx:pt idx="27913">2</cx:pt>
          <cx:pt idx="27914">3</cx:pt>
          <cx:pt idx="27915">1</cx:pt>
          <cx:pt idx="27916">0</cx:pt>
          <cx:pt idx="27917">3</cx:pt>
          <cx:pt idx="27918">5</cx:pt>
          <cx:pt idx="27919">4</cx:pt>
          <cx:pt idx="27920">4</cx:pt>
          <cx:pt idx="27921">1</cx:pt>
          <cx:pt idx="27922">2</cx:pt>
          <cx:pt idx="27923">5</cx:pt>
          <cx:pt idx="27924">5</cx:pt>
          <cx:pt idx="27925">4</cx:pt>
          <cx:pt idx="27926">3</cx:pt>
          <cx:pt idx="27927">2</cx:pt>
          <cx:pt idx="27928">4</cx:pt>
          <cx:pt idx="27929">5</cx:pt>
          <cx:pt idx="27930">3</cx:pt>
          <cx:pt idx="27931">4</cx:pt>
          <cx:pt idx="27932">1</cx:pt>
          <cx:pt idx="27933">3</cx:pt>
          <cx:pt idx="27934">3</cx:pt>
          <cx:pt idx="27935">5</cx:pt>
          <cx:pt idx="27936">3</cx:pt>
          <cx:pt idx="27937">5</cx:pt>
          <cx:pt idx="27938">3</cx:pt>
          <cx:pt idx="27939">0</cx:pt>
          <cx:pt idx="27940">2</cx:pt>
          <cx:pt idx="27941">2</cx:pt>
          <cx:pt idx="27942">3</cx:pt>
          <cx:pt idx="27943">4</cx:pt>
          <cx:pt idx="27944">3</cx:pt>
          <cx:pt idx="27945">1</cx:pt>
          <cx:pt idx="27946">2</cx:pt>
          <cx:pt idx="27947">4</cx:pt>
          <cx:pt idx="27948">2</cx:pt>
          <cx:pt idx="27949">2</cx:pt>
          <cx:pt idx="27950">5</cx:pt>
          <cx:pt idx="27951">1</cx:pt>
          <cx:pt idx="27952">2</cx:pt>
          <cx:pt idx="27953">1</cx:pt>
          <cx:pt idx="27954">4</cx:pt>
          <cx:pt idx="27955">5</cx:pt>
          <cx:pt idx="27956">1</cx:pt>
          <cx:pt idx="27957">4</cx:pt>
          <cx:pt idx="27958">2</cx:pt>
          <cx:pt idx="27959">2</cx:pt>
          <cx:pt idx="27960">5</cx:pt>
          <cx:pt idx="27961">1</cx:pt>
          <cx:pt idx="27962">4</cx:pt>
          <cx:pt idx="27963">3</cx:pt>
          <cx:pt idx="27964">3</cx:pt>
          <cx:pt idx="27965">4</cx:pt>
          <cx:pt idx="27966">2</cx:pt>
          <cx:pt idx="27967">5</cx:pt>
          <cx:pt idx="27968">4</cx:pt>
          <cx:pt idx="27969">5</cx:pt>
          <cx:pt idx="27970">2</cx:pt>
          <cx:pt idx="27971">4</cx:pt>
          <cx:pt idx="27972">4</cx:pt>
          <cx:pt idx="27973">5</cx:pt>
          <cx:pt idx="27974">0</cx:pt>
          <cx:pt idx="27975">4</cx:pt>
          <cx:pt idx="27976">5</cx:pt>
          <cx:pt idx="27977">1</cx:pt>
          <cx:pt idx="27978">2</cx:pt>
          <cx:pt idx="27979">2</cx:pt>
          <cx:pt idx="27980">0</cx:pt>
          <cx:pt idx="27981">2</cx:pt>
          <cx:pt idx="27982">3</cx:pt>
          <cx:pt idx="27983">4</cx:pt>
          <cx:pt idx="27984">4</cx:pt>
          <cx:pt idx="27985">4</cx:pt>
          <cx:pt idx="27986">4</cx:pt>
          <cx:pt idx="27987">1</cx:pt>
          <cx:pt idx="27988">4</cx:pt>
          <cx:pt idx="27989">2</cx:pt>
          <cx:pt idx="27990">5</cx:pt>
          <cx:pt idx="27991">5</cx:pt>
          <cx:pt idx="27992">4</cx:pt>
          <cx:pt idx="27993">0</cx:pt>
          <cx:pt idx="27994">3</cx:pt>
          <cx:pt idx="27995">4</cx:pt>
          <cx:pt idx="27996">1</cx:pt>
          <cx:pt idx="27997">4</cx:pt>
          <cx:pt idx="27998">2</cx:pt>
          <cx:pt idx="27999">3</cx:pt>
          <cx:pt idx="28000">4</cx:pt>
          <cx:pt idx="28001">2</cx:pt>
          <cx:pt idx="28002">1</cx:pt>
          <cx:pt idx="28003">4</cx:pt>
          <cx:pt idx="28004">2</cx:pt>
          <cx:pt idx="28005">5</cx:pt>
          <cx:pt idx="28006">3</cx:pt>
          <cx:pt idx="28007">4</cx:pt>
          <cx:pt idx="28008">2</cx:pt>
          <cx:pt idx="28009">1</cx:pt>
          <cx:pt idx="28010">4</cx:pt>
          <cx:pt idx="28011">4</cx:pt>
          <cx:pt idx="28012">4</cx:pt>
          <cx:pt idx="28013">2</cx:pt>
          <cx:pt idx="28014">2</cx:pt>
          <cx:pt idx="28015">3</cx:pt>
          <cx:pt idx="28016">2</cx:pt>
          <cx:pt idx="28017">4</cx:pt>
          <cx:pt idx="28018">1</cx:pt>
          <cx:pt idx="28019">5</cx:pt>
          <cx:pt idx="28020">1</cx:pt>
          <cx:pt idx="28021">3</cx:pt>
          <cx:pt idx="28022">3</cx:pt>
          <cx:pt idx="28023">1</cx:pt>
          <cx:pt idx="28024">1</cx:pt>
          <cx:pt idx="28025">1</cx:pt>
          <cx:pt idx="28026">3</cx:pt>
          <cx:pt idx="28027">2</cx:pt>
          <cx:pt idx="28028">4</cx:pt>
          <cx:pt idx="28029">1</cx:pt>
          <cx:pt idx="28030">4</cx:pt>
          <cx:pt idx="28031">3</cx:pt>
          <cx:pt idx="28032">3</cx:pt>
          <cx:pt idx="28033">2</cx:pt>
          <cx:pt idx="28034">4</cx:pt>
          <cx:pt idx="28035">3</cx:pt>
          <cx:pt idx="28036">4</cx:pt>
          <cx:pt idx="28037">4</cx:pt>
          <cx:pt idx="28038">0</cx:pt>
          <cx:pt idx="28039">2</cx:pt>
          <cx:pt idx="28040">3</cx:pt>
          <cx:pt idx="28041">2</cx:pt>
          <cx:pt idx="28042">5</cx:pt>
          <cx:pt idx="28043">3</cx:pt>
          <cx:pt idx="28044">3</cx:pt>
          <cx:pt idx="28045">2</cx:pt>
          <cx:pt idx="28046">3</cx:pt>
          <cx:pt idx="28047">2</cx:pt>
          <cx:pt idx="28048">4</cx:pt>
          <cx:pt idx="28049">5</cx:pt>
          <cx:pt idx="28050">4</cx:pt>
          <cx:pt idx="28051">2</cx:pt>
          <cx:pt idx="28052">4</cx:pt>
          <cx:pt idx="28053">1</cx:pt>
          <cx:pt idx="28054">3</cx:pt>
          <cx:pt idx="28055">2</cx:pt>
          <cx:pt idx="28056">2</cx:pt>
          <cx:pt idx="28057">5</cx:pt>
          <cx:pt idx="28058">1</cx:pt>
          <cx:pt idx="28059">3</cx:pt>
          <cx:pt idx="28060">2</cx:pt>
          <cx:pt idx="28061">1</cx:pt>
          <cx:pt idx="28062">4</cx:pt>
          <cx:pt idx="28063">5</cx:pt>
          <cx:pt idx="28064">3</cx:pt>
          <cx:pt idx="28065">3</cx:pt>
          <cx:pt idx="28066">2</cx:pt>
          <cx:pt idx="28067">4</cx:pt>
          <cx:pt idx="28068">2</cx:pt>
          <cx:pt idx="28069">2</cx:pt>
          <cx:pt idx="28070">5</cx:pt>
          <cx:pt idx="28071">1</cx:pt>
          <cx:pt idx="28072">2</cx:pt>
          <cx:pt idx="28073">2</cx:pt>
          <cx:pt idx="28074">4</cx:pt>
          <cx:pt idx="28075">3</cx:pt>
          <cx:pt idx="28076">5</cx:pt>
          <cx:pt idx="28077">2</cx:pt>
          <cx:pt idx="28078">4</cx:pt>
          <cx:pt idx="28079">1</cx:pt>
          <cx:pt idx="28080">3</cx:pt>
          <cx:pt idx="28081">5</cx:pt>
          <cx:pt idx="28082">4</cx:pt>
          <cx:pt idx="28083">4</cx:pt>
          <cx:pt idx="28084">2</cx:pt>
          <cx:pt idx="28085">2</cx:pt>
          <cx:pt idx="28086">4</cx:pt>
          <cx:pt idx="28087">1</cx:pt>
          <cx:pt idx="28088">3</cx:pt>
          <cx:pt idx="28089">3</cx:pt>
          <cx:pt idx="28090">1</cx:pt>
          <cx:pt idx="28091">0</cx:pt>
          <cx:pt idx="28092">2</cx:pt>
          <cx:pt idx="28093">5</cx:pt>
          <cx:pt idx="28094">2</cx:pt>
          <cx:pt idx="28095">3</cx:pt>
          <cx:pt idx="28096">2</cx:pt>
          <cx:pt idx="28097">2</cx:pt>
          <cx:pt idx="28098">5</cx:pt>
          <cx:pt idx="28099">2</cx:pt>
          <cx:pt idx="28100">5</cx:pt>
          <cx:pt idx="28101">2</cx:pt>
          <cx:pt idx="28102">5</cx:pt>
          <cx:pt idx="28103">2</cx:pt>
          <cx:pt idx="28104">3</cx:pt>
          <cx:pt idx="28105">2</cx:pt>
          <cx:pt idx="28106">5</cx:pt>
          <cx:pt idx="28107">2</cx:pt>
          <cx:pt idx="28108">2</cx:pt>
          <cx:pt idx="28109">3</cx:pt>
          <cx:pt idx="28110">5</cx:pt>
          <cx:pt idx="28111">5</cx:pt>
          <cx:pt idx="28112">3</cx:pt>
          <cx:pt idx="28113">2</cx:pt>
          <cx:pt idx="28114">2</cx:pt>
          <cx:pt idx="28115">1</cx:pt>
          <cx:pt idx="28116">4</cx:pt>
          <cx:pt idx="28117">4</cx:pt>
          <cx:pt idx="28118">3</cx:pt>
          <cx:pt idx="28119">1</cx:pt>
          <cx:pt idx="28120">5</cx:pt>
          <cx:pt idx="28121">3</cx:pt>
          <cx:pt idx="28122">3</cx:pt>
          <cx:pt idx="28123">2</cx:pt>
          <cx:pt idx="28124">2</cx:pt>
          <cx:pt idx="28125">3</cx:pt>
          <cx:pt idx="28126">1</cx:pt>
          <cx:pt idx="28127">2</cx:pt>
          <cx:pt idx="28128">5</cx:pt>
          <cx:pt idx="28129">0</cx:pt>
          <cx:pt idx="28130">2</cx:pt>
          <cx:pt idx="28131">5</cx:pt>
          <cx:pt idx="28132">3</cx:pt>
          <cx:pt idx="28133">3</cx:pt>
          <cx:pt idx="28134">2</cx:pt>
          <cx:pt idx="28135">5</cx:pt>
          <cx:pt idx="28136">1</cx:pt>
          <cx:pt idx="28137">2</cx:pt>
          <cx:pt idx="28138">3</cx:pt>
          <cx:pt idx="28139">4</cx:pt>
          <cx:pt idx="28140">2</cx:pt>
          <cx:pt idx="28141">2</cx:pt>
          <cx:pt idx="28142">3</cx:pt>
          <cx:pt idx="28143">2</cx:pt>
          <cx:pt idx="28144">1</cx:pt>
          <cx:pt idx="28145">4</cx:pt>
          <cx:pt idx="28146">3</cx:pt>
          <cx:pt idx="28147">1</cx:pt>
          <cx:pt idx="28148">5</cx:pt>
          <cx:pt idx="28149">4</cx:pt>
          <cx:pt idx="28150">2</cx:pt>
          <cx:pt idx="28151">1</cx:pt>
          <cx:pt idx="28152">1</cx:pt>
          <cx:pt idx="28153">2</cx:pt>
          <cx:pt idx="28154">2</cx:pt>
          <cx:pt idx="28155">3</cx:pt>
          <cx:pt idx="28156">1</cx:pt>
          <cx:pt idx="28157">2</cx:pt>
          <cx:pt idx="28158">2</cx:pt>
          <cx:pt idx="28159">5</cx:pt>
          <cx:pt idx="28160">4</cx:pt>
          <cx:pt idx="28161">3</cx:pt>
          <cx:pt idx="28162">2</cx:pt>
          <cx:pt idx="28163">5</cx:pt>
          <cx:pt idx="28164">1</cx:pt>
          <cx:pt idx="28165">2</cx:pt>
          <cx:pt idx="28166">4</cx:pt>
          <cx:pt idx="28167">5</cx:pt>
          <cx:pt idx="28168">5</cx:pt>
          <cx:pt idx="28169">4</cx:pt>
          <cx:pt idx="28170">2</cx:pt>
          <cx:pt idx="28171">3</cx:pt>
          <cx:pt idx="28172">1</cx:pt>
          <cx:pt idx="28173">2</cx:pt>
          <cx:pt idx="28174">4</cx:pt>
          <cx:pt idx="28175">5</cx:pt>
          <cx:pt idx="28176">4</cx:pt>
          <cx:pt idx="28177">1</cx:pt>
          <cx:pt idx="28178">3</cx:pt>
          <cx:pt idx="28179">2</cx:pt>
          <cx:pt idx="28180">2</cx:pt>
          <cx:pt idx="28181">3</cx:pt>
          <cx:pt idx="28182">1</cx:pt>
          <cx:pt idx="28183">5</cx:pt>
          <cx:pt idx="28184">4</cx:pt>
          <cx:pt idx="28185">1</cx:pt>
          <cx:pt idx="28186">1</cx:pt>
          <cx:pt idx="28187">3</cx:pt>
          <cx:pt idx="28188">3</cx:pt>
          <cx:pt idx="28189">4</cx:pt>
          <cx:pt idx="28190">3</cx:pt>
          <cx:pt idx="28191">4</cx:pt>
          <cx:pt idx="28192">5</cx:pt>
          <cx:pt idx="28193">1</cx:pt>
          <cx:pt idx="28194">5</cx:pt>
          <cx:pt idx="28195">2</cx:pt>
          <cx:pt idx="28196">2</cx:pt>
          <cx:pt idx="28197">2</cx:pt>
          <cx:pt idx="28198">3</cx:pt>
          <cx:pt idx="28199">3</cx:pt>
          <cx:pt idx="28200">2</cx:pt>
          <cx:pt idx="28201">2</cx:pt>
          <cx:pt idx="28202">1</cx:pt>
          <cx:pt idx="28203">1</cx:pt>
          <cx:pt idx="28204">4</cx:pt>
          <cx:pt idx="28205">3</cx:pt>
          <cx:pt idx="28206">3</cx:pt>
          <cx:pt idx="28207">3</cx:pt>
          <cx:pt idx="28208">5</cx:pt>
          <cx:pt idx="28209">4</cx:pt>
          <cx:pt idx="28210">2</cx:pt>
          <cx:pt idx="28211">0</cx:pt>
          <cx:pt idx="28212">2</cx:pt>
          <cx:pt idx="28213">2</cx:pt>
          <cx:pt idx="28214">5</cx:pt>
          <cx:pt idx="28215">0</cx:pt>
          <cx:pt idx="28216">3</cx:pt>
          <cx:pt idx="28217">1</cx:pt>
          <cx:pt idx="28218">5</cx:pt>
          <cx:pt idx="28219">1</cx:pt>
          <cx:pt idx="28220">5</cx:pt>
          <cx:pt idx="28221">5</cx:pt>
          <cx:pt idx="28222">3</cx:pt>
          <cx:pt idx="28223">5</cx:pt>
          <cx:pt idx="28224">4</cx:pt>
          <cx:pt idx="28225">2</cx:pt>
          <cx:pt idx="28226">3</cx:pt>
          <cx:pt idx="28227">3</cx:pt>
          <cx:pt idx="28228">0</cx:pt>
          <cx:pt idx="28229">2</cx:pt>
          <cx:pt idx="28230">2</cx:pt>
          <cx:pt idx="28231">5</cx:pt>
          <cx:pt idx="28232">4</cx:pt>
          <cx:pt idx="28233">1</cx:pt>
          <cx:pt idx="28234">3</cx:pt>
          <cx:pt idx="28235">4</cx:pt>
          <cx:pt idx="28236">3</cx:pt>
          <cx:pt idx="28237">5</cx:pt>
          <cx:pt idx="28238">2</cx:pt>
          <cx:pt idx="28239">4</cx:pt>
          <cx:pt idx="28240">4</cx:pt>
          <cx:pt idx="28241">2</cx:pt>
          <cx:pt idx="28242">3</cx:pt>
          <cx:pt idx="28243">4</cx:pt>
          <cx:pt idx="28244">3</cx:pt>
          <cx:pt idx="28245">1</cx:pt>
          <cx:pt idx="28246">3</cx:pt>
          <cx:pt idx="28247">4</cx:pt>
          <cx:pt idx="28248">0</cx:pt>
          <cx:pt idx="28249">2</cx:pt>
          <cx:pt idx="28250">3</cx:pt>
          <cx:pt idx="28251">3</cx:pt>
          <cx:pt idx="28252">3</cx:pt>
          <cx:pt idx="28253">1</cx:pt>
          <cx:pt idx="28254">1</cx:pt>
          <cx:pt idx="28255">2</cx:pt>
          <cx:pt idx="28256">2</cx:pt>
          <cx:pt idx="28257">1</cx:pt>
          <cx:pt idx="28258">4</cx:pt>
          <cx:pt idx="28259">5</cx:pt>
          <cx:pt idx="28260">1</cx:pt>
          <cx:pt idx="28261">1</cx:pt>
          <cx:pt idx="28262">5</cx:pt>
          <cx:pt idx="28263">4</cx:pt>
          <cx:pt idx="28264">1</cx:pt>
          <cx:pt idx="28265">5</cx:pt>
          <cx:pt idx="28266">2</cx:pt>
          <cx:pt idx="28267">2</cx:pt>
          <cx:pt idx="28268">3</cx:pt>
          <cx:pt idx="28269">0</cx:pt>
          <cx:pt idx="28270">2</cx:pt>
          <cx:pt idx="28271">1</cx:pt>
          <cx:pt idx="28272">5</cx:pt>
          <cx:pt idx="28273">4</cx:pt>
          <cx:pt idx="28274">2</cx:pt>
          <cx:pt idx="28275">1</cx:pt>
          <cx:pt idx="28276">2</cx:pt>
          <cx:pt idx="28277">3</cx:pt>
          <cx:pt idx="28278">2</cx:pt>
          <cx:pt idx="28279">0</cx:pt>
          <cx:pt idx="28280">2</cx:pt>
          <cx:pt idx="28281">1</cx:pt>
          <cx:pt idx="28282">3</cx:pt>
          <cx:pt idx="28283">1</cx:pt>
          <cx:pt idx="28284">4</cx:pt>
          <cx:pt idx="28285">5</cx:pt>
          <cx:pt idx="28286">1</cx:pt>
          <cx:pt idx="28287">2</cx:pt>
          <cx:pt idx="28288">4</cx:pt>
          <cx:pt idx="28289">3</cx:pt>
          <cx:pt idx="28290">1</cx:pt>
          <cx:pt idx="28291">1</cx:pt>
          <cx:pt idx="28292">1</cx:pt>
          <cx:pt idx="28293">4</cx:pt>
          <cx:pt idx="28294">4</cx:pt>
          <cx:pt idx="28295">3</cx:pt>
          <cx:pt idx="28296">3</cx:pt>
          <cx:pt idx="28297">2</cx:pt>
          <cx:pt idx="28298">3</cx:pt>
          <cx:pt idx="28299">0</cx:pt>
          <cx:pt idx="28300">5</cx:pt>
          <cx:pt idx="28301">1</cx:pt>
          <cx:pt idx="28302">4</cx:pt>
          <cx:pt idx="28303">2</cx:pt>
          <cx:pt idx="28304">5</cx:pt>
          <cx:pt idx="28305">3</cx:pt>
          <cx:pt idx="28306">2</cx:pt>
          <cx:pt idx="28307">1</cx:pt>
          <cx:pt idx="28308">4</cx:pt>
          <cx:pt idx="28309">1</cx:pt>
          <cx:pt idx="28310">3</cx:pt>
          <cx:pt idx="28311">1</cx:pt>
          <cx:pt idx="28312">1</cx:pt>
          <cx:pt idx="28313">2</cx:pt>
          <cx:pt idx="28314">2</cx:pt>
          <cx:pt idx="28315">3</cx:pt>
          <cx:pt idx="28316">1</cx:pt>
          <cx:pt idx="28317">1</cx:pt>
          <cx:pt idx="28318">5</cx:pt>
          <cx:pt idx="28319">5</cx:pt>
          <cx:pt idx="28320">5</cx:pt>
          <cx:pt idx="28321">5</cx:pt>
          <cx:pt idx="28322">4</cx:pt>
          <cx:pt idx="28323">0</cx:pt>
          <cx:pt idx="28324">5</cx:pt>
          <cx:pt idx="28325">5</cx:pt>
          <cx:pt idx="28326">1</cx:pt>
          <cx:pt idx="28327">4</cx:pt>
          <cx:pt idx="28328">3</cx:pt>
          <cx:pt idx="28329">3</cx:pt>
          <cx:pt idx="28330">2</cx:pt>
          <cx:pt idx="28331">1</cx:pt>
          <cx:pt idx="28332">3</cx:pt>
          <cx:pt idx="28333">2</cx:pt>
          <cx:pt idx="28334">5</cx:pt>
          <cx:pt idx="28335">0</cx:pt>
          <cx:pt idx="28336">1</cx:pt>
          <cx:pt idx="28337">5</cx:pt>
          <cx:pt idx="28338">3</cx:pt>
          <cx:pt idx="28339">5</cx:pt>
          <cx:pt idx="28340">5</cx:pt>
          <cx:pt idx="28341">2</cx:pt>
          <cx:pt idx="28342">4</cx:pt>
          <cx:pt idx="28343">1</cx:pt>
          <cx:pt idx="28344">4</cx:pt>
          <cx:pt idx="28345">2</cx:pt>
          <cx:pt idx="28346">4</cx:pt>
          <cx:pt idx="28347">5</cx:pt>
          <cx:pt idx="28348">3</cx:pt>
          <cx:pt idx="28349">2</cx:pt>
          <cx:pt idx="28350">5</cx:pt>
          <cx:pt idx="28351">4</cx:pt>
          <cx:pt idx="28352">0</cx:pt>
          <cx:pt idx="28353">5</cx:pt>
          <cx:pt idx="28354">1</cx:pt>
          <cx:pt idx="28355">4</cx:pt>
          <cx:pt idx="28356">0</cx:pt>
          <cx:pt idx="28357">3</cx:pt>
          <cx:pt idx="28358">5</cx:pt>
          <cx:pt idx="28359">3</cx:pt>
          <cx:pt idx="28360">3</cx:pt>
          <cx:pt idx="28361">3</cx:pt>
          <cx:pt idx="28362">4</cx:pt>
          <cx:pt idx="28363">3</cx:pt>
          <cx:pt idx="28364">3</cx:pt>
          <cx:pt idx="28365">2</cx:pt>
          <cx:pt idx="28366">4</cx:pt>
          <cx:pt idx="28367">4</cx:pt>
          <cx:pt idx="28368">0</cx:pt>
          <cx:pt idx="28369">4</cx:pt>
          <cx:pt idx="28370">2</cx:pt>
          <cx:pt idx="28371">3</cx:pt>
          <cx:pt idx="28372">3</cx:pt>
          <cx:pt idx="28373">4</cx:pt>
          <cx:pt idx="28374">3</cx:pt>
          <cx:pt idx="28375">2</cx:pt>
          <cx:pt idx="28376">5</cx:pt>
          <cx:pt idx="28377">4</cx:pt>
          <cx:pt idx="28378">2</cx:pt>
          <cx:pt idx="28379">2</cx:pt>
          <cx:pt idx="28380">0</cx:pt>
          <cx:pt idx="28381">1</cx:pt>
          <cx:pt idx="28382">2</cx:pt>
          <cx:pt idx="28383">4</cx:pt>
          <cx:pt idx="28384">1</cx:pt>
          <cx:pt idx="28385">2</cx:pt>
          <cx:pt idx="28386">4</cx:pt>
          <cx:pt idx="28387">4</cx:pt>
          <cx:pt idx="28388">1</cx:pt>
          <cx:pt idx="28389">3</cx:pt>
          <cx:pt idx="28390">1</cx:pt>
          <cx:pt idx="28391">3</cx:pt>
          <cx:pt idx="28392">1</cx:pt>
          <cx:pt idx="28393">2</cx:pt>
          <cx:pt idx="28394">1</cx:pt>
          <cx:pt idx="28395">0</cx:pt>
          <cx:pt idx="28396">1</cx:pt>
          <cx:pt idx="28397">4</cx:pt>
          <cx:pt idx="28398">1</cx:pt>
          <cx:pt idx="28399">2</cx:pt>
          <cx:pt idx="28400">3</cx:pt>
          <cx:pt idx="28401">5</cx:pt>
          <cx:pt idx="28402">2</cx:pt>
          <cx:pt idx="28403">5</cx:pt>
          <cx:pt idx="28404">5</cx:pt>
          <cx:pt idx="28405">3</cx:pt>
          <cx:pt idx="28406">1</cx:pt>
          <cx:pt idx="28407">1</cx:pt>
          <cx:pt idx="28408">5</cx:pt>
          <cx:pt idx="28409">0</cx:pt>
          <cx:pt idx="28410">3</cx:pt>
          <cx:pt idx="28411">4</cx:pt>
          <cx:pt idx="28412">5</cx:pt>
          <cx:pt idx="28413">4</cx:pt>
          <cx:pt idx="28414">3</cx:pt>
          <cx:pt idx="28415">2</cx:pt>
          <cx:pt idx="28416">2</cx:pt>
          <cx:pt idx="28417">5</cx:pt>
          <cx:pt idx="28418">3</cx:pt>
          <cx:pt idx="28419">2</cx:pt>
          <cx:pt idx="28420">3</cx:pt>
          <cx:pt idx="28421">2</cx:pt>
          <cx:pt idx="28422">1</cx:pt>
          <cx:pt idx="28423">4</cx:pt>
          <cx:pt idx="28424">4</cx:pt>
          <cx:pt idx="28425">0</cx:pt>
          <cx:pt idx="28426">3</cx:pt>
          <cx:pt idx="28427">1</cx:pt>
          <cx:pt idx="28428">4</cx:pt>
          <cx:pt idx="28429">1</cx:pt>
          <cx:pt idx="28430">3</cx:pt>
          <cx:pt idx="28431">4</cx:pt>
          <cx:pt idx="28432">3</cx:pt>
          <cx:pt idx="28433">4</cx:pt>
          <cx:pt idx="28434">3</cx:pt>
          <cx:pt idx="28435">1</cx:pt>
          <cx:pt idx="28436">5</cx:pt>
          <cx:pt idx="28437">2</cx:pt>
          <cx:pt idx="28438">2</cx:pt>
          <cx:pt idx="28439">5</cx:pt>
          <cx:pt idx="28440">3</cx:pt>
          <cx:pt idx="28441">3</cx:pt>
          <cx:pt idx="28442">3</cx:pt>
          <cx:pt idx="28443">1</cx:pt>
          <cx:pt idx="28444">1</cx:pt>
          <cx:pt idx="28445">4</cx:pt>
          <cx:pt idx="28446">5</cx:pt>
          <cx:pt idx="28447">3</cx:pt>
          <cx:pt idx="28448">1</cx:pt>
          <cx:pt idx="28449">3</cx:pt>
          <cx:pt idx="28450">5</cx:pt>
          <cx:pt idx="28451">4</cx:pt>
          <cx:pt idx="28452">5</cx:pt>
          <cx:pt idx="28453">4</cx:pt>
          <cx:pt idx="28454">1</cx:pt>
          <cx:pt idx="28455">4</cx:pt>
          <cx:pt idx="28456">4</cx:pt>
          <cx:pt idx="28457">4</cx:pt>
          <cx:pt idx="28458">1</cx:pt>
          <cx:pt idx="28459">0</cx:pt>
          <cx:pt idx="28460">1</cx:pt>
          <cx:pt idx="28461">3</cx:pt>
          <cx:pt idx="28462">1</cx:pt>
          <cx:pt idx="28463">2</cx:pt>
          <cx:pt idx="28464">1</cx:pt>
          <cx:pt idx="28465">4</cx:pt>
          <cx:pt idx="28466">3</cx:pt>
          <cx:pt idx="28467">4</cx:pt>
          <cx:pt idx="28468">5</cx:pt>
          <cx:pt idx="28469">4</cx:pt>
          <cx:pt idx="28470">4</cx:pt>
          <cx:pt idx="28471">3</cx:pt>
          <cx:pt idx="28472">1</cx:pt>
          <cx:pt idx="28473">4</cx:pt>
          <cx:pt idx="28474">4</cx:pt>
          <cx:pt idx="28475">3</cx:pt>
          <cx:pt idx="28476">2</cx:pt>
          <cx:pt idx="28477">2</cx:pt>
          <cx:pt idx="28478">2</cx:pt>
          <cx:pt idx="28479">4</cx:pt>
          <cx:pt idx="28480">1</cx:pt>
          <cx:pt idx="28481">2</cx:pt>
          <cx:pt idx="28482">2</cx:pt>
          <cx:pt idx="28483">5</cx:pt>
          <cx:pt idx="28484">3</cx:pt>
          <cx:pt idx="28485">1</cx:pt>
          <cx:pt idx="28486">3</cx:pt>
          <cx:pt idx="28487">1</cx:pt>
          <cx:pt idx="28488">3</cx:pt>
          <cx:pt idx="28489">2</cx:pt>
          <cx:pt idx="28490">3</cx:pt>
          <cx:pt idx="28491">3</cx:pt>
          <cx:pt idx="28492">3</cx:pt>
          <cx:pt idx="28493">2</cx:pt>
          <cx:pt idx="28494">5</cx:pt>
          <cx:pt idx="28495">5</cx:pt>
          <cx:pt idx="28496">2</cx:pt>
          <cx:pt idx="28497">3</cx:pt>
          <cx:pt idx="28498">3</cx:pt>
          <cx:pt idx="28499">5</cx:pt>
          <cx:pt idx="28500">4</cx:pt>
          <cx:pt idx="28501">4</cx:pt>
          <cx:pt idx="28502">5</cx:pt>
          <cx:pt idx="28503">3</cx:pt>
          <cx:pt idx="28504">5</cx:pt>
          <cx:pt idx="28505">2</cx:pt>
          <cx:pt idx="28506">4</cx:pt>
          <cx:pt idx="28507">5</cx:pt>
          <cx:pt idx="28508">2</cx:pt>
          <cx:pt idx="28509">3</cx:pt>
          <cx:pt idx="28510">3</cx:pt>
          <cx:pt idx="28511">1</cx:pt>
          <cx:pt idx="28512">3</cx:pt>
          <cx:pt idx="28513">1</cx:pt>
          <cx:pt idx="28514">1</cx:pt>
          <cx:pt idx="28515">5</cx:pt>
          <cx:pt idx="28516">2</cx:pt>
          <cx:pt idx="28517">5</cx:pt>
          <cx:pt idx="28518">3</cx:pt>
          <cx:pt idx="28519">2</cx:pt>
          <cx:pt idx="28520">4</cx:pt>
          <cx:pt idx="28521">4</cx:pt>
          <cx:pt idx="28522">2</cx:pt>
          <cx:pt idx="28523">4</cx:pt>
          <cx:pt idx="28524">2</cx:pt>
          <cx:pt idx="28525">3</cx:pt>
          <cx:pt idx="28526">4</cx:pt>
          <cx:pt idx="28527">2</cx:pt>
          <cx:pt idx="28528">5</cx:pt>
          <cx:pt idx="28529">3</cx:pt>
          <cx:pt idx="28530">2</cx:pt>
          <cx:pt idx="28531">2</cx:pt>
          <cx:pt idx="28532">2</cx:pt>
          <cx:pt idx="28533">2</cx:pt>
          <cx:pt idx="28534">1</cx:pt>
          <cx:pt idx="28535">2</cx:pt>
          <cx:pt idx="28536">2</cx:pt>
          <cx:pt idx="28537">1</cx:pt>
          <cx:pt idx="28538">3</cx:pt>
          <cx:pt idx="28539">5</cx:pt>
          <cx:pt idx="28540">4</cx:pt>
          <cx:pt idx="28541">0</cx:pt>
          <cx:pt idx="28542">4</cx:pt>
          <cx:pt idx="28543">5</cx:pt>
          <cx:pt idx="28544">1</cx:pt>
          <cx:pt idx="28545">1</cx:pt>
          <cx:pt idx="28546">1</cx:pt>
          <cx:pt idx="28547">2</cx:pt>
          <cx:pt idx="28548">1</cx:pt>
          <cx:pt idx="28549">3</cx:pt>
          <cx:pt idx="28550">3</cx:pt>
          <cx:pt idx="28551">1</cx:pt>
          <cx:pt idx="28552">1</cx:pt>
          <cx:pt idx="28553">1</cx:pt>
          <cx:pt idx="28554">3</cx:pt>
          <cx:pt idx="28555">2</cx:pt>
          <cx:pt idx="28556">3</cx:pt>
          <cx:pt idx="28557">5</cx:pt>
          <cx:pt idx="28558">1</cx:pt>
          <cx:pt idx="28559">1</cx:pt>
          <cx:pt idx="28560">4</cx:pt>
          <cx:pt idx="28561">4</cx:pt>
          <cx:pt idx="28562">2</cx:pt>
          <cx:pt idx="28563">2</cx:pt>
          <cx:pt idx="28564">3</cx:pt>
          <cx:pt idx="28565">3</cx:pt>
          <cx:pt idx="28566">1</cx:pt>
          <cx:pt idx="28567">1</cx:pt>
          <cx:pt idx="28568">2</cx:pt>
          <cx:pt idx="28569">4</cx:pt>
          <cx:pt idx="28570">1</cx:pt>
          <cx:pt idx="28571">2</cx:pt>
          <cx:pt idx="28572">2</cx:pt>
          <cx:pt idx="28573">5</cx:pt>
          <cx:pt idx="28574">2</cx:pt>
          <cx:pt idx="28575">5</cx:pt>
          <cx:pt idx="28576">3</cx:pt>
          <cx:pt idx="28577">3</cx:pt>
          <cx:pt idx="28578">2</cx:pt>
          <cx:pt idx="28579">4</cx:pt>
          <cx:pt idx="28580">4</cx:pt>
          <cx:pt idx="28581">3</cx:pt>
          <cx:pt idx="28582">2</cx:pt>
          <cx:pt idx="28583">2</cx:pt>
          <cx:pt idx="28584">3</cx:pt>
          <cx:pt idx="28585">1</cx:pt>
          <cx:pt idx="28586">1</cx:pt>
          <cx:pt idx="28587">2</cx:pt>
          <cx:pt idx="28588">3</cx:pt>
          <cx:pt idx="28589">2</cx:pt>
          <cx:pt idx="28590">3</cx:pt>
          <cx:pt idx="28591">2</cx:pt>
          <cx:pt idx="28592">2</cx:pt>
          <cx:pt idx="28593">0</cx:pt>
          <cx:pt idx="28594">1</cx:pt>
          <cx:pt idx="28595">4</cx:pt>
          <cx:pt idx="28596">5</cx:pt>
          <cx:pt idx="28597">5</cx:pt>
          <cx:pt idx="28598">3</cx:pt>
          <cx:pt idx="28599">4</cx:pt>
          <cx:pt idx="28600">4</cx:pt>
          <cx:pt idx="28601">5</cx:pt>
          <cx:pt idx="28602">3</cx:pt>
          <cx:pt idx="28603">5</cx:pt>
          <cx:pt idx="28604">4</cx:pt>
          <cx:pt idx="28605">2</cx:pt>
          <cx:pt idx="28606">1</cx:pt>
          <cx:pt idx="28607">2</cx:pt>
          <cx:pt idx="28608">4</cx:pt>
          <cx:pt idx="28609">0</cx:pt>
          <cx:pt idx="28610">2</cx:pt>
          <cx:pt idx="28611">1</cx:pt>
          <cx:pt idx="28612">2</cx:pt>
          <cx:pt idx="28613">4</cx:pt>
          <cx:pt idx="28614">1</cx:pt>
          <cx:pt idx="28615">5</cx:pt>
          <cx:pt idx="28616">0</cx:pt>
          <cx:pt idx="28617">3</cx:pt>
          <cx:pt idx="28618">2</cx:pt>
          <cx:pt idx="28619">3</cx:pt>
          <cx:pt idx="28620">2</cx:pt>
          <cx:pt idx="28621">4</cx:pt>
          <cx:pt idx="28622">1</cx:pt>
          <cx:pt idx="28623">2</cx:pt>
          <cx:pt idx="28624">2</cx:pt>
          <cx:pt idx="28625">3</cx:pt>
          <cx:pt idx="28626">4</cx:pt>
          <cx:pt idx="28627">4</cx:pt>
          <cx:pt idx="28628">5</cx:pt>
          <cx:pt idx="28629">3</cx:pt>
          <cx:pt idx="28630">3</cx:pt>
          <cx:pt idx="28631">1</cx:pt>
          <cx:pt idx="28632">2</cx:pt>
          <cx:pt idx="28633">3</cx:pt>
          <cx:pt idx="28634">5</cx:pt>
          <cx:pt idx="28635">1</cx:pt>
          <cx:pt idx="28636">4</cx:pt>
          <cx:pt idx="28637">3</cx:pt>
          <cx:pt idx="28638">3</cx:pt>
          <cx:pt idx="28639">3</cx:pt>
          <cx:pt idx="28640">5</cx:pt>
          <cx:pt idx="28641">5</cx:pt>
          <cx:pt idx="28642">3</cx:pt>
          <cx:pt idx="28643">2</cx:pt>
          <cx:pt idx="28644">2</cx:pt>
          <cx:pt idx="28645">5</cx:pt>
          <cx:pt idx="28646">3</cx:pt>
          <cx:pt idx="28647">2</cx:pt>
          <cx:pt idx="28648">2</cx:pt>
          <cx:pt idx="28649">1</cx:pt>
          <cx:pt idx="28650">2</cx:pt>
          <cx:pt idx="28651">2</cx:pt>
          <cx:pt idx="28652">2</cx:pt>
          <cx:pt idx="28653">3</cx:pt>
          <cx:pt idx="28654">2</cx:pt>
          <cx:pt idx="28655">3</cx:pt>
          <cx:pt idx="28656">5</cx:pt>
          <cx:pt idx="28657">3</cx:pt>
          <cx:pt idx="28658">2</cx:pt>
          <cx:pt idx="28659">1</cx:pt>
          <cx:pt idx="28660">3</cx:pt>
          <cx:pt idx="28661">3</cx:pt>
          <cx:pt idx="28662">2</cx:pt>
          <cx:pt idx="28663">4</cx:pt>
          <cx:pt idx="28664">2</cx:pt>
          <cx:pt idx="28665">2</cx:pt>
          <cx:pt idx="28666">1</cx:pt>
          <cx:pt idx="28667">5</cx:pt>
          <cx:pt idx="28668">2</cx:pt>
          <cx:pt idx="28669">3</cx:pt>
          <cx:pt idx="28670">2</cx:pt>
          <cx:pt idx="28671">3</cx:pt>
          <cx:pt idx="28672">2</cx:pt>
          <cx:pt idx="28673">1</cx:pt>
          <cx:pt idx="28674">3</cx:pt>
          <cx:pt idx="28675">1</cx:pt>
          <cx:pt idx="28676">1</cx:pt>
          <cx:pt idx="28677">2</cx:pt>
          <cx:pt idx="28678">2</cx:pt>
          <cx:pt idx="28679">5</cx:pt>
          <cx:pt idx="28680">2</cx:pt>
          <cx:pt idx="28681">1</cx:pt>
          <cx:pt idx="28682">4</cx:pt>
          <cx:pt idx="28683">1</cx:pt>
          <cx:pt idx="28684">2</cx:pt>
          <cx:pt idx="28685">2</cx:pt>
          <cx:pt idx="28686">0</cx:pt>
          <cx:pt idx="28687">3</cx:pt>
          <cx:pt idx="28688">5</cx:pt>
          <cx:pt idx="28689">3</cx:pt>
          <cx:pt idx="28690">5</cx:pt>
          <cx:pt idx="28691">0</cx:pt>
          <cx:pt idx="28692">1</cx:pt>
          <cx:pt idx="28693">3</cx:pt>
          <cx:pt idx="28694">3</cx:pt>
          <cx:pt idx="28695">1</cx:pt>
          <cx:pt idx="28696">1</cx:pt>
          <cx:pt idx="28697">1</cx:pt>
          <cx:pt idx="28698">5</cx:pt>
          <cx:pt idx="28699">2</cx:pt>
          <cx:pt idx="28700">5</cx:pt>
          <cx:pt idx="28701">2</cx:pt>
          <cx:pt idx="28702">4</cx:pt>
          <cx:pt idx="28703">4</cx:pt>
          <cx:pt idx="28704">3</cx:pt>
          <cx:pt idx="28705">4</cx:pt>
          <cx:pt idx="28706">3</cx:pt>
          <cx:pt idx="28707">5</cx:pt>
          <cx:pt idx="28708">4</cx:pt>
          <cx:pt idx="28709">1</cx:pt>
          <cx:pt idx="28710">2</cx:pt>
          <cx:pt idx="28711">0</cx:pt>
          <cx:pt idx="28712">2</cx:pt>
          <cx:pt idx="28713">1</cx:pt>
          <cx:pt idx="28714">3</cx:pt>
          <cx:pt idx="28715">3</cx:pt>
          <cx:pt idx="28716">2</cx:pt>
          <cx:pt idx="28717">3</cx:pt>
          <cx:pt idx="28718">3</cx:pt>
          <cx:pt idx="28719">3</cx:pt>
          <cx:pt idx="28720">2</cx:pt>
          <cx:pt idx="28721">5</cx:pt>
          <cx:pt idx="28722">4</cx:pt>
          <cx:pt idx="28723">2</cx:pt>
          <cx:pt idx="28724">1</cx:pt>
          <cx:pt idx="28725">2</cx:pt>
          <cx:pt idx="28726">2</cx:pt>
          <cx:pt idx="28727">1</cx:pt>
          <cx:pt idx="28728">1</cx:pt>
          <cx:pt idx="28729">1</cx:pt>
          <cx:pt idx="28730">5</cx:pt>
          <cx:pt idx="28731">4</cx:pt>
          <cx:pt idx="28732">3</cx:pt>
          <cx:pt idx="28733">4</cx:pt>
          <cx:pt idx="28734">3</cx:pt>
          <cx:pt idx="28735">5</cx:pt>
          <cx:pt idx="28736">5</cx:pt>
          <cx:pt idx="28737">5</cx:pt>
          <cx:pt idx="28738">3</cx:pt>
          <cx:pt idx="28739">4</cx:pt>
          <cx:pt idx="28740">4</cx:pt>
          <cx:pt idx="28741">2</cx:pt>
          <cx:pt idx="28742">3</cx:pt>
          <cx:pt idx="28743">3</cx:pt>
          <cx:pt idx="28744">5</cx:pt>
          <cx:pt idx="28745">4</cx:pt>
          <cx:pt idx="28746">2</cx:pt>
          <cx:pt idx="28747">3</cx:pt>
          <cx:pt idx="28748">0</cx:pt>
          <cx:pt idx="28749">3</cx:pt>
          <cx:pt idx="28750">4</cx:pt>
          <cx:pt idx="28751">5</cx:pt>
          <cx:pt idx="28752">3</cx:pt>
          <cx:pt idx="28753">1</cx:pt>
          <cx:pt idx="28754">1</cx:pt>
          <cx:pt idx="28755">0</cx:pt>
          <cx:pt idx="28756">5</cx:pt>
          <cx:pt idx="28757">2</cx:pt>
          <cx:pt idx="28758">5</cx:pt>
          <cx:pt idx="28759">1</cx:pt>
          <cx:pt idx="28760">3</cx:pt>
          <cx:pt idx="28761">2</cx:pt>
          <cx:pt idx="28762">2</cx:pt>
          <cx:pt idx="28763">3</cx:pt>
          <cx:pt idx="28764">2</cx:pt>
          <cx:pt idx="28765">5</cx:pt>
          <cx:pt idx="28766">4</cx:pt>
          <cx:pt idx="28767">2</cx:pt>
          <cx:pt idx="28768">4</cx:pt>
          <cx:pt idx="28769">2</cx:pt>
          <cx:pt idx="28770">0</cx:pt>
          <cx:pt idx="28771">1</cx:pt>
          <cx:pt idx="28772">4</cx:pt>
          <cx:pt idx="28773">2</cx:pt>
          <cx:pt idx="28774">2</cx:pt>
          <cx:pt idx="28775">3</cx:pt>
          <cx:pt idx="28776">4</cx:pt>
          <cx:pt idx="28777">1</cx:pt>
          <cx:pt idx="28778">5</cx:pt>
          <cx:pt idx="28779">2</cx:pt>
          <cx:pt idx="28780">3</cx:pt>
          <cx:pt idx="28781">1</cx:pt>
          <cx:pt idx="28782">3</cx:pt>
          <cx:pt idx="28783">2</cx:pt>
          <cx:pt idx="28784">2</cx:pt>
          <cx:pt idx="28785">1</cx:pt>
          <cx:pt idx="28786">3</cx:pt>
          <cx:pt idx="28787">2</cx:pt>
          <cx:pt idx="28788">4</cx:pt>
          <cx:pt idx="28789">1</cx:pt>
          <cx:pt idx="28790">1</cx:pt>
          <cx:pt idx="28791">1</cx:pt>
          <cx:pt idx="28792">5</cx:pt>
          <cx:pt idx="28793">4</cx:pt>
          <cx:pt idx="28794">1</cx:pt>
          <cx:pt idx="28795">3</cx:pt>
          <cx:pt idx="28796">1</cx:pt>
          <cx:pt idx="28797">5</cx:pt>
          <cx:pt idx="28798">1</cx:pt>
          <cx:pt idx="28799">3</cx:pt>
          <cx:pt idx="28800">5</cx:pt>
          <cx:pt idx="28801">2</cx:pt>
          <cx:pt idx="28802">5</cx:pt>
          <cx:pt idx="28803">1</cx:pt>
          <cx:pt idx="28804">3</cx:pt>
          <cx:pt idx="28805">4</cx:pt>
          <cx:pt idx="28806">4</cx:pt>
          <cx:pt idx="28807">1</cx:pt>
          <cx:pt idx="28808">4</cx:pt>
          <cx:pt idx="28809">3</cx:pt>
          <cx:pt idx="28810">3</cx:pt>
          <cx:pt idx="28811">2</cx:pt>
          <cx:pt idx="28812">4</cx:pt>
          <cx:pt idx="28813">5</cx:pt>
          <cx:pt idx="28814">1</cx:pt>
          <cx:pt idx="28815">3</cx:pt>
          <cx:pt idx="28816">1</cx:pt>
          <cx:pt idx="28817">4</cx:pt>
          <cx:pt idx="28818">1</cx:pt>
          <cx:pt idx="28819">1</cx:pt>
          <cx:pt idx="28820">1</cx:pt>
          <cx:pt idx="28821">3</cx:pt>
          <cx:pt idx="28822">5</cx:pt>
          <cx:pt idx="28823">4</cx:pt>
          <cx:pt idx="28824">1</cx:pt>
          <cx:pt idx="28825">3</cx:pt>
          <cx:pt idx="28826">2</cx:pt>
          <cx:pt idx="28827">2</cx:pt>
          <cx:pt idx="28828">3</cx:pt>
          <cx:pt idx="28829">3</cx:pt>
          <cx:pt idx="28830">4</cx:pt>
          <cx:pt idx="28831">2</cx:pt>
          <cx:pt idx="28832">2</cx:pt>
          <cx:pt idx="28833">2</cx:pt>
          <cx:pt idx="28834">2</cx:pt>
          <cx:pt idx="28835">3</cx:pt>
          <cx:pt idx="28836">4</cx:pt>
          <cx:pt idx="28837">3</cx:pt>
          <cx:pt idx="28838">2</cx:pt>
          <cx:pt idx="28839">3</cx:pt>
          <cx:pt idx="28840">2</cx:pt>
          <cx:pt idx="28841">1</cx:pt>
          <cx:pt idx="28842">5</cx:pt>
          <cx:pt idx="28843">4</cx:pt>
          <cx:pt idx="28844">3</cx:pt>
          <cx:pt idx="28845">2</cx:pt>
          <cx:pt idx="28846">1</cx:pt>
          <cx:pt idx="28847">4</cx:pt>
          <cx:pt idx="28848">2</cx:pt>
          <cx:pt idx="28849">2</cx:pt>
          <cx:pt idx="28850">5</cx:pt>
          <cx:pt idx="28851">2</cx:pt>
          <cx:pt idx="28852">5</cx:pt>
          <cx:pt idx="28853">4</cx:pt>
          <cx:pt idx="28854">4</cx:pt>
          <cx:pt idx="28855">5</cx:pt>
          <cx:pt idx="28856">4</cx:pt>
          <cx:pt idx="28857">1</cx:pt>
          <cx:pt idx="28858">3</cx:pt>
          <cx:pt idx="28859">2</cx:pt>
          <cx:pt idx="28860">2</cx:pt>
          <cx:pt idx="28861">2</cx:pt>
          <cx:pt idx="28862">1</cx:pt>
          <cx:pt idx="28863">5</cx:pt>
          <cx:pt idx="28864">3</cx:pt>
          <cx:pt idx="28865">4</cx:pt>
          <cx:pt idx="28866">5</cx:pt>
          <cx:pt idx="28867">5</cx:pt>
          <cx:pt idx="28868">3</cx:pt>
          <cx:pt idx="28869">2</cx:pt>
          <cx:pt idx="28870">3</cx:pt>
          <cx:pt idx="28871">2</cx:pt>
          <cx:pt idx="28872">1</cx:pt>
          <cx:pt idx="28873">0</cx:pt>
          <cx:pt idx="28874">3</cx:pt>
          <cx:pt idx="28875">3</cx:pt>
          <cx:pt idx="28876">1</cx:pt>
          <cx:pt idx="28877">5</cx:pt>
          <cx:pt idx="28878">5</cx:pt>
          <cx:pt idx="28879">4</cx:pt>
          <cx:pt idx="28880">1</cx:pt>
          <cx:pt idx="28881">1</cx:pt>
          <cx:pt idx="28882">3</cx:pt>
          <cx:pt idx="28883">3</cx:pt>
          <cx:pt idx="28884">2</cx:pt>
          <cx:pt idx="28885">1</cx:pt>
          <cx:pt idx="28886">2</cx:pt>
          <cx:pt idx="28887">3</cx:pt>
          <cx:pt idx="28888">3</cx:pt>
          <cx:pt idx="28889">2</cx:pt>
          <cx:pt idx="28890">0</cx:pt>
          <cx:pt idx="28891">5</cx:pt>
          <cx:pt idx="28892">4</cx:pt>
          <cx:pt idx="28893">5</cx:pt>
          <cx:pt idx="28894">2</cx:pt>
          <cx:pt idx="28895">5</cx:pt>
          <cx:pt idx="28896">4</cx:pt>
          <cx:pt idx="28897">3</cx:pt>
          <cx:pt idx="28898">5</cx:pt>
          <cx:pt idx="28899">1</cx:pt>
          <cx:pt idx="28900">4</cx:pt>
          <cx:pt idx="28901">5</cx:pt>
          <cx:pt idx="28902">2</cx:pt>
          <cx:pt idx="28903">3</cx:pt>
          <cx:pt idx="28904">5</cx:pt>
          <cx:pt idx="28905">3</cx:pt>
          <cx:pt idx="28906">5</cx:pt>
          <cx:pt idx="28907">3</cx:pt>
          <cx:pt idx="28908">0</cx:pt>
          <cx:pt idx="28909">4</cx:pt>
          <cx:pt idx="28910">4</cx:pt>
          <cx:pt idx="28911">4</cx:pt>
          <cx:pt idx="28912">2</cx:pt>
          <cx:pt idx="28913">5</cx:pt>
          <cx:pt idx="28914">4</cx:pt>
          <cx:pt idx="28915">1</cx:pt>
          <cx:pt idx="28916">2</cx:pt>
          <cx:pt idx="28917">2</cx:pt>
          <cx:pt idx="28918">0</cx:pt>
          <cx:pt idx="28919">2</cx:pt>
          <cx:pt idx="28920">3</cx:pt>
          <cx:pt idx="28921">1</cx:pt>
          <cx:pt idx="28922">0</cx:pt>
          <cx:pt idx="28923">3</cx:pt>
          <cx:pt idx="28924">0</cx:pt>
          <cx:pt idx="28925">4</cx:pt>
          <cx:pt idx="28926">1</cx:pt>
          <cx:pt idx="28927">2</cx:pt>
          <cx:pt idx="28928">1</cx:pt>
          <cx:pt idx="28929">4</cx:pt>
          <cx:pt idx="28930">2</cx:pt>
          <cx:pt idx="28931">3</cx:pt>
          <cx:pt idx="28932">2</cx:pt>
          <cx:pt idx="28933">2</cx:pt>
          <cx:pt idx="28934">2</cx:pt>
          <cx:pt idx="28935">3</cx:pt>
          <cx:pt idx="28936">2</cx:pt>
          <cx:pt idx="28937">5</cx:pt>
          <cx:pt idx="28938">1</cx:pt>
          <cx:pt idx="28939">3</cx:pt>
          <cx:pt idx="28940">2</cx:pt>
          <cx:pt idx="28941">2</cx:pt>
          <cx:pt idx="28942">5</cx:pt>
          <cx:pt idx="28943">5</cx:pt>
          <cx:pt idx="28944">2</cx:pt>
          <cx:pt idx="28945">5</cx:pt>
          <cx:pt idx="28946">5</cx:pt>
          <cx:pt idx="28947">4</cx:pt>
          <cx:pt idx="28948">2</cx:pt>
          <cx:pt idx="28949">4</cx:pt>
          <cx:pt idx="28950">2</cx:pt>
          <cx:pt idx="28951">4</cx:pt>
          <cx:pt idx="28952">4</cx:pt>
          <cx:pt idx="28953">4</cx:pt>
          <cx:pt idx="28954">2</cx:pt>
          <cx:pt idx="28955">3</cx:pt>
          <cx:pt idx="28956">2</cx:pt>
          <cx:pt idx="28957">2</cx:pt>
          <cx:pt idx="28958">2</cx:pt>
          <cx:pt idx="28959">3</cx:pt>
          <cx:pt idx="28960">5</cx:pt>
          <cx:pt idx="28961">3</cx:pt>
          <cx:pt idx="28962">1</cx:pt>
          <cx:pt idx="28963">1</cx:pt>
          <cx:pt idx="28964">3</cx:pt>
          <cx:pt idx="28965">3</cx:pt>
          <cx:pt idx="28966">2</cx:pt>
          <cx:pt idx="28967">2</cx:pt>
          <cx:pt idx="28968">2</cx:pt>
          <cx:pt idx="28969">1</cx:pt>
          <cx:pt idx="28970">5</cx:pt>
          <cx:pt idx="28971">2</cx:pt>
          <cx:pt idx="28972">4</cx:pt>
          <cx:pt idx="28973">1</cx:pt>
          <cx:pt idx="28974">3</cx:pt>
          <cx:pt idx="28975">3</cx:pt>
          <cx:pt idx="28976">1</cx:pt>
          <cx:pt idx="28977">1</cx:pt>
          <cx:pt idx="28978">1</cx:pt>
          <cx:pt idx="28979">4</cx:pt>
          <cx:pt idx="28980">2</cx:pt>
          <cx:pt idx="28981">3</cx:pt>
          <cx:pt idx="28982">2</cx:pt>
          <cx:pt idx="28983">0</cx:pt>
          <cx:pt idx="28984">3</cx:pt>
          <cx:pt idx="28985">1</cx:pt>
          <cx:pt idx="28986">5</cx:pt>
          <cx:pt idx="28987">1</cx:pt>
          <cx:pt idx="28988">4</cx:pt>
          <cx:pt idx="28989">1</cx:pt>
          <cx:pt idx="28990">3</cx:pt>
          <cx:pt idx="28991">2</cx:pt>
          <cx:pt idx="28992">2</cx:pt>
          <cx:pt idx="28993">2</cx:pt>
          <cx:pt idx="28994">3</cx:pt>
          <cx:pt idx="28995">2</cx:pt>
          <cx:pt idx="28996">2</cx:pt>
          <cx:pt idx="28997">3</cx:pt>
          <cx:pt idx="28998">1</cx:pt>
          <cx:pt idx="28999">3</cx:pt>
          <cx:pt idx="29000">1</cx:pt>
          <cx:pt idx="29001">5</cx:pt>
          <cx:pt idx="29002">5</cx:pt>
          <cx:pt idx="29003">3</cx:pt>
          <cx:pt idx="29004">2</cx:pt>
          <cx:pt idx="29005">2</cx:pt>
          <cx:pt idx="29006">3</cx:pt>
          <cx:pt idx="29007">1</cx:pt>
          <cx:pt idx="29008">3</cx:pt>
          <cx:pt idx="29009">3</cx:pt>
          <cx:pt idx="29010">1</cx:pt>
          <cx:pt idx="29011">3</cx:pt>
          <cx:pt idx="29012">4</cx:pt>
          <cx:pt idx="29013">3</cx:pt>
          <cx:pt idx="29014">4</cx:pt>
          <cx:pt idx="29015">1</cx:pt>
          <cx:pt idx="29016">3</cx:pt>
          <cx:pt idx="29017">3</cx:pt>
          <cx:pt idx="29018">1</cx:pt>
          <cx:pt idx="29019">5</cx:pt>
          <cx:pt idx="29020">1</cx:pt>
          <cx:pt idx="29021">4</cx:pt>
          <cx:pt idx="29022">4</cx:pt>
          <cx:pt idx="29023">0</cx:pt>
          <cx:pt idx="29024">0</cx:pt>
          <cx:pt idx="29025">4</cx:pt>
          <cx:pt idx="29026">0</cx:pt>
          <cx:pt idx="29027">1</cx:pt>
          <cx:pt idx="29028">2</cx:pt>
          <cx:pt idx="29029">4</cx:pt>
          <cx:pt idx="29030">3</cx:pt>
          <cx:pt idx="29031">1</cx:pt>
          <cx:pt idx="29032">4</cx:pt>
          <cx:pt idx="29033">2</cx:pt>
          <cx:pt idx="29034">4</cx:pt>
          <cx:pt idx="29035">2</cx:pt>
          <cx:pt idx="29036">2</cx:pt>
          <cx:pt idx="29037">3</cx:pt>
          <cx:pt idx="29038">5</cx:pt>
          <cx:pt idx="29039">3</cx:pt>
          <cx:pt idx="29040">2</cx:pt>
          <cx:pt idx="29041">1</cx:pt>
          <cx:pt idx="29042">3</cx:pt>
          <cx:pt idx="29043">4</cx:pt>
          <cx:pt idx="29044">2</cx:pt>
          <cx:pt idx="29045">4</cx:pt>
          <cx:pt idx="29046">0</cx:pt>
          <cx:pt idx="29047">4</cx:pt>
          <cx:pt idx="29048">4</cx:pt>
          <cx:pt idx="29049">3</cx:pt>
          <cx:pt idx="29050">1</cx:pt>
          <cx:pt idx="29051">3</cx:pt>
          <cx:pt idx="29052">1</cx:pt>
          <cx:pt idx="29053">5</cx:pt>
          <cx:pt idx="29054">5</cx:pt>
          <cx:pt idx="29055">2</cx:pt>
          <cx:pt idx="29056">5</cx:pt>
          <cx:pt idx="29057">2</cx:pt>
          <cx:pt idx="29058">2</cx:pt>
          <cx:pt idx="29059">1</cx:pt>
          <cx:pt idx="29060">5</cx:pt>
          <cx:pt idx="29061">3</cx:pt>
          <cx:pt idx="29062">1</cx:pt>
          <cx:pt idx="29063">2</cx:pt>
          <cx:pt idx="29064">1</cx:pt>
          <cx:pt idx="29065">5</cx:pt>
          <cx:pt idx="29066">3</cx:pt>
          <cx:pt idx="29067">4</cx:pt>
          <cx:pt idx="29068">3</cx:pt>
          <cx:pt idx="29069">2</cx:pt>
          <cx:pt idx="29070">0</cx:pt>
          <cx:pt idx="29071">4</cx:pt>
          <cx:pt idx="29072">2</cx:pt>
          <cx:pt idx="29073">2</cx:pt>
          <cx:pt idx="29074">4</cx:pt>
          <cx:pt idx="29075">1</cx:pt>
          <cx:pt idx="29076">1</cx:pt>
          <cx:pt idx="29077">4</cx:pt>
          <cx:pt idx="29078">1</cx:pt>
          <cx:pt idx="29079">0</cx:pt>
          <cx:pt idx="29080">4</cx:pt>
          <cx:pt idx="29081">1</cx:pt>
          <cx:pt idx="29082">5</cx:pt>
          <cx:pt idx="29083">2</cx:pt>
          <cx:pt idx="29084">2</cx:pt>
          <cx:pt idx="29085">1</cx:pt>
          <cx:pt idx="29086">2</cx:pt>
          <cx:pt idx="29087">0</cx:pt>
          <cx:pt idx="29088">3</cx:pt>
          <cx:pt idx="29089">2</cx:pt>
          <cx:pt idx="29090">4</cx:pt>
          <cx:pt idx="29091">2</cx:pt>
          <cx:pt idx="29092">2</cx:pt>
          <cx:pt idx="29093">1</cx:pt>
          <cx:pt idx="29094">2</cx:pt>
          <cx:pt idx="29095">2</cx:pt>
          <cx:pt idx="29096">3</cx:pt>
          <cx:pt idx="29097">4</cx:pt>
          <cx:pt idx="29098">1</cx:pt>
          <cx:pt idx="29099">2</cx:pt>
          <cx:pt idx="29100">4</cx:pt>
          <cx:pt idx="29101">2</cx:pt>
          <cx:pt idx="29102">1</cx:pt>
          <cx:pt idx="29103">5</cx:pt>
          <cx:pt idx="29104">5</cx:pt>
          <cx:pt idx="29105">1</cx:pt>
          <cx:pt idx="29106">3</cx:pt>
          <cx:pt idx="29107">3</cx:pt>
          <cx:pt idx="29108">2</cx:pt>
          <cx:pt idx="29109">2</cx:pt>
          <cx:pt idx="29110">3</cx:pt>
          <cx:pt idx="29111">4</cx:pt>
          <cx:pt idx="29112">1</cx:pt>
          <cx:pt idx="29113">5</cx:pt>
          <cx:pt idx="29114">3</cx:pt>
          <cx:pt idx="29115">4</cx:pt>
          <cx:pt idx="29116">1</cx:pt>
          <cx:pt idx="29117">2</cx:pt>
          <cx:pt idx="29118">3</cx:pt>
          <cx:pt idx="29119">1</cx:pt>
          <cx:pt idx="29120">5</cx:pt>
          <cx:pt idx="29121">5</cx:pt>
          <cx:pt idx="29122">1</cx:pt>
          <cx:pt idx="29123">2</cx:pt>
          <cx:pt idx="29124">3</cx:pt>
          <cx:pt idx="29125">0</cx:pt>
          <cx:pt idx="29126">1</cx:pt>
          <cx:pt idx="29127">1</cx:pt>
          <cx:pt idx="29128">5</cx:pt>
          <cx:pt idx="29129">5</cx:pt>
          <cx:pt idx="29130">3</cx:pt>
          <cx:pt idx="29131">2</cx:pt>
          <cx:pt idx="29132">2</cx:pt>
          <cx:pt idx="29133">3</cx:pt>
          <cx:pt idx="29134">5</cx:pt>
          <cx:pt idx="29135">1</cx:pt>
          <cx:pt idx="29136">2</cx:pt>
          <cx:pt idx="29137">1</cx:pt>
          <cx:pt idx="29138">3</cx:pt>
          <cx:pt idx="29139">3</cx:pt>
          <cx:pt idx="29140">4</cx:pt>
          <cx:pt idx="29141">1</cx:pt>
          <cx:pt idx="29142">2</cx:pt>
          <cx:pt idx="29143">3</cx:pt>
          <cx:pt idx="29144">1</cx:pt>
          <cx:pt idx="29145">3</cx:pt>
          <cx:pt idx="29146">4</cx:pt>
          <cx:pt idx="29147">5</cx:pt>
          <cx:pt idx="29148">0</cx:pt>
          <cx:pt idx="29149">3</cx:pt>
          <cx:pt idx="29150">4</cx:pt>
          <cx:pt idx="29151">4</cx:pt>
          <cx:pt idx="29152">0</cx:pt>
          <cx:pt idx="29153">1</cx:pt>
          <cx:pt idx="29154">2</cx:pt>
          <cx:pt idx="29155">3</cx:pt>
          <cx:pt idx="29156">1</cx:pt>
          <cx:pt idx="29157">4</cx:pt>
          <cx:pt idx="29158">4</cx:pt>
          <cx:pt idx="29159">3</cx:pt>
          <cx:pt idx="29160">4</cx:pt>
          <cx:pt idx="29161">4</cx:pt>
          <cx:pt idx="29162">2</cx:pt>
          <cx:pt idx="29163">3</cx:pt>
          <cx:pt idx="29164">1</cx:pt>
          <cx:pt idx="29165">1</cx:pt>
          <cx:pt idx="29166">3</cx:pt>
          <cx:pt idx="29167">4</cx:pt>
          <cx:pt idx="29168">2</cx:pt>
          <cx:pt idx="29169">2</cx:pt>
          <cx:pt idx="29170">4</cx:pt>
          <cx:pt idx="29171">3</cx:pt>
          <cx:pt idx="29172">2</cx:pt>
          <cx:pt idx="29173">2</cx:pt>
          <cx:pt idx="29174">4</cx:pt>
          <cx:pt idx="29175">2</cx:pt>
          <cx:pt idx="29176">1</cx:pt>
          <cx:pt idx="29177">3</cx:pt>
          <cx:pt idx="29178">4</cx:pt>
          <cx:pt idx="29179">4</cx:pt>
          <cx:pt idx="29180">2</cx:pt>
          <cx:pt idx="29181">2</cx:pt>
          <cx:pt idx="29182">0</cx:pt>
          <cx:pt idx="29183">3</cx:pt>
          <cx:pt idx="29184">2</cx:pt>
          <cx:pt idx="29185">3</cx:pt>
          <cx:pt idx="29186">5</cx:pt>
          <cx:pt idx="29187">4</cx:pt>
          <cx:pt idx="29188">3</cx:pt>
          <cx:pt idx="29189">1</cx:pt>
          <cx:pt idx="29190">2</cx:pt>
          <cx:pt idx="29191">0</cx:pt>
          <cx:pt idx="29192">2</cx:pt>
          <cx:pt idx="29193">3</cx:pt>
          <cx:pt idx="29194">3</cx:pt>
          <cx:pt idx="29195">4</cx:pt>
          <cx:pt idx="29196">1</cx:pt>
          <cx:pt idx="29197">3</cx:pt>
          <cx:pt idx="29198">2</cx:pt>
          <cx:pt idx="29199">3</cx:pt>
          <cx:pt idx="29200">5</cx:pt>
          <cx:pt idx="29201">3</cx:pt>
          <cx:pt idx="29202">3</cx:pt>
          <cx:pt idx="29203">3</cx:pt>
          <cx:pt idx="29204">5</cx:pt>
          <cx:pt idx="29205">3</cx:pt>
          <cx:pt idx="29206">3</cx:pt>
          <cx:pt idx="29207">4</cx:pt>
          <cx:pt idx="29208">0</cx:pt>
          <cx:pt idx="29209">5</cx:pt>
          <cx:pt idx="29210">4</cx:pt>
          <cx:pt idx="29211">3</cx:pt>
          <cx:pt idx="29212">2</cx:pt>
          <cx:pt idx="29213">4</cx:pt>
          <cx:pt idx="29214">1</cx:pt>
          <cx:pt idx="29215">3</cx:pt>
          <cx:pt idx="29216">3</cx:pt>
          <cx:pt idx="29217">4</cx:pt>
          <cx:pt idx="29218">4</cx:pt>
          <cx:pt idx="29219">3</cx:pt>
          <cx:pt idx="29220">1</cx:pt>
          <cx:pt idx="29221">4</cx:pt>
          <cx:pt idx="29222">3</cx:pt>
          <cx:pt idx="29223">2</cx:pt>
          <cx:pt idx="29224">2</cx:pt>
          <cx:pt idx="29225">1</cx:pt>
          <cx:pt idx="29226">3</cx:pt>
          <cx:pt idx="29227">3</cx:pt>
          <cx:pt idx="29228">0</cx:pt>
          <cx:pt idx="29229">2</cx:pt>
          <cx:pt idx="29230">2</cx:pt>
          <cx:pt idx="29231">2</cx:pt>
          <cx:pt idx="29232">3</cx:pt>
          <cx:pt idx="29233">3</cx:pt>
          <cx:pt idx="29234">2</cx:pt>
          <cx:pt idx="29235">3</cx:pt>
          <cx:pt idx="29236">4</cx:pt>
          <cx:pt idx="29237">2</cx:pt>
          <cx:pt idx="29238">5</cx:pt>
          <cx:pt idx="29239">3</cx:pt>
          <cx:pt idx="29240">2</cx:pt>
          <cx:pt idx="29241">3</cx:pt>
          <cx:pt idx="29242">3</cx:pt>
          <cx:pt idx="29243">4</cx:pt>
          <cx:pt idx="29244">2</cx:pt>
          <cx:pt idx="29245">1</cx:pt>
          <cx:pt idx="29246">2</cx:pt>
          <cx:pt idx="29247">5</cx:pt>
          <cx:pt idx="29248">3</cx:pt>
          <cx:pt idx="29249">2</cx:pt>
          <cx:pt idx="29250">2</cx:pt>
          <cx:pt idx="29251">2</cx:pt>
          <cx:pt idx="29252">4</cx:pt>
          <cx:pt idx="29253">3</cx:pt>
          <cx:pt idx="29254">3</cx:pt>
          <cx:pt idx="29255">2</cx:pt>
          <cx:pt idx="29256">3</cx:pt>
          <cx:pt idx="29257">4</cx:pt>
          <cx:pt idx="29258">1</cx:pt>
          <cx:pt idx="29259">3</cx:pt>
          <cx:pt idx="29260">4</cx:pt>
          <cx:pt idx="29261">1</cx:pt>
          <cx:pt idx="29262">4</cx:pt>
          <cx:pt idx="29263">4</cx:pt>
          <cx:pt idx="29264">5</cx:pt>
          <cx:pt idx="29265">4</cx:pt>
          <cx:pt idx="29266">2</cx:pt>
          <cx:pt idx="29267">4</cx:pt>
          <cx:pt idx="29268">3</cx:pt>
          <cx:pt idx="29269">1</cx:pt>
          <cx:pt idx="29270">1</cx:pt>
          <cx:pt idx="29271">5</cx:pt>
          <cx:pt idx="29272">4</cx:pt>
          <cx:pt idx="29273">4</cx:pt>
          <cx:pt idx="29274">4</cx:pt>
          <cx:pt idx="29275">4</cx:pt>
          <cx:pt idx="29276">5</cx:pt>
          <cx:pt idx="29277">5</cx:pt>
          <cx:pt idx="29278">2</cx:pt>
          <cx:pt idx="29279">3</cx:pt>
          <cx:pt idx="29280">3</cx:pt>
          <cx:pt idx="29281">5</cx:pt>
          <cx:pt idx="29282">5</cx:pt>
          <cx:pt idx="29283">0</cx:pt>
          <cx:pt idx="29284">1</cx:pt>
          <cx:pt idx="29285">2</cx:pt>
          <cx:pt idx="29286">5</cx:pt>
          <cx:pt idx="29287">4</cx:pt>
          <cx:pt idx="29288">1</cx:pt>
          <cx:pt idx="29289">3</cx:pt>
          <cx:pt idx="29290">3</cx:pt>
          <cx:pt idx="29291">5</cx:pt>
          <cx:pt idx="29292">5</cx:pt>
          <cx:pt idx="29293">4</cx:pt>
          <cx:pt idx="29294">3</cx:pt>
          <cx:pt idx="29295">2</cx:pt>
          <cx:pt idx="29296">2</cx:pt>
          <cx:pt idx="29297">4</cx:pt>
          <cx:pt idx="29298">5</cx:pt>
          <cx:pt idx="29299">1</cx:pt>
          <cx:pt idx="29300">2</cx:pt>
          <cx:pt idx="29301">3</cx:pt>
          <cx:pt idx="29302">4</cx:pt>
          <cx:pt idx="29303">3</cx:pt>
          <cx:pt idx="29304">5</cx:pt>
          <cx:pt idx="29305">1</cx:pt>
          <cx:pt idx="29306">4</cx:pt>
          <cx:pt idx="29307">1</cx:pt>
          <cx:pt idx="29308">3</cx:pt>
          <cx:pt idx="29309">3</cx:pt>
          <cx:pt idx="29310">5</cx:pt>
          <cx:pt idx="29311">4</cx:pt>
          <cx:pt idx="29312">1</cx:pt>
          <cx:pt idx="29313">2</cx:pt>
          <cx:pt idx="29314">2</cx:pt>
          <cx:pt idx="29315">3</cx:pt>
          <cx:pt idx="29316">5</cx:pt>
          <cx:pt idx="29317">5</cx:pt>
          <cx:pt idx="29318">2</cx:pt>
          <cx:pt idx="29319">3</cx:pt>
          <cx:pt idx="29320">3</cx:pt>
          <cx:pt idx="29321">3</cx:pt>
          <cx:pt idx="29322">3</cx:pt>
          <cx:pt idx="29323">4</cx:pt>
          <cx:pt idx="29324">4</cx:pt>
          <cx:pt idx="29325">1</cx:pt>
          <cx:pt idx="29326">4</cx:pt>
          <cx:pt idx="29327">0</cx:pt>
          <cx:pt idx="29328">3</cx:pt>
          <cx:pt idx="29329">0</cx:pt>
          <cx:pt idx="29330">2</cx:pt>
          <cx:pt idx="29331">4</cx:pt>
          <cx:pt idx="29332">2</cx:pt>
          <cx:pt idx="29333">5</cx:pt>
          <cx:pt idx="29334">3</cx:pt>
          <cx:pt idx="29335">1</cx:pt>
          <cx:pt idx="29336">3</cx:pt>
          <cx:pt idx="29337">0</cx:pt>
          <cx:pt idx="29338">4</cx:pt>
          <cx:pt idx="29339">3</cx:pt>
          <cx:pt idx="29340">2</cx:pt>
          <cx:pt idx="29341">2</cx:pt>
          <cx:pt idx="29342">1</cx:pt>
          <cx:pt idx="29343">4</cx:pt>
          <cx:pt idx="29344">4</cx:pt>
          <cx:pt idx="29345">3</cx:pt>
          <cx:pt idx="29346">1</cx:pt>
          <cx:pt idx="29347">3</cx:pt>
          <cx:pt idx="29348">0</cx:pt>
          <cx:pt idx="29349">2</cx:pt>
          <cx:pt idx="29350">4</cx:pt>
          <cx:pt idx="29351">5</cx:pt>
          <cx:pt idx="29352">3</cx:pt>
          <cx:pt idx="29353">5</cx:pt>
          <cx:pt idx="29354">2</cx:pt>
          <cx:pt idx="29355">2</cx:pt>
          <cx:pt idx="29356">2</cx:pt>
          <cx:pt idx="29357">1</cx:pt>
          <cx:pt idx="29358">2</cx:pt>
          <cx:pt idx="29359">5</cx:pt>
          <cx:pt idx="29360">5</cx:pt>
          <cx:pt idx="29361">2</cx:pt>
          <cx:pt idx="29362">2</cx:pt>
          <cx:pt idx="29363">1</cx:pt>
          <cx:pt idx="29364">1</cx:pt>
          <cx:pt idx="29365">4</cx:pt>
          <cx:pt idx="29366">2</cx:pt>
          <cx:pt idx="29367">2</cx:pt>
          <cx:pt idx="29368">2</cx:pt>
          <cx:pt idx="29369">2</cx:pt>
          <cx:pt idx="29370">5</cx:pt>
          <cx:pt idx="29371">3</cx:pt>
          <cx:pt idx="29372">3</cx:pt>
          <cx:pt idx="29373">4</cx:pt>
          <cx:pt idx="29374">2</cx:pt>
          <cx:pt idx="29375">3</cx:pt>
          <cx:pt idx="29376">4</cx:pt>
          <cx:pt idx="29377">1</cx:pt>
          <cx:pt idx="29378">3</cx:pt>
          <cx:pt idx="29379">4</cx:pt>
          <cx:pt idx="29380">4</cx:pt>
          <cx:pt idx="29381">5</cx:pt>
          <cx:pt idx="29382">5</cx:pt>
          <cx:pt idx="29383">0</cx:pt>
          <cx:pt idx="29384">4</cx:pt>
          <cx:pt idx="29385">3</cx:pt>
          <cx:pt idx="29386">5</cx:pt>
          <cx:pt idx="29387">3</cx:pt>
          <cx:pt idx="29388">1</cx:pt>
          <cx:pt idx="29389">2</cx:pt>
          <cx:pt idx="29390">5</cx:pt>
          <cx:pt idx="29391">5</cx:pt>
          <cx:pt idx="29392">4</cx:pt>
          <cx:pt idx="29393">4</cx:pt>
          <cx:pt idx="29394">3</cx:pt>
          <cx:pt idx="29395">3</cx:pt>
          <cx:pt idx="29396">1</cx:pt>
          <cx:pt idx="29397">4</cx:pt>
          <cx:pt idx="29398">2</cx:pt>
          <cx:pt idx="29399">3</cx:pt>
          <cx:pt idx="29400">3</cx:pt>
          <cx:pt idx="29401">1</cx:pt>
          <cx:pt idx="29402">2</cx:pt>
          <cx:pt idx="29403">1</cx:pt>
          <cx:pt idx="29404">1</cx:pt>
          <cx:pt idx="29405">5</cx:pt>
          <cx:pt idx="29406">3</cx:pt>
          <cx:pt idx="29407">4</cx:pt>
          <cx:pt idx="29408">2</cx:pt>
          <cx:pt idx="29409">5</cx:pt>
          <cx:pt idx="29410">4</cx:pt>
          <cx:pt idx="29411">1</cx:pt>
          <cx:pt idx="29412">2</cx:pt>
          <cx:pt idx="29413">1</cx:pt>
          <cx:pt idx="29414">3</cx:pt>
          <cx:pt idx="29415">1</cx:pt>
          <cx:pt idx="29416">2</cx:pt>
          <cx:pt idx="29417">3</cx:pt>
          <cx:pt idx="29418">5</cx:pt>
          <cx:pt idx="29419">2</cx:pt>
          <cx:pt idx="29420">1</cx:pt>
          <cx:pt idx="29421">5</cx:pt>
          <cx:pt idx="29422">5</cx:pt>
          <cx:pt idx="29423">1</cx:pt>
          <cx:pt idx="29424">4</cx:pt>
          <cx:pt idx="29425">4</cx:pt>
          <cx:pt idx="29426">4</cx:pt>
          <cx:pt idx="29427">3</cx:pt>
          <cx:pt idx="29428">1</cx:pt>
          <cx:pt idx="29429">0</cx:pt>
          <cx:pt idx="29430">3</cx:pt>
          <cx:pt idx="29431">2</cx:pt>
          <cx:pt idx="29432">3</cx:pt>
          <cx:pt idx="29433">3</cx:pt>
          <cx:pt idx="29434">2</cx:pt>
          <cx:pt idx="29435">3</cx:pt>
          <cx:pt idx="29436">3</cx:pt>
          <cx:pt idx="29437">1</cx:pt>
          <cx:pt idx="29438">3</cx:pt>
          <cx:pt idx="29439">2</cx:pt>
          <cx:pt idx="29440">3</cx:pt>
          <cx:pt idx="29441">3</cx:pt>
          <cx:pt idx="29442">2</cx:pt>
          <cx:pt idx="29443">3</cx:pt>
          <cx:pt idx="29444">2</cx:pt>
          <cx:pt idx="29445">2</cx:pt>
          <cx:pt idx="29446">3</cx:pt>
          <cx:pt idx="29447">3</cx:pt>
          <cx:pt idx="29448">3</cx:pt>
          <cx:pt idx="29449">4</cx:pt>
          <cx:pt idx="29450">4</cx:pt>
          <cx:pt idx="29451">2</cx:pt>
          <cx:pt idx="29452">0</cx:pt>
          <cx:pt idx="29453">3</cx:pt>
          <cx:pt idx="29454">2</cx:pt>
          <cx:pt idx="29455">1</cx:pt>
          <cx:pt idx="29456">5</cx:pt>
          <cx:pt idx="29457">1</cx:pt>
          <cx:pt idx="29458">2</cx:pt>
          <cx:pt idx="29459">2</cx:pt>
          <cx:pt idx="29460">3</cx:pt>
          <cx:pt idx="29461">2</cx:pt>
          <cx:pt idx="29462">1</cx:pt>
          <cx:pt idx="29463">5</cx:pt>
          <cx:pt idx="29464">2</cx:pt>
          <cx:pt idx="29465">2</cx:pt>
          <cx:pt idx="29466">1</cx:pt>
          <cx:pt idx="29467">2</cx:pt>
          <cx:pt idx="29468">2</cx:pt>
          <cx:pt idx="29469">4</cx:pt>
          <cx:pt idx="29470">2</cx:pt>
          <cx:pt idx="29471">2</cx:pt>
          <cx:pt idx="29472">2</cx:pt>
          <cx:pt idx="29473">2</cx:pt>
          <cx:pt idx="29474">4</cx:pt>
          <cx:pt idx="29475">4</cx:pt>
          <cx:pt idx="29476">2</cx:pt>
          <cx:pt idx="29477">1</cx:pt>
          <cx:pt idx="29478">3</cx:pt>
          <cx:pt idx="29479">5</cx:pt>
          <cx:pt idx="29480">2</cx:pt>
          <cx:pt idx="29481">2</cx:pt>
          <cx:pt idx="29482">3</cx:pt>
          <cx:pt idx="29483">2</cx:pt>
          <cx:pt idx="29484">2</cx:pt>
          <cx:pt idx="29485">4</cx:pt>
          <cx:pt idx="29486">2</cx:pt>
          <cx:pt idx="29487">3</cx:pt>
          <cx:pt idx="29488">2</cx:pt>
          <cx:pt idx="29489">2</cx:pt>
          <cx:pt idx="29490">3</cx:pt>
          <cx:pt idx="29491">4</cx:pt>
          <cx:pt idx="29492">5</cx:pt>
          <cx:pt idx="29493">1</cx:pt>
          <cx:pt idx="29494">3</cx:pt>
          <cx:pt idx="29495">5</cx:pt>
          <cx:pt idx="29496">4</cx:pt>
          <cx:pt idx="29497">3</cx:pt>
          <cx:pt idx="29498">4</cx:pt>
          <cx:pt idx="29499">1</cx:pt>
          <cx:pt idx="29500">1</cx:pt>
          <cx:pt idx="29501">1</cx:pt>
          <cx:pt idx="29502">5</cx:pt>
          <cx:pt idx="29503">1</cx:pt>
          <cx:pt idx="29504">4</cx:pt>
          <cx:pt idx="29505">3</cx:pt>
          <cx:pt idx="29506">1</cx:pt>
          <cx:pt idx="29507">0</cx:pt>
          <cx:pt idx="29508">2</cx:pt>
          <cx:pt idx="29509">1</cx:pt>
          <cx:pt idx="29510">5</cx:pt>
          <cx:pt idx="29511">5</cx:pt>
          <cx:pt idx="29512">3</cx:pt>
          <cx:pt idx="29513">5</cx:pt>
          <cx:pt idx="29514">3</cx:pt>
          <cx:pt idx="29515">3</cx:pt>
          <cx:pt idx="29516">5</cx:pt>
          <cx:pt idx="29517">1</cx:pt>
          <cx:pt idx="29518">4</cx:pt>
          <cx:pt idx="29519">5</cx:pt>
          <cx:pt idx="29520">3</cx:pt>
          <cx:pt idx="29521">1</cx:pt>
          <cx:pt idx="29522">5</cx:pt>
          <cx:pt idx="29523">3</cx:pt>
          <cx:pt idx="29524">3</cx:pt>
          <cx:pt idx="29525">3</cx:pt>
          <cx:pt idx="29526">4</cx:pt>
          <cx:pt idx="29527">2</cx:pt>
          <cx:pt idx="29528">2</cx:pt>
          <cx:pt idx="29529">2</cx:pt>
          <cx:pt idx="29530">3</cx:pt>
          <cx:pt idx="29531">4</cx:pt>
          <cx:pt idx="29532">1</cx:pt>
          <cx:pt idx="29533">1</cx:pt>
          <cx:pt idx="29534">3</cx:pt>
          <cx:pt idx="29535">3</cx:pt>
          <cx:pt idx="29536">1</cx:pt>
          <cx:pt idx="29537">5</cx:pt>
          <cx:pt idx="29538">1</cx:pt>
          <cx:pt idx="29539">4</cx:pt>
          <cx:pt idx="29540">2</cx:pt>
          <cx:pt idx="29541">3</cx:pt>
          <cx:pt idx="29542">4</cx:pt>
          <cx:pt idx="29543">4</cx:pt>
          <cx:pt idx="29544">4</cx:pt>
          <cx:pt idx="29545">3</cx:pt>
          <cx:pt idx="29546">1</cx:pt>
          <cx:pt idx="29547">5</cx:pt>
          <cx:pt idx="29548">2</cx:pt>
          <cx:pt idx="29549">3</cx:pt>
          <cx:pt idx="29550">0</cx:pt>
          <cx:pt idx="29551">2</cx:pt>
          <cx:pt idx="29552">2</cx:pt>
          <cx:pt idx="29553">3</cx:pt>
          <cx:pt idx="29554">2</cx:pt>
          <cx:pt idx="29555">2</cx:pt>
          <cx:pt idx="29556">2</cx:pt>
          <cx:pt idx="29557">5</cx:pt>
          <cx:pt idx="29558">4</cx:pt>
          <cx:pt idx="29559">1</cx:pt>
          <cx:pt idx="29560">2</cx:pt>
          <cx:pt idx="29561">3</cx:pt>
          <cx:pt idx="29562">3</cx:pt>
          <cx:pt idx="29563">2</cx:pt>
          <cx:pt idx="29564">5</cx:pt>
          <cx:pt idx="29565">3</cx:pt>
          <cx:pt idx="29566">1</cx:pt>
          <cx:pt idx="29567">3</cx:pt>
          <cx:pt idx="29568">1</cx:pt>
          <cx:pt idx="29569">3</cx:pt>
          <cx:pt idx="29570">3</cx:pt>
          <cx:pt idx="29571">4</cx:pt>
          <cx:pt idx="29572">3</cx:pt>
          <cx:pt idx="29573">2</cx:pt>
          <cx:pt idx="29574">5</cx:pt>
          <cx:pt idx="29575">5</cx:pt>
          <cx:pt idx="29576">4</cx:pt>
          <cx:pt idx="29577">3</cx:pt>
          <cx:pt idx="29578">1</cx:pt>
          <cx:pt idx="29579">1</cx:pt>
          <cx:pt idx="29580">0</cx:pt>
          <cx:pt idx="29581">2</cx:pt>
          <cx:pt idx="29582">1</cx:pt>
          <cx:pt idx="29583">2</cx:pt>
          <cx:pt idx="29584">5</cx:pt>
          <cx:pt idx="29585">2</cx:pt>
          <cx:pt idx="29586">2</cx:pt>
          <cx:pt idx="29587">3</cx:pt>
          <cx:pt idx="29588">3</cx:pt>
          <cx:pt idx="29589">3</cx:pt>
          <cx:pt idx="29590">0</cx:pt>
          <cx:pt idx="29591">3</cx:pt>
          <cx:pt idx="29592">4</cx:pt>
          <cx:pt idx="29593">3</cx:pt>
          <cx:pt idx="29594">3</cx:pt>
          <cx:pt idx="29595">3</cx:pt>
          <cx:pt idx="29596">4</cx:pt>
          <cx:pt idx="29597">0</cx:pt>
          <cx:pt idx="29598">3</cx:pt>
          <cx:pt idx="29599">1</cx:pt>
          <cx:pt idx="29600">1</cx:pt>
          <cx:pt idx="29601">2</cx:pt>
          <cx:pt idx="29602">5</cx:pt>
          <cx:pt idx="29603">2</cx:pt>
          <cx:pt idx="29604">2</cx:pt>
          <cx:pt idx="29605">5</cx:pt>
          <cx:pt idx="29606">2</cx:pt>
          <cx:pt idx="29607">3</cx:pt>
          <cx:pt idx="29608">5</cx:pt>
          <cx:pt idx="29609">3</cx:pt>
          <cx:pt idx="29610">3</cx:pt>
          <cx:pt idx="29611">5</cx:pt>
          <cx:pt idx="29612">2</cx:pt>
          <cx:pt idx="29613">4</cx:pt>
          <cx:pt idx="29614">4</cx:pt>
          <cx:pt idx="29615">2</cx:pt>
          <cx:pt idx="29616">2</cx:pt>
          <cx:pt idx="29617">3</cx:pt>
          <cx:pt idx="29618">3</cx:pt>
          <cx:pt idx="29619">1</cx:pt>
          <cx:pt idx="29620">2</cx:pt>
          <cx:pt idx="29621">3</cx:pt>
          <cx:pt idx="29622">5</cx:pt>
          <cx:pt idx="29623">1</cx:pt>
          <cx:pt idx="29624">4</cx:pt>
          <cx:pt idx="29625">3</cx:pt>
          <cx:pt idx="29626">4</cx:pt>
          <cx:pt idx="29627">1</cx:pt>
          <cx:pt idx="29628">5</cx:pt>
          <cx:pt idx="29629">4</cx:pt>
          <cx:pt idx="29630">2</cx:pt>
          <cx:pt idx="29631">2</cx:pt>
          <cx:pt idx="29632">2</cx:pt>
          <cx:pt idx="29633">3</cx:pt>
          <cx:pt idx="29634">2</cx:pt>
          <cx:pt idx="29635">4</cx:pt>
          <cx:pt idx="29636">4</cx:pt>
          <cx:pt idx="29637">5</cx:pt>
          <cx:pt idx="29638">3</cx:pt>
          <cx:pt idx="29639">2</cx:pt>
          <cx:pt idx="29640">2</cx:pt>
          <cx:pt idx="29641">1</cx:pt>
          <cx:pt idx="29642">2</cx:pt>
          <cx:pt idx="29643">3</cx:pt>
          <cx:pt idx="29644">3</cx:pt>
          <cx:pt idx="29645">2</cx:pt>
          <cx:pt idx="29646">2</cx:pt>
          <cx:pt idx="29647">5</cx:pt>
          <cx:pt idx="29648">1</cx:pt>
          <cx:pt idx="29649">2</cx:pt>
          <cx:pt idx="29650">3</cx:pt>
          <cx:pt idx="29651">2</cx:pt>
          <cx:pt idx="29652">4</cx:pt>
          <cx:pt idx="29653">1</cx:pt>
          <cx:pt idx="29654">3</cx:pt>
          <cx:pt idx="29655">4</cx:pt>
          <cx:pt idx="29656">3</cx:pt>
          <cx:pt idx="29657">2</cx:pt>
          <cx:pt idx="29658">1</cx:pt>
          <cx:pt idx="29659">2</cx:pt>
          <cx:pt idx="29660">3</cx:pt>
          <cx:pt idx="29661">1</cx:pt>
          <cx:pt idx="29662">3</cx:pt>
          <cx:pt idx="29663">4</cx:pt>
          <cx:pt idx="29664">4</cx:pt>
          <cx:pt idx="29665">3</cx:pt>
          <cx:pt idx="29666">4</cx:pt>
          <cx:pt idx="29667">4</cx:pt>
          <cx:pt idx="29668">1</cx:pt>
          <cx:pt idx="29669">3</cx:pt>
          <cx:pt idx="29670">3</cx:pt>
          <cx:pt idx="29671">2</cx:pt>
          <cx:pt idx="29672">4</cx:pt>
          <cx:pt idx="29673">4</cx:pt>
          <cx:pt idx="29674">3</cx:pt>
          <cx:pt idx="29675">4</cx:pt>
          <cx:pt idx="29676">3</cx:pt>
          <cx:pt idx="29677">3</cx:pt>
          <cx:pt idx="29678">1</cx:pt>
          <cx:pt idx="29679">4</cx:pt>
          <cx:pt idx="29680">4</cx:pt>
          <cx:pt idx="29681">2</cx:pt>
          <cx:pt idx="29682">1</cx:pt>
          <cx:pt idx="29683">0</cx:pt>
          <cx:pt idx="29684">1</cx:pt>
          <cx:pt idx="29685">5</cx:pt>
          <cx:pt idx="29686">2</cx:pt>
          <cx:pt idx="29687">3</cx:pt>
          <cx:pt idx="29688">4</cx:pt>
          <cx:pt idx="29689">1</cx:pt>
          <cx:pt idx="29690">5</cx:pt>
          <cx:pt idx="29691">2</cx:pt>
          <cx:pt idx="29692">5</cx:pt>
          <cx:pt idx="29693">2</cx:pt>
          <cx:pt idx="29694">1</cx:pt>
          <cx:pt idx="29695">4</cx:pt>
          <cx:pt idx="29696">4</cx:pt>
          <cx:pt idx="29697">5</cx:pt>
          <cx:pt idx="29698">3</cx:pt>
          <cx:pt idx="29699">1</cx:pt>
          <cx:pt idx="29700">1</cx:pt>
          <cx:pt idx="29701">3</cx:pt>
          <cx:pt idx="29702">1</cx:pt>
          <cx:pt idx="29703">2</cx:pt>
          <cx:pt idx="29704">3</cx:pt>
          <cx:pt idx="29705">2</cx:pt>
          <cx:pt idx="29706">4</cx:pt>
          <cx:pt idx="29707">1</cx:pt>
          <cx:pt idx="29708">3</cx:pt>
          <cx:pt idx="29709">3</cx:pt>
          <cx:pt idx="29710">2</cx:pt>
          <cx:pt idx="29711">1</cx:pt>
          <cx:pt idx="29712">2</cx:pt>
          <cx:pt idx="29713">3</cx:pt>
          <cx:pt idx="29714">2</cx:pt>
          <cx:pt idx="29715">3</cx:pt>
          <cx:pt idx="29716">5</cx:pt>
          <cx:pt idx="29717">5</cx:pt>
          <cx:pt idx="29718">1</cx:pt>
          <cx:pt idx="29719">4</cx:pt>
          <cx:pt idx="29720">1</cx:pt>
          <cx:pt idx="29721">1</cx:pt>
          <cx:pt idx="29722">2</cx:pt>
          <cx:pt idx="29723">4</cx:pt>
          <cx:pt idx="29724">4</cx:pt>
          <cx:pt idx="29725">1</cx:pt>
          <cx:pt idx="29726">2</cx:pt>
          <cx:pt idx="29727">2</cx:pt>
          <cx:pt idx="29728">4</cx:pt>
          <cx:pt idx="29729">2</cx:pt>
          <cx:pt idx="29730">1</cx:pt>
          <cx:pt idx="29731">3</cx:pt>
          <cx:pt idx="29732">5</cx:pt>
          <cx:pt idx="29733">2</cx:pt>
          <cx:pt idx="29734">2</cx:pt>
          <cx:pt idx="29735">2</cx:pt>
          <cx:pt idx="29736">4</cx:pt>
          <cx:pt idx="29737">5</cx:pt>
          <cx:pt idx="29738">1</cx:pt>
          <cx:pt idx="29739">0</cx:pt>
          <cx:pt idx="29740">5</cx:pt>
          <cx:pt idx="29741">2</cx:pt>
          <cx:pt idx="29742">3</cx:pt>
          <cx:pt idx="29743">3</cx:pt>
          <cx:pt idx="29744">2</cx:pt>
          <cx:pt idx="29745">2</cx:pt>
          <cx:pt idx="29746">4</cx:pt>
          <cx:pt idx="29747">3</cx:pt>
          <cx:pt idx="29748">1</cx:pt>
          <cx:pt idx="29749">1</cx:pt>
          <cx:pt idx="29750">2</cx:pt>
          <cx:pt idx="29751">2</cx:pt>
          <cx:pt idx="29752">1</cx:pt>
          <cx:pt idx="29753">5</cx:pt>
          <cx:pt idx="29754">3</cx:pt>
          <cx:pt idx="29755">2</cx:pt>
          <cx:pt idx="29756">4</cx:pt>
          <cx:pt idx="29757">1</cx:pt>
          <cx:pt idx="29758">1</cx:pt>
          <cx:pt idx="29759">1</cx:pt>
          <cx:pt idx="29760">4</cx:pt>
          <cx:pt idx="29761">1</cx:pt>
          <cx:pt idx="29762">3</cx:pt>
          <cx:pt idx="29763">3</cx:pt>
          <cx:pt idx="29764">2</cx:pt>
          <cx:pt idx="29765">1</cx:pt>
          <cx:pt idx="29766">3</cx:pt>
          <cx:pt idx="29767">2</cx:pt>
          <cx:pt idx="29768">5</cx:pt>
          <cx:pt idx="29769">5</cx:pt>
          <cx:pt idx="29770">4</cx:pt>
          <cx:pt idx="29771">4</cx:pt>
          <cx:pt idx="29772">1</cx:pt>
          <cx:pt idx="29773">2</cx:pt>
          <cx:pt idx="29774">4</cx:pt>
          <cx:pt idx="29775">5</cx:pt>
          <cx:pt idx="29776">1</cx:pt>
          <cx:pt idx="29777">5</cx:pt>
          <cx:pt idx="29778">2</cx:pt>
          <cx:pt idx="29779">5</cx:pt>
          <cx:pt idx="29780">4</cx:pt>
          <cx:pt idx="29781">0</cx:pt>
          <cx:pt idx="29782">2</cx:pt>
          <cx:pt idx="29783">1</cx:pt>
          <cx:pt idx="29784">2</cx:pt>
          <cx:pt idx="29785">4</cx:pt>
          <cx:pt idx="29786">4</cx:pt>
          <cx:pt idx="29787">2</cx:pt>
          <cx:pt idx="29788">3</cx:pt>
          <cx:pt idx="29789">4</cx:pt>
          <cx:pt idx="29790">4</cx:pt>
          <cx:pt idx="29791">4</cx:pt>
          <cx:pt idx="29792">2</cx:pt>
          <cx:pt idx="29793">2</cx:pt>
          <cx:pt idx="29794">1</cx:pt>
          <cx:pt idx="29795">2</cx:pt>
          <cx:pt idx="29796">3</cx:pt>
          <cx:pt idx="29797">4</cx:pt>
          <cx:pt idx="29798">5</cx:pt>
          <cx:pt idx="29799">5</cx:pt>
          <cx:pt idx="29800">1</cx:pt>
          <cx:pt idx="29801">4</cx:pt>
          <cx:pt idx="29802">2</cx:pt>
          <cx:pt idx="29803">1</cx:pt>
          <cx:pt idx="29804">5</cx:pt>
          <cx:pt idx="29805">2</cx:pt>
          <cx:pt idx="29806">2</cx:pt>
          <cx:pt idx="29807">4</cx:pt>
          <cx:pt idx="29808">3</cx:pt>
          <cx:pt idx="29809">2</cx:pt>
          <cx:pt idx="29810">2</cx:pt>
          <cx:pt idx="29811">4</cx:pt>
          <cx:pt idx="29812">1</cx:pt>
          <cx:pt idx="29813">5</cx:pt>
          <cx:pt idx="29814">5</cx:pt>
          <cx:pt idx="29815">3</cx:pt>
          <cx:pt idx="29816">3</cx:pt>
          <cx:pt idx="29817">1</cx:pt>
          <cx:pt idx="29818">3</cx:pt>
          <cx:pt idx="29819">5</cx:pt>
          <cx:pt idx="29820">4</cx:pt>
          <cx:pt idx="29821">4</cx:pt>
          <cx:pt idx="29822">3</cx:pt>
          <cx:pt idx="29823">5</cx:pt>
          <cx:pt idx="29824">3</cx:pt>
          <cx:pt idx="29825">2</cx:pt>
          <cx:pt idx="29826">3</cx:pt>
          <cx:pt idx="29827">2</cx:pt>
          <cx:pt idx="29828">4</cx:pt>
          <cx:pt idx="29829">2</cx:pt>
          <cx:pt idx="29830">1</cx:pt>
          <cx:pt idx="29831">4</cx:pt>
          <cx:pt idx="29832">1</cx:pt>
          <cx:pt idx="29833">3</cx:pt>
          <cx:pt idx="29834">2</cx:pt>
          <cx:pt idx="29835">3</cx:pt>
          <cx:pt idx="29836">4</cx:pt>
          <cx:pt idx="29837">4</cx:pt>
          <cx:pt idx="29838">3</cx:pt>
          <cx:pt idx="29839">4</cx:pt>
          <cx:pt idx="29840">3</cx:pt>
          <cx:pt idx="29841">2</cx:pt>
          <cx:pt idx="29842">2</cx:pt>
          <cx:pt idx="29843">4</cx:pt>
          <cx:pt idx="29844">3</cx:pt>
          <cx:pt idx="29845">5</cx:pt>
          <cx:pt idx="29846">4</cx:pt>
          <cx:pt idx="29847">1</cx:pt>
          <cx:pt idx="29848">2</cx:pt>
          <cx:pt idx="29849">3</cx:pt>
          <cx:pt idx="29850">3</cx:pt>
          <cx:pt idx="29851">1</cx:pt>
          <cx:pt idx="29852">4</cx:pt>
          <cx:pt idx="29853">3</cx:pt>
          <cx:pt idx="29854">5</cx:pt>
          <cx:pt idx="29855">3</cx:pt>
          <cx:pt idx="29856">4</cx:pt>
          <cx:pt idx="29857">1</cx:pt>
          <cx:pt idx="29858">1</cx:pt>
          <cx:pt idx="29859">2</cx:pt>
          <cx:pt idx="29860">3</cx:pt>
          <cx:pt idx="29861">1</cx:pt>
          <cx:pt idx="29862">2</cx:pt>
          <cx:pt idx="29863">3</cx:pt>
          <cx:pt idx="29864">4</cx:pt>
          <cx:pt idx="29865">2</cx:pt>
          <cx:pt idx="29866">4</cx:pt>
          <cx:pt idx="29867">4</cx:pt>
          <cx:pt idx="29868">3</cx:pt>
          <cx:pt idx="29869">0</cx:pt>
          <cx:pt idx="29870">1</cx:pt>
          <cx:pt idx="29871">4</cx:pt>
          <cx:pt idx="29872">1</cx:pt>
          <cx:pt idx="29873">2</cx:pt>
          <cx:pt idx="29874">5</cx:pt>
          <cx:pt idx="29875">5</cx:pt>
          <cx:pt idx="29876">1</cx:pt>
          <cx:pt idx="29877">2</cx:pt>
          <cx:pt idx="29878">4</cx:pt>
          <cx:pt idx="29879">1</cx:pt>
          <cx:pt idx="29880">1</cx:pt>
          <cx:pt idx="29881">4</cx:pt>
          <cx:pt idx="29882">3</cx:pt>
          <cx:pt idx="29883">3</cx:pt>
          <cx:pt idx="29884">0</cx:pt>
          <cx:pt idx="29885">2</cx:pt>
          <cx:pt idx="29886">4</cx:pt>
          <cx:pt idx="29887">1</cx:pt>
          <cx:pt idx="29888">1</cx:pt>
          <cx:pt idx="29889">1</cx:pt>
          <cx:pt idx="29890">2</cx:pt>
          <cx:pt idx="29891">1</cx:pt>
          <cx:pt idx="29892">2</cx:pt>
          <cx:pt idx="29893">5</cx:pt>
          <cx:pt idx="29894">2</cx:pt>
          <cx:pt idx="29895">4</cx:pt>
          <cx:pt idx="29896">2</cx:pt>
          <cx:pt idx="29897">2</cx:pt>
          <cx:pt idx="29898">3</cx:pt>
          <cx:pt idx="29899">2</cx:pt>
          <cx:pt idx="29900">5</cx:pt>
          <cx:pt idx="29901">3</cx:pt>
          <cx:pt idx="29902">1</cx:pt>
          <cx:pt idx="29903">3</cx:pt>
          <cx:pt idx="29904">2</cx:pt>
          <cx:pt idx="29905">4</cx:pt>
          <cx:pt idx="29906">4</cx:pt>
          <cx:pt idx="29907">4</cx:pt>
          <cx:pt idx="29908">5</cx:pt>
          <cx:pt idx="29909">2</cx:pt>
          <cx:pt idx="29910">1</cx:pt>
          <cx:pt idx="29911">1</cx:pt>
          <cx:pt idx="29912">3</cx:pt>
          <cx:pt idx="29913">3</cx:pt>
          <cx:pt idx="29914">2</cx:pt>
          <cx:pt idx="29915">4</cx:pt>
          <cx:pt idx="29916">1</cx:pt>
          <cx:pt idx="29917">2</cx:pt>
          <cx:pt idx="29918">2</cx:pt>
          <cx:pt idx="29919">4</cx:pt>
          <cx:pt idx="29920">5</cx:pt>
          <cx:pt idx="29921">3</cx:pt>
          <cx:pt idx="29922">3</cx:pt>
          <cx:pt idx="29923">4</cx:pt>
          <cx:pt idx="29924">5</cx:pt>
          <cx:pt idx="29925">2</cx:pt>
          <cx:pt idx="29926">3</cx:pt>
          <cx:pt idx="29927">2</cx:pt>
          <cx:pt idx="29928">2</cx:pt>
          <cx:pt idx="29929">1</cx:pt>
          <cx:pt idx="29930">1</cx:pt>
          <cx:pt idx="29931">1</cx:pt>
          <cx:pt idx="29932">2</cx:pt>
          <cx:pt idx="29933">2</cx:pt>
          <cx:pt idx="29934">3</cx:pt>
          <cx:pt idx="29935">2</cx:pt>
          <cx:pt idx="29936">0</cx:pt>
          <cx:pt idx="29937">2</cx:pt>
          <cx:pt idx="29938">4</cx:pt>
          <cx:pt idx="29939">1</cx:pt>
          <cx:pt idx="29940">0</cx:pt>
          <cx:pt idx="29941">1</cx:pt>
          <cx:pt idx="29942">2</cx:pt>
          <cx:pt idx="29943">3</cx:pt>
          <cx:pt idx="29944">5</cx:pt>
          <cx:pt idx="29945">4</cx:pt>
          <cx:pt idx="29946">4</cx:pt>
          <cx:pt idx="29947">5</cx:pt>
          <cx:pt idx="29948">5</cx:pt>
          <cx:pt idx="29949">5</cx:pt>
          <cx:pt idx="29950">5</cx:pt>
          <cx:pt idx="29951">2</cx:pt>
          <cx:pt idx="29952">2</cx:pt>
          <cx:pt idx="29953">4</cx:pt>
          <cx:pt idx="29954">5</cx:pt>
          <cx:pt idx="29955">1</cx:pt>
          <cx:pt idx="29956">2</cx:pt>
          <cx:pt idx="29957">2</cx:pt>
          <cx:pt idx="29958">5</cx:pt>
          <cx:pt idx="29959">4</cx:pt>
          <cx:pt idx="29960">1</cx:pt>
          <cx:pt idx="29961">2</cx:pt>
          <cx:pt idx="29962">4</cx:pt>
          <cx:pt idx="29963">2</cx:pt>
          <cx:pt idx="29964">5</cx:pt>
          <cx:pt idx="29965">2</cx:pt>
          <cx:pt idx="29966">2</cx:pt>
          <cx:pt idx="29967">3</cx:pt>
          <cx:pt idx="29968">5</cx:pt>
          <cx:pt idx="29969">4</cx:pt>
          <cx:pt idx="29970">2</cx:pt>
          <cx:pt idx="29971">4</cx:pt>
          <cx:pt idx="29972">4</cx:pt>
          <cx:pt idx="29973">5</cx:pt>
          <cx:pt idx="29974">4</cx:pt>
          <cx:pt idx="29975">3</cx:pt>
          <cx:pt idx="29976">3</cx:pt>
          <cx:pt idx="29977">2</cx:pt>
          <cx:pt idx="29978">3</cx:pt>
          <cx:pt idx="29979">0</cx:pt>
          <cx:pt idx="29980">1</cx:pt>
          <cx:pt idx="29981">2</cx:pt>
          <cx:pt idx="29982">3</cx:pt>
          <cx:pt idx="29983">4</cx:pt>
          <cx:pt idx="29984">4</cx:pt>
          <cx:pt idx="29985">3</cx:pt>
          <cx:pt idx="29986">3</cx:pt>
          <cx:pt idx="29987">3</cx:pt>
          <cx:pt idx="29988">4</cx:pt>
          <cx:pt idx="29989">5</cx:pt>
          <cx:pt idx="29990">3</cx:pt>
          <cx:pt idx="29991">4</cx:pt>
          <cx:pt idx="29992">3</cx:pt>
          <cx:pt idx="29993">4</cx:pt>
          <cx:pt idx="29994">2</cx:pt>
          <cx:pt idx="29995">5</cx:pt>
          <cx:pt idx="29996">2</cx:pt>
          <cx:pt idx="29997">4</cx:pt>
          <cx:pt idx="29998">3</cx:pt>
          <cx:pt idx="29999">4</cx:pt>
          <cx:pt idx="30000">5</cx:pt>
          <cx:pt idx="30001">2</cx:pt>
          <cx:pt idx="30002">5</cx:pt>
          <cx:pt idx="30003">1</cx:pt>
          <cx:pt idx="30004">5</cx:pt>
          <cx:pt idx="30005">3</cx:pt>
          <cx:pt idx="30006">2</cx:pt>
          <cx:pt idx="30007">2</cx:pt>
          <cx:pt idx="30008">2</cx:pt>
          <cx:pt idx="30009">0</cx:pt>
          <cx:pt idx="30010">2</cx:pt>
          <cx:pt idx="30011">2</cx:pt>
          <cx:pt idx="30012">4</cx:pt>
          <cx:pt idx="30013">4</cx:pt>
          <cx:pt idx="30014">1</cx:pt>
          <cx:pt idx="30015">1</cx:pt>
          <cx:pt idx="30016">1</cx:pt>
          <cx:pt idx="30017">3</cx:pt>
          <cx:pt idx="30018">0</cx:pt>
          <cx:pt idx="30019">5</cx:pt>
          <cx:pt idx="30020">2</cx:pt>
          <cx:pt idx="30021">1</cx:pt>
          <cx:pt idx="30022">1</cx:pt>
          <cx:pt idx="30023">4</cx:pt>
          <cx:pt idx="30024">5</cx:pt>
          <cx:pt idx="30025">3</cx:pt>
          <cx:pt idx="30026">1</cx:pt>
          <cx:pt idx="30027">3</cx:pt>
          <cx:pt idx="30028">3</cx:pt>
          <cx:pt idx="30029">5</cx:pt>
          <cx:pt idx="30030">5</cx:pt>
          <cx:pt idx="30031">2</cx:pt>
          <cx:pt idx="30032">2</cx:pt>
          <cx:pt idx="30033">5</cx:pt>
          <cx:pt idx="30034">3</cx:pt>
          <cx:pt idx="30035">1</cx:pt>
          <cx:pt idx="30036">2</cx:pt>
          <cx:pt idx="30037">1</cx:pt>
          <cx:pt idx="30038">1</cx:pt>
          <cx:pt idx="30039">3</cx:pt>
          <cx:pt idx="30040">1</cx:pt>
          <cx:pt idx="30041">2</cx:pt>
          <cx:pt idx="30042">3</cx:pt>
          <cx:pt idx="30043">1</cx:pt>
          <cx:pt idx="30044">2</cx:pt>
          <cx:pt idx="30045">3</cx:pt>
          <cx:pt idx="30046">2</cx:pt>
          <cx:pt idx="30047">5</cx:pt>
          <cx:pt idx="30048">5</cx:pt>
          <cx:pt idx="30049">5</cx:pt>
          <cx:pt idx="30050">3</cx:pt>
          <cx:pt idx="30051">4</cx:pt>
          <cx:pt idx="30052">2</cx:pt>
          <cx:pt idx="30053">2</cx:pt>
          <cx:pt idx="30054">3</cx:pt>
          <cx:pt idx="30055">3</cx:pt>
          <cx:pt idx="30056">2</cx:pt>
          <cx:pt idx="30057">4</cx:pt>
          <cx:pt idx="30058">3</cx:pt>
          <cx:pt idx="30059">2</cx:pt>
          <cx:pt idx="30060">2</cx:pt>
          <cx:pt idx="30061">2</cx:pt>
          <cx:pt idx="30062">2</cx:pt>
          <cx:pt idx="30063">1</cx:pt>
          <cx:pt idx="30064">1</cx:pt>
          <cx:pt idx="30065">2</cx:pt>
          <cx:pt idx="30066">3</cx:pt>
          <cx:pt idx="30067">0</cx:pt>
          <cx:pt idx="30068">3</cx:pt>
          <cx:pt idx="30069">2</cx:pt>
          <cx:pt idx="30070">4</cx:pt>
          <cx:pt idx="30071">1</cx:pt>
          <cx:pt idx="30072">4</cx:pt>
          <cx:pt idx="30073">1</cx:pt>
          <cx:pt idx="30074">3</cx:pt>
          <cx:pt idx="30075">2</cx:pt>
          <cx:pt idx="30076">0</cx:pt>
          <cx:pt idx="30077">1</cx:pt>
          <cx:pt idx="30078">1</cx:pt>
          <cx:pt idx="30079">2</cx:pt>
          <cx:pt idx="30080">1</cx:pt>
          <cx:pt idx="30081">0</cx:pt>
          <cx:pt idx="30082">2</cx:pt>
          <cx:pt idx="30083">2</cx:pt>
          <cx:pt idx="30084">5</cx:pt>
          <cx:pt idx="30085">2</cx:pt>
          <cx:pt idx="30086">5</cx:pt>
          <cx:pt idx="30087">2</cx:pt>
          <cx:pt idx="30088">3</cx:pt>
          <cx:pt idx="30089">3</cx:pt>
          <cx:pt idx="30090">1</cx:pt>
          <cx:pt idx="30091">4</cx:pt>
          <cx:pt idx="30092">4</cx:pt>
          <cx:pt idx="30093">2</cx:pt>
          <cx:pt idx="30094">0</cx:pt>
          <cx:pt idx="30095">0</cx:pt>
          <cx:pt idx="30096">3</cx:pt>
          <cx:pt idx="30097">1</cx:pt>
          <cx:pt idx="30098">0</cx:pt>
          <cx:pt idx="30099">2</cx:pt>
          <cx:pt idx="30100">2</cx:pt>
          <cx:pt idx="30101">5</cx:pt>
          <cx:pt idx="30102">4</cx:pt>
          <cx:pt idx="30103">1</cx:pt>
          <cx:pt idx="30104">4</cx:pt>
          <cx:pt idx="30105">4</cx:pt>
          <cx:pt idx="30106">5</cx:pt>
          <cx:pt idx="30107">3</cx:pt>
          <cx:pt idx="30108">2</cx:pt>
          <cx:pt idx="30109">3</cx:pt>
          <cx:pt idx="30110">1</cx:pt>
          <cx:pt idx="30111">4</cx:pt>
          <cx:pt idx="30112">5</cx:pt>
          <cx:pt idx="30113">4</cx:pt>
          <cx:pt idx="30114">1</cx:pt>
          <cx:pt idx="30115">3</cx:pt>
          <cx:pt idx="30116">4</cx:pt>
          <cx:pt idx="30117">3</cx:pt>
          <cx:pt idx="30118">2</cx:pt>
          <cx:pt idx="30119">3</cx:pt>
          <cx:pt idx="30120">2</cx:pt>
          <cx:pt idx="30121">2</cx:pt>
          <cx:pt idx="30122">1</cx:pt>
          <cx:pt idx="30123">3</cx:pt>
          <cx:pt idx="30124">3</cx:pt>
          <cx:pt idx="30125">1</cx:pt>
          <cx:pt idx="30126">3</cx:pt>
          <cx:pt idx="30127">3</cx:pt>
          <cx:pt idx="30128">3</cx:pt>
          <cx:pt idx="30129">3</cx:pt>
          <cx:pt idx="30130">4</cx:pt>
          <cx:pt idx="30131">1</cx:pt>
          <cx:pt idx="30132">2</cx:pt>
          <cx:pt idx="30133">3</cx:pt>
          <cx:pt idx="30134">2</cx:pt>
          <cx:pt idx="30135">3</cx:pt>
          <cx:pt idx="30136">4</cx:pt>
          <cx:pt idx="30137">2</cx:pt>
          <cx:pt idx="30138">0</cx:pt>
          <cx:pt idx="30139">4</cx:pt>
          <cx:pt idx="30140">1</cx:pt>
          <cx:pt idx="30141">2</cx:pt>
          <cx:pt idx="30142">5</cx:pt>
          <cx:pt idx="30143">3</cx:pt>
          <cx:pt idx="30144">3</cx:pt>
          <cx:pt idx="30145">4</cx:pt>
          <cx:pt idx="30146">3</cx:pt>
          <cx:pt idx="30147">5</cx:pt>
          <cx:pt idx="30148">5</cx:pt>
          <cx:pt idx="30149">2</cx:pt>
          <cx:pt idx="30150">4</cx:pt>
          <cx:pt idx="30151">3</cx:pt>
          <cx:pt idx="30152">3</cx:pt>
          <cx:pt idx="30153">1</cx:pt>
          <cx:pt idx="30154">2</cx:pt>
          <cx:pt idx="30155">1</cx:pt>
          <cx:pt idx="30156">3</cx:pt>
          <cx:pt idx="30157">3</cx:pt>
          <cx:pt idx="30158">3</cx:pt>
          <cx:pt idx="30159">4</cx:pt>
          <cx:pt idx="30160">1</cx:pt>
          <cx:pt idx="30161">3</cx:pt>
          <cx:pt idx="30162">3</cx:pt>
          <cx:pt idx="30163">3</cx:pt>
          <cx:pt idx="30164">0</cx:pt>
          <cx:pt idx="30165">4</cx:pt>
          <cx:pt idx="30166">1</cx:pt>
          <cx:pt idx="30167">3</cx:pt>
          <cx:pt idx="30168">4</cx:pt>
          <cx:pt idx="30169">1</cx:pt>
          <cx:pt idx="30170">2</cx:pt>
          <cx:pt idx="30171">1</cx:pt>
          <cx:pt idx="30172">4</cx:pt>
          <cx:pt idx="30173">2</cx:pt>
          <cx:pt idx="30174">1</cx:pt>
          <cx:pt idx="30175">2</cx:pt>
          <cx:pt idx="30176">1</cx:pt>
          <cx:pt idx="30177">4</cx:pt>
          <cx:pt idx="30178">5</cx:pt>
          <cx:pt idx="30179">1</cx:pt>
          <cx:pt idx="30180">3</cx:pt>
          <cx:pt idx="30181">5</cx:pt>
          <cx:pt idx="30182">3</cx:pt>
          <cx:pt idx="30183">0</cx:pt>
          <cx:pt idx="30184">4</cx:pt>
          <cx:pt idx="30185">1</cx:pt>
          <cx:pt idx="30186">2</cx:pt>
          <cx:pt idx="30187">2</cx:pt>
          <cx:pt idx="30188">2</cx:pt>
          <cx:pt idx="30189">2</cx:pt>
          <cx:pt idx="30190">2</cx:pt>
          <cx:pt idx="30191">1</cx:pt>
          <cx:pt idx="30192">2</cx:pt>
          <cx:pt idx="30193">3</cx:pt>
          <cx:pt idx="30194">4</cx:pt>
          <cx:pt idx="30195">1</cx:pt>
          <cx:pt idx="30196">2</cx:pt>
          <cx:pt idx="30197">4</cx:pt>
          <cx:pt idx="30198">5</cx:pt>
          <cx:pt idx="30199">1</cx:pt>
          <cx:pt idx="30200">3</cx:pt>
          <cx:pt idx="30201">2</cx:pt>
          <cx:pt idx="30202">3</cx:pt>
          <cx:pt idx="30203">3</cx:pt>
          <cx:pt idx="30204">1</cx:pt>
          <cx:pt idx="30205">2</cx:pt>
          <cx:pt idx="30206">2</cx:pt>
          <cx:pt idx="30207">3</cx:pt>
          <cx:pt idx="30208">3</cx:pt>
          <cx:pt idx="30209">4</cx:pt>
          <cx:pt idx="30210">5</cx:pt>
          <cx:pt idx="30211">1</cx:pt>
          <cx:pt idx="30212">3</cx:pt>
          <cx:pt idx="30213">1</cx:pt>
          <cx:pt idx="30214">1</cx:pt>
          <cx:pt idx="30215">1</cx:pt>
          <cx:pt idx="30216">1</cx:pt>
          <cx:pt idx="30217">1</cx:pt>
          <cx:pt idx="30218">1</cx:pt>
          <cx:pt idx="30219">3</cx:pt>
          <cx:pt idx="30220">2</cx:pt>
          <cx:pt idx="30221">3</cx:pt>
          <cx:pt idx="30222">1</cx:pt>
          <cx:pt idx="30223">1</cx:pt>
          <cx:pt idx="30224">3</cx:pt>
          <cx:pt idx="30225">2</cx:pt>
          <cx:pt idx="30226">3</cx:pt>
          <cx:pt idx="30227">3</cx:pt>
          <cx:pt idx="30228">2</cx:pt>
          <cx:pt idx="30229">1</cx:pt>
          <cx:pt idx="30230">3</cx:pt>
          <cx:pt idx="30231">1</cx:pt>
          <cx:pt idx="30232">3</cx:pt>
          <cx:pt idx="30233">2</cx:pt>
          <cx:pt idx="30234">2</cx:pt>
          <cx:pt idx="30235">2</cx:pt>
          <cx:pt idx="30236">2</cx:pt>
          <cx:pt idx="30237">4</cx:pt>
          <cx:pt idx="30238">2</cx:pt>
          <cx:pt idx="30239">1</cx:pt>
          <cx:pt idx="30240">3</cx:pt>
          <cx:pt idx="30241">3</cx:pt>
          <cx:pt idx="30242">2</cx:pt>
          <cx:pt idx="30243">4</cx:pt>
          <cx:pt idx="30244">3</cx:pt>
          <cx:pt idx="30245">3</cx:pt>
          <cx:pt idx="30246">5</cx:pt>
          <cx:pt idx="30247">3</cx:pt>
          <cx:pt idx="30248">4</cx:pt>
          <cx:pt idx="30249">3</cx:pt>
          <cx:pt idx="30250">3</cx:pt>
          <cx:pt idx="30251">5</cx:pt>
          <cx:pt idx="30252">5</cx:pt>
          <cx:pt idx="30253">4</cx:pt>
          <cx:pt idx="30254">3</cx:pt>
          <cx:pt idx="30255">4</cx:pt>
          <cx:pt idx="30256">3</cx:pt>
          <cx:pt idx="30257">5</cx:pt>
          <cx:pt idx="30258">2</cx:pt>
          <cx:pt idx="30259">5</cx:pt>
          <cx:pt idx="30260">4</cx:pt>
          <cx:pt idx="30261">3</cx:pt>
          <cx:pt idx="30262">4</cx:pt>
          <cx:pt idx="30263">5</cx:pt>
          <cx:pt idx="30264">1</cx:pt>
          <cx:pt idx="30265">1</cx:pt>
          <cx:pt idx="30266">4</cx:pt>
          <cx:pt idx="30267">2</cx:pt>
          <cx:pt idx="30268">3</cx:pt>
          <cx:pt idx="30269">5</cx:pt>
          <cx:pt idx="30270">3</cx:pt>
          <cx:pt idx="30271">2</cx:pt>
          <cx:pt idx="30272">4</cx:pt>
          <cx:pt idx="30273">2</cx:pt>
          <cx:pt idx="30274">2</cx:pt>
          <cx:pt idx="30275">4</cx:pt>
          <cx:pt idx="30276">0</cx:pt>
          <cx:pt idx="30277">1</cx:pt>
          <cx:pt idx="30278">2</cx:pt>
          <cx:pt idx="30279">2</cx:pt>
          <cx:pt idx="30280">4</cx:pt>
          <cx:pt idx="30281">2</cx:pt>
          <cx:pt idx="30282">3</cx:pt>
          <cx:pt idx="30283">1</cx:pt>
          <cx:pt idx="30284">2</cx:pt>
          <cx:pt idx="30285">4</cx:pt>
          <cx:pt idx="30286">5</cx:pt>
          <cx:pt idx="30287">4</cx:pt>
          <cx:pt idx="30288">2</cx:pt>
          <cx:pt idx="30289">1</cx:pt>
          <cx:pt idx="30290">2</cx:pt>
          <cx:pt idx="30291">4</cx:pt>
          <cx:pt idx="30292">3</cx:pt>
          <cx:pt idx="30293">1</cx:pt>
          <cx:pt idx="30294">3</cx:pt>
          <cx:pt idx="30295">3</cx:pt>
          <cx:pt idx="30296">2</cx:pt>
          <cx:pt idx="30297">3</cx:pt>
          <cx:pt idx="30298">4</cx:pt>
          <cx:pt idx="30299">3</cx:pt>
          <cx:pt idx="30300">3</cx:pt>
          <cx:pt idx="30301">5</cx:pt>
          <cx:pt idx="30302">3</cx:pt>
          <cx:pt idx="30303">2</cx:pt>
          <cx:pt idx="30304">4</cx:pt>
          <cx:pt idx="30305">1</cx:pt>
          <cx:pt idx="30306">2</cx:pt>
          <cx:pt idx="30307">2</cx:pt>
          <cx:pt idx="30308">3</cx:pt>
          <cx:pt idx="30309">2</cx:pt>
          <cx:pt idx="30310">2</cx:pt>
          <cx:pt idx="30311">1</cx:pt>
          <cx:pt idx="30312">5</cx:pt>
          <cx:pt idx="30313">2</cx:pt>
          <cx:pt idx="30314">2</cx:pt>
          <cx:pt idx="30315">3</cx:pt>
          <cx:pt idx="30316">1</cx:pt>
          <cx:pt idx="30317">3</cx:pt>
          <cx:pt idx="30318">1</cx:pt>
          <cx:pt idx="30319">4</cx:pt>
          <cx:pt idx="30320">1</cx:pt>
          <cx:pt idx="30321">3</cx:pt>
          <cx:pt idx="30322">1</cx:pt>
          <cx:pt idx="30323">2</cx:pt>
          <cx:pt idx="30324">3</cx:pt>
          <cx:pt idx="30325">3</cx:pt>
          <cx:pt idx="30326">0</cx:pt>
          <cx:pt idx="30327">4</cx:pt>
          <cx:pt idx="30328">2</cx:pt>
          <cx:pt idx="30329">4</cx:pt>
          <cx:pt idx="30330">1</cx:pt>
          <cx:pt idx="30331">5</cx:pt>
          <cx:pt idx="30332">4</cx:pt>
          <cx:pt idx="30333">3</cx:pt>
          <cx:pt idx="30334">1</cx:pt>
          <cx:pt idx="30335">3</cx:pt>
          <cx:pt idx="30336">2</cx:pt>
          <cx:pt idx="30337">3</cx:pt>
          <cx:pt idx="30338">5</cx:pt>
          <cx:pt idx="30339">3</cx:pt>
          <cx:pt idx="30340">2</cx:pt>
          <cx:pt idx="30341">3</cx:pt>
          <cx:pt idx="30342">5</cx:pt>
          <cx:pt idx="30343">2</cx:pt>
          <cx:pt idx="30344">2</cx:pt>
          <cx:pt idx="30345">2</cx:pt>
          <cx:pt idx="30346">3</cx:pt>
          <cx:pt idx="30347">1</cx:pt>
          <cx:pt idx="30348">1</cx:pt>
          <cx:pt idx="30349">2</cx:pt>
          <cx:pt idx="30350">1</cx:pt>
          <cx:pt idx="30351">2</cx:pt>
          <cx:pt idx="30352">4</cx:pt>
          <cx:pt idx="30353">2</cx:pt>
          <cx:pt idx="30354">2</cx:pt>
          <cx:pt idx="30355">3</cx:pt>
          <cx:pt idx="30356">2</cx:pt>
          <cx:pt idx="30357">2</cx:pt>
          <cx:pt idx="30358">4</cx:pt>
          <cx:pt idx="30359">1</cx:pt>
          <cx:pt idx="30360">4</cx:pt>
          <cx:pt idx="30361">5</cx:pt>
          <cx:pt idx="30362">2</cx:pt>
          <cx:pt idx="30363">1</cx:pt>
          <cx:pt idx="30364">2</cx:pt>
          <cx:pt idx="30365">3</cx:pt>
          <cx:pt idx="30366">2</cx:pt>
          <cx:pt idx="30367">4</cx:pt>
          <cx:pt idx="30368">3</cx:pt>
          <cx:pt idx="30369">2</cx:pt>
          <cx:pt idx="30370">2</cx:pt>
          <cx:pt idx="30371">5</cx:pt>
          <cx:pt idx="30372">3</cx:pt>
          <cx:pt idx="30373">4</cx:pt>
          <cx:pt idx="30374">1</cx:pt>
          <cx:pt idx="30375">1</cx:pt>
          <cx:pt idx="30376">1</cx:pt>
          <cx:pt idx="30377">5</cx:pt>
          <cx:pt idx="30378">1</cx:pt>
          <cx:pt idx="30379">4</cx:pt>
          <cx:pt idx="30380">4</cx:pt>
          <cx:pt idx="30381">1</cx:pt>
          <cx:pt idx="30382">3</cx:pt>
          <cx:pt idx="30383">0</cx:pt>
          <cx:pt idx="30384">2</cx:pt>
          <cx:pt idx="30385">2</cx:pt>
          <cx:pt idx="30386">3</cx:pt>
          <cx:pt idx="30387">2</cx:pt>
          <cx:pt idx="30388">3</cx:pt>
          <cx:pt idx="30389">4</cx:pt>
          <cx:pt idx="30390">2</cx:pt>
          <cx:pt idx="30391">3</cx:pt>
          <cx:pt idx="30392">4</cx:pt>
          <cx:pt idx="30393">2</cx:pt>
          <cx:pt idx="30394">4</cx:pt>
          <cx:pt idx="30395">0</cx:pt>
          <cx:pt idx="30396">5</cx:pt>
          <cx:pt idx="30397">3</cx:pt>
          <cx:pt idx="30398">3</cx:pt>
          <cx:pt idx="30399">2</cx:pt>
          <cx:pt idx="30400">2</cx:pt>
          <cx:pt idx="30401">2</cx:pt>
          <cx:pt idx="30402">1</cx:pt>
          <cx:pt idx="30403">3</cx:pt>
          <cx:pt idx="30404">4</cx:pt>
          <cx:pt idx="30405">4</cx:pt>
          <cx:pt idx="30406">1</cx:pt>
          <cx:pt idx="30407">1</cx:pt>
          <cx:pt idx="30408">4</cx:pt>
          <cx:pt idx="30409">1</cx:pt>
          <cx:pt idx="30410">3</cx:pt>
          <cx:pt idx="30411">4</cx:pt>
          <cx:pt idx="30412">5</cx:pt>
          <cx:pt idx="30413">4</cx:pt>
          <cx:pt idx="30414">1</cx:pt>
          <cx:pt idx="30415">2</cx:pt>
          <cx:pt idx="30416">3</cx:pt>
          <cx:pt idx="30417">3</cx:pt>
          <cx:pt idx="30418">3</cx:pt>
          <cx:pt idx="30419">4</cx:pt>
          <cx:pt idx="30420">3</cx:pt>
          <cx:pt idx="30421">3</cx:pt>
          <cx:pt idx="30422">2</cx:pt>
          <cx:pt idx="30423">4</cx:pt>
          <cx:pt idx="30424">1</cx:pt>
          <cx:pt idx="30425">1</cx:pt>
          <cx:pt idx="30426">4</cx:pt>
          <cx:pt idx="30427">2</cx:pt>
          <cx:pt idx="30428">5</cx:pt>
          <cx:pt idx="30429">3</cx:pt>
          <cx:pt idx="30430">3</cx:pt>
          <cx:pt idx="30431">3</cx:pt>
          <cx:pt idx="30432">4</cx:pt>
          <cx:pt idx="30433">1</cx:pt>
          <cx:pt idx="30434">5</cx:pt>
          <cx:pt idx="30435">5</cx:pt>
          <cx:pt idx="30436">5</cx:pt>
          <cx:pt idx="30437">2</cx:pt>
          <cx:pt idx="30438">0</cx:pt>
          <cx:pt idx="30439">4</cx:pt>
          <cx:pt idx="30440">0</cx:pt>
          <cx:pt idx="30441">4</cx:pt>
          <cx:pt idx="30442">2</cx:pt>
          <cx:pt idx="30443">0</cx:pt>
          <cx:pt idx="30444">1</cx:pt>
          <cx:pt idx="30445">5</cx:pt>
          <cx:pt idx="30446">2</cx:pt>
          <cx:pt idx="30447">3</cx:pt>
          <cx:pt idx="30448">4</cx:pt>
          <cx:pt idx="30449">5</cx:pt>
          <cx:pt idx="30450">2</cx:pt>
          <cx:pt idx="30451">3</cx:pt>
          <cx:pt idx="30452">3</cx:pt>
          <cx:pt idx="30453">1</cx:pt>
          <cx:pt idx="30454">5</cx:pt>
          <cx:pt idx="30455">3</cx:pt>
          <cx:pt idx="30456">3</cx:pt>
          <cx:pt idx="30457">4</cx:pt>
          <cx:pt idx="30458">0</cx:pt>
          <cx:pt idx="30459">3</cx:pt>
          <cx:pt idx="30460">4</cx:pt>
          <cx:pt idx="30461">2</cx:pt>
          <cx:pt idx="30462">3</cx:pt>
          <cx:pt idx="30463">3</cx:pt>
          <cx:pt idx="30464">5</cx:pt>
          <cx:pt idx="30465">2</cx:pt>
          <cx:pt idx="30466">4</cx:pt>
          <cx:pt idx="30467">3</cx:pt>
          <cx:pt idx="30468">1</cx:pt>
          <cx:pt idx="30469">3</cx:pt>
          <cx:pt idx="30470">3</cx:pt>
          <cx:pt idx="30471">1</cx:pt>
          <cx:pt idx="30472">1</cx:pt>
          <cx:pt idx="30473">2</cx:pt>
          <cx:pt idx="30474">3</cx:pt>
          <cx:pt idx="30475">2</cx:pt>
          <cx:pt idx="30476">5</cx:pt>
          <cx:pt idx="30477">1</cx:pt>
          <cx:pt idx="30478">4</cx:pt>
          <cx:pt idx="30479">2</cx:pt>
          <cx:pt idx="30480">2</cx:pt>
          <cx:pt idx="30481">5</cx:pt>
          <cx:pt idx="30482">4</cx:pt>
          <cx:pt idx="30483">5</cx:pt>
          <cx:pt idx="30484">1</cx:pt>
          <cx:pt idx="30485">2</cx:pt>
          <cx:pt idx="30486">2</cx:pt>
          <cx:pt idx="30487">1</cx:pt>
          <cx:pt idx="30488">3</cx:pt>
          <cx:pt idx="30489">5</cx:pt>
          <cx:pt idx="30490">3</cx:pt>
          <cx:pt idx="30491">5</cx:pt>
          <cx:pt idx="30492">4</cx:pt>
          <cx:pt idx="30493">2</cx:pt>
          <cx:pt idx="30494">2</cx:pt>
          <cx:pt idx="30495">4</cx:pt>
          <cx:pt idx="30496">5</cx:pt>
          <cx:pt idx="30497">1</cx:pt>
          <cx:pt idx="30498">2</cx:pt>
          <cx:pt idx="30499">4</cx:pt>
          <cx:pt idx="30500">3</cx:pt>
          <cx:pt idx="30501">2</cx:pt>
          <cx:pt idx="30502">3</cx:pt>
          <cx:pt idx="30503">0</cx:pt>
          <cx:pt idx="30504">4</cx:pt>
          <cx:pt idx="30505">4</cx:pt>
          <cx:pt idx="30506">5</cx:pt>
          <cx:pt idx="30507">2</cx:pt>
          <cx:pt idx="30508">3</cx:pt>
          <cx:pt idx="30509">2</cx:pt>
          <cx:pt idx="30510">5</cx:pt>
          <cx:pt idx="30511">4</cx:pt>
          <cx:pt idx="30512">5</cx:pt>
          <cx:pt idx="30513">1</cx:pt>
          <cx:pt idx="30514">5</cx:pt>
          <cx:pt idx="30515">1</cx:pt>
          <cx:pt idx="30516">3</cx:pt>
          <cx:pt idx="30517">3</cx:pt>
          <cx:pt idx="30518">2</cx:pt>
          <cx:pt idx="30519">2</cx:pt>
          <cx:pt idx="30520">3</cx:pt>
          <cx:pt idx="30521">5</cx:pt>
          <cx:pt idx="30522">3</cx:pt>
          <cx:pt idx="30523">4</cx:pt>
          <cx:pt idx="30524">2</cx:pt>
          <cx:pt idx="30525">2</cx:pt>
          <cx:pt idx="30526">4</cx:pt>
          <cx:pt idx="30527">5</cx:pt>
          <cx:pt idx="30528">5</cx:pt>
          <cx:pt idx="30529">3</cx:pt>
          <cx:pt idx="30530">3</cx:pt>
          <cx:pt idx="30531">2</cx:pt>
          <cx:pt idx="30532">3</cx:pt>
          <cx:pt idx="30533">2</cx:pt>
          <cx:pt idx="30534">0</cx:pt>
          <cx:pt idx="30535">5</cx:pt>
          <cx:pt idx="30536">1</cx:pt>
          <cx:pt idx="30537">2</cx:pt>
          <cx:pt idx="30538">3</cx:pt>
          <cx:pt idx="30539">2</cx:pt>
          <cx:pt idx="30540">5</cx:pt>
          <cx:pt idx="30541">4</cx:pt>
          <cx:pt idx="30542">5</cx:pt>
          <cx:pt idx="30543">3</cx:pt>
          <cx:pt idx="30544">0</cx:pt>
          <cx:pt idx="30545">4</cx:pt>
          <cx:pt idx="30546">1</cx:pt>
          <cx:pt idx="30547">2</cx:pt>
          <cx:pt idx="30548">0</cx:pt>
          <cx:pt idx="30549">2</cx:pt>
          <cx:pt idx="30550">3</cx:pt>
          <cx:pt idx="30551">0</cx:pt>
          <cx:pt idx="30552">0</cx:pt>
          <cx:pt idx="30553">5</cx:pt>
          <cx:pt idx="30554">5</cx:pt>
          <cx:pt idx="30555">1</cx:pt>
          <cx:pt idx="30556">3</cx:pt>
          <cx:pt idx="30557">3</cx:pt>
          <cx:pt idx="30558">2</cx:pt>
          <cx:pt idx="30559">3</cx:pt>
          <cx:pt idx="30560">1</cx:pt>
          <cx:pt idx="30561">0</cx:pt>
          <cx:pt idx="30562">0</cx:pt>
          <cx:pt idx="30563">3</cx:pt>
          <cx:pt idx="30564">1</cx:pt>
          <cx:pt idx="30565">2</cx:pt>
          <cx:pt idx="30566">1</cx:pt>
          <cx:pt idx="30567">5</cx:pt>
          <cx:pt idx="30568">0</cx:pt>
          <cx:pt idx="30569">3</cx:pt>
          <cx:pt idx="30570">3</cx:pt>
          <cx:pt idx="30571">3</cx:pt>
          <cx:pt idx="30572">2</cx:pt>
          <cx:pt idx="30573">4</cx:pt>
          <cx:pt idx="30574">1</cx:pt>
          <cx:pt idx="30575">3</cx:pt>
          <cx:pt idx="30576">1</cx:pt>
          <cx:pt idx="30577">2</cx:pt>
          <cx:pt idx="30578">2</cx:pt>
          <cx:pt idx="30579">3</cx:pt>
          <cx:pt idx="30580">5</cx:pt>
          <cx:pt idx="30581">3</cx:pt>
          <cx:pt idx="30582">3</cx:pt>
          <cx:pt idx="30583">4</cx:pt>
          <cx:pt idx="30584">1</cx:pt>
          <cx:pt idx="30585">5</cx:pt>
          <cx:pt idx="30586">1</cx:pt>
          <cx:pt idx="30587">0</cx:pt>
          <cx:pt idx="30588">3</cx:pt>
          <cx:pt idx="30589">4</cx:pt>
          <cx:pt idx="30590">3</cx:pt>
          <cx:pt idx="30591">4</cx:pt>
          <cx:pt idx="30592">4</cx:pt>
          <cx:pt idx="30593">3</cx:pt>
          <cx:pt idx="30594">2</cx:pt>
          <cx:pt idx="30595">2</cx:pt>
          <cx:pt idx="30596">3</cx:pt>
          <cx:pt idx="30597">3</cx:pt>
          <cx:pt idx="30598">4</cx:pt>
          <cx:pt idx="30599">3</cx:pt>
          <cx:pt idx="30600">5</cx:pt>
          <cx:pt idx="30601">1</cx:pt>
          <cx:pt idx="30602">2</cx:pt>
          <cx:pt idx="30603">3</cx:pt>
          <cx:pt idx="30604">4</cx:pt>
          <cx:pt idx="30605">3</cx:pt>
          <cx:pt idx="30606">3</cx:pt>
          <cx:pt idx="30607">1</cx:pt>
          <cx:pt idx="30608">3</cx:pt>
          <cx:pt idx="30609">4</cx:pt>
          <cx:pt idx="30610">5</cx:pt>
          <cx:pt idx="30611">2</cx:pt>
          <cx:pt idx="30612">1</cx:pt>
          <cx:pt idx="30613">2</cx:pt>
          <cx:pt idx="30614">3</cx:pt>
          <cx:pt idx="30615">5</cx:pt>
          <cx:pt idx="30616">2</cx:pt>
          <cx:pt idx="30617">3</cx:pt>
          <cx:pt idx="30618">3</cx:pt>
          <cx:pt idx="30619">4</cx:pt>
          <cx:pt idx="30620">1</cx:pt>
          <cx:pt idx="30621">0</cx:pt>
          <cx:pt idx="30622">1</cx:pt>
          <cx:pt idx="30623">2</cx:pt>
          <cx:pt idx="30624">4</cx:pt>
          <cx:pt idx="30625">4</cx:pt>
          <cx:pt idx="30626">1</cx:pt>
          <cx:pt idx="30627">5</cx:pt>
          <cx:pt idx="30628">1</cx:pt>
          <cx:pt idx="30629">3</cx:pt>
          <cx:pt idx="30630">3</cx:pt>
          <cx:pt idx="30631">2</cx:pt>
          <cx:pt idx="30632">3</cx:pt>
          <cx:pt idx="30633">3</cx:pt>
          <cx:pt idx="30634">3</cx:pt>
          <cx:pt idx="30635">2</cx:pt>
          <cx:pt idx="30636">2</cx:pt>
          <cx:pt idx="30637">5</cx:pt>
          <cx:pt idx="30638">3</cx:pt>
          <cx:pt idx="30639">5</cx:pt>
          <cx:pt idx="30640">2</cx:pt>
          <cx:pt idx="30641">4</cx:pt>
          <cx:pt idx="30642">4</cx:pt>
          <cx:pt idx="30643">1</cx:pt>
          <cx:pt idx="30644">3</cx:pt>
          <cx:pt idx="30645">4</cx:pt>
          <cx:pt idx="30646">3</cx:pt>
          <cx:pt idx="30647">5</cx:pt>
          <cx:pt idx="30648">1</cx:pt>
          <cx:pt idx="30649">3</cx:pt>
          <cx:pt idx="30650">2</cx:pt>
          <cx:pt idx="30651">4</cx:pt>
          <cx:pt idx="30652">5</cx:pt>
          <cx:pt idx="30653">3</cx:pt>
          <cx:pt idx="30654">5</cx:pt>
          <cx:pt idx="30655">5</cx:pt>
          <cx:pt idx="30656">0</cx:pt>
          <cx:pt idx="30657">1</cx:pt>
          <cx:pt idx="30658">3</cx:pt>
          <cx:pt idx="30659">3</cx:pt>
          <cx:pt idx="30660">4</cx:pt>
          <cx:pt idx="30661">2</cx:pt>
          <cx:pt idx="30662">2</cx:pt>
          <cx:pt idx="30663">4</cx:pt>
          <cx:pt idx="30664">5</cx:pt>
          <cx:pt idx="30665">1</cx:pt>
          <cx:pt idx="30666">2</cx:pt>
          <cx:pt idx="30667">5</cx:pt>
          <cx:pt idx="30668">3</cx:pt>
          <cx:pt idx="30669">2</cx:pt>
          <cx:pt idx="30670">1</cx:pt>
          <cx:pt idx="30671">5</cx:pt>
          <cx:pt idx="30672">3</cx:pt>
          <cx:pt idx="30673">2</cx:pt>
          <cx:pt idx="30674">5</cx:pt>
          <cx:pt idx="30675">2</cx:pt>
          <cx:pt idx="30676">4</cx:pt>
          <cx:pt idx="30677">3</cx:pt>
          <cx:pt idx="30678">5</cx:pt>
          <cx:pt idx="30679">2</cx:pt>
          <cx:pt idx="30680">1</cx:pt>
          <cx:pt idx="30681">3</cx:pt>
          <cx:pt idx="30682">1</cx:pt>
          <cx:pt idx="30683">4</cx:pt>
          <cx:pt idx="30684">5</cx:pt>
          <cx:pt idx="30685">1</cx:pt>
          <cx:pt idx="30686">4</cx:pt>
          <cx:pt idx="30687">3</cx:pt>
          <cx:pt idx="30688">4</cx:pt>
          <cx:pt idx="30689">4</cx:pt>
          <cx:pt idx="30690">1</cx:pt>
          <cx:pt idx="30691">4</cx:pt>
          <cx:pt idx="30692">3</cx:pt>
          <cx:pt idx="30693">3</cx:pt>
          <cx:pt idx="30694">4</cx:pt>
          <cx:pt idx="30695">0</cx:pt>
          <cx:pt idx="30696">1</cx:pt>
          <cx:pt idx="30697">2</cx:pt>
          <cx:pt idx="30698">3</cx:pt>
          <cx:pt idx="30699">4</cx:pt>
          <cx:pt idx="30700">5</cx:pt>
          <cx:pt idx="30701">2</cx:pt>
          <cx:pt idx="30702">1</cx:pt>
          <cx:pt idx="30703">1</cx:pt>
          <cx:pt idx="30704">2</cx:pt>
          <cx:pt idx="30705">1</cx:pt>
          <cx:pt idx="30706">5</cx:pt>
          <cx:pt idx="30707">3</cx:pt>
          <cx:pt idx="30708">1</cx:pt>
          <cx:pt idx="30709">4</cx:pt>
          <cx:pt idx="30710">1</cx:pt>
          <cx:pt idx="30711">2</cx:pt>
          <cx:pt idx="30712">4</cx:pt>
          <cx:pt idx="30713">5</cx:pt>
          <cx:pt idx="30714">2</cx:pt>
          <cx:pt idx="30715">3</cx:pt>
          <cx:pt idx="30716">1</cx:pt>
          <cx:pt idx="30717">2</cx:pt>
          <cx:pt idx="30718">2</cx:pt>
          <cx:pt idx="30719">3</cx:pt>
          <cx:pt idx="30720">4</cx:pt>
          <cx:pt idx="30721">4</cx:pt>
          <cx:pt idx="30722">2</cx:pt>
          <cx:pt idx="30723">3</cx:pt>
          <cx:pt idx="30724">2</cx:pt>
          <cx:pt idx="30725">3</cx:pt>
          <cx:pt idx="30726">1</cx:pt>
          <cx:pt idx="30727">2</cx:pt>
          <cx:pt idx="30728">2</cx:pt>
          <cx:pt idx="30729">3</cx:pt>
          <cx:pt idx="30730">2</cx:pt>
          <cx:pt idx="30731">5</cx:pt>
          <cx:pt idx="30732">5</cx:pt>
          <cx:pt idx="30733">1</cx:pt>
          <cx:pt idx="30734">1</cx:pt>
          <cx:pt idx="30735">1</cx:pt>
          <cx:pt idx="30736">3</cx:pt>
          <cx:pt idx="30737">4</cx:pt>
          <cx:pt idx="30738">5</cx:pt>
          <cx:pt idx="30739">4</cx:pt>
          <cx:pt idx="30740">0</cx:pt>
          <cx:pt idx="30741">3</cx:pt>
          <cx:pt idx="30742">4</cx:pt>
          <cx:pt idx="30743">2</cx:pt>
          <cx:pt idx="30744">3</cx:pt>
          <cx:pt idx="30745">1</cx:pt>
          <cx:pt idx="30746">3</cx:pt>
          <cx:pt idx="30747">3</cx:pt>
          <cx:pt idx="30748">4</cx:pt>
          <cx:pt idx="30749">1</cx:pt>
          <cx:pt idx="30750">1</cx:pt>
          <cx:pt idx="30751">2</cx:pt>
          <cx:pt idx="30752">4</cx:pt>
          <cx:pt idx="30753">0</cx:pt>
          <cx:pt idx="30754">5</cx:pt>
          <cx:pt idx="30755">5</cx:pt>
          <cx:pt idx="30756">3</cx:pt>
          <cx:pt idx="30757">3</cx:pt>
          <cx:pt idx="30758">3</cx:pt>
          <cx:pt idx="30759">3</cx:pt>
          <cx:pt idx="30760">2</cx:pt>
          <cx:pt idx="30761">3</cx:pt>
          <cx:pt idx="30762">3</cx:pt>
          <cx:pt idx="30763">2</cx:pt>
          <cx:pt idx="30764">5</cx:pt>
          <cx:pt idx="30765">4</cx:pt>
          <cx:pt idx="30766">2</cx:pt>
          <cx:pt idx="30767">1</cx:pt>
          <cx:pt idx="30768">1</cx:pt>
          <cx:pt idx="30769">5</cx:pt>
          <cx:pt idx="30770">3</cx:pt>
          <cx:pt idx="30771">3</cx:pt>
          <cx:pt idx="30772">4</cx:pt>
          <cx:pt idx="30773">3</cx:pt>
          <cx:pt idx="30774">1</cx:pt>
          <cx:pt idx="30775">4</cx:pt>
          <cx:pt idx="30776">0</cx:pt>
          <cx:pt idx="30777">2</cx:pt>
          <cx:pt idx="30778">3</cx:pt>
          <cx:pt idx="30779">4</cx:pt>
          <cx:pt idx="30780">4</cx:pt>
          <cx:pt idx="30781">4</cx:pt>
          <cx:pt idx="30782">4</cx:pt>
          <cx:pt idx="30783">1</cx:pt>
          <cx:pt idx="30784">1</cx:pt>
          <cx:pt idx="30785">2</cx:pt>
          <cx:pt idx="30786">3</cx:pt>
          <cx:pt idx="30787">2</cx:pt>
          <cx:pt idx="30788">2</cx:pt>
          <cx:pt idx="30789">4</cx:pt>
          <cx:pt idx="30790">4</cx:pt>
          <cx:pt idx="30791">3</cx:pt>
          <cx:pt idx="30792">4</cx:pt>
          <cx:pt idx="30793">4</cx:pt>
          <cx:pt idx="30794">0</cx:pt>
          <cx:pt idx="30795">5</cx:pt>
          <cx:pt idx="30796">3</cx:pt>
          <cx:pt idx="30797">3</cx:pt>
          <cx:pt idx="30798">2</cx:pt>
          <cx:pt idx="30799">5</cx:pt>
          <cx:pt idx="30800">3</cx:pt>
          <cx:pt idx="30801">5</cx:pt>
          <cx:pt idx="30802">2</cx:pt>
          <cx:pt idx="30803">2</cx:pt>
          <cx:pt idx="30804">4</cx:pt>
          <cx:pt idx="30805">1</cx:pt>
          <cx:pt idx="30806">2</cx:pt>
          <cx:pt idx="30807">1</cx:pt>
          <cx:pt idx="30808">2</cx:pt>
          <cx:pt idx="30809">3</cx:pt>
          <cx:pt idx="30810">4</cx:pt>
          <cx:pt idx="30811">2</cx:pt>
          <cx:pt idx="30812">2</cx:pt>
          <cx:pt idx="30813">3</cx:pt>
          <cx:pt idx="30814">3</cx:pt>
          <cx:pt idx="30815">5</cx:pt>
          <cx:pt idx="30816">4</cx:pt>
          <cx:pt idx="30817">1</cx:pt>
          <cx:pt idx="30818">5</cx:pt>
          <cx:pt idx="30819">3</cx:pt>
          <cx:pt idx="30820">2</cx:pt>
          <cx:pt idx="30821">2</cx:pt>
          <cx:pt idx="30822">4</cx:pt>
          <cx:pt idx="30823">3</cx:pt>
          <cx:pt idx="30824">3</cx:pt>
          <cx:pt idx="30825">0</cx:pt>
          <cx:pt idx="30826">3</cx:pt>
          <cx:pt idx="30827">1</cx:pt>
          <cx:pt idx="30828">5</cx:pt>
          <cx:pt idx="30829">3</cx:pt>
          <cx:pt idx="30830">2</cx:pt>
          <cx:pt idx="30831">3</cx:pt>
          <cx:pt idx="30832">2</cx:pt>
          <cx:pt idx="30833">3</cx:pt>
          <cx:pt idx="30834">3</cx:pt>
          <cx:pt idx="30835">0</cx:pt>
          <cx:pt idx="30836">2</cx:pt>
          <cx:pt idx="30837">1</cx:pt>
          <cx:pt idx="30838">3</cx:pt>
          <cx:pt idx="30839">3</cx:pt>
          <cx:pt idx="30840">3</cx:pt>
          <cx:pt idx="30841">4</cx:pt>
          <cx:pt idx="30842">0</cx:pt>
          <cx:pt idx="30843">4</cx:pt>
          <cx:pt idx="30844">1</cx:pt>
          <cx:pt idx="30845">3</cx:pt>
          <cx:pt idx="30846">4</cx:pt>
          <cx:pt idx="30847">1</cx:pt>
          <cx:pt idx="30848">4</cx:pt>
          <cx:pt idx="30849">2</cx:pt>
          <cx:pt idx="30850">3</cx:pt>
          <cx:pt idx="30851">3</cx:pt>
          <cx:pt idx="30852">2</cx:pt>
          <cx:pt idx="30853">4</cx:pt>
          <cx:pt idx="30854">4</cx:pt>
          <cx:pt idx="30855">3</cx:pt>
          <cx:pt idx="30856">3</cx:pt>
          <cx:pt idx="30857">2</cx:pt>
          <cx:pt idx="30858">5</cx:pt>
          <cx:pt idx="30859">2</cx:pt>
          <cx:pt idx="30860">5</cx:pt>
          <cx:pt idx="30861">4</cx:pt>
          <cx:pt idx="30862">4</cx:pt>
          <cx:pt idx="30863">3</cx:pt>
          <cx:pt idx="30864">3</cx:pt>
          <cx:pt idx="30865">3</cx:pt>
          <cx:pt idx="30866">3</cx:pt>
          <cx:pt idx="30867">2</cx:pt>
          <cx:pt idx="30868">3</cx:pt>
          <cx:pt idx="30869">4</cx:pt>
          <cx:pt idx="30870">4</cx:pt>
          <cx:pt idx="30871">4</cx:pt>
          <cx:pt idx="30872">3</cx:pt>
          <cx:pt idx="30873">2</cx:pt>
          <cx:pt idx="30874">3</cx:pt>
          <cx:pt idx="30875">1</cx:pt>
          <cx:pt idx="30876">1</cx:pt>
          <cx:pt idx="30877">5</cx:pt>
          <cx:pt idx="30878">3</cx:pt>
          <cx:pt idx="30879">2</cx:pt>
          <cx:pt idx="30880">4</cx:pt>
          <cx:pt idx="30881">2</cx:pt>
          <cx:pt idx="30882">1</cx:pt>
          <cx:pt idx="30883">3</cx:pt>
          <cx:pt idx="30884">1</cx:pt>
          <cx:pt idx="30885">2</cx:pt>
          <cx:pt idx="30886">5</cx:pt>
          <cx:pt idx="30887">1</cx:pt>
          <cx:pt idx="30888">2</cx:pt>
          <cx:pt idx="30889">2</cx:pt>
          <cx:pt idx="30890">2</cx:pt>
          <cx:pt idx="30891">1</cx:pt>
          <cx:pt idx="30892">4</cx:pt>
          <cx:pt idx="30893">1</cx:pt>
          <cx:pt idx="30894">2</cx:pt>
          <cx:pt idx="30895">3</cx:pt>
          <cx:pt idx="30896">2</cx:pt>
          <cx:pt idx="30897">1</cx:pt>
          <cx:pt idx="30898">2</cx:pt>
          <cx:pt idx="30899">3</cx:pt>
          <cx:pt idx="30900">2</cx:pt>
          <cx:pt idx="30901">0</cx:pt>
          <cx:pt idx="30902">3</cx:pt>
          <cx:pt idx="30903">2</cx:pt>
          <cx:pt idx="30904">4</cx:pt>
          <cx:pt idx="30905">4</cx:pt>
          <cx:pt idx="30906">5</cx:pt>
          <cx:pt idx="30907">1</cx:pt>
          <cx:pt idx="30908">3</cx:pt>
          <cx:pt idx="30909">1</cx:pt>
          <cx:pt idx="30910">4</cx:pt>
          <cx:pt idx="30911">1</cx:pt>
          <cx:pt idx="30912">4</cx:pt>
          <cx:pt idx="30913">2</cx:pt>
          <cx:pt idx="30914">2</cx:pt>
          <cx:pt idx="30915">0</cx:pt>
          <cx:pt idx="30916">1</cx:pt>
          <cx:pt idx="30917">2</cx:pt>
          <cx:pt idx="30918">5</cx:pt>
          <cx:pt idx="30919">1</cx:pt>
          <cx:pt idx="30920">4</cx:pt>
          <cx:pt idx="30921">4</cx:pt>
          <cx:pt idx="30922">3</cx:pt>
          <cx:pt idx="30923">4</cx:pt>
          <cx:pt idx="30924">2</cx:pt>
          <cx:pt idx="30925">0</cx:pt>
          <cx:pt idx="30926">5</cx:pt>
          <cx:pt idx="30927">4</cx:pt>
          <cx:pt idx="30928">5</cx:pt>
          <cx:pt idx="30929">1</cx:pt>
          <cx:pt idx="30930">4</cx:pt>
          <cx:pt idx="30931">1</cx:pt>
          <cx:pt idx="30932">4</cx:pt>
          <cx:pt idx="30933">5</cx:pt>
          <cx:pt idx="30934">5</cx:pt>
          <cx:pt idx="30935">3</cx:pt>
          <cx:pt idx="30936">2</cx:pt>
          <cx:pt idx="30937">1</cx:pt>
          <cx:pt idx="30938">4</cx:pt>
          <cx:pt idx="30939">3</cx:pt>
          <cx:pt idx="30940">3</cx:pt>
          <cx:pt idx="30941">2</cx:pt>
          <cx:pt idx="30942">3</cx:pt>
          <cx:pt idx="30943">3</cx:pt>
          <cx:pt idx="30944">2</cx:pt>
          <cx:pt idx="30945">1</cx:pt>
          <cx:pt idx="30946">3</cx:pt>
          <cx:pt idx="30947">1</cx:pt>
          <cx:pt idx="30948">3</cx:pt>
          <cx:pt idx="30949">4</cx:pt>
          <cx:pt idx="30950">1</cx:pt>
          <cx:pt idx="30951">4</cx:pt>
          <cx:pt idx="30952">1</cx:pt>
          <cx:pt idx="30953">3</cx:pt>
          <cx:pt idx="30954">3</cx:pt>
          <cx:pt idx="30955">5</cx:pt>
          <cx:pt idx="30956">4</cx:pt>
          <cx:pt idx="30957">3</cx:pt>
          <cx:pt idx="30958">1</cx:pt>
          <cx:pt idx="30959">3</cx:pt>
          <cx:pt idx="30960">3</cx:pt>
          <cx:pt idx="30961">4</cx:pt>
          <cx:pt idx="30962">2</cx:pt>
          <cx:pt idx="30963">3</cx:pt>
          <cx:pt idx="30964">5</cx:pt>
          <cx:pt idx="30965">1</cx:pt>
          <cx:pt idx="30966">4</cx:pt>
          <cx:pt idx="30967">0</cx:pt>
          <cx:pt idx="30968">2</cx:pt>
          <cx:pt idx="30969">4</cx:pt>
          <cx:pt idx="30970">2</cx:pt>
          <cx:pt idx="30971">4</cx:pt>
          <cx:pt idx="30972">0</cx:pt>
          <cx:pt idx="30973">0</cx:pt>
          <cx:pt idx="30974">4</cx:pt>
          <cx:pt idx="30975">1</cx:pt>
          <cx:pt idx="30976">4</cx:pt>
          <cx:pt idx="30977">2</cx:pt>
          <cx:pt idx="30978">3</cx:pt>
          <cx:pt idx="30979">1</cx:pt>
          <cx:pt idx="30980">2</cx:pt>
          <cx:pt idx="30981">2</cx:pt>
          <cx:pt idx="30982">2</cx:pt>
          <cx:pt idx="30983">3</cx:pt>
          <cx:pt idx="30984">4</cx:pt>
          <cx:pt idx="30985">1</cx:pt>
          <cx:pt idx="30986">2</cx:pt>
          <cx:pt idx="30987">5</cx:pt>
          <cx:pt idx="30988">5</cx:pt>
          <cx:pt idx="30989">2</cx:pt>
          <cx:pt idx="30990">2</cx:pt>
          <cx:pt idx="30991">2</cx:pt>
          <cx:pt idx="30992">2</cx:pt>
          <cx:pt idx="30993">0</cx:pt>
          <cx:pt idx="30994">3</cx:pt>
          <cx:pt idx="30995">1</cx:pt>
          <cx:pt idx="30996">1</cx:pt>
          <cx:pt idx="30997">4</cx:pt>
          <cx:pt idx="30998">3</cx:pt>
          <cx:pt idx="30999">3</cx:pt>
          <cx:pt idx="31000">1</cx:pt>
          <cx:pt idx="31001">2</cx:pt>
          <cx:pt idx="31002">3</cx:pt>
          <cx:pt idx="31003">2</cx:pt>
          <cx:pt idx="31004">5</cx:pt>
          <cx:pt idx="31005">2</cx:pt>
          <cx:pt idx="31006">3</cx:pt>
          <cx:pt idx="31007">2</cx:pt>
          <cx:pt idx="31008">3</cx:pt>
          <cx:pt idx="31009">3</cx:pt>
          <cx:pt idx="31010">2</cx:pt>
          <cx:pt idx="31011">4</cx:pt>
          <cx:pt idx="31012">3</cx:pt>
          <cx:pt idx="31013">3</cx:pt>
          <cx:pt idx="31014">5</cx:pt>
          <cx:pt idx="31015">3</cx:pt>
          <cx:pt idx="31016">2</cx:pt>
          <cx:pt idx="31017">2</cx:pt>
          <cx:pt idx="31018">4</cx:pt>
          <cx:pt idx="31019">5</cx:pt>
          <cx:pt idx="31020">0</cx:pt>
          <cx:pt idx="31021">2</cx:pt>
          <cx:pt idx="31022">5</cx:pt>
          <cx:pt idx="31023">3</cx:pt>
          <cx:pt idx="31024">4</cx:pt>
          <cx:pt idx="31025">4</cx:pt>
          <cx:pt idx="31026">1</cx:pt>
          <cx:pt idx="31027">3</cx:pt>
          <cx:pt idx="31028">3</cx:pt>
          <cx:pt idx="31029">1</cx:pt>
          <cx:pt idx="31030">2</cx:pt>
          <cx:pt idx="31031">3</cx:pt>
          <cx:pt idx="31032">3</cx:pt>
          <cx:pt idx="31033">5</cx:pt>
          <cx:pt idx="31034">3</cx:pt>
          <cx:pt idx="31035">3</cx:pt>
          <cx:pt idx="31036">2</cx:pt>
          <cx:pt idx="31037">0</cx:pt>
          <cx:pt idx="31038">1</cx:pt>
          <cx:pt idx="31039">0</cx:pt>
          <cx:pt idx="31040">3</cx:pt>
          <cx:pt idx="31041">4</cx:pt>
          <cx:pt idx="31042">2</cx:pt>
          <cx:pt idx="31043">1</cx:pt>
          <cx:pt idx="31044">2</cx:pt>
          <cx:pt idx="31045">3</cx:pt>
          <cx:pt idx="31046">4</cx:pt>
          <cx:pt idx="31047">2</cx:pt>
          <cx:pt idx="31048">3</cx:pt>
          <cx:pt idx="31049">2</cx:pt>
          <cx:pt idx="31050">1</cx:pt>
          <cx:pt idx="31051">2</cx:pt>
          <cx:pt idx="31052">0</cx:pt>
          <cx:pt idx="31053">4</cx:pt>
          <cx:pt idx="31054">2</cx:pt>
          <cx:pt idx="31055">0</cx:pt>
          <cx:pt idx="31056">3</cx:pt>
          <cx:pt idx="31057">2</cx:pt>
          <cx:pt idx="31058">3</cx:pt>
          <cx:pt idx="31059">4</cx:pt>
          <cx:pt idx="31060">3</cx:pt>
          <cx:pt idx="31061">1</cx:pt>
          <cx:pt idx="31062">2</cx:pt>
          <cx:pt idx="31063">4</cx:pt>
          <cx:pt idx="31064">3</cx:pt>
          <cx:pt idx="31065">3</cx:pt>
          <cx:pt idx="31066">1</cx:pt>
          <cx:pt idx="31067">4</cx:pt>
          <cx:pt idx="31068">3</cx:pt>
          <cx:pt idx="31069">2</cx:pt>
          <cx:pt idx="31070">3</cx:pt>
          <cx:pt idx="31071">1</cx:pt>
          <cx:pt idx="31072">3</cx:pt>
          <cx:pt idx="31073">2</cx:pt>
          <cx:pt idx="31074">3</cx:pt>
          <cx:pt idx="31075">3</cx:pt>
          <cx:pt idx="31076">1</cx:pt>
          <cx:pt idx="31077">1</cx:pt>
          <cx:pt idx="31078">2</cx:pt>
          <cx:pt idx="31079">3</cx:pt>
          <cx:pt idx="31080">3</cx:pt>
          <cx:pt idx="31081">2</cx:pt>
          <cx:pt idx="31082">2</cx:pt>
          <cx:pt idx="31083">2</cx:pt>
          <cx:pt idx="31084">0</cx:pt>
          <cx:pt idx="31085">3</cx:pt>
          <cx:pt idx="31086">2</cx:pt>
          <cx:pt idx="31087">4</cx:pt>
          <cx:pt idx="31088">4</cx:pt>
          <cx:pt idx="31089">2</cx:pt>
          <cx:pt idx="31090">5</cx:pt>
          <cx:pt idx="31091">3</cx:pt>
          <cx:pt idx="31092">0</cx:pt>
          <cx:pt idx="31093">3</cx:pt>
          <cx:pt idx="31094">4</cx:pt>
          <cx:pt idx="31095">3</cx:pt>
          <cx:pt idx="31096">4</cx:pt>
          <cx:pt idx="31097">3</cx:pt>
          <cx:pt idx="31098">3</cx:pt>
          <cx:pt idx="31099">4</cx:pt>
          <cx:pt idx="31100">3</cx:pt>
          <cx:pt idx="31101">2</cx:pt>
          <cx:pt idx="31102">4</cx:pt>
          <cx:pt idx="31103">1</cx:pt>
          <cx:pt idx="31104">3</cx:pt>
          <cx:pt idx="31105">3</cx:pt>
          <cx:pt idx="31106">5</cx:pt>
          <cx:pt idx="31107">3</cx:pt>
          <cx:pt idx="31108">4</cx:pt>
          <cx:pt idx="31109">3</cx:pt>
          <cx:pt idx="31110">1</cx:pt>
          <cx:pt idx="31111">1</cx:pt>
          <cx:pt idx="31112">3</cx:pt>
          <cx:pt idx="31113">1</cx:pt>
          <cx:pt idx="31114">1</cx:pt>
          <cx:pt idx="31115">3</cx:pt>
          <cx:pt idx="31116">1</cx:pt>
          <cx:pt idx="31117">0</cx:pt>
          <cx:pt idx="31118">4</cx:pt>
          <cx:pt idx="31119">2</cx:pt>
          <cx:pt idx="31120">1</cx:pt>
          <cx:pt idx="31121">5</cx:pt>
          <cx:pt idx="31122">5</cx:pt>
          <cx:pt idx="31123">2</cx:pt>
          <cx:pt idx="31124">1</cx:pt>
          <cx:pt idx="31125">2</cx:pt>
          <cx:pt idx="31126">1</cx:pt>
          <cx:pt idx="31127">5</cx:pt>
          <cx:pt idx="31128">5</cx:pt>
          <cx:pt idx="31129">1</cx:pt>
          <cx:pt idx="31130">3</cx:pt>
          <cx:pt idx="31131">1</cx:pt>
          <cx:pt idx="31132">5</cx:pt>
          <cx:pt idx="31133">3</cx:pt>
          <cx:pt idx="31134">1</cx:pt>
          <cx:pt idx="31135">2</cx:pt>
          <cx:pt idx="31136">1</cx:pt>
          <cx:pt idx="31137">3</cx:pt>
          <cx:pt idx="31138">4</cx:pt>
          <cx:pt idx="31139">5</cx:pt>
          <cx:pt idx="31140">2</cx:pt>
          <cx:pt idx="31141">2</cx:pt>
          <cx:pt idx="31142">3</cx:pt>
          <cx:pt idx="31143">4</cx:pt>
          <cx:pt idx="31144">3</cx:pt>
          <cx:pt idx="31145">3</cx:pt>
          <cx:pt idx="31146">5</cx:pt>
          <cx:pt idx="31147">3</cx:pt>
          <cx:pt idx="31148">2</cx:pt>
          <cx:pt idx="31149">4</cx:pt>
          <cx:pt idx="31150">2</cx:pt>
          <cx:pt idx="31151">4</cx:pt>
          <cx:pt idx="31152">2</cx:pt>
          <cx:pt idx="31153">2</cx:pt>
          <cx:pt idx="31154">5</cx:pt>
          <cx:pt idx="31155">1</cx:pt>
          <cx:pt idx="31156">2</cx:pt>
          <cx:pt idx="31157">4</cx:pt>
          <cx:pt idx="31158">0</cx:pt>
          <cx:pt idx="31159">3</cx:pt>
          <cx:pt idx="31160">5</cx:pt>
          <cx:pt idx="31161">0</cx:pt>
          <cx:pt idx="31162">3</cx:pt>
          <cx:pt idx="31163">1</cx:pt>
          <cx:pt idx="31164">2</cx:pt>
          <cx:pt idx="31165">5</cx:pt>
          <cx:pt idx="31166">3</cx:pt>
          <cx:pt idx="31167">1</cx:pt>
          <cx:pt idx="31168">2</cx:pt>
          <cx:pt idx="31169">4</cx:pt>
          <cx:pt idx="31170">3</cx:pt>
          <cx:pt idx="31171">3</cx:pt>
          <cx:pt idx="31172">1</cx:pt>
          <cx:pt idx="31173">4</cx:pt>
          <cx:pt idx="31174">1</cx:pt>
          <cx:pt idx="31175">2</cx:pt>
          <cx:pt idx="31176">1</cx:pt>
          <cx:pt idx="31177">5</cx:pt>
          <cx:pt idx="31178">5</cx:pt>
          <cx:pt idx="31179">5</cx:pt>
          <cx:pt idx="31180">5</cx:pt>
          <cx:pt idx="31181">3</cx:pt>
          <cx:pt idx="31182">3</cx:pt>
          <cx:pt idx="31183">4</cx:pt>
          <cx:pt idx="31184">1</cx:pt>
          <cx:pt idx="31185">4</cx:pt>
          <cx:pt idx="31186">3</cx:pt>
          <cx:pt idx="31187">3</cx:pt>
          <cx:pt idx="31188">5</cx:pt>
          <cx:pt idx="31189">1</cx:pt>
          <cx:pt idx="31190">0</cx:pt>
          <cx:pt idx="31191">2</cx:pt>
          <cx:pt idx="31192">3</cx:pt>
          <cx:pt idx="31193">5</cx:pt>
          <cx:pt idx="31194">2</cx:pt>
          <cx:pt idx="31195">2</cx:pt>
          <cx:pt idx="31196">0</cx:pt>
          <cx:pt idx="31197">4</cx:pt>
          <cx:pt idx="31198">1</cx:pt>
          <cx:pt idx="31199">4</cx:pt>
          <cx:pt idx="31200">3</cx:pt>
          <cx:pt idx="31201">1</cx:pt>
          <cx:pt idx="31202">4</cx:pt>
          <cx:pt idx="31203">4</cx:pt>
          <cx:pt idx="31204">2</cx:pt>
          <cx:pt idx="31205">1</cx:pt>
          <cx:pt idx="31206">2</cx:pt>
          <cx:pt idx="31207">5</cx:pt>
          <cx:pt idx="31208">4</cx:pt>
          <cx:pt idx="31209">4</cx:pt>
          <cx:pt idx="31210">3</cx:pt>
          <cx:pt idx="31211">2</cx:pt>
          <cx:pt idx="31212">4</cx:pt>
          <cx:pt idx="31213">3</cx:pt>
          <cx:pt idx="31214">2</cx:pt>
          <cx:pt idx="31215">0</cx:pt>
          <cx:pt idx="31216">3</cx:pt>
          <cx:pt idx="31217">3</cx:pt>
          <cx:pt idx="31218">3</cx:pt>
          <cx:pt idx="31219">2</cx:pt>
          <cx:pt idx="31220">2</cx:pt>
          <cx:pt idx="31221">2</cx:pt>
          <cx:pt idx="31222">3</cx:pt>
          <cx:pt idx="31223">2</cx:pt>
          <cx:pt idx="31224">3</cx:pt>
          <cx:pt idx="31225">4</cx:pt>
          <cx:pt idx="31226">2</cx:pt>
          <cx:pt idx="31227">5</cx:pt>
          <cx:pt idx="31228">4</cx:pt>
          <cx:pt idx="31229">4</cx:pt>
          <cx:pt idx="31230">1</cx:pt>
          <cx:pt idx="31231">2</cx:pt>
          <cx:pt idx="31232">1</cx:pt>
          <cx:pt idx="31233">4</cx:pt>
          <cx:pt idx="31234">1</cx:pt>
          <cx:pt idx="31235">2</cx:pt>
          <cx:pt idx="31236">1</cx:pt>
          <cx:pt idx="31237">1</cx:pt>
          <cx:pt idx="31238">3</cx:pt>
          <cx:pt idx="31239">5</cx:pt>
          <cx:pt idx="31240">1</cx:pt>
          <cx:pt idx="31241">4</cx:pt>
          <cx:pt idx="31242">2</cx:pt>
          <cx:pt idx="31243">4</cx:pt>
          <cx:pt idx="31244">2</cx:pt>
          <cx:pt idx="31245">4</cx:pt>
          <cx:pt idx="31246">3</cx:pt>
          <cx:pt idx="31247">1</cx:pt>
          <cx:pt idx="31248">2</cx:pt>
          <cx:pt idx="31249">4</cx:pt>
          <cx:pt idx="31250">3</cx:pt>
          <cx:pt idx="31251">1</cx:pt>
          <cx:pt idx="31252">4</cx:pt>
          <cx:pt idx="31253">2</cx:pt>
          <cx:pt idx="31254">1</cx:pt>
          <cx:pt idx="31255">1</cx:pt>
          <cx:pt idx="31256">3</cx:pt>
          <cx:pt idx="31257">4</cx:pt>
          <cx:pt idx="31258">2</cx:pt>
          <cx:pt idx="31259">0</cx:pt>
          <cx:pt idx="31260">2</cx:pt>
          <cx:pt idx="31261">4</cx:pt>
          <cx:pt idx="31262">4</cx:pt>
          <cx:pt idx="31263">5</cx:pt>
          <cx:pt idx="31264">2</cx:pt>
          <cx:pt idx="31265">5</cx:pt>
          <cx:pt idx="31266">4</cx:pt>
          <cx:pt idx="31267">2</cx:pt>
          <cx:pt idx="31268">3</cx:pt>
          <cx:pt idx="31269">2</cx:pt>
          <cx:pt idx="31270">0</cx:pt>
          <cx:pt idx="31271">2</cx:pt>
          <cx:pt idx="31272">2</cx:pt>
          <cx:pt idx="31273">0</cx:pt>
          <cx:pt idx="31274">2</cx:pt>
          <cx:pt idx="31275">2</cx:pt>
          <cx:pt idx="31276">4</cx:pt>
          <cx:pt idx="31277">3</cx:pt>
          <cx:pt idx="31278">3</cx:pt>
          <cx:pt idx="31279">3</cx:pt>
          <cx:pt idx="31280">2</cx:pt>
          <cx:pt idx="31281">4</cx:pt>
          <cx:pt idx="31282">2</cx:pt>
          <cx:pt idx="31283">0</cx:pt>
          <cx:pt idx="31284">2</cx:pt>
          <cx:pt idx="31285">5</cx:pt>
          <cx:pt idx="31286">2</cx:pt>
          <cx:pt idx="31287">3</cx:pt>
          <cx:pt idx="31288">4</cx:pt>
          <cx:pt idx="31289">1</cx:pt>
          <cx:pt idx="31290">2</cx:pt>
          <cx:pt idx="31291">2</cx:pt>
          <cx:pt idx="31292">3</cx:pt>
          <cx:pt idx="31293">2</cx:pt>
          <cx:pt idx="31294">4</cx:pt>
          <cx:pt idx="31295">2</cx:pt>
          <cx:pt idx="31296">1</cx:pt>
          <cx:pt idx="31297">3</cx:pt>
          <cx:pt idx="31298">4</cx:pt>
          <cx:pt idx="31299">1</cx:pt>
          <cx:pt idx="31300">5</cx:pt>
          <cx:pt idx="31301">2</cx:pt>
          <cx:pt idx="31302">2</cx:pt>
          <cx:pt idx="31303">5</cx:pt>
          <cx:pt idx="31304">3</cx:pt>
          <cx:pt idx="31305">4</cx:pt>
          <cx:pt idx="31306">1</cx:pt>
          <cx:pt idx="31307">5</cx:pt>
          <cx:pt idx="31308">2</cx:pt>
          <cx:pt idx="31309">1</cx:pt>
          <cx:pt idx="31310">2</cx:pt>
          <cx:pt idx="31311">3</cx:pt>
          <cx:pt idx="31312">1</cx:pt>
          <cx:pt idx="31313">5</cx:pt>
          <cx:pt idx="31314">2</cx:pt>
          <cx:pt idx="31315">2</cx:pt>
          <cx:pt idx="31316">3</cx:pt>
          <cx:pt idx="31317">4</cx:pt>
          <cx:pt idx="31318">5</cx:pt>
          <cx:pt idx="31319">4</cx:pt>
          <cx:pt idx="31320">5</cx:pt>
          <cx:pt idx="31321">1</cx:pt>
          <cx:pt idx="31322">3</cx:pt>
          <cx:pt idx="31323">1</cx:pt>
          <cx:pt idx="31324">3</cx:pt>
          <cx:pt idx="31325">3</cx:pt>
          <cx:pt idx="31326">3</cx:pt>
          <cx:pt idx="31327">4</cx:pt>
          <cx:pt idx="31328">1</cx:pt>
          <cx:pt idx="31329">1</cx:pt>
          <cx:pt idx="31330">3</cx:pt>
          <cx:pt idx="31331">2</cx:pt>
          <cx:pt idx="31332">5</cx:pt>
          <cx:pt idx="31333">2</cx:pt>
          <cx:pt idx="31334">2</cx:pt>
          <cx:pt idx="31335">3</cx:pt>
          <cx:pt idx="31336">3</cx:pt>
          <cx:pt idx="31337">1</cx:pt>
          <cx:pt idx="31338">1</cx:pt>
          <cx:pt idx="31339">2</cx:pt>
          <cx:pt idx="31340">2</cx:pt>
          <cx:pt idx="31341">5</cx:pt>
          <cx:pt idx="31342">4</cx:pt>
          <cx:pt idx="31343">2</cx:pt>
          <cx:pt idx="31344">4</cx:pt>
          <cx:pt idx="31345">0</cx:pt>
          <cx:pt idx="31346">3</cx:pt>
          <cx:pt idx="31347">4</cx:pt>
          <cx:pt idx="31348">2</cx:pt>
          <cx:pt idx="31349">2</cx:pt>
          <cx:pt idx="31350">2</cx:pt>
          <cx:pt idx="31351">4</cx:pt>
          <cx:pt idx="31352">1</cx:pt>
          <cx:pt idx="31353">1</cx:pt>
          <cx:pt idx="31354">1</cx:pt>
          <cx:pt idx="31355">2</cx:pt>
          <cx:pt idx="31356">4</cx:pt>
          <cx:pt idx="31357">2</cx:pt>
          <cx:pt idx="31358">1</cx:pt>
          <cx:pt idx="31359">4</cx:pt>
          <cx:pt idx="31360">4</cx:pt>
          <cx:pt idx="31361">2</cx:pt>
          <cx:pt idx="31362">1</cx:pt>
          <cx:pt idx="31363">5</cx:pt>
          <cx:pt idx="31364">1</cx:pt>
          <cx:pt idx="31365">2</cx:pt>
          <cx:pt idx="31366">4</cx:pt>
          <cx:pt idx="31367">2</cx:pt>
          <cx:pt idx="31368">5</cx:pt>
          <cx:pt idx="31369">4</cx:pt>
          <cx:pt idx="31370">1</cx:pt>
          <cx:pt idx="31371">3</cx:pt>
          <cx:pt idx="31372">1</cx:pt>
          <cx:pt idx="31373">2</cx:pt>
          <cx:pt idx="31374">1</cx:pt>
          <cx:pt idx="31375">2</cx:pt>
          <cx:pt idx="31376">2</cx:pt>
          <cx:pt idx="31377">3</cx:pt>
          <cx:pt idx="31378">3</cx:pt>
          <cx:pt idx="31379">3</cx:pt>
          <cx:pt idx="31380">4</cx:pt>
          <cx:pt idx="31381">1</cx:pt>
          <cx:pt idx="31382">3</cx:pt>
          <cx:pt idx="31383">0</cx:pt>
          <cx:pt idx="31384">2</cx:pt>
          <cx:pt idx="31385">3</cx:pt>
          <cx:pt idx="31386">4</cx:pt>
          <cx:pt idx="31387">5</cx:pt>
          <cx:pt idx="31388">1</cx:pt>
          <cx:pt idx="31389">3</cx:pt>
          <cx:pt idx="31390">5</cx:pt>
          <cx:pt idx="31391">2</cx:pt>
          <cx:pt idx="31392">1</cx:pt>
          <cx:pt idx="31393">0</cx:pt>
          <cx:pt idx="31394">5</cx:pt>
          <cx:pt idx="31395">3</cx:pt>
          <cx:pt idx="31396">4</cx:pt>
          <cx:pt idx="31397">3</cx:pt>
          <cx:pt idx="31398">1</cx:pt>
          <cx:pt idx="31399">4</cx:pt>
          <cx:pt idx="31400">3</cx:pt>
          <cx:pt idx="31401">3</cx:pt>
          <cx:pt idx="31402">3</cx:pt>
          <cx:pt idx="31403">2</cx:pt>
          <cx:pt idx="31404">2</cx:pt>
          <cx:pt idx="31405">3</cx:pt>
          <cx:pt idx="31406">3</cx:pt>
          <cx:pt idx="31407">5</cx:pt>
          <cx:pt idx="31408">4</cx:pt>
          <cx:pt idx="31409">5</cx:pt>
          <cx:pt idx="31410">1</cx:pt>
          <cx:pt idx="31411">4</cx:pt>
          <cx:pt idx="31412">3</cx:pt>
          <cx:pt idx="31413">3</cx:pt>
          <cx:pt idx="31414">3</cx:pt>
          <cx:pt idx="31415">1</cx:pt>
          <cx:pt idx="31416">1</cx:pt>
          <cx:pt idx="31417">2</cx:pt>
          <cx:pt idx="31418">4</cx:pt>
          <cx:pt idx="31419">4</cx:pt>
          <cx:pt idx="31420">3</cx:pt>
          <cx:pt idx="31421">2</cx:pt>
          <cx:pt idx="31422">5</cx:pt>
          <cx:pt idx="31423">1</cx:pt>
          <cx:pt idx="31424">1</cx:pt>
          <cx:pt idx="31425">3</cx:pt>
          <cx:pt idx="31426">1</cx:pt>
          <cx:pt idx="31427">3</cx:pt>
          <cx:pt idx="31428">3</cx:pt>
          <cx:pt idx="31429">2</cx:pt>
          <cx:pt idx="31430">4</cx:pt>
          <cx:pt idx="31431">1</cx:pt>
          <cx:pt idx="31432">4</cx:pt>
          <cx:pt idx="31433">2</cx:pt>
          <cx:pt idx="31434">3</cx:pt>
          <cx:pt idx="31435">1</cx:pt>
          <cx:pt idx="31436">3</cx:pt>
          <cx:pt idx="31437">2</cx:pt>
          <cx:pt idx="31438">4</cx:pt>
          <cx:pt idx="31439">5</cx:pt>
          <cx:pt idx="31440">2</cx:pt>
          <cx:pt idx="31441">4</cx:pt>
          <cx:pt idx="31442">5</cx:pt>
          <cx:pt idx="31443">1</cx:pt>
          <cx:pt idx="31444">5</cx:pt>
          <cx:pt idx="31445">2</cx:pt>
          <cx:pt idx="31446">5</cx:pt>
          <cx:pt idx="31447">3</cx:pt>
          <cx:pt idx="31448">3</cx:pt>
          <cx:pt idx="31449">5</cx:pt>
          <cx:pt idx="31450">2</cx:pt>
          <cx:pt idx="31451">3</cx:pt>
          <cx:pt idx="31452">0</cx:pt>
          <cx:pt idx="31453">3</cx:pt>
          <cx:pt idx="31454">3</cx:pt>
          <cx:pt idx="31455">2</cx:pt>
          <cx:pt idx="31456">2</cx:pt>
          <cx:pt idx="31457">3</cx:pt>
          <cx:pt idx="31458">3</cx:pt>
          <cx:pt idx="31459">3</cx:pt>
          <cx:pt idx="31460">3</cx:pt>
          <cx:pt idx="31461">2</cx:pt>
          <cx:pt idx="31462">3</cx:pt>
          <cx:pt idx="31463">5</cx:pt>
          <cx:pt idx="31464">5</cx:pt>
          <cx:pt idx="31465">4</cx:pt>
          <cx:pt idx="31466">5</cx:pt>
          <cx:pt idx="31467">2</cx:pt>
          <cx:pt idx="31468">3</cx:pt>
          <cx:pt idx="31469">1</cx:pt>
          <cx:pt idx="31470">2</cx:pt>
          <cx:pt idx="31471">3</cx:pt>
          <cx:pt idx="31472">2</cx:pt>
          <cx:pt idx="31473">1</cx:pt>
          <cx:pt idx="31474">1</cx:pt>
          <cx:pt idx="31475">4</cx:pt>
          <cx:pt idx="31476">3</cx:pt>
          <cx:pt idx="31477">1</cx:pt>
          <cx:pt idx="31478">3</cx:pt>
          <cx:pt idx="31479">2</cx:pt>
          <cx:pt idx="31480">3</cx:pt>
          <cx:pt idx="31481">4</cx:pt>
          <cx:pt idx="31482">1</cx:pt>
          <cx:pt idx="31483">3</cx:pt>
          <cx:pt idx="31484">3</cx:pt>
          <cx:pt idx="31485">4</cx:pt>
          <cx:pt idx="31486">5</cx:pt>
          <cx:pt idx="31487">3</cx:pt>
          <cx:pt idx="31488">3</cx:pt>
          <cx:pt idx="31489">2</cx:pt>
          <cx:pt idx="31490">3</cx:pt>
          <cx:pt idx="31491">3</cx:pt>
          <cx:pt idx="31492">1</cx:pt>
          <cx:pt idx="31493">1</cx:pt>
          <cx:pt idx="31494">2</cx:pt>
          <cx:pt idx="31495">4</cx:pt>
          <cx:pt idx="31496">3</cx:pt>
          <cx:pt idx="31497">0</cx:pt>
          <cx:pt idx="31498">3</cx:pt>
          <cx:pt idx="31499">4</cx:pt>
          <cx:pt idx="31500">3</cx:pt>
          <cx:pt idx="31501">2</cx:pt>
          <cx:pt idx="31502">5</cx:pt>
          <cx:pt idx="31503">2</cx:pt>
          <cx:pt idx="31504">2</cx:pt>
          <cx:pt idx="31505">3</cx:pt>
          <cx:pt idx="31506">3</cx:pt>
          <cx:pt idx="31507">1</cx:pt>
          <cx:pt idx="31508">2</cx:pt>
          <cx:pt idx="31509">2</cx:pt>
          <cx:pt idx="31510">4</cx:pt>
          <cx:pt idx="31511">4</cx:pt>
          <cx:pt idx="31512">3</cx:pt>
          <cx:pt idx="31513">4</cx:pt>
          <cx:pt idx="31514">1</cx:pt>
          <cx:pt idx="31515">1</cx:pt>
          <cx:pt idx="31516">1</cx:pt>
          <cx:pt idx="31517">2</cx:pt>
          <cx:pt idx="31518">5</cx:pt>
          <cx:pt idx="31519">5</cx:pt>
          <cx:pt idx="31520">1</cx:pt>
          <cx:pt idx="31521">0</cx:pt>
          <cx:pt idx="31522">1</cx:pt>
          <cx:pt idx="31523">2</cx:pt>
          <cx:pt idx="31524">4</cx:pt>
          <cx:pt idx="31525">1</cx:pt>
          <cx:pt idx="31526">1</cx:pt>
          <cx:pt idx="31527">5</cx:pt>
          <cx:pt idx="31528">2</cx:pt>
          <cx:pt idx="31529">3</cx:pt>
          <cx:pt idx="31530">4</cx:pt>
          <cx:pt idx="31531">4</cx:pt>
          <cx:pt idx="31532">4</cx:pt>
          <cx:pt idx="31533">2</cx:pt>
          <cx:pt idx="31534">2</cx:pt>
          <cx:pt idx="31535">1</cx:pt>
          <cx:pt idx="31536">2</cx:pt>
          <cx:pt idx="31537">5</cx:pt>
          <cx:pt idx="31538">3</cx:pt>
          <cx:pt idx="31539">1</cx:pt>
          <cx:pt idx="31540">5</cx:pt>
          <cx:pt idx="31541">1</cx:pt>
          <cx:pt idx="31542">1</cx:pt>
          <cx:pt idx="31543">1</cx:pt>
          <cx:pt idx="31544">4</cx:pt>
          <cx:pt idx="31545">1</cx:pt>
          <cx:pt idx="31546">2</cx:pt>
          <cx:pt idx="31547">3</cx:pt>
          <cx:pt idx="31548">2</cx:pt>
          <cx:pt idx="31549">3</cx:pt>
          <cx:pt idx="31550">1</cx:pt>
          <cx:pt idx="31551">2</cx:pt>
          <cx:pt idx="31552">1</cx:pt>
          <cx:pt idx="31553">3</cx:pt>
          <cx:pt idx="31554">1</cx:pt>
          <cx:pt idx="31555">4</cx:pt>
          <cx:pt idx="31556">4</cx:pt>
          <cx:pt idx="31557">5</cx:pt>
          <cx:pt idx="31558">2</cx:pt>
          <cx:pt idx="31559">1</cx:pt>
          <cx:pt idx="31560">4</cx:pt>
          <cx:pt idx="31561">5</cx:pt>
          <cx:pt idx="31562">3</cx:pt>
          <cx:pt idx="31563">3</cx:pt>
          <cx:pt idx="31564">4</cx:pt>
          <cx:pt idx="31565">3</cx:pt>
          <cx:pt idx="31566">1</cx:pt>
          <cx:pt idx="31567">1</cx:pt>
          <cx:pt idx="31568">1</cx:pt>
          <cx:pt idx="31569">1</cx:pt>
          <cx:pt idx="31570">2</cx:pt>
          <cx:pt idx="31571">3</cx:pt>
          <cx:pt idx="31572">2</cx:pt>
          <cx:pt idx="31573">3</cx:pt>
          <cx:pt idx="31574">2</cx:pt>
          <cx:pt idx="31575">2</cx:pt>
          <cx:pt idx="31576">1</cx:pt>
          <cx:pt idx="31577">3</cx:pt>
          <cx:pt idx="31578">2</cx:pt>
          <cx:pt idx="31579">0</cx:pt>
          <cx:pt idx="31580">1</cx:pt>
          <cx:pt idx="31581">3</cx:pt>
          <cx:pt idx="31582">4</cx:pt>
          <cx:pt idx="31583">4</cx:pt>
          <cx:pt idx="31584">2</cx:pt>
          <cx:pt idx="31585">2</cx:pt>
          <cx:pt idx="31586">1</cx:pt>
          <cx:pt idx="31587">5</cx:pt>
          <cx:pt idx="31588">2</cx:pt>
          <cx:pt idx="31589">1</cx:pt>
          <cx:pt idx="31590">5</cx:pt>
          <cx:pt idx="31591">2</cx:pt>
          <cx:pt idx="31592">2</cx:pt>
          <cx:pt idx="31593">2</cx:pt>
          <cx:pt idx="31594">3</cx:pt>
          <cx:pt idx="31595">5</cx:pt>
          <cx:pt idx="31596">4</cx:pt>
          <cx:pt idx="31597">2</cx:pt>
          <cx:pt idx="31598">3</cx:pt>
          <cx:pt idx="31599">4</cx:pt>
          <cx:pt idx="31600">5</cx:pt>
          <cx:pt idx="31601">5</cx:pt>
          <cx:pt idx="31602">4</cx:pt>
          <cx:pt idx="31603">1</cx:pt>
          <cx:pt idx="31604">3</cx:pt>
          <cx:pt idx="31605">3</cx:pt>
          <cx:pt idx="31606">3</cx:pt>
          <cx:pt idx="31607">3</cx:pt>
          <cx:pt idx="31608">4</cx:pt>
          <cx:pt idx="31609">4</cx:pt>
          <cx:pt idx="31610">4</cx:pt>
          <cx:pt idx="31611">4</cx:pt>
          <cx:pt idx="31612">4</cx:pt>
          <cx:pt idx="31613">2</cx:pt>
          <cx:pt idx="31614">2</cx:pt>
          <cx:pt idx="31615">2</cx:pt>
          <cx:pt idx="31616">2</cx:pt>
          <cx:pt idx="31617">4</cx:pt>
          <cx:pt idx="31618">4</cx:pt>
          <cx:pt idx="31619">2</cx:pt>
          <cx:pt idx="31620">1</cx:pt>
          <cx:pt idx="31621">4</cx:pt>
          <cx:pt idx="31622">5</cx:pt>
          <cx:pt idx="31623">2</cx:pt>
          <cx:pt idx="31624">3</cx:pt>
          <cx:pt idx="31625">5</cx:pt>
          <cx:pt idx="31626">2</cx:pt>
          <cx:pt idx="31627">4</cx:pt>
          <cx:pt idx="31628">4</cx:pt>
          <cx:pt idx="31629">3</cx:pt>
          <cx:pt idx="31630">5</cx:pt>
          <cx:pt idx="31631">4</cx:pt>
          <cx:pt idx="31632">2</cx:pt>
          <cx:pt idx="31633">3</cx:pt>
          <cx:pt idx="31634">4</cx:pt>
          <cx:pt idx="31635">2</cx:pt>
          <cx:pt idx="31636">2</cx:pt>
          <cx:pt idx="31637">3</cx:pt>
          <cx:pt idx="31638">1</cx:pt>
          <cx:pt idx="31639">3</cx:pt>
          <cx:pt idx="31640">2</cx:pt>
          <cx:pt idx="31641">3</cx:pt>
          <cx:pt idx="31642">3</cx:pt>
          <cx:pt idx="31643">1</cx:pt>
          <cx:pt idx="31644">1</cx:pt>
          <cx:pt idx="31645">1</cx:pt>
          <cx:pt idx="31646">3</cx:pt>
          <cx:pt idx="31647">2</cx:pt>
          <cx:pt idx="31648">4</cx:pt>
          <cx:pt idx="31649">2</cx:pt>
          <cx:pt idx="31650">2</cx:pt>
          <cx:pt idx="31651">3</cx:pt>
          <cx:pt idx="31652">2</cx:pt>
          <cx:pt idx="31653">4</cx:pt>
          <cx:pt idx="31654">2</cx:pt>
          <cx:pt idx="31655">2</cx:pt>
          <cx:pt idx="31656">4</cx:pt>
          <cx:pt idx="31657">3</cx:pt>
          <cx:pt idx="31658">3</cx:pt>
          <cx:pt idx="31659">1</cx:pt>
          <cx:pt idx="31660">1</cx:pt>
          <cx:pt idx="31661">4</cx:pt>
          <cx:pt idx="31662">4</cx:pt>
          <cx:pt idx="31663">4</cx:pt>
          <cx:pt idx="31664">4</cx:pt>
          <cx:pt idx="31665">4</cx:pt>
          <cx:pt idx="31666">5</cx:pt>
          <cx:pt idx="31667">2</cx:pt>
          <cx:pt idx="31668">4</cx:pt>
          <cx:pt idx="31669">1</cx:pt>
          <cx:pt idx="31670">3</cx:pt>
          <cx:pt idx="31671">4</cx:pt>
          <cx:pt idx="31672">1</cx:pt>
          <cx:pt idx="31673">1</cx:pt>
          <cx:pt idx="31674">2</cx:pt>
          <cx:pt idx="31675">2</cx:pt>
          <cx:pt idx="31676">3</cx:pt>
          <cx:pt idx="31677">5</cx:pt>
          <cx:pt idx="31678">2</cx:pt>
          <cx:pt idx="31679">1</cx:pt>
          <cx:pt idx="31680">2</cx:pt>
          <cx:pt idx="31681">1</cx:pt>
          <cx:pt idx="31682">1</cx:pt>
          <cx:pt idx="31683">4</cx:pt>
          <cx:pt idx="31684">3</cx:pt>
          <cx:pt idx="31685">1</cx:pt>
          <cx:pt idx="31686">3</cx:pt>
          <cx:pt idx="31687">3</cx:pt>
          <cx:pt idx="31688">5</cx:pt>
          <cx:pt idx="31689">2</cx:pt>
          <cx:pt idx="31690">5</cx:pt>
          <cx:pt idx="31691">4</cx:pt>
          <cx:pt idx="31692">4</cx:pt>
          <cx:pt idx="31693">1</cx:pt>
          <cx:pt idx="31694">2</cx:pt>
          <cx:pt idx="31695">3</cx:pt>
          <cx:pt idx="31696">1</cx:pt>
          <cx:pt idx="31697">5</cx:pt>
          <cx:pt idx="31698">1</cx:pt>
          <cx:pt idx="31699">5</cx:pt>
          <cx:pt idx="31700">4</cx:pt>
          <cx:pt idx="31701">2</cx:pt>
          <cx:pt idx="31702">2</cx:pt>
          <cx:pt idx="31703">3</cx:pt>
          <cx:pt idx="31704">2</cx:pt>
          <cx:pt idx="31705">2</cx:pt>
          <cx:pt idx="31706">2</cx:pt>
          <cx:pt idx="31707">2</cx:pt>
          <cx:pt idx="31708">1</cx:pt>
          <cx:pt idx="31709">3</cx:pt>
          <cx:pt idx="31710">2</cx:pt>
          <cx:pt idx="31711">2</cx:pt>
          <cx:pt idx="31712">2</cx:pt>
          <cx:pt idx="31713">5</cx:pt>
          <cx:pt idx="31714">3</cx:pt>
          <cx:pt idx="31715">2</cx:pt>
          <cx:pt idx="31716">5</cx:pt>
          <cx:pt idx="31717">1</cx:pt>
          <cx:pt idx="31718">4</cx:pt>
          <cx:pt idx="31719">4</cx:pt>
          <cx:pt idx="31720">2</cx:pt>
          <cx:pt idx="31721">4</cx:pt>
          <cx:pt idx="31722">3</cx:pt>
          <cx:pt idx="31723">3</cx:pt>
          <cx:pt idx="31724">1</cx:pt>
          <cx:pt idx="31725">1</cx:pt>
          <cx:pt idx="31726">1</cx:pt>
          <cx:pt idx="31727">1</cx:pt>
          <cx:pt idx="31728">3</cx:pt>
          <cx:pt idx="31729">3</cx:pt>
          <cx:pt idx="31730">1</cx:pt>
          <cx:pt idx="31731">5</cx:pt>
          <cx:pt idx="31732">2</cx:pt>
          <cx:pt idx="31733">2</cx:pt>
          <cx:pt idx="31734">4</cx:pt>
          <cx:pt idx="31735">1</cx:pt>
          <cx:pt idx="31736">4</cx:pt>
          <cx:pt idx="31737">2</cx:pt>
          <cx:pt idx="31738">5</cx:pt>
          <cx:pt idx="31739">1</cx:pt>
          <cx:pt idx="31740">2</cx:pt>
          <cx:pt idx="31741">4</cx:pt>
          <cx:pt idx="31742">3</cx:pt>
          <cx:pt idx="31743">1</cx:pt>
          <cx:pt idx="31744">4</cx:pt>
          <cx:pt idx="31745">3</cx:pt>
          <cx:pt idx="31746">3</cx:pt>
          <cx:pt idx="31747">3</cx:pt>
          <cx:pt idx="31748">3</cx:pt>
          <cx:pt idx="31749">2</cx:pt>
          <cx:pt idx="31750">1</cx:pt>
          <cx:pt idx="31751">4</cx:pt>
          <cx:pt idx="31752">5</cx:pt>
          <cx:pt idx="31753">3</cx:pt>
          <cx:pt idx="31754">3</cx:pt>
          <cx:pt idx="31755">2</cx:pt>
          <cx:pt idx="31756">3</cx:pt>
          <cx:pt idx="31757">2</cx:pt>
          <cx:pt idx="31758">4</cx:pt>
          <cx:pt idx="31759">3</cx:pt>
          <cx:pt idx="31760">4</cx:pt>
          <cx:pt idx="31761">1</cx:pt>
          <cx:pt idx="31762">2</cx:pt>
          <cx:pt idx="31763">4</cx:pt>
          <cx:pt idx="31764">3</cx:pt>
          <cx:pt idx="31765">2</cx:pt>
          <cx:pt idx="31766">3</cx:pt>
          <cx:pt idx="31767">5</cx:pt>
          <cx:pt idx="31768">3</cx:pt>
          <cx:pt idx="31769">2</cx:pt>
          <cx:pt idx="31770">3</cx:pt>
          <cx:pt idx="31771">5</cx:pt>
          <cx:pt idx="31772">5</cx:pt>
          <cx:pt idx="31773">1</cx:pt>
          <cx:pt idx="31774">2</cx:pt>
          <cx:pt idx="31775">2</cx:pt>
          <cx:pt idx="31776">2</cx:pt>
          <cx:pt idx="31777">5</cx:pt>
          <cx:pt idx="31778">0</cx:pt>
          <cx:pt idx="31779">2</cx:pt>
          <cx:pt idx="31780">5</cx:pt>
          <cx:pt idx="31781">5</cx:pt>
          <cx:pt idx="31782">1</cx:pt>
          <cx:pt idx="31783">1</cx:pt>
          <cx:pt idx="31784">2</cx:pt>
          <cx:pt idx="31785">3</cx:pt>
          <cx:pt idx="31786">2</cx:pt>
          <cx:pt idx="31787">3</cx:pt>
          <cx:pt idx="31788">3</cx:pt>
          <cx:pt idx="31789">1</cx:pt>
          <cx:pt idx="31790">3</cx:pt>
          <cx:pt idx="31791">1</cx:pt>
          <cx:pt idx="31792">1</cx:pt>
          <cx:pt idx="31793">2</cx:pt>
          <cx:pt idx="31794">2</cx:pt>
          <cx:pt idx="31795">4</cx:pt>
          <cx:pt idx="31796">1</cx:pt>
          <cx:pt idx="31797">0</cx:pt>
          <cx:pt idx="31798">3</cx:pt>
          <cx:pt idx="31799">2</cx:pt>
          <cx:pt idx="31800">3</cx:pt>
          <cx:pt idx="31801">2</cx:pt>
          <cx:pt idx="31802">3</cx:pt>
          <cx:pt idx="31803">0</cx:pt>
          <cx:pt idx="31804">5</cx:pt>
          <cx:pt idx="31805">2</cx:pt>
          <cx:pt idx="31806">3</cx:pt>
          <cx:pt idx="31807">3</cx:pt>
          <cx:pt idx="31808">1</cx:pt>
          <cx:pt idx="31809">4</cx:pt>
          <cx:pt idx="31810">3</cx:pt>
          <cx:pt idx="31811">3</cx:pt>
          <cx:pt idx="31812">3</cx:pt>
          <cx:pt idx="31813">1</cx:pt>
          <cx:pt idx="31814">2</cx:pt>
          <cx:pt idx="31815">2</cx:pt>
          <cx:pt idx="31816">3</cx:pt>
          <cx:pt idx="31817">2</cx:pt>
          <cx:pt idx="31818">2</cx:pt>
          <cx:pt idx="31819">1</cx:pt>
          <cx:pt idx="31820">3</cx:pt>
          <cx:pt idx="31821">5</cx:pt>
          <cx:pt idx="31822">4</cx:pt>
          <cx:pt idx="31823">5</cx:pt>
          <cx:pt idx="31824">2</cx:pt>
          <cx:pt idx="31825">2</cx:pt>
          <cx:pt idx="31826">5</cx:pt>
          <cx:pt idx="31827">2</cx:pt>
          <cx:pt idx="31828">2</cx:pt>
          <cx:pt idx="31829">0</cx:pt>
          <cx:pt idx="31830">5</cx:pt>
          <cx:pt idx="31831">2</cx:pt>
          <cx:pt idx="31832">2</cx:pt>
          <cx:pt idx="31833">1</cx:pt>
          <cx:pt idx="31834">5</cx:pt>
          <cx:pt idx="31835">2</cx:pt>
          <cx:pt idx="31836">1</cx:pt>
          <cx:pt idx="31837">3</cx:pt>
          <cx:pt idx="31838">2</cx:pt>
          <cx:pt idx="31839">0</cx:pt>
          <cx:pt idx="31840">1</cx:pt>
          <cx:pt idx="31841">4</cx:pt>
          <cx:pt idx="31842">2</cx:pt>
          <cx:pt idx="31843">4</cx:pt>
          <cx:pt idx="31844">0</cx:pt>
          <cx:pt idx="31845">3</cx:pt>
          <cx:pt idx="31846">3</cx:pt>
          <cx:pt idx="31847">3</cx:pt>
          <cx:pt idx="31848">4</cx:pt>
          <cx:pt idx="31849">2</cx:pt>
          <cx:pt idx="31850">3</cx:pt>
          <cx:pt idx="31851">5</cx:pt>
          <cx:pt idx="31852">2</cx:pt>
          <cx:pt idx="31853">5</cx:pt>
          <cx:pt idx="31854">4</cx:pt>
          <cx:pt idx="31855">4</cx:pt>
          <cx:pt idx="31856">4</cx:pt>
          <cx:pt idx="31857">2</cx:pt>
          <cx:pt idx="31858">5</cx:pt>
          <cx:pt idx="31859">2</cx:pt>
          <cx:pt idx="31860">4</cx:pt>
          <cx:pt idx="31861">1</cx:pt>
          <cx:pt idx="31862">5</cx:pt>
          <cx:pt idx="31863">3</cx:pt>
          <cx:pt idx="31864">3</cx:pt>
          <cx:pt idx="31865">5</cx:pt>
          <cx:pt idx="31866">3</cx:pt>
          <cx:pt idx="31867">2</cx:pt>
          <cx:pt idx="31868">4</cx:pt>
          <cx:pt idx="31869">3</cx:pt>
          <cx:pt idx="31870">1</cx:pt>
          <cx:pt idx="31871">4</cx:pt>
          <cx:pt idx="31872">0</cx:pt>
          <cx:pt idx="31873">3</cx:pt>
          <cx:pt idx="31874">2</cx:pt>
          <cx:pt idx="31875">1</cx:pt>
          <cx:pt idx="31876">4</cx:pt>
          <cx:pt idx="31877">4</cx:pt>
          <cx:pt idx="31878">3</cx:pt>
          <cx:pt idx="31879">1</cx:pt>
          <cx:pt idx="31880">1</cx:pt>
          <cx:pt idx="31881">2</cx:pt>
          <cx:pt idx="31882">3</cx:pt>
          <cx:pt idx="31883">5</cx:pt>
          <cx:pt idx="31884">2</cx:pt>
          <cx:pt idx="31885">5</cx:pt>
          <cx:pt idx="31886">5</cx:pt>
          <cx:pt idx="31887">1</cx:pt>
          <cx:pt idx="31888">3</cx:pt>
          <cx:pt idx="31889">1</cx:pt>
          <cx:pt idx="31890">2</cx:pt>
          <cx:pt idx="31891">5</cx:pt>
          <cx:pt idx="31892">2</cx:pt>
          <cx:pt idx="31893">2</cx:pt>
          <cx:pt idx="31894">2</cx:pt>
          <cx:pt idx="31895">2</cx:pt>
          <cx:pt idx="31896">1</cx:pt>
          <cx:pt idx="31897">2</cx:pt>
          <cx:pt idx="31898">2</cx:pt>
          <cx:pt idx="31899">4</cx:pt>
          <cx:pt idx="31900">3</cx:pt>
          <cx:pt idx="31901">3</cx:pt>
          <cx:pt idx="31902">1</cx:pt>
          <cx:pt idx="31903">4</cx:pt>
          <cx:pt idx="31904">2</cx:pt>
          <cx:pt idx="31905">2</cx:pt>
          <cx:pt idx="31906">1</cx:pt>
          <cx:pt idx="31907">5</cx:pt>
          <cx:pt idx="31908">3</cx:pt>
          <cx:pt idx="31909">5</cx:pt>
          <cx:pt idx="31910">0</cx:pt>
          <cx:pt idx="31911">2</cx:pt>
          <cx:pt idx="31912">0</cx:pt>
          <cx:pt idx="31913">4</cx:pt>
          <cx:pt idx="31914">3</cx:pt>
          <cx:pt idx="31915">4</cx:pt>
          <cx:pt idx="31916">2</cx:pt>
          <cx:pt idx="31917">3</cx:pt>
          <cx:pt idx="31918">5</cx:pt>
          <cx:pt idx="31919">4</cx:pt>
          <cx:pt idx="31920">2</cx:pt>
          <cx:pt idx="31921">2</cx:pt>
          <cx:pt idx="31922">5</cx:pt>
          <cx:pt idx="31923">1</cx:pt>
          <cx:pt idx="31924">2</cx:pt>
          <cx:pt idx="31925">3</cx:pt>
          <cx:pt idx="31926">2</cx:pt>
          <cx:pt idx="31927">3</cx:pt>
          <cx:pt idx="31928">3</cx:pt>
          <cx:pt idx="31929">3</cx:pt>
          <cx:pt idx="31930">5</cx:pt>
          <cx:pt idx="31931">2</cx:pt>
          <cx:pt idx="31932">4</cx:pt>
          <cx:pt idx="31933">2</cx:pt>
          <cx:pt idx="31934">4</cx:pt>
          <cx:pt idx="31935">2</cx:pt>
          <cx:pt idx="31936">3</cx:pt>
          <cx:pt idx="31937">5</cx:pt>
          <cx:pt idx="31938">2</cx:pt>
          <cx:pt idx="31939">3</cx:pt>
          <cx:pt idx="31940">1</cx:pt>
          <cx:pt idx="31941">2</cx:pt>
          <cx:pt idx="31942">0</cx:pt>
          <cx:pt idx="31943">1</cx:pt>
          <cx:pt idx="31944">3</cx:pt>
          <cx:pt idx="31945">4</cx:pt>
          <cx:pt idx="31946">2</cx:pt>
          <cx:pt idx="31947">1</cx:pt>
          <cx:pt idx="31948">3</cx:pt>
          <cx:pt idx="31949">2</cx:pt>
          <cx:pt idx="31950">2</cx:pt>
          <cx:pt idx="31951">5</cx:pt>
          <cx:pt idx="31952">3</cx:pt>
          <cx:pt idx="31953">0</cx:pt>
          <cx:pt idx="31954">3</cx:pt>
          <cx:pt idx="31955">4</cx:pt>
          <cx:pt idx="31956">2</cx:pt>
          <cx:pt idx="31957">3</cx:pt>
          <cx:pt idx="31958">2</cx:pt>
          <cx:pt idx="31959">3</cx:pt>
          <cx:pt idx="31960">3</cx:pt>
          <cx:pt idx="31961">1</cx:pt>
          <cx:pt idx="31962">1</cx:pt>
          <cx:pt idx="31963">5</cx:pt>
          <cx:pt idx="31964">3</cx:pt>
          <cx:pt idx="31965">2</cx:pt>
          <cx:pt idx="31966">4</cx:pt>
          <cx:pt idx="31967">2</cx:pt>
          <cx:pt idx="31968">5</cx:pt>
          <cx:pt idx="31969">2</cx:pt>
          <cx:pt idx="31970">2</cx:pt>
          <cx:pt idx="31971">3</cx:pt>
          <cx:pt idx="31972">3</cx:pt>
          <cx:pt idx="31973">1</cx:pt>
          <cx:pt idx="31974">4</cx:pt>
          <cx:pt idx="31975">1</cx:pt>
          <cx:pt idx="31976">5</cx:pt>
          <cx:pt idx="31977">1</cx:pt>
          <cx:pt idx="31978">1</cx:pt>
          <cx:pt idx="31979">4</cx:pt>
          <cx:pt idx="31980">1</cx:pt>
          <cx:pt idx="31981">4</cx:pt>
          <cx:pt idx="31982">3</cx:pt>
          <cx:pt idx="31983">4</cx:pt>
          <cx:pt idx="31984">4</cx:pt>
          <cx:pt idx="31985">3</cx:pt>
          <cx:pt idx="31986">1</cx:pt>
          <cx:pt idx="31987">2</cx:pt>
          <cx:pt idx="31988">3</cx:pt>
          <cx:pt idx="31989">4</cx:pt>
          <cx:pt idx="31990">4</cx:pt>
          <cx:pt idx="31991">0</cx:pt>
          <cx:pt idx="31992">3</cx:pt>
          <cx:pt idx="31993">3</cx:pt>
          <cx:pt idx="31994">4</cx:pt>
          <cx:pt idx="31995">3</cx:pt>
          <cx:pt idx="31996">1</cx:pt>
          <cx:pt idx="31997">4</cx:pt>
          <cx:pt idx="31998">1</cx:pt>
          <cx:pt idx="31999">4</cx:pt>
          <cx:pt idx="32000">5</cx:pt>
          <cx:pt idx="32001">1</cx:pt>
          <cx:pt idx="32002">2</cx:pt>
          <cx:pt idx="32003">2</cx:pt>
          <cx:pt idx="32004">2</cx:pt>
          <cx:pt idx="32005">0</cx:pt>
          <cx:pt idx="32006">1</cx:pt>
          <cx:pt idx="32007">3</cx:pt>
          <cx:pt idx="32008">0</cx:pt>
          <cx:pt idx="32009">5</cx:pt>
          <cx:pt idx="32010">4</cx:pt>
          <cx:pt idx="32011">3</cx:pt>
          <cx:pt idx="32012">2</cx:pt>
          <cx:pt idx="32013">4</cx:pt>
          <cx:pt idx="32014">0</cx:pt>
          <cx:pt idx="32015">5</cx:pt>
          <cx:pt idx="32016">1</cx:pt>
          <cx:pt idx="32017">4</cx:pt>
          <cx:pt idx="32018">5</cx:pt>
          <cx:pt idx="32019">2</cx:pt>
          <cx:pt idx="32020">1</cx:pt>
          <cx:pt idx="32021">0</cx:pt>
          <cx:pt idx="32022">2</cx:pt>
          <cx:pt idx="32023">4</cx:pt>
          <cx:pt idx="32024">1</cx:pt>
          <cx:pt idx="32025">1</cx:pt>
          <cx:pt idx="32026">4</cx:pt>
          <cx:pt idx="32027">2</cx:pt>
          <cx:pt idx="32028">4</cx:pt>
          <cx:pt idx="32029">4</cx:pt>
          <cx:pt idx="32030">4</cx:pt>
          <cx:pt idx="32031">1</cx:pt>
          <cx:pt idx="32032">2</cx:pt>
          <cx:pt idx="32033">2</cx:pt>
          <cx:pt idx="32034">5</cx:pt>
          <cx:pt idx="32035">2</cx:pt>
          <cx:pt idx="32036">2</cx:pt>
          <cx:pt idx="32037">2</cx:pt>
          <cx:pt idx="32038">2</cx:pt>
          <cx:pt idx="32039">1</cx:pt>
          <cx:pt idx="32040">2</cx:pt>
          <cx:pt idx="32041">5</cx:pt>
          <cx:pt idx="32042">2</cx:pt>
          <cx:pt idx="32043">3</cx:pt>
          <cx:pt idx="32044">2</cx:pt>
          <cx:pt idx="32045">0</cx:pt>
          <cx:pt idx="32046">5</cx:pt>
          <cx:pt idx="32047">0</cx:pt>
          <cx:pt idx="32048">4</cx:pt>
          <cx:pt idx="32049">3</cx:pt>
          <cx:pt idx="32050">2</cx:pt>
          <cx:pt idx="32051">2</cx:pt>
          <cx:pt idx="32052">4</cx:pt>
          <cx:pt idx="32053">4</cx:pt>
          <cx:pt idx="32054">0</cx:pt>
          <cx:pt idx="32055">2</cx:pt>
          <cx:pt idx="32056">3</cx:pt>
          <cx:pt idx="32057">2</cx:pt>
          <cx:pt idx="32058">0</cx:pt>
          <cx:pt idx="32059">2</cx:pt>
          <cx:pt idx="32060">1</cx:pt>
          <cx:pt idx="32061">5</cx:pt>
          <cx:pt idx="32062">5</cx:pt>
          <cx:pt idx="32063">1</cx:pt>
          <cx:pt idx="32064">2</cx:pt>
          <cx:pt idx="32065">1</cx:pt>
          <cx:pt idx="32066">1</cx:pt>
          <cx:pt idx="32067">5</cx:pt>
          <cx:pt idx="32068">1</cx:pt>
          <cx:pt idx="32069">2</cx:pt>
          <cx:pt idx="32070">4</cx:pt>
          <cx:pt idx="32071">2</cx:pt>
          <cx:pt idx="32072">5</cx:pt>
          <cx:pt idx="32073">0</cx:pt>
          <cx:pt idx="32074">3</cx:pt>
          <cx:pt idx="32075">2</cx:pt>
          <cx:pt idx="32076">3</cx:pt>
          <cx:pt idx="32077">5</cx:pt>
          <cx:pt idx="32078">2</cx:pt>
          <cx:pt idx="32079">4</cx:pt>
          <cx:pt idx="32080">3</cx:pt>
          <cx:pt idx="32081">4</cx:pt>
          <cx:pt idx="32082">2</cx:pt>
          <cx:pt idx="32083">1</cx:pt>
          <cx:pt idx="32084">3</cx:pt>
          <cx:pt idx="32085">2</cx:pt>
          <cx:pt idx="32086">2</cx:pt>
          <cx:pt idx="32087">3</cx:pt>
          <cx:pt idx="32088">3</cx:pt>
          <cx:pt idx="32089">4</cx:pt>
          <cx:pt idx="32090">1</cx:pt>
          <cx:pt idx="32091">1</cx:pt>
          <cx:pt idx="32092">2</cx:pt>
          <cx:pt idx="32093">5</cx:pt>
          <cx:pt idx="32094">3</cx:pt>
          <cx:pt idx="32095">3</cx:pt>
          <cx:pt idx="32096">3</cx:pt>
          <cx:pt idx="32097">3</cx:pt>
          <cx:pt idx="32098">4</cx:pt>
          <cx:pt idx="32099">1</cx:pt>
          <cx:pt idx="32100">5</cx:pt>
          <cx:pt idx="32101">1</cx:pt>
          <cx:pt idx="32102">3</cx:pt>
          <cx:pt idx="32103">4</cx:pt>
          <cx:pt idx="32104">0</cx:pt>
          <cx:pt idx="32105">1</cx:pt>
          <cx:pt idx="32106">4</cx:pt>
          <cx:pt idx="32107">3</cx:pt>
          <cx:pt idx="32108">2</cx:pt>
          <cx:pt idx="32109">5</cx:pt>
          <cx:pt idx="32110">2</cx:pt>
          <cx:pt idx="32111">3</cx:pt>
          <cx:pt idx="32112">4</cx:pt>
          <cx:pt idx="32113">4</cx:pt>
          <cx:pt idx="32114">3</cx:pt>
          <cx:pt idx="32115">0</cx:pt>
          <cx:pt idx="32116">5</cx:pt>
          <cx:pt idx="32117">5</cx:pt>
          <cx:pt idx="32118">3</cx:pt>
          <cx:pt idx="32119">3</cx:pt>
          <cx:pt idx="32120">2</cx:pt>
          <cx:pt idx="32121">3</cx:pt>
          <cx:pt idx="32122">2</cx:pt>
          <cx:pt idx="32123">5</cx:pt>
          <cx:pt idx="32124">2</cx:pt>
          <cx:pt idx="32125">1</cx:pt>
          <cx:pt idx="32126">5</cx:pt>
          <cx:pt idx="32127">1</cx:pt>
          <cx:pt idx="32128">5</cx:pt>
          <cx:pt idx="32129">1</cx:pt>
          <cx:pt idx="32130">2</cx:pt>
          <cx:pt idx="32131">5</cx:pt>
          <cx:pt idx="32132">5</cx:pt>
          <cx:pt idx="32133">5</cx:pt>
          <cx:pt idx="32134">3</cx:pt>
          <cx:pt idx="32135">4</cx:pt>
          <cx:pt idx="32136">3</cx:pt>
          <cx:pt idx="32137">1</cx:pt>
          <cx:pt idx="32138">2</cx:pt>
          <cx:pt idx="32139">3</cx:pt>
          <cx:pt idx="32140">4</cx:pt>
          <cx:pt idx="32141">2</cx:pt>
          <cx:pt idx="32142">2</cx:pt>
          <cx:pt idx="32143">2</cx:pt>
          <cx:pt idx="32144">1</cx:pt>
          <cx:pt idx="32145">2</cx:pt>
          <cx:pt idx="32146">1</cx:pt>
          <cx:pt idx="32147">2</cx:pt>
          <cx:pt idx="32148">5</cx:pt>
          <cx:pt idx="32149">4</cx:pt>
          <cx:pt idx="32150">2</cx:pt>
          <cx:pt idx="32151">1</cx:pt>
          <cx:pt idx="32152">3</cx:pt>
          <cx:pt idx="32153">2</cx:pt>
          <cx:pt idx="32154">5</cx:pt>
          <cx:pt idx="32155">3</cx:pt>
          <cx:pt idx="32156">2</cx:pt>
          <cx:pt idx="32157">4</cx:pt>
          <cx:pt idx="32158">1</cx:pt>
          <cx:pt idx="32159">4</cx:pt>
          <cx:pt idx="32160">2</cx:pt>
          <cx:pt idx="32161">1</cx:pt>
          <cx:pt idx="32162">2</cx:pt>
          <cx:pt idx="32163">1</cx:pt>
          <cx:pt idx="32164">1</cx:pt>
          <cx:pt idx="32165">1</cx:pt>
          <cx:pt idx="32166">2</cx:pt>
          <cx:pt idx="32167">5</cx:pt>
          <cx:pt idx="32168">4</cx:pt>
          <cx:pt idx="32169">2</cx:pt>
          <cx:pt idx="32170">2</cx:pt>
          <cx:pt idx="32171">1</cx:pt>
          <cx:pt idx="32172">4</cx:pt>
          <cx:pt idx="32173">2</cx:pt>
          <cx:pt idx="32174">3</cx:pt>
          <cx:pt idx="32175">3</cx:pt>
          <cx:pt idx="32176">3</cx:pt>
          <cx:pt idx="32177">4</cx:pt>
          <cx:pt idx="32178">3</cx:pt>
          <cx:pt idx="32179">3</cx:pt>
          <cx:pt idx="32180">3</cx:pt>
          <cx:pt idx="32181">5</cx:pt>
          <cx:pt idx="32182">1</cx:pt>
          <cx:pt idx="32183">2</cx:pt>
          <cx:pt idx="32184">1</cx:pt>
          <cx:pt idx="32185">3</cx:pt>
          <cx:pt idx="32186">3</cx:pt>
          <cx:pt idx="32187">3</cx:pt>
          <cx:pt idx="32188">4</cx:pt>
          <cx:pt idx="32189">4</cx:pt>
          <cx:pt idx="32190">4</cx:pt>
          <cx:pt idx="32191">4</cx:pt>
          <cx:pt idx="32192">3</cx:pt>
          <cx:pt idx="32193">1</cx:pt>
          <cx:pt idx="32194">4</cx:pt>
          <cx:pt idx="32195">3</cx:pt>
          <cx:pt idx="32196">2</cx:pt>
          <cx:pt idx="32197">0</cx:pt>
          <cx:pt idx="32198">1</cx:pt>
          <cx:pt idx="32199">4</cx:pt>
          <cx:pt idx="32200">4</cx:pt>
          <cx:pt idx="32201">2</cx:pt>
          <cx:pt idx="32202">5</cx:pt>
          <cx:pt idx="32203">5</cx:pt>
          <cx:pt idx="32204">5</cx:pt>
          <cx:pt idx="32205">2</cx:pt>
          <cx:pt idx="32206">5</cx:pt>
          <cx:pt idx="32207">2</cx:pt>
          <cx:pt idx="32208">5</cx:pt>
          <cx:pt idx="32209">4</cx:pt>
          <cx:pt idx="32210">5</cx:pt>
          <cx:pt idx="32211">3</cx:pt>
          <cx:pt idx="32212">3</cx:pt>
          <cx:pt idx="32213">3</cx:pt>
          <cx:pt idx="32214">1</cx:pt>
          <cx:pt idx="32215">2</cx:pt>
          <cx:pt idx="32216">4</cx:pt>
          <cx:pt idx="32217">4</cx:pt>
          <cx:pt idx="32218">3</cx:pt>
          <cx:pt idx="32219">4</cx:pt>
          <cx:pt idx="32220">2</cx:pt>
          <cx:pt idx="32221">1</cx:pt>
          <cx:pt idx="32222">2</cx:pt>
          <cx:pt idx="32223">3</cx:pt>
          <cx:pt idx="32224">1</cx:pt>
          <cx:pt idx="32225">4</cx:pt>
          <cx:pt idx="32226">2</cx:pt>
          <cx:pt idx="32227">1</cx:pt>
          <cx:pt idx="32228">1</cx:pt>
          <cx:pt idx="32229">1</cx:pt>
          <cx:pt idx="32230">4</cx:pt>
          <cx:pt idx="32231">4</cx:pt>
          <cx:pt idx="32232">1</cx:pt>
          <cx:pt idx="32233">3</cx:pt>
          <cx:pt idx="32234">2</cx:pt>
          <cx:pt idx="32235">2</cx:pt>
          <cx:pt idx="32236">1</cx:pt>
          <cx:pt idx="32237">2</cx:pt>
          <cx:pt idx="32238">2</cx:pt>
          <cx:pt idx="32239">4</cx:pt>
          <cx:pt idx="32240">5</cx:pt>
          <cx:pt idx="32241">0</cx:pt>
          <cx:pt idx="32242">4</cx:pt>
          <cx:pt idx="32243">1</cx:pt>
          <cx:pt idx="32244">3</cx:pt>
          <cx:pt idx="32245">4</cx:pt>
          <cx:pt idx="32246">3</cx:pt>
          <cx:pt idx="32247">5</cx:pt>
          <cx:pt idx="32248">4</cx:pt>
          <cx:pt idx="32249">5</cx:pt>
          <cx:pt idx="32250">1</cx:pt>
          <cx:pt idx="32251">2</cx:pt>
          <cx:pt idx="32252">0</cx:pt>
          <cx:pt idx="32253">1</cx:pt>
          <cx:pt idx="32254">2</cx:pt>
          <cx:pt idx="32255">2</cx:pt>
          <cx:pt idx="32256">1</cx:pt>
          <cx:pt idx="32257">3</cx:pt>
          <cx:pt idx="32258">5</cx:pt>
          <cx:pt idx="32259">3</cx:pt>
          <cx:pt idx="32260">5</cx:pt>
          <cx:pt idx="32261">0</cx:pt>
          <cx:pt idx="32262">3</cx:pt>
          <cx:pt idx="32263">3</cx:pt>
          <cx:pt idx="32264">3</cx:pt>
          <cx:pt idx="32265">3</cx:pt>
          <cx:pt idx="32266">4</cx:pt>
          <cx:pt idx="32267">5</cx:pt>
          <cx:pt idx="32268">1</cx:pt>
          <cx:pt idx="32269">2</cx:pt>
          <cx:pt idx="32270">5</cx:pt>
          <cx:pt idx="32271">2</cx:pt>
          <cx:pt idx="32272">2</cx:pt>
          <cx:pt idx="32273">3</cx:pt>
          <cx:pt idx="32274">3</cx:pt>
          <cx:pt idx="32275">3</cx:pt>
          <cx:pt idx="32276">5</cx:pt>
          <cx:pt idx="32277">4</cx:pt>
          <cx:pt idx="32278">2</cx:pt>
          <cx:pt idx="32279">2</cx:pt>
          <cx:pt idx="32280">5</cx:pt>
          <cx:pt idx="32281">4</cx:pt>
          <cx:pt idx="32282">2</cx:pt>
          <cx:pt idx="32283">1</cx:pt>
          <cx:pt idx="32284">5</cx:pt>
          <cx:pt idx="32285">5</cx:pt>
          <cx:pt idx="32286">4</cx:pt>
          <cx:pt idx="32287">3</cx:pt>
          <cx:pt idx="32288">2</cx:pt>
          <cx:pt idx="32289">2</cx:pt>
          <cx:pt idx="32290">1</cx:pt>
          <cx:pt idx="32291">4</cx:pt>
          <cx:pt idx="32292">1</cx:pt>
          <cx:pt idx="32293">2</cx:pt>
          <cx:pt idx="32294">4</cx:pt>
          <cx:pt idx="32295">1</cx:pt>
          <cx:pt idx="32296">4</cx:pt>
          <cx:pt idx="32297">1</cx:pt>
          <cx:pt idx="32298">1</cx:pt>
          <cx:pt idx="32299">3</cx:pt>
          <cx:pt idx="32300">2</cx:pt>
          <cx:pt idx="32301">1</cx:pt>
          <cx:pt idx="32302">1</cx:pt>
          <cx:pt idx="32303">3</cx:pt>
          <cx:pt idx="32304">3</cx:pt>
          <cx:pt idx="32305">3</cx:pt>
          <cx:pt idx="32306">1</cx:pt>
          <cx:pt idx="32307">2</cx:pt>
          <cx:pt idx="32308">4</cx:pt>
          <cx:pt idx="32309">1</cx:pt>
          <cx:pt idx="32310">2</cx:pt>
          <cx:pt idx="32311">3</cx:pt>
          <cx:pt idx="32312">1</cx:pt>
          <cx:pt idx="32313">5</cx:pt>
          <cx:pt idx="32314">1</cx:pt>
          <cx:pt idx="32315">4</cx:pt>
          <cx:pt idx="32316">1</cx:pt>
          <cx:pt idx="32317">0</cx:pt>
          <cx:pt idx="32318">0</cx:pt>
          <cx:pt idx="32319">5</cx:pt>
          <cx:pt idx="32320">2</cx:pt>
          <cx:pt idx="32321">1</cx:pt>
          <cx:pt idx="32322">4</cx:pt>
          <cx:pt idx="32323">5</cx:pt>
          <cx:pt idx="32324">1</cx:pt>
          <cx:pt idx="32325">4</cx:pt>
          <cx:pt idx="32326">4</cx:pt>
          <cx:pt idx="32327">0</cx:pt>
          <cx:pt idx="32328">1</cx:pt>
          <cx:pt idx="32329">5</cx:pt>
          <cx:pt idx="32330">4</cx:pt>
          <cx:pt idx="32331">5</cx:pt>
          <cx:pt idx="32332">1</cx:pt>
          <cx:pt idx="32333">5</cx:pt>
          <cx:pt idx="32334">5</cx:pt>
          <cx:pt idx="32335">2</cx:pt>
          <cx:pt idx="32336">3</cx:pt>
          <cx:pt idx="32337">4</cx:pt>
          <cx:pt idx="32338">2</cx:pt>
          <cx:pt idx="32339">3</cx:pt>
          <cx:pt idx="32340">2</cx:pt>
          <cx:pt idx="32341">2</cx:pt>
          <cx:pt idx="32342">1</cx:pt>
          <cx:pt idx="32343">4</cx:pt>
          <cx:pt idx="32344">3</cx:pt>
          <cx:pt idx="32345">1</cx:pt>
          <cx:pt idx="32346">1</cx:pt>
          <cx:pt idx="32347">0</cx:pt>
          <cx:pt idx="32348">1</cx:pt>
          <cx:pt idx="32349">1</cx:pt>
          <cx:pt idx="32350">3</cx:pt>
          <cx:pt idx="32351">5</cx:pt>
          <cx:pt idx="32352">4</cx:pt>
          <cx:pt idx="32353">1</cx:pt>
          <cx:pt idx="32354">3</cx:pt>
          <cx:pt idx="32355">3</cx:pt>
          <cx:pt idx="32356">2</cx:pt>
          <cx:pt idx="32357">2</cx:pt>
          <cx:pt idx="32358">0</cx:pt>
          <cx:pt idx="32359">2</cx:pt>
          <cx:pt idx="32360">3</cx:pt>
          <cx:pt idx="32361">4</cx:pt>
          <cx:pt idx="32362">2</cx:pt>
          <cx:pt idx="32363">4</cx:pt>
          <cx:pt idx="32364">3</cx:pt>
          <cx:pt idx="32365">3</cx:pt>
          <cx:pt idx="32366">4</cx:pt>
          <cx:pt idx="32367">3</cx:pt>
          <cx:pt idx="32368">1</cx:pt>
          <cx:pt idx="32369">2</cx:pt>
          <cx:pt idx="32370">2</cx:pt>
          <cx:pt idx="32371">3</cx:pt>
          <cx:pt idx="32372">5</cx:pt>
          <cx:pt idx="32373">3</cx:pt>
          <cx:pt idx="32374">0</cx:pt>
          <cx:pt idx="32375">3</cx:pt>
          <cx:pt idx="32376">2</cx:pt>
          <cx:pt idx="32377">5</cx:pt>
          <cx:pt idx="32378">1</cx:pt>
          <cx:pt idx="32379">2</cx:pt>
          <cx:pt idx="32380">4</cx:pt>
          <cx:pt idx="32381">2</cx:pt>
          <cx:pt idx="32382">4</cx:pt>
          <cx:pt idx="32383">1</cx:pt>
          <cx:pt idx="32384">4</cx:pt>
          <cx:pt idx="32385">4</cx:pt>
          <cx:pt idx="32386">1</cx:pt>
          <cx:pt idx="32387">5</cx:pt>
          <cx:pt idx="32388">2</cx:pt>
          <cx:pt idx="32389">2</cx:pt>
          <cx:pt idx="32390">4</cx:pt>
          <cx:pt idx="32391">0</cx:pt>
          <cx:pt idx="32392">1</cx:pt>
          <cx:pt idx="32393">2</cx:pt>
          <cx:pt idx="32394">3</cx:pt>
          <cx:pt idx="32395">2</cx:pt>
          <cx:pt idx="32396">2</cx:pt>
          <cx:pt idx="32397">4</cx:pt>
          <cx:pt idx="32398">4</cx:pt>
          <cx:pt idx="32399">4</cx:pt>
          <cx:pt idx="32400">1</cx:pt>
          <cx:pt idx="32401">4</cx:pt>
          <cx:pt idx="32402">1</cx:pt>
          <cx:pt idx="32403">4</cx:pt>
          <cx:pt idx="32404">2</cx:pt>
          <cx:pt idx="32405">3</cx:pt>
          <cx:pt idx="32406">4</cx:pt>
          <cx:pt idx="32407">2</cx:pt>
          <cx:pt idx="32408">1</cx:pt>
          <cx:pt idx="32409">4</cx:pt>
          <cx:pt idx="32410">3</cx:pt>
          <cx:pt idx="32411">2</cx:pt>
          <cx:pt idx="32412">2</cx:pt>
          <cx:pt idx="32413">2</cx:pt>
          <cx:pt idx="32414">3</cx:pt>
          <cx:pt idx="32415">1</cx:pt>
          <cx:pt idx="32416">2</cx:pt>
          <cx:pt idx="32417">5</cx:pt>
          <cx:pt idx="32418">4</cx:pt>
          <cx:pt idx="32419">3</cx:pt>
          <cx:pt idx="32420">4</cx:pt>
          <cx:pt idx="32421">5</cx:pt>
          <cx:pt idx="32422">3</cx:pt>
          <cx:pt idx="32423">2</cx:pt>
          <cx:pt idx="32424">2</cx:pt>
          <cx:pt idx="32425">5</cx:pt>
          <cx:pt idx="32426">1</cx:pt>
          <cx:pt idx="32427">2</cx:pt>
          <cx:pt idx="32428">4</cx:pt>
          <cx:pt idx="32429">2</cx:pt>
          <cx:pt idx="32430">1</cx:pt>
          <cx:pt idx="32431">3</cx:pt>
          <cx:pt idx="32432">0</cx:pt>
          <cx:pt idx="32433">1</cx:pt>
          <cx:pt idx="32434">3</cx:pt>
          <cx:pt idx="32435">3</cx:pt>
          <cx:pt idx="32436">2</cx:pt>
          <cx:pt idx="32437">2</cx:pt>
          <cx:pt idx="32438">2</cx:pt>
          <cx:pt idx="32439">3</cx:pt>
          <cx:pt idx="32440">2</cx:pt>
          <cx:pt idx="32441">5</cx:pt>
          <cx:pt idx="32442">1</cx:pt>
          <cx:pt idx="32443">3</cx:pt>
          <cx:pt idx="32444">3</cx:pt>
          <cx:pt idx="32445">5</cx:pt>
          <cx:pt idx="32446">3</cx:pt>
          <cx:pt idx="32447">3</cx:pt>
          <cx:pt idx="32448">5</cx:pt>
          <cx:pt idx="32449">1</cx:pt>
          <cx:pt idx="32450">2</cx:pt>
          <cx:pt idx="32451">5</cx:pt>
          <cx:pt idx="32452">4</cx:pt>
          <cx:pt idx="32453">4</cx:pt>
          <cx:pt idx="32454">2</cx:pt>
          <cx:pt idx="32455">1</cx:pt>
          <cx:pt idx="32456">2</cx:pt>
          <cx:pt idx="32457">3</cx:pt>
          <cx:pt idx="32458">1</cx:pt>
          <cx:pt idx="32459">3</cx:pt>
          <cx:pt idx="32460">0</cx:pt>
          <cx:pt idx="32461">5</cx:pt>
          <cx:pt idx="32462">2</cx:pt>
          <cx:pt idx="32463">4</cx:pt>
          <cx:pt idx="32464">1</cx:pt>
          <cx:pt idx="32465">2</cx:pt>
          <cx:pt idx="32466">3</cx:pt>
          <cx:pt idx="32467">1</cx:pt>
          <cx:pt idx="32468">4</cx:pt>
          <cx:pt idx="32469">3</cx:pt>
          <cx:pt idx="32470">2</cx:pt>
          <cx:pt idx="32471">5</cx:pt>
          <cx:pt idx="32472">3</cx:pt>
          <cx:pt idx="32473">5</cx:pt>
          <cx:pt idx="32474">1</cx:pt>
          <cx:pt idx="32475">2</cx:pt>
          <cx:pt idx="32476">2</cx:pt>
          <cx:pt idx="32477">3</cx:pt>
          <cx:pt idx="32478">3</cx:pt>
          <cx:pt idx="32479">3</cx:pt>
          <cx:pt idx="32480">4</cx:pt>
          <cx:pt idx="32481">2</cx:pt>
          <cx:pt idx="32482">3</cx:pt>
          <cx:pt idx="32483">3</cx:pt>
          <cx:pt idx="32484">1</cx:pt>
          <cx:pt idx="32485">2</cx:pt>
          <cx:pt idx="32486">2</cx:pt>
          <cx:pt idx="32487">4</cx:pt>
          <cx:pt idx="32488">3</cx:pt>
          <cx:pt idx="32489">3</cx:pt>
          <cx:pt idx="32490">5</cx:pt>
          <cx:pt idx="32491">4</cx:pt>
          <cx:pt idx="32492">3</cx:pt>
          <cx:pt idx="32493">2</cx:pt>
          <cx:pt idx="32494">4</cx:pt>
          <cx:pt idx="32495">2</cx:pt>
          <cx:pt idx="32496">2</cx:pt>
          <cx:pt idx="32497">3</cx:pt>
          <cx:pt idx="32498">3</cx:pt>
          <cx:pt idx="32499">2</cx:pt>
          <cx:pt idx="32500">3</cx:pt>
          <cx:pt idx="32501">2</cx:pt>
          <cx:pt idx="32502">2</cx:pt>
          <cx:pt idx="32503">1</cx:pt>
          <cx:pt idx="32504">2</cx:pt>
          <cx:pt idx="32505">4</cx:pt>
          <cx:pt idx="32506">2</cx:pt>
          <cx:pt idx="32507">3</cx:pt>
          <cx:pt idx="32508">3</cx:pt>
          <cx:pt idx="32509">4</cx:pt>
          <cx:pt idx="32510">1</cx:pt>
          <cx:pt idx="32511">4</cx:pt>
          <cx:pt idx="32512">3</cx:pt>
          <cx:pt idx="32513">1</cx:pt>
          <cx:pt idx="32514">2</cx:pt>
          <cx:pt idx="32515">5</cx:pt>
          <cx:pt idx="32516">1</cx:pt>
          <cx:pt idx="32517">2</cx:pt>
          <cx:pt idx="32518">4</cx:pt>
          <cx:pt idx="32519">4</cx:pt>
          <cx:pt idx="32520">4</cx:pt>
          <cx:pt idx="32521">1</cx:pt>
          <cx:pt idx="32522">4</cx:pt>
          <cx:pt idx="32523">1</cx:pt>
          <cx:pt idx="32524">4</cx:pt>
          <cx:pt idx="32525">1</cx:pt>
          <cx:pt idx="32526">4</cx:pt>
          <cx:pt idx="32527">2</cx:pt>
          <cx:pt idx="32528">1</cx:pt>
          <cx:pt idx="32529">4</cx:pt>
          <cx:pt idx="32530">1</cx:pt>
          <cx:pt idx="32531">3</cx:pt>
          <cx:pt idx="32532">1</cx:pt>
          <cx:pt idx="32533">1</cx:pt>
          <cx:pt idx="32534">0</cx:pt>
          <cx:pt idx="32535">1</cx:pt>
          <cx:pt idx="32536">1</cx:pt>
          <cx:pt idx="32537">2</cx:pt>
          <cx:pt idx="32538">1</cx:pt>
          <cx:pt idx="32539">3</cx:pt>
          <cx:pt idx="32540">1</cx:pt>
          <cx:pt idx="32541">5</cx:pt>
          <cx:pt idx="32542">1</cx:pt>
          <cx:pt idx="32543">5</cx:pt>
          <cx:pt idx="32544">2</cx:pt>
          <cx:pt idx="32545">5</cx:pt>
          <cx:pt idx="32546">4</cx:pt>
          <cx:pt idx="32547">3</cx:pt>
          <cx:pt idx="32548">1</cx:pt>
          <cx:pt idx="32549">2</cx:pt>
          <cx:pt idx="32550">4</cx:pt>
          <cx:pt idx="32551">4</cx:pt>
          <cx:pt idx="32552">4</cx:pt>
          <cx:pt idx="32553">2</cx:pt>
          <cx:pt idx="32554">1</cx:pt>
          <cx:pt idx="32555">2</cx:pt>
          <cx:pt idx="32556">4</cx:pt>
          <cx:pt idx="32557">2</cx:pt>
          <cx:pt idx="32558">3</cx:pt>
          <cx:pt idx="32559">3</cx:pt>
          <cx:pt idx="32560">4</cx:pt>
          <cx:pt idx="32561">3</cx:pt>
          <cx:pt idx="32562">2</cx:pt>
          <cx:pt idx="32563">4</cx:pt>
          <cx:pt idx="32564">2</cx:pt>
          <cx:pt idx="32565">4</cx:pt>
          <cx:pt idx="32566">0</cx:pt>
          <cx:pt idx="32567">4</cx:pt>
          <cx:pt idx="32568">3</cx:pt>
          <cx:pt idx="32569">4</cx:pt>
          <cx:pt idx="32570">2</cx:pt>
          <cx:pt idx="32571">5</cx:pt>
          <cx:pt idx="32572">3</cx:pt>
          <cx:pt idx="32573">4</cx:pt>
          <cx:pt idx="32574">3</cx:pt>
          <cx:pt idx="32575">2</cx:pt>
          <cx:pt idx="32576">3</cx:pt>
          <cx:pt idx="32577">3</cx:pt>
          <cx:pt idx="32578">5</cx:pt>
          <cx:pt idx="32579">1</cx:pt>
          <cx:pt idx="32580">2</cx:pt>
          <cx:pt idx="32581">1</cx:pt>
          <cx:pt idx="32582">2</cx:pt>
          <cx:pt idx="32583">3</cx:pt>
          <cx:pt idx="32584">1</cx:pt>
          <cx:pt idx="32585">2</cx:pt>
          <cx:pt idx="32586">2</cx:pt>
          <cx:pt idx="32587">5</cx:pt>
          <cx:pt idx="32588">3</cx:pt>
          <cx:pt idx="32589">3</cx:pt>
          <cx:pt idx="32590">2</cx:pt>
          <cx:pt idx="32591">3</cx:pt>
          <cx:pt idx="32592">4</cx:pt>
          <cx:pt idx="32593">3</cx:pt>
          <cx:pt idx="32594">4</cx:pt>
          <cx:pt idx="32595">4</cx:pt>
          <cx:pt idx="32596">3</cx:pt>
          <cx:pt idx="32597">3</cx:pt>
          <cx:pt idx="32598">1</cx:pt>
          <cx:pt idx="32599">5</cx:pt>
          <cx:pt idx="32600">1</cx:pt>
          <cx:pt idx="32601">1</cx:pt>
          <cx:pt idx="32602">3</cx:pt>
          <cx:pt idx="32603">1</cx:pt>
          <cx:pt idx="32604">5</cx:pt>
          <cx:pt idx="32605">2</cx:pt>
          <cx:pt idx="32606">3</cx:pt>
          <cx:pt idx="32607">4</cx:pt>
          <cx:pt idx="32608">2</cx:pt>
          <cx:pt idx="32609">4</cx:pt>
          <cx:pt idx="32610">3</cx:pt>
          <cx:pt idx="32611">1</cx:pt>
          <cx:pt idx="32612">4</cx:pt>
          <cx:pt idx="32613">3</cx:pt>
          <cx:pt idx="32614">1</cx:pt>
          <cx:pt idx="32615">1</cx:pt>
          <cx:pt idx="32616">1</cx:pt>
          <cx:pt idx="32617">3</cx:pt>
          <cx:pt idx="32618">2</cx:pt>
          <cx:pt idx="32619">2</cx:pt>
          <cx:pt idx="32620">1</cx:pt>
          <cx:pt idx="32621">2</cx:pt>
          <cx:pt idx="32622">2</cx:pt>
          <cx:pt idx="32623">4</cx:pt>
          <cx:pt idx="32624">2</cx:pt>
          <cx:pt idx="32625">5</cx:pt>
          <cx:pt idx="32626">5</cx:pt>
          <cx:pt idx="32627">3</cx:pt>
          <cx:pt idx="32628">2</cx:pt>
          <cx:pt idx="32629">4</cx:pt>
          <cx:pt idx="32630">1</cx:pt>
          <cx:pt idx="32631">4</cx:pt>
          <cx:pt idx="32632">2</cx:pt>
          <cx:pt idx="32633">2</cx:pt>
          <cx:pt idx="32634">4</cx:pt>
          <cx:pt idx="32635">3</cx:pt>
          <cx:pt idx="32636">2</cx:pt>
          <cx:pt idx="32637">4</cx:pt>
          <cx:pt idx="32638">2</cx:pt>
          <cx:pt idx="32639">3</cx:pt>
          <cx:pt idx="32640">4</cx:pt>
          <cx:pt idx="32641">3</cx:pt>
          <cx:pt idx="32642">3</cx:pt>
          <cx:pt idx="32643">2</cx:pt>
          <cx:pt idx="32644">4</cx:pt>
          <cx:pt idx="32645">3</cx:pt>
          <cx:pt idx="32646">1</cx:pt>
          <cx:pt idx="32647">3</cx:pt>
          <cx:pt idx="32648">3</cx:pt>
          <cx:pt idx="32649">3</cx:pt>
          <cx:pt idx="32650">2</cx:pt>
          <cx:pt idx="32651">1</cx:pt>
          <cx:pt idx="32652">1</cx:pt>
          <cx:pt idx="32653">4</cx:pt>
          <cx:pt idx="32654">2</cx:pt>
          <cx:pt idx="32655">4</cx:pt>
          <cx:pt idx="32656">3</cx:pt>
          <cx:pt idx="32657">1</cx:pt>
          <cx:pt idx="32658">3</cx:pt>
          <cx:pt idx="32659">5</cx:pt>
          <cx:pt idx="32660">1</cx:pt>
          <cx:pt idx="32661">2</cx:pt>
          <cx:pt idx="32662">4</cx:pt>
          <cx:pt idx="32663">1</cx:pt>
          <cx:pt idx="32664">4</cx:pt>
          <cx:pt idx="32665">5</cx:pt>
          <cx:pt idx="32666">3</cx:pt>
          <cx:pt idx="32667">5</cx:pt>
          <cx:pt idx="32668">4</cx:pt>
          <cx:pt idx="32669">5</cx:pt>
          <cx:pt idx="32670">5</cx:pt>
          <cx:pt idx="32671">1</cx:pt>
          <cx:pt idx="32672">3</cx:pt>
          <cx:pt idx="32673">5</cx:pt>
          <cx:pt idx="32674">4</cx:pt>
          <cx:pt idx="32675">4</cx:pt>
          <cx:pt idx="32676">2</cx:pt>
          <cx:pt idx="32677">3</cx:pt>
          <cx:pt idx="32678">4</cx:pt>
          <cx:pt idx="32679">4</cx:pt>
          <cx:pt idx="32680">1</cx:pt>
          <cx:pt idx="32681">3</cx:pt>
          <cx:pt idx="32682">2</cx:pt>
          <cx:pt idx="32683">2</cx:pt>
          <cx:pt idx="32684">3</cx:pt>
          <cx:pt idx="32685">3</cx:pt>
          <cx:pt idx="32686">1</cx:pt>
          <cx:pt idx="32687">4</cx:pt>
          <cx:pt idx="32688">2</cx:pt>
          <cx:pt idx="32689">2</cx:pt>
          <cx:pt idx="32690">3</cx:pt>
          <cx:pt idx="32691">3</cx:pt>
          <cx:pt idx="32692">5</cx:pt>
          <cx:pt idx="32693">3</cx:pt>
          <cx:pt idx="32694">3</cx:pt>
          <cx:pt idx="32695">2</cx:pt>
          <cx:pt idx="32696">4</cx:pt>
          <cx:pt idx="32697">3</cx:pt>
          <cx:pt idx="32698">2</cx:pt>
          <cx:pt idx="32699">2</cx:pt>
          <cx:pt idx="32700">5</cx:pt>
          <cx:pt idx="32701">5</cx:pt>
          <cx:pt idx="32702">3</cx:pt>
          <cx:pt idx="32703">1</cx:pt>
          <cx:pt idx="32704">1</cx:pt>
          <cx:pt idx="32705">5</cx:pt>
          <cx:pt idx="32706">0</cx:pt>
          <cx:pt idx="32707">4</cx:pt>
          <cx:pt idx="32708">2</cx:pt>
          <cx:pt idx="32709">4</cx:pt>
          <cx:pt idx="32710">3</cx:pt>
          <cx:pt idx="32711">2</cx:pt>
          <cx:pt idx="32712">4</cx:pt>
          <cx:pt idx="32713">1</cx:pt>
          <cx:pt idx="32714">4</cx:pt>
          <cx:pt idx="32715">5</cx:pt>
          <cx:pt idx="32716">3</cx:pt>
          <cx:pt idx="32717">3</cx:pt>
          <cx:pt idx="32718">2</cx:pt>
          <cx:pt idx="32719">2</cx:pt>
          <cx:pt idx="32720">1</cx:pt>
          <cx:pt idx="32721">5</cx:pt>
          <cx:pt idx="32722">1</cx:pt>
          <cx:pt idx="32723">5</cx:pt>
          <cx:pt idx="32724">1</cx:pt>
          <cx:pt idx="32725">3</cx:pt>
          <cx:pt idx="32726">5</cx:pt>
          <cx:pt idx="32727">5</cx:pt>
          <cx:pt idx="32728">5</cx:pt>
          <cx:pt idx="32729">2</cx:pt>
          <cx:pt idx="32730">1</cx:pt>
          <cx:pt idx="32731">1</cx:pt>
          <cx:pt idx="32732">3</cx:pt>
          <cx:pt idx="32733">2</cx:pt>
          <cx:pt idx="32734">1</cx:pt>
          <cx:pt idx="32735">3</cx:pt>
          <cx:pt idx="32736">4</cx:pt>
          <cx:pt idx="32737">3</cx:pt>
          <cx:pt idx="32738">5</cx:pt>
          <cx:pt idx="32739">5</cx:pt>
          <cx:pt idx="32740">4</cx:pt>
          <cx:pt idx="32741">4</cx:pt>
          <cx:pt idx="32742">2</cx:pt>
          <cx:pt idx="32743">0</cx:pt>
          <cx:pt idx="32744">3</cx:pt>
          <cx:pt idx="32745">4</cx:pt>
          <cx:pt idx="32746">5</cx:pt>
          <cx:pt idx="32747">2</cx:pt>
          <cx:pt idx="32748">2</cx:pt>
          <cx:pt idx="32749">4</cx:pt>
          <cx:pt idx="32750">3</cx:pt>
          <cx:pt idx="32751">1</cx:pt>
          <cx:pt idx="32752">0</cx:pt>
          <cx:pt idx="32753">3</cx:pt>
          <cx:pt idx="32754">4</cx:pt>
          <cx:pt idx="32755">2</cx:pt>
          <cx:pt idx="32756">4</cx:pt>
          <cx:pt idx="32757">4</cx:pt>
          <cx:pt idx="32758">5</cx:pt>
          <cx:pt idx="32759">1</cx:pt>
          <cx:pt idx="32760">1</cx:pt>
          <cx:pt idx="32761">4</cx:pt>
          <cx:pt idx="32762">1</cx:pt>
          <cx:pt idx="32763">2</cx:pt>
          <cx:pt idx="32764">1</cx:pt>
          <cx:pt idx="32765">2</cx:pt>
          <cx:pt idx="32766">1</cx:pt>
          <cx:pt idx="32767">3</cx:pt>
          <cx:pt idx="32768">2</cx:pt>
          <cx:pt idx="32769">1</cx:pt>
          <cx:pt idx="32770">1</cx:pt>
          <cx:pt idx="32771">4</cx:pt>
          <cx:pt idx="32772">2</cx:pt>
          <cx:pt idx="32773">3</cx:pt>
          <cx:pt idx="32774">5</cx:pt>
          <cx:pt idx="32775">1</cx:pt>
          <cx:pt idx="32776">2</cx:pt>
          <cx:pt idx="32777">1</cx:pt>
          <cx:pt idx="32778">2</cx:pt>
          <cx:pt idx="32779">2</cx:pt>
          <cx:pt idx="32780">2</cx:pt>
          <cx:pt idx="32781">3</cx:pt>
          <cx:pt idx="32782">3</cx:pt>
          <cx:pt idx="32783">2</cx:pt>
          <cx:pt idx="32784">3</cx:pt>
          <cx:pt idx="32785">2</cx:pt>
          <cx:pt idx="32786">2</cx:pt>
          <cx:pt idx="32787">3</cx:pt>
          <cx:pt idx="32788">3</cx:pt>
          <cx:pt idx="32789">3</cx:pt>
          <cx:pt idx="32790">4</cx:pt>
          <cx:pt idx="32791">4</cx:pt>
          <cx:pt idx="32792">3</cx:pt>
          <cx:pt idx="32793">0</cx:pt>
          <cx:pt idx="32794">4</cx:pt>
          <cx:pt idx="32795">3</cx:pt>
          <cx:pt idx="32796">3</cx:pt>
          <cx:pt idx="32797">2</cx:pt>
          <cx:pt idx="32798">3</cx:pt>
          <cx:pt idx="32799">1</cx:pt>
          <cx:pt idx="32800">5</cx:pt>
          <cx:pt idx="32801">4</cx:pt>
          <cx:pt idx="32802">4</cx:pt>
          <cx:pt idx="32803">4</cx:pt>
          <cx:pt idx="32804">5</cx:pt>
          <cx:pt idx="32805">3</cx:pt>
          <cx:pt idx="32806">3</cx:pt>
          <cx:pt idx="32807">2</cx:pt>
          <cx:pt idx="32808">4</cx:pt>
          <cx:pt idx="32809">4</cx:pt>
          <cx:pt idx="32810">0</cx:pt>
          <cx:pt idx="32811">3</cx:pt>
          <cx:pt idx="32812">4</cx:pt>
          <cx:pt idx="32813">1</cx:pt>
          <cx:pt idx="32814">3</cx:pt>
          <cx:pt idx="32815">1</cx:pt>
          <cx:pt idx="32816">4</cx:pt>
          <cx:pt idx="32817">3</cx:pt>
          <cx:pt idx="32818">3</cx:pt>
          <cx:pt idx="32819">1</cx:pt>
          <cx:pt idx="32820">5</cx:pt>
          <cx:pt idx="32821">4</cx:pt>
          <cx:pt idx="32822">1</cx:pt>
          <cx:pt idx="32823">4</cx:pt>
          <cx:pt idx="32824">3</cx:pt>
          <cx:pt idx="32825">4</cx:pt>
          <cx:pt idx="32826">2</cx:pt>
          <cx:pt idx="32827">5</cx:pt>
          <cx:pt idx="32828">0</cx:pt>
          <cx:pt idx="32829">2</cx:pt>
          <cx:pt idx="32830">5</cx:pt>
          <cx:pt idx="32831">3</cx:pt>
          <cx:pt idx="32832">2</cx:pt>
          <cx:pt idx="32833">4</cx:pt>
          <cx:pt idx="32834">5</cx:pt>
          <cx:pt idx="32835">2</cx:pt>
          <cx:pt idx="32836">5</cx:pt>
          <cx:pt idx="32837">2</cx:pt>
          <cx:pt idx="32838">5</cx:pt>
          <cx:pt idx="32839">2</cx:pt>
          <cx:pt idx="32840">1</cx:pt>
          <cx:pt idx="32841">2</cx:pt>
          <cx:pt idx="32842">2</cx:pt>
          <cx:pt idx="32843">3</cx:pt>
          <cx:pt idx="32844">3</cx:pt>
          <cx:pt idx="32845">4</cx:pt>
          <cx:pt idx="32846">1</cx:pt>
          <cx:pt idx="32847">0</cx:pt>
          <cx:pt idx="32848">3</cx:pt>
          <cx:pt idx="32849">4</cx:pt>
          <cx:pt idx="32850">2</cx:pt>
          <cx:pt idx="32851">3</cx:pt>
          <cx:pt idx="32852">4</cx:pt>
          <cx:pt idx="32853">1</cx:pt>
          <cx:pt idx="32854">2</cx:pt>
          <cx:pt idx="32855">1</cx:pt>
          <cx:pt idx="32856">3</cx:pt>
          <cx:pt idx="32857">3</cx:pt>
          <cx:pt idx="32858">1</cx:pt>
          <cx:pt idx="32859">2</cx:pt>
          <cx:pt idx="32860">4</cx:pt>
          <cx:pt idx="32861">1</cx:pt>
          <cx:pt idx="32862">3</cx:pt>
          <cx:pt idx="32863">3</cx:pt>
          <cx:pt idx="32864">4</cx:pt>
          <cx:pt idx="32865">4</cx:pt>
          <cx:pt idx="32866">4</cx:pt>
          <cx:pt idx="32867">2</cx:pt>
          <cx:pt idx="32868">3</cx:pt>
          <cx:pt idx="32869">1</cx:pt>
          <cx:pt idx="32870">1</cx:pt>
          <cx:pt idx="32871">3</cx:pt>
          <cx:pt idx="32872">2</cx:pt>
          <cx:pt idx="32873">5</cx:pt>
          <cx:pt idx="32874">5</cx:pt>
          <cx:pt idx="32875">3</cx:pt>
          <cx:pt idx="32876">2</cx:pt>
          <cx:pt idx="32877">4</cx:pt>
          <cx:pt idx="32878">3</cx:pt>
          <cx:pt idx="32879">5</cx:pt>
          <cx:pt idx="32880">2</cx:pt>
          <cx:pt idx="32881">0</cx:pt>
          <cx:pt idx="32882">3</cx:pt>
          <cx:pt idx="32883">3</cx:pt>
          <cx:pt idx="32884">1</cx:pt>
          <cx:pt idx="32885">3</cx:pt>
          <cx:pt idx="32886">2</cx:pt>
          <cx:pt idx="32887">1</cx:pt>
          <cx:pt idx="32888">2</cx:pt>
          <cx:pt idx="32889">2</cx:pt>
          <cx:pt idx="32890">3</cx:pt>
          <cx:pt idx="32891">5</cx:pt>
          <cx:pt idx="32892">2</cx:pt>
          <cx:pt idx="32893">2</cx:pt>
          <cx:pt idx="32894">4</cx:pt>
          <cx:pt idx="32895">3</cx:pt>
          <cx:pt idx="32896">5</cx:pt>
          <cx:pt idx="32897">5</cx:pt>
          <cx:pt idx="32898">2</cx:pt>
          <cx:pt idx="32899">1</cx:pt>
          <cx:pt idx="32900">3</cx:pt>
          <cx:pt idx="32901">1</cx:pt>
          <cx:pt idx="32902">3</cx:pt>
          <cx:pt idx="32903">4</cx:pt>
          <cx:pt idx="32904">3</cx:pt>
          <cx:pt idx="32905">5</cx:pt>
          <cx:pt idx="32906">4</cx:pt>
          <cx:pt idx="32907">4</cx:pt>
          <cx:pt idx="32908">3</cx:pt>
          <cx:pt idx="32909">3</cx:pt>
          <cx:pt idx="32910">1</cx:pt>
          <cx:pt idx="32911">5</cx:pt>
          <cx:pt idx="32912">3</cx:pt>
          <cx:pt idx="32913">4</cx:pt>
          <cx:pt idx="32914">2</cx:pt>
          <cx:pt idx="32915">1</cx:pt>
          <cx:pt idx="32916">3</cx:pt>
          <cx:pt idx="32917">2</cx:pt>
          <cx:pt idx="32918">0</cx:pt>
          <cx:pt idx="32919">3</cx:pt>
          <cx:pt idx="32920">4</cx:pt>
          <cx:pt idx="32921">2</cx:pt>
          <cx:pt idx="32922">4</cx:pt>
          <cx:pt idx="32923">3</cx:pt>
          <cx:pt idx="32924">5</cx:pt>
          <cx:pt idx="32925">1</cx:pt>
          <cx:pt idx="32926">2</cx:pt>
          <cx:pt idx="32927">4</cx:pt>
          <cx:pt idx="32928">3</cx:pt>
          <cx:pt idx="32929">3</cx:pt>
          <cx:pt idx="32930">2</cx:pt>
          <cx:pt idx="32931">2</cx:pt>
          <cx:pt idx="32932">3</cx:pt>
          <cx:pt idx="32933">2</cx:pt>
          <cx:pt idx="32934">4</cx:pt>
          <cx:pt idx="32935">3</cx:pt>
          <cx:pt idx="32936">4</cx:pt>
          <cx:pt idx="32937">1</cx:pt>
          <cx:pt idx="32938">3</cx:pt>
          <cx:pt idx="32939">2</cx:pt>
          <cx:pt idx="32940">3</cx:pt>
          <cx:pt idx="32941">2</cx:pt>
          <cx:pt idx="32942">2</cx:pt>
          <cx:pt idx="32943">2</cx:pt>
          <cx:pt idx="32944">4</cx:pt>
          <cx:pt idx="32945">4</cx:pt>
          <cx:pt idx="32946">4</cx:pt>
          <cx:pt idx="32947">4</cx:pt>
          <cx:pt idx="32948">2</cx:pt>
          <cx:pt idx="32949">5</cx:pt>
          <cx:pt idx="32950">3</cx:pt>
          <cx:pt idx="32951">1</cx:pt>
          <cx:pt idx="32952">2</cx:pt>
          <cx:pt idx="32953">2</cx:pt>
          <cx:pt idx="32954">1</cx:pt>
          <cx:pt idx="32955">5</cx:pt>
          <cx:pt idx="32956">2</cx:pt>
          <cx:pt idx="32957">2</cx:pt>
          <cx:pt idx="32958">2</cx:pt>
          <cx:pt idx="32959">1</cx:pt>
          <cx:pt idx="32960">1</cx:pt>
          <cx:pt idx="32961">1</cx:pt>
          <cx:pt idx="32962">1</cx:pt>
          <cx:pt idx="32963">2</cx:pt>
          <cx:pt idx="32964">2</cx:pt>
          <cx:pt idx="32965">4</cx:pt>
          <cx:pt idx="32966">3</cx:pt>
          <cx:pt idx="32967">1</cx:pt>
          <cx:pt idx="32968">5</cx:pt>
          <cx:pt idx="32969">3</cx:pt>
          <cx:pt idx="32970">4</cx:pt>
          <cx:pt idx="32971">4</cx:pt>
          <cx:pt idx="32972">1</cx:pt>
          <cx:pt idx="32973">2</cx:pt>
          <cx:pt idx="32974">3</cx:pt>
          <cx:pt idx="32975">4</cx:pt>
          <cx:pt idx="32976">4</cx:pt>
          <cx:pt idx="32977">2</cx:pt>
          <cx:pt idx="32978">3</cx:pt>
          <cx:pt idx="32979">3</cx:pt>
          <cx:pt idx="32980">3</cx:pt>
          <cx:pt idx="32981">4</cx:pt>
          <cx:pt idx="32982">3</cx:pt>
          <cx:pt idx="32983">5</cx:pt>
          <cx:pt idx="32984">3</cx:pt>
          <cx:pt idx="32985">0</cx:pt>
          <cx:pt idx="32986">4</cx:pt>
          <cx:pt idx="32987">2</cx:pt>
          <cx:pt idx="32988">4</cx:pt>
          <cx:pt idx="32989">4</cx:pt>
          <cx:pt idx="32990">1</cx:pt>
          <cx:pt idx="32991">2</cx:pt>
          <cx:pt idx="32992">3</cx:pt>
          <cx:pt idx="32993">0</cx:pt>
          <cx:pt idx="32994">5</cx:pt>
          <cx:pt idx="32995">1</cx:pt>
          <cx:pt idx="32996">5</cx:pt>
          <cx:pt idx="32997">3</cx:pt>
          <cx:pt idx="32998">3</cx:pt>
          <cx:pt idx="32999">4</cx:pt>
          <cx:pt idx="33000">2</cx:pt>
          <cx:pt idx="33001">2</cx:pt>
          <cx:pt idx="33002">1</cx:pt>
          <cx:pt idx="33003">5</cx:pt>
          <cx:pt idx="33004">3</cx:pt>
          <cx:pt idx="33005">3</cx:pt>
          <cx:pt idx="33006">3</cx:pt>
          <cx:pt idx="33007">1</cx:pt>
          <cx:pt idx="33008">5</cx:pt>
          <cx:pt idx="33009">3</cx:pt>
          <cx:pt idx="33010">1</cx:pt>
          <cx:pt idx="33011">1</cx:pt>
          <cx:pt idx="33012">3</cx:pt>
          <cx:pt idx="33013">2</cx:pt>
          <cx:pt idx="33014">4</cx:pt>
          <cx:pt idx="33015">0</cx:pt>
          <cx:pt idx="33016">1</cx:pt>
          <cx:pt idx="33017">4</cx:pt>
          <cx:pt idx="33018">3</cx:pt>
          <cx:pt idx="33019">1</cx:pt>
          <cx:pt idx="33020">5</cx:pt>
          <cx:pt idx="33021">3</cx:pt>
          <cx:pt idx="33022">3</cx:pt>
          <cx:pt idx="33023">2</cx:pt>
          <cx:pt idx="33024">4</cx:pt>
          <cx:pt idx="33025">5</cx:pt>
          <cx:pt idx="33026">3</cx:pt>
          <cx:pt idx="33027">0</cx:pt>
          <cx:pt idx="33028">0</cx:pt>
          <cx:pt idx="33029">3</cx:pt>
          <cx:pt idx="33030">2</cx:pt>
          <cx:pt idx="33031">3</cx:pt>
          <cx:pt idx="33032">2</cx:pt>
          <cx:pt idx="33033">4</cx:pt>
          <cx:pt idx="33034">1</cx:pt>
          <cx:pt idx="33035">2</cx:pt>
          <cx:pt idx="33036">4</cx:pt>
          <cx:pt idx="33037">1</cx:pt>
          <cx:pt idx="33038">2</cx:pt>
          <cx:pt idx="33039">3</cx:pt>
          <cx:pt idx="33040">1</cx:pt>
          <cx:pt idx="33041">0</cx:pt>
          <cx:pt idx="33042">3</cx:pt>
          <cx:pt idx="33043">3</cx:pt>
          <cx:pt idx="33044">4</cx:pt>
          <cx:pt idx="33045">5</cx:pt>
          <cx:pt idx="33046">1</cx:pt>
          <cx:pt idx="33047">1</cx:pt>
          <cx:pt idx="33048">2</cx:pt>
          <cx:pt idx="33049">4</cx:pt>
          <cx:pt idx="33050">1</cx:pt>
          <cx:pt idx="33051">3</cx:pt>
          <cx:pt idx="33052">4</cx:pt>
          <cx:pt idx="33053">5</cx:pt>
          <cx:pt idx="33054">1</cx:pt>
          <cx:pt idx="33055">5</cx:pt>
          <cx:pt idx="33056">4</cx:pt>
          <cx:pt idx="33057">2</cx:pt>
          <cx:pt idx="33058">2</cx:pt>
          <cx:pt idx="33059">4</cx:pt>
          <cx:pt idx="33060">1</cx:pt>
          <cx:pt idx="33061">3</cx:pt>
          <cx:pt idx="33062">0</cx:pt>
          <cx:pt idx="33063">3</cx:pt>
          <cx:pt idx="33064">5</cx:pt>
          <cx:pt idx="33065">3</cx:pt>
          <cx:pt idx="33066">2</cx:pt>
          <cx:pt idx="33067">4</cx:pt>
          <cx:pt idx="33068">0</cx:pt>
          <cx:pt idx="33069">1</cx:pt>
          <cx:pt idx="33070">1</cx:pt>
          <cx:pt idx="33071">4</cx:pt>
          <cx:pt idx="33072">4</cx:pt>
          <cx:pt idx="33073">4</cx:pt>
          <cx:pt idx="33074">4</cx:pt>
          <cx:pt idx="33075">3</cx:pt>
          <cx:pt idx="33076">4</cx:pt>
          <cx:pt idx="33077">1</cx:pt>
          <cx:pt idx="33078">3</cx:pt>
          <cx:pt idx="33079">3</cx:pt>
          <cx:pt idx="33080">1</cx:pt>
          <cx:pt idx="33081">4</cx:pt>
          <cx:pt idx="33082">5</cx:pt>
          <cx:pt idx="33083">3</cx:pt>
          <cx:pt idx="33084">2</cx:pt>
          <cx:pt idx="33085">4</cx:pt>
          <cx:pt idx="33086">5</cx:pt>
          <cx:pt idx="33087">3</cx:pt>
          <cx:pt idx="33088">1</cx:pt>
          <cx:pt idx="33089">2</cx:pt>
          <cx:pt idx="33090">4</cx:pt>
          <cx:pt idx="33091">2</cx:pt>
          <cx:pt idx="33092">1</cx:pt>
          <cx:pt idx="33093">2</cx:pt>
          <cx:pt idx="33094">2</cx:pt>
          <cx:pt idx="33095">1</cx:pt>
          <cx:pt idx="33096">2</cx:pt>
          <cx:pt idx="33097">4</cx:pt>
          <cx:pt idx="33098">3</cx:pt>
          <cx:pt idx="33099">1</cx:pt>
          <cx:pt idx="33100">0</cx:pt>
          <cx:pt idx="33101">3</cx:pt>
          <cx:pt idx="33102">2</cx:pt>
          <cx:pt idx="33103">2</cx:pt>
          <cx:pt idx="33104">4</cx:pt>
          <cx:pt idx="33105">2</cx:pt>
          <cx:pt idx="33106">5</cx:pt>
          <cx:pt idx="33107">1</cx:pt>
          <cx:pt idx="33108">2</cx:pt>
          <cx:pt idx="33109">3</cx:pt>
          <cx:pt idx="33110">1</cx:pt>
          <cx:pt idx="33111">3</cx:pt>
          <cx:pt idx="33112">3</cx:pt>
          <cx:pt idx="33113">2</cx:pt>
          <cx:pt idx="33114">3</cx:pt>
          <cx:pt idx="33115">1</cx:pt>
          <cx:pt idx="33116">2</cx:pt>
          <cx:pt idx="33117">1</cx:pt>
          <cx:pt idx="33118">5</cx:pt>
          <cx:pt idx="33119">4</cx:pt>
          <cx:pt idx="33120">1</cx:pt>
          <cx:pt idx="33121">4</cx:pt>
          <cx:pt idx="33122">1</cx:pt>
          <cx:pt idx="33123">1</cx:pt>
          <cx:pt idx="33124">1</cx:pt>
          <cx:pt idx="33125">3</cx:pt>
          <cx:pt idx="33126">4</cx:pt>
          <cx:pt idx="33127">3</cx:pt>
          <cx:pt idx="33128">1</cx:pt>
          <cx:pt idx="33129">0</cx:pt>
          <cx:pt idx="33130">5</cx:pt>
          <cx:pt idx="33131">5</cx:pt>
          <cx:pt idx="33132">4</cx:pt>
          <cx:pt idx="33133">1</cx:pt>
          <cx:pt idx="33134">5</cx:pt>
          <cx:pt idx="33135">3</cx:pt>
          <cx:pt idx="33136">2</cx:pt>
          <cx:pt idx="33137">5</cx:pt>
          <cx:pt idx="33138">3</cx:pt>
          <cx:pt idx="33139">1</cx:pt>
          <cx:pt idx="33140">1</cx:pt>
          <cx:pt idx="33141">2</cx:pt>
          <cx:pt idx="33142">4</cx:pt>
          <cx:pt idx="33143">0</cx:pt>
          <cx:pt idx="33144">4</cx:pt>
          <cx:pt idx="33145">2</cx:pt>
          <cx:pt idx="33146">4</cx:pt>
          <cx:pt idx="33147">3</cx:pt>
          <cx:pt idx="33148">1</cx:pt>
          <cx:pt idx="33149">1</cx:pt>
          <cx:pt idx="33150">0</cx:pt>
          <cx:pt idx="33151">5</cx:pt>
          <cx:pt idx="33152">4</cx:pt>
          <cx:pt idx="33153">4</cx:pt>
          <cx:pt idx="33154">2</cx:pt>
          <cx:pt idx="33155">3</cx:pt>
          <cx:pt idx="33156">4</cx:pt>
          <cx:pt idx="33157">5</cx:pt>
          <cx:pt idx="33158">1</cx:pt>
          <cx:pt idx="33159">5</cx:pt>
          <cx:pt idx="33160">2</cx:pt>
          <cx:pt idx="33161">5</cx:pt>
          <cx:pt idx="33162">3</cx:pt>
          <cx:pt idx="33163">3</cx:pt>
          <cx:pt idx="33164">5</cx:pt>
          <cx:pt idx="33165">4</cx:pt>
          <cx:pt idx="33166">5</cx:pt>
          <cx:pt idx="33167">4</cx:pt>
          <cx:pt idx="33168">4</cx:pt>
          <cx:pt idx="33169">4</cx:pt>
          <cx:pt idx="33170">3</cx:pt>
          <cx:pt idx="33171">3</cx:pt>
          <cx:pt idx="33172">3</cx:pt>
          <cx:pt idx="33173">2</cx:pt>
          <cx:pt idx="33174">1</cx:pt>
          <cx:pt idx="33175">5</cx:pt>
          <cx:pt idx="33176">4</cx:pt>
          <cx:pt idx="33177">4</cx:pt>
          <cx:pt idx="33178">1</cx:pt>
          <cx:pt idx="33179">1</cx:pt>
          <cx:pt idx="33180">4</cx:pt>
          <cx:pt idx="33181">2</cx:pt>
          <cx:pt idx="33182">3</cx:pt>
          <cx:pt idx="33183">3</cx:pt>
          <cx:pt idx="33184">3</cx:pt>
          <cx:pt idx="33185">4</cx:pt>
          <cx:pt idx="33186">3</cx:pt>
          <cx:pt idx="33187">2</cx:pt>
          <cx:pt idx="33188">3</cx:pt>
          <cx:pt idx="33189">3</cx:pt>
          <cx:pt idx="33190">1</cx:pt>
          <cx:pt idx="33191">4</cx:pt>
          <cx:pt idx="33192">2</cx:pt>
          <cx:pt idx="33193">1</cx:pt>
          <cx:pt idx="33194">0</cx:pt>
          <cx:pt idx="33195">4</cx:pt>
          <cx:pt idx="33196">0</cx:pt>
          <cx:pt idx="33197">5</cx:pt>
          <cx:pt idx="33198">3</cx:pt>
          <cx:pt idx="33199">5</cx:pt>
          <cx:pt idx="33200">2</cx:pt>
          <cx:pt idx="33201">4</cx:pt>
          <cx:pt idx="33202">2</cx:pt>
          <cx:pt idx="33203">1</cx:pt>
          <cx:pt idx="33204">3</cx:pt>
          <cx:pt idx="33205">5</cx:pt>
          <cx:pt idx="33206">2</cx:pt>
          <cx:pt idx="33207">3</cx:pt>
          <cx:pt idx="33208">5</cx:pt>
          <cx:pt idx="33209">3</cx:pt>
          <cx:pt idx="33210">2</cx:pt>
          <cx:pt idx="33211">3</cx:pt>
          <cx:pt idx="33212">2</cx:pt>
          <cx:pt idx="33213">2</cx:pt>
          <cx:pt idx="33214">4</cx:pt>
          <cx:pt idx="33215">3</cx:pt>
          <cx:pt idx="33216">5</cx:pt>
          <cx:pt idx="33217">2</cx:pt>
          <cx:pt idx="33218">2</cx:pt>
          <cx:pt idx="33219">5</cx:pt>
          <cx:pt idx="33220">1</cx:pt>
          <cx:pt idx="33221">2</cx:pt>
          <cx:pt idx="33222">5</cx:pt>
          <cx:pt idx="33223">4</cx:pt>
          <cx:pt idx="33224">2</cx:pt>
          <cx:pt idx="33225">3</cx:pt>
          <cx:pt idx="33226">4</cx:pt>
          <cx:pt idx="33227">4</cx:pt>
          <cx:pt idx="33228">5</cx:pt>
          <cx:pt idx="33229">2</cx:pt>
          <cx:pt idx="33230">3</cx:pt>
          <cx:pt idx="33231">1</cx:pt>
          <cx:pt idx="33232">5</cx:pt>
          <cx:pt idx="33233">4</cx:pt>
          <cx:pt idx="33234">3</cx:pt>
          <cx:pt idx="33235">2</cx:pt>
          <cx:pt idx="33236">4</cx:pt>
          <cx:pt idx="33237">4</cx:pt>
          <cx:pt idx="33238">1</cx:pt>
          <cx:pt idx="33239">3</cx:pt>
          <cx:pt idx="33240">2</cx:pt>
          <cx:pt idx="33241">2</cx:pt>
          <cx:pt idx="33242">5</cx:pt>
          <cx:pt idx="33243">2</cx:pt>
          <cx:pt idx="33244">2</cx:pt>
          <cx:pt idx="33245">3</cx:pt>
          <cx:pt idx="33246">5</cx:pt>
          <cx:pt idx="33247">5</cx:pt>
          <cx:pt idx="33248">5</cx:pt>
          <cx:pt idx="33249">2</cx:pt>
          <cx:pt idx="33250">5</cx:pt>
          <cx:pt idx="33251">5</cx:pt>
          <cx:pt idx="33252">2</cx:pt>
          <cx:pt idx="33253">1</cx:pt>
          <cx:pt idx="33254">4</cx:pt>
          <cx:pt idx="33255">4</cx:pt>
          <cx:pt idx="33256">1</cx:pt>
          <cx:pt idx="33257">4</cx:pt>
          <cx:pt idx="33258">2</cx:pt>
          <cx:pt idx="33259">1</cx:pt>
          <cx:pt idx="33260">5</cx:pt>
          <cx:pt idx="33261">3</cx:pt>
          <cx:pt idx="33262">3</cx:pt>
          <cx:pt idx="33263">2</cx:pt>
          <cx:pt idx="33264">1</cx:pt>
          <cx:pt idx="33265">1</cx:pt>
          <cx:pt idx="33266">5</cx:pt>
          <cx:pt idx="33267">5</cx:pt>
          <cx:pt idx="33268">3</cx:pt>
          <cx:pt idx="33269">4</cx:pt>
          <cx:pt idx="33270">0</cx:pt>
          <cx:pt idx="33271">1</cx:pt>
          <cx:pt idx="33272">5</cx:pt>
          <cx:pt idx="33273">2</cx:pt>
          <cx:pt idx="33274">3</cx:pt>
          <cx:pt idx="33275">2</cx:pt>
          <cx:pt idx="33276">3</cx:pt>
          <cx:pt idx="33277">4</cx:pt>
          <cx:pt idx="33278">2</cx:pt>
          <cx:pt idx="33279">2</cx:pt>
          <cx:pt idx="33280">4</cx:pt>
          <cx:pt idx="33281">3</cx:pt>
          <cx:pt idx="33282">2</cx:pt>
          <cx:pt idx="33283">1</cx:pt>
          <cx:pt idx="33284">3</cx:pt>
          <cx:pt idx="33285">4</cx:pt>
          <cx:pt idx="33286">1</cx:pt>
          <cx:pt idx="33287">2</cx:pt>
          <cx:pt idx="33288">2</cx:pt>
          <cx:pt idx="33289">2</cx:pt>
          <cx:pt idx="33290">1</cx:pt>
          <cx:pt idx="33291">3</cx:pt>
          <cx:pt idx="33292">2</cx:pt>
          <cx:pt idx="33293">2</cx:pt>
          <cx:pt idx="33294">5</cx:pt>
          <cx:pt idx="33295">1</cx:pt>
          <cx:pt idx="33296">1</cx:pt>
          <cx:pt idx="33297">3</cx:pt>
          <cx:pt idx="33298">2</cx:pt>
          <cx:pt idx="33299">3</cx:pt>
          <cx:pt idx="33300">3</cx:pt>
          <cx:pt idx="33301">3</cx:pt>
          <cx:pt idx="33302">4</cx:pt>
          <cx:pt idx="33303">4</cx:pt>
          <cx:pt idx="33304">2</cx:pt>
          <cx:pt idx="33305">4</cx:pt>
          <cx:pt idx="33306">3</cx:pt>
          <cx:pt idx="33307">5</cx:pt>
          <cx:pt idx="33308">3</cx:pt>
          <cx:pt idx="33309">4</cx:pt>
          <cx:pt idx="33310">2</cx:pt>
          <cx:pt idx="33311">4</cx:pt>
          <cx:pt idx="33312">5</cx:pt>
          <cx:pt idx="33313">4</cx:pt>
          <cx:pt idx="33314">0</cx:pt>
          <cx:pt idx="33315">1</cx:pt>
          <cx:pt idx="33316">5</cx:pt>
          <cx:pt idx="33317">4</cx:pt>
          <cx:pt idx="33318">3</cx:pt>
          <cx:pt idx="33319">2</cx:pt>
          <cx:pt idx="33320">3</cx:pt>
          <cx:pt idx="33321">3</cx:pt>
          <cx:pt idx="33322">1</cx:pt>
          <cx:pt idx="33323">5</cx:pt>
          <cx:pt idx="33324">1</cx:pt>
          <cx:pt idx="33325">5</cx:pt>
          <cx:pt idx="33326">5</cx:pt>
          <cx:pt idx="33327">3</cx:pt>
          <cx:pt idx="33328">2</cx:pt>
          <cx:pt idx="33329">4</cx:pt>
          <cx:pt idx="33330">1</cx:pt>
          <cx:pt idx="33331">3</cx:pt>
          <cx:pt idx="33332">3</cx:pt>
          <cx:pt idx="33333">3</cx:pt>
          <cx:pt idx="33334">2</cx:pt>
          <cx:pt idx="33335">2</cx:pt>
          <cx:pt idx="33336">5</cx:pt>
          <cx:pt idx="33337">4</cx:pt>
          <cx:pt idx="33338">5</cx:pt>
          <cx:pt idx="33339">5</cx:pt>
          <cx:pt idx="33340">2</cx:pt>
          <cx:pt idx="33341">3</cx:pt>
          <cx:pt idx="33342">4</cx:pt>
          <cx:pt idx="33343">5</cx:pt>
          <cx:pt idx="33344">3</cx:pt>
          <cx:pt idx="33345">1</cx:pt>
          <cx:pt idx="33346">4</cx:pt>
          <cx:pt idx="33347">4</cx:pt>
          <cx:pt idx="33348">4</cx:pt>
          <cx:pt idx="33349">1</cx:pt>
          <cx:pt idx="33350">2</cx:pt>
          <cx:pt idx="33351">3</cx:pt>
          <cx:pt idx="33352">2</cx:pt>
          <cx:pt idx="33353">3</cx:pt>
          <cx:pt idx="33354">4</cx:pt>
          <cx:pt idx="33355">2</cx:pt>
          <cx:pt idx="33356">1</cx:pt>
          <cx:pt idx="33357">3</cx:pt>
          <cx:pt idx="33358">2</cx:pt>
          <cx:pt idx="33359">0</cx:pt>
          <cx:pt idx="33360">3</cx:pt>
          <cx:pt idx="33361">1</cx:pt>
          <cx:pt idx="33362">1</cx:pt>
          <cx:pt idx="33363">2</cx:pt>
          <cx:pt idx="33364">4</cx:pt>
          <cx:pt idx="33365">2</cx:pt>
          <cx:pt idx="33366">4</cx:pt>
          <cx:pt idx="33367">5</cx:pt>
          <cx:pt idx="33368">0</cx:pt>
          <cx:pt idx="33369">3</cx:pt>
          <cx:pt idx="33370">2</cx:pt>
          <cx:pt idx="33371">1</cx:pt>
          <cx:pt idx="33372">3</cx:pt>
          <cx:pt idx="33373">5</cx:pt>
          <cx:pt idx="33374">4</cx:pt>
          <cx:pt idx="33375">3</cx:pt>
          <cx:pt idx="33376">4</cx:pt>
          <cx:pt idx="33377">1</cx:pt>
          <cx:pt idx="33378">4</cx:pt>
          <cx:pt idx="33379">5</cx:pt>
          <cx:pt idx="33380">2</cx:pt>
          <cx:pt idx="33381">5</cx:pt>
          <cx:pt idx="33382">3</cx:pt>
          <cx:pt idx="33383">4</cx:pt>
          <cx:pt idx="33384">2</cx:pt>
          <cx:pt idx="33385">2</cx:pt>
          <cx:pt idx="33386">4</cx:pt>
          <cx:pt idx="33387">3</cx:pt>
          <cx:pt idx="33388">2</cx:pt>
          <cx:pt idx="33389">2</cx:pt>
          <cx:pt idx="33390">2</cx:pt>
          <cx:pt idx="33391">1</cx:pt>
          <cx:pt idx="33392">0</cx:pt>
          <cx:pt idx="33393">1</cx:pt>
          <cx:pt idx="33394">1</cx:pt>
          <cx:pt idx="33395">3</cx:pt>
          <cx:pt idx="33396">3</cx:pt>
          <cx:pt idx="33397">2</cx:pt>
          <cx:pt idx="33398">3</cx:pt>
          <cx:pt idx="33399">5</cx:pt>
          <cx:pt idx="33400">2</cx:pt>
          <cx:pt idx="33401">0</cx:pt>
          <cx:pt idx="33402">2</cx:pt>
          <cx:pt idx="33403">3</cx:pt>
          <cx:pt idx="33404">4</cx:pt>
          <cx:pt idx="33405">4</cx:pt>
          <cx:pt idx="33406">1</cx:pt>
          <cx:pt idx="33407">2</cx:pt>
          <cx:pt idx="33408">2</cx:pt>
          <cx:pt idx="33409">2</cx:pt>
          <cx:pt idx="33410">1</cx:pt>
          <cx:pt idx="33411">2</cx:pt>
          <cx:pt idx="33412">0</cx:pt>
          <cx:pt idx="33413">2</cx:pt>
          <cx:pt idx="33414">3</cx:pt>
          <cx:pt idx="33415">1</cx:pt>
          <cx:pt idx="33416">5</cx:pt>
          <cx:pt idx="33417">2</cx:pt>
          <cx:pt idx="33418">3</cx:pt>
          <cx:pt idx="33419">5</cx:pt>
          <cx:pt idx="33420">1</cx:pt>
          <cx:pt idx="33421">5</cx:pt>
          <cx:pt idx="33422">4</cx:pt>
          <cx:pt idx="33423">0</cx:pt>
          <cx:pt idx="33424">3</cx:pt>
          <cx:pt idx="33425">4</cx:pt>
          <cx:pt idx="33426">0</cx:pt>
          <cx:pt idx="33427">4</cx:pt>
          <cx:pt idx="33428">4</cx:pt>
          <cx:pt idx="33429">3</cx:pt>
          <cx:pt idx="33430">1</cx:pt>
          <cx:pt idx="33431">2</cx:pt>
          <cx:pt idx="33432">1</cx:pt>
          <cx:pt idx="33433">3</cx:pt>
          <cx:pt idx="33434">3</cx:pt>
          <cx:pt idx="33435">5</cx:pt>
          <cx:pt idx="33436">2</cx:pt>
          <cx:pt idx="33437">2</cx:pt>
          <cx:pt idx="33438">2</cx:pt>
          <cx:pt idx="33439">2</cx:pt>
          <cx:pt idx="33440">1</cx:pt>
          <cx:pt idx="33441">1</cx:pt>
          <cx:pt idx="33442">4</cx:pt>
          <cx:pt idx="33443">3</cx:pt>
          <cx:pt idx="33444">5</cx:pt>
          <cx:pt idx="33445">3</cx:pt>
          <cx:pt idx="33446">0</cx:pt>
          <cx:pt idx="33447">2</cx:pt>
          <cx:pt idx="33448">1</cx:pt>
          <cx:pt idx="33449">3</cx:pt>
          <cx:pt idx="33450">2</cx:pt>
          <cx:pt idx="33451">2</cx:pt>
          <cx:pt idx="33452">1</cx:pt>
          <cx:pt idx="33453">5</cx:pt>
          <cx:pt idx="33454">5</cx:pt>
          <cx:pt idx="33455">2</cx:pt>
          <cx:pt idx="33456">1</cx:pt>
          <cx:pt idx="33457">2</cx:pt>
          <cx:pt idx="33458">3</cx:pt>
          <cx:pt idx="33459">2</cx:pt>
          <cx:pt idx="33460">3</cx:pt>
          <cx:pt idx="33461">3</cx:pt>
          <cx:pt idx="33462">4</cx:pt>
          <cx:pt idx="33463">3</cx:pt>
          <cx:pt idx="33464">5</cx:pt>
          <cx:pt idx="33465">3</cx:pt>
          <cx:pt idx="33466">5</cx:pt>
          <cx:pt idx="33467">3</cx:pt>
          <cx:pt idx="33468">3</cx:pt>
          <cx:pt idx="33469">1</cx:pt>
          <cx:pt idx="33470">5</cx:pt>
          <cx:pt idx="33471">3</cx:pt>
          <cx:pt idx="33472">3</cx:pt>
          <cx:pt idx="33473">1</cx:pt>
          <cx:pt idx="33474">2</cx:pt>
          <cx:pt idx="33475">1</cx:pt>
          <cx:pt idx="33476">3</cx:pt>
          <cx:pt idx="33477">2</cx:pt>
          <cx:pt idx="33478">5</cx:pt>
          <cx:pt idx="33479">2</cx:pt>
          <cx:pt idx="33480">3</cx:pt>
          <cx:pt idx="33481">5</cx:pt>
          <cx:pt idx="33482">2</cx:pt>
          <cx:pt idx="33483">4</cx:pt>
          <cx:pt idx="33484">0</cx:pt>
          <cx:pt idx="33485">2</cx:pt>
          <cx:pt idx="33486">5</cx:pt>
          <cx:pt idx="33487">2</cx:pt>
          <cx:pt idx="33488">4</cx:pt>
          <cx:pt idx="33489">2</cx:pt>
          <cx:pt idx="33490">5</cx:pt>
          <cx:pt idx="33491">4</cx:pt>
          <cx:pt idx="33492">2</cx:pt>
          <cx:pt idx="33493">4</cx:pt>
          <cx:pt idx="33494">4</cx:pt>
          <cx:pt idx="33495">3</cx:pt>
          <cx:pt idx="33496">2</cx:pt>
          <cx:pt idx="33497">1</cx:pt>
          <cx:pt idx="33498">1</cx:pt>
          <cx:pt idx="33499">1</cx:pt>
          <cx:pt idx="33500">2</cx:pt>
          <cx:pt idx="33501">1</cx:pt>
          <cx:pt idx="33502">3</cx:pt>
          <cx:pt idx="33503">2</cx:pt>
          <cx:pt idx="33504">4</cx:pt>
          <cx:pt idx="33505">4</cx:pt>
          <cx:pt idx="33506">3</cx:pt>
          <cx:pt idx="33507">4</cx:pt>
          <cx:pt idx="33508">2</cx:pt>
          <cx:pt idx="33509">2</cx:pt>
          <cx:pt idx="33510">2</cx:pt>
          <cx:pt idx="33511">2</cx:pt>
          <cx:pt idx="33512">2</cx:pt>
          <cx:pt idx="33513">5</cx:pt>
          <cx:pt idx="33514">2</cx:pt>
          <cx:pt idx="33515">4</cx:pt>
          <cx:pt idx="33516">3</cx:pt>
          <cx:pt idx="33517">1</cx:pt>
          <cx:pt idx="33518">4</cx:pt>
          <cx:pt idx="33519">5</cx:pt>
          <cx:pt idx="33520">1</cx:pt>
          <cx:pt idx="33521">2</cx:pt>
          <cx:pt idx="33522">2</cx:pt>
          <cx:pt idx="33523">1</cx:pt>
          <cx:pt idx="33524">5</cx:pt>
          <cx:pt idx="33525">4</cx:pt>
          <cx:pt idx="33526">2</cx:pt>
          <cx:pt idx="33527">5</cx:pt>
          <cx:pt idx="33528">1</cx:pt>
          <cx:pt idx="33529">0</cx:pt>
          <cx:pt idx="33530">2</cx:pt>
          <cx:pt idx="33531">1</cx:pt>
          <cx:pt idx="33532">3</cx:pt>
          <cx:pt idx="33533">2</cx:pt>
          <cx:pt idx="33534">2</cx:pt>
          <cx:pt idx="33535">2</cx:pt>
          <cx:pt idx="33536">5</cx:pt>
          <cx:pt idx="33537">4</cx:pt>
          <cx:pt idx="33538">5</cx:pt>
          <cx:pt idx="33539">4</cx:pt>
          <cx:pt idx="33540">2</cx:pt>
          <cx:pt idx="33541">4</cx:pt>
          <cx:pt idx="33542">4</cx:pt>
          <cx:pt idx="33543">5</cx:pt>
          <cx:pt idx="33544">1</cx:pt>
          <cx:pt idx="33545">1</cx:pt>
          <cx:pt idx="33546">4</cx:pt>
          <cx:pt idx="33547">4</cx:pt>
          <cx:pt idx="33548">1</cx:pt>
          <cx:pt idx="33549">3</cx:pt>
          <cx:pt idx="33550">2</cx:pt>
          <cx:pt idx="33551">1</cx:pt>
          <cx:pt idx="33552">3</cx:pt>
          <cx:pt idx="33553">2</cx:pt>
          <cx:pt idx="33554">3</cx:pt>
          <cx:pt idx="33555">4</cx:pt>
          <cx:pt idx="33556">4</cx:pt>
          <cx:pt idx="33557">3</cx:pt>
          <cx:pt idx="33558">3</cx:pt>
          <cx:pt idx="33559">1</cx:pt>
          <cx:pt idx="33560">4</cx:pt>
          <cx:pt idx="33561">3</cx:pt>
          <cx:pt idx="33562">4</cx:pt>
          <cx:pt idx="33563">3</cx:pt>
          <cx:pt idx="33564">2</cx:pt>
          <cx:pt idx="33565">4</cx:pt>
          <cx:pt idx="33566">2</cx:pt>
          <cx:pt idx="33567">2</cx:pt>
          <cx:pt idx="33568">3</cx:pt>
          <cx:pt idx="33569">5</cx:pt>
          <cx:pt idx="33570">2</cx:pt>
          <cx:pt idx="33571">2</cx:pt>
          <cx:pt idx="33572">2</cx:pt>
          <cx:pt idx="33573">4</cx:pt>
          <cx:pt idx="33574">5</cx:pt>
          <cx:pt idx="33575">3</cx:pt>
          <cx:pt idx="33576">0</cx:pt>
          <cx:pt idx="33577">4</cx:pt>
          <cx:pt idx="33578">2</cx:pt>
          <cx:pt idx="33579">2</cx:pt>
          <cx:pt idx="33580">4</cx:pt>
          <cx:pt idx="33581">1</cx:pt>
          <cx:pt idx="33582">5</cx:pt>
          <cx:pt idx="33583">0</cx:pt>
          <cx:pt idx="33584">1</cx:pt>
          <cx:pt idx="33585">1</cx:pt>
          <cx:pt idx="33586">3</cx:pt>
          <cx:pt idx="33587">3</cx:pt>
          <cx:pt idx="33588">4</cx:pt>
          <cx:pt idx="33589">5</cx:pt>
          <cx:pt idx="33590">4</cx:pt>
          <cx:pt idx="33591">4</cx:pt>
          <cx:pt idx="33592">3</cx:pt>
          <cx:pt idx="33593">2</cx:pt>
          <cx:pt idx="33594">3</cx:pt>
          <cx:pt idx="33595">1</cx:pt>
          <cx:pt idx="33596">4</cx:pt>
          <cx:pt idx="33597">3</cx:pt>
          <cx:pt idx="33598">1</cx:pt>
          <cx:pt idx="33599">5</cx:pt>
          <cx:pt idx="33600">5</cx:pt>
          <cx:pt idx="33601">2</cx:pt>
          <cx:pt idx="33602">0</cx:pt>
          <cx:pt idx="33603">3</cx:pt>
          <cx:pt idx="33604">3</cx:pt>
          <cx:pt idx="33605">1</cx:pt>
          <cx:pt idx="33606">0</cx:pt>
          <cx:pt idx="33607">3</cx:pt>
          <cx:pt idx="33608">1</cx:pt>
          <cx:pt idx="33609">3</cx:pt>
          <cx:pt idx="33610">3</cx:pt>
          <cx:pt idx="33611">3</cx:pt>
          <cx:pt idx="33612">3</cx:pt>
          <cx:pt idx="33613">4</cx:pt>
          <cx:pt idx="33614">1</cx:pt>
          <cx:pt idx="33615">4</cx:pt>
          <cx:pt idx="33616">1</cx:pt>
          <cx:pt idx="33617">2</cx:pt>
          <cx:pt idx="33618">4</cx:pt>
          <cx:pt idx="33619">1</cx:pt>
          <cx:pt idx="33620">4</cx:pt>
          <cx:pt idx="33621">2</cx:pt>
          <cx:pt idx="33622">3</cx:pt>
          <cx:pt idx="33623">2</cx:pt>
          <cx:pt idx="33624">2</cx:pt>
          <cx:pt idx="33625">3</cx:pt>
          <cx:pt idx="33626">4</cx:pt>
          <cx:pt idx="33627">2</cx:pt>
          <cx:pt idx="33628">2</cx:pt>
          <cx:pt idx="33629">3</cx:pt>
          <cx:pt idx="33630">4</cx:pt>
          <cx:pt idx="33631">3</cx:pt>
          <cx:pt idx="33632">2</cx:pt>
          <cx:pt idx="33633">5</cx:pt>
          <cx:pt idx="33634">3</cx:pt>
          <cx:pt idx="33635">2</cx:pt>
          <cx:pt idx="33636">1</cx:pt>
          <cx:pt idx="33637">1</cx:pt>
          <cx:pt idx="33638">5</cx:pt>
          <cx:pt idx="33639">5</cx:pt>
          <cx:pt idx="33640">5</cx:pt>
          <cx:pt idx="33641">1</cx:pt>
          <cx:pt idx="33642">4</cx:pt>
          <cx:pt idx="33643">1</cx:pt>
          <cx:pt idx="33644">2</cx:pt>
          <cx:pt idx="33645">4</cx:pt>
          <cx:pt idx="33646">1</cx:pt>
          <cx:pt idx="33647">2</cx:pt>
          <cx:pt idx="33648">3</cx:pt>
          <cx:pt idx="33649">3</cx:pt>
          <cx:pt idx="33650">4</cx:pt>
          <cx:pt idx="33651">2</cx:pt>
          <cx:pt idx="33652">3</cx:pt>
          <cx:pt idx="33653">2</cx:pt>
          <cx:pt idx="33654">4</cx:pt>
          <cx:pt idx="33655">3</cx:pt>
          <cx:pt idx="33656">5</cx:pt>
          <cx:pt idx="33657">1</cx:pt>
          <cx:pt idx="33658">5</cx:pt>
          <cx:pt idx="33659">4</cx:pt>
          <cx:pt idx="33660">2</cx:pt>
          <cx:pt idx="33661">2</cx:pt>
          <cx:pt idx="33662">5</cx:pt>
          <cx:pt idx="33663">3</cx:pt>
          <cx:pt idx="33664">1</cx:pt>
          <cx:pt idx="33665">4</cx:pt>
          <cx:pt idx="33666">2</cx:pt>
          <cx:pt idx="33667">4</cx:pt>
          <cx:pt idx="33668">4</cx:pt>
          <cx:pt idx="33669">2</cx:pt>
          <cx:pt idx="33670">2</cx:pt>
          <cx:pt idx="33671">2</cx:pt>
          <cx:pt idx="33672">4</cx:pt>
          <cx:pt idx="33673">5</cx:pt>
          <cx:pt idx="33674">4</cx:pt>
          <cx:pt idx="33675">1</cx:pt>
          <cx:pt idx="33676">2</cx:pt>
          <cx:pt idx="33677">5</cx:pt>
          <cx:pt idx="33678">5</cx:pt>
          <cx:pt idx="33679">3</cx:pt>
          <cx:pt idx="33680">4</cx:pt>
          <cx:pt idx="33681">5</cx:pt>
          <cx:pt idx="33682">4</cx:pt>
          <cx:pt idx="33683">3</cx:pt>
          <cx:pt idx="33684">1</cx:pt>
          <cx:pt idx="33685">4</cx:pt>
          <cx:pt idx="33686">4</cx:pt>
          <cx:pt idx="33687">5</cx:pt>
          <cx:pt idx="33688">4</cx:pt>
          <cx:pt idx="33689">1</cx:pt>
          <cx:pt idx="33690">3</cx:pt>
          <cx:pt idx="33691">3</cx:pt>
          <cx:pt idx="33692">3</cx:pt>
          <cx:pt idx="33693">2</cx:pt>
          <cx:pt idx="33694">1</cx:pt>
          <cx:pt idx="33695">2</cx:pt>
          <cx:pt idx="33696">0</cx:pt>
          <cx:pt idx="33697">4</cx:pt>
          <cx:pt idx="33698">1</cx:pt>
          <cx:pt idx="33699">2</cx:pt>
          <cx:pt idx="33700">4</cx:pt>
          <cx:pt idx="33701">3</cx:pt>
          <cx:pt idx="33702">2</cx:pt>
          <cx:pt idx="33703">0</cx:pt>
          <cx:pt idx="33704">2</cx:pt>
          <cx:pt idx="33705">4</cx:pt>
          <cx:pt idx="33706">2</cx:pt>
          <cx:pt idx="33707">5</cx:pt>
          <cx:pt idx="33708">3</cx:pt>
          <cx:pt idx="33709">1</cx:pt>
          <cx:pt idx="33710">0</cx:pt>
          <cx:pt idx="33711">4</cx:pt>
          <cx:pt idx="33712">2</cx:pt>
          <cx:pt idx="33713">3</cx:pt>
          <cx:pt idx="33714">4</cx:pt>
          <cx:pt idx="33715">2</cx:pt>
          <cx:pt idx="33716">3</cx:pt>
          <cx:pt idx="33717">1</cx:pt>
          <cx:pt idx="33718">0</cx:pt>
          <cx:pt idx="33719">5</cx:pt>
          <cx:pt idx="33720">3</cx:pt>
          <cx:pt idx="33721">4</cx:pt>
          <cx:pt idx="33722">3</cx:pt>
          <cx:pt idx="33723">1</cx:pt>
          <cx:pt idx="33724">4</cx:pt>
          <cx:pt idx="33725">1</cx:pt>
          <cx:pt idx="33726">5</cx:pt>
          <cx:pt idx="33727">1</cx:pt>
          <cx:pt idx="33728">4</cx:pt>
          <cx:pt idx="33729">0</cx:pt>
          <cx:pt idx="33730">1</cx:pt>
          <cx:pt idx="33731">2</cx:pt>
          <cx:pt idx="33732">2</cx:pt>
          <cx:pt idx="33733">2</cx:pt>
          <cx:pt idx="33734">4</cx:pt>
          <cx:pt idx="33735">3</cx:pt>
          <cx:pt idx="33736">3</cx:pt>
          <cx:pt idx="33737">3</cx:pt>
          <cx:pt idx="33738">2</cx:pt>
          <cx:pt idx="33739">3</cx:pt>
          <cx:pt idx="33740">0</cx:pt>
          <cx:pt idx="33741">3</cx:pt>
          <cx:pt idx="33742">4</cx:pt>
          <cx:pt idx="33743">4</cx:pt>
          <cx:pt idx="33744">2</cx:pt>
          <cx:pt idx="33745">1</cx:pt>
          <cx:pt idx="33746">2</cx:pt>
          <cx:pt idx="33747">3</cx:pt>
          <cx:pt idx="33748">3</cx:pt>
          <cx:pt idx="33749">2</cx:pt>
          <cx:pt idx="33750">1</cx:pt>
          <cx:pt idx="33751">1</cx:pt>
          <cx:pt idx="33752">3</cx:pt>
          <cx:pt idx="33753">2</cx:pt>
          <cx:pt idx="33754">2</cx:pt>
          <cx:pt idx="33755">1</cx:pt>
          <cx:pt idx="33756">2</cx:pt>
          <cx:pt idx="33757">4</cx:pt>
          <cx:pt idx="33758">2</cx:pt>
          <cx:pt idx="33759">3</cx:pt>
          <cx:pt idx="33760">3</cx:pt>
          <cx:pt idx="33761">0</cx:pt>
          <cx:pt idx="33762">5</cx:pt>
          <cx:pt idx="33763">5</cx:pt>
          <cx:pt idx="33764">1</cx:pt>
          <cx:pt idx="33765">1</cx:pt>
          <cx:pt idx="33766">1</cx:pt>
          <cx:pt idx="33767">3</cx:pt>
          <cx:pt idx="33768">2</cx:pt>
          <cx:pt idx="33769">3</cx:pt>
          <cx:pt idx="33770">3</cx:pt>
          <cx:pt idx="33771">2</cx:pt>
          <cx:pt idx="33772">2</cx:pt>
          <cx:pt idx="33773">4</cx:pt>
          <cx:pt idx="33774">4</cx:pt>
          <cx:pt idx="33775">2</cx:pt>
          <cx:pt idx="33776">3</cx:pt>
          <cx:pt idx="33777">3</cx:pt>
          <cx:pt idx="33778">3</cx:pt>
          <cx:pt idx="33779">3</cx:pt>
          <cx:pt idx="33780">5</cx:pt>
          <cx:pt idx="33781">3</cx:pt>
          <cx:pt idx="33782">1</cx:pt>
          <cx:pt idx="33783">2</cx:pt>
          <cx:pt idx="33784">4</cx:pt>
          <cx:pt idx="33785">2</cx:pt>
          <cx:pt idx="33786">4</cx:pt>
          <cx:pt idx="33787">4</cx:pt>
          <cx:pt idx="33788">2</cx:pt>
          <cx:pt idx="33789">2</cx:pt>
          <cx:pt idx="33790">1</cx:pt>
          <cx:pt idx="33791">3</cx:pt>
          <cx:pt idx="33792">1</cx:pt>
          <cx:pt idx="33793">2</cx:pt>
          <cx:pt idx="33794">1</cx:pt>
          <cx:pt idx="33795">2</cx:pt>
          <cx:pt idx="33796">4</cx:pt>
          <cx:pt idx="33797">3</cx:pt>
          <cx:pt idx="33798">3</cx:pt>
          <cx:pt idx="33799">5</cx:pt>
          <cx:pt idx="33800">1</cx:pt>
          <cx:pt idx="33801">4</cx:pt>
          <cx:pt idx="33802">3</cx:pt>
          <cx:pt idx="33803">4</cx:pt>
          <cx:pt idx="33804">3</cx:pt>
          <cx:pt idx="33805">5</cx:pt>
          <cx:pt idx="33806">1</cx:pt>
          <cx:pt idx="33807">4</cx:pt>
          <cx:pt idx="33808">5</cx:pt>
          <cx:pt idx="33809">4</cx:pt>
          <cx:pt idx="33810">5</cx:pt>
          <cx:pt idx="33811">3</cx:pt>
          <cx:pt idx="33812">4</cx:pt>
          <cx:pt idx="33813">2</cx:pt>
          <cx:pt idx="33814">2</cx:pt>
          <cx:pt idx="33815">2</cx:pt>
          <cx:pt idx="33816">2</cx:pt>
          <cx:pt idx="33817">1</cx:pt>
          <cx:pt idx="33818">5</cx:pt>
          <cx:pt idx="33819">4</cx:pt>
          <cx:pt idx="33820">5</cx:pt>
          <cx:pt idx="33821">4</cx:pt>
          <cx:pt idx="33822">5</cx:pt>
          <cx:pt idx="33823">3</cx:pt>
          <cx:pt idx="33824">5</cx:pt>
          <cx:pt idx="33825">2</cx:pt>
          <cx:pt idx="33826">4</cx:pt>
          <cx:pt idx="33827">1</cx:pt>
          <cx:pt idx="33828">5</cx:pt>
          <cx:pt idx="33829">2</cx:pt>
          <cx:pt idx="33830">5</cx:pt>
          <cx:pt idx="33831">3</cx:pt>
          <cx:pt idx="33832">5</cx:pt>
          <cx:pt idx="33833">4</cx:pt>
          <cx:pt idx="33834">0</cx:pt>
          <cx:pt idx="33835">0</cx:pt>
          <cx:pt idx="33836">1</cx:pt>
          <cx:pt idx="33837">1</cx:pt>
          <cx:pt idx="33838">4</cx:pt>
          <cx:pt idx="33839">3</cx:pt>
          <cx:pt idx="33840">3</cx:pt>
          <cx:pt idx="33841">3</cx:pt>
          <cx:pt idx="33842">4</cx:pt>
          <cx:pt idx="33843">2</cx:pt>
          <cx:pt idx="33844">4</cx:pt>
          <cx:pt idx="33845">4</cx:pt>
          <cx:pt idx="33846">1</cx:pt>
          <cx:pt idx="33847">5</cx:pt>
          <cx:pt idx="33848">2</cx:pt>
          <cx:pt idx="33849">1</cx:pt>
          <cx:pt idx="33850">5</cx:pt>
          <cx:pt idx="33851">1</cx:pt>
          <cx:pt idx="33852">4</cx:pt>
          <cx:pt idx="33853">1</cx:pt>
          <cx:pt idx="33854">5</cx:pt>
          <cx:pt idx="33855">1</cx:pt>
          <cx:pt idx="33856">1</cx:pt>
          <cx:pt idx="33857">2</cx:pt>
          <cx:pt idx="33858">5</cx:pt>
          <cx:pt idx="33859">4</cx:pt>
          <cx:pt idx="33860">5</cx:pt>
          <cx:pt idx="33861">4</cx:pt>
          <cx:pt idx="33862">2</cx:pt>
          <cx:pt idx="33863">4</cx:pt>
          <cx:pt idx="33864">2</cx:pt>
          <cx:pt idx="33865">2</cx:pt>
          <cx:pt idx="33866">4</cx:pt>
          <cx:pt idx="33867">3</cx:pt>
          <cx:pt idx="33868">5</cx:pt>
          <cx:pt idx="33869">3</cx:pt>
          <cx:pt idx="33870">1</cx:pt>
          <cx:pt idx="33871">2</cx:pt>
          <cx:pt idx="33872">1</cx:pt>
          <cx:pt idx="33873">1</cx:pt>
          <cx:pt idx="33874">1</cx:pt>
          <cx:pt idx="33875">1</cx:pt>
          <cx:pt idx="33876">3</cx:pt>
          <cx:pt idx="33877">0</cx:pt>
          <cx:pt idx="33878">4</cx:pt>
          <cx:pt idx="33879">2</cx:pt>
          <cx:pt idx="33880">1</cx:pt>
          <cx:pt idx="33881">3</cx:pt>
          <cx:pt idx="33882">2</cx:pt>
          <cx:pt idx="33883">4</cx:pt>
          <cx:pt idx="33884">2</cx:pt>
          <cx:pt idx="33885">3</cx:pt>
          <cx:pt idx="33886">2</cx:pt>
          <cx:pt idx="33887">2</cx:pt>
          <cx:pt idx="33888">3</cx:pt>
          <cx:pt idx="33889">3</cx:pt>
          <cx:pt idx="33890">3</cx:pt>
          <cx:pt idx="33891">3</cx:pt>
          <cx:pt idx="33892">5</cx:pt>
          <cx:pt idx="33893">4</cx:pt>
          <cx:pt idx="33894">1</cx:pt>
          <cx:pt idx="33895">5</cx:pt>
          <cx:pt idx="33896">5</cx:pt>
          <cx:pt idx="33897">1</cx:pt>
          <cx:pt idx="33898">3</cx:pt>
          <cx:pt idx="33899">2</cx:pt>
          <cx:pt idx="33900">2</cx:pt>
          <cx:pt idx="33901">2</cx:pt>
          <cx:pt idx="33902">3</cx:pt>
          <cx:pt idx="33903">3</cx:pt>
          <cx:pt idx="33904">5</cx:pt>
          <cx:pt idx="33905">2</cx:pt>
          <cx:pt idx="33906">3</cx:pt>
          <cx:pt idx="33907">1</cx:pt>
          <cx:pt idx="33908">0</cx:pt>
          <cx:pt idx="33909">1</cx:pt>
          <cx:pt idx="33910">1</cx:pt>
          <cx:pt idx="33911">0</cx:pt>
          <cx:pt idx="33912">4</cx:pt>
          <cx:pt idx="33913">2</cx:pt>
          <cx:pt idx="33914">4</cx:pt>
          <cx:pt idx="33915">3</cx:pt>
          <cx:pt idx="33916">1</cx:pt>
          <cx:pt idx="33917">4</cx:pt>
          <cx:pt idx="33918">1</cx:pt>
          <cx:pt idx="33919">1</cx:pt>
          <cx:pt idx="33920">4</cx:pt>
          <cx:pt idx="33921">3</cx:pt>
          <cx:pt idx="33922">2</cx:pt>
          <cx:pt idx="33923">3</cx:pt>
          <cx:pt idx="33924">2</cx:pt>
          <cx:pt idx="33925">5</cx:pt>
          <cx:pt idx="33926">1</cx:pt>
          <cx:pt idx="33927">1</cx:pt>
          <cx:pt idx="33928">2</cx:pt>
          <cx:pt idx="33929">4</cx:pt>
          <cx:pt idx="33930">3</cx:pt>
          <cx:pt idx="33931">4</cx:pt>
          <cx:pt idx="33932">2</cx:pt>
          <cx:pt idx="33933">1</cx:pt>
          <cx:pt idx="33934">2</cx:pt>
          <cx:pt idx="33935">3</cx:pt>
          <cx:pt idx="33936">1</cx:pt>
          <cx:pt idx="33937">1</cx:pt>
          <cx:pt idx="33938">1</cx:pt>
          <cx:pt idx="33939">4</cx:pt>
          <cx:pt idx="33940">4</cx:pt>
          <cx:pt idx="33941">1</cx:pt>
          <cx:pt idx="33942">5</cx:pt>
          <cx:pt idx="33943">2</cx:pt>
          <cx:pt idx="33944">2</cx:pt>
          <cx:pt idx="33945">2</cx:pt>
          <cx:pt idx="33946">4</cx:pt>
          <cx:pt idx="33947">4</cx:pt>
          <cx:pt idx="33948">2</cx:pt>
          <cx:pt idx="33949">2</cx:pt>
          <cx:pt idx="33950">4</cx:pt>
          <cx:pt idx="33951">3</cx:pt>
          <cx:pt idx="33952">2</cx:pt>
          <cx:pt idx="33953">2</cx:pt>
          <cx:pt idx="33954">0</cx:pt>
          <cx:pt idx="33955">1</cx:pt>
          <cx:pt idx="33956">3</cx:pt>
          <cx:pt idx="33957">1</cx:pt>
          <cx:pt idx="33958">0</cx:pt>
          <cx:pt idx="33959">3</cx:pt>
          <cx:pt idx="33960">1</cx:pt>
          <cx:pt idx="33961">4</cx:pt>
          <cx:pt idx="33962">1</cx:pt>
          <cx:pt idx="33963">3</cx:pt>
          <cx:pt idx="33964">1</cx:pt>
          <cx:pt idx="33965">0</cx:pt>
          <cx:pt idx="33966">5</cx:pt>
          <cx:pt idx="33967">4</cx:pt>
          <cx:pt idx="33968">3</cx:pt>
          <cx:pt idx="33969">3</cx:pt>
          <cx:pt idx="33970">4</cx:pt>
          <cx:pt idx="33971">4</cx:pt>
          <cx:pt idx="33972">2</cx:pt>
          <cx:pt idx="33973">2</cx:pt>
          <cx:pt idx="33974">3</cx:pt>
          <cx:pt idx="33975">3</cx:pt>
          <cx:pt idx="33976">4</cx:pt>
          <cx:pt idx="33977">4</cx:pt>
          <cx:pt idx="33978">4</cx:pt>
          <cx:pt idx="33979">3</cx:pt>
          <cx:pt idx="33980">1</cx:pt>
          <cx:pt idx="33981">3</cx:pt>
          <cx:pt idx="33982">4</cx:pt>
          <cx:pt idx="33983">3</cx:pt>
          <cx:pt idx="33984">5</cx:pt>
          <cx:pt idx="33985">5</cx:pt>
          <cx:pt idx="33986">2</cx:pt>
          <cx:pt idx="33987">1</cx:pt>
          <cx:pt idx="33988">0</cx:pt>
          <cx:pt idx="33989">3</cx:pt>
          <cx:pt idx="33990">1</cx:pt>
          <cx:pt idx="33991">0</cx:pt>
          <cx:pt idx="33992">2</cx:pt>
          <cx:pt idx="33993">5</cx:pt>
          <cx:pt idx="33994">3</cx:pt>
          <cx:pt idx="33995">3</cx:pt>
          <cx:pt idx="33996">1</cx:pt>
          <cx:pt idx="33997">1</cx:pt>
          <cx:pt idx="33998">2</cx:pt>
          <cx:pt idx="33999">4</cx:pt>
          <cx:pt idx="34000">4</cx:pt>
          <cx:pt idx="34001">4</cx:pt>
          <cx:pt idx="34002">3</cx:pt>
          <cx:pt idx="34003">2</cx:pt>
          <cx:pt idx="34004">2</cx:pt>
          <cx:pt idx="34005">4</cx:pt>
          <cx:pt idx="34006">5</cx:pt>
          <cx:pt idx="34007">2</cx:pt>
          <cx:pt idx="34008">5</cx:pt>
          <cx:pt idx="34009">1</cx:pt>
          <cx:pt idx="34010">4</cx:pt>
          <cx:pt idx="34011">1</cx:pt>
          <cx:pt idx="34012">3</cx:pt>
          <cx:pt idx="34013">5</cx:pt>
          <cx:pt idx="34014">1</cx:pt>
          <cx:pt idx="34015">3</cx:pt>
          <cx:pt idx="34016">3</cx:pt>
          <cx:pt idx="34017">2</cx:pt>
          <cx:pt idx="34018">4</cx:pt>
          <cx:pt idx="34019">1</cx:pt>
          <cx:pt idx="34020">2</cx:pt>
          <cx:pt idx="34021">5</cx:pt>
          <cx:pt idx="34022">0</cx:pt>
          <cx:pt idx="34023">3</cx:pt>
          <cx:pt idx="34024">2</cx:pt>
          <cx:pt idx="34025">4</cx:pt>
          <cx:pt idx="34026">5</cx:pt>
          <cx:pt idx="34027">3</cx:pt>
          <cx:pt idx="34028">3</cx:pt>
          <cx:pt idx="34029">2</cx:pt>
          <cx:pt idx="34030">2</cx:pt>
          <cx:pt idx="34031">2</cx:pt>
          <cx:pt idx="34032">5</cx:pt>
          <cx:pt idx="34033">4</cx:pt>
          <cx:pt idx="34034">3</cx:pt>
          <cx:pt idx="34035">4</cx:pt>
          <cx:pt idx="34036">5</cx:pt>
          <cx:pt idx="34037">4</cx:pt>
          <cx:pt idx="34038">3</cx:pt>
          <cx:pt idx="34039">5</cx:pt>
          <cx:pt idx="34040">1</cx:pt>
          <cx:pt idx="34041">3</cx:pt>
          <cx:pt idx="34042">4</cx:pt>
          <cx:pt idx="34043">4</cx:pt>
          <cx:pt idx="34044">5</cx:pt>
          <cx:pt idx="34045">3</cx:pt>
          <cx:pt idx="34046">2</cx:pt>
          <cx:pt idx="34047">2</cx:pt>
          <cx:pt idx="34048">2</cx:pt>
          <cx:pt idx="34049">3</cx:pt>
          <cx:pt idx="34050">4</cx:pt>
          <cx:pt idx="34051">2</cx:pt>
          <cx:pt idx="34052">2</cx:pt>
          <cx:pt idx="34053">1</cx:pt>
          <cx:pt idx="34054">5</cx:pt>
          <cx:pt idx="34055">2</cx:pt>
          <cx:pt idx="34056">3</cx:pt>
          <cx:pt idx="34057">2</cx:pt>
          <cx:pt idx="34058">5</cx:pt>
          <cx:pt idx="34059">3</cx:pt>
          <cx:pt idx="34060">3</cx:pt>
          <cx:pt idx="34061">3</cx:pt>
          <cx:pt idx="34062">1</cx:pt>
          <cx:pt idx="34063">1</cx:pt>
          <cx:pt idx="34064">5</cx:pt>
          <cx:pt idx="34065">0</cx:pt>
          <cx:pt idx="34066">3</cx:pt>
          <cx:pt idx="34067">1</cx:pt>
          <cx:pt idx="34068">4</cx:pt>
          <cx:pt idx="34069">2</cx:pt>
          <cx:pt idx="34070">4</cx:pt>
          <cx:pt idx="34071">4</cx:pt>
          <cx:pt idx="34072">5</cx:pt>
          <cx:pt idx="34073">2</cx:pt>
          <cx:pt idx="34074">3</cx:pt>
          <cx:pt idx="34075">4</cx:pt>
          <cx:pt idx="34076">2</cx:pt>
          <cx:pt idx="34077">0</cx:pt>
          <cx:pt idx="34078">3</cx:pt>
          <cx:pt idx="34079">2</cx:pt>
          <cx:pt idx="34080">3</cx:pt>
          <cx:pt idx="34081">1</cx:pt>
          <cx:pt idx="34082">1</cx:pt>
          <cx:pt idx="34083">2</cx:pt>
          <cx:pt idx="34084">2</cx:pt>
          <cx:pt idx="34085">5</cx:pt>
          <cx:pt idx="34086">1</cx:pt>
          <cx:pt idx="34087">4</cx:pt>
          <cx:pt idx="34088">3</cx:pt>
          <cx:pt idx="34089">3</cx:pt>
          <cx:pt idx="34090">3</cx:pt>
          <cx:pt idx="34091">1</cx:pt>
          <cx:pt idx="34092">4</cx:pt>
          <cx:pt idx="34093">2</cx:pt>
          <cx:pt idx="34094">4</cx:pt>
          <cx:pt idx="34095">1</cx:pt>
          <cx:pt idx="34096">5</cx:pt>
          <cx:pt idx="34097">3</cx:pt>
          <cx:pt idx="34098">5</cx:pt>
          <cx:pt idx="34099">5</cx:pt>
          <cx:pt idx="34100">3</cx:pt>
          <cx:pt idx="34101">5</cx:pt>
          <cx:pt idx="34102">2</cx:pt>
          <cx:pt idx="34103">5</cx:pt>
          <cx:pt idx="34104">1</cx:pt>
          <cx:pt idx="34105">2</cx:pt>
          <cx:pt idx="34106">5</cx:pt>
          <cx:pt idx="34107">5</cx:pt>
          <cx:pt idx="34108">3</cx:pt>
          <cx:pt idx="34109">3</cx:pt>
          <cx:pt idx="34110">2</cx:pt>
          <cx:pt idx="34111">2</cx:pt>
          <cx:pt idx="34112">5</cx:pt>
          <cx:pt idx="34113">2</cx:pt>
          <cx:pt idx="34114">3</cx:pt>
          <cx:pt idx="34115">4</cx:pt>
          <cx:pt idx="34116">1</cx:pt>
          <cx:pt idx="34117">3</cx:pt>
          <cx:pt idx="34118">2</cx:pt>
          <cx:pt idx="34119">4</cx:pt>
          <cx:pt idx="34120">3</cx:pt>
          <cx:pt idx="34121">5</cx:pt>
          <cx:pt idx="34122">2</cx:pt>
          <cx:pt idx="34123">2</cx:pt>
          <cx:pt idx="34124">3</cx:pt>
          <cx:pt idx="34125">3</cx:pt>
          <cx:pt idx="34126">2</cx:pt>
          <cx:pt idx="34127">4</cx:pt>
          <cx:pt idx="34128">2</cx:pt>
          <cx:pt idx="34129">3</cx:pt>
          <cx:pt idx="34130">4</cx:pt>
          <cx:pt idx="34131">1</cx:pt>
          <cx:pt idx="34132">0</cx:pt>
          <cx:pt idx="34133">2</cx:pt>
          <cx:pt idx="34134">1</cx:pt>
          <cx:pt idx="34135">5</cx:pt>
          <cx:pt idx="34136">4</cx:pt>
          <cx:pt idx="34137">5</cx:pt>
          <cx:pt idx="34138">3</cx:pt>
          <cx:pt idx="34139">4</cx:pt>
          <cx:pt idx="34140">3</cx:pt>
          <cx:pt idx="34141">1</cx:pt>
          <cx:pt idx="34142">4</cx:pt>
          <cx:pt idx="34143">3</cx:pt>
          <cx:pt idx="34144">2</cx:pt>
          <cx:pt idx="34145">1</cx:pt>
          <cx:pt idx="34146">1</cx:pt>
          <cx:pt idx="34147">1</cx:pt>
          <cx:pt idx="34148">5</cx:pt>
          <cx:pt idx="34149">1</cx:pt>
          <cx:pt idx="34150">5</cx:pt>
          <cx:pt idx="34151">5</cx:pt>
          <cx:pt idx="34152">1</cx:pt>
          <cx:pt idx="34153">5</cx:pt>
          <cx:pt idx="34154">3</cx:pt>
          <cx:pt idx="34155">3</cx:pt>
          <cx:pt idx="34156">2</cx:pt>
          <cx:pt idx="34157">2</cx:pt>
          <cx:pt idx="34158">2</cx:pt>
          <cx:pt idx="34159">3</cx:pt>
          <cx:pt idx="34160">5</cx:pt>
          <cx:pt idx="34161">2</cx:pt>
          <cx:pt idx="34162">1</cx:pt>
          <cx:pt idx="34163">2</cx:pt>
          <cx:pt idx="34164">4</cx:pt>
          <cx:pt idx="34165">0</cx:pt>
          <cx:pt idx="34166">4</cx:pt>
          <cx:pt idx="34167">2</cx:pt>
          <cx:pt idx="34168">1</cx:pt>
          <cx:pt idx="34169">1</cx:pt>
          <cx:pt idx="34170">0</cx:pt>
          <cx:pt idx="34171">2</cx:pt>
          <cx:pt idx="34172">4</cx:pt>
          <cx:pt idx="34173">3</cx:pt>
          <cx:pt idx="34174">1</cx:pt>
          <cx:pt idx="34175">2</cx:pt>
          <cx:pt idx="34176">5</cx:pt>
          <cx:pt idx="34177">2</cx:pt>
          <cx:pt idx="34178">5</cx:pt>
          <cx:pt idx="34179">2</cx:pt>
          <cx:pt idx="34180">5</cx:pt>
          <cx:pt idx="34181">0</cx:pt>
          <cx:pt idx="34182">3</cx:pt>
          <cx:pt idx="34183">5</cx:pt>
          <cx:pt idx="34184">2</cx:pt>
          <cx:pt idx="34185">3</cx:pt>
          <cx:pt idx="34186">3</cx:pt>
          <cx:pt idx="34187">1</cx:pt>
          <cx:pt idx="34188">1</cx:pt>
          <cx:pt idx="34189">2</cx:pt>
          <cx:pt idx="34190">4</cx:pt>
          <cx:pt idx="34191">4</cx:pt>
          <cx:pt idx="34192">2</cx:pt>
          <cx:pt idx="34193">1</cx:pt>
          <cx:pt idx="34194">3</cx:pt>
          <cx:pt idx="34195">0</cx:pt>
          <cx:pt idx="34196">3</cx:pt>
          <cx:pt idx="34197">5</cx:pt>
          <cx:pt idx="34198">1</cx:pt>
          <cx:pt idx="34199">4</cx:pt>
          <cx:pt idx="34200">0</cx:pt>
          <cx:pt idx="34201">4</cx:pt>
          <cx:pt idx="34202">5</cx:pt>
          <cx:pt idx="34203">1</cx:pt>
          <cx:pt idx="34204">2</cx:pt>
          <cx:pt idx="34205">5</cx:pt>
          <cx:pt idx="34206">5</cx:pt>
          <cx:pt idx="34207">2</cx:pt>
          <cx:pt idx="34208">3</cx:pt>
          <cx:pt idx="34209">0</cx:pt>
          <cx:pt idx="34210">3</cx:pt>
          <cx:pt idx="34211">5</cx:pt>
          <cx:pt idx="34212">4</cx:pt>
          <cx:pt idx="34213">4</cx:pt>
          <cx:pt idx="34214">3</cx:pt>
          <cx:pt idx="34215">3</cx:pt>
          <cx:pt idx="34216">3</cx:pt>
          <cx:pt idx="34217">2</cx:pt>
          <cx:pt idx="34218">2</cx:pt>
          <cx:pt idx="34219">2</cx:pt>
          <cx:pt idx="34220">1</cx:pt>
          <cx:pt idx="34221">5</cx:pt>
          <cx:pt idx="34222">1</cx:pt>
          <cx:pt idx="34223">3</cx:pt>
          <cx:pt idx="34224">1</cx:pt>
          <cx:pt idx="34225">4</cx:pt>
          <cx:pt idx="34226">3</cx:pt>
          <cx:pt idx="34227">5</cx:pt>
          <cx:pt idx="34228">1</cx:pt>
          <cx:pt idx="34229">4</cx:pt>
          <cx:pt idx="34230">2</cx:pt>
          <cx:pt idx="34231">4</cx:pt>
          <cx:pt idx="34232">4</cx:pt>
          <cx:pt idx="34233">4</cx:pt>
          <cx:pt idx="34234">2</cx:pt>
          <cx:pt idx="34235">2</cx:pt>
          <cx:pt idx="34236">0</cx:pt>
          <cx:pt idx="34237">4</cx:pt>
          <cx:pt idx="34238">1</cx:pt>
          <cx:pt idx="34239">1</cx:pt>
          <cx:pt idx="34240">2</cx:pt>
          <cx:pt idx="34241">4</cx:pt>
          <cx:pt idx="34242">2</cx:pt>
          <cx:pt idx="34243">2</cx:pt>
          <cx:pt idx="34244">2</cx:pt>
          <cx:pt idx="34245">3</cx:pt>
          <cx:pt idx="34246">4</cx:pt>
          <cx:pt idx="34247">3</cx:pt>
          <cx:pt idx="34248">3</cx:pt>
          <cx:pt idx="34249">4</cx:pt>
          <cx:pt idx="34250">1</cx:pt>
          <cx:pt idx="34251">3</cx:pt>
          <cx:pt idx="34252">4</cx:pt>
          <cx:pt idx="34253">5</cx:pt>
          <cx:pt idx="34254">5</cx:pt>
          <cx:pt idx="34255">2</cx:pt>
          <cx:pt idx="34256">1</cx:pt>
          <cx:pt idx="34257">3</cx:pt>
          <cx:pt idx="34258">4</cx:pt>
          <cx:pt idx="34259">4</cx:pt>
          <cx:pt idx="34260">3</cx:pt>
          <cx:pt idx="34261">2</cx:pt>
          <cx:pt idx="34262">4</cx:pt>
          <cx:pt idx="34263">2</cx:pt>
          <cx:pt idx="34264">1</cx:pt>
          <cx:pt idx="34265">5</cx:pt>
          <cx:pt idx="34266">3</cx:pt>
          <cx:pt idx="34267">4</cx:pt>
          <cx:pt idx="34268">5</cx:pt>
          <cx:pt idx="34269">0</cx:pt>
          <cx:pt idx="34270">4</cx:pt>
          <cx:pt idx="34271">5</cx:pt>
          <cx:pt idx="34272">5</cx:pt>
          <cx:pt idx="34273">4</cx:pt>
          <cx:pt idx="34274">4</cx:pt>
          <cx:pt idx="34275">3</cx:pt>
          <cx:pt idx="34276">4</cx:pt>
          <cx:pt idx="34277">0</cx:pt>
          <cx:pt idx="34278">4</cx:pt>
          <cx:pt idx="34279">4</cx:pt>
          <cx:pt idx="34280">5</cx:pt>
          <cx:pt idx="34281">4</cx:pt>
          <cx:pt idx="34282">2</cx:pt>
          <cx:pt idx="34283">4</cx:pt>
          <cx:pt idx="34284">4</cx:pt>
          <cx:pt idx="34285">2</cx:pt>
          <cx:pt idx="34286">2</cx:pt>
          <cx:pt idx="34287">4</cx:pt>
          <cx:pt idx="34288">2</cx:pt>
          <cx:pt idx="34289">3</cx:pt>
          <cx:pt idx="34290">2</cx:pt>
          <cx:pt idx="34291">0</cx:pt>
          <cx:pt idx="34292">2</cx:pt>
          <cx:pt idx="34293">4</cx:pt>
          <cx:pt idx="34294">5</cx:pt>
          <cx:pt idx="34295">2</cx:pt>
          <cx:pt idx="34296">3</cx:pt>
          <cx:pt idx="34297">4</cx:pt>
          <cx:pt idx="34298">1</cx:pt>
          <cx:pt idx="34299">1</cx:pt>
          <cx:pt idx="34300">5</cx:pt>
          <cx:pt idx="34301">5</cx:pt>
          <cx:pt idx="34302">2</cx:pt>
          <cx:pt idx="34303">1</cx:pt>
          <cx:pt idx="34304">2</cx:pt>
          <cx:pt idx="34305">5</cx:pt>
          <cx:pt idx="34306">4</cx:pt>
          <cx:pt idx="34307">4</cx:pt>
          <cx:pt idx="34308">1</cx:pt>
          <cx:pt idx="34309">1</cx:pt>
          <cx:pt idx="34310">1</cx:pt>
          <cx:pt idx="34311">1</cx:pt>
          <cx:pt idx="34312">2</cx:pt>
          <cx:pt idx="34313">5</cx:pt>
          <cx:pt idx="34314">3</cx:pt>
          <cx:pt idx="34315">3</cx:pt>
          <cx:pt idx="34316">1</cx:pt>
          <cx:pt idx="34317">3</cx:pt>
          <cx:pt idx="34318">3</cx:pt>
          <cx:pt idx="34319">5</cx:pt>
          <cx:pt idx="34320">2</cx:pt>
          <cx:pt idx="34321">4</cx:pt>
          <cx:pt idx="34322">2</cx:pt>
          <cx:pt idx="34323">4</cx:pt>
          <cx:pt idx="34324">2</cx:pt>
          <cx:pt idx="34325">2</cx:pt>
          <cx:pt idx="34326">3</cx:pt>
          <cx:pt idx="34327">5</cx:pt>
          <cx:pt idx="34328">3</cx:pt>
          <cx:pt idx="34329">4</cx:pt>
          <cx:pt idx="34330">5</cx:pt>
          <cx:pt idx="34331">2</cx:pt>
          <cx:pt idx="34332">2</cx:pt>
          <cx:pt idx="34333">5</cx:pt>
          <cx:pt idx="34334">3</cx:pt>
          <cx:pt idx="34335">3</cx:pt>
          <cx:pt idx="34336">2</cx:pt>
          <cx:pt idx="34337">5</cx:pt>
          <cx:pt idx="34338">5</cx:pt>
          <cx:pt idx="34339">0</cx:pt>
          <cx:pt idx="34340">5</cx:pt>
          <cx:pt idx="34341">2</cx:pt>
          <cx:pt idx="34342">5</cx:pt>
          <cx:pt idx="34343">3</cx:pt>
          <cx:pt idx="34344">5</cx:pt>
          <cx:pt idx="34345">5</cx:pt>
          <cx:pt idx="34346">1</cx:pt>
          <cx:pt idx="34347">3</cx:pt>
          <cx:pt idx="34348">4</cx:pt>
          <cx:pt idx="34349">1</cx:pt>
          <cx:pt idx="34350">3</cx:pt>
          <cx:pt idx="34351">3</cx:pt>
          <cx:pt idx="34352">2</cx:pt>
          <cx:pt idx="34353">2</cx:pt>
          <cx:pt idx="34354">4</cx:pt>
          <cx:pt idx="34355">1</cx:pt>
          <cx:pt idx="34356">1</cx:pt>
          <cx:pt idx="34357">1</cx:pt>
          <cx:pt idx="34358">2</cx:pt>
          <cx:pt idx="34359">3</cx:pt>
          <cx:pt idx="34360">3</cx:pt>
          <cx:pt idx="34361">2</cx:pt>
          <cx:pt idx="34362">2</cx:pt>
          <cx:pt idx="34363">5</cx:pt>
          <cx:pt idx="34364">1</cx:pt>
          <cx:pt idx="34365">3</cx:pt>
          <cx:pt idx="34366">0</cx:pt>
          <cx:pt idx="34367">3</cx:pt>
          <cx:pt idx="34368">2</cx:pt>
          <cx:pt idx="34369">4</cx:pt>
          <cx:pt idx="34370">1</cx:pt>
          <cx:pt idx="34371">2</cx:pt>
          <cx:pt idx="34372">2</cx:pt>
          <cx:pt idx="34373">5</cx:pt>
          <cx:pt idx="34374">1</cx:pt>
          <cx:pt idx="34375">4</cx:pt>
          <cx:pt idx="34376">3</cx:pt>
          <cx:pt idx="34377">2</cx:pt>
          <cx:pt idx="34378">2</cx:pt>
          <cx:pt idx="34379">3</cx:pt>
          <cx:pt idx="34380">0</cx:pt>
          <cx:pt idx="34381">1</cx:pt>
          <cx:pt idx="34382">1</cx:pt>
          <cx:pt idx="34383">3</cx:pt>
          <cx:pt idx="34384">4</cx:pt>
          <cx:pt idx="34385">4</cx:pt>
          <cx:pt idx="34386">3</cx:pt>
          <cx:pt idx="34387">3</cx:pt>
          <cx:pt idx="34388">3</cx:pt>
          <cx:pt idx="34389">1</cx:pt>
          <cx:pt idx="34390">3</cx:pt>
          <cx:pt idx="34391">1</cx:pt>
          <cx:pt idx="34392">1</cx:pt>
          <cx:pt idx="34393">5</cx:pt>
          <cx:pt idx="34394">3</cx:pt>
          <cx:pt idx="34395">2</cx:pt>
          <cx:pt idx="34396">3</cx:pt>
          <cx:pt idx="34397">5</cx:pt>
          <cx:pt idx="34398">4</cx:pt>
          <cx:pt idx="34399">3</cx:pt>
          <cx:pt idx="34400">3</cx:pt>
          <cx:pt idx="34401">3</cx:pt>
          <cx:pt idx="34402">2</cx:pt>
          <cx:pt idx="34403">5</cx:pt>
          <cx:pt idx="34404">4</cx:pt>
          <cx:pt idx="34405">4</cx:pt>
          <cx:pt idx="34406">2</cx:pt>
          <cx:pt idx="34407">2</cx:pt>
          <cx:pt idx="34408">5</cx:pt>
          <cx:pt idx="34409">4</cx:pt>
          <cx:pt idx="34410">4</cx:pt>
          <cx:pt idx="34411">2</cx:pt>
          <cx:pt idx="34412">1</cx:pt>
          <cx:pt idx="34413">3</cx:pt>
          <cx:pt idx="34414">4</cx:pt>
          <cx:pt idx="34415">3</cx:pt>
          <cx:pt idx="34416">5</cx:pt>
          <cx:pt idx="34417">1</cx:pt>
          <cx:pt idx="34418">2</cx:pt>
          <cx:pt idx="34419">2</cx:pt>
          <cx:pt idx="34420">3</cx:pt>
          <cx:pt idx="34421">4</cx:pt>
          <cx:pt idx="34422">5</cx:pt>
          <cx:pt idx="34423">3</cx:pt>
          <cx:pt idx="34424">5</cx:pt>
          <cx:pt idx="34425">5</cx:pt>
          <cx:pt idx="34426">2</cx:pt>
          <cx:pt idx="34427">0</cx:pt>
          <cx:pt idx="34428">1</cx:pt>
          <cx:pt idx="34429">1</cx:pt>
          <cx:pt idx="34430">4</cx:pt>
          <cx:pt idx="34431">5</cx:pt>
          <cx:pt idx="34432">5</cx:pt>
          <cx:pt idx="34433">5</cx:pt>
          <cx:pt idx="34434">3</cx:pt>
          <cx:pt idx="34435">4</cx:pt>
          <cx:pt idx="34436">2</cx:pt>
          <cx:pt idx="34437">2</cx:pt>
          <cx:pt idx="34438">0</cx:pt>
          <cx:pt idx="34439">4</cx:pt>
          <cx:pt idx="34440">2</cx:pt>
          <cx:pt idx="34441">3</cx:pt>
          <cx:pt idx="34442">2</cx:pt>
          <cx:pt idx="34443">3</cx:pt>
          <cx:pt idx="34444">2</cx:pt>
          <cx:pt idx="34445">1</cx:pt>
          <cx:pt idx="34446">1</cx:pt>
          <cx:pt idx="34447">3</cx:pt>
          <cx:pt idx="34448">2</cx:pt>
          <cx:pt idx="34449">3</cx:pt>
          <cx:pt idx="34450">1</cx:pt>
          <cx:pt idx="34451">3</cx:pt>
          <cx:pt idx="34452">2</cx:pt>
          <cx:pt idx="34453">1</cx:pt>
          <cx:pt idx="34454">1</cx:pt>
          <cx:pt idx="34455">1</cx:pt>
          <cx:pt idx="34456">3</cx:pt>
          <cx:pt idx="34457">2</cx:pt>
          <cx:pt idx="34458">4</cx:pt>
          <cx:pt idx="34459">4</cx:pt>
          <cx:pt idx="34460">5</cx:pt>
          <cx:pt idx="34461">2</cx:pt>
          <cx:pt idx="34462">3</cx:pt>
          <cx:pt idx="34463">3</cx:pt>
          <cx:pt idx="34464">1</cx:pt>
          <cx:pt idx="34465">0</cx:pt>
          <cx:pt idx="34466">0</cx:pt>
          <cx:pt idx="34467">3</cx:pt>
          <cx:pt idx="34468">3</cx:pt>
          <cx:pt idx="34469">4</cx:pt>
          <cx:pt idx="34470">1</cx:pt>
          <cx:pt idx="34471">4</cx:pt>
          <cx:pt idx="34472">4</cx:pt>
          <cx:pt idx="34473">4</cx:pt>
          <cx:pt idx="34474">4</cx:pt>
          <cx:pt idx="34475">1</cx:pt>
          <cx:pt idx="34476">3</cx:pt>
          <cx:pt idx="34477">1</cx:pt>
          <cx:pt idx="34478">4</cx:pt>
          <cx:pt idx="34479">2</cx:pt>
          <cx:pt idx="34480">2</cx:pt>
          <cx:pt idx="34481">4</cx:pt>
          <cx:pt idx="34482">4</cx:pt>
          <cx:pt idx="34483">4</cx:pt>
          <cx:pt idx="34484">5</cx:pt>
          <cx:pt idx="34485">5</cx:pt>
          <cx:pt idx="34486">5</cx:pt>
          <cx:pt idx="34487">1</cx:pt>
          <cx:pt idx="34488">2</cx:pt>
          <cx:pt idx="34489">3</cx:pt>
          <cx:pt idx="34490">1</cx:pt>
          <cx:pt idx="34491">5</cx:pt>
          <cx:pt idx="34492">5</cx:pt>
          <cx:pt idx="34493">3</cx:pt>
          <cx:pt idx="34494">2</cx:pt>
          <cx:pt idx="34495">5</cx:pt>
          <cx:pt idx="34496">4</cx:pt>
          <cx:pt idx="34497">2</cx:pt>
          <cx:pt idx="34498">5</cx:pt>
          <cx:pt idx="34499">2</cx:pt>
          <cx:pt idx="34500">2</cx:pt>
          <cx:pt idx="34501">2</cx:pt>
          <cx:pt idx="34502">4</cx:pt>
          <cx:pt idx="34503">4</cx:pt>
          <cx:pt idx="34504">2</cx:pt>
          <cx:pt idx="34505">1</cx:pt>
          <cx:pt idx="34506">1</cx:pt>
          <cx:pt idx="34507">0</cx:pt>
          <cx:pt idx="34508">2</cx:pt>
          <cx:pt idx="34509">4</cx:pt>
          <cx:pt idx="34510">3</cx:pt>
          <cx:pt idx="34511">2</cx:pt>
          <cx:pt idx="34512">5</cx:pt>
          <cx:pt idx="34513">2</cx:pt>
          <cx:pt idx="34514">4</cx:pt>
          <cx:pt idx="34515">4</cx:pt>
          <cx:pt idx="34516">3</cx:pt>
          <cx:pt idx="34517">3</cx:pt>
          <cx:pt idx="34518">2</cx:pt>
          <cx:pt idx="34519">1</cx:pt>
          <cx:pt idx="34520">1</cx:pt>
          <cx:pt idx="34521">0</cx:pt>
          <cx:pt idx="34522">4</cx:pt>
          <cx:pt idx="34523">2</cx:pt>
          <cx:pt idx="34524">3</cx:pt>
          <cx:pt idx="34525">4</cx:pt>
          <cx:pt idx="34526">1</cx:pt>
          <cx:pt idx="34527">1</cx:pt>
          <cx:pt idx="34528">2</cx:pt>
          <cx:pt idx="34529">5</cx:pt>
          <cx:pt idx="34530">2</cx:pt>
          <cx:pt idx="34531">3</cx:pt>
          <cx:pt idx="34532">3</cx:pt>
          <cx:pt idx="34533">2</cx:pt>
          <cx:pt idx="34534">2</cx:pt>
          <cx:pt idx="34535">5</cx:pt>
          <cx:pt idx="34536">5</cx:pt>
          <cx:pt idx="34537">2</cx:pt>
          <cx:pt idx="34538">3</cx:pt>
          <cx:pt idx="34539">2</cx:pt>
          <cx:pt idx="34540">3</cx:pt>
          <cx:pt idx="34541">5</cx:pt>
          <cx:pt idx="34542">3</cx:pt>
          <cx:pt idx="34543">4</cx:pt>
          <cx:pt idx="34544">1</cx:pt>
          <cx:pt idx="34545">3</cx:pt>
          <cx:pt idx="34546">2</cx:pt>
          <cx:pt idx="34547">2</cx:pt>
          <cx:pt idx="34548">3</cx:pt>
          <cx:pt idx="34549">1</cx:pt>
          <cx:pt idx="34550">2</cx:pt>
          <cx:pt idx="34551">2</cx:pt>
          <cx:pt idx="34552">5</cx:pt>
          <cx:pt idx="34553">2</cx:pt>
          <cx:pt idx="34554">1</cx:pt>
          <cx:pt idx="34555">3</cx:pt>
          <cx:pt idx="34556">3</cx:pt>
          <cx:pt idx="34557">2</cx:pt>
          <cx:pt idx="34558">1</cx:pt>
          <cx:pt idx="34559">3</cx:pt>
          <cx:pt idx="34560">4</cx:pt>
          <cx:pt idx="34561">3</cx:pt>
          <cx:pt idx="34562">2</cx:pt>
          <cx:pt idx="34563">4</cx:pt>
          <cx:pt idx="34564">3</cx:pt>
          <cx:pt idx="34565">2</cx:pt>
          <cx:pt idx="34566">2</cx:pt>
          <cx:pt idx="34567">5</cx:pt>
          <cx:pt idx="34568">2</cx:pt>
          <cx:pt idx="34569">2</cx:pt>
          <cx:pt idx="34570">4</cx:pt>
          <cx:pt idx="34571">3</cx:pt>
          <cx:pt idx="34572">2</cx:pt>
          <cx:pt idx="34573">3</cx:pt>
          <cx:pt idx="34574">2</cx:pt>
          <cx:pt idx="34575">2</cx:pt>
          <cx:pt idx="34576">1</cx:pt>
          <cx:pt idx="34577">4</cx:pt>
          <cx:pt idx="34578">5</cx:pt>
          <cx:pt idx="34579">3</cx:pt>
          <cx:pt idx="34580">1</cx:pt>
          <cx:pt idx="34581">3</cx:pt>
          <cx:pt idx="34582">3</cx:pt>
          <cx:pt idx="34583">2</cx:pt>
          <cx:pt idx="34584">1</cx:pt>
          <cx:pt idx="34585">4</cx:pt>
          <cx:pt idx="34586">3</cx:pt>
          <cx:pt idx="34587">5</cx:pt>
          <cx:pt idx="34588">5</cx:pt>
          <cx:pt idx="34589">3</cx:pt>
          <cx:pt idx="34590">2</cx:pt>
          <cx:pt idx="34591">2</cx:pt>
          <cx:pt idx="34592">0</cx:pt>
          <cx:pt idx="34593">4</cx:pt>
          <cx:pt idx="34594">2</cx:pt>
          <cx:pt idx="34595">3</cx:pt>
          <cx:pt idx="34596">1</cx:pt>
          <cx:pt idx="34597">3</cx:pt>
          <cx:pt idx="34598">2</cx:pt>
          <cx:pt idx="34599">4</cx:pt>
          <cx:pt idx="34600">4</cx:pt>
          <cx:pt idx="34601">1</cx:pt>
          <cx:pt idx="34602">3</cx:pt>
          <cx:pt idx="34603">4</cx:pt>
          <cx:pt idx="34604">4</cx:pt>
          <cx:pt idx="34605">4</cx:pt>
          <cx:pt idx="34606">4</cx:pt>
          <cx:pt idx="34607">4</cx:pt>
          <cx:pt idx="34608">1</cx:pt>
          <cx:pt idx="34609">4</cx:pt>
          <cx:pt idx="34610">3</cx:pt>
          <cx:pt idx="34611">2</cx:pt>
          <cx:pt idx="34612">2</cx:pt>
          <cx:pt idx="34613">3</cx:pt>
          <cx:pt idx="34614">1</cx:pt>
          <cx:pt idx="34615">3</cx:pt>
          <cx:pt idx="34616">4</cx:pt>
          <cx:pt idx="34617">1</cx:pt>
          <cx:pt idx="34618">2</cx:pt>
          <cx:pt idx="34619">1</cx:pt>
          <cx:pt idx="34620">2</cx:pt>
          <cx:pt idx="34621">4</cx:pt>
          <cx:pt idx="34622">5</cx:pt>
          <cx:pt idx="34623">3</cx:pt>
          <cx:pt idx="34624">2</cx:pt>
          <cx:pt idx="34625">3</cx:pt>
          <cx:pt idx="34626">5</cx:pt>
          <cx:pt idx="34627">1</cx:pt>
          <cx:pt idx="34628">2</cx:pt>
          <cx:pt idx="34629">4</cx:pt>
          <cx:pt idx="34630">1</cx:pt>
          <cx:pt idx="34631">3</cx:pt>
          <cx:pt idx="34632">5</cx:pt>
          <cx:pt idx="34633">3</cx:pt>
          <cx:pt idx="34634">3</cx:pt>
          <cx:pt idx="34635">2</cx:pt>
          <cx:pt idx="34636">3</cx:pt>
          <cx:pt idx="34637">4</cx:pt>
          <cx:pt idx="34638">3</cx:pt>
          <cx:pt idx="34639">1</cx:pt>
          <cx:pt idx="34640">4</cx:pt>
          <cx:pt idx="34641">2</cx:pt>
          <cx:pt idx="34642">1</cx:pt>
          <cx:pt idx="34643">1</cx:pt>
          <cx:pt idx="34644">0</cx:pt>
          <cx:pt idx="34645">0</cx:pt>
          <cx:pt idx="34646">2</cx:pt>
          <cx:pt idx="34647">1</cx:pt>
          <cx:pt idx="34648">2</cx:pt>
          <cx:pt idx="34649">5</cx:pt>
          <cx:pt idx="34650">2</cx:pt>
          <cx:pt idx="34651">4</cx:pt>
          <cx:pt idx="34652">2</cx:pt>
          <cx:pt idx="34653">4</cx:pt>
          <cx:pt idx="34654">2</cx:pt>
          <cx:pt idx="34655">5</cx:pt>
          <cx:pt idx="34656">4</cx:pt>
          <cx:pt idx="34657">5</cx:pt>
          <cx:pt idx="34658">2</cx:pt>
          <cx:pt idx="34659">3</cx:pt>
          <cx:pt idx="34660">3</cx:pt>
          <cx:pt idx="34661">1</cx:pt>
          <cx:pt idx="34662">4</cx:pt>
          <cx:pt idx="34663">4</cx:pt>
          <cx:pt idx="34664">1</cx:pt>
          <cx:pt idx="34665">2</cx:pt>
          <cx:pt idx="34666">5</cx:pt>
          <cx:pt idx="34667">5</cx:pt>
          <cx:pt idx="34668">2</cx:pt>
          <cx:pt idx="34669">2</cx:pt>
          <cx:pt idx="34670">3</cx:pt>
          <cx:pt idx="34671">2</cx:pt>
          <cx:pt idx="34672">0</cx:pt>
          <cx:pt idx="34673">5</cx:pt>
          <cx:pt idx="34674">4</cx:pt>
          <cx:pt idx="34675">1</cx:pt>
          <cx:pt idx="34676">2</cx:pt>
          <cx:pt idx="34677">1</cx:pt>
          <cx:pt idx="34678">5</cx:pt>
          <cx:pt idx="34679">3</cx:pt>
          <cx:pt idx="34680">0</cx:pt>
          <cx:pt idx="34681">3</cx:pt>
          <cx:pt idx="34682">2</cx:pt>
          <cx:pt idx="34683">0</cx:pt>
          <cx:pt idx="34684">2</cx:pt>
          <cx:pt idx="34685">1</cx:pt>
          <cx:pt idx="34686">3</cx:pt>
          <cx:pt idx="34687">1</cx:pt>
          <cx:pt idx="34688">3</cx:pt>
          <cx:pt idx="34689">4</cx:pt>
          <cx:pt idx="34690">3</cx:pt>
          <cx:pt idx="34691">3</cx:pt>
          <cx:pt idx="34692">1</cx:pt>
          <cx:pt idx="34693">5</cx:pt>
          <cx:pt idx="34694">2</cx:pt>
          <cx:pt idx="34695">4</cx:pt>
          <cx:pt idx="34696">4</cx:pt>
          <cx:pt idx="34697">3</cx:pt>
          <cx:pt idx="34698">3</cx:pt>
          <cx:pt idx="34699">5</cx:pt>
          <cx:pt idx="34700">5</cx:pt>
          <cx:pt idx="34701">1</cx:pt>
          <cx:pt idx="34702">5</cx:pt>
          <cx:pt idx="34703">2</cx:pt>
          <cx:pt idx="34704">3</cx:pt>
          <cx:pt idx="34705">4</cx:pt>
          <cx:pt idx="34706">3</cx:pt>
          <cx:pt idx="34707">4</cx:pt>
          <cx:pt idx="34708">5</cx:pt>
          <cx:pt idx="34709">2</cx:pt>
          <cx:pt idx="34710">1</cx:pt>
          <cx:pt idx="34711">4</cx:pt>
          <cx:pt idx="34712">3</cx:pt>
          <cx:pt idx="34713">2</cx:pt>
          <cx:pt idx="34714">5</cx:pt>
          <cx:pt idx="34715">2</cx:pt>
          <cx:pt idx="34716">2</cx:pt>
          <cx:pt idx="34717">3</cx:pt>
          <cx:pt idx="34718">3</cx:pt>
          <cx:pt idx="34719">4</cx:pt>
          <cx:pt idx="34720">2</cx:pt>
          <cx:pt idx="34721">5</cx:pt>
          <cx:pt idx="34722">3</cx:pt>
          <cx:pt idx="34723">3</cx:pt>
          <cx:pt idx="34724">5</cx:pt>
          <cx:pt idx="34725">5</cx:pt>
          <cx:pt idx="34726">1</cx:pt>
          <cx:pt idx="34727">0</cx:pt>
          <cx:pt idx="34728">3</cx:pt>
          <cx:pt idx="34729">4</cx:pt>
          <cx:pt idx="34730">2</cx:pt>
          <cx:pt idx="34731">5</cx:pt>
          <cx:pt idx="34732">4</cx:pt>
          <cx:pt idx="34733">3</cx:pt>
          <cx:pt idx="34734">4</cx:pt>
          <cx:pt idx="34735">3</cx:pt>
          <cx:pt idx="34736">3</cx:pt>
          <cx:pt idx="34737">1</cx:pt>
          <cx:pt idx="34738">0</cx:pt>
          <cx:pt idx="34739">5</cx:pt>
          <cx:pt idx="34740">2</cx:pt>
          <cx:pt idx="34741">4</cx:pt>
          <cx:pt idx="34742">4</cx:pt>
          <cx:pt idx="34743">2</cx:pt>
          <cx:pt idx="34744">2</cx:pt>
          <cx:pt idx="34745">4</cx:pt>
          <cx:pt idx="34746">3</cx:pt>
          <cx:pt idx="34747">1</cx:pt>
          <cx:pt idx="34748">1</cx:pt>
          <cx:pt idx="34749">3</cx:pt>
          <cx:pt idx="34750">0</cx:pt>
          <cx:pt idx="34751">3</cx:pt>
          <cx:pt idx="34752">1</cx:pt>
          <cx:pt idx="34753">4</cx:pt>
          <cx:pt idx="34754">1</cx:pt>
          <cx:pt idx="34755">3</cx:pt>
          <cx:pt idx="34756">5</cx:pt>
          <cx:pt idx="34757">4</cx:pt>
          <cx:pt idx="34758">1</cx:pt>
          <cx:pt idx="34759">5</cx:pt>
          <cx:pt idx="34760">5</cx:pt>
          <cx:pt idx="34761">2</cx:pt>
          <cx:pt idx="34762">1</cx:pt>
          <cx:pt idx="34763">3</cx:pt>
          <cx:pt idx="34764">3</cx:pt>
          <cx:pt idx="34765">1</cx:pt>
          <cx:pt idx="34766">4</cx:pt>
          <cx:pt idx="34767">5</cx:pt>
          <cx:pt idx="34768">4</cx:pt>
          <cx:pt idx="34769">3</cx:pt>
          <cx:pt idx="34770">4</cx:pt>
          <cx:pt idx="34771">5</cx:pt>
          <cx:pt idx="34772">4</cx:pt>
          <cx:pt idx="34773">3</cx:pt>
          <cx:pt idx="34774">4</cx:pt>
          <cx:pt idx="34775">1</cx:pt>
          <cx:pt idx="34776">2</cx:pt>
          <cx:pt idx="34777">2</cx:pt>
          <cx:pt idx="34778">5</cx:pt>
          <cx:pt idx="34779">5</cx:pt>
          <cx:pt idx="34780">5</cx:pt>
          <cx:pt idx="34781">2</cx:pt>
          <cx:pt idx="34782">3</cx:pt>
          <cx:pt idx="34783">1</cx:pt>
          <cx:pt idx="34784">5</cx:pt>
          <cx:pt idx="34785">0</cx:pt>
          <cx:pt idx="34786">4</cx:pt>
          <cx:pt idx="34787">4</cx:pt>
          <cx:pt idx="34788">5</cx:pt>
          <cx:pt idx="34789">1</cx:pt>
          <cx:pt idx="34790">2</cx:pt>
          <cx:pt idx="34791">3</cx:pt>
          <cx:pt idx="34792">5</cx:pt>
          <cx:pt idx="34793">4</cx:pt>
          <cx:pt idx="34794">5</cx:pt>
          <cx:pt idx="34795">2</cx:pt>
          <cx:pt idx="34796">3</cx:pt>
          <cx:pt idx="34797">1</cx:pt>
          <cx:pt idx="34798">1</cx:pt>
          <cx:pt idx="34799">3</cx:pt>
          <cx:pt idx="34800">2</cx:pt>
          <cx:pt idx="34801">1</cx:pt>
          <cx:pt idx="34802">4</cx:pt>
          <cx:pt idx="34803">5</cx:pt>
          <cx:pt idx="34804">4</cx:pt>
          <cx:pt idx="34805">3</cx:pt>
          <cx:pt idx="34806">2</cx:pt>
          <cx:pt idx="34807">0</cx:pt>
          <cx:pt idx="34808">2</cx:pt>
          <cx:pt idx="34809">3</cx:pt>
          <cx:pt idx="34810">5</cx:pt>
          <cx:pt idx="34811">2</cx:pt>
          <cx:pt idx="34812">3</cx:pt>
          <cx:pt idx="34813">3</cx:pt>
          <cx:pt idx="34814">5</cx:pt>
          <cx:pt idx="34815">2</cx:pt>
          <cx:pt idx="34816">5</cx:pt>
          <cx:pt idx="34817">2</cx:pt>
          <cx:pt idx="34818">5</cx:pt>
          <cx:pt idx="34819">2</cx:pt>
          <cx:pt idx="34820">5</cx:pt>
          <cx:pt idx="34821">2</cx:pt>
          <cx:pt idx="34822">1</cx:pt>
          <cx:pt idx="34823">1</cx:pt>
          <cx:pt idx="34824">3</cx:pt>
          <cx:pt idx="34825">2</cx:pt>
          <cx:pt idx="34826">0</cx:pt>
          <cx:pt idx="34827">1</cx:pt>
          <cx:pt idx="34828">4</cx:pt>
          <cx:pt idx="34829">1</cx:pt>
          <cx:pt idx="34830">3</cx:pt>
          <cx:pt idx="34831">2</cx:pt>
          <cx:pt idx="34832">2</cx:pt>
          <cx:pt idx="34833">0</cx:pt>
          <cx:pt idx="34834">4</cx:pt>
          <cx:pt idx="34835">1</cx:pt>
          <cx:pt idx="34836">5</cx:pt>
          <cx:pt idx="34837">2</cx:pt>
          <cx:pt idx="34838">5</cx:pt>
          <cx:pt idx="34839">1</cx:pt>
          <cx:pt idx="34840">1</cx:pt>
          <cx:pt idx="34841">5</cx:pt>
          <cx:pt idx="34842">5</cx:pt>
          <cx:pt idx="34843">5</cx:pt>
          <cx:pt idx="34844">2</cx:pt>
          <cx:pt idx="34845">1</cx:pt>
          <cx:pt idx="34846">2</cx:pt>
          <cx:pt idx="34847">3</cx:pt>
          <cx:pt idx="34848">2</cx:pt>
          <cx:pt idx="34849">4</cx:pt>
          <cx:pt idx="34850">2</cx:pt>
          <cx:pt idx="34851">5</cx:pt>
          <cx:pt idx="34852">4</cx:pt>
          <cx:pt idx="34853">1</cx:pt>
          <cx:pt idx="34854">5</cx:pt>
          <cx:pt idx="34855">5</cx:pt>
          <cx:pt idx="34856">2</cx:pt>
          <cx:pt idx="34857">2</cx:pt>
          <cx:pt idx="34858">1</cx:pt>
          <cx:pt idx="34859">3</cx:pt>
          <cx:pt idx="34860">4</cx:pt>
          <cx:pt idx="34861">1</cx:pt>
          <cx:pt idx="34862">0</cx:pt>
          <cx:pt idx="34863">5</cx:pt>
          <cx:pt idx="34864">3</cx:pt>
          <cx:pt idx="34865">0</cx:pt>
          <cx:pt idx="34866">1</cx:pt>
          <cx:pt idx="34867">3</cx:pt>
          <cx:pt idx="34868">4</cx:pt>
          <cx:pt idx="34869">2</cx:pt>
          <cx:pt idx="34870">4</cx:pt>
          <cx:pt idx="34871">3</cx:pt>
          <cx:pt idx="34872">4</cx:pt>
          <cx:pt idx="34873">2</cx:pt>
          <cx:pt idx="34874">3</cx:pt>
          <cx:pt idx="34875">1</cx:pt>
          <cx:pt idx="34876">2</cx:pt>
          <cx:pt idx="34877">2</cx:pt>
          <cx:pt idx="34878">4</cx:pt>
          <cx:pt idx="34879">1</cx:pt>
          <cx:pt idx="34880">3</cx:pt>
          <cx:pt idx="34881">4</cx:pt>
          <cx:pt idx="34882">1</cx:pt>
          <cx:pt idx="34883">2</cx:pt>
          <cx:pt idx="34884">2</cx:pt>
          <cx:pt idx="34885">5</cx:pt>
          <cx:pt idx="34886">1</cx:pt>
          <cx:pt idx="34887">2</cx:pt>
          <cx:pt idx="34888">5</cx:pt>
          <cx:pt idx="34889">2</cx:pt>
          <cx:pt idx="34890">2</cx:pt>
          <cx:pt idx="34891">4</cx:pt>
          <cx:pt idx="34892">2</cx:pt>
          <cx:pt idx="34893">3</cx:pt>
          <cx:pt idx="34894">1</cx:pt>
          <cx:pt idx="34895">4</cx:pt>
          <cx:pt idx="34896">3</cx:pt>
          <cx:pt idx="34897">2</cx:pt>
          <cx:pt idx="34898">1</cx:pt>
          <cx:pt idx="34899">3</cx:pt>
          <cx:pt idx="34900">5</cx:pt>
          <cx:pt idx="34901">4</cx:pt>
          <cx:pt idx="34902">5</cx:pt>
          <cx:pt idx="34903">5</cx:pt>
          <cx:pt idx="34904">2</cx:pt>
          <cx:pt idx="34905">1</cx:pt>
          <cx:pt idx="34906">2</cx:pt>
          <cx:pt idx="34907">5</cx:pt>
          <cx:pt idx="34908">2</cx:pt>
          <cx:pt idx="34909">5</cx:pt>
          <cx:pt idx="34910">1</cx:pt>
          <cx:pt idx="34911">2</cx:pt>
          <cx:pt idx="34912">4</cx:pt>
          <cx:pt idx="34913">5</cx:pt>
          <cx:pt idx="34914">2</cx:pt>
          <cx:pt idx="34915">2</cx:pt>
          <cx:pt idx="34916">2</cx:pt>
          <cx:pt idx="34917">5</cx:pt>
          <cx:pt idx="34918">1</cx:pt>
          <cx:pt idx="34919">4</cx:pt>
          <cx:pt idx="34920">4</cx:pt>
          <cx:pt idx="34921">3</cx:pt>
          <cx:pt idx="34922">2</cx:pt>
          <cx:pt idx="34923">0</cx:pt>
          <cx:pt idx="34924">4</cx:pt>
          <cx:pt idx="34925">3</cx:pt>
          <cx:pt idx="34926">3</cx:pt>
          <cx:pt idx="34927">4</cx:pt>
          <cx:pt idx="34928">2</cx:pt>
          <cx:pt idx="34929">3</cx:pt>
          <cx:pt idx="34930">3</cx:pt>
          <cx:pt idx="34931">2</cx:pt>
          <cx:pt idx="34932">1</cx:pt>
          <cx:pt idx="34933">2</cx:pt>
          <cx:pt idx="34934">1</cx:pt>
          <cx:pt idx="34935">5</cx:pt>
          <cx:pt idx="34936">5</cx:pt>
          <cx:pt idx="34937">1</cx:pt>
          <cx:pt idx="34938">0</cx:pt>
          <cx:pt idx="34939">2</cx:pt>
          <cx:pt idx="34940">1</cx:pt>
          <cx:pt idx="34941">2</cx:pt>
          <cx:pt idx="34942">4</cx:pt>
          <cx:pt idx="34943">1</cx:pt>
          <cx:pt idx="34944">3</cx:pt>
          <cx:pt idx="34945">5</cx:pt>
          <cx:pt idx="34946">3</cx:pt>
          <cx:pt idx="34947">3</cx:pt>
          <cx:pt idx="34948">2</cx:pt>
          <cx:pt idx="34949">5</cx:pt>
          <cx:pt idx="34950">0</cx:pt>
          <cx:pt idx="34951">4</cx:pt>
          <cx:pt idx="34952">3</cx:pt>
          <cx:pt idx="34953">2</cx:pt>
          <cx:pt idx="34954">3</cx:pt>
          <cx:pt idx="34955">3</cx:pt>
          <cx:pt idx="34956">2</cx:pt>
          <cx:pt idx="34957">1</cx:pt>
          <cx:pt idx="34958">1</cx:pt>
          <cx:pt idx="34959">1</cx:pt>
          <cx:pt idx="34960">3</cx:pt>
          <cx:pt idx="34961">1</cx:pt>
          <cx:pt idx="34962">5</cx:pt>
          <cx:pt idx="34963">4</cx:pt>
          <cx:pt idx="34964">5</cx:pt>
          <cx:pt idx="34965">2</cx:pt>
          <cx:pt idx="34966">4</cx:pt>
          <cx:pt idx="34967">0</cx:pt>
          <cx:pt idx="34968">5</cx:pt>
          <cx:pt idx="34969">2</cx:pt>
          <cx:pt idx="34970">4</cx:pt>
          <cx:pt idx="34971">5</cx:pt>
          <cx:pt idx="34972">1</cx:pt>
          <cx:pt idx="34973">3</cx:pt>
          <cx:pt idx="34974">5</cx:pt>
          <cx:pt idx="34975">4</cx:pt>
          <cx:pt idx="34976">1</cx:pt>
          <cx:pt idx="34977">2</cx:pt>
          <cx:pt idx="34978">4</cx:pt>
          <cx:pt idx="34979">4</cx:pt>
          <cx:pt idx="34980">1</cx:pt>
          <cx:pt idx="34981">2</cx:pt>
          <cx:pt idx="34982">4</cx:pt>
          <cx:pt idx="34983">4</cx:pt>
          <cx:pt idx="34984">3</cx:pt>
          <cx:pt idx="34985">4</cx:pt>
          <cx:pt idx="34986">3</cx:pt>
          <cx:pt idx="34987">2</cx:pt>
          <cx:pt idx="34988">4</cx:pt>
          <cx:pt idx="34989">1</cx:pt>
          <cx:pt idx="34990">2</cx:pt>
          <cx:pt idx="34991">1</cx:pt>
          <cx:pt idx="34992">3</cx:pt>
          <cx:pt idx="34993">0</cx:pt>
          <cx:pt idx="34994">3</cx:pt>
          <cx:pt idx="34995">3</cx:pt>
          <cx:pt idx="34996">2</cx:pt>
          <cx:pt idx="34997">2</cx:pt>
          <cx:pt idx="34998">5</cx:pt>
          <cx:pt idx="34999">2</cx:pt>
          <cx:pt idx="35000">4</cx:pt>
          <cx:pt idx="35001">3</cx:pt>
          <cx:pt idx="35002">3</cx:pt>
          <cx:pt idx="35003">2</cx:pt>
          <cx:pt idx="35004">4</cx:pt>
          <cx:pt idx="35005">1</cx:pt>
          <cx:pt idx="35006">3</cx:pt>
          <cx:pt idx="35007">2</cx:pt>
          <cx:pt idx="35008">0</cx:pt>
          <cx:pt idx="35009">5</cx:pt>
          <cx:pt idx="35010">3</cx:pt>
          <cx:pt idx="35011">4</cx:pt>
          <cx:pt idx="35012">1</cx:pt>
          <cx:pt idx="35013">4</cx:pt>
          <cx:pt idx="35014">3</cx:pt>
          <cx:pt idx="35015">4</cx:pt>
          <cx:pt idx="35016">4</cx:pt>
          <cx:pt idx="35017">3</cx:pt>
          <cx:pt idx="35018">2</cx:pt>
          <cx:pt idx="35019">2</cx:pt>
          <cx:pt idx="35020">5</cx:pt>
          <cx:pt idx="35021">3</cx:pt>
          <cx:pt idx="35022">2</cx:pt>
          <cx:pt idx="35023">3</cx:pt>
          <cx:pt idx="35024">3</cx:pt>
          <cx:pt idx="35025">3</cx:pt>
          <cx:pt idx="35026">2</cx:pt>
          <cx:pt idx="35027">3</cx:pt>
          <cx:pt idx="35028">4</cx:pt>
          <cx:pt idx="35029">5</cx:pt>
          <cx:pt idx="35030">1</cx:pt>
          <cx:pt idx="35031">1</cx:pt>
          <cx:pt idx="35032">5</cx:pt>
          <cx:pt idx="35033">5</cx:pt>
          <cx:pt idx="35034">5</cx:pt>
          <cx:pt idx="35035">4</cx:pt>
          <cx:pt idx="35036">1</cx:pt>
          <cx:pt idx="35037">2</cx:pt>
          <cx:pt idx="35038">1</cx:pt>
          <cx:pt idx="35039">4</cx:pt>
          <cx:pt idx="35040">1</cx:pt>
          <cx:pt idx="35041">1</cx:pt>
          <cx:pt idx="35042">2</cx:pt>
          <cx:pt idx="35043">4</cx:pt>
          <cx:pt idx="35044">1</cx:pt>
          <cx:pt idx="35045">2</cx:pt>
          <cx:pt idx="35046">0</cx:pt>
          <cx:pt idx="35047">1</cx:pt>
          <cx:pt idx="35048">1</cx:pt>
          <cx:pt idx="35049">2</cx:pt>
          <cx:pt idx="35050">2</cx:pt>
          <cx:pt idx="35051">2</cx:pt>
          <cx:pt idx="35052">4</cx:pt>
          <cx:pt idx="35053">3</cx:pt>
          <cx:pt idx="35054">2</cx:pt>
          <cx:pt idx="35055">2</cx:pt>
          <cx:pt idx="35056">5</cx:pt>
          <cx:pt idx="35057">2</cx:pt>
          <cx:pt idx="35058">4</cx:pt>
          <cx:pt idx="35059">5</cx:pt>
          <cx:pt idx="35060">2</cx:pt>
          <cx:pt idx="35061">2</cx:pt>
          <cx:pt idx="35062">0</cx:pt>
          <cx:pt idx="35063">3</cx:pt>
          <cx:pt idx="35064">3</cx:pt>
          <cx:pt idx="35065">4</cx:pt>
          <cx:pt idx="35066">2</cx:pt>
          <cx:pt idx="35067">2</cx:pt>
          <cx:pt idx="35068">5</cx:pt>
          <cx:pt idx="35069">0</cx:pt>
          <cx:pt idx="35070">5</cx:pt>
          <cx:pt idx="35071">4</cx:pt>
          <cx:pt idx="35072">3</cx:pt>
          <cx:pt idx="35073">2</cx:pt>
          <cx:pt idx="35074">1</cx:pt>
          <cx:pt idx="35075">1</cx:pt>
          <cx:pt idx="35076">4</cx:pt>
          <cx:pt idx="35077">3</cx:pt>
          <cx:pt idx="35078">3</cx:pt>
          <cx:pt idx="35079">5</cx:pt>
          <cx:pt idx="35080">2</cx:pt>
          <cx:pt idx="35081">5</cx:pt>
          <cx:pt idx="35082">0</cx:pt>
          <cx:pt idx="35083">4</cx:pt>
          <cx:pt idx="35084">5</cx:pt>
          <cx:pt idx="35085">3</cx:pt>
          <cx:pt idx="35086">3</cx:pt>
          <cx:pt idx="35087">1</cx:pt>
          <cx:pt idx="35088">2</cx:pt>
          <cx:pt idx="35089">4</cx:pt>
          <cx:pt idx="35090">4</cx:pt>
          <cx:pt idx="35091">2</cx:pt>
          <cx:pt idx="35092">2</cx:pt>
          <cx:pt idx="35093">2</cx:pt>
          <cx:pt idx="35094">1</cx:pt>
          <cx:pt idx="35095">4</cx:pt>
          <cx:pt idx="35096">4</cx:pt>
          <cx:pt idx="35097">3</cx:pt>
          <cx:pt idx="35098">1</cx:pt>
          <cx:pt idx="35099">1</cx:pt>
          <cx:pt idx="35100">3</cx:pt>
          <cx:pt idx="35101">4</cx:pt>
          <cx:pt idx="35102">1</cx:pt>
          <cx:pt idx="35103">5</cx:pt>
          <cx:pt idx="35104">5</cx:pt>
          <cx:pt idx="35105">5</cx:pt>
          <cx:pt idx="35106">1</cx:pt>
          <cx:pt idx="35107">3</cx:pt>
          <cx:pt idx="35108">1</cx:pt>
          <cx:pt idx="35109">2</cx:pt>
          <cx:pt idx="35110">5</cx:pt>
          <cx:pt idx="35111">3</cx:pt>
          <cx:pt idx="35112">5</cx:pt>
          <cx:pt idx="35113">1</cx:pt>
          <cx:pt idx="35114">5</cx:pt>
          <cx:pt idx="35115">3</cx:pt>
          <cx:pt idx="35116">3</cx:pt>
          <cx:pt idx="35117">2</cx:pt>
          <cx:pt idx="35118">3</cx:pt>
          <cx:pt idx="35119">3</cx:pt>
          <cx:pt idx="35120">3</cx:pt>
          <cx:pt idx="35121">5</cx:pt>
          <cx:pt idx="35122">4</cx:pt>
          <cx:pt idx="35123">2</cx:pt>
          <cx:pt idx="35124">4</cx:pt>
          <cx:pt idx="35125">3</cx:pt>
          <cx:pt idx="35126">1</cx:pt>
          <cx:pt idx="35127">4</cx:pt>
          <cx:pt idx="35128">2</cx:pt>
          <cx:pt idx="35129">2</cx:pt>
          <cx:pt idx="35130">5</cx:pt>
          <cx:pt idx="35131">1</cx:pt>
          <cx:pt idx="35132">3</cx:pt>
          <cx:pt idx="35133">5</cx:pt>
          <cx:pt idx="35134">3</cx:pt>
          <cx:pt idx="35135">1</cx:pt>
          <cx:pt idx="35136">3</cx:pt>
          <cx:pt idx="35137">5</cx:pt>
          <cx:pt idx="35138">3</cx:pt>
          <cx:pt idx="35139">1</cx:pt>
          <cx:pt idx="35140">4</cx:pt>
          <cx:pt idx="35141">4</cx:pt>
          <cx:pt idx="35142">1</cx:pt>
          <cx:pt idx="35143">2</cx:pt>
          <cx:pt idx="35144">2</cx:pt>
          <cx:pt idx="35145">2</cx:pt>
          <cx:pt idx="35146">3</cx:pt>
          <cx:pt idx="35147">3</cx:pt>
          <cx:pt idx="35148">1</cx:pt>
          <cx:pt idx="35149">3</cx:pt>
          <cx:pt idx="35150">3</cx:pt>
          <cx:pt idx="35151">3</cx:pt>
          <cx:pt idx="35152">3</cx:pt>
          <cx:pt idx="35153">5</cx:pt>
          <cx:pt idx="35154">5</cx:pt>
          <cx:pt idx="35155">3</cx:pt>
          <cx:pt idx="35156">5</cx:pt>
          <cx:pt idx="35157">1</cx:pt>
          <cx:pt idx="35158">3</cx:pt>
          <cx:pt idx="35159">1</cx:pt>
          <cx:pt idx="35160">0</cx:pt>
          <cx:pt idx="35161">2</cx:pt>
          <cx:pt idx="35162">5</cx:pt>
          <cx:pt idx="35163">3</cx:pt>
          <cx:pt idx="35164">2</cx:pt>
          <cx:pt idx="35165">3</cx:pt>
          <cx:pt idx="35166">3</cx:pt>
          <cx:pt idx="35167">4</cx:pt>
          <cx:pt idx="35168">3</cx:pt>
          <cx:pt idx="35169">5</cx:pt>
          <cx:pt idx="35170">3</cx:pt>
          <cx:pt idx="35171">1</cx:pt>
          <cx:pt idx="35172">5</cx:pt>
          <cx:pt idx="35173">2</cx:pt>
          <cx:pt idx="35174">5</cx:pt>
          <cx:pt idx="35175">2</cx:pt>
          <cx:pt idx="35176">2</cx:pt>
          <cx:pt idx="35177">5</cx:pt>
          <cx:pt idx="35178">5</cx:pt>
          <cx:pt idx="35179">0</cx:pt>
          <cx:pt idx="35180">5</cx:pt>
          <cx:pt idx="35181">2</cx:pt>
          <cx:pt idx="35182">1</cx:pt>
          <cx:pt idx="35183">2</cx:pt>
          <cx:pt idx="35184">3</cx:pt>
          <cx:pt idx="35185">5</cx:pt>
          <cx:pt idx="35186">3</cx:pt>
          <cx:pt idx="35187">4</cx:pt>
          <cx:pt idx="35188">1</cx:pt>
          <cx:pt idx="35189">4</cx:pt>
          <cx:pt idx="35190">2</cx:pt>
          <cx:pt idx="35191">4</cx:pt>
          <cx:pt idx="35192">3</cx:pt>
          <cx:pt idx="35193">3</cx:pt>
          <cx:pt idx="35194">0</cx:pt>
          <cx:pt idx="35195">3</cx:pt>
          <cx:pt idx="35196">3</cx:pt>
          <cx:pt idx="35197">4</cx:pt>
          <cx:pt idx="35198">4</cx:pt>
          <cx:pt idx="35199">3</cx:pt>
          <cx:pt idx="35200">3</cx:pt>
          <cx:pt idx="35201">3</cx:pt>
          <cx:pt idx="35202">5</cx:pt>
          <cx:pt idx="35203">3</cx:pt>
          <cx:pt idx="35204">3</cx:pt>
          <cx:pt idx="35205">1</cx:pt>
          <cx:pt idx="35206">5</cx:pt>
          <cx:pt idx="35207">5</cx:pt>
          <cx:pt idx="35208">2</cx:pt>
          <cx:pt idx="35209">2</cx:pt>
          <cx:pt idx="35210">3</cx:pt>
          <cx:pt idx="35211">3</cx:pt>
          <cx:pt idx="35212">1</cx:pt>
          <cx:pt idx="35213">2</cx:pt>
          <cx:pt idx="35214">2</cx:pt>
          <cx:pt idx="35215">5</cx:pt>
          <cx:pt idx="35216">5</cx:pt>
          <cx:pt idx="35217">1</cx:pt>
          <cx:pt idx="35218">4</cx:pt>
          <cx:pt idx="35219">2</cx:pt>
          <cx:pt idx="35220">4</cx:pt>
          <cx:pt idx="35221">4</cx:pt>
          <cx:pt idx="35222">2</cx:pt>
          <cx:pt idx="35223">3</cx:pt>
          <cx:pt idx="35224">2</cx:pt>
          <cx:pt idx="35225">0</cx:pt>
          <cx:pt idx="35226">0</cx:pt>
          <cx:pt idx="35227">3</cx:pt>
          <cx:pt idx="35228">1</cx:pt>
          <cx:pt idx="35229">2</cx:pt>
          <cx:pt idx="35230">4</cx:pt>
          <cx:pt idx="35231">4</cx:pt>
          <cx:pt idx="35232">4</cx:pt>
          <cx:pt idx="35233">5</cx:pt>
          <cx:pt idx="35234">3</cx:pt>
          <cx:pt idx="35235">1</cx:pt>
          <cx:pt idx="35236">1</cx:pt>
          <cx:pt idx="35237">0</cx:pt>
          <cx:pt idx="35238">4</cx:pt>
          <cx:pt idx="35239">2</cx:pt>
          <cx:pt idx="35240">1</cx:pt>
          <cx:pt idx="35241">1</cx:pt>
          <cx:pt idx="35242">5</cx:pt>
          <cx:pt idx="35243">4</cx:pt>
          <cx:pt idx="35244">1</cx:pt>
          <cx:pt idx="35245">1</cx:pt>
          <cx:pt idx="35246">2</cx:pt>
          <cx:pt idx="35247">4</cx:pt>
          <cx:pt idx="35248">2</cx:pt>
          <cx:pt idx="35249">4</cx:pt>
          <cx:pt idx="35250">4</cx:pt>
          <cx:pt idx="35251">4</cx:pt>
          <cx:pt idx="35252">5</cx:pt>
          <cx:pt idx="35253">5</cx:pt>
          <cx:pt idx="35254">1</cx:pt>
          <cx:pt idx="35255">3</cx:pt>
          <cx:pt idx="35256">2</cx:pt>
          <cx:pt idx="35257">0</cx:pt>
          <cx:pt idx="35258">4</cx:pt>
          <cx:pt idx="35259">2</cx:pt>
          <cx:pt idx="35260">1</cx:pt>
          <cx:pt idx="35261">0</cx:pt>
          <cx:pt idx="35262">4</cx:pt>
          <cx:pt idx="35263">5</cx:pt>
          <cx:pt idx="35264">4</cx:pt>
          <cx:pt idx="35265">3</cx:pt>
          <cx:pt idx="35266">3</cx:pt>
          <cx:pt idx="35267">1</cx:pt>
          <cx:pt idx="35268">3</cx:pt>
          <cx:pt idx="35269">2</cx:pt>
          <cx:pt idx="35270">2</cx:pt>
          <cx:pt idx="35271">1</cx:pt>
          <cx:pt idx="35272">1</cx:pt>
          <cx:pt idx="35273">5</cx:pt>
          <cx:pt idx="35274">5</cx:pt>
          <cx:pt idx="35275">5</cx:pt>
          <cx:pt idx="35276">2</cx:pt>
          <cx:pt idx="35277">5</cx:pt>
          <cx:pt idx="35278">3</cx:pt>
          <cx:pt idx="35279">3</cx:pt>
          <cx:pt idx="35280">1</cx:pt>
          <cx:pt idx="35281">4</cx:pt>
          <cx:pt idx="35282">1</cx:pt>
          <cx:pt idx="35283">1</cx:pt>
          <cx:pt idx="35284">3</cx:pt>
          <cx:pt idx="35285">4</cx:pt>
          <cx:pt idx="35286">2</cx:pt>
          <cx:pt idx="35287">4</cx:pt>
          <cx:pt idx="35288">4</cx:pt>
          <cx:pt idx="35289">3</cx:pt>
          <cx:pt idx="35290">2</cx:pt>
          <cx:pt idx="35291">5</cx:pt>
          <cx:pt idx="35292">4</cx:pt>
          <cx:pt idx="35293">4</cx:pt>
          <cx:pt idx="35294">2</cx:pt>
          <cx:pt idx="35295">4</cx:pt>
          <cx:pt idx="35296">4</cx:pt>
          <cx:pt idx="35297">3</cx:pt>
          <cx:pt idx="35298">2</cx:pt>
          <cx:pt idx="35299">3</cx:pt>
          <cx:pt idx="35300">2</cx:pt>
          <cx:pt idx="35301">1</cx:pt>
          <cx:pt idx="35302">5</cx:pt>
          <cx:pt idx="35303">2</cx:pt>
          <cx:pt idx="35304">3</cx:pt>
          <cx:pt idx="35305">3</cx:pt>
          <cx:pt idx="35306">4</cx:pt>
          <cx:pt idx="35307">1</cx:pt>
          <cx:pt idx="35308">1</cx:pt>
          <cx:pt idx="35309">1</cx:pt>
          <cx:pt idx="35310">5</cx:pt>
          <cx:pt idx="35311">3</cx:pt>
          <cx:pt idx="35312">3</cx:pt>
          <cx:pt idx="35313">4</cx:pt>
          <cx:pt idx="35314">4</cx:pt>
          <cx:pt idx="35315">2</cx:pt>
          <cx:pt idx="35316">2</cx:pt>
          <cx:pt idx="35317">5</cx:pt>
          <cx:pt idx="35318">3</cx:pt>
          <cx:pt idx="35319">2</cx:pt>
          <cx:pt idx="35320">3</cx:pt>
          <cx:pt idx="35321">1</cx:pt>
          <cx:pt idx="35322">2</cx:pt>
          <cx:pt idx="35323">1</cx:pt>
          <cx:pt idx="35324">3</cx:pt>
          <cx:pt idx="35325">1</cx:pt>
          <cx:pt idx="35326">2</cx:pt>
          <cx:pt idx="35327">2</cx:pt>
          <cx:pt idx="35328">5</cx:pt>
          <cx:pt idx="35329">1</cx:pt>
          <cx:pt idx="35330">0</cx:pt>
          <cx:pt idx="35331">4</cx:pt>
          <cx:pt idx="35332">1</cx:pt>
          <cx:pt idx="35333">1</cx:pt>
          <cx:pt idx="35334">1</cx:pt>
          <cx:pt idx="35335">1</cx:pt>
          <cx:pt idx="35336">4</cx:pt>
          <cx:pt idx="35337">4</cx:pt>
          <cx:pt idx="35338">4</cx:pt>
          <cx:pt idx="35339">3</cx:pt>
          <cx:pt idx="35340">1</cx:pt>
          <cx:pt idx="35341">1</cx:pt>
          <cx:pt idx="35342">5</cx:pt>
          <cx:pt idx="35343">0</cx:pt>
          <cx:pt idx="35344">3</cx:pt>
          <cx:pt idx="35345">5</cx:pt>
          <cx:pt idx="35346">4</cx:pt>
          <cx:pt idx="35347">4</cx:pt>
          <cx:pt idx="35348">3</cx:pt>
          <cx:pt idx="35349">3</cx:pt>
          <cx:pt idx="35350">2</cx:pt>
          <cx:pt idx="35351">2</cx:pt>
          <cx:pt idx="35352">1</cx:pt>
          <cx:pt idx="35353">5</cx:pt>
          <cx:pt idx="35354">3</cx:pt>
          <cx:pt idx="35355">0</cx:pt>
          <cx:pt idx="35356">5</cx:pt>
          <cx:pt idx="35357">2</cx:pt>
          <cx:pt idx="35358">1</cx:pt>
          <cx:pt idx="35359">1</cx:pt>
          <cx:pt idx="35360">1</cx:pt>
          <cx:pt idx="35361">3</cx:pt>
          <cx:pt idx="35362">4</cx:pt>
          <cx:pt idx="35363">3</cx:pt>
          <cx:pt idx="35364">5</cx:pt>
          <cx:pt idx="35365">4</cx:pt>
          <cx:pt idx="35366">0</cx:pt>
          <cx:pt idx="35367">3</cx:pt>
          <cx:pt idx="35368">0</cx:pt>
          <cx:pt idx="35369">4</cx:pt>
          <cx:pt idx="35370">2</cx:pt>
          <cx:pt idx="35371">1</cx:pt>
          <cx:pt idx="35372">2</cx:pt>
          <cx:pt idx="35373">2</cx:pt>
          <cx:pt idx="35374">1</cx:pt>
          <cx:pt idx="35375">4</cx:pt>
          <cx:pt idx="35376">4</cx:pt>
          <cx:pt idx="35377">4</cx:pt>
          <cx:pt idx="35378">5</cx:pt>
          <cx:pt idx="35379">2</cx:pt>
          <cx:pt idx="35380">2</cx:pt>
          <cx:pt idx="35381">3</cx:pt>
          <cx:pt idx="35382">5</cx:pt>
          <cx:pt idx="35383">0</cx:pt>
          <cx:pt idx="35384">2</cx:pt>
          <cx:pt idx="35385">2</cx:pt>
          <cx:pt idx="35386">4</cx:pt>
          <cx:pt idx="35387">1</cx:pt>
          <cx:pt idx="35388">4</cx:pt>
          <cx:pt idx="35389">5</cx:pt>
          <cx:pt idx="35390">5</cx:pt>
          <cx:pt idx="35391">4</cx:pt>
          <cx:pt idx="35392">4</cx:pt>
          <cx:pt idx="35393">5</cx:pt>
          <cx:pt idx="35394">3</cx:pt>
          <cx:pt idx="35395">2</cx:pt>
          <cx:pt idx="35396">2</cx:pt>
          <cx:pt idx="35397">1</cx:pt>
          <cx:pt idx="35398">1</cx:pt>
          <cx:pt idx="35399">5</cx:pt>
          <cx:pt idx="35400">4</cx:pt>
          <cx:pt idx="35401">3</cx:pt>
          <cx:pt idx="35402">5</cx:pt>
          <cx:pt idx="35403">2</cx:pt>
          <cx:pt idx="35404">5</cx:pt>
          <cx:pt idx="35405">4</cx:pt>
          <cx:pt idx="35406">1</cx:pt>
          <cx:pt idx="35407">1</cx:pt>
          <cx:pt idx="35408">4</cx:pt>
          <cx:pt idx="35409">4</cx:pt>
          <cx:pt idx="35410">3</cx:pt>
          <cx:pt idx="35411">4</cx:pt>
          <cx:pt idx="35412">4</cx:pt>
          <cx:pt idx="35413">4</cx:pt>
          <cx:pt idx="35414">1</cx:pt>
          <cx:pt idx="35415">5</cx:pt>
          <cx:pt idx="35416">2</cx:pt>
          <cx:pt idx="35417">4</cx:pt>
          <cx:pt idx="35418">1</cx:pt>
          <cx:pt idx="35419">1</cx:pt>
          <cx:pt idx="35420">1</cx:pt>
          <cx:pt idx="35421">0</cx:pt>
          <cx:pt idx="35422">2</cx:pt>
          <cx:pt idx="35423">5</cx:pt>
          <cx:pt idx="35424">1</cx:pt>
          <cx:pt idx="35425">2</cx:pt>
          <cx:pt idx="35426">1</cx:pt>
          <cx:pt idx="35427">5</cx:pt>
          <cx:pt idx="35428">5</cx:pt>
          <cx:pt idx="35429">3</cx:pt>
          <cx:pt idx="35430">4</cx:pt>
          <cx:pt idx="35431">0</cx:pt>
          <cx:pt idx="35432">2</cx:pt>
          <cx:pt idx="35433">1</cx:pt>
          <cx:pt idx="35434">2</cx:pt>
          <cx:pt idx="35435">3</cx:pt>
          <cx:pt idx="35436">2</cx:pt>
          <cx:pt idx="35437">0</cx:pt>
          <cx:pt idx="35438">4</cx:pt>
          <cx:pt idx="35439">3</cx:pt>
          <cx:pt idx="35440">3</cx:pt>
          <cx:pt idx="35441">2</cx:pt>
          <cx:pt idx="35442">3</cx:pt>
          <cx:pt idx="35443">5</cx:pt>
          <cx:pt idx="35444">2</cx:pt>
          <cx:pt idx="35445">4</cx:pt>
          <cx:pt idx="35446">3</cx:pt>
          <cx:pt idx="35447">4</cx:pt>
          <cx:pt idx="35448">3</cx:pt>
          <cx:pt idx="35449">3</cx:pt>
          <cx:pt idx="35450">3</cx:pt>
          <cx:pt idx="35451">2</cx:pt>
          <cx:pt idx="35452">3</cx:pt>
          <cx:pt idx="35453">1</cx:pt>
          <cx:pt idx="35454">5</cx:pt>
          <cx:pt idx="35455">2</cx:pt>
          <cx:pt idx="35456">3</cx:pt>
          <cx:pt idx="35457">5</cx:pt>
          <cx:pt idx="35458">4</cx:pt>
          <cx:pt idx="35459">3</cx:pt>
          <cx:pt idx="35460">2</cx:pt>
          <cx:pt idx="35461">1</cx:pt>
          <cx:pt idx="35462">1</cx:pt>
          <cx:pt idx="35463">2</cx:pt>
          <cx:pt idx="35464">3</cx:pt>
          <cx:pt idx="35465">1</cx:pt>
          <cx:pt idx="35466">3</cx:pt>
          <cx:pt idx="35467">3</cx:pt>
          <cx:pt idx="35468">5</cx:pt>
          <cx:pt idx="35469">5</cx:pt>
          <cx:pt idx="35470">1</cx:pt>
          <cx:pt idx="35471">2</cx:pt>
          <cx:pt idx="35472">1</cx:pt>
          <cx:pt idx="35473">2</cx:pt>
          <cx:pt idx="35474">2</cx:pt>
          <cx:pt idx="35475">2</cx:pt>
          <cx:pt idx="35476">2</cx:pt>
          <cx:pt idx="35477">2</cx:pt>
          <cx:pt idx="35478">3</cx:pt>
          <cx:pt idx="35479">4</cx:pt>
          <cx:pt idx="35480">1</cx:pt>
          <cx:pt idx="35481">3</cx:pt>
          <cx:pt idx="35482">3</cx:pt>
          <cx:pt idx="35483">4</cx:pt>
          <cx:pt idx="35484">5</cx:pt>
          <cx:pt idx="35485">4</cx:pt>
          <cx:pt idx="35486">5</cx:pt>
          <cx:pt idx="35487">4</cx:pt>
          <cx:pt idx="35488">4</cx:pt>
          <cx:pt idx="35489">1</cx:pt>
          <cx:pt idx="35490">3</cx:pt>
          <cx:pt idx="35491">5</cx:pt>
          <cx:pt idx="35492">4</cx:pt>
          <cx:pt idx="35493">4</cx:pt>
          <cx:pt idx="35494">0</cx:pt>
          <cx:pt idx="35495">5</cx:pt>
          <cx:pt idx="35496">2</cx:pt>
          <cx:pt idx="35497">4</cx:pt>
          <cx:pt idx="35498">3</cx:pt>
          <cx:pt idx="35499">4</cx:pt>
          <cx:pt idx="35500">4</cx:pt>
          <cx:pt idx="35501">4</cx:pt>
          <cx:pt idx="35502">0</cx:pt>
          <cx:pt idx="35503">1</cx:pt>
          <cx:pt idx="35504">0</cx:pt>
          <cx:pt idx="35505">1</cx:pt>
          <cx:pt idx="35506">3</cx:pt>
          <cx:pt idx="35507">3</cx:pt>
          <cx:pt idx="35508">4</cx:pt>
          <cx:pt idx="35509">2</cx:pt>
          <cx:pt idx="35510">2</cx:pt>
          <cx:pt idx="35511">5</cx:pt>
          <cx:pt idx="35512">3</cx:pt>
          <cx:pt idx="35513">1</cx:pt>
          <cx:pt idx="35514">3</cx:pt>
          <cx:pt idx="35515">3</cx:pt>
          <cx:pt idx="35516">4</cx:pt>
          <cx:pt idx="35517">3</cx:pt>
          <cx:pt idx="35518">2</cx:pt>
          <cx:pt idx="35519">2</cx:pt>
          <cx:pt idx="35520">1</cx:pt>
          <cx:pt idx="35521">3</cx:pt>
          <cx:pt idx="35522">3</cx:pt>
          <cx:pt idx="35523">4</cx:pt>
          <cx:pt idx="35524">4</cx:pt>
          <cx:pt idx="35525">2</cx:pt>
          <cx:pt idx="35526">4</cx:pt>
          <cx:pt idx="35527">2</cx:pt>
          <cx:pt idx="35528">1</cx:pt>
          <cx:pt idx="35529">5</cx:pt>
          <cx:pt idx="35530">1</cx:pt>
          <cx:pt idx="35531">4</cx:pt>
          <cx:pt idx="35532">4</cx:pt>
          <cx:pt idx="35533">4</cx:pt>
          <cx:pt idx="35534">3</cx:pt>
          <cx:pt idx="35535">4</cx:pt>
          <cx:pt idx="35536">3</cx:pt>
          <cx:pt idx="35537">2</cx:pt>
          <cx:pt idx="35538">4</cx:pt>
          <cx:pt idx="35539">1</cx:pt>
          <cx:pt idx="35540">1</cx:pt>
          <cx:pt idx="35541">5</cx:pt>
          <cx:pt idx="35542">2</cx:pt>
          <cx:pt idx="35543">5</cx:pt>
          <cx:pt idx="35544">5</cx:pt>
          <cx:pt idx="35545">1</cx:pt>
          <cx:pt idx="35546">3</cx:pt>
          <cx:pt idx="35547">4</cx:pt>
          <cx:pt idx="35548">1</cx:pt>
          <cx:pt idx="35549">1</cx:pt>
          <cx:pt idx="35550">4</cx:pt>
          <cx:pt idx="35551">2</cx:pt>
          <cx:pt idx="35552">5</cx:pt>
          <cx:pt idx="35553">5</cx:pt>
          <cx:pt idx="35554">1</cx:pt>
          <cx:pt idx="35555">3</cx:pt>
          <cx:pt idx="35556">3</cx:pt>
          <cx:pt idx="35557">3</cx:pt>
          <cx:pt idx="35558">4</cx:pt>
          <cx:pt idx="35559">2</cx:pt>
          <cx:pt idx="35560">5</cx:pt>
          <cx:pt idx="35561">3</cx:pt>
          <cx:pt idx="35562">4</cx:pt>
          <cx:pt idx="35563">4</cx:pt>
          <cx:pt idx="35564">3</cx:pt>
          <cx:pt idx="35565">4</cx:pt>
          <cx:pt idx="35566">3</cx:pt>
          <cx:pt idx="35567">5</cx:pt>
          <cx:pt idx="35568">3</cx:pt>
          <cx:pt idx="35569">2</cx:pt>
          <cx:pt idx="35570">4</cx:pt>
          <cx:pt idx="35571">4</cx:pt>
          <cx:pt idx="35572">2</cx:pt>
          <cx:pt idx="35573">3</cx:pt>
          <cx:pt idx="35574">2</cx:pt>
          <cx:pt idx="35575">4</cx:pt>
          <cx:pt idx="35576">2</cx:pt>
          <cx:pt idx="35577">0</cx:pt>
          <cx:pt idx="35578">2</cx:pt>
          <cx:pt idx="35579">1</cx:pt>
          <cx:pt idx="35580">2</cx:pt>
          <cx:pt idx="35581">5</cx:pt>
          <cx:pt idx="35582">3</cx:pt>
          <cx:pt idx="35583">4</cx:pt>
          <cx:pt idx="35584">5</cx:pt>
          <cx:pt idx="35585">1</cx:pt>
          <cx:pt idx="35586">2</cx:pt>
          <cx:pt idx="35587">1</cx:pt>
          <cx:pt idx="35588">2</cx:pt>
          <cx:pt idx="35589">1</cx:pt>
          <cx:pt idx="35590">4</cx:pt>
          <cx:pt idx="35591">3</cx:pt>
          <cx:pt idx="35592">2</cx:pt>
          <cx:pt idx="35593">2</cx:pt>
          <cx:pt idx="35594">3</cx:pt>
          <cx:pt idx="35595">4</cx:pt>
          <cx:pt idx="35596">4</cx:pt>
          <cx:pt idx="35597">3</cx:pt>
          <cx:pt idx="35598">4</cx:pt>
          <cx:pt idx="35599">2</cx:pt>
          <cx:pt idx="35600">4</cx:pt>
          <cx:pt idx="35601">1</cx:pt>
          <cx:pt idx="35602">3</cx:pt>
          <cx:pt idx="35603">4</cx:pt>
          <cx:pt idx="35604">5</cx:pt>
          <cx:pt idx="35605">2</cx:pt>
          <cx:pt idx="35606">4</cx:pt>
          <cx:pt idx="35607">4</cx:pt>
          <cx:pt idx="35608">2</cx:pt>
          <cx:pt idx="35609">1</cx:pt>
          <cx:pt idx="35610">4</cx:pt>
          <cx:pt idx="35611">1</cx:pt>
          <cx:pt idx="35612">3</cx:pt>
          <cx:pt idx="35613">1</cx:pt>
          <cx:pt idx="35614">1</cx:pt>
          <cx:pt idx="35615">2</cx:pt>
          <cx:pt idx="35616">1</cx:pt>
          <cx:pt idx="35617">4</cx:pt>
          <cx:pt idx="35618">4</cx:pt>
          <cx:pt idx="35619">3</cx:pt>
          <cx:pt idx="35620">1</cx:pt>
          <cx:pt idx="35621">5</cx:pt>
          <cx:pt idx="35622">2</cx:pt>
          <cx:pt idx="35623">2</cx:pt>
          <cx:pt idx="35624">0</cx:pt>
          <cx:pt idx="35625">5</cx:pt>
          <cx:pt idx="35626">4</cx:pt>
          <cx:pt idx="35627">3</cx:pt>
          <cx:pt idx="35628">3</cx:pt>
          <cx:pt idx="35629">2</cx:pt>
          <cx:pt idx="35630">3</cx:pt>
          <cx:pt idx="35631">5</cx:pt>
          <cx:pt idx="35632">4</cx:pt>
          <cx:pt idx="35633">4</cx:pt>
          <cx:pt idx="35634">5</cx:pt>
          <cx:pt idx="35635">2</cx:pt>
          <cx:pt idx="35636">2</cx:pt>
          <cx:pt idx="35637">5</cx:pt>
          <cx:pt idx="35638">2</cx:pt>
          <cx:pt idx="35639">1</cx:pt>
          <cx:pt idx="35640">4</cx:pt>
          <cx:pt idx="35641">5</cx:pt>
          <cx:pt idx="35642">2</cx:pt>
          <cx:pt idx="35643">1</cx:pt>
          <cx:pt idx="35644">4</cx:pt>
          <cx:pt idx="35645">5</cx:pt>
          <cx:pt idx="35646">3</cx:pt>
          <cx:pt idx="35647">3</cx:pt>
          <cx:pt idx="35648">5</cx:pt>
          <cx:pt idx="35649">2</cx:pt>
          <cx:pt idx="35650">5</cx:pt>
          <cx:pt idx="35651">1</cx:pt>
          <cx:pt idx="35652">5</cx:pt>
          <cx:pt idx="35653">0</cx:pt>
          <cx:pt idx="35654">5</cx:pt>
          <cx:pt idx="35655">0</cx:pt>
          <cx:pt idx="35656">1</cx:pt>
          <cx:pt idx="35657">1</cx:pt>
          <cx:pt idx="35658">4</cx:pt>
          <cx:pt idx="35659">3</cx:pt>
          <cx:pt idx="35660">3</cx:pt>
          <cx:pt idx="35661">3</cx:pt>
          <cx:pt idx="35662">1</cx:pt>
          <cx:pt idx="35663">2</cx:pt>
          <cx:pt idx="35664">1</cx:pt>
          <cx:pt idx="35665">2</cx:pt>
          <cx:pt idx="35666">5</cx:pt>
          <cx:pt idx="35667">5</cx:pt>
          <cx:pt idx="35668">1</cx:pt>
          <cx:pt idx="35669">0</cx:pt>
          <cx:pt idx="35670">5</cx:pt>
          <cx:pt idx="35671">4</cx:pt>
          <cx:pt idx="35672">0</cx:pt>
          <cx:pt idx="35673">3</cx:pt>
          <cx:pt idx="35674">4</cx:pt>
          <cx:pt idx="35675">3</cx:pt>
          <cx:pt idx="35676">2</cx:pt>
          <cx:pt idx="35677">3</cx:pt>
          <cx:pt idx="35678">1</cx:pt>
          <cx:pt idx="35679">3</cx:pt>
          <cx:pt idx="35680">4</cx:pt>
          <cx:pt idx="35681">4</cx:pt>
          <cx:pt idx="35682">1</cx:pt>
          <cx:pt idx="35683">0</cx:pt>
          <cx:pt idx="35684">3</cx:pt>
          <cx:pt idx="35685">2</cx:pt>
          <cx:pt idx="35686">2</cx:pt>
          <cx:pt idx="35687">2</cx:pt>
          <cx:pt idx="35688">5</cx:pt>
          <cx:pt idx="35689">3</cx:pt>
          <cx:pt idx="35690">1</cx:pt>
          <cx:pt idx="35691">3</cx:pt>
          <cx:pt idx="35692">1</cx:pt>
          <cx:pt idx="35693">0</cx:pt>
          <cx:pt idx="35694">5</cx:pt>
          <cx:pt idx="35695">5</cx:pt>
          <cx:pt idx="35696">3</cx:pt>
          <cx:pt idx="35697">3</cx:pt>
          <cx:pt idx="35698">0</cx:pt>
          <cx:pt idx="35699">5</cx:pt>
          <cx:pt idx="35700">3</cx:pt>
          <cx:pt idx="35701">3</cx:pt>
          <cx:pt idx="35702">4</cx:pt>
          <cx:pt idx="35703">1</cx:pt>
          <cx:pt idx="35704">4</cx:pt>
          <cx:pt idx="35705">5</cx:pt>
          <cx:pt idx="35706">3</cx:pt>
          <cx:pt idx="35707">3</cx:pt>
          <cx:pt idx="35708">5</cx:pt>
          <cx:pt idx="35709">4</cx:pt>
          <cx:pt idx="35710">2</cx:pt>
          <cx:pt idx="35711">4</cx:pt>
          <cx:pt idx="35712">0</cx:pt>
          <cx:pt idx="35713">4</cx:pt>
          <cx:pt idx="35714">0</cx:pt>
          <cx:pt idx="35715">2</cx:pt>
          <cx:pt idx="35716">3</cx:pt>
          <cx:pt idx="35717">5</cx:pt>
          <cx:pt idx="35718">3</cx:pt>
          <cx:pt idx="35719">1</cx:pt>
          <cx:pt idx="35720">3</cx:pt>
          <cx:pt idx="35721">3</cx:pt>
          <cx:pt idx="35722">5</cx:pt>
          <cx:pt idx="35723">3</cx:pt>
          <cx:pt idx="35724">5</cx:pt>
          <cx:pt idx="35725">3</cx:pt>
          <cx:pt idx="35726">3</cx:pt>
          <cx:pt idx="35727">4</cx:pt>
          <cx:pt idx="35728">4</cx:pt>
          <cx:pt idx="35729">5</cx:pt>
          <cx:pt idx="35730">1</cx:pt>
          <cx:pt idx="35731">2</cx:pt>
          <cx:pt idx="35732">2</cx:pt>
          <cx:pt idx="35733">3</cx:pt>
          <cx:pt idx="35734">5</cx:pt>
          <cx:pt idx="35735">3</cx:pt>
          <cx:pt idx="35736">2</cx:pt>
          <cx:pt idx="35737">2</cx:pt>
          <cx:pt idx="35738">3</cx:pt>
          <cx:pt idx="35739">1</cx:pt>
          <cx:pt idx="35740">5</cx:pt>
          <cx:pt idx="35741">3</cx:pt>
          <cx:pt idx="35742">1</cx:pt>
          <cx:pt idx="35743">5</cx:pt>
          <cx:pt idx="35744">2</cx:pt>
          <cx:pt idx="35745">3</cx:pt>
          <cx:pt idx="35746">5</cx:pt>
          <cx:pt idx="35747">1</cx:pt>
          <cx:pt idx="35748">1</cx:pt>
          <cx:pt idx="35749">2</cx:pt>
          <cx:pt idx="35750">4</cx:pt>
          <cx:pt idx="35751">4</cx:pt>
          <cx:pt idx="35752">2</cx:pt>
          <cx:pt idx="35753">3</cx:pt>
          <cx:pt idx="35754">2</cx:pt>
          <cx:pt idx="35755">3</cx:pt>
          <cx:pt idx="35756">3</cx:pt>
          <cx:pt idx="35757">2</cx:pt>
          <cx:pt idx="35758">3</cx:pt>
          <cx:pt idx="35759">3</cx:pt>
          <cx:pt idx="35760">2</cx:pt>
          <cx:pt idx="35761">2</cx:pt>
          <cx:pt idx="35762">3</cx:pt>
          <cx:pt idx="35763">2</cx:pt>
          <cx:pt idx="35764">4</cx:pt>
          <cx:pt idx="35765">3</cx:pt>
          <cx:pt idx="35766">0</cx:pt>
          <cx:pt idx="35767">3</cx:pt>
          <cx:pt idx="35768">2</cx:pt>
          <cx:pt idx="35769">2</cx:pt>
          <cx:pt idx="35770">1</cx:pt>
          <cx:pt idx="35771">1</cx:pt>
          <cx:pt idx="35772">3</cx:pt>
          <cx:pt idx="35773">1</cx:pt>
          <cx:pt idx="35774">3</cx:pt>
          <cx:pt idx="35775">3</cx:pt>
          <cx:pt idx="35776">2</cx:pt>
          <cx:pt idx="35777">2</cx:pt>
          <cx:pt idx="35778">2</cx:pt>
          <cx:pt idx="35779">4</cx:pt>
          <cx:pt idx="35780">3</cx:pt>
          <cx:pt idx="35781">4</cx:pt>
          <cx:pt idx="35782">1</cx:pt>
          <cx:pt idx="35783">3</cx:pt>
          <cx:pt idx="35784">1</cx:pt>
          <cx:pt idx="35785">3</cx:pt>
          <cx:pt idx="35786">3</cx:pt>
          <cx:pt idx="35787">3</cx:pt>
          <cx:pt idx="35788">3</cx:pt>
          <cx:pt idx="35789">4</cx:pt>
          <cx:pt idx="35790">3</cx:pt>
          <cx:pt idx="35791">5</cx:pt>
          <cx:pt idx="35792">5</cx:pt>
          <cx:pt idx="35793">4</cx:pt>
          <cx:pt idx="35794">2</cx:pt>
          <cx:pt idx="35795">1</cx:pt>
          <cx:pt idx="35796">2</cx:pt>
          <cx:pt idx="35797">5</cx:pt>
          <cx:pt idx="35798">5</cx:pt>
          <cx:pt idx="35799">1</cx:pt>
          <cx:pt idx="35800">2</cx:pt>
          <cx:pt idx="35801">3</cx:pt>
          <cx:pt idx="35802">2</cx:pt>
          <cx:pt idx="35803">3</cx:pt>
          <cx:pt idx="35804">1</cx:pt>
          <cx:pt idx="35805">3</cx:pt>
          <cx:pt idx="35806">4</cx:pt>
          <cx:pt idx="35807">2</cx:pt>
          <cx:pt idx="35808">1</cx:pt>
          <cx:pt idx="35809">3</cx:pt>
          <cx:pt idx="35810">5</cx:pt>
          <cx:pt idx="35811">5</cx:pt>
          <cx:pt idx="35812">3</cx:pt>
          <cx:pt idx="35813">2</cx:pt>
          <cx:pt idx="35814">4</cx:pt>
          <cx:pt idx="35815">4</cx:pt>
          <cx:pt idx="35816">1</cx:pt>
          <cx:pt idx="35817">4</cx:pt>
          <cx:pt idx="35818">3</cx:pt>
          <cx:pt idx="35819">4</cx:pt>
          <cx:pt idx="35820">5</cx:pt>
          <cx:pt idx="35821">5</cx:pt>
          <cx:pt idx="35822">1</cx:pt>
          <cx:pt idx="35823">3</cx:pt>
          <cx:pt idx="35824">5</cx:pt>
          <cx:pt idx="35825">4</cx:pt>
          <cx:pt idx="35826">5</cx:pt>
          <cx:pt idx="35827">5</cx:pt>
          <cx:pt idx="35828">1</cx:pt>
          <cx:pt idx="35829">2</cx:pt>
          <cx:pt idx="35830">1</cx:pt>
          <cx:pt idx="35831">2</cx:pt>
          <cx:pt idx="35832">5</cx:pt>
          <cx:pt idx="35833">5</cx:pt>
          <cx:pt idx="35834">3</cx:pt>
          <cx:pt idx="35835">1</cx:pt>
          <cx:pt idx="35836">1</cx:pt>
          <cx:pt idx="35837">2</cx:pt>
          <cx:pt idx="35838">4</cx:pt>
          <cx:pt idx="35839">2</cx:pt>
          <cx:pt idx="35840">3</cx:pt>
          <cx:pt idx="35841">2</cx:pt>
          <cx:pt idx="35842">4</cx:pt>
          <cx:pt idx="35843">1</cx:pt>
          <cx:pt idx="35844">2</cx:pt>
          <cx:pt idx="35845">1</cx:pt>
          <cx:pt idx="35846">2</cx:pt>
          <cx:pt idx="35847">4</cx:pt>
          <cx:pt idx="35848">4</cx:pt>
          <cx:pt idx="35849">3</cx:pt>
          <cx:pt idx="35850">2</cx:pt>
          <cx:pt idx="35851">4</cx:pt>
          <cx:pt idx="35852">3</cx:pt>
          <cx:pt idx="35853">1</cx:pt>
          <cx:pt idx="35854">2</cx:pt>
          <cx:pt idx="35855">1</cx:pt>
          <cx:pt idx="35856">0</cx:pt>
          <cx:pt idx="35857">1</cx:pt>
          <cx:pt idx="35858">3</cx:pt>
          <cx:pt idx="35859">5</cx:pt>
          <cx:pt idx="35860">5</cx:pt>
          <cx:pt idx="35861">5</cx:pt>
          <cx:pt idx="35862">3</cx:pt>
          <cx:pt idx="35863">5</cx:pt>
          <cx:pt idx="35864">3</cx:pt>
          <cx:pt idx="35865">5</cx:pt>
          <cx:pt idx="35866">2</cx:pt>
          <cx:pt idx="35867">5</cx:pt>
          <cx:pt idx="35868">1</cx:pt>
          <cx:pt idx="35869">3</cx:pt>
          <cx:pt idx="35870">3</cx:pt>
          <cx:pt idx="35871">2</cx:pt>
          <cx:pt idx="35872">0</cx:pt>
          <cx:pt idx="35873">3</cx:pt>
          <cx:pt idx="35874">5</cx:pt>
          <cx:pt idx="35875">2</cx:pt>
          <cx:pt idx="35876">3</cx:pt>
          <cx:pt idx="35877">2</cx:pt>
          <cx:pt idx="35878">0</cx:pt>
          <cx:pt idx="35879">4</cx:pt>
          <cx:pt idx="35880">3</cx:pt>
          <cx:pt idx="35881">1</cx:pt>
          <cx:pt idx="35882">0</cx:pt>
          <cx:pt idx="35883">4</cx:pt>
          <cx:pt idx="35884">4</cx:pt>
          <cx:pt idx="35885">5</cx:pt>
          <cx:pt idx="35886">4</cx:pt>
          <cx:pt idx="35887">2</cx:pt>
          <cx:pt idx="35888">1</cx:pt>
          <cx:pt idx="35889">4</cx:pt>
          <cx:pt idx="35890">4</cx:pt>
          <cx:pt idx="35891">1</cx:pt>
          <cx:pt idx="35892">5</cx:pt>
          <cx:pt idx="35893">5</cx:pt>
          <cx:pt idx="35894">3</cx:pt>
          <cx:pt idx="35895">4</cx:pt>
          <cx:pt idx="35896">2</cx:pt>
          <cx:pt idx="35897">3</cx:pt>
          <cx:pt idx="35898">2</cx:pt>
          <cx:pt idx="35899">2</cx:pt>
          <cx:pt idx="35900">3</cx:pt>
          <cx:pt idx="35901">4</cx:pt>
          <cx:pt idx="35902">0</cx:pt>
          <cx:pt idx="35903">1</cx:pt>
          <cx:pt idx="35904">4</cx:pt>
          <cx:pt idx="35905">2</cx:pt>
          <cx:pt idx="35906">1</cx:pt>
          <cx:pt idx="35907">1</cx:pt>
          <cx:pt idx="35908">3</cx:pt>
          <cx:pt idx="35909">3</cx:pt>
          <cx:pt idx="35910">0</cx:pt>
          <cx:pt idx="35911">2</cx:pt>
          <cx:pt idx="35912">2</cx:pt>
          <cx:pt idx="35913">4</cx:pt>
          <cx:pt idx="35914">1</cx:pt>
          <cx:pt idx="35915">5</cx:pt>
          <cx:pt idx="35916">0</cx:pt>
          <cx:pt idx="35917">1</cx:pt>
          <cx:pt idx="35918">4</cx:pt>
          <cx:pt idx="35919">5</cx:pt>
          <cx:pt idx="35920">5</cx:pt>
          <cx:pt idx="35921">2</cx:pt>
          <cx:pt idx="35922">5</cx:pt>
          <cx:pt idx="35923">2</cx:pt>
          <cx:pt idx="35924">4</cx:pt>
          <cx:pt idx="35925">1</cx:pt>
          <cx:pt idx="35926">4</cx:pt>
          <cx:pt idx="35927">3</cx:pt>
          <cx:pt idx="35928">1</cx:pt>
          <cx:pt idx="35929">1</cx:pt>
          <cx:pt idx="35930">2</cx:pt>
          <cx:pt idx="35931">5</cx:pt>
          <cx:pt idx="35932">4</cx:pt>
          <cx:pt idx="35933">2</cx:pt>
          <cx:pt idx="35934">3</cx:pt>
          <cx:pt idx="35935">4</cx:pt>
          <cx:pt idx="35936">2</cx:pt>
          <cx:pt idx="35937">5</cx:pt>
          <cx:pt idx="35938">3</cx:pt>
          <cx:pt idx="35939">3</cx:pt>
          <cx:pt idx="35940">3</cx:pt>
          <cx:pt idx="35941">3</cx:pt>
          <cx:pt idx="35942">3</cx:pt>
          <cx:pt idx="35943">5</cx:pt>
          <cx:pt idx="35944">5</cx:pt>
          <cx:pt idx="35945">1</cx:pt>
          <cx:pt idx="35946">1</cx:pt>
          <cx:pt idx="35947">2</cx:pt>
          <cx:pt idx="35948">4</cx:pt>
          <cx:pt idx="35949">3</cx:pt>
          <cx:pt idx="35950">3</cx:pt>
          <cx:pt idx="35951">3</cx:pt>
          <cx:pt idx="35952">4</cx:pt>
          <cx:pt idx="35953">3</cx:pt>
          <cx:pt idx="35954">3</cx:pt>
          <cx:pt idx="35955">4</cx:pt>
          <cx:pt idx="35956">5</cx:pt>
          <cx:pt idx="35957">3</cx:pt>
          <cx:pt idx="35958">2</cx:pt>
          <cx:pt idx="35959">4</cx:pt>
          <cx:pt idx="35960">1</cx:pt>
          <cx:pt idx="35961">5</cx:pt>
          <cx:pt idx="35962">2</cx:pt>
          <cx:pt idx="35963">3</cx:pt>
          <cx:pt idx="35964">2</cx:pt>
          <cx:pt idx="35965">3</cx:pt>
          <cx:pt idx="35966">5</cx:pt>
          <cx:pt idx="35967">3</cx:pt>
          <cx:pt idx="35968">5</cx:pt>
          <cx:pt idx="35969">4</cx:pt>
          <cx:pt idx="35970">1</cx:pt>
          <cx:pt idx="35971">2</cx:pt>
          <cx:pt idx="35972">3</cx:pt>
          <cx:pt idx="35973">1</cx:pt>
          <cx:pt idx="35974">4</cx:pt>
          <cx:pt idx="35975">3</cx:pt>
          <cx:pt idx="35976">4</cx:pt>
          <cx:pt idx="35977">4</cx:pt>
          <cx:pt idx="35978">2</cx:pt>
          <cx:pt idx="35979">2</cx:pt>
          <cx:pt idx="35980">3</cx:pt>
          <cx:pt idx="35981">3</cx:pt>
          <cx:pt idx="35982">3</cx:pt>
          <cx:pt idx="35983">5</cx:pt>
          <cx:pt idx="35984">1</cx:pt>
          <cx:pt idx="35985">2</cx:pt>
          <cx:pt idx="35986">1</cx:pt>
          <cx:pt idx="35987">2</cx:pt>
          <cx:pt idx="35988">3</cx:pt>
          <cx:pt idx="35989">2</cx:pt>
          <cx:pt idx="35990">3</cx:pt>
          <cx:pt idx="35991">2</cx:pt>
          <cx:pt idx="35992">4</cx:pt>
          <cx:pt idx="35993">1</cx:pt>
          <cx:pt idx="35994">1</cx:pt>
          <cx:pt idx="35995">1</cx:pt>
          <cx:pt idx="35996">5</cx:pt>
          <cx:pt idx="35997">2</cx:pt>
          <cx:pt idx="35998">2</cx:pt>
          <cx:pt idx="35999">2</cx:pt>
          <cx:pt idx="36000">4</cx:pt>
          <cx:pt idx="36001">4</cx:pt>
          <cx:pt idx="36002">3</cx:pt>
          <cx:pt idx="36003">4</cx:pt>
          <cx:pt idx="36004">5</cx:pt>
          <cx:pt idx="36005">3</cx:pt>
          <cx:pt idx="36006">0</cx:pt>
          <cx:pt idx="36007">3</cx:pt>
          <cx:pt idx="36008">1</cx:pt>
          <cx:pt idx="36009">5</cx:pt>
          <cx:pt idx="36010">4</cx:pt>
          <cx:pt idx="36011">5</cx:pt>
          <cx:pt idx="36012">5</cx:pt>
          <cx:pt idx="36013">0</cx:pt>
          <cx:pt idx="36014">1</cx:pt>
          <cx:pt idx="36015">4</cx:pt>
          <cx:pt idx="36016">1</cx:pt>
          <cx:pt idx="36017">0</cx:pt>
          <cx:pt idx="36018">4</cx:pt>
          <cx:pt idx="36019">4</cx:pt>
          <cx:pt idx="36020">4</cx:pt>
          <cx:pt idx="36021">2</cx:pt>
          <cx:pt idx="36022">1</cx:pt>
          <cx:pt idx="36023">4</cx:pt>
          <cx:pt idx="36024">3</cx:pt>
          <cx:pt idx="36025">4</cx:pt>
          <cx:pt idx="36026">2</cx:pt>
          <cx:pt idx="36027">4</cx:pt>
          <cx:pt idx="36028">5</cx:pt>
          <cx:pt idx="36029">4</cx:pt>
          <cx:pt idx="36030">5</cx:pt>
          <cx:pt idx="36031">3</cx:pt>
          <cx:pt idx="36032">4</cx:pt>
          <cx:pt idx="36033">4</cx:pt>
          <cx:pt idx="36034">1</cx:pt>
          <cx:pt idx="36035">3</cx:pt>
          <cx:pt idx="36036">3</cx:pt>
          <cx:pt idx="36037">4</cx:pt>
          <cx:pt idx="36038">1</cx:pt>
          <cx:pt idx="36039">2</cx:pt>
          <cx:pt idx="36040">3</cx:pt>
          <cx:pt idx="36041">2</cx:pt>
          <cx:pt idx="36042">1</cx:pt>
          <cx:pt idx="36043">2</cx:pt>
          <cx:pt idx="36044">5</cx:pt>
          <cx:pt idx="36045">1</cx:pt>
          <cx:pt idx="36046">1</cx:pt>
          <cx:pt idx="36047">1</cx:pt>
          <cx:pt idx="36048">2</cx:pt>
          <cx:pt idx="36049">4</cx:pt>
          <cx:pt idx="36050">5</cx:pt>
          <cx:pt idx="36051">4</cx:pt>
          <cx:pt idx="36052">1</cx:pt>
          <cx:pt idx="36053">3</cx:pt>
          <cx:pt idx="36054">2</cx:pt>
          <cx:pt idx="36055">3</cx:pt>
          <cx:pt idx="36056">5</cx:pt>
          <cx:pt idx="36057">5</cx:pt>
          <cx:pt idx="36058">4</cx:pt>
          <cx:pt idx="36059">4</cx:pt>
          <cx:pt idx="36060">4</cx:pt>
          <cx:pt idx="36061">2</cx:pt>
          <cx:pt idx="36062">2</cx:pt>
          <cx:pt idx="36063">1</cx:pt>
          <cx:pt idx="36064">4</cx:pt>
          <cx:pt idx="36065">4</cx:pt>
          <cx:pt idx="36066">5</cx:pt>
          <cx:pt idx="36067">4</cx:pt>
          <cx:pt idx="36068">4</cx:pt>
          <cx:pt idx="36069">2</cx:pt>
          <cx:pt idx="36070">5</cx:pt>
          <cx:pt idx="36071">4</cx:pt>
          <cx:pt idx="36072">3</cx:pt>
          <cx:pt idx="36073">4</cx:pt>
          <cx:pt idx="36074">1</cx:pt>
          <cx:pt idx="36075">4</cx:pt>
          <cx:pt idx="36076">4</cx:pt>
          <cx:pt idx="36077">3</cx:pt>
          <cx:pt idx="36078">2</cx:pt>
          <cx:pt idx="36079">4</cx:pt>
          <cx:pt idx="36080">1</cx:pt>
          <cx:pt idx="36081">3</cx:pt>
          <cx:pt idx="36082">3</cx:pt>
          <cx:pt idx="36083">4</cx:pt>
          <cx:pt idx="36084">2</cx:pt>
          <cx:pt idx="36085">4</cx:pt>
          <cx:pt idx="36086">5</cx:pt>
          <cx:pt idx="36087">2</cx:pt>
          <cx:pt idx="36088">4</cx:pt>
          <cx:pt idx="36089">2</cx:pt>
          <cx:pt idx="36090">3</cx:pt>
          <cx:pt idx="36091">1</cx:pt>
          <cx:pt idx="36092">2</cx:pt>
          <cx:pt idx="36093">1</cx:pt>
          <cx:pt idx="36094">2</cx:pt>
          <cx:pt idx="36095">3</cx:pt>
          <cx:pt idx="36096">4</cx:pt>
          <cx:pt idx="36097">3</cx:pt>
          <cx:pt idx="36098">2</cx:pt>
          <cx:pt idx="36099">5</cx:pt>
          <cx:pt idx="36100">4</cx:pt>
          <cx:pt idx="36101">3</cx:pt>
          <cx:pt idx="36102">4</cx:pt>
          <cx:pt idx="36103">4</cx:pt>
          <cx:pt idx="36104">4</cx:pt>
          <cx:pt idx="36105">5</cx:pt>
          <cx:pt idx="36106">3</cx:pt>
          <cx:pt idx="36107">3</cx:pt>
          <cx:pt idx="36108">5</cx:pt>
          <cx:pt idx="36109">4</cx:pt>
          <cx:pt idx="36110">1</cx:pt>
          <cx:pt idx="36111">5</cx:pt>
          <cx:pt idx="36112">1</cx:pt>
          <cx:pt idx="36113">3</cx:pt>
          <cx:pt idx="36114">4</cx:pt>
          <cx:pt idx="36115">5</cx:pt>
          <cx:pt idx="36116">4</cx:pt>
          <cx:pt idx="36117">2</cx:pt>
          <cx:pt idx="36118">3</cx:pt>
          <cx:pt idx="36119">1</cx:pt>
          <cx:pt idx="36120">2</cx:pt>
          <cx:pt idx="36121">4</cx:pt>
          <cx:pt idx="36122">1</cx:pt>
          <cx:pt idx="36123">3</cx:pt>
          <cx:pt idx="36124">4</cx:pt>
          <cx:pt idx="36125">4</cx:pt>
          <cx:pt idx="36126">4</cx:pt>
          <cx:pt idx="36127">2</cx:pt>
          <cx:pt idx="36128">3</cx:pt>
          <cx:pt idx="36129">1</cx:pt>
          <cx:pt idx="36130">1</cx:pt>
          <cx:pt idx="36131">1</cx:pt>
          <cx:pt idx="36132">1</cx:pt>
          <cx:pt idx="36133">3</cx:pt>
          <cx:pt idx="36134">3</cx:pt>
          <cx:pt idx="36135">4</cx:pt>
          <cx:pt idx="36136">3</cx:pt>
          <cx:pt idx="36137">2</cx:pt>
          <cx:pt idx="36138">3</cx:pt>
          <cx:pt idx="36139">4</cx:pt>
          <cx:pt idx="36140">4</cx:pt>
          <cx:pt idx="36141">2</cx:pt>
          <cx:pt idx="36142">1</cx:pt>
          <cx:pt idx="36143">5</cx:pt>
          <cx:pt idx="36144">3</cx:pt>
          <cx:pt idx="36145">1</cx:pt>
          <cx:pt idx="36146">2</cx:pt>
          <cx:pt idx="36147">4</cx:pt>
          <cx:pt idx="36148">2</cx:pt>
          <cx:pt idx="36149">1</cx:pt>
          <cx:pt idx="36150">2</cx:pt>
          <cx:pt idx="36151">2</cx:pt>
          <cx:pt idx="36152">4</cx:pt>
          <cx:pt idx="36153">4</cx:pt>
          <cx:pt idx="36154">3</cx:pt>
          <cx:pt idx="36155">5</cx:pt>
          <cx:pt idx="36156">5</cx:pt>
          <cx:pt idx="36157">4</cx:pt>
          <cx:pt idx="36158">4</cx:pt>
          <cx:pt idx="36159">3</cx:pt>
          <cx:pt idx="36160">2</cx:pt>
          <cx:pt idx="36161">2</cx:pt>
          <cx:pt idx="36162">4</cx:pt>
          <cx:pt idx="36163">1</cx:pt>
          <cx:pt idx="36164">1</cx:pt>
          <cx:pt idx="36165">2</cx:pt>
          <cx:pt idx="36166">0</cx:pt>
          <cx:pt idx="36167">3</cx:pt>
          <cx:pt idx="36168">3</cx:pt>
          <cx:pt idx="36169">1</cx:pt>
          <cx:pt idx="36170">1</cx:pt>
          <cx:pt idx="36171">4</cx:pt>
          <cx:pt idx="36172">4</cx:pt>
          <cx:pt idx="36173">5</cx:pt>
          <cx:pt idx="36174">3</cx:pt>
          <cx:pt idx="36175">2</cx:pt>
          <cx:pt idx="36176">2</cx:pt>
          <cx:pt idx="36177">3</cx:pt>
          <cx:pt idx="36178">3</cx:pt>
          <cx:pt idx="36179">3</cx:pt>
          <cx:pt idx="36180">5</cx:pt>
          <cx:pt idx="36181">3</cx:pt>
          <cx:pt idx="36182">4</cx:pt>
          <cx:pt idx="36183">1</cx:pt>
          <cx:pt idx="36184">2</cx:pt>
          <cx:pt idx="36185">4</cx:pt>
          <cx:pt idx="36186">2</cx:pt>
          <cx:pt idx="36187">3</cx:pt>
          <cx:pt idx="36188">2</cx:pt>
          <cx:pt idx="36189">5</cx:pt>
          <cx:pt idx="36190">1</cx:pt>
          <cx:pt idx="36191">3</cx:pt>
          <cx:pt idx="36192">5</cx:pt>
          <cx:pt idx="36193">1</cx:pt>
          <cx:pt idx="36194">3</cx:pt>
          <cx:pt idx="36195">4</cx:pt>
          <cx:pt idx="36196">1</cx:pt>
          <cx:pt idx="36197">3</cx:pt>
          <cx:pt idx="36198">1</cx:pt>
          <cx:pt idx="36199">1</cx:pt>
          <cx:pt idx="36200">5</cx:pt>
          <cx:pt idx="36201">0</cx:pt>
          <cx:pt idx="36202">3</cx:pt>
          <cx:pt idx="36203">4</cx:pt>
          <cx:pt idx="36204">2</cx:pt>
          <cx:pt idx="36205">5</cx:pt>
          <cx:pt idx="36206">4</cx:pt>
          <cx:pt idx="36207">1</cx:pt>
          <cx:pt idx="36208">2</cx:pt>
          <cx:pt idx="36209">2</cx:pt>
          <cx:pt idx="36210">3</cx:pt>
          <cx:pt idx="36211">1</cx:pt>
          <cx:pt idx="36212">1</cx:pt>
          <cx:pt idx="36213">0</cx:pt>
          <cx:pt idx="36214">5</cx:pt>
          <cx:pt idx="36215">1</cx:pt>
          <cx:pt idx="36216">3</cx:pt>
          <cx:pt idx="36217">4</cx:pt>
          <cx:pt idx="36218">3</cx:pt>
          <cx:pt idx="36219">3</cx:pt>
          <cx:pt idx="36220">3</cx:pt>
          <cx:pt idx="36221">1</cx:pt>
          <cx:pt idx="36222">3</cx:pt>
          <cx:pt idx="36223">3</cx:pt>
          <cx:pt idx="36224">3</cx:pt>
          <cx:pt idx="36225">5</cx:pt>
          <cx:pt idx="36226">4</cx:pt>
          <cx:pt idx="36227">4</cx:pt>
          <cx:pt idx="36228">3</cx:pt>
          <cx:pt idx="36229">5</cx:pt>
          <cx:pt idx="36230">0</cx:pt>
          <cx:pt idx="36231">3</cx:pt>
          <cx:pt idx="36232">5</cx:pt>
          <cx:pt idx="36233">2</cx:pt>
          <cx:pt idx="36234">4</cx:pt>
          <cx:pt idx="36235">1</cx:pt>
          <cx:pt idx="36236">0</cx:pt>
          <cx:pt idx="36237">1</cx:pt>
          <cx:pt idx="36238">4</cx:pt>
          <cx:pt idx="36239">1</cx:pt>
          <cx:pt idx="36240">1</cx:pt>
          <cx:pt idx="36241">3</cx:pt>
          <cx:pt idx="36242">5</cx:pt>
          <cx:pt idx="36243">1</cx:pt>
          <cx:pt idx="36244">5</cx:pt>
          <cx:pt idx="36245">3</cx:pt>
          <cx:pt idx="36246">5</cx:pt>
          <cx:pt idx="36247">3</cx:pt>
          <cx:pt idx="36248">0</cx:pt>
          <cx:pt idx="36249">1</cx:pt>
          <cx:pt idx="36250">2</cx:pt>
          <cx:pt idx="36251">4</cx:pt>
          <cx:pt idx="36252">1</cx:pt>
          <cx:pt idx="36253">3</cx:pt>
          <cx:pt idx="36254">2</cx:pt>
          <cx:pt idx="36255">2</cx:pt>
          <cx:pt idx="36256">2</cx:pt>
          <cx:pt idx="36257">4</cx:pt>
          <cx:pt idx="36258">5</cx:pt>
          <cx:pt idx="36259">4</cx:pt>
          <cx:pt idx="36260">4</cx:pt>
          <cx:pt idx="36261">3</cx:pt>
          <cx:pt idx="36262">3</cx:pt>
          <cx:pt idx="36263">1</cx:pt>
          <cx:pt idx="36264">5</cx:pt>
          <cx:pt idx="36265">5</cx:pt>
          <cx:pt idx="36266">4</cx:pt>
          <cx:pt idx="36267">2</cx:pt>
          <cx:pt idx="36268">4</cx:pt>
          <cx:pt idx="36269">1</cx:pt>
          <cx:pt idx="36270">0</cx:pt>
          <cx:pt idx="36271">1</cx:pt>
          <cx:pt idx="36272">1</cx:pt>
          <cx:pt idx="36273">1</cx:pt>
          <cx:pt idx="36274">3</cx:pt>
          <cx:pt idx="36275">2</cx:pt>
          <cx:pt idx="36276">5</cx:pt>
          <cx:pt idx="36277">5</cx:pt>
          <cx:pt idx="36278">4</cx:pt>
          <cx:pt idx="36279">1</cx:pt>
          <cx:pt idx="36280">2</cx:pt>
          <cx:pt idx="36281">4</cx:pt>
          <cx:pt idx="36282">1</cx:pt>
          <cx:pt idx="36283">4</cx:pt>
          <cx:pt idx="36284">2</cx:pt>
          <cx:pt idx="36285">1</cx:pt>
          <cx:pt idx="36286">4</cx:pt>
          <cx:pt idx="36287">1</cx:pt>
          <cx:pt idx="36288">1</cx:pt>
          <cx:pt idx="36289">2</cx:pt>
          <cx:pt idx="36290">2</cx:pt>
          <cx:pt idx="36291">4</cx:pt>
          <cx:pt idx="36292">5</cx:pt>
          <cx:pt idx="36293">1</cx:pt>
          <cx:pt idx="36294">3</cx:pt>
          <cx:pt idx="36295">3</cx:pt>
          <cx:pt idx="36296">5</cx:pt>
          <cx:pt idx="36297">3</cx:pt>
          <cx:pt idx="36298">3</cx:pt>
          <cx:pt idx="36299">5</cx:pt>
          <cx:pt idx="36300">0</cx:pt>
          <cx:pt idx="36301">5</cx:pt>
          <cx:pt idx="36302">4</cx:pt>
          <cx:pt idx="36303">3</cx:pt>
          <cx:pt idx="36304">4</cx:pt>
          <cx:pt idx="36305">2</cx:pt>
          <cx:pt idx="36306">1</cx:pt>
          <cx:pt idx="36307">2</cx:pt>
          <cx:pt idx="36308">3</cx:pt>
          <cx:pt idx="36309">4</cx:pt>
          <cx:pt idx="36310">3</cx:pt>
          <cx:pt idx="36311">3</cx:pt>
          <cx:pt idx="36312">1</cx:pt>
          <cx:pt idx="36313">2</cx:pt>
          <cx:pt idx="36314">5</cx:pt>
          <cx:pt idx="36315">5</cx:pt>
          <cx:pt idx="36316">2</cx:pt>
          <cx:pt idx="36317">0</cx:pt>
          <cx:pt idx="36318">4</cx:pt>
          <cx:pt idx="36319">4</cx:pt>
          <cx:pt idx="36320">3</cx:pt>
          <cx:pt idx="36321">3</cx:pt>
          <cx:pt idx="36322">4</cx:pt>
          <cx:pt idx="36323">3</cx:pt>
          <cx:pt idx="36324">4</cx:pt>
          <cx:pt idx="36325">5</cx:pt>
          <cx:pt idx="36326">2</cx:pt>
          <cx:pt idx="36327">3</cx:pt>
          <cx:pt idx="36328">3</cx:pt>
          <cx:pt idx="36329">5</cx:pt>
          <cx:pt idx="36330">5</cx:pt>
          <cx:pt idx="36331">0</cx:pt>
          <cx:pt idx="36332">0</cx:pt>
          <cx:pt idx="36333">5</cx:pt>
          <cx:pt idx="36334">2</cx:pt>
          <cx:pt idx="36335">2</cx:pt>
          <cx:pt idx="36336">4</cx:pt>
          <cx:pt idx="36337">3</cx:pt>
          <cx:pt idx="36338">3</cx:pt>
          <cx:pt idx="36339">1</cx:pt>
          <cx:pt idx="36340">2</cx:pt>
          <cx:pt idx="36341">5</cx:pt>
          <cx:pt idx="36342">5</cx:pt>
          <cx:pt idx="36343">4</cx:pt>
          <cx:pt idx="36344">3</cx:pt>
          <cx:pt idx="36345">2</cx:pt>
          <cx:pt idx="36346">4</cx:pt>
          <cx:pt idx="36347">2</cx:pt>
          <cx:pt idx="36348">2</cx:pt>
          <cx:pt idx="36349">3</cx:pt>
          <cx:pt idx="36350">2</cx:pt>
          <cx:pt idx="36351">3</cx:pt>
          <cx:pt idx="36352">5</cx:pt>
          <cx:pt idx="36353">2</cx:pt>
          <cx:pt idx="36354">5</cx:pt>
          <cx:pt idx="36355">0</cx:pt>
          <cx:pt idx="36356">5</cx:pt>
          <cx:pt idx="36357">4</cx:pt>
          <cx:pt idx="36358">2</cx:pt>
          <cx:pt idx="36359">3</cx:pt>
          <cx:pt idx="36360">4</cx:pt>
          <cx:pt idx="36361">3</cx:pt>
          <cx:pt idx="36362">2</cx:pt>
          <cx:pt idx="36363">3</cx:pt>
          <cx:pt idx="36364">1</cx:pt>
          <cx:pt idx="36365">2</cx:pt>
          <cx:pt idx="36366">3</cx:pt>
          <cx:pt idx="36367">4</cx:pt>
          <cx:pt idx="36368">5</cx:pt>
          <cx:pt idx="36369">2</cx:pt>
          <cx:pt idx="36370">4</cx:pt>
          <cx:pt idx="36371">1</cx:pt>
          <cx:pt idx="36372">5</cx:pt>
          <cx:pt idx="36373">4</cx:pt>
          <cx:pt idx="36374">4</cx:pt>
          <cx:pt idx="36375">4</cx:pt>
          <cx:pt idx="36376">5</cx:pt>
          <cx:pt idx="36377">4</cx:pt>
          <cx:pt idx="36378">2</cx:pt>
          <cx:pt idx="36379">3</cx:pt>
          <cx:pt idx="36380">2</cx:pt>
          <cx:pt idx="36381">3</cx:pt>
          <cx:pt idx="36382">0</cx:pt>
          <cx:pt idx="36383">2</cx:pt>
          <cx:pt idx="36384">4</cx:pt>
          <cx:pt idx="36385">2</cx:pt>
          <cx:pt idx="36386">4</cx:pt>
          <cx:pt idx="36387">1</cx:pt>
          <cx:pt idx="36388">3</cx:pt>
          <cx:pt idx="36389">1</cx:pt>
          <cx:pt idx="36390">5</cx:pt>
          <cx:pt idx="36391">5</cx:pt>
          <cx:pt idx="36392">5</cx:pt>
          <cx:pt idx="36393">5</cx:pt>
          <cx:pt idx="36394">3</cx:pt>
          <cx:pt idx="36395">3</cx:pt>
          <cx:pt idx="36396">2</cx:pt>
          <cx:pt idx="36397">0</cx:pt>
          <cx:pt idx="36398">2</cx:pt>
          <cx:pt idx="36399">0</cx:pt>
          <cx:pt idx="36400">1</cx:pt>
          <cx:pt idx="36401">4</cx:pt>
          <cx:pt idx="36402">3</cx:pt>
          <cx:pt idx="36403">3</cx:pt>
          <cx:pt idx="36404">1</cx:pt>
          <cx:pt idx="36405">2</cx:pt>
          <cx:pt idx="36406">2</cx:pt>
          <cx:pt idx="36407">3</cx:pt>
          <cx:pt idx="36408">3</cx:pt>
          <cx:pt idx="36409">5</cx:pt>
          <cx:pt idx="36410">5</cx:pt>
          <cx:pt idx="36411">1</cx:pt>
          <cx:pt idx="36412">4</cx:pt>
          <cx:pt idx="36413">4</cx:pt>
          <cx:pt idx="36414">4</cx:pt>
          <cx:pt idx="36415">1</cx:pt>
          <cx:pt idx="36416">1</cx:pt>
          <cx:pt idx="36417">3</cx:pt>
          <cx:pt idx="36418">5</cx:pt>
          <cx:pt idx="36419">4</cx:pt>
          <cx:pt idx="36420">5</cx:pt>
          <cx:pt idx="36421">2</cx:pt>
          <cx:pt idx="36422">1</cx:pt>
          <cx:pt idx="36423">3</cx:pt>
          <cx:pt idx="36424">4</cx:pt>
          <cx:pt idx="36425">5</cx:pt>
          <cx:pt idx="36426">1</cx:pt>
          <cx:pt idx="36427">5</cx:pt>
          <cx:pt idx="36428">4</cx:pt>
          <cx:pt idx="36429">3</cx:pt>
          <cx:pt idx="36430">1</cx:pt>
          <cx:pt idx="36431">0</cx:pt>
          <cx:pt idx="36432">2</cx:pt>
          <cx:pt idx="36433">3</cx:pt>
          <cx:pt idx="36434">2</cx:pt>
          <cx:pt idx="36435">4</cx:pt>
          <cx:pt idx="36436">3</cx:pt>
          <cx:pt idx="36437">2</cx:pt>
          <cx:pt idx="36438">4</cx:pt>
          <cx:pt idx="36439">3</cx:pt>
          <cx:pt idx="36440">4</cx:pt>
          <cx:pt idx="36441">2</cx:pt>
          <cx:pt idx="36442">3</cx:pt>
          <cx:pt idx="36443">5</cx:pt>
          <cx:pt idx="36444">2</cx:pt>
          <cx:pt idx="36445">2</cx:pt>
          <cx:pt idx="36446">3</cx:pt>
          <cx:pt idx="36447">1</cx:pt>
          <cx:pt idx="36448">1</cx:pt>
          <cx:pt idx="36449">4</cx:pt>
          <cx:pt idx="36450">2</cx:pt>
          <cx:pt idx="36451">1</cx:pt>
          <cx:pt idx="36452">3</cx:pt>
          <cx:pt idx="36453">2</cx:pt>
          <cx:pt idx="36454">5</cx:pt>
          <cx:pt idx="36455">4</cx:pt>
          <cx:pt idx="36456">2</cx:pt>
          <cx:pt idx="36457">5</cx:pt>
          <cx:pt idx="36458">4</cx:pt>
          <cx:pt idx="36459">4</cx:pt>
          <cx:pt idx="36460">2</cx:pt>
          <cx:pt idx="36461">3</cx:pt>
          <cx:pt idx="36462">4</cx:pt>
          <cx:pt idx="36463">5</cx:pt>
          <cx:pt idx="36464">1</cx:pt>
          <cx:pt idx="36465">3</cx:pt>
          <cx:pt idx="36466">5</cx:pt>
          <cx:pt idx="36467">5</cx:pt>
          <cx:pt idx="36468">3</cx:pt>
          <cx:pt idx="36469">5</cx:pt>
          <cx:pt idx="36470">3</cx:pt>
          <cx:pt idx="36471">4</cx:pt>
          <cx:pt idx="36472">3</cx:pt>
          <cx:pt idx="36473">3</cx:pt>
          <cx:pt idx="36474">2</cx:pt>
          <cx:pt idx="36475">2</cx:pt>
          <cx:pt idx="36476">2</cx:pt>
          <cx:pt idx="36477">2</cx:pt>
          <cx:pt idx="36478">2</cx:pt>
          <cx:pt idx="36479">5</cx:pt>
          <cx:pt idx="36480">2</cx:pt>
          <cx:pt idx="36481">4</cx:pt>
          <cx:pt idx="36482">4</cx:pt>
          <cx:pt idx="36483">1</cx:pt>
          <cx:pt idx="36484">2</cx:pt>
          <cx:pt idx="36485">2</cx:pt>
          <cx:pt idx="36486">1</cx:pt>
          <cx:pt idx="36487">2</cx:pt>
          <cx:pt idx="36488">4</cx:pt>
          <cx:pt idx="36489">2</cx:pt>
          <cx:pt idx="36490">4</cx:pt>
          <cx:pt idx="36491">5</cx:pt>
          <cx:pt idx="36492">4</cx:pt>
          <cx:pt idx="36493">1</cx:pt>
          <cx:pt idx="36494">2</cx:pt>
          <cx:pt idx="36495">2</cx:pt>
          <cx:pt idx="36496">4</cx:pt>
          <cx:pt idx="36497">2</cx:pt>
          <cx:pt idx="36498">3</cx:pt>
          <cx:pt idx="36499">2</cx:pt>
          <cx:pt idx="36500">2</cx:pt>
          <cx:pt idx="36501">2</cx:pt>
          <cx:pt idx="36502">1</cx:pt>
          <cx:pt idx="36503">3</cx:pt>
          <cx:pt idx="36504">4</cx:pt>
          <cx:pt idx="36505">2</cx:pt>
          <cx:pt idx="36506">1</cx:pt>
          <cx:pt idx="36507">3</cx:pt>
          <cx:pt idx="36508">3</cx:pt>
          <cx:pt idx="36509">1</cx:pt>
          <cx:pt idx="36510">3</cx:pt>
          <cx:pt idx="36511">3</cx:pt>
          <cx:pt idx="36512">5</cx:pt>
          <cx:pt idx="36513">2</cx:pt>
          <cx:pt idx="36514">3</cx:pt>
          <cx:pt idx="36515">3</cx:pt>
          <cx:pt idx="36516">1</cx:pt>
          <cx:pt idx="36517">1</cx:pt>
          <cx:pt idx="36518">4</cx:pt>
          <cx:pt idx="36519">5</cx:pt>
          <cx:pt idx="36520">3</cx:pt>
          <cx:pt idx="36521">5</cx:pt>
          <cx:pt idx="36522">5</cx:pt>
          <cx:pt idx="36523">3</cx:pt>
          <cx:pt idx="36524">2</cx:pt>
          <cx:pt idx="36525">2</cx:pt>
          <cx:pt idx="36526">1</cx:pt>
          <cx:pt idx="36527">5</cx:pt>
          <cx:pt idx="36528">1</cx:pt>
          <cx:pt idx="36529">2</cx:pt>
          <cx:pt idx="36530">3</cx:pt>
          <cx:pt idx="36531">2</cx:pt>
          <cx:pt idx="36532">1</cx:pt>
          <cx:pt idx="36533">4</cx:pt>
          <cx:pt idx="36534">5</cx:pt>
          <cx:pt idx="36535">4</cx:pt>
          <cx:pt idx="36536">3</cx:pt>
          <cx:pt idx="36537">3</cx:pt>
          <cx:pt idx="36538">3</cx:pt>
          <cx:pt idx="36539">1</cx:pt>
          <cx:pt idx="36540">3</cx:pt>
          <cx:pt idx="36541">4</cx:pt>
          <cx:pt idx="36542">4</cx:pt>
          <cx:pt idx="36543">2</cx:pt>
          <cx:pt idx="36544">3</cx:pt>
          <cx:pt idx="36545">3</cx:pt>
          <cx:pt idx="36546">2</cx:pt>
          <cx:pt idx="36547">4</cx:pt>
          <cx:pt idx="36548">3</cx:pt>
          <cx:pt idx="36549">5</cx:pt>
          <cx:pt idx="36550">3</cx:pt>
          <cx:pt idx="36551">3</cx:pt>
          <cx:pt idx="36552">4</cx:pt>
          <cx:pt idx="36553">4</cx:pt>
          <cx:pt idx="36554">1</cx:pt>
          <cx:pt idx="36555">3</cx:pt>
          <cx:pt idx="36556">1</cx:pt>
          <cx:pt idx="36557">3</cx:pt>
          <cx:pt idx="36558">2</cx:pt>
          <cx:pt idx="36559">5</cx:pt>
          <cx:pt idx="36560">4</cx:pt>
          <cx:pt idx="36561">5</cx:pt>
          <cx:pt idx="36562">4</cx:pt>
          <cx:pt idx="36563">1</cx:pt>
          <cx:pt idx="36564">3</cx:pt>
          <cx:pt idx="36565">2</cx:pt>
          <cx:pt idx="36566">2</cx:pt>
          <cx:pt idx="36567">0</cx:pt>
          <cx:pt idx="36568">4</cx:pt>
          <cx:pt idx="36569">5</cx:pt>
          <cx:pt idx="36570">2</cx:pt>
          <cx:pt idx="36571">5</cx:pt>
          <cx:pt idx="36572">3</cx:pt>
          <cx:pt idx="36573">2</cx:pt>
          <cx:pt idx="36574">2</cx:pt>
          <cx:pt idx="36575">3</cx:pt>
          <cx:pt idx="36576">3</cx:pt>
          <cx:pt idx="36577">5</cx:pt>
          <cx:pt idx="36578">3</cx:pt>
          <cx:pt idx="36579">1</cx:pt>
          <cx:pt idx="36580">3</cx:pt>
          <cx:pt idx="36581">3</cx:pt>
          <cx:pt idx="36582">5</cx:pt>
          <cx:pt idx="36583">5</cx:pt>
          <cx:pt idx="36584">1</cx:pt>
          <cx:pt idx="36585">1</cx:pt>
          <cx:pt idx="36586">1</cx:pt>
          <cx:pt idx="36587">5</cx:pt>
          <cx:pt idx="36588">1</cx:pt>
          <cx:pt idx="36589">4</cx:pt>
          <cx:pt idx="36590">3</cx:pt>
          <cx:pt idx="36591">2</cx:pt>
          <cx:pt idx="36592">2</cx:pt>
          <cx:pt idx="36593">3</cx:pt>
          <cx:pt idx="36594">2</cx:pt>
          <cx:pt idx="36595">5</cx:pt>
          <cx:pt idx="36596">0</cx:pt>
          <cx:pt idx="36597">3</cx:pt>
          <cx:pt idx="36598">1</cx:pt>
          <cx:pt idx="36599">4</cx:pt>
          <cx:pt idx="36600">2</cx:pt>
          <cx:pt idx="36601">2</cx:pt>
          <cx:pt idx="36602">5</cx:pt>
          <cx:pt idx="36603">5</cx:pt>
          <cx:pt idx="36604">3</cx:pt>
          <cx:pt idx="36605">1</cx:pt>
          <cx:pt idx="36606">3</cx:pt>
          <cx:pt idx="36607">5</cx:pt>
          <cx:pt idx="36608">0</cx:pt>
          <cx:pt idx="36609">2</cx:pt>
          <cx:pt idx="36610">2</cx:pt>
          <cx:pt idx="36611">3</cx:pt>
          <cx:pt idx="36612">4</cx:pt>
          <cx:pt idx="36613">4</cx:pt>
          <cx:pt idx="36614">5</cx:pt>
          <cx:pt idx="36615">4</cx:pt>
          <cx:pt idx="36616">2</cx:pt>
          <cx:pt idx="36617">2</cx:pt>
          <cx:pt idx="36618">2</cx:pt>
          <cx:pt idx="36619">1</cx:pt>
          <cx:pt idx="36620">5</cx:pt>
          <cx:pt idx="36621">5</cx:pt>
          <cx:pt idx="36622">3</cx:pt>
          <cx:pt idx="36623">2</cx:pt>
          <cx:pt idx="36624">1</cx:pt>
          <cx:pt idx="36625">5</cx:pt>
          <cx:pt idx="36626">3</cx:pt>
          <cx:pt idx="36627">1</cx:pt>
          <cx:pt idx="36628">2</cx:pt>
          <cx:pt idx="36629">2</cx:pt>
          <cx:pt idx="36630">2</cx:pt>
          <cx:pt idx="36631">1</cx:pt>
          <cx:pt idx="36632">5</cx:pt>
          <cx:pt idx="36633">5</cx:pt>
          <cx:pt idx="36634">3</cx:pt>
          <cx:pt idx="36635">5</cx:pt>
          <cx:pt idx="36636">1</cx:pt>
          <cx:pt idx="36637">4</cx:pt>
          <cx:pt idx="36638">4</cx:pt>
          <cx:pt idx="36639">1</cx:pt>
          <cx:pt idx="36640">2</cx:pt>
          <cx:pt idx="36641">5</cx:pt>
          <cx:pt idx="36642">5</cx:pt>
          <cx:pt idx="36643">1</cx:pt>
          <cx:pt idx="36644">3</cx:pt>
          <cx:pt idx="36645">5</cx:pt>
          <cx:pt idx="36646">3</cx:pt>
          <cx:pt idx="36647">4</cx:pt>
          <cx:pt idx="36648">4</cx:pt>
          <cx:pt idx="36649">5</cx:pt>
          <cx:pt idx="36650">2</cx:pt>
          <cx:pt idx="36651">2</cx:pt>
          <cx:pt idx="36652">4</cx:pt>
          <cx:pt idx="36653">4</cx:pt>
          <cx:pt idx="36654">0</cx:pt>
          <cx:pt idx="36655">3</cx:pt>
          <cx:pt idx="36656">4</cx:pt>
          <cx:pt idx="36657">3</cx:pt>
          <cx:pt idx="36658">2</cx:pt>
          <cx:pt idx="36659">3</cx:pt>
          <cx:pt idx="36660">2</cx:pt>
          <cx:pt idx="36661">5</cx:pt>
          <cx:pt idx="36662">3</cx:pt>
          <cx:pt idx="36663">1</cx:pt>
          <cx:pt idx="36664">3</cx:pt>
          <cx:pt idx="36665">2</cx:pt>
          <cx:pt idx="36666">5</cx:pt>
          <cx:pt idx="36667">3</cx:pt>
          <cx:pt idx="36668">2</cx:pt>
          <cx:pt idx="36669">5</cx:pt>
          <cx:pt idx="36670">3</cx:pt>
          <cx:pt idx="36671">2</cx:pt>
          <cx:pt idx="36672">1</cx:pt>
          <cx:pt idx="36673">2</cx:pt>
          <cx:pt idx="36674">4</cx:pt>
          <cx:pt idx="36675">5</cx:pt>
          <cx:pt idx="36676">2</cx:pt>
          <cx:pt idx="36677">4</cx:pt>
          <cx:pt idx="36678">4</cx:pt>
          <cx:pt idx="36679">5</cx:pt>
          <cx:pt idx="36680">5</cx:pt>
          <cx:pt idx="36681">4</cx:pt>
          <cx:pt idx="36682">4</cx:pt>
          <cx:pt idx="36683">5</cx:pt>
          <cx:pt idx="36684">2</cx:pt>
          <cx:pt idx="36685">3</cx:pt>
          <cx:pt idx="36686">5</cx:pt>
          <cx:pt idx="36687">3</cx:pt>
          <cx:pt idx="36688">3</cx:pt>
          <cx:pt idx="36689">3</cx:pt>
          <cx:pt idx="36690">3</cx:pt>
          <cx:pt idx="36691">1</cx:pt>
          <cx:pt idx="36692">2</cx:pt>
          <cx:pt idx="36693">3</cx:pt>
          <cx:pt idx="36694">3</cx:pt>
          <cx:pt idx="36695">1</cx:pt>
          <cx:pt idx="36696">5</cx:pt>
          <cx:pt idx="36697">2</cx:pt>
          <cx:pt idx="36698">5</cx:pt>
          <cx:pt idx="36699">4</cx:pt>
          <cx:pt idx="36700">4</cx:pt>
          <cx:pt idx="36701">3</cx:pt>
          <cx:pt idx="36702">2</cx:pt>
          <cx:pt idx="36703">5</cx:pt>
          <cx:pt idx="36704">1</cx:pt>
          <cx:pt idx="36705">5</cx:pt>
          <cx:pt idx="36706">4</cx:pt>
          <cx:pt idx="36707">0</cx:pt>
          <cx:pt idx="36708">1</cx:pt>
          <cx:pt idx="36709">5</cx:pt>
          <cx:pt idx="36710">2</cx:pt>
          <cx:pt idx="36711">4</cx:pt>
          <cx:pt idx="36712">2</cx:pt>
          <cx:pt idx="36713">4</cx:pt>
          <cx:pt idx="36714">2</cx:pt>
          <cx:pt idx="36715">5</cx:pt>
          <cx:pt idx="36716">4</cx:pt>
          <cx:pt idx="36717">1</cx:pt>
          <cx:pt idx="36718">1</cx:pt>
          <cx:pt idx="36719">3</cx:pt>
          <cx:pt idx="36720">4</cx:pt>
          <cx:pt idx="36721">3</cx:pt>
          <cx:pt idx="36722">4</cx:pt>
          <cx:pt idx="36723">3</cx:pt>
          <cx:pt idx="36724">2</cx:pt>
          <cx:pt idx="36725">2</cx:pt>
          <cx:pt idx="36726">3</cx:pt>
          <cx:pt idx="36727">4</cx:pt>
          <cx:pt idx="36728">1</cx:pt>
          <cx:pt idx="36729">2</cx:pt>
          <cx:pt idx="36730">2</cx:pt>
          <cx:pt idx="36731">3</cx:pt>
          <cx:pt idx="36732">2</cx:pt>
          <cx:pt idx="36733">1</cx:pt>
          <cx:pt idx="36734">2</cx:pt>
          <cx:pt idx="36735">5</cx:pt>
          <cx:pt idx="36736">1</cx:pt>
          <cx:pt idx="36737">3</cx:pt>
          <cx:pt idx="36738">4</cx:pt>
          <cx:pt idx="36739">3</cx:pt>
          <cx:pt idx="36740">1</cx:pt>
          <cx:pt idx="36741">3</cx:pt>
          <cx:pt idx="36742">2</cx:pt>
          <cx:pt idx="36743">1</cx:pt>
          <cx:pt idx="36744">5</cx:pt>
          <cx:pt idx="36745">5</cx:pt>
          <cx:pt idx="36746">4</cx:pt>
          <cx:pt idx="36747">5</cx:pt>
          <cx:pt idx="36748">5</cx:pt>
          <cx:pt idx="36749">4</cx:pt>
          <cx:pt idx="36750">3</cx:pt>
          <cx:pt idx="36751">5</cx:pt>
          <cx:pt idx="36752">4</cx:pt>
          <cx:pt idx="36753">3</cx:pt>
          <cx:pt idx="36754">1</cx:pt>
          <cx:pt idx="36755">5</cx:pt>
          <cx:pt idx="36756">3</cx:pt>
          <cx:pt idx="36757">2</cx:pt>
          <cx:pt idx="36758">3</cx:pt>
          <cx:pt idx="36759">3</cx:pt>
          <cx:pt idx="36760">1</cx:pt>
          <cx:pt idx="36761">3</cx:pt>
          <cx:pt idx="36762">3</cx:pt>
          <cx:pt idx="36763">5</cx:pt>
          <cx:pt idx="36764">3</cx:pt>
          <cx:pt idx="36765">3</cx:pt>
          <cx:pt idx="36766">4</cx:pt>
          <cx:pt idx="36767">5</cx:pt>
          <cx:pt idx="36768">2</cx:pt>
          <cx:pt idx="36769">3</cx:pt>
          <cx:pt idx="36770">3</cx:pt>
          <cx:pt idx="36771">5</cx:pt>
          <cx:pt idx="36772">3</cx:pt>
          <cx:pt idx="36773">2</cx:pt>
          <cx:pt idx="36774">2</cx:pt>
          <cx:pt idx="36775">1</cx:pt>
          <cx:pt idx="36776">2</cx:pt>
          <cx:pt idx="36777">2</cx:pt>
          <cx:pt idx="36778">3</cx:pt>
          <cx:pt idx="36779">4</cx:pt>
          <cx:pt idx="36780">4</cx:pt>
          <cx:pt idx="36781">3</cx:pt>
          <cx:pt idx="36782">2</cx:pt>
          <cx:pt idx="36783">2</cx:pt>
          <cx:pt idx="36784">3</cx:pt>
          <cx:pt idx="36785">3</cx:pt>
          <cx:pt idx="36786">2</cx:pt>
          <cx:pt idx="36787">2</cx:pt>
          <cx:pt idx="36788">1</cx:pt>
          <cx:pt idx="36789">2</cx:pt>
          <cx:pt idx="36790">1</cx:pt>
          <cx:pt idx="36791">5</cx:pt>
          <cx:pt idx="36792">2</cx:pt>
          <cx:pt idx="36793">3</cx:pt>
          <cx:pt idx="36794">2</cx:pt>
          <cx:pt idx="36795">4</cx:pt>
          <cx:pt idx="36796">4</cx:pt>
          <cx:pt idx="36797">3</cx:pt>
          <cx:pt idx="36798">3</cx:pt>
          <cx:pt idx="36799">2</cx:pt>
          <cx:pt idx="36800">2</cx:pt>
          <cx:pt idx="36801">0</cx:pt>
          <cx:pt idx="36802">5</cx:pt>
          <cx:pt idx="36803">3</cx:pt>
          <cx:pt idx="36804">5</cx:pt>
          <cx:pt idx="36805">3</cx:pt>
          <cx:pt idx="36806">5</cx:pt>
          <cx:pt idx="36807">5</cx:pt>
          <cx:pt idx="36808">3</cx:pt>
          <cx:pt idx="36809">0</cx:pt>
          <cx:pt idx="36810">1</cx:pt>
          <cx:pt idx="36811">2</cx:pt>
          <cx:pt idx="36812">2</cx:pt>
          <cx:pt idx="36813">1</cx:pt>
          <cx:pt idx="36814">3</cx:pt>
          <cx:pt idx="36815">2</cx:pt>
          <cx:pt idx="36816">3</cx:pt>
          <cx:pt idx="36817">2</cx:pt>
          <cx:pt idx="36818">3</cx:pt>
          <cx:pt idx="36819">1</cx:pt>
          <cx:pt idx="36820">3</cx:pt>
          <cx:pt idx="36821">2</cx:pt>
          <cx:pt idx="36822">1</cx:pt>
          <cx:pt idx="36823">2</cx:pt>
          <cx:pt idx="36824">3</cx:pt>
          <cx:pt idx="36825">3</cx:pt>
          <cx:pt idx="36826">3</cx:pt>
          <cx:pt idx="36827">2</cx:pt>
          <cx:pt idx="36828">1</cx:pt>
          <cx:pt idx="36829">3</cx:pt>
          <cx:pt idx="36830">1</cx:pt>
          <cx:pt idx="36831">2</cx:pt>
          <cx:pt idx="36832">2</cx:pt>
          <cx:pt idx="36833">3</cx:pt>
          <cx:pt idx="36834">4</cx:pt>
          <cx:pt idx="36835">2</cx:pt>
          <cx:pt idx="36836">2</cx:pt>
          <cx:pt idx="36837">5</cx:pt>
          <cx:pt idx="36838">4</cx:pt>
          <cx:pt idx="36839">5</cx:pt>
          <cx:pt idx="36840">4</cx:pt>
          <cx:pt idx="36841">1</cx:pt>
          <cx:pt idx="36842">4</cx:pt>
          <cx:pt idx="36843">2</cx:pt>
          <cx:pt idx="36844">1</cx:pt>
          <cx:pt idx="36845">3</cx:pt>
          <cx:pt idx="36846">3</cx:pt>
          <cx:pt idx="36847">3</cx:pt>
          <cx:pt idx="36848">1</cx:pt>
          <cx:pt idx="36849">5</cx:pt>
          <cx:pt idx="36850">5</cx:pt>
          <cx:pt idx="36851">1</cx:pt>
          <cx:pt idx="36852">2</cx:pt>
          <cx:pt idx="36853">3</cx:pt>
          <cx:pt idx="36854">2</cx:pt>
          <cx:pt idx="36855">3</cx:pt>
          <cx:pt idx="36856">2</cx:pt>
          <cx:pt idx="36857">3</cx:pt>
          <cx:pt idx="36858">3</cx:pt>
          <cx:pt idx="36859">2</cx:pt>
          <cx:pt idx="36860">4</cx:pt>
          <cx:pt idx="36861">3</cx:pt>
          <cx:pt idx="36862">2</cx:pt>
          <cx:pt idx="36863">4</cx:pt>
          <cx:pt idx="36864">5</cx:pt>
          <cx:pt idx="36865">0</cx:pt>
          <cx:pt idx="36866">2</cx:pt>
          <cx:pt idx="36867">3</cx:pt>
          <cx:pt idx="36868">3</cx:pt>
          <cx:pt idx="36869">1</cx:pt>
          <cx:pt idx="36870">1</cx:pt>
          <cx:pt idx="36871">1</cx:pt>
          <cx:pt idx="36872">3</cx:pt>
          <cx:pt idx="36873">1</cx:pt>
          <cx:pt idx="36874">2</cx:pt>
          <cx:pt idx="36875">4</cx:pt>
          <cx:pt idx="36876">2</cx:pt>
          <cx:pt idx="36877">1</cx:pt>
          <cx:pt idx="36878">1</cx:pt>
          <cx:pt idx="36879">3</cx:pt>
          <cx:pt idx="36880">1</cx:pt>
          <cx:pt idx="36881">1</cx:pt>
          <cx:pt idx="36882">1</cx:pt>
          <cx:pt idx="36883">3</cx:pt>
          <cx:pt idx="36884">5</cx:pt>
          <cx:pt idx="36885">3</cx:pt>
          <cx:pt idx="36886">3</cx:pt>
          <cx:pt idx="36887">2</cx:pt>
          <cx:pt idx="36888">2</cx:pt>
          <cx:pt idx="36889">2</cx:pt>
          <cx:pt idx="36890">4</cx:pt>
          <cx:pt idx="36891">1</cx:pt>
          <cx:pt idx="36892">5</cx:pt>
          <cx:pt idx="36893">0</cx:pt>
          <cx:pt idx="36894">2</cx:pt>
          <cx:pt idx="36895">3</cx:pt>
          <cx:pt idx="36896">5</cx:pt>
          <cx:pt idx="36897">4</cx:pt>
          <cx:pt idx="36898">4</cx:pt>
          <cx:pt idx="36899">3</cx:pt>
          <cx:pt idx="36900">1</cx:pt>
          <cx:pt idx="36901">2</cx:pt>
          <cx:pt idx="36902">0</cx:pt>
          <cx:pt idx="36903">3</cx:pt>
          <cx:pt idx="36904">5</cx:pt>
          <cx:pt idx="36905">3</cx:pt>
          <cx:pt idx="36906">2</cx:pt>
          <cx:pt idx="36907">2</cx:pt>
          <cx:pt idx="36908">2</cx:pt>
          <cx:pt idx="36909">3</cx:pt>
          <cx:pt idx="36910">4</cx:pt>
          <cx:pt idx="36911">5</cx:pt>
          <cx:pt idx="36912">4</cx:pt>
          <cx:pt idx="36913">2</cx:pt>
          <cx:pt idx="36914">4</cx:pt>
          <cx:pt idx="36915">4</cx:pt>
          <cx:pt idx="36916">0</cx:pt>
          <cx:pt idx="36917">4</cx:pt>
          <cx:pt idx="36918">4</cx:pt>
          <cx:pt idx="36919">2</cx:pt>
          <cx:pt idx="36920">4</cx:pt>
          <cx:pt idx="36921">2</cx:pt>
          <cx:pt idx="36922">2</cx:pt>
          <cx:pt idx="36923">4</cx:pt>
          <cx:pt idx="36924">4</cx:pt>
          <cx:pt idx="36925">3</cx:pt>
          <cx:pt idx="36926">4</cx:pt>
          <cx:pt idx="36927">1</cx:pt>
          <cx:pt idx="36928">1</cx:pt>
          <cx:pt idx="36929">5</cx:pt>
          <cx:pt idx="36930">3</cx:pt>
          <cx:pt idx="36931">1</cx:pt>
          <cx:pt idx="36932">2</cx:pt>
          <cx:pt idx="36933">3</cx:pt>
          <cx:pt idx="36934">1</cx:pt>
          <cx:pt idx="36935">1</cx:pt>
          <cx:pt idx="36936">5</cx:pt>
          <cx:pt idx="36937">3</cx:pt>
          <cx:pt idx="36938">3</cx:pt>
          <cx:pt idx="36939">5</cx:pt>
          <cx:pt idx="36940">3</cx:pt>
          <cx:pt idx="36941">0</cx:pt>
          <cx:pt idx="36942">0</cx:pt>
          <cx:pt idx="36943">0</cx:pt>
          <cx:pt idx="36944">5</cx:pt>
          <cx:pt idx="36945">2</cx:pt>
          <cx:pt idx="36946">5</cx:pt>
          <cx:pt idx="36947">3</cx:pt>
          <cx:pt idx="36948">5</cx:pt>
          <cx:pt idx="36949">3</cx:pt>
          <cx:pt idx="36950">2</cx:pt>
          <cx:pt idx="36951">0</cx:pt>
          <cx:pt idx="36952">1</cx:pt>
          <cx:pt idx="36953">2</cx:pt>
          <cx:pt idx="36954">4</cx:pt>
          <cx:pt idx="36955">2</cx:pt>
          <cx:pt idx="36956">2</cx:pt>
          <cx:pt idx="36957">1</cx:pt>
          <cx:pt idx="36958">1</cx:pt>
          <cx:pt idx="36959">1</cx:pt>
          <cx:pt idx="36960">4</cx:pt>
          <cx:pt idx="36961">4</cx:pt>
          <cx:pt idx="36962">2</cx:pt>
          <cx:pt idx="36963">3</cx:pt>
          <cx:pt idx="36964">0</cx:pt>
          <cx:pt idx="36965">2</cx:pt>
          <cx:pt idx="36966">1</cx:pt>
          <cx:pt idx="36967">2</cx:pt>
          <cx:pt idx="36968">1</cx:pt>
          <cx:pt idx="36969">3</cx:pt>
          <cx:pt idx="36970">2</cx:pt>
          <cx:pt idx="36971">5</cx:pt>
          <cx:pt idx="36972">3</cx:pt>
          <cx:pt idx="36973">1</cx:pt>
          <cx:pt idx="36974">1</cx:pt>
          <cx:pt idx="36975">4</cx:pt>
          <cx:pt idx="36976">3</cx:pt>
          <cx:pt idx="36977">2</cx:pt>
          <cx:pt idx="36978">2</cx:pt>
          <cx:pt idx="36979">2</cx:pt>
          <cx:pt idx="36980">0</cx:pt>
          <cx:pt idx="36981">4</cx:pt>
          <cx:pt idx="36982">2</cx:pt>
          <cx:pt idx="36983">2</cx:pt>
          <cx:pt idx="36984">3</cx:pt>
          <cx:pt idx="36985">1</cx:pt>
          <cx:pt idx="36986">1</cx:pt>
          <cx:pt idx="36987">0</cx:pt>
          <cx:pt idx="36988">1</cx:pt>
          <cx:pt idx="36989">1</cx:pt>
          <cx:pt idx="36990">4</cx:pt>
          <cx:pt idx="36991">2</cx:pt>
          <cx:pt idx="36992">3</cx:pt>
          <cx:pt idx="36993">1</cx:pt>
          <cx:pt idx="36994">4</cx:pt>
          <cx:pt idx="36995">3</cx:pt>
          <cx:pt idx="36996">4</cx:pt>
          <cx:pt idx="36997">3</cx:pt>
          <cx:pt idx="36998">2</cx:pt>
          <cx:pt idx="36999">5</cx:pt>
          <cx:pt idx="37000">2</cx:pt>
          <cx:pt idx="37001">3</cx:pt>
          <cx:pt idx="37002">3</cx:pt>
          <cx:pt idx="37003">5</cx:pt>
          <cx:pt idx="37004">2</cx:pt>
          <cx:pt idx="37005">1</cx:pt>
          <cx:pt idx="37006">1</cx:pt>
          <cx:pt idx="37007">2</cx:pt>
          <cx:pt idx="37008">4</cx:pt>
          <cx:pt idx="37009">0</cx:pt>
          <cx:pt idx="37010">5</cx:pt>
          <cx:pt idx="37011">2</cx:pt>
          <cx:pt idx="37012">0</cx:pt>
          <cx:pt idx="37013">2</cx:pt>
          <cx:pt idx="37014">1</cx:pt>
          <cx:pt idx="37015">3</cx:pt>
          <cx:pt idx="37016">2</cx:pt>
          <cx:pt idx="37017">4</cx:pt>
          <cx:pt idx="37018">2</cx:pt>
          <cx:pt idx="37019">3</cx:pt>
          <cx:pt idx="37020">4</cx:pt>
          <cx:pt idx="37021">2</cx:pt>
          <cx:pt idx="37022">1</cx:pt>
          <cx:pt idx="37023">3</cx:pt>
          <cx:pt idx="37024">4</cx:pt>
          <cx:pt idx="37025">2</cx:pt>
          <cx:pt idx="37026">3</cx:pt>
          <cx:pt idx="37027">3</cx:pt>
          <cx:pt idx="37028">3</cx:pt>
          <cx:pt idx="37029">3</cx:pt>
          <cx:pt idx="37030">3</cx:pt>
          <cx:pt idx="37031">3</cx:pt>
          <cx:pt idx="37032">1</cx:pt>
          <cx:pt idx="37033">1</cx:pt>
          <cx:pt idx="37034">4</cx:pt>
          <cx:pt idx="37035">1</cx:pt>
          <cx:pt idx="37036">3</cx:pt>
          <cx:pt idx="37037">1</cx:pt>
          <cx:pt idx="37038">2</cx:pt>
          <cx:pt idx="37039">3</cx:pt>
          <cx:pt idx="37040">5</cx:pt>
          <cx:pt idx="37041">5</cx:pt>
          <cx:pt idx="37042">4</cx:pt>
          <cx:pt idx="37043">3</cx:pt>
          <cx:pt idx="37044">4</cx:pt>
          <cx:pt idx="37045">2</cx:pt>
          <cx:pt idx="37046">2</cx:pt>
          <cx:pt idx="37047">1</cx:pt>
          <cx:pt idx="37048">3</cx:pt>
          <cx:pt idx="37049">5</cx:pt>
          <cx:pt idx="37050">3</cx:pt>
          <cx:pt idx="37051">5</cx:pt>
          <cx:pt idx="37052">1</cx:pt>
          <cx:pt idx="37053">3</cx:pt>
          <cx:pt idx="37054">4</cx:pt>
          <cx:pt idx="37055">4</cx:pt>
          <cx:pt idx="37056">3</cx:pt>
          <cx:pt idx="37057">2</cx:pt>
          <cx:pt idx="37058">5</cx:pt>
          <cx:pt idx="37059">3</cx:pt>
          <cx:pt idx="37060">4</cx:pt>
          <cx:pt idx="37061">2</cx:pt>
          <cx:pt idx="37062">4</cx:pt>
          <cx:pt idx="37063">2</cx:pt>
          <cx:pt idx="37064">1</cx:pt>
          <cx:pt idx="37065">3</cx:pt>
          <cx:pt idx="37066">1</cx:pt>
          <cx:pt idx="37067">2</cx:pt>
          <cx:pt idx="37068">3</cx:pt>
          <cx:pt idx="37069">1</cx:pt>
          <cx:pt idx="37070">5</cx:pt>
          <cx:pt idx="37071">2</cx:pt>
          <cx:pt idx="37072">3</cx:pt>
          <cx:pt idx="37073">3</cx:pt>
          <cx:pt idx="37074">4</cx:pt>
          <cx:pt idx="37075">2</cx:pt>
          <cx:pt idx="37076">5</cx:pt>
          <cx:pt idx="37077">2</cx:pt>
          <cx:pt idx="37078">2</cx:pt>
          <cx:pt idx="37079">1</cx:pt>
          <cx:pt idx="37080">3</cx:pt>
          <cx:pt idx="37081">5</cx:pt>
          <cx:pt idx="37082">4</cx:pt>
          <cx:pt idx="37083">4</cx:pt>
          <cx:pt idx="37084">2</cx:pt>
          <cx:pt idx="37085">3</cx:pt>
          <cx:pt idx="37086">5</cx:pt>
          <cx:pt idx="37087">1</cx:pt>
          <cx:pt idx="37088">4</cx:pt>
          <cx:pt idx="37089">4</cx:pt>
          <cx:pt idx="37090">5</cx:pt>
          <cx:pt idx="37091">3</cx:pt>
          <cx:pt idx="37092">4</cx:pt>
          <cx:pt idx="37093">5</cx:pt>
          <cx:pt idx="37094">2</cx:pt>
          <cx:pt idx="37095">5</cx:pt>
          <cx:pt idx="37096">2</cx:pt>
          <cx:pt idx="37097">5</cx:pt>
          <cx:pt idx="37098">4</cx:pt>
          <cx:pt idx="37099">3</cx:pt>
          <cx:pt idx="37100">2</cx:pt>
          <cx:pt idx="37101">5</cx:pt>
          <cx:pt idx="37102">1</cx:pt>
          <cx:pt idx="37103">3</cx:pt>
          <cx:pt idx="37104">1</cx:pt>
          <cx:pt idx="37105">3</cx:pt>
          <cx:pt idx="37106">1</cx:pt>
          <cx:pt idx="37107">2</cx:pt>
          <cx:pt idx="37108">2</cx:pt>
          <cx:pt idx="37109">2</cx:pt>
          <cx:pt idx="37110">2</cx:pt>
          <cx:pt idx="37111">4</cx:pt>
          <cx:pt idx="37112">1</cx:pt>
          <cx:pt idx="37113">4</cx:pt>
          <cx:pt idx="37114">2</cx:pt>
          <cx:pt idx="37115">3</cx:pt>
          <cx:pt idx="37116">1</cx:pt>
          <cx:pt idx="37117">4</cx:pt>
          <cx:pt idx="37118">0</cx:pt>
          <cx:pt idx="37119">3</cx:pt>
          <cx:pt idx="37120">3</cx:pt>
          <cx:pt idx="37121">4</cx:pt>
          <cx:pt idx="37122">2</cx:pt>
          <cx:pt idx="37123">1</cx:pt>
          <cx:pt idx="37124">4</cx:pt>
          <cx:pt idx="37125">2</cx:pt>
          <cx:pt idx="37126">2</cx:pt>
          <cx:pt idx="37127">2</cx:pt>
          <cx:pt idx="37128">4</cx:pt>
          <cx:pt idx="37129">3</cx:pt>
          <cx:pt idx="37130">0</cx:pt>
          <cx:pt idx="37131">2</cx:pt>
          <cx:pt idx="37132">4</cx:pt>
          <cx:pt idx="37133">4</cx:pt>
          <cx:pt idx="37134">3</cx:pt>
          <cx:pt idx="37135">1</cx:pt>
          <cx:pt idx="37136">4</cx:pt>
          <cx:pt idx="37137">3</cx:pt>
          <cx:pt idx="37138">3</cx:pt>
          <cx:pt idx="37139">2</cx:pt>
          <cx:pt idx="37140">2</cx:pt>
          <cx:pt idx="37141">4</cx:pt>
          <cx:pt idx="37142">3</cx:pt>
          <cx:pt idx="37143">4</cx:pt>
          <cx:pt idx="37144">5</cx:pt>
          <cx:pt idx="37145">1</cx:pt>
          <cx:pt idx="37146">0</cx:pt>
          <cx:pt idx="37147">4</cx:pt>
          <cx:pt idx="37148">2</cx:pt>
          <cx:pt idx="37149">3</cx:pt>
          <cx:pt idx="37150">4</cx:pt>
          <cx:pt idx="37151">2</cx:pt>
          <cx:pt idx="37152">2</cx:pt>
          <cx:pt idx="37153">5</cx:pt>
          <cx:pt idx="37154">4</cx:pt>
          <cx:pt idx="37155">3</cx:pt>
          <cx:pt idx="37156">1</cx:pt>
          <cx:pt idx="37157">2</cx:pt>
          <cx:pt idx="37158">1</cx:pt>
          <cx:pt idx="37159">4</cx:pt>
          <cx:pt idx="37160">4</cx:pt>
          <cx:pt idx="37161">5</cx:pt>
          <cx:pt idx="37162">5</cx:pt>
          <cx:pt idx="37163">3</cx:pt>
          <cx:pt idx="37164">3</cx:pt>
          <cx:pt idx="37165">4</cx:pt>
          <cx:pt idx="37166">5</cx:pt>
          <cx:pt idx="37167">4</cx:pt>
          <cx:pt idx="37168">1</cx:pt>
          <cx:pt idx="37169">4</cx:pt>
          <cx:pt idx="37170">2</cx:pt>
          <cx:pt idx="37171">1</cx:pt>
          <cx:pt idx="37172">4</cx:pt>
          <cx:pt idx="37173">3</cx:pt>
          <cx:pt idx="37174">3</cx:pt>
          <cx:pt idx="37175">4</cx:pt>
          <cx:pt idx="37176">3</cx:pt>
          <cx:pt idx="37177">2</cx:pt>
          <cx:pt idx="37178">4</cx:pt>
          <cx:pt idx="37179">5</cx:pt>
          <cx:pt idx="37180">0</cx:pt>
          <cx:pt idx="37181">5</cx:pt>
          <cx:pt idx="37182">4</cx:pt>
          <cx:pt idx="37183">3</cx:pt>
          <cx:pt idx="37184">2</cx:pt>
          <cx:pt idx="37185">4</cx:pt>
          <cx:pt idx="37186">5</cx:pt>
          <cx:pt idx="37187">3</cx:pt>
          <cx:pt idx="37188">1</cx:pt>
          <cx:pt idx="37189">4</cx:pt>
          <cx:pt idx="37190">2</cx:pt>
          <cx:pt idx="37191">3</cx:pt>
          <cx:pt idx="37192">5</cx:pt>
          <cx:pt idx="37193">4</cx:pt>
          <cx:pt idx="37194">1</cx:pt>
          <cx:pt idx="37195">4</cx:pt>
          <cx:pt idx="37196">3</cx:pt>
          <cx:pt idx="37197">2</cx:pt>
          <cx:pt idx="37198">5</cx:pt>
          <cx:pt idx="37199">1</cx:pt>
          <cx:pt idx="37200">5</cx:pt>
          <cx:pt idx="37201">1</cx:pt>
          <cx:pt idx="37202">3</cx:pt>
          <cx:pt idx="37203">4</cx:pt>
          <cx:pt idx="37204">1</cx:pt>
          <cx:pt idx="37205">3</cx:pt>
          <cx:pt idx="37206">2</cx:pt>
          <cx:pt idx="37207">1</cx:pt>
          <cx:pt idx="37208">1</cx:pt>
          <cx:pt idx="37209">1</cx:pt>
          <cx:pt idx="37210">2</cx:pt>
          <cx:pt idx="37211">2</cx:pt>
          <cx:pt idx="37212">1</cx:pt>
          <cx:pt idx="37213">4</cx:pt>
          <cx:pt idx="37214">1</cx:pt>
          <cx:pt idx="37215">4</cx:pt>
          <cx:pt idx="37216">3</cx:pt>
          <cx:pt idx="37217">3</cx:pt>
          <cx:pt idx="37218">1</cx:pt>
          <cx:pt idx="37219">2</cx:pt>
          <cx:pt idx="37220">3</cx:pt>
          <cx:pt idx="37221">3</cx:pt>
          <cx:pt idx="37222">3</cx:pt>
          <cx:pt idx="37223">1</cx:pt>
          <cx:pt idx="37224">5</cx:pt>
          <cx:pt idx="37225">5</cx:pt>
          <cx:pt idx="37226">4</cx:pt>
          <cx:pt idx="37227">3</cx:pt>
          <cx:pt idx="37228">2</cx:pt>
          <cx:pt idx="37229">5</cx:pt>
          <cx:pt idx="37230">3</cx:pt>
          <cx:pt idx="37231">2</cx:pt>
          <cx:pt idx="37232">3</cx:pt>
          <cx:pt idx="37233">3</cx:pt>
          <cx:pt idx="37234">3</cx:pt>
          <cx:pt idx="37235">2</cx:pt>
          <cx:pt idx="37236">4</cx:pt>
          <cx:pt idx="37237">5</cx:pt>
          <cx:pt idx="37238">1</cx:pt>
          <cx:pt idx="37239">5</cx:pt>
          <cx:pt idx="37240">5</cx:pt>
          <cx:pt idx="37241">5</cx:pt>
          <cx:pt idx="37242">2</cx:pt>
          <cx:pt idx="37243">1</cx:pt>
          <cx:pt idx="37244">0</cx:pt>
          <cx:pt idx="37245">5</cx:pt>
          <cx:pt idx="37246">3</cx:pt>
          <cx:pt idx="37247">2</cx:pt>
          <cx:pt idx="37248">4</cx:pt>
          <cx:pt idx="37249">1</cx:pt>
          <cx:pt idx="37250">1</cx:pt>
          <cx:pt idx="37251">1</cx:pt>
          <cx:pt idx="37252">3</cx:pt>
          <cx:pt idx="37253">2</cx:pt>
          <cx:pt idx="37254">4</cx:pt>
          <cx:pt idx="37255">3</cx:pt>
          <cx:pt idx="37256">0</cx:pt>
          <cx:pt idx="37257">5</cx:pt>
          <cx:pt idx="37258">1</cx:pt>
          <cx:pt idx="37259">3</cx:pt>
          <cx:pt idx="37260">4</cx:pt>
          <cx:pt idx="37261">5</cx:pt>
          <cx:pt idx="37262">3</cx:pt>
          <cx:pt idx="37263">4</cx:pt>
          <cx:pt idx="37264">2</cx:pt>
          <cx:pt idx="37265">3</cx:pt>
          <cx:pt idx="37266">4</cx:pt>
          <cx:pt idx="37267">3</cx:pt>
          <cx:pt idx="37268">2</cx:pt>
          <cx:pt idx="37269">5</cx:pt>
          <cx:pt idx="37270">5</cx:pt>
          <cx:pt idx="37271">5</cx:pt>
          <cx:pt idx="37272">2</cx:pt>
          <cx:pt idx="37273">2</cx:pt>
          <cx:pt idx="37274">5</cx:pt>
          <cx:pt idx="37275">3</cx:pt>
          <cx:pt idx="37276">5</cx:pt>
          <cx:pt idx="37277">4</cx:pt>
          <cx:pt idx="37278">3</cx:pt>
          <cx:pt idx="37279">2</cx:pt>
          <cx:pt idx="37280">5</cx:pt>
          <cx:pt idx="37281">5</cx:pt>
          <cx:pt idx="37282">1</cx:pt>
          <cx:pt idx="37283">2</cx:pt>
          <cx:pt idx="37284">1</cx:pt>
          <cx:pt idx="37285">3</cx:pt>
          <cx:pt idx="37286">3</cx:pt>
          <cx:pt idx="37287">2</cx:pt>
          <cx:pt idx="37288">5</cx:pt>
          <cx:pt idx="37289">1</cx:pt>
          <cx:pt idx="37290">4</cx:pt>
          <cx:pt idx="37291">2</cx:pt>
          <cx:pt idx="37292">3</cx:pt>
          <cx:pt idx="37293">0</cx:pt>
          <cx:pt idx="37294">1</cx:pt>
          <cx:pt idx="37295">5</cx:pt>
          <cx:pt idx="37296">3</cx:pt>
          <cx:pt idx="37297">3</cx:pt>
          <cx:pt idx="37298">3</cx:pt>
          <cx:pt idx="37299">4</cx:pt>
          <cx:pt idx="37300">3</cx:pt>
          <cx:pt idx="37301">5</cx:pt>
          <cx:pt idx="37302">4</cx:pt>
          <cx:pt idx="37303">2</cx:pt>
          <cx:pt idx="37304">1</cx:pt>
          <cx:pt idx="37305">3</cx:pt>
          <cx:pt idx="37306">2</cx:pt>
          <cx:pt idx="37307">3</cx:pt>
          <cx:pt idx="37308">4</cx:pt>
          <cx:pt idx="37309">1</cx:pt>
          <cx:pt idx="37310">3</cx:pt>
          <cx:pt idx="37311">3</cx:pt>
          <cx:pt idx="37312">1</cx:pt>
          <cx:pt idx="37313">5</cx:pt>
          <cx:pt idx="37314">1</cx:pt>
          <cx:pt idx="37315">4</cx:pt>
          <cx:pt idx="37316">2</cx:pt>
          <cx:pt idx="37317">3</cx:pt>
          <cx:pt idx="37318">4</cx:pt>
          <cx:pt idx="37319">3</cx:pt>
          <cx:pt idx="37320">3</cx:pt>
          <cx:pt idx="37321">0</cx:pt>
          <cx:pt idx="37322">3</cx:pt>
          <cx:pt idx="37323">5</cx:pt>
          <cx:pt idx="37324">4</cx:pt>
          <cx:pt idx="37325">2</cx:pt>
          <cx:pt idx="37326">3</cx:pt>
          <cx:pt idx="37327">4</cx:pt>
          <cx:pt idx="37328">5</cx:pt>
          <cx:pt idx="37329">3</cx:pt>
          <cx:pt idx="37330">4</cx:pt>
          <cx:pt idx="37331">0</cx:pt>
          <cx:pt idx="37332">4</cx:pt>
          <cx:pt idx="37333">3</cx:pt>
          <cx:pt idx="37334">0</cx:pt>
          <cx:pt idx="37335">5</cx:pt>
          <cx:pt idx="37336">5</cx:pt>
          <cx:pt idx="37337">5</cx:pt>
          <cx:pt idx="37338">2</cx:pt>
          <cx:pt idx="37339">1</cx:pt>
          <cx:pt idx="37340">2</cx:pt>
          <cx:pt idx="37341">2</cx:pt>
          <cx:pt idx="37342">0</cx:pt>
          <cx:pt idx="37343">1</cx:pt>
          <cx:pt idx="37344">3</cx:pt>
          <cx:pt idx="37345">5</cx:pt>
          <cx:pt idx="37346">3</cx:pt>
          <cx:pt idx="37347">3</cx:pt>
          <cx:pt idx="37348">0</cx:pt>
          <cx:pt idx="37349">3</cx:pt>
          <cx:pt idx="37350">0</cx:pt>
          <cx:pt idx="37351">4</cx:pt>
          <cx:pt idx="37352">1</cx:pt>
          <cx:pt idx="37353">4</cx:pt>
          <cx:pt idx="37354">1</cx:pt>
          <cx:pt idx="37355">4</cx:pt>
          <cx:pt idx="37356">0</cx:pt>
          <cx:pt idx="37357">2</cx:pt>
          <cx:pt idx="37358">1</cx:pt>
          <cx:pt idx="37359">5</cx:pt>
          <cx:pt idx="37360">3</cx:pt>
          <cx:pt idx="37361">3</cx:pt>
          <cx:pt idx="37362">3</cx:pt>
          <cx:pt idx="37363">5</cx:pt>
          <cx:pt idx="37364">3</cx:pt>
          <cx:pt idx="37365">1</cx:pt>
          <cx:pt idx="37366">1</cx:pt>
          <cx:pt idx="37367">4</cx:pt>
          <cx:pt idx="37368">0</cx:pt>
          <cx:pt idx="37369">2</cx:pt>
          <cx:pt idx="37370">2</cx:pt>
          <cx:pt idx="37371">3</cx:pt>
          <cx:pt idx="37372">2</cx:pt>
          <cx:pt idx="37373">2</cx:pt>
          <cx:pt idx="37374">4</cx:pt>
          <cx:pt idx="37375">3</cx:pt>
          <cx:pt idx="37376">5</cx:pt>
          <cx:pt idx="37377">2</cx:pt>
          <cx:pt idx="37378">4</cx:pt>
          <cx:pt idx="37379">4</cx:pt>
          <cx:pt idx="37380">0</cx:pt>
          <cx:pt idx="37381">3</cx:pt>
          <cx:pt idx="37382">2</cx:pt>
          <cx:pt idx="37383">2</cx:pt>
          <cx:pt idx="37384">3</cx:pt>
          <cx:pt idx="37385">2</cx:pt>
          <cx:pt idx="37386">1</cx:pt>
          <cx:pt idx="37387">3</cx:pt>
          <cx:pt idx="37388">1</cx:pt>
          <cx:pt idx="37389">2</cx:pt>
          <cx:pt idx="37390">1</cx:pt>
          <cx:pt idx="37391">2</cx:pt>
          <cx:pt idx="37392">3</cx:pt>
          <cx:pt idx="37393">3</cx:pt>
          <cx:pt idx="37394">2</cx:pt>
          <cx:pt idx="37395">1</cx:pt>
          <cx:pt idx="37396">2</cx:pt>
          <cx:pt idx="37397">4</cx:pt>
          <cx:pt idx="37398">3</cx:pt>
          <cx:pt idx="37399">3</cx:pt>
          <cx:pt idx="37400">1</cx:pt>
          <cx:pt idx="37401">2</cx:pt>
          <cx:pt idx="37402">5</cx:pt>
          <cx:pt idx="37403">4</cx:pt>
          <cx:pt idx="37404">4</cx:pt>
          <cx:pt idx="37405">1</cx:pt>
          <cx:pt idx="37406">3</cx:pt>
          <cx:pt idx="37407">5</cx:pt>
          <cx:pt idx="37408">3</cx:pt>
          <cx:pt idx="37409">2</cx:pt>
          <cx:pt idx="37410">2</cx:pt>
          <cx:pt idx="37411">5</cx:pt>
          <cx:pt idx="37412">1</cx:pt>
          <cx:pt idx="37413">2</cx:pt>
          <cx:pt idx="37414">3</cx:pt>
          <cx:pt idx="37415">2</cx:pt>
          <cx:pt idx="37416">1</cx:pt>
          <cx:pt idx="37417">1</cx:pt>
          <cx:pt idx="37418">5</cx:pt>
          <cx:pt idx="37419">5</cx:pt>
          <cx:pt idx="37420">2</cx:pt>
          <cx:pt idx="37421">5</cx:pt>
          <cx:pt idx="37422">4</cx:pt>
          <cx:pt idx="37423">1</cx:pt>
          <cx:pt idx="37424">3</cx:pt>
          <cx:pt idx="37425">2</cx:pt>
          <cx:pt idx="37426">1</cx:pt>
          <cx:pt idx="37427">3</cx:pt>
          <cx:pt idx="37428">4</cx:pt>
          <cx:pt idx="37429">5</cx:pt>
          <cx:pt idx="37430">4</cx:pt>
          <cx:pt idx="37431">0</cx:pt>
          <cx:pt idx="37432">4</cx:pt>
          <cx:pt idx="37433">4</cx:pt>
          <cx:pt idx="37434">1</cx:pt>
          <cx:pt idx="37435">0</cx:pt>
          <cx:pt idx="37436">3</cx:pt>
          <cx:pt idx="37437">2</cx:pt>
          <cx:pt idx="37438">0</cx:pt>
          <cx:pt idx="37439">2</cx:pt>
          <cx:pt idx="37440">4</cx:pt>
          <cx:pt idx="37441">4</cx:pt>
          <cx:pt idx="37442">3</cx:pt>
          <cx:pt idx="37443">2</cx:pt>
          <cx:pt idx="37444">0</cx:pt>
          <cx:pt idx="37445">2</cx:pt>
          <cx:pt idx="37446">4</cx:pt>
          <cx:pt idx="37447">1</cx:pt>
          <cx:pt idx="37448">2</cx:pt>
          <cx:pt idx="37449">2</cx:pt>
          <cx:pt idx="37450">5</cx:pt>
          <cx:pt idx="37451">5</cx:pt>
          <cx:pt idx="37452">4</cx:pt>
          <cx:pt idx="37453">3</cx:pt>
          <cx:pt idx="37454">4</cx:pt>
          <cx:pt idx="37455">3</cx:pt>
          <cx:pt idx="37456">5</cx:pt>
          <cx:pt idx="37457">3</cx:pt>
          <cx:pt idx="37458">3</cx:pt>
          <cx:pt idx="37459">2</cx:pt>
          <cx:pt idx="37460">1</cx:pt>
          <cx:pt idx="37461">4</cx:pt>
          <cx:pt idx="37462">1</cx:pt>
          <cx:pt idx="37463">5</cx:pt>
          <cx:pt idx="37464">0</cx:pt>
          <cx:pt idx="37465">2</cx:pt>
          <cx:pt idx="37466">4</cx:pt>
          <cx:pt idx="37467">3</cx:pt>
          <cx:pt idx="37468">3</cx:pt>
          <cx:pt idx="37469">2</cx:pt>
          <cx:pt idx="37470">2</cx:pt>
          <cx:pt idx="37471">4</cx:pt>
          <cx:pt idx="37472">3</cx:pt>
          <cx:pt idx="37473">3</cx:pt>
          <cx:pt idx="37474">0</cx:pt>
          <cx:pt idx="37475">2</cx:pt>
          <cx:pt idx="37476">3</cx:pt>
          <cx:pt idx="37477">5</cx:pt>
          <cx:pt idx="37478">4</cx:pt>
          <cx:pt idx="37479">1</cx:pt>
          <cx:pt idx="37480">1</cx:pt>
          <cx:pt idx="37481">3</cx:pt>
          <cx:pt idx="37482">3</cx:pt>
          <cx:pt idx="37483">1</cx:pt>
          <cx:pt idx="37484">2</cx:pt>
          <cx:pt idx="37485">2</cx:pt>
          <cx:pt idx="37486">5</cx:pt>
          <cx:pt idx="37487">3</cx:pt>
          <cx:pt idx="37488">4</cx:pt>
          <cx:pt idx="37489">3</cx:pt>
          <cx:pt idx="37490">5</cx:pt>
          <cx:pt idx="37491">1</cx:pt>
          <cx:pt idx="37492">1</cx:pt>
          <cx:pt idx="37493">3</cx:pt>
          <cx:pt idx="37494">3</cx:pt>
          <cx:pt idx="37495">4</cx:pt>
          <cx:pt idx="37496">5</cx:pt>
          <cx:pt idx="37497">1</cx:pt>
          <cx:pt idx="37498">2</cx:pt>
          <cx:pt idx="37499">5</cx:pt>
          <cx:pt idx="37500">1</cx:pt>
          <cx:pt idx="37501">1</cx:pt>
          <cx:pt idx="37502">4</cx:pt>
          <cx:pt idx="37503">4</cx:pt>
          <cx:pt idx="37504">5</cx:pt>
          <cx:pt idx="37505">1</cx:pt>
          <cx:pt idx="37506">3</cx:pt>
          <cx:pt idx="37507">3</cx:pt>
          <cx:pt idx="37508">1</cx:pt>
          <cx:pt idx="37509">3</cx:pt>
          <cx:pt idx="37510">3</cx:pt>
          <cx:pt idx="37511">2</cx:pt>
          <cx:pt idx="37512">3</cx:pt>
          <cx:pt idx="37513">4</cx:pt>
          <cx:pt idx="37514">3</cx:pt>
          <cx:pt idx="37515">5</cx:pt>
          <cx:pt idx="37516">1</cx:pt>
          <cx:pt idx="37517">2</cx:pt>
          <cx:pt idx="37518">1</cx:pt>
          <cx:pt idx="37519">3</cx:pt>
          <cx:pt idx="37520">1</cx:pt>
          <cx:pt idx="37521">2</cx:pt>
          <cx:pt idx="37522">0</cx:pt>
          <cx:pt idx="37523">5</cx:pt>
          <cx:pt idx="37524">2</cx:pt>
          <cx:pt idx="37525">2</cx:pt>
          <cx:pt idx="37526">4</cx:pt>
          <cx:pt idx="37527">2</cx:pt>
          <cx:pt idx="37528">1</cx:pt>
          <cx:pt idx="37529">3</cx:pt>
          <cx:pt idx="37530">2</cx:pt>
          <cx:pt idx="37531">0</cx:pt>
          <cx:pt idx="37532">1</cx:pt>
          <cx:pt idx="37533">1</cx:pt>
          <cx:pt idx="37534">5</cx:pt>
          <cx:pt idx="37535">4</cx:pt>
          <cx:pt idx="37536">4</cx:pt>
          <cx:pt idx="37537">1</cx:pt>
          <cx:pt idx="37538">0</cx:pt>
          <cx:pt idx="37539">1</cx:pt>
          <cx:pt idx="37540">4</cx:pt>
          <cx:pt idx="37541">5</cx:pt>
          <cx:pt idx="37542">4</cx:pt>
          <cx:pt idx="37543">2</cx:pt>
          <cx:pt idx="37544">1</cx:pt>
          <cx:pt idx="37545">4</cx:pt>
          <cx:pt idx="37546">2</cx:pt>
          <cx:pt idx="37547">3</cx:pt>
          <cx:pt idx="37548">3</cx:pt>
          <cx:pt idx="37549">1</cx:pt>
          <cx:pt idx="37550">5</cx:pt>
          <cx:pt idx="37551">2</cx:pt>
          <cx:pt idx="37552">3</cx:pt>
          <cx:pt idx="37553">4</cx:pt>
          <cx:pt idx="37554">1</cx:pt>
          <cx:pt idx="37555">1</cx:pt>
          <cx:pt idx="37556">2</cx:pt>
          <cx:pt idx="37557">1</cx:pt>
          <cx:pt idx="37558">2</cx:pt>
          <cx:pt idx="37559">4</cx:pt>
          <cx:pt idx="37560">1</cx:pt>
          <cx:pt idx="37561">5</cx:pt>
          <cx:pt idx="37562">4</cx:pt>
          <cx:pt idx="37563">3</cx:pt>
          <cx:pt idx="37564">2</cx:pt>
          <cx:pt idx="37565">4</cx:pt>
          <cx:pt idx="37566">1</cx:pt>
          <cx:pt idx="37567">2</cx:pt>
          <cx:pt idx="37568">1</cx:pt>
          <cx:pt idx="37569">4</cx:pt>
          <cx:pt idx="37570">2</cx:pt>
          <cx:pt idx="37571">2</cx:pt>
          <cx:pt idx="37572">4</cx:pt>
          <cx:pt idx="37573">2</cx:pt>
          <cx:pt idx="37574">2</cx:pt>
          <cx:pt idx="37575">4</cx:pt>
          <cx:pt idx="37576">1</cx:pt>
          <cx:pt idx="37577">3</cx:pt>
          <cx:pt idx="37578">0</cx:pt>
          <cx:pt idx="37579">2</cx:pt>
          <cx:pt idx="37580">5</cx:pt>
          <cx:pt idx="37581">2</cx:pt>
          <cx:pt idx="37582">1</cx:pt>
          <cx:pt idx="37583">2</cx:pt>
          <cx:pt idx="37584">2</cx:pt>
          <cx:pt idx="37585">3</cx:pt>
          <cx:pt idx="37586">5</cx:pt>
          <cx:pt idx="37587">2</cx:pt>
          <cx:pt idx="37588">3</cx:pt>
          <cx:pt idx="37589">3</cx:pt>
          <cx:pt idx="37590">5</cx:pt>
          <cx:pt idx="37591">3</cx:pt>
          <cx:pt idx="37592">4</cx:pt>
          <cx:pt idx="37593">3</cx:pt>
          <cx:pt idx="37594">4</cx:pt>
          <cx:pt idx="37595">1</cx:pt>
          <cx:pt idx="37596">1</cx:pt>
          <cx:pt idx="37597">3</cx:pt>
          <cx:pt idx="37598">4</cx:pt>
          <cx:pt idx="37599">0</cx:pt>
          <cx:pt idx="37600">2</cx:pt>
          <cx:pt idx="37601">3</cx:pt>
          <cx:pt idx="37602">3</cx:pt>
          <cx:pt idx="37603">3</cx:pt>
          <cx:pt idx="37604">2</cx:pt>
          <cx:pt idx="37605">0</cx:pt>
          <cx:pt idx="37606">2</cx:pt>
          <cx:pt idx="37607">5</cx:pt>
          <cx:pt idx="37608">2</cx:pt>
          <cx:pt idx="37609">5</cx:pt>
          <cx:pt idx="37610">5</cx:pt>
          <cx:pt idx="37611">2</cx:pt>
          <cx:pt idx="37612">1</cx:pt>
          <cx:pt idx="37613">4</cx:pt>
          <cx:pt idx="37614">3</cx:pt>
          <cx:pt idx="37615">3</cx:pt>
          <cx:pt idx="37616">2</cx:pt>
          <cx:pt idx="37617">4</cx:pt>
          <cx:pt idx="37618">0</cx:pt>
          <cx:pt idx="37619">3</cx:pt>
          <cx:pt idx="37620">2</cx:pt>
          <cx:pt idx="37621">2</cx:pt>
          <cx:pt idx="37622">2</cx:pt>
          <cx:pt idx="37623">1</cx:pt>
          <cx:pt idx="37624">1</cx:pt>
          <cx:pt idx="37625">2</cx:pt>
          <cx:pt idx="37626">1</cx:pt>
          <cx:pt idx="37627">4</cx:pt>
          <cx:pt idx="37628">2</cx:pt>
          <cx:pt idx="37629">1</cx:pt>
          <cx:pt idx="37630">2</cx:pt>
          <cx:pt idx="37631">2</cx:pt>
          <cx:pt idx="37632">3</cx:pt>
          <cx:pt idx="37633">1</cx:pt>
          <cx:pt idx="37634">4</cx:pt>
          <cx:pt idx="37635">5</cx:pt>
          <cx:pt idx="37636">4</cx:pt>
          <cx:pt idx="37637">5</cx:pt>
          <cx:pt idx="37638">3</cx:pt>
          <cx:pt idx="37639">2</cx:pt>
          <cx:pt idx="37640">0</cx:pt>
          <cx:pt idx="37641">5</cx:pt>
          <cx:pt idx="37642">4</cx:pt>
          <cx:pt idx="37643">2</cx:pt>
          <cx:pt idx="37644">5</cx:pt>
          <cx:pt idx="37645">3</cx:pt>
          <cx:pt idx="37646">1</cx:pt>
          <cx:pt idx="37647">2</cx:pt>
          <cx:pt idx="37648">4</cx:pt>
          <cx:pt idx="37649">0</cx:pt>
          <cx:pt idx="37650">2</cx:pt>
          <cx:pt idx="37651">4</cx:pt>
          <cx:pt idx="37652">0</cx:pt>
          <cx:pt idx="37653">4</cx:pt>
          <cx:pt idx="37654">3</cx:pt>
          <cx:pt idx="37655">2</cx:pt>
          <cx:pt idx="37656">4</cx:pt>
          <cx:pt idx="37657">4</cx:pt>
          <cx:pt idx="37658">4</cx:pt>
          <cx:pt idx="37659">3</cx:pt>
          <cx:pt idx="37660">4</cx:pt>
          <cx:pt idx="37661">5</cx:pt>
          <cx:pt idx="37662">3</cx:pt>
          <cx:pt idx="37663">2</cx:pt>
          <cx:pt idx="37664">2</cx:pt>
          <cx:pt idx="37665">5</cx:pt>
          <cx:pt idx="37666">4</cx:pt>
          <cx:pt idx="37667">3</cx:pt>
          <cx:pt idx="37668">4</cx:pt>
          <cx:pt idx="37669">1</cx:pt>
          <cx:pt idx="37670">5</cx:pt>
          <cx:pt idx="37671">2</cx:pt>
          <cx:pt idx="37672">1</cx:pt>
          <cx:pt idx="37673">0</cx:pt>
          <cx:pt idx="37674">5</cx:pt>
          <cx:pt idx="37675">4</cx:pt>
          <cx:pt idx="37676">2</cx:pt>
          <cx:pt idx="37677">1</cx:pt>
          <cx:pt idx="37678">1</cx:pt>
          <cx:pt idx="37679">2</cx:pt>
          <cx:pt idx="37680">4</cx:pt>
          <cx:pt idx="37681">4</cx:pt>
          <cx:pt idx="37682">5</cx:pt>
          <cx:pt idx="37683">1</cx:pt>
          <cx:pt idx="37684">4</cx:pt>
          <cx:pt idx="37685">3</cx:pt>
          <cx:pt idx="37686">4</cx:pt>
          <cx:pt idx="37687">1</cx:pt>
          <cx:pt idx="37688">3</cx:pt>
          <cx:pt idx="37689">5</cx:pt>
          <cx:pt idx="37690">4</cx:pt>
          <cx:pt idx="37691">5</cx:pt>
          <cx:pt idx="37692">5</cx:pt>
          <cx:pt idx="37693">2</cx:pt>
          <cx:pt idx="37694">1</cx:pt>
          <cx:pt idx="37695">1</cx:pt>
          <cx:pt idx="37696">5</cx:pt>
          <cx:pt idx="37697">3</cx:pt>
          <cx:pt idx="37698">4</cx:pt>
          <cx:pt idx="37699">3</cx:pt>
          <cx:pt idx="37700">5</cx:pt>
          <cx:pt idx="37701">4</cx:pt>
          <cx:pt idx="37702">1</cx:pt>
          <cx:pt idx="37703">4</cx:pt>
          <cx:pt idx="37704">4</cx:pt>
          <cx:pt idx="37705">4</cx:pt>
          <cx:pt idx="37706">2</cx:pt>
          <cx:pt idx="37707">5</cx:pt>
          <cx:pt idx="37708">2</cx:pt>
          <cx:pt idx="37709">2</cx:pt>
          <cx:pt idx="37710">4</cx:pt>
          <cx:pt idx="37711">2</cx:pt>
          <cx:pt idx="37712">3</cx:pt>
          <cx:pt idx="37713">4</cx:pt>
          <cx:pt idx="37714">3</cx:pt>
          <cx:pt idx="37715">2</cx:pt>
          <cx:pt idx="37716">1</cx:pt>
          <cx:pt idx="37717">4</cx:pt>
          <cx:pt idx="37718">2</cx:pt>
          <cx:pt idx="37719">5</cx:pt>
          <cx:pt idx="37720">3</cx:pt>
          <cx:pt idx="37721">2</cx:pt>
          <cx:pt idx="37722">2</cx:pt>
          <cx:pt idx="37723">5</cx:pt>
          <cx:pt idx="37724">4</cx:pt>
          <cx:pt idx="37725">2</cx:pt>
          <cx:pt idx="37726">5</cx:pt>
          <cx:pt idx="37727">3</cx:pt>
          <cx:pt idx="37728">1</cx:pt>
          <cx:pt idx="37729">3</cx:pt>
          <cx:pt idx="37730">2</cx:pt>
          <cx:pt idx="37731">2</cx:pt>
          <cx:pt idx="37732">5</cx:pt>
          <cx:pt idx="37733">1</cx:pt>
          <cx:pt idx="37734">3</cx:pt>
          <cx:pt idx="37735">1</cx:pt>
          <cx:pt idx="37736">3</cx:pt>
          <cx:pt idx="37737">5</cx:pt>
          <cx:pt idx="37738">1</cx:pt>
          <cx:pt idx="37739">4</cx:pt>
          <cx:pt idx="37740">5</cx:pt>
          <cx:pt idx="37741">2</cx:pt>
          <cx:pt idx="37742">2</cx:pt>
          <cx:pt idx="37743">3</cx:pt>
          <cx:pt idx="37744">5</cx:pt>
          <cx:pt idx="37745">2</cx:pt>
          <cx:pt idx="37746">2</cx:pt>
          <cx:pt idx="37747">4</cx:pt>
          <cx:pt idx="37748">2</cx:pt>
          <cx:pt idx="37749">2</cx:pt>
          <cx:pt idx="37750">4</cx:pt>
          <cx:pt idx="37751">4</cx:pt>
          <cx:pt idx="37752">5</cx:pt>
          <cx:pt idx="37753">0</cx:pt>
          <cx:pt idx="37754">5</cx:pt>
          <cx:pt idx="37755">2</cx:pt>
          <cx:pt idx="37756">2</cx:pt>
          <cx:pt idx="37757">2</cx:pt>
          <cx:pt idx="37758">0</cx:pt>
          <cx:pt idx="37759">3</cx:pt>
          <cx:pt idx="37760">2</cx:pt>
          <cx:pt idx="37761">3</cx:pt>
          <cx:pt idx="37762">3</cx:pt>
          <cx:pt idx="37763">1</cx:pt>
          <cx:pt idx="37764">5</cx:pt>
          <cx:pt idx="37765">1</cx:pt>
          <cx:pt idx="37766">4</cx:pt>
          <cx:pt idx="37767">5</cx:pt>
          <cx:pt idx="37768">1</cx:pt>
          <cx:pt idx="37769">3</cx:pt>
          <cx:pt idx="37770">1</cx:pt>
          <cx:pt idx="37771">3</cx:pt>
          <cx:pt idx="37772">4</cx:pt>
          <cx:pt idx="37773">4</cx:pt>
          <cx:pt idx="37774">5</cx:pt>
          <cx:pt idx="37775">2</cx:pt>
          <cx:pt idx="37776">5</cx:pt>
          <cx:pt idx="37777">2</cx:pt>
          <cx:pt idx="37778">3</cx:pt>
          <cx:pt idx="37779">2</cx:pt>
          <cx:pt idx="37780">2</cx:pt>
          <cx:pt idx="37781">5</cx:pt>
          <cx:pt idx="37782">5</cx:pt>
          <cx:pt idx="37783">0</cx:pt>
          <cx:pt idx="37784">1</cx:pt>
          <cx:pt idx="37785">5</cx:pt>
          <cx:pt idx="37786">1</cx:pt>
          <cx:pt idx="37787">5</cx:pt>
          <cx:pt idx="37788">0</cx:pt>
          <cx:pt idx="37789">3</cx:pt>
          <cx:pt idx="37790">2</cx:pt>
          <cx:pt idx="37791">4</cx:pt>
          <cx:pt idx="37792">2</cx:pt>
          <cx:pt idx="37793">5</cx:pt>
          <cx:pt idx="37794">5</cx:pt>
          <cx:pt idx="37795">3</cx:pt>
          <cx:pt idx="37796">5</cx:pt>
          <cx:pt idx="37797">3</cx:pt>
          <cx:pt idx="37798">4</cx:pt>
          <cx:pt idx="37799">4</cx:pt>
          <cx:pt idx="37800">4</cx:pt>
          <cx:pt idx="37801">5</cx:pt>
          <cx:pt idx="37802">1</cx:pt>
          <cx:pt idx="37803">1</cx:pt>
          <cx:pt idx="37804">3</cx:pt>
          <cx:pt idx="37805">4</cx:pt>
          <cx:pt idx="37806">2</cx:pt>
          <cx:pt idx="37807">1</cx:pt>
          <cx:pt idx="37808">4</cx:pt>
          <cx:pt idx="37809">0</cx:pt>
          <cx:pt idx="37810">2</cx:pt>
          <cx:pt idx="37811">3</cx:pt>
          <cx:pt idx="37812">0</cx:pt>
          <cx:pt idx="37813">2</cx:pt>
          <cx:pt idx="37814">2</cx:pt>
          <cx:pt idx="37815">4</cx:pt>
          <cx:pt idx="37816">4</cx:pt>
          <cx:pt idx="37817">2</cx:pt>
          <cx:pt idx="37818">4</cx:pt>
          <cx:pt idx="37819">4</cx:pt>
          <cx:pt idx="37820">4</cx:pt>
          <cx:pt idx="37821">3</cx:pt>
          <cx:pt idx="37822">4</cx:pt>
          <cx:pt idx="37823">5</cx:pt>
          <cx:pt idx="37824">1</cx:pt>
          <cx:pt idx="37825">2</cx:pt>
          <cx:pt idx="37826">2</cx:pt>
          <cx:pt idx="37827">3</cx:pt>
          <cx:pt idx="37828">4</cx:pt>
          <cx:pt idx="37829">0</cx:pt>
          <cx:pt idx="37830">3</cx:pt>
          <cx:pt idx="37831">2</cx:pt>
          <cx:pt idx="37832">1</cx:pt>
          <cx:pt idx="37833">4</cx:pt>
          <cx:pt idx="37834">3</cx:pt>
          <cx:pt idx="37835">4</cx:pt>
          <cx:pt idx="37836">5</cx:pt>
          <cx:pt idx="37837">1</cx:pt>
          <cx:pt idx="37838">2</cx:pt>
          <cx:pt idx="37839">4</cx:pt>
          <cx:pt idx="37840">3</cx:pt>
          <cx:pt idx="37841">2</cx:pt>
          <cx:pt idx="37842">3</cx:pt>
          <cx:pt idx="37843">2</cx:pt>
          <cx:pt idx="37844">3</cx:pt>
          <cx:pt idx="37845">3</cx:pt>
          <cx:pt idx="37846">2</cx:pt>
          <cx:pt idx="37847">1</cx:pt>
          <cx:pt idx="37848">4</cx:pt>
          <cx:pt idx="37849">0</cx:pt>
          <cx:pt idx="37850">3</cx:pt>
          <cx:pt idx="37851">5</cx:pt>
          <cx:pt idx="37852">1</cx:pt>
          <cx:pt idx="37853">1</cx:pt>
          <cx:pt idx="37854">1</cx:pt>
          <cx:pt idx="37855">3</cx:pt>
          <cx:pt idx="37856">2</cx:pt>
          <cx:pt idx="37857">4</cx:pt>
          <cx:pt idx="37858">4</cx:pt>
          <cx:pt idx="37859">4</cx:pt>
          <cx:pt idx="37860">4</cx:pt>
          <cx:pt idx="37861">3</cx:pt>
          <cx:pt idx="37862">5</cx:pt>
          <cx:pt idx="37863">2</cx:pt>
          <cx:pt idx="37864">4</cx:pt>
          <cx:pt idx="37865">2</cx:pt>
          <cx:pt idx="37866">5</cx:pt>
          <cx:pt idx="37867">5</cx:pt>
          <cx:pt idx="37868">1</cx:pt>
          <cx:pt idx="37869">3</cx:pt>
          <cx:pt idx="37870">0</cx:pt>
          <cx:pt idx="37871">3</cx:pt>
          <cx:pt idx="37872">3</cx:pt>
          <cx:pt idx="37873">1</cx:pt>
          <cx:pt idx="37874">4</cx:pt>
          <cx:pt idx="37875">4</cx:pt>
          <cx:pt idx="37876">5</cx:pt>
          <cx:pt idx="37877">3</cx:pt>
          <cx:pt idx="37878">2</cx:pt>
          <cx:pt idx="37879">2</cx:pt>
          <cx:pt idx="37880">5</cx:pt>
          <cx:pt idx="37881">2</cx:pt>
          <cx:pt idx="37882">3</cx:pt>
          <cx:pt idx="37883">4</cx:pt>
          <cx:pt idx="37884">5</cx:pt>
          <cx:pt idx="37885">4</cx:pt>
          <cx:pt idx="37886">3</cx:pt>
          <cx:pt idx="37887">1</cx:pt>
          <cx:pt idx="37888">2</cx:pt>
          <cx:pt idx="37889">1</cx:pt>
          <cx:pt idx="37890">1</cx:pt>
          <cx:pt idx="37891">2</cx:pt>
          <cx:pt idx="37892">1</cx:pt>
          <cx:pt idx="37893">2</cx:pt>
          <cx:pt idx="37894">4</cx:pt>
          <cx:pt idx="37895">5</cx:pt>
          <cx:pt idx="37896">5</cx:pt>
          <cx:pt idx="37897">4</cx:pt>
          <cx:pt idx="37898">3</cx:pt>
          <cx:pt idx="37899">3</cx:pt>
          <cx:pt idx="37900">2</cx:pt>
          <cx:pt idx="37901">5</cx:pt>
          <cx:pt idx="37902">4</cx:pt>
          <cx:pt idx="37903">4</cx:pt>
          <cx:pt idx="37904">4</cx:pt>
          <cx:pt idx="37905">3</cx:pt>
          <cx:pt idx="37906">2</cx:pt>
          <cx:pt idx="37907">2</cx:pt>
          <cx:pt idx="37908">4</cx:pt>
          <cx:pt idx="37909">1</cx:pt>
          <cx:pt idx="37910">3</cx:pt>
          <cx:pt idx="37911">4</cx:pt>
          <cx:pt idx="37912">2</cx:pt>
          <cx:pt idx="37913">3</cx:pt>
          <cx:pt idx="37914">3</cx:pt>
          <cx:pt idx="37915">4</cx:pt>
          <cx:pt idx="37916">5</cx:pt>
          <cx:pt idx="37917">3</cx:pt>
          <cx:pt idx="37918">4</cx:pt>
          <cx:pt idx="37919">2</cx:pt>
          <cx:pt idx="37920">2</cx:pt>
          <cx:pt idx="37921">5</cx:pt>
          <cx:pt idx="37922">1</cx:pt>
          <cx:pt idx="37923">5</cx:pt>
          <cx:pt idx="37924">4</cx:pt>
          <cx:pt idx="37925">2</cx:pt>
          <cx:pt idx="37926">1</cx:pt>
          <cx:pt idx="37927">1</cx:pt>
          <cx:pt idx="37928">2</cx:pt>
          <cx:pt idx="37929">2</cx:pt>
          <cx:pt idx="37930">1</cx:pt>
          <cx:pt idx="37931">1</cx:pt>
          <cx:pt idx="37932">3</cx:pt>
          <cx:pt idx="37933">3</cx:pt>
          <cx:pt idx="37934">2</cx:pt>
          <cx:pt idx="37935">4</cx:pt>
          <cx:pt idx="37936">2</cx:pt>
          <cx:pt idx="37937">3</cx:pt>
          <cx:pt idx="37938">3</cx:pt>
          <cx:pt idx="37939">1</cx:pt>
          <cx:pt idx="37940">4</cx:pt>
          <cx:pt idx="37941">1</cx:pt>
          <cx:pt idx="37942">3</cx:pt>
          <cx:pt idx="37943">5</cx:pt>
          <cx:pt idx="37944">2</cx:pt>
          <cx:pt idx="37945">3</cx:pt>
          <cx:pt idx="37946">3</cx:pt>
          <cx:pt idx="37947">1</cx:pt>
          <cx:pt idx="37948">4</cx:pt>
          <cx:pt idx="37949">4</cx:pt>
          <cx:pt idx="37950">4</cx:pt>
          <cx:pt idx="37951">2</cx:pt>
          <cx:pt idx="37952">4</cx:pt>
          <cx:pt idx="37953">3</cx:pt>
          <cx:pt idx="37954">4</cx:pt>
          <cx:pt idx="37955">5</cx:pt>
          <cx:pt idx="37956">2</cx:pt>
          <cx:pt idx="37957">3</cx:pt>
          <cx:pt idx="37958">1</cx:pt>
          <cx:pt idx="37959">5</cx:pt>
          <cx:pt idx="37960">4</cx:pt>
          <cx:pt idx="37961">1</cx:pt>
          <cx:pt idx="37962">4</cx:pt>
          <cx:pt idx="37963">1</cx:pt>
          <cx:pt idx="37964">1</cx:pt>
          <cx:pt idx="37965">4</cx:pt>
          <cx:pt idx="37966">5</cx:pt>
          <cx:pt idx="37967">1</cx:pt>
          <cx:pt idx="37968">1</cx:pt>
          <cx:pt idx="37969">1</cx:pt>
          <cx:pt idx="37970">1</cx:pt>
          <cx:pt idx="37971">4</cx:pt>
          <cx:pt idx="37972">2</cx:pt>
          <cx:pt idx="37973">3</cx:pt>
          <cx:pt idx="37974">4</cx:pt>
          <cx:pt idx="37975">1</cx:pt>
          <cx:pt idx="37976">1</cx:pt>
          <cx:pt idx="37977">2</cx:pt>
          <cx:pt idx="37978">4</cx:pt>
          <cx:pt idx="37979">5</cx:pt>
          <cx:pt idx="37980">4</cx:pt>
          <cx:pt idx="37981">1</cx:pt>
          <cx:pt idx="37982">1</cx:pt>
          <cx:pt idx="37983">3</cx:pt>
          <cx:pt idx="37984">4</cx:pt>
          <cx:pt idx="37985">2</cx:pt>
          <cx:pt idx="37986">2</cx:pt>
          <cx:pt idx="37987">3</cx:pt>
          <cx:pt idx="37988">3</cx:pt>
          <cx:pt idx="37989">5</cx:pt>
          <cx:pt idx="37990">3</cx:pt>
          <cx:pt idx="37991">1</cx:pt>
          <cx:pt idx="37992">1</cx:pt>
          <cx:pt idx="37993">1</cx:pt>
          <cx:pt idx="37994">5</cx:pt>
          <cx:pt idx="37995">3</cx:pt>
          <cx:pt idx="37996">4</cx:pt>
          <cx:pt idx="37997">1</cx:pt>
          <cx:pt idx="37998">3</cx:pt>
          <cx:pt idx="37999">2</cx:pt>
          <cx:pt idx="38000">5</cx:pt>
          <cx:pt idx="38001">1</cx:pt>
          <cx:pt idx="38002">0</cx:pt>
          <cx:pt idx="38003">4</cx:pt>
          <cx:pt idx="38004">1</cx:pt>
          <cx:pt idx="38005">2</cx:pt>
          <cx:pt idx="38006">1</cx:pt>
          <cx:pt idx="38007">2</cx:pt>
          <cx:pt idx="38008">2</cx:pt>
          <cx:pt idx="38009">1</cx:pt>
          <cx:pt idx="38010">3</cx:pt>
          <cx:pt idx="38011">4</cx:pt>
          <cx:pt idx="38012">4</cx:pt>
          <cx:pt idx="38013">0</cx:pt>
          <cx:pt idx="38014">4</cx:pt>
          <cx:pt idx="38015">3</cx:pt>
          <cx:pt idx="38016">1</cx:pt>
          <cx:pt idx="38017">3</cx:pt>
          <cx:pt idx="38018">5</cx:pt>
          <cx:pt idx="38019">5</cx:pt>
          <cx:pt idx="38020">4</cx:pt>
          <cx:pt idx="38021">1</cx:pt>
          <cx:pt idx="38022">3</cx:pt>
          <cx:pt idx="38023">1</cx:pt>
          <cx:pt idx="38024">3</cx:pt>
          <cx:pt idx="38025">5</cx:pt>
          <cx:pt idx="38026">0</cx:pt>
          <cx:pt idx="38027">1</cx:pt>
          <cx:pt idx="38028">4</cx:pt>
          <cx:pt idx="38029">1</cx:pt>
          <cx:pt idx="38030">2</cx:pt>
          <cx:pt idx="38031">2</cx:pt>
          <cx:pt idx="38032">5</cx:pt>
          <cx:pt idx="38033">1</cx:pt>
          <cx:pt idx="38034">1</cx:pt>
          <cx:pt idx="38035">4</cx:pt>
          <cx:pt idx="38036">2</cx:pt>
          <cx:pt idx="38037">3</cx:pt>
          <cx:pt idx="38038">0</cx:pt>
          <cx:pt idx="38039">2</cx:pt>
          <cx:pt idx="38040">3</cx:pt>
          <cx:pt idx="38041">3</cx:pt>
          <cx:pt idx="38042">3</cx:pt>
          <cx:pt idx="38043">5</cx:pt>
          <cx:pt idx="38044">1</cx:pt>
          <cx:pt idx="38045">3</cx:pt>
          <cx:pt idx="38046">2</cx:pt>
          <cx:pt idx="38047">2</cx:pt>
          <cx:pt idx="38048">2</cx:pt>
          <cx:pt idx="38049">3</cx:pt>
          <cx:pt idx="38050">3</cx:pt>
          <cx:pt idx="38051">2</cx:pt>
          <cx:pt idx="38052">2</cx:pt>
          <cx:pt idx="38053">2</cx:pt>
          <cx:pt idx="38054">5</cx:pt>
          <cx:pt idx="38055">1</cx:pt>
          <cx:pt idx="38056">3</cx:pt>
          <cx:pt idx="38057">1</cx:pt>
          <cx:pt idx="38058">3</cx:pt>
          <cx:pt idx="38059">2</cx:pt>
          <cx:pt idx="38060">5</cx:pt>
          <cx:pt idx="38061">1</cx:pt>
          <cx:pt idx="38062">2</cx:pt>
          <cx:pt idx="38063">1</cx:pt>
          <cx:pt idx="38064">4</cx:pt>
          <cx:pt idx="38065">1</cx:pt>
          <cx:pt idx="38066">0</cx:pt>
          <cx:pt idx="38067">1</cx:pt>
          <cx:pt idx="38068">0</cx:pt>
          <cx:pt idx="38069">2</cx:pt>
          <cx:pt idx="38070">2</cx:pt>
          <cx:pt idx="38071">1</cx:pt>
          <cx:pt idx="38072">4</cx:pt>
          <cx:pt idx="38073">1</cx:pt>
          <cx:pt idx="38074">2</cx:pt>
          <cx:pt idx="38075">3</cx:pt>
          <cx:pt idx="38076">3</cx:pt>
          <cx:pt idx="38077">4</cx:pt>
          <cx:pt idx="38078">3</cx:pt>
          <cx:pt idx="38079">2</cx:pt>
          <cx:pt idx="38080">5</cx:pt>
          <cx:pt idx="38081">5</cx:pt>
          <cx:pt idx="38082">4</cx:pt>
          <cx:pt idx="38083">2</cx:pt>
          <cx:pt idx="38084">4</cx:pt>
          <cx:pt idx="38085">2</cx:pt>
          <cx:pt idx="38086">1</cx:pt>
          <cx:pt idx="38087">1</cx:pt>
          <cx:pt idx="38088">2</cx:pt>
          <cx:pt idx="38089">2</cx:pt>
          <cx:pt idx="38090">4</cx:pt>
          <cx:pt idx="38091">4</cx:pt>
          <cx:pt idx="38092">3</cx:pt>
          <cx:pt idx="38093">5</cx:pt>
          <cx:pt idx="38094">4</cx:pt>
          <cx:pt idx="38095">2</cx:pt>
          <cx:pt idx="38096">5</cx:pt>
          <cx:pt idx="38097">4</cx:pt>
          <cx:pt idx="38098">1</cx:pt>
          <cx:pt idx="38099">2</cx:pt>
          <cx:pt idx="38100">1</cx:pt>
          <cx:pt idx="38101">0</cx:pt>
          <cx:pt idx="38102">5</cx:pt>
          <cx:pt idx="38103">1</cx:pt>
          <cx:pt idx="38104">1</cx:pt>
          <cx:pt idx="38105">4</cx:pt>
          <cx:pt idx="38106">3</cx:pt>
          <cx:pt idx="38107">4</cx:pt>
          <cx:pt idx="38108">3</cx:pt>
          <cx:pt idx="38109">2</cx:pt>
          <cx:pt idx="38110">1</cx:pt>
          <cx:pt idx="38111">3</cx:pt>
          <cx:pt idx="38112">2</cx:pt>
          <cx:pt idx="38113">2</cx:pt>
          <cx:pt idx="38114">5</cx:pt>
          <cx:pt idx="38115">2</cx:pt>
          <cx:pt idx="38116">3</cx:pt>
          <cx:pt idx="38117">1</cx:pt>
          <cx:pt idx="38118">4</cx:pt>
          <cx:pt idx="38119">3</cx:pt>
          <cx:pt idx="38120">4</cx:pt>
          <cx:pt idx="38121">2</cx:pt>
          <cx:pt idx="38122">4</cx:pt>
          <cx:pt idx="38123">1</cx:pt>
          <cx:pt idx="38124">5</cx:pt>
          <cx:pt idx="38125">4</cx:pt>
          <cx:pt idx="38126">3</cx:pt>
          <cx:pt idx="38127">5</cx:pt>
          <cx:pt idx="38128">4</cx:pt>
          <cx:pt idx="38129">3</cx:pt>
          <cx:pt idx="38130">4</cx:pt>
          <cx:pt idx="38131">2</cx:pt>
          <cx:pt idx="38132">3</cx:pt>
          <cx:pt idx="38133">1</cx:pt>
          <cx:pt idx="38134">2</cx:pt>
          <cx:pt idx="38135">2</cx:pt>
          <cx:pt idx="38136">2</cx:pt>
          <cx:pt idx="38137">2</cx:pt>
          <cx:pt idx="38138">4</cx:pt>
          <cx:pt idx="38139">2</cx:pt>
          <cx:pt idx="38140">4</cx:pt>
          <cx:pt idx="38141">4</cx:pt>
          <cx:pt idx="38142">2</cx:pt>
          <cx:pt idx="38143">3</cx:pt>
          <cx:pt idx="38144">1</cx:pt>
          <cx:pt idx="38145">4</cx:pt>
          <cx:pt idx="38146">2</cx:pt>
          <cx:pt idx="38147">1</cx:pt>
          <cx:pt idx="38148">2</cx:pt>
          <cx:pt idx="38149">3</cx:pt>
          <cx:pt idx="38150">4</cx:pt>
          <cx:pt idx="38151">4</cx:pt>
          <cx:pt idx="38152">2</cx:pt>
          <cx:pt idx="38153">2</cx:pt>
          <cx:pt idx="38154">5</cx:pt>
          <cx:pt idx="38155">2</cx:pt>
          <cx:pt idx="38156">3</cx:pt>
          <cx:pt idx="38157">4</cx:pt>
          <cx:pt idx="38158">3</cx:pt>
          <cx:pt idx="38159">2</cx:pt>
          <cx:pt idx="38160">4</cx:pt>
          <cx:pt idx="38161">0</cx:pt>
          <cx:pt idx="38162">5</cx:pt>
          <cx:pt idx="38163">1</cx:pt>
          <cx:pt idx="38164">3</cx:pt>
          <cx:pt idx="38165">5</cx:pt>
          <cx:pt idx="38166">1</cx:pt>
          <cx:pt idx="38167">1</cx:pt>
          <cx:pt idx="38168">5</cx:pt>
          <cx:pt idx="38169">3</cx:pt>
          <cx:pt idx="38170">4</cx:pt>
          <cx:pt idx="38171">1</cx:pt>
          <cx:pt idx="38172">2</cx:pt>
          <cx:pt idx="38173">0</cx:pt>
          <cx:pt idx="38174">2</cx:pt>
          <cx:pt idx="38175">4</cx:pt>
          <cx:pt idx="38176">3</cx:pt>
          <cx:pt idx="38177">2</cx:pt>
          <cx:pt idx="38178">2</cx:pt>
          <cx:pt idx="38179">4</cx:pt>
          <cx:pt idx="38180">2</cx:pt>
          <cx:pt idx="38181">4</cx:pt>
          <cx:pt idx="38182">1</cx:pt>
          <cx:pt idx="38183">2</cx:pt>
          <cx:pt idx="38184">2</cx:pt>
          <cx:pt idx="38185">5</cx:pt>
          <cx:pt idx="38186">5</cx:pt>
          <cx:pt idx="38187">4</cx:pt>
          <cx:pt idx="38188">2</cx:pt>
          <cx:pt idx="38189">1</cx:pt>
          <cx:pt idx="38190">2</cx:pt>
          <cx:pt idx="38191">5</cx:pt>
          <cx:pt idx="38192">4</cx:pt>
          <cx:pt idx="38193">4</cx:pt>
          <cx:pt idx="38194">3</cx:pt>
          <cx:pt idx="38195">4</cx:pt>
          <cx:pt idx="38196">4</cx:pt>
          <cx:pt idx="38197">0</cx:pt>
          <cx:pt idx="38198">1</cx:pt>
          <cx:pt idx="38199">1</cx:pt>
          <cx:pt idx="38200">2</cx:pt>
          <cx:pt idx="38201">2</cx:pt>
          <cx:pt idx="38202">2</cx:pt>
          <cx:pt idx="38203">5</cx:pt>
          <cx:pt idx="38204">1</cx:pt>
          <cx:pt idx="38205">3</cx:pt>
          <cx:pt idx="38206">3</cx:pt>
          <cx:pt idx="38207">2</cx:pt>
          <cx:pt idx="38208">2</cx:pt>
          <cx:pt idx="38209">0</cx:pt>
          <cx:pt idx="38210">1</cx:pt>
          <cx:pt idx="38211">1</cx:pt>
          <cx:pt idx="38212">1</cx:pt>
          <cx:pt idx="38213">5</cx:pt>
          <cx:pt idx="38214">1</cx:pt>
          <cx:pt idx="38215">4</cx:pt>
          <cx:pt idx="38216">4</cx:pt>
          <cx:pt idx="38217">2</cx:pt>
          <cx:pt idx="38218">4</cx:pt>
          <cx:pt idx="38219">2</cx:pt>
          <cx:pt idx="38220">5</cx:pt>
          <cx:pt idx="38221">5</cx:pt>
          <cx:pt idx="38222">3</cx:pt>
          <cx:pt idx="38223">5</cx:pt>
          <cx:pt idx="38224">4</cx:pt>
          <cx:pt idx="38225">3</cx:pt>
          <cx:pt idx="38226">1</cx:pt>
          <cx:pt idx="38227">2</cx:pt>
          <cx:pt idx="38228">1</cx:pt>
          <cx:pt idx="38229">3</cx:pt>
          <cx:pt idx="38230">2</cx:pt>
          <cx:pt idx="38231">2</cx:pt>
          <cx:pt idx="38232">5</cx:pt>
          <cx:pt idx="38233">5</cx:pt>
          <cx:pt idx="38234">5</cx:pt>
          <cx:pt idx="38235">4</cx:pt>
          <cx:pt idx="38236">1</cx:pt>
          <cx:pt idx="38237">2</cx:pt>
          <cx:pt idx="38238">4</cx:pt>
          <cx:pt idx="38239">4</cx:pt>
          <cx:pt idx="38240">0</cx:pt>
          <cx:pt idx="38241">4</cx:pt>
          <cx:pt idx="38242">1</cx:pt>
          <cx:pt idx="38243">4</cx:pt>
          <cx:pt idx="38244">5</cx:pt>
          <cx:pt idx="38245">3</cx:pt>
          <cx:pt idx="38246">2</cx:pt>
          <cx:pt idx="38247">3</cx:pt>
          <cx:pt idx="38248">4</cx:pt>
          <cx:pt idx="38249">3</cx:pt>
          <cx:pt idx="38250">2</cx:pt>
          <cx:pt idx="38251">0</cx:pt>
          <cx:pt idx="38252">2</cx:pt>
          <cx:pt idx="38253">3</cx:pt>
          <cx:pt idx="38254">4</cx:pt>
          <cx:pt idx="38255">5</cx:pt>
          <cx:pt idx="38256">4</cx:pt>
          <cx:pt idx="38257">5</cx:pt>
          <cx:pt idx="38258">2</cx:pt>
          <cx:pt idx="38259">3</cx:pt>
          <cx:pt idx="38260">0</cx:pt>
          <cx:pt idx="38261">5</cx:pt>
          <cx:pt idx="38262">3</cx:pt>
          <cx:pt idx="38263">5</cx:pt>
          <cx:pt idx="38264">4</cx:pt>
          <cx:pt idx="38265">5</cx:pt>
          <cx:pt idx="38266">0</cx:pt>
          <cx:pt idx="38267">2</cx:pt>
          <cx:pt idx="38268">4</cx:pt>
          <cx:pt idx="38269">4</cx:pt>
          <cx:pt idx="38270">1</cx:pt>
          <cx:pt idx="38271">4</cx:pt>
          <cx:pt idx="38272">2</cx:pt>
          <cx:pt idx="38273">2</cx:pt>
          <cx:pt idx="38274">3</cx:pt>
          <cx:pt idx="38275">2</cx:pt>
          <cx:pt idx="38276">3</cx:pt>
          <cx:pt idx="38277">4</cx:pt>
          <cx:pt idx="38278">5</cx:pt>
          <cx:pt idx="38279">3</cx:pt>
          <cx:pt idx="38280">5</cx:pt>
          <cx:pt idx="38281">1</cx:pt>
          <cx:pt idx="38282">3</cx:pt>
          <cx:pt idx="38283">5</cx:pt>
          <cx:pt idx="38284">1</cx:pt>
          <cx:pt idx="38285">3</cx:pt>
          <cx:pt idx="38286">5</cx:pt>
          <cx:pt idx="38287">1</cx:pt>
          <cx:pt idx="38288">1</cx:pt>
          <cx:pt idx="38289">2</cx:pt>
          <cx:pt idx="38290">1</cx:pt>
          <cx:pt idx="38291">1</cx:pt>
          <cx:pt idx="38292">1</cx:pt>
          <cx:pt idx="38293">3</cx:pt>
          <cx:pt idx="38294">3</cx:pt>
          <cx:pt idx="38295">5</cx:pt>
          <cx:pt idx="38296">4</cx:pt>
          <cx:pt idx="38297">1</cx:pt>
          <cx:pt idx="38298">4</cx:pt>
          <cx:pt idx="38299">1</cx:pt>
          <cx:pt idx="38300">5</cx:pt>
          <cx:pt idx="38301">4</cx:pt>
          <cx:pt idx="38302">1</cx:pt>
          <cx:pt idx="38303">4</cx:pt>
          <cx:pt idx="38304">4</cx:pt>
          <cx:pt idx="38305">3</cx:pt>
          <cx:pt idx="38306">3</cx:pt>
          <cx:pt idx="38307">5</cx:pt>
          <cx:pt idx="38308">3</cx:pt>
          <cx:pt idx="38309">1</cx:pt>
          <cx:pt idx="38310">4</cx:pt>
          <cx:pt idx="38311">4</cx:pt>
          <cx:pt idx="38312">2</cx:pt>
          <cx:pt idx="38313">1</cx:pt>
          <cx:pt idx="38314">2</cx:pt>
          <cx:pt idx="38315">4</cx:pt>
          <cx:pt idx="38316">4</cx:pt>
          <cx:pt idx="38317">2</cx:pt>
          <cx:pt idx="38318">4</cx:pt>
          <cx:pt idx="38319">4</cx:pt>
          <cx:pt idx="38320">2</cx:pt>
          <cx:pt idx="38321">1</cx:pt>
          <cx:pt idx="38322">2</cx:pt>
          <cx:pt idx="38323">2</cx:pt>
          <cx:pt idx="38324">3</cx:pt>
          <cx:pt idx="38325">1</cx:pt>
          <cx:pt idx="38326">3</cx:pt>
          <cx:pt idx="38327">2</cx:pt>
          <cx:pt idx="38328">1</cx:pt>
          <cx:pt idx="38329">2</cx:pt>
          <cx:pt idx="38330">3</cx:pt>
          <cx:pt idx="38331">2</cx:pt>
          <cx:pt idx="38332">1</cx:pt>
          <cx:pt idx="38333">1</cx:pt>
          <cx:pt idx="38334">4</cx:pt>
          <cx:pt idx="38335">3</cx:pt>
          <cx:pt idx="38336">2</cx:pt>
          <cx:pt idx="38337">0</cx:pt>
          <cx:pt idx="38338">5</cx:pt>
          <cx:pt idx="38339">3</cx:pt>
          <cx:pt idx="38340">5</cx:pt>
          <cx:pt idx="38341">0</cx:pt>
          <cx:pt idx="38342">4</cx:pt>
          <cx:pt idx="38343">4</cx:pt>
          <cx:pt idx="38344">2</cx:pt>
          <cx:pt idx="38345">3</cx:pt>
          <cx:pt idx="38346">5</cx:pt>
          <cx:pt idx="38347">3</cx:pt>
          <cx:pt idx="38348">2</cx:pt>
          <cx:pt idx="38349">3</cx:pt>
          <cx:pt idx="38350">2</cx:pt>
          <cx:pt idx="38351">1</cx:pt>
          <cx:pt idx="38352">4</cx:pt>
          <cx:pt idx="38353">2</cx:pt>
          <cx:pt idx="38354">3</cx:pt>
          <cx:pt idx="38355">3</cx:pt>
          <cx:pt idx="38356">3</cx:pt>
          <cx:pt idx="38357">2</cx:pt>
          <cx:pt idx="38358">0</cx:pt>
          <cx:pt idx="38359">4</cx:pt>
          <cx:pt idx="38360">2</cx:pt>
          <cx:pt idx="38361">4</cx:pt>
          <cx:pt idx="38362">1</cx:pt>
          <cx:pt idx="38363">1</cx:pt>
          <cx:pt idx="38364">4</cx:pt>
          <cx:pt idx="38365">1</cx:pt>
          <cx:pt idx="38366">3</cx:pt>
          <cx:pt idx="38367">5</cx:pt>
          <cx:pt idx="38368">4</cx:pt>
          <cx:pt idx="38369">4</cx:pt>
          <cx:pt idx="38370">3</cx:pt>
          <cx:pt idx="38371">4</cx:pt>
          <cx:pt idx="38372">4</cx:pt>
          <cx:pt idx="38373">3</cx:pt>
          <cx:pt idx="38374">2</cx:pt>
          <cx:pt idx="38375">2</cx:pt>
          <cx:pt idx="38376">0</cx:pt>
          <cx:pt idx="38377">1</cx:pt>
          <cx:pt idx="38378">3</cx:pt>
          <cx:pt idx="38379">5</cx:pt>
          <cx:pt idx="38380">4</cx:pt>
          <cx:pt idx="38381">3</cx:pt>
          <cx:pt idx="38382">4</cx:pt>
          <cx:pt idx="38383">4</cx:pt>
          <cx:pt idx="38384">5</cx:pt>
          <cx:pt idx="38385">4</cx:pt>
          <cx:pt idx="38386">1</cx:pt>
          <cx:pt idx="38387">5</cx:pt>
          <cx:pt idx="38388">2</cx:pt>
          <cx:pt idx="38389">1</cx:pt>
          <cx:pt idx="38390">3</cx:pt>
          <cx:pt idx="38391">1</cx:pt>
          <cx:pt idx="38392">3</cx:pt>
          <cx:pt idx="38393">2</cx:pt>
          <cx:pt idx="38394">2</cx:pt>
          <cx:pt idx="38395">4</cx:pt>
          <cx:pt idx="38396">4</cx:pt>
          <cx:pt idx="38397">5</cx:pt>
          <cx:pt idx="38398">2</cx:pt>
          <cx:pt idx="38399">1</cx:pt>
          <cx:pt idx="38400">1</cx:pt>
          <cx:pt idx="38401">1</cx:pt>
          <cx:pt idx="38402">2</cx:pt>
          <cx:pt idx="38403">5</cx:pt>
          <cx:pt idx="38404">3</cx:pt>
          <cx:pt idx="38405">3</cx:pt>
          <cx:pt idx="38406">5</cx:pt>
          <cx:pt idx="38407">5</cx:pt>
          <cx:pt idx="38408">3</cx:pt>
          <cx:pt idx="38409">2</cx:pt>
          <cx:pt idx="38410">3</cx:pt>
          <cx:pt idx="38411">3</cx:pt>
          <cx:pt idx="38412">1</cx:pt>
          <cx:pt idx="38413">3</cx:pt>
          <cx:pt idx="38414">1</cx:pt>
          <cx:pt idx="38415">4</cx:pt>
          <cx:pt idx="38416">1</cx:pt>
          <cx:pt idx="38417">5</cx:pt>
          <cx:pt idx="38418">3</cx:pt>
          <cx:pt idx="38419">4</cx:pt>
          <cx:pt idx="38420">4</cx:pt>
          <cx:pt idx="38421">4</cx:pt>
          <cx:pt idx="38422">1</cx:pt>
          <cx:pt idx="38423">1</cx:pt>
          <cx:pt idx="38424">1</cx:pt>
          <cx:pt idx="38425">3</cx:pt>
          <cx:pt idx="38426">0</cx:pt>
          <cx:pt idx="38427">4</cx:pt>
          <cx:pt idx="38428">1</cx:pt>
          <cx:pt idx="38429">4</cx:pt>
          <cx:pt idx="38430">2</cx:pt>
          <cx:pt idx="38431">4</cx:pt>
          <cx:pt idx="38432">2</cx:pt>
          <cx:pt idx="38433">2</cx:pt>
          <cx:pt idx="38434">5</cx:pt>
          <cx:pt idx="38435">4</cx:pt>
          <cx:pt idx="38436">2</cx:pt>
          <cx:pt idx="38437">5</cx:pt>
          <cx:pt idx="38438">5</cx:pt>
          <cx:pt idx="38439">5</cx:pt>
          <cx:pt idx="38440">1</cx:pt>
          <cx:pt idx="38441">4</cx:pt>
          <cx:pt idx="38442">5</cx:pt>
          <cx:pt idx="38443">2</cx:pt>
          <cx:pt idx="38444">2</cx:pt>
          <cx:pt idx="38445">0</cx:pt>
          <cx:pt idx="38446">3</cx:pt>
          <cx:pt idx="38447">2</cx:pt>
          <cx:pt idx="38448">3</cx:pt>
          <cx:pt idx="38449">2</cx:pt>
          <cx:pt idx="38450">2</cx:pt>
          <cx:pt idx="38451">1</cx:pt>
          <cx:pt idx="38452">4</cx:pt>
          <cx:pt idx="38453">2</cx:pt>
          <cx:pt idx="38454">2</cx:pt>
          <cx:pt idx="38455">3</cx:pt>
          <cx:pt idx="38456">1</cx:pt>
          <cx:pt idx="38457">2</cx:pt>
          <cx:pt idx="38458">1</cx:pt>
          <cx:pt idx="38459">1</cx:pt>
          <cx:pt idx="38460">3</cx:pt>
          <cx:pt idx="38461">3</cx:pt>
          <cx:pt idx="38462">2</cx:pt>
          <cx:pt idx="38463">5</cx:pt>
          <cx:pt idx="38464">2</cx:pt>
          <cx:pt idx="38465">2</cx:pt>
          <cx:pt idx="38466">4</cx:pt>
          <cx:pt idx="38467">3</cx:pt>
          <cx:pt idx="38468">1</cx:pt>
          <cx:pt idx="38469">2</cx:pt>
          <cx:pt idx="38470">2</cx:pt>
          <cx:pt idx="38471">5</cx:pt>
          <cx:pt idx="38472">4</cx:pt>
          <cx:pt idx="38473">2</cx:pt>
          <cx:pt idx="38474">5</cx:pt>
          <cx:pt idx="38475">2</cx:pt>
          <cx:pt idx="38476">1</cx:pt>
          <cx:pt idx="38477">2</cx:pt>
          <cx:pt idx="38478">0</cx:pt>
          <cx:pt idx="38479">2</cx:pt>
          <cx:pt idx="38480">1</cx:pt>
          <cx:pt idx="38481">4</cx:pt>
          <cx:pt idx="38482">1</cx:pt>
          <cx:pt idx="38483">0</cx:pt>
          <cx:pt idx="38484">4</cx:pt>
          <cx:pt idx="38485">1</cx:pt>
          <cx:pt idx="38486">2</cx:pt>
          <cx:pt idx="38487">3</cx:pt>
          <cx:pt idx="38488">2</cx:pt>
          <cx:pt idx="38489">2</cx:pt>
          <cx:pt idx="38490">5</cx:pt>
          <cx:pt idx="38491">0</cx:pt>
          <cx:pt idx="38492">4</cx:pt>
          <cx:pt idx="38493">2</cx:pt>
          <cx:pt idx="38494">3</cx:pt>
          <cx:pt idx="38495">1</cx:pt>
          <cx:pt idx="38496">1</cx:pt>
          <cx:pt idx="38497">4</cx:pt>
          <cx:pt idx="38498">3</cx:pt>
          <cx:pt idx="38499">2</cx:pt>
          <cx:pt idx="38500">2</cx:pt>
          <cx:pt idx="38501">2</cx:pt>
          <cx:pt idx="38502">3</cx:pt>
          <cx:pt idx="38503">5</cx:pt>
          <cx:pt idx="38504">2</cx:pt>
          <cx:pt idx="38505">0</cx:pt>
          <cx:pt idx="38506">4</cx:pt>
          <cx:pt idx="38507">3</cx:pt>
          <cx:pt idx="38508">4</cx:pt>
          <cx:pt idx="38509">1</cx:pt>
          <cx:pt idx="38510">2</cx:pt>
          <cx:pt idx="38511">4</cx:pt>
          <cx:pt idx="38512">0</cx:pt>
          <cx:pt idx="38513">3</cx:pt>
          <cx:pt idx="38514">3</cx:pt>
          <cx:pt idx="38515">2</cx:pt>
          <cx:pt idx="38516">4</cx:pt>
          <cx:pt idx="38517">4</cx:pt>
          <cx:pt idx="38518">3</cx:pt>
          <cx:pt idx="38519">3</cx:pt>
          <cx:pt idx="38520">5</cx:pt>
          <cx:pt idx="38521">3</cx:pt>
          <cx:pt idx="38522">2</cx:pt>
          <cx:pt idx="38523">2</cx:pt>
          <cx:pt idx="38524">4</cx:pt>
          <cx:pt idx="38525">5</cx:pt>
          <cx:pt idx="38526">0</cx:pt>
          <cx:pt idx="38527">1</cx:pt>
          <cx:pt idx="38528">5</cx:pt>
          <cx:pt idx="38529">2</cx:pt>
          <cx:pt idx="38530">1</cx:pt>
          <cx:pt idx="38531">1</cx:pt>
          <cx:pt idx="38532">2</cx:pt>
          <cx:pt idx="38533">1</cx:pt>
          <cx:pt idx="38534">3</cx:pt>
          <cx:pt idx="38535">4</cx:pt>
          <cx:pt idx="38536">5</cx:pt>
          <cx:pt idx="38537">3</cx:pt>
          <cx:pt idx="38538">4</cx:pt>
          <cx:pt idx="38539">1</cx:pt>
          <cx:pt idx="38540">4</cx:pt>
          <cx:pt idx="38541">4</cx:pt>
          <cx:pt idx="38542">5</cx:pt>
          <cx:pt idx="38543">3</cx:pt>
          <cx:pt idx="38544">2</cx:pt>
          <cx:pt idx="38545">3</cx:pt>
          <cx:pt idx="38546">4</cx:pt>
          <cx:pt idx="38547">1</cx:pt>
          <cx:pt idx="38548">2</cx:pt>
          <cx:pt idx="38549">1</cx:pt>
          <cx:pt idx="38550">4</cx:pt>
          <cx:pt idx="38551">3</cx:pt>
          <cx:pt idx="38552">3</cx:pt>
          <cx:pt idx="38553">1</cx:pt>
          <cx:pt idx="38554">2</cx:pt>
          <cx:pt idx="38555">2</cx:pt>
          <cx:pt idx="38556">2</cx:pt>
          <cx:pt idx="38557">2</cx:pt>
          <cx:pt idx="38558">1</cx:pt>
          <cx:pt idx="38559">2</cx:pt>
          <cx:pt idx="38560">1</cx:pt>
          <cx:pt idx="38561">2</cx:pt>
          <cx:pt idx="38562">5</cx:pt>
          <cx:pt idx="38563">3</cx:pt>
          <cx:pt idx="38564">3</cx:pt>
          <cx:pt idx="38565">3</cx:pt>
          <cx:pt idx="38566">2</cx:pt>
          <cx:pt idx="38567">2</cx:pt>
          <cx:pt idx="38568">4</cx:pt>
          <cx:pt idx="38569">1</cx:pt>
          <cx:pt idx="38570">1</cx:pt>
          <cx:pt idx="38571">1</cx:pt>
          <cx:pt idx="38572">5</cx:pt>
          <cx:pt idx="38573">5</cx:pt>
          <cx:pt idx="38574">2</cx:pt>
          <cx:pt idx="38575">3</cx:pt>
          <cx:pt idx="38576">5</cx:pt>
          <cx:pt idx="38577">2</cx:pt>
          <cx:pt idx="38578">3</cx:pt>
          <cx:pt idx="38579">3</cx:pt>
          <cx:pt idx="38580">3</cx:pt>
          <cx:pt idx="38581">3</cx:pt>
          <cx:pt idx="38582">4</cx:pt>
          <cx:pt idx="38583">3</cx:pt>
          <cx:pt idx="38584">4</cx:pt>
          <cx:pt idx="38585">3</cx:pt>
          <cx:pt idx="38586">5</cx:pt>
          <cx:pt idx="38587">2</cx:pt>
          <cx:pt idx="38588">1</cx:pt>
          <cx:pt idx="38589">1</cx:pt>
          <cx:pt idx="38590">2</cx:pt>
          <cx:pt idx="38591">5</cx:pt>
          <cx:pt idx="38592">1</cx:pt>
          <cx:pt idx="38593">2</cx:pt>
          <cx:pt idx="38594">4</cx:pt>
          <cx:pt idx="38595">4</cx:pt>
          <cx:pt idx="38596">3</cx:pt>
          <cx:pt idx="38597">5</cx:pt>
          <cx:pt idx="38598">5</cx:pt>
          <cx:pt idx="38599">0</cx:pt>
          <cx:pt idx="38600">1</cx:pt>
          <cx:pt idx="38601">4</cx:pt>
          <cx:pt idx="38602">3</cx:pt>
          <cx:pt idx="38603">5</cx:pt>
          <cx:pt idx="38604">1</cx:pt>
          <cx:pt idx="38605">3</cx:pt>
          <cx:pt idx="38606">4</cx:pt>
          <cx:pt idx="38607">4</cx:pt>
          <cx:pt idx="38608">3</cx:pt>
          <cx:pt idx="38609">2</cx:pt>
          <cx:pt idx="38610">4</cx:pt>
          <cx:pt idx="38611">3</cx:pt>
          <cx:pt idx="38612">5</cx:pt>
          <cx:pt idx="38613">4</cx:pt>
          <cx:pt idx="38614">1</cx:pt>
          <cx:pt idx="38615">2</cx:pt>
          <cx:pt idx="38616">1</cx:pt>
          <cx:pt idx="38617">5</cx:pt>
          <cx:pt idx="38618">3</cx:pt>
          <cx:pt idx="38619">1</cx:pt>
          <cx:pt idx="38620">4</cx:pt>
          <cx:pt idx="38621">1</cx:pt>
          <cx:pt idx="38622">3</cx:pt>
          <cx:pt idx="38623">1</cx:pt>
          <cx:pt idx="38624">4</cx:pt>
          <cx:pt idx="38625">3</cx:pt>
          <cx:pt idx="38626">5</cx:pt>
          <cx:pt idx="38627">1</cx:pt>
          <cx:pt idx="38628">4</cx:pt>
          <cx:pt idx="38629">3</cx:pt>
          <cx:pt idx="38630">4</cx:pt>
          <cx:pt idx="38631">4</cx:pt>
          <cx:pt idx="38632">2</cx:pt>
          <cx:pt idx="38633">4</cx:pt>
          <cx:pt idx="38634">3</cx:pt>
          <cx:pt idx="38635">2</cx:pt>
          <cx:pt idx="38636">2</cx:pt>
          <cx:pt idx="38637">1</cx:pt>
          <cx:pt idx="38638">4</cx:pt>
          <cx:pt idx="38639">1</cx:pt>
          <cx:pt idx="38640">3</cx:pt>
          <cx:pt idx="38641">5</cx:pt>
          <cx:pt idx="38642">1</cx:pt>
          <cx:pt idx="38643">0</cx:pt>
          <cx:pt idx="38644">4</cx:pt>
          <cx:pt idx="38645">3</cx:pt>
          <cx:pt idx="38646">1</cx:pt>
          <cx:pt idx="38647">1</cx:pt>
          <cx:pt idx="38648">2</cx:pt>
          <cx:pt idx="38649">4</cx:pt>
          <cx:pt idx="38650">2</cx:pt>
          <cx:pt idx="38651">1</cx:pt>
          <cx:pt idx="38652">4</cx:pt>
          <cx:pt idx="38653">5</cx:pt>
          <cx:pt idx="38654">4</cx:pt>
          <cx:pt idx="38655">0</cx:pt>
          <cx:pt idx="38656">5</cx:pt>
          <cx:pt idx="38657">2</cx:pt>
          <cx:pt idx="38658">2</cx:pt>
          <cx:pt idx="38659">3</cx:pt>
          <cx:pt idx="38660">4</cx:pt>
          <cx:pt idx="38661">2</cx:pt>
          <cx:pt idx="38662">3</cx:pt>
          <cx:pt idx="38663">5</cx:pt>
          <cx:pt idx="38664">2</cx:pt>
          <cx:pt idx="38665">5</cx:pt>
          <cx:pt idx="38666">3</cx:pt>
          <cx:pt idx="38667">5</cx:pt>
          <cx:pt idx="38668">3</cx:pt>
          <cx:pt idx="38669">5</cx:pt>
          <cx:pt idx="38670">4</cx:pt>
          <cx:pt idx="38671">5</cx:pt>
          <cx:pt idx="38672">4</cx:pt>
          <cx:pt idx="38673">5</cx:pt>
          <cx:pt idx="38674">5</cx:pt>
          <cx:pt idx="38675">2</cx:pt>
          <cx:pt idx="38676">4</cx:pt>
          <cx:pt idx="38677">3</cx:pt>
          <cx:pt idx="38678">1</cx:pt>
          <cx:pt idx="38679">2</cx:pt>
          <cx:pt idx="38680">3</cx:pt>
          <cx:pt idx="38681">3</cx:pt>
          <cx:pt idx="38682">3</cx:pt>
          <cx:pt idx="38683">3</cx:pt>
          <cx:pt idx="38684">2</cx:pt>
          <cx:pt idx="38685">3</cx:pt>
          <cx:pt idx="38686">3</cx:pt>
          <cx:pt idx="38687">3</cx:pt>
          <cx:pt idx="38688">3</cx:pt>
          <cx:pt idx="38689">5</cx:pt>
          <cx:pt idx="38690">4</cx:pt>
          <cx:pt idx="38691">1</cx:pt>
          <cx:pt idx="38692">5</cx:pt>
          <cx:pt idx="38693">2</cx:pt>
          <cx:pt idx="38694">2</cx:pt>
          <cx:pt idx="38695">2</cx:pt>
          <cx:pt idx="38696">3</cx:pt>
          <cx:pt idx="38697">0</cx:pt>
          <cx:pt idx="38698">3</cx:pt>
          <cx:pt idx="38699">0</cx:pt>
          <cx:pt idx="38700">3</cx:pt>
          <cx:pt idx="38701">4</cx:pt>
          <cx:pt idx="38702">3</cx:pt>
          <cx:pt idx="38703">1</cx:pt>
          <cx:pt idx="38704">3</cx:pt>
          <cx:pt idx="38705">2</cx:pt>
          <cx:pt idx="38706">2</cx:pt>
          <cx:pt idx="38707">4</cx:pt>
          <cx:pt idx="38708">3</cx:pt>
          <cx:pt idx="38709">4</cx:pt>
          <cx:pt idx="38710">5</cx:pt>
          <cx:pt idx="38711">3</cx:pt>
          <cx:pt idx="38712">1</cx:pt>
          <cx:pt idx="38713">5</cx:pt>
          <cx:pt idx="38714">3</cx:pt>
          <cx:pt idx="38715">1</cx:pt>
          <cx:pt idx="38716">2</cx:pt>
          <cx:pt idx="38717">2</cx:pt>
          <cx:pt idx="38718">2</cx:pt>
          <cx:pt idx="38719">4</cx:pt>
          <cx:pt idx="38720">1</cx:pt>
          <cx:pt idx="38721">2</cx:pt>
          <cx:pt idx="38722">1</cx:pt>
          <cx:pt idx="38723">4</cx:pt>
          <cx:pt idx="38724">5</cx:pt>
          <cx:pt idx="38725">3</cx:pt>
          <cx:pt idx="38726">2</cx:pt>
          <cx:pt idx="38727">4</cx:pt>
          <cx:pt idx="38728">1</cx:pt>
          <cx:pt idx="38729">3</cx:pt>
          <cx:pt idx="38730">5</cx:pt>
          <cx:pt idx="38731">2</cx:pt>
          <cx:pt idx="38732">3</cx:pt>
          <cx:pt idx="38733">3</cx:pt>
          <cx:pt idx="38734">3</cx:pt>
          <cx:pt idx="38735">2</cx:pt>
          <cx:pt idx="38736">4</cx:pt>
          <cx:pt idx="38737">2</cx:pt>
          <cx:pt idx="38738">2</cx:pt>
          <cx:pt idx="38739">1</cx:pt>
          <cx:pt idx="38740">5</cx:pt>
          <cx:pt idx="38741">4</cx:pt>
          <cx:pt idx="38742">3</cx:pt>
          <cx:pt idx="38743">1</cx:pt>
          <cx:pt idx="38744">3</cx:pt>
          <cx:pt idx="38745">4</cx:pt>
          <cx:pt idx="38746">4</cx:pt>
          <cx:pt idx="38747">2</cx:pt>
          <cx:pt idx="38748">5</cx:pt>
          <cx:pt idx="38749">5</cx:pt>
          <cx:pt idx="38750">1</cx:pt>
          <cx:pt idx="38751">3</cx:pt>
          <cx:pt idx="38752">5</cx:pt>
          <cx:pt idx="38753">2</cx:pt>
          <cx:pt idx="38754">5</cx:pt>
          <cx:pt idx="38755">1</cx:pt>
          <cx:pt idx="38756">1</cx:pt>
          <cx:pt idx="38757">4</cx:pt>
          <cx:pt idx="38758">4</cx:pt>
          <cx:pt idx="38759">4</cx:pt>
          <cx:pt idx="38760">4</cx:pt>
          <cx:pt idx="38761">3</cx:pt>
          <cx:pt idx="38762">3</cx:pt>
          <cx:pt idx="38763">0</cx:pt>
          <cx:pt idx="38764">5</cx:pt>
          <cx:pt idx="38765">3</cx:pt>
          <cx:pt idx="38766">2</cx:pt>
          <cx:pt idx="38767">4</cx:pt>
          <cx:pt idx="38768">2</cx:pt>
          <cx:pt idx="38769">5</cx:pt>
          <cx:pt idx="38770">1</cx:pt>
          <cx:pt idx="38771">3</cx:pt>
          <cx:pt idx="38772">4</cx:pt>
          <cx:pt idx="38773">1</cx:pt>
          <cx:pt idx="38774">1</cx:pt>
          <cx:pt idx="38775">1</cx:pt>
          <cx:pt idx="38776">4</cx:pt>
          <cx:pt idx="38777">3</cx:pt>
          <cx:pt idx="38778">4</cx:pt>
          <cx:pt idx="38779">4</cx:pt>
          <cx:pt idx="38780">2</cx:pt>
          <cx:pt idx="38781">3</cx:pt>
          <cx:pt idx="38782">5</cx:pt>
          <cx:pt idx="38783">4</cx:pt>
          <cx:pt idx="38784">5</cx:pt>
          <cx:pt idx="38785">2</cx:pt>
          <cx:pt idx="38786">4</cx:pt>
          <cx:pt idx="38787">2</cx:pt>
          <cx:pt idx="38788">2</cx:pt>
          <cx:pt idx="38789">5</cx:pt>
          <cx:pt idx="38790">4</cx:pt>
          <cx:pt idx="38791">3</cx:pt>
          <cx:pt idx="38792">3</cx:pt>
          <cx:pt idx="38793">3</cx:pt>
          <cx:pt idx="38794">2</cx:pt>
          <cx:pt idx="38795">2</cx:pt>
          <cx:pt idx="38796">1</cx:pt>
          <cx:pt idx="38797">2</cx:pt>
          <cx:pt idx="38798">3</cx:pt>
          <cx:pt idx="38799">1</cx:pt>
          <cx:pt idx="38800">4</cx:pt>
          <cx:pt idx="38801">3</cx:pt>
          <cx:pt idx="38802">3</cx:pt>
          <cx:pt idx="38803">4</cx:pt>
          <cx:pt idx="38804">5</cx:pt>
          <cx:pt idx="38805">3</cx:pt>
          <cx:pt idx="38806">2</cx:pt>
          <cx:pt idx="38807">3</cx:pt>
          <cx:pt idx="38808">2</cx:pt>
          <cx:pt idx="38809">5</cx:pt>
          <cx:pt idx="38810">2</cx:pt>
          <cx:pt idx="38811">3</cx:pt>
          <cx:pt idx="38812">2</cx:pt>
          <cx:pt idx="38813">2</cx:pt>
          <cx:pt idx="38814">2</cx:pt>
          <cx:pt idx="38815">2</cx:pt>
          <cx:pt idx="38816">4</cx:pt>
          <cx:pt idx="38817">3</cx:pt>
          <cx:pt idx="38818">3</cx:pt>
          <cx:pt idx="38819">3</cx:pt>
          <cx:pt idx="38820">2</cx:pt>
          <cx:pt idx="38821">2</cx:pt>
          <cx:pt idx="38822">5</cx:pt>
          <cx:pt idx="38823">1</cx:pt>
          <cx:pt idx="38824">3</cx:pt>
          <cx:pt idx="38825">3</cx:pt>
          <cx:pt idx="38826">2</cx:pt>
          <cx:pt idx="38827">2</cx:pt>
          <cx:pt idx="38828">1</cx:pt>
          <cx:pt idx="38829">4</cx:pt>
          <cx:pt idx="38830">2</cx:pt>
          <cx:pt idx="38831">4</cx:pt>
          <cx:pt idx="38832">2</cx:pt>
          <cx:pt idx="38833">3</cx:pt>
          <cx:pt idx="38834">3</cx:pt>
          <cx:pt idx="38835">4</cx:pt>
          <cx:pt idx="38836">2</cx:pt>
          <cx:pt idx="38837">4</cx:pt>
          <cx:pt idx="38838">1</cx:pt>
          <cx:pt idx="38839">5</cx:pt>
          <cx:pt idx="38840">5</cx:pt>
          <cx:pt idx="38841">2</cx:pt>
          <cx:pt idx="38842">1</cx:pt>
          <cx:pt idx="38843">2</cx:pt>
          <cx:pt idx="38844">4</cx:pt>
          <cx:pt idx="38845">4</cx:pt>
          <cx:pt idx="38846">2</cx:pt>
          <cx:pt idx="38847">2</cx:pt>
          <cx:pt idx="38848">2</cx:pt>
          <cx:pt idx="38849">2</cx:pt>
          <cx:pt idx="38850">2</cx:pt>
          <cx:pt idx="38851">3</cx:pt>
          <cx:pt idx="38852">1</cx:pt>
          <cx:pt idx="38853">3</cx:pt>
          <cx:pt idx="38854">5</cx:pt>
          <cx:pt idx="38855">1</cx:pt>
          <cx:pt idx="38856">5</cx:pt>
          <cx:pt idx="38857">5</cx:pt>
          <cx:pt idx="38858">3</cx:pt>
          <cx:pt idx="38859">2</cx:pt>
          <cx:pt idx="38860">1</cx:pt>
          <cx:pt idx="38861">4</cx:pt>
          <cx:pt idx="38862">1</cx:pt>
          <cx:pt idx="38863">1</cx:pt>
          <cx:pt idx="38864">1</cx:pt>
          <cx:pt idx="38865">2</cx:pt>
          <cx:pt idx="38866">2</cx:pt>
          <cx:pt idx="38867">4</cx:pt>
          <cx:pt idx="38868">5</cx:pt>
          <cx:pt idx="38869">0</cx:pt>
          <cx:pt idx="38870">3</cx:pt>
          <cx:pt idx="38871">1</cx:pt>
          <cx:pt idx="38872">1</cx:pt>
          <cx:pt idx="38873">3</cx:pt>
          <cx:pt idx="38874">5</cx:pt>
          <cx:pt idx="38875">1</cx:pt>
          <cx:pt idx="38876">3</cx:pt>
          <cx:pt idx="38877">3</cx:pt>
          <cx:pt idx="38878">3</cx:pt>
          <cx:pt idx="38879">3</cx:pt>
          <cx:pt idx="38880">4</cx:pt>
          <cx:pt idx="38881">5</cx:pt>
          <cx:pt idx="38882">5</cx:pt>
          <cx:pt idx="38883">2</cx:pt>
          <cx:pt idx="38884">0</cx:pt>
          <cx:pt idx="38885">3</cx:pt>
          <cx:pt idx="38886">4</cx:pt>
          <cx:pt idx="38887">1</cx:pt>
          <cx:pt idx="38888">2</cx:pt>
          <cx:pt idx="38889">4</cx:pt>
          <cx:pt idx="38890">4</cx:pt>
          <cx:pt idx="38891">2</cx:pt>
          <cx:pt idx="38892">1</cx:pt>
          <cx:pt idx="38893">0</cx:pt>
          <cx:pt idx="38894">4</cx:pt>
          <cx:pt idx="38895">4</cx:pt>
          <cx:pt idx="38896">4</cx:pt>
          <cx:pt idx="38897">5</cx:pt>
          <cx:pt idx="38898">4</cx:pt>
          <cx:pt idx="38899">1</cx:pt>
          <cx:pt idx="38900">5</cx:pt>
          <cx:pt idx="38901">4</cx:pt>
          <cx:pt idx="38902">4</cx:pt>
          <cx:pt idx="38903">2</cx:pt>
          <cx:pt idx="38904">4</cx:pt>
          <cx:pt idx="38905">5</cx:pt>
          <cx:pt idx="38906">4</cx:pt>
          <cx:pt idx="38907">3</cx:pt>
          <cx:pt idx="38908">3</cx:pt>
          <cx:pt idx="38909">5</cx:pt>
          <cx:pt idx="38910">2</cx:pt>
          <cx:pt idx="38911">4</cx:pt>
          <cx:pt idx="38912">4</cx:pt>
          <cx:pt idx="38913">5</cx:pt>
          <cx:pt idx="38914">2</cx:pt>
          <cx:pt idx="38915">1</cx:pt>
          <cx:pt idx="38916">1</cx:pt>
          <cx:pt idx="38917">4</cx:pt>
          <cx:pt idx="38918">3</cx:pt>
          <cx:pt idx="38919">1</cx:pt>
          <cx:pt idx="38920">0</cx:pt>
          <cx:pt idx="38921">3</cx:pt>
          <cx:pt idx="38922">4</cx:pt>
          <cx:pt idx="38923">5</cx:pt>
          <cx:pt idx="38924">0</cx:pt>
          <cx:pt idx="38925">1</cx:pt>
          <cx:pt idx="38926">1</cx:pt>
          <cx:pt idx="38927">0</cx:pt>
          <cx:pt idx="38928">2</cx:pt>
          <cx:pt idx="38929">1</cx:pt>
          <cx:pt idx="38930">3</cx:pt>
          <cx:pt idx="38931">4</cx:pt>
          <cx:pt idx="38932">2</cx:pt>
          <cx:pt idx="38933">3</cx:pt>
          <cx:pt idx="38934">5</cx:pt>
          <cx:pt idx="38935">2</cx:pt>
          <cx:pt idx="38936">5</cx:pt>
          <cx:pt idx="38937">0</cx:pt>
          <cx:pt idx="38938">1</cx:pt>
          <cx:pt idx="38939">2</cx:pt>
          <cx:pt idx="38940">2</cx:pt>
          <cx:pt idx="38941">1</cx:pt>
          <cx:pt idx="38942">1</cx:pt>
          <cx:pt idx="38943">4</cx:pt>
          <cx:pt idx="38944">2</cx:pt>
          <cx:pt idx="38945">4</cx:pt>
          <cx:pt idx="38946">2</cx:pt>
          <cx:pt idx="38947">2</cx:pt>
          <cx:pt idx="38948">3</cx:pt>
          <cx:pt idx="38949">1</cx:pt>
          <cx:pt idx="38950">2</cx:pt>
          <cx:pt idx="38951">0</cx:pt>
          <cx:pt idx="38952">3</cx:pt>
          <cx:pt idx="38953">5</cx:pt>
          <cx:pt idx="38954">5</cx:pt>
          <cx:pt idx="38955">3</cx:pt>
          <cx:pt idx="38956">3</cx:pt>
          <cx:pt idx="38957">0</cx:pt>
          <cx:pt idx="38958">2</cx:pt>
          <cx:pt idx="38959">2</cx:pt>
          <cx:pt idx="38960">4</cx:pt>
          <cx:pt idx="38961">2</cx:pt>
          <cx:pt idx="38962">1</cx:pt>
          <cx:pt idx="38963">4</cx:pt>
          <cx:pt idx="38964">3</cx:pt>
          <cx:pt idx="38965">3</cx:pt>
          <cx:pt idx="38966">2</cx:pt>
          <cx:pt idx="38967">3</cx:pt>
          <cx:pt idx="38968">1</cx:pt>
          <cx:pt idx="38969">3</cx:pt>
          <cx:pt idx="38970">1</cx:pt>
          <cx:pt idx="38971">1</cx:pt>
          <cx:pt idx="38972">3</cx:pt>
          <cx:pt idx="38973">2</cx:pt>
          <cx:pt idx="38974">3</cx:pt>
          <cx:pt idx="38975">5</cx:pt>
          <cx:pt idx="38976">1</cx:pt>
          <cx:pt idx="38977">4</cx:pt>
          <cx:pt idx="38978">1</cx:pt>
          <cx:pt idx="38979">3</cx:pt>
          <cx:pt idx="38980">1</cx:pt>
          <cx:pt idx="38981">5</cx:pt>
          <cx:pt idx="38982">3</cx:pt>
          <cx:pt idx="38983">3</cx:pt>
          <cx:pt idx="38984">3</cx:pt>
          <cx:pt idx="38985">0</cx:pt>
          <cx:pt idx="38986">4</cx:pt>
          <cx:pt idx="38987">3</cx:pt>
          <cx:pt idx="38988">4</cx:pt>
          <cx:pt idx="38989">0</cx:pt>
          <cx:pt idx="38990">2</cx:pt>
          <cx:pt idx="38991">3</cx:pt>
          <cx:pt idx="38992">2</cx:pt>
          <cx:pt idx="38993">5</cx:pt>
          <cx:pt idx="38994">4</cx:pt>
          <cx:pt idx="38995">3</cx:pt>
          <cx:pt idx="38996">3</cx:pt>
          <cx:pt idx="38997">4</cx:pt>
          <cx:pt idx="38998">3</cx:pt>
          <cx:pt idx="38999">4</cx:pt>
          <cx:pt idx="39000">3</cx:pt>
          <cx:pt idx="39001">4</cx:pt>
          <cx:pt idx="39002">2</cx:pt>
          <cx:pt idx="39003">3</cx:pt>
          <cx:pt idx="39004">2</cx:pt>
          <cx:pt idx="39005">2</cx:pt>
          <cx:pt idx="39006">3</cx:pt>
          <cx:pt idx="39007">3</cx:pt>
          <cx:pt idx="39008">3</cx:pt>
          <cx:pt idx="39009">2</cx:pt>
          <cx:pt idx="39010">3</cx:pt>
          <cx:pt idx="39011">4</cx:pt>
          <cx:pt idx="39012">1</cx:pt>
          <cx:pt idx="39013">3</cx:pt>
          <cx:pt idx="39014">2</cx:pt>
          <cx:pt idx="39015">1</cx:pt>
          <cx:pt idx="39016">1</cx:pt>
          <cx:pt idx="39017">1</cx:pt>
          <cx:pt idx="39018">4</cx:pt>
          <cx:pt idx="39019">5</cx:pt>
          <cx:pt idx="39020">4</cx:pt>
          <cx:pt idx="39021">3</cx:pt>
          <cx:pt idx="39022">4</cx:pt>
          <cx:pt idx="39023">1</cx:pt>
          <cx:pt idx="39024">3</cx:pt>
          <cx:pt idx="39025">1</cx:pt>
          <cx:pt idx="39026">4</cx:pt>
          <cx:pt idx="39027">3</cx:pt>
          <cx:pt idx="39028">3</cx:pt>
          <cx:pt idx="39029">4</cx:pt>
          <cx:pt idx="39030">3</cx:pt>
          <cx:pt idx="39031">4</cx:pt>
          <cx:pt idx="39032">2</cx:pt>
          <cx:pt idx="39033">4</cx:pt>
          <cx:pt idx="39034">3</cx:pt>
          <cx:pt idx="39035">2</cx:pt>
          <cx:pt idx="39036">3</cx:pt>
          <cx:pt idx="39037">2</cx:pt>
          <cx:pt idx="39038">2</cx:pt>
          <cx:pt idx="39039">2</cx:pt>
          <cx:pt idx="39040">1</cx:pt>
          <cx:pt idx="39041">3</cx:pt>
          <cx:pt idx="39042">3</cx:pt>
          <cx:pt idx="39043">5</cx:pt>
          <cx:pt idx="39044">4</cx:pt>
          <cx:pt idx="39045">4</cx:pt>
          <cx:pt idx="39046">3</cx:pt>
          <cx:pt idx="39047">3</cx:pt>
          <cx:pt idx="39048">3</cx:pt>
          <cx:pt idx="39049">5</cx:pt>
          <cx:pt idx="39050">3</cx:pt>
          <cx:pt idx="39051">2</cx:pt>
          <cx:pt idx="39052">2</cx:pt>
          <cx:pt idx="39053">3</cx:pt>
          <cx:pt idx="39054">2</cx:pt>
          <cx:pt idx="39055">4</cx:pt>
          <cx:pt idx="39056">1</cx:pt>
          <cx:pt idx="39057">2</cx:pt>
          <cx:pt idx="39058">2</cx:pt>
          <cx:pt idx="39059">4</cx:pt>
          <cx:pt idx="39060">0</cx:pt>
          <cx:pt idx="39061">3</cx:pt>
          <cx:pt idx="39062">1</cx:pt>
          <cx:pt idx="39063">5</cx:pt>
          <cx:pt idx="39064">1</cx:pt>
          <cx:pt idx="39065">4</cx:pt>
          <cx:pt idx="39066">4</cx:pt>
          <cx:pt idx="39067">4</cx:pt>
          <cx:pt idx="39068">3</cx:pt>
          <cx:pt idx="39069">4</cx:pt>
          <cx:pt idx="39070">2</cx:pt>
          <cx:pt idx="39071">4</cx:pt>
          <cx:pt idx="39072">3</cx:pt>
          <cx:pt idx="39073">4</cx:pt>
          <cx:pt idx="39074">2</cx:pt>
          <cx:pt idx="39075">1</cx:pt>
          <cx:pt idx="39076">4</cx:pt>
          <cx:pt idx="39077">2</cx:pt>
          <cx:pt idx="39078">4</cx:pt>
          <cx:pt idx="39079">3</cx:pt>
          <cx:pt idx="39080">4</cx:pt>
          <cx:pt idx="39081">5</cx:pt>
          <cx:pt idx="39082">3</cx:pt>
          <cx:pt idx="39083">2</cx:pt>
          <cx:pt idx="39084">2</cx:pt>
          <cx:pt idx="39085">2</cx:pt>
          <cx:pt idx="39086">4</cx:pt>
          <cx:pt idx="39087">2</cx:pt>
          <cx:pt idx="39088">3</cx:pt>
          <cx:pt idx="39089">2</cx:pt>
          <cx:pt idx="39090">2</cx:pt>
          <cx:pt idx="39091">4</cx:pt>
          <cx:pt idx="39092">0</cx:pt>
          <cx:pt idx="39093">2</cx:pt>
          <cx:pt idx="39094">2</cx:pt>
          <cx:pt idx="39095">1</cx:pt>
          <cx:pt idx="39096">5</cx:pt>
          <cx:pt idx="39097">3</cx:pt>
          <cx:pt idx="39098">4</cx:pt>
          <cx:pt idx="39099">1</cx:pt>
          <cx:pt idx="39100">5</cx:pt>
          <cx:pt idx="39101">5</cx:pt>
          <cx:pt idx="39102">4</cx:pt>
          <cx:pt idx="39103">0</cx:pt>
          <cx:pt idx="39104">3</cx:pt>
          <cx:pt idx="39105">3</cx:pt>
          <cx:pt idx="39106">0</cx:pt>
          <cx:pt idx="39107">1</cx:pt>
          <cx:pt idx="39108">3</cx:pt>
          <cx:pt idx="39109">4</cx:pt>
          <cx:pt idx="39110">5</cx:pt>
          <cx:pt idx="39111">0</cx:pt>
          <cx:pt idx="39112">3</cx:pt>
          <cx:pt idx="39113">4</cx:pt>
          <cx:pt idx="39114">2</cx:pt>
          <cx:pt idx="39115">2</cx:pt>
          <cx:pt idx="39116">3</cx:pt>
          <cx:pt idx="39117">5</cx:pt>
          <cx:pt idx="39118">3</cx:pt>
          <cx:pt idx="39119">3</cx:pt>
          <cx:pt idx="39120">1</cx:pt>
          <cx:pt idx="39121">4</cx:pt>
          <cx:pt idx="39122">5</cx:pt>
          <cx:pt idx="39123">4</cx:pt>
          <cx:pt idx="39124">1</cx:pt>
          <cx:pt idx="39125">5</cx:pt>
          <cx:pt idx="39126">2</cx:pt>
          <cx:pt idx="39127">2</cx:pt>
          <cx:pt idx="39128">3</cx:pt>
          <cx:pt idx="39129">2</cx:pt>
          <cx:pt idx="39130">1</cx:pt>
          <cx:pt idx="39131">2</cx:pt>
          <cx:pt idx="39132">3</cx:pt>
          <cx:pt idx="39133">4</cx:pt>
          <cx:pt idx="39134">4</cx:pt>
          <cx:pt idx="39135">2</cx:pt>
          <cx:pt idx="39136">3</cx:pt>
          <cx:pt idx="39137">3</cx:pt>
          <cx:pt idx="39138">1</cx:pt>
          <cx:pt idx="39139">2</cx:pt>
          <cx:pt idx="39140">5</cx:pt>
          <cx:pt idx="39141">5</cx:pt>
          <cx:pt idx="39142">2</cx:pt>
          <cx:pt idx="39143">5</cx:pt>
          <cx:pt idx="39144">1</cx:pt>
          <cx:pt idx="39145">3</cx:pt>
          <cx:pt idx="39146">5</cx:pt>
          <cx:pt idx="39147">3</cx:pt>
          <cx:pt idx="39148">4</cx:pt>
          <cx:pt idx="39149">4</cx:pt>
          <cx:pt idx="39150">2</cx:pt>
          <cx:pt idx="39151">4</cx:pt>
          <cx:pt idx="39152">2</cx:pt>
          <cx:pt idx="39153">0</cx:pt>
          <cx:pt idx="39154">3</cx:pt>
          <cx:pt idx="39155">5</cx:pt>
          <cx:pt idx="39156">3</cx:pt>
          <cx:pt idx="39157">1</cx:pt>
          <cx:pt idx="39158">3</cx:pt>
          <cx:pt idx="39159">2</cx:pt>
          <cx:pt idx="39160">4</cx:pt>
          <cx:pt idx="39161">2</cx:pt>
          <cx:pt idx="39162">4</cx:pt>
          <cx:pt idx="39163">2</cx:pt>
          <cx:pt idx="39164">3</cx:pt>
          <cx:pt idx="39165">0</cx:pt>
          <cx:pt idx="39166">2</cx:pt>
          <cx:pt idx="39167">2</cx:pt>
          <cx:pt idx="39168">5</cx:pt>
          <cx:pt idx="39169">3</cx:pt>
          <cx:pt idx="39170">4</cx:pt>
          <cx:pt idx="39171">4</cx:pt>
          <cx:pt idx="39172">0</cx:pt>
          <cx:pt idx="39173">5</cx:pt>
          <cx:pt idx="39174">4</cx:pt>
          <cx:pt idx="39175">1</cx:pt>
          <cx:pt idx="39176">5</cx:pt>
          <cx:pt idx="39177">2</cx:pt>
          <cx:pt idx="39178">3</cx:pt>
          <cx:pt idx="39179">1</cx:pt>
          <cx:pt idx="39180">0</cx:pt>
          <cx:pt idx="39181">0</cx:pt>
          <cx:pt idx="39182">4</cx:pt>
          <cx:pt idx="39183">1</cx:pt>
          <cx:pt idx="39184">4</cx:pt>
          <cx:pt idx="39185">3</cx:pt>
          <cx:pt idx="39186">5</cx:pt>
          <cx:pt idx="39187">1</cx:pt>
          <cx:pt idx="39188">4</cx:pt>
          <cx:pt idx="39189">5</cx:pt>
          <cx:pt idx="39190">3</cx:pt>
          <cx:pt idx="39191">1</cx:pt>
          <cx:pt idx="39192">4</cx:pt>
          <cx:pt idx="39193">5</cx:pt>
          <cx:pt idx="39194">5</cx:pt>
          <cx:pt idx="39195">2</cx:pt>
          <cx:pt idx="39196">2</cx:pt>
          <cx:pt idx="39197">5</cx:pt>
          <cx:pt idx="39198">1</cx:pt>
          <cx:pt idx="39199">4</cx:pt>
          <cx:pt idx="39200">3</cx:pt>
          <cx:pt idx="39201">1</cx:pt>
          <cx:pt idx="39202">4</cx:pt>
          <cx:pt idx="39203">4</cx:pt>
          <cx:pt idx="39204">4</cx:pt>
          <cx:pt idx="39205">5</cx:pt>
          <cx:pt idx="39206">1</cx:pt>
          <cx:pt idx="39207">2</cx:pt>
          <cx:pt idx="39208">3</cx:pt>
          <cx:pt idx="39209">4</cx:pt>
          <cx:pt idx="39210">3</cx:pt>
          <cx:pt idx="39211">1</cx:pt>
          <cx:pt idx="39212">3</cx:pt>
          <cx:pt idx="39213">3</cx:pt>
          <cx:pt idx="39214">1</cx:pt>
          <cx:pt idx="39215">3</cx:pt>
          <cx:pt idx="39216">2</cx:pt>
          <cx:pt idx="39217">2</cx:pt>
          <cx:pt idx="39218">4</cx:pt>
          <cx:pt idx="39219">3</cx:pt>
          <cx:pt idx="39220">1</cx:pt>
          <cx:pt idx="39221">1</cx:pt>
          <cx:pt idx="39222">4</cx:pt>
          <cx:pt idx="39223">2</cx:pt>
          <cx:pt idx="39224">2</cx:pt>
          <cx:pt idx="39225">4</cx:pt>
          <cx:pt idx="39226">3</cx:pt>
          <cx:pt idx="39227">3</cx:pt>
          <cx:pt idx="39228">5</cx:pt>
          <cx:pt idx="39229">1</cx:pt>
          <cx:pt idx="39230">2</cx:pt>
          <cx:pt idx="39231">2</cx:pt>
          <cx:pt idx="39232">3</cx:pt>
          <cx:pt idx="39233">3</cx:pt>
          <cx:pt idx="39234">3</cx:pt>
          <cx:pt idx="39235">3</cx:pt>
          <cx:pt idx="39236">3</cx:pt>
          <cx:pt idx="39237">2</cx:pt>
          <cx:pt idx="39238">3</cx:pt>
          <cx:pt idx="39239">4</cx:pt>
          <cx:pt idx="39240">5</cx:pt>
          <cx:pt idx="39241">1</cx:pt>
          <cx:pt idx="39242">2</cx:pt>
          <cx:pt idx="39243">2</cx:pt>
          <cx:pt idx="39244">3</cx:pt>
          <cx:pt idx="39245">1</cx:pt>
          <cx:pt idx="39246">3</cx:pt>
          <cx:pt idx="39247">3</cx:pt>
          <cx:pt idx="39248">3</cx:pt>
          <cx:pt idx="39249">4</cx:pt>
          <cx:pt idx="39250">2</cx:pt>
          <cx:pt idx="39251">3</cx:pt>
          <cx:pt idx="39252">3</cx:pt>
          <cx:pt idx="39253">1</cx:pt>
          <cx:pt idx="39254">1</cx:pt>
          <cx:pt idx="39255">3</cx:pt>
          <cx:pt idx="39256">3</cx:pt>
          <cx:pt idx="39257">2</cx:pt>
          <cx:pt idx="39258">4</cx:pt>
          <cx:pt idx="39259">5</cx:pt>
          <cx:pt idx="39260">2</cx:pt>
          <cx:pt idx="39261">5</cx:pt>
          <cx:pt idx="39262">3</cx:pt>
          <cx:pt idx="39263">2</cx:pt>
          <cx:pt idx="39264">3</cx:pt>
          <cx:pt idx="39265">0</cx:pt>
          <cx:pt idx="39266">3</cx:pt>
          <cx:pt idx="39267">3</cx:pt>
          <cx:pt idx="39268">1</cx:pt>
          <cx:pt idx="39269">3</cx:pt>
          <cx:pt idx="39270">4</cx:pt>
          <cx:pt idx="39271">3</cx:pt>
          <cx:pt idx="39272">2</cx:pt>
          <cx:pt idx="39273">3</cx:pt>
          <cx:pt idx="39274">4</cx:pt>
          <cx:pt idx="39275">4</cx:pt>
          <cx:pt idx="39276">1</cx:pt>
          <cx:pt idx="39277">2</cx:pt>
          <cx:pt idx="39278">3</cx:pt>
          <cx:pt idx="39279">4</cx:pt>
          <cx:pt idx="39280">1</cx:pt>
          <cx:pt idx="39281">2</cx:pt>
          <cx:pt idx="39282">4</cx:pt>
          <cx:pt idx="39283">2</cx:pt>
          <cx:pt idx="39284">3</cx:pt>
          <cx:pt idx="39285">1</cx:pt>
          <cx:pt idx="39286">5</cx:pt>
          <cx:pt idx="39287">3</cx:pt>
          <cx:pt idx="39288">4</cx:pt>
          <cx:pt idx="39289">4</cx:pt>
          <cx:pt idx="39290">4</cx:pt>
          <cx:pt idx="39291">2</cx:pt>
          <cx:pt idx="39292">5</cx:pt>
          <cx:pt idx="39293">1</cx:pt>
          <cx:pt idx="39294">4</cx:pt>
          <cx:pt idx="39295">4</cx:pt>
          <cx:pt idx="39296">4</cx:pt>
          <cx:pt idx="39297">1</cx:pt>
          <cx:pt idx="39298">3</cx:pt>
          <cx:pt idx="39299">3</cx:pt>
          <cx:pt idx="39300">3</cx:pt>
          <cx:pt idx="39301">4</cx:pt>
          <cx:pt idx="39302">3</cx:pt>
          <cx:pt idx="39303">3</cx:pt>
          <cx:pt idx="39304">3</cx:pt>
          <cx:pt idx="39305">1</cx:pt>
          <cx:pt idx="39306">2</cx:pt>
          <cx:pt idx="39307">3</cx:pt>
          <cx:pt idx="39308">2</cx:pt>
          <cx:pt idx="39309">1</cx:pt>
          <cx:pt idx="39310">1</cx:pt>
          <cx:pt idx="39311">4</cx:pt>
          <cx:pt idx="39312">4</cx:pt>
          <cx:pt idx="39313">5</cx:pt>
          <cx:pt idx="39314">3</cx:pt>
          <cx:pt idx="39315">2</cx:pt>
          <cx:pt idx="39316">4</cx:pt>
          <cx:pt idx="39317">4</cx:pt>
          <cx:pt idx="39318">1</cx:pt>
          <cx:pt idx="39319">4</cx:pt>
          <cx:pt idx="39320">4</cx:pt>
          <cx:pt idx="39321">5</cx:pt>
          <cx:pt idx="39322">1</cx:pt>
          <cx:pt idx="39323">3</cx:pt>
          <cx:pt idx="39324">4</cx:pt>
          <cx:pt idx="39325">1</cx:pt>
          <cx:pt idx="39326">1</cx:pt>
          <cx:pt idx="39327">5</cx:pt>
          <cx:pt idx="39328">3</cx:pt>
          <cx:pt idx="39329">1</cx:pt>
          <cx:pt idx="39330">4</cx:pt>
          <cx:pt idx="39331">3</cx:pt>
          <cx:pt idx="39332">2</cx:pt>
          <cx:pt idx="39333">4</cx:pt>
          <cx:pt idx="39334">2</cx:pt>
          <cx:pt idx="39335">1</cx:pt>
          <cx:pt idx="39336">2</cx:pt>
          <cx:pt idx="39337">4</cx:pt>
          <cx:pt idx="39338">2</cx:pt>
          <cx:pt idx="39339">5</cx:pt>
          <cx:pt idx="39340">4</cx:pt>
          <cx:pt idx="39341">2</cx:pt>
          <cx:pt idx="39342">1</cx:pt>
          <cx:pt idx="39343">5</cx:pt>
          <cx:pt idx="39344">1</cx:pt>
          <cx:pt idx="39345">4</cx:pt>
          <cx:pt idx="39346">5</cx:pt>
          <cx:pt idx="39347">2</cx:pt>
          <cx:pt idx="39348">3</cx:pt>
          <cx:pt idx="39349">0</cx:pt>
          <cx:pt idx="39350">5</cx:pt>
          <cx:pt idx="39351">5</cx:pt>
          <cx:pt idx="39352">4</cx:pt>
          <cx:pt idx="39353">1</cx:pt>
          <cx:pt idx="39354">5</cx:pt>
          <cx:pt idx="39355">2</cx:pt>
          <cx:pt idx="39356">3</cx:pt>
          <cx:pt idx="39357">5</cx:pt>
          <cx:pt idx="39358">2</cx:pt>
          <cx:pt idx="39359">3</cx:pt>
          <cx:pt idx="39360">1</cx:pt>
          <cx:pt idx="39361">4</cx:pt>
          <cx:pt idx="39362">1</cx:pt>
          <cx:pt idx="39363">1</cx:pt>
          <cx:pt idx="39364">3</cx:pt>
          <cx:pt idx="39365">4</cx:pt>
          <cx:pt idx="39366">2</cx:pt>
          <cx:pt idx="39367">3</cx:pt>
          <cx:pt idx="39368">4</cx:pt>
          <cx:pt idx="39369">2</cx:pt>
          <cx:pt idx="39370">4</cx:pt>
          <cx:pt idx="39371">3</cx:pt>
          <cx:pt idx="39372">4</cx:pt>
          <cx:pt idx="39373">4</cx:pt>
          <cx:pt idx="39374">2</cx:pt>
          <cx:pt idx="39375">3</cx:pt>
          <cx:pt idx="39376">4</cx:pt>
          <cx:pt idx="39377">2</cx:pt>
          <cx:pt idx="39378">1</cx:pt>
          <cx:pt idx="39379">3</cx:pt>
          <cx:pt idx="39380">1</cx:pt>
          <cx:pt idx="39381">2</cx:pt>
          <cx:pt idx="39382">1</cx:pt>
          <cx:pt idx="39383">4</cx:pt>
          <cx:pt idx="39384">2</cx:pt>
          <cx:pt idx="39385">1</cx:pt>
          <cx:pt idx="39386">5</cx:pt>
          <cx:pt idx="39387">4</cx:pt>
          <cx:pt idx="39388">5</cx:pt>
          <cx:pt idx="39389">3</cx:pt>
          <cx:pt idx="39390">1</cx:pt>
          <cx:pt idx="39391">4</cx:pt>
          <cx:pt idx="39392">2</cx:pt>
          <cx:pt idx="39393">0</cx:pt>
          <cx:pt idx="39394">1</cx:pt>
          <cx:pt idx="39395">2</cx:pt>
          <cx:pt idx="39396">5</cx:pt>
          <cx:pt idx="39397">4</cx:pt>
          <cx:pt idx="39398">1</cx:pt>
          <cx:pt idx="39399">2</cx:pt>
          <cx:pt idx="39400">4</cx:pt>
          <cx:pt idx="39401">2</cx:pt>
          <cx:pt idx="39402">2</cx:pt>
          <cx:pt idx="39403">4</cx:pt>
          <cx:pt idx="39404">2</cx:pt>
          <cx:pt idx="39405">1</cx:pt>
          <cx:pt idx="39406">4</cx:pt>
          <cx:pt idx="39407">3</cx:pt>
          <cx:pt idx="39408">5</cx:pt>
          <cx:pt idx="39409">1</cx:pt>
          <cx:pt idx="39410">0</cx:pt>
          <cx:pt idx="39411">1</cx:pt>
          <cx:pt idx="39412">4</cx:pt>
          <cx:pt idx="39413">4</cx:pt>
          <cx:pt idx="39414">1</cx:pt>
          <cx:pt idx="39415">1</cx:pt>
          <cx:pt idx="39416">2</cx:pt>
          <cx:pt idx="39417">3</cx:pt>
          <cx:pt idx="39418">1</cx:pt>
          <cx:pt idx="39419">3</cx:pt>
          <cx:pt idx="39420">5</cx:pt>
          <cx:pt idx="39421">5</cx:pt>
          <cx:pt idx="39422">4</cx:pt>
          <cx:pt idx="39423">4</cx:pt>
          <cx:pt idx="39424">3</cx:pt>
          <cx:pt idx="39425">4</cx:pt>
          <cx:pt idx="39426">4</cx:pt>
          <cx:pt idx="39427">3</cx:pt>
          <cx:pt idx="39428">5</cx:pt>
          <cx:pt idx="39429">4</cx:pt>
          <cx:pt idx="39430">5</cx:pt>
          <cx:pt idx="39431">3</cx:pt>
          <cx:pt idx="39432">4</cx:pt>
          <cx:pt idx="39433">2</cx:pt>
          <cx:pt idx="39434">4</cx:pt>
          <cx:pt idx="39435">2</cx:pt>
          <cx:pt idx="39436">0</cx:pt>
          <cx:pt idx="39437">4</cx:pt>
          <cx:pt idx="39438">4</cx:pt>
          <cx:pt idx="39439">5</cx:pt>
          <cx:pt idx="39440">1</cx:pt>
          <cx:pt idx="39441">5</cx:pt>
          <cx:pt idx="39442">1</cx:pt>
          <cx:pt idx="39443">4</cx:pt>
          <cx:pt idx="39444">4</cx:pt>
          <cx:pt idx="39445">1</cx:pt>
          <cx:pt idx="39446">5</cx:pt>
          <cx:pt idx="39447">2</cx:pt>
          <cx:pt idx="39448">3</cx:pt>
          <cx:pt idx="39449">4</cx:pt>
          <cx:pt idx="39450">3</cx:pt>
          <cx:pt idx="39451">4</cx:pt>
          <cx:pt idx="39452">3</cx:pt>
          <cx:pt idx="39453">4</cx:pt>
          <cx:pt idx="39454">3</cx:pt>
          <cx:pt idx="39455">4</cx:pt>
          <cx:pt idx="39456">4</cx:pt>
          <cx:pt idx="39457">3</cx:pt>
          <cx:pt idx="39458">5</cx:pt>
          <cx:pt idx="39459">3</cx:pt>
          <cx:pt idx="39460">2</cx:pt>
          <cx:pt idx="39461">4</cx:pt>
          <cx:pt idx="39462">0</cx:pt>
          <cx:pt idx="39463">4</cx:pt>
          <cx:pt idx="39464">3</cx:pt>
          <cx:pt idx="39465">2</cx:pt>
          <cx:pt idx="39466">0</cx:pt>
          <cx:pt idx="39467">3</cx:pt>
          <cx:pt idx="39468">5</cx:pt>
          <cx:pt idx="39469">4</cx:pt>
          <cx:pt idx="39470">5</cx:pt>
          <cx:pt idx="39471">2</cx:pt>
          <cx:pt idx="39472">2</cx:pt>
          <cx:pt idx="39473">3</cx:pt>
          <cx:pt idx="39474">4</cx:pt>
          <cx:pt idx="39475">2</cx:pt>
          <cx:pt idx="39476">4</cx:pt>
          <cx:pt idx="39477">3</cx:pt>
          <cx:pt idx="39478">1</cx:pt>
          <cx:pt idx="39479">0</cx:pt>
          <cx:pt idx="39480">4</cx:pt>
          <cx:pt idx="39481">5</cx:pt>
          <cx:pt idx="39482">4</cx:pt>
          <cx:pt idx="39483">3</cx:pt>
          <cx:pt idx="39484">1</cx:pt>
          <cx:pt idx="39485">5</cx:pt>
          <cx:pt idx="39486">5</cx:pt>
          <cx:pt idx="39487">4</cx:pt>
          <cx:pt idx="39488">3</cx:pt>
          <cx:pt idx="39489">3</cx:pt>
          <cx:pt idx="39490">5</cx:pt>
          <cx:pt idx="39491">0</cx:pt>
          <cx:pt idx="39492">2</cx:pt>
          <cx:pt idx="39493">1</cx:pt>
          <cx:pt idx="39494">3</cx:pt>
          <cx:pt idx="39495">0</cx:pt>
          <cx:pt idx="39496">4</cx:pt>
          <cx:pt idx="39497">4</cx:pt>
          <cx:pt idx="39498">2</cx:pt>
          <cx:pt idx="39499">2</cx:pt>
          <cx:pt idx="39500">5</cx:pt>
          <cx:pt idx="39501">5</cx:pt>
          <cx:pt idx="39502">2</cx:pt>
          <cx:pt idx="39503">2</cx:pt>
          <cx:pt idx="39504">4</cx:pt>
          <cx:pt idx="39505">5</cx:pt>
          <cx:pt idx="39506">2</cx:pt>
          <cx:pt idx="39507">2</cx:pt>
          <cx:pt idx="39508">3</cx:pt>
          <cx:pt idx="39509">1</cx:pt>
          <cx:pt idx="39510">1</cx:pt>
          <cx:pt idx="39511">5</cx:pt>
          <cx:pt idx="39512">5</cx:pt>
          <cx:pt idx="39513">3</cx:pt>
          <cx:pt idx="39514">2</cx:pt>
          <cx:pt idx="39515">3</cx:pt>
          <cx:pt idx="39516">3</cx:pt>
          <cx:pt idx="39517">1</cx:pt>
          <cx:pt idx="39518">1</cx:pt>
          <cx:pt idx="39519">4</cx:pt>
          <cx:pt idx="39520">4</cx:pt>
          <cx:pt idx="39521">4</cx:pt>
          <cx:pt idx="39522">5</cx:pt>
          <cx:pt idx="39523">4</cx:pt>
          <cx:pt idx="39524">4</cx:pt>
          <cx:pt idx="39525">4</cx:pt>
          <cx:pt idx="39526">5</cx:pt>
          <cx:pt idx="39527">2</cx:pt>
          <cx:pt idx="39528">5</cx:pt>
          <cx:pt idx="39529">4</cx:pt>
          <cx:pt idx="39530">5</cx:pt>
          <cx:pt idx="39531">4</cx:pt>
          <cx:pt idx="39532">5</cx:pt>
          <cx:pt idx="39533">4</cx:pt>
          <cx:pt idx="39534">4</cx:pt>
          <cx:pt idx="39535">3</cx:pt>
          <cx:pt idx="39536">2</cx:pt>
          <cx:pt idx="39537">2</cx:pt>
          <cx:pt idx="39538">2</cx:pt>
          <cx:pt idx="39539">3</cx:pt>
          <cx:pt idx="39540">3</cx:pt>
          <cx:pt idx="39541">1</cx:pt>
          <cx:pt idx="39542">0</cx:pt>
          <cx:pt idx="39543">2</cx:pt>
          <cx:pt idx="39544">3</cx:pt>
          <cx:pt idx="39545">2</cx:pt>
          <cx:pt idx="39546">4</cx:pt>
          <cx:pt idx="39547">4</cx:pt>
          <cx:pt idx="39548">2</cx:pt>
          <cx:pt idx="39549">4</cx:pt>
          <cx:pt idx="39550">3</cx:pt>
          <cx:pt idx="39551">0</cx:pt>
          <cx:pt idx="39552">2</cx:pt>
          <cx:pt idx="39553">4</cx:pt>
          <cx:pt idx="39554">2</cx:pt>
          <cx:pt idx="39555">1</cx:pt>
          <cx:pt idx="39556">2</cx:pt>
          <cx:pt idx="39557">4</cx:pt>
          <cx:pt idx="39558">2</cx:pt>
          <cx:pt idx="39559">1</cx:pt>
          <cx:pt idx="39560">4</cx:pt>
          <cx:pt idx="39561">5</cx:pt>
          <cx:pt idx="39562">5</cx:pt>
          <cx:pt idx="39563">4</cx:pt>
          <cx:pt idx="39564">2</cx:pt>
          <cx:pt idx="39565">2</cx:pt>
          <cx:pt idx="39566">0</cx:pt>
          <cx:pt idx="39567">4</cx:pt>
          <cx:pt idx="39568">1</cx:pt>
          <cx:pt idx="39569">2</cx:pt>
          <cx:pt idx="39570">3</cx:pt>
          <cx:pt idx="39571">4</cx:pt>
          <cx:pt idx="39572">4</cx:pt>
          <cx:pt idx="39573">4</cx:pt>
          <cx:pt idx="39574">4</cx:pt>
          <cx:pt idx="39575">4</cx:pt>
          <cx:pt idx="39576">5</cx:pt>
          <cx:pt idx="39577">5</cx:pt>
          <cx:pt idx="39578">2</cx:pt>
          <cx:pt idx="39579">0</cx:pt>
          <cx:pt idx="39580">4</cx:pt>
          <cx:pt idx="39581">1</cx:pt>
          <cx:pt idx="39582">2</cx:pt>
          <cx:pt idx="39583">4</cx:pt>
          <cx:pt idx="39584">3</cx:pt>
          <cx:pt idx="39585">3</cx:pt>
          <cx:pt idx="39586">4</cx:pt>
          <cx:pt idx="39587">1</cx:pt>
          <cx:pt idx="39588">2</cx:pt>
          <cx:pt idx="39589">3</cx:pt>
          <cx:pt idx="39590">4</cx:pt>
          <cx:pt idx="39591">4</cx:pt>
          <cx:pt idx="39592">3</cx:pt>
          <cx:pt idx="39593">4</cx:pt>
          <cx:pt idx="39594">4</cx:pt>
          <cx:pt idx="39595">2</cx:pt>
          <cx:pt idx="39596">2</cx:pt>
          <cx:pt idx="39597">1</cx:pt>
          <cx:pt idx="39598">5</cx:pt>
          <cx:pt idx="39599">5</cx:pt>
          <cx:pt idx="39600">2</cx:pt>
          <cx:pt idx="39601">5</cx:pt>
          <cx:pt idx="39602">3</cx:pt>
          <cx:pt idx="39603">1</cx:pt>
          <cx:pt idx="39604">4</cx:pt>
          <cx:pt idx="39605">1</cx:pt>
          <cx:pt idx="39606">3</cx:pt>
          <cx:pt idx="39607">5</cx:pt>
          <cx:pt idx="39608">4</cx:pt>
          <cx:pt idx="39609">3</cx:pt>
          <cx:pt idx="39610">2</cx:pt>
          <cx:pt idx="39611">5</cx:pt>
          <cx:pt idx="39612">0</cx:pt>
          <cx:pt idx="39613">4</cx:pt>
          <cx:pt idx="39614">1</cx:pt>
          <cx:pt idx="39615">3</cx:pt>
          <cx:pt idx="39616">3</cx:pt>
          <cx:pt idx="39617">2</cx:pt>
          <cx:pt idx="39618">1</cx:pt>
          <cx:pt idx="39619">5</cx:pt>
          <cx:pt idx="39620">1</cx:pt>
          <cx:pt idx="39621">0</cx:pt>
          <cx:pt idx="39622">3</cx:pt>
          <cx:pt idx="39623">4</cx:pt>
          <cx:pt idx="39624">2</cx:pt>
          <cx:pt idx="39625">2</cx:pt>
          <cx:pt idx="39626">3</cx:pt>
          <cx:pt idx="39627">2</cx:pt>
          <cx:pt idx="39628">0</cx:pt>
          <cx:pt idx="39629">3</cx:pt>
          <cx:pt idx="39630">4</cx:pt>
          <cx:pt idx="39631">3</cx:pt>
          <cx:pt idx="39632">4</cx:pt>
          <cx:pt idx="39633">2</cx:pt>
          <cx:pt idx="39634">3</cx:pt>
          <cx:pt idx="39635">3</cx:pt>
          <cx:pt idx="39636">5</cx:pt>
          <cx:pt idx="39637">4</cx:pt>
          <cx:pt idx="39638">1</cx:pt>
          <cx:pt idx="39639">3</cx:pt>
          <cx:pt idx="39640">5</cx:pt>
          <cx:pt idx="39641">3</cx:pt>
          <cx:pt idx="39642">3</cx:pt>
          <cx:pt idx="39643">3</cx:pt>
          <cx:pt idx="39644">2</cx:pt>
          <cx:pt idx="39645">5</cx:pt>
          <cx:pt idx="39646">1</cx:pt>
          <cx:pt idx="39647">1</cx:pt>
          <cx:pt idx="39648">2</cx:pt>
          <cx:pt idx="39649">4</cx:pt>
          <cx:pt idx="39650">1</cx:pt>
          <cx:pt idx="39651">3</cx:pt>
          <cx:pt idx="39652">3</cx:pt>
          <cx:pt idx="39653">2</cx:pt>
          <cx:pt idx="39654">3</cx:pt>
          <cx:pt idx="39655">1</cx:pt>
          <cx:pt idx="39656">3</cx:pt>
          <cx:pt idx="39657">5</cx:pt>
          <cx:pt idx="39658">4</cx:pt>
          <cx:pt idx="39659">2</cx:pt>
          <cx:pt idx="39660">1</cx:pt>
          <cx:pt idx="39661">2</cx:pt>
          <cx:pt idx="39662">3</cx:pt>
          <cx:pt idx="39663">2</cx:pt>
          <cx:pt idx="39664">1</cx:pt>
          <cx:pt idx="39665">2</cx:pt>
          <cx:pt idx="39666">1</cx:pt>
          <cx:pt idx="39667">2</cx:pt>
          <cx:pt idx="39668">0</cx:pt>
          <cx:pt idx="39669">4</cx:pt>
          <cx:pt idx="39670">1</cx:pt>
          <cx:pt idx="39671">4</cx:pt>
          <cx:pt idx="39672">5</cx:pt>
          <cx:pt idx="39673">4</cx:pt>
          <cx:pt idx="39674">1</cx:pt>
          <cx:pt idx="39675">1</cx:pt>
          <cx:pt idx="39676">2</cx:pt>
          <cx:pt idx="39677">0</cx:pt>
          <cx:pt idx="39678">4</cx:pt>
          <cx:pt idx="39679">2</cx:pt>
          <cx:pt idx="39680">2</cx:pt>
          <cx:pt idx="39681">4</cx:pt>
          <cx:pt idx="39682">5</cx:pt>
          <cx:pt idx="39683">0</cx:pt>
          <cx:pt idx="39684">4</cx:pt>
          <cx:pt idx="39685">3</cx:pt>
          <cx:pt idx="39686">3</cx:pt>
          <cx:pt idx="39687">2</cx:pt>
          <cx:pt idx="39688">3</cx:pt>
          <cx:pt idx="39689">3</cx:pt>
          <cx:pt idx="39690">5</cx:pt>
          <cx:pt idx="39691">3</cx:pt>
          <cx:pt idx="39692">4</cx:pt>
          <cx:pt idx="39693">1</cx:pt>
          <cx:pt idx="39694">1</cx:pt>
          <cx:pt idx="39695">3</cx:pt>
          <cx:pt idx="39696">3</cx:pt>
          <cx:pt idx="39697">3</cx:pt>
          <cx:pt idx="39698">3</cx:pt>
          <cx:pt idx="39699">3</cx:pt>
          <cx:pt idx="39700">3</cx:pt>
          <cx:pt idx="39701">2</cx:pt>
          <cx:pt idx="39702">3</cx:pt>
          <cx:pt idx="39703">5</cx:pt>
          <cx:pt idx="39704">4</cx:pt>
          <cx:pt idx="39705">1</cx:pt>
          <cx:pt idx="39706">1</cx:pt>
          <cx:pt idx="39707">1</cx:pt>
          <cx:pt idx="39708">2</cx:pt>
          <cx:pt idx="39709">2</cx:pt>
          <cx:pt idx="39710">2</cx:pt>
          <cx:pt idx="39711">2</cx:pt>
          <cx:pt idx="39712">0</cx:pt>
          <cx:pt idx="39713">1</cx:pt>
          <cx:pt idx="39714">2</cx:pt>
          <cx:pt idx="39715">4</cx:pt>
          <cx:pt idx="39716">2</cx:pt>
          <cx:pt idx="39717">4</cx:pt>
          <cx:pt idx="39718">5</cx:pt>
          <cx:pt idx="39719">2</cx:pt>
          <cx:pt idx="39720">1</cx:pt>
          <cx:pt idx="39721">1</cx:pt>
          <cx:pt idx="39722">1</cx:pt>
          <cx:pt idx="39723">5</cx:pt>
          <cx:pt idx="39724">3</cx:pt>
          <cx:pt idx="39725">3</cx:pt>
          <cx:pt idx="39726">2</cx:pt>
          <cx:pt idx="39727">2</cx:pt>
          <cx:pt idx="39728">3</cx:pt>
          <cx:pt idx="39729">3</cx:pt>
          <cx:pt idx="39730">4</cx:pt>
          <cx:pt idx="39731">4</cx:pt>
          <cx:pt idx="39732">1</cx:pt>
          <cx:pt idx="39733">3</cx:pt>
          <cx:pt idx="39734">3</cx:pt>
          <cx:pt idx="39735">3</cx:pt>
          <cx:pt idx="39736">5</cx:pt>
          <cx:pt idx="39737">1</cx:pt>
          <cx:pt idx="39738">5</cx:pt>
          <cx:pt idx="39739">1</cx:pt>
          <cx:pt idx="39740">2</cx:pt>
          <cx:pt idx="39741">3</cx:pt>
          <cx:pt idx="39742">3</cx:pt>
          <cx:pt idx="39743">2</cx:pt>
          <cx:pt idx="39744">5</cx:pt>
          <cx:pt idx="39745">0</cx:pt>
          <cx:pt idx="39746">3</cx:pt>
          <cx:pt idx="39747">2</cx:pt>
          <cx:pt idx="39748">3</cx:pt>
          <cx:pt idx="39749">1</cx:pt>
          <cx:pt idx="39750">4</cx:pt>
          <cx:pt idx="39751">3</cx:pt>
          <cx:pt idx="39752">4</cx:pt>
          <cx:pt idx="39753">1</cx:pt>
          <cx:pt idx="39754">3</cx:pt>
          <cx:pt idx="39755">3</cx:pt>
          <cx:pt idx="39756">4</cx:pt>
          <cx:pt idx="39757">3</cx:pt>
          <cx:pt idx="39758">2</cx:pt>
          <cx:pt idx="39759">2</cx:pt>
          <cx:pt idx="39760">3</cx:pt>
          <cx:pt idx="39761">1</cx:pt>
          <cx:pt idx="39762">3</cx:pt>
          <cx:pt idx="39763">1</cx:pt>
          <cx:pt idx="39764">5</cx:pt>
          <cx:pt idx="39765">3</cx:pt>
          <cx:pt idx="39766">0</cx:pt>
          <cx:pt idx="39767">1</cx:pt>
          <cx:pt idx="39768">1</cx:pt>
          <cx:pt idx="39769">5</cx:pt>
          <cx:pt idx="39770">1</cx:pt>
          <cx:pt idx="39771">3</cx:pt>
          <cx:pt idx="39772">3</cx:pt>
          <cx:pt idx="39773">3</cx:pt>
          <cx:pt idx="39774">2</cx:pt>
          <cx:pt idx="39775">3</cx:pt>
          <cx:pt idx="39776">3</cx:pt>
          <cx:pt idx="39777">2</cx:pt>
          <cx:pt idx="39778">5</cx:pt>
          <cx:pt idx="39779">3</cx:pt>
          <cx:pt idx="39780">2</cx:pt>
          <cx:pt idx="39781">1</cx:pt>
          <cx:pt idx="39782">3</cx:pt>
          <cx:pt idx="39783">5</cx:pt>
          <cx:pt idx="39784">5</cx:pt>
          <cx:pt idx="39785">1</cx:pt>
          <cx:pt idx="39786">5</cx:pt>
          <cx:pt idx="39787">2</cx:pt>
          <cx:pt idx="39788">2</cx:pt>
          <cx:pt idx="39789">3</cx:pt>
          <cx:pt idx="39790">2</cx:pt>
          <cx:pt idx="39791">1</cx:pt>
          <cx:pt idx="39792">4</cx:pt>
          <cx:pt idx="39793">1</cx:pt>
          <cx:pt idx="39794">1</cx:pt>
          <cx:pt idx="39795">5</cx:pt>
          <cx:pt idx="39796">2</cx:pt>
          <cx:pt idx="39797">4</cx:pt>
          <cx:pt idx="39798">2</cx:pt>
          <cx:pt idx="39799">5</cx:pt>
          <cx:pt idx="39800">0</cx:pt>
          <cx:pt idx="39801">1</cx:pt>
          <cx:pt idx="39802">3</cx:pt>
          <cx:pt idx="39803">1</cx:pt>
          <cx:pt idx="39804">4</cx:pt>
          <cx:pt idx="39805">4</cx:pt>
          <cx:pt idx="39806">0</cx:pt>
          <cx:pt idx="39807">2</cx:pt>
          <cx:pt idx="39808">2</cx:pt>
          <cx:pt idx="39809">4</cx:pt>
          <cx:pt idx="39810">2</cx:pt>
          <cx:pt idx="39811">1</cx:pt>
          <cx:pt idx="39812">2</cx:pt>
          <cx:pt idx="39813">0</cx:pt>
          <cx:pt idx="39814">3</cx:pt>
          <cx:pt idx="39815">1</cx:pt>
          <cx:pt idx="39816">2</cx:pt>
          <cx:pt idx="39817">1</cx:pt>
          <cx:pt idx="39818">1</cx:pt>
          <cx:pt idx="39819">3</cx:pt>
          <cx:pt idx="39820">2</cx:pt>
          <cx:pt idx="39821">1</cx:pt>
          <cx:pt idx="39822">1</cx:pt>
          <cx:pt idx="39823">4</cx:pt>
          <cx:pt idx="39824">2</cx:pt>
          <cx:pt idx="39825">5</cx:pt>
          <cx:pt idx="39826">2</cx:pt>
          <cx:pt idx="39827">3</cx:pt>
          <cx:pt idx="39828">2</cx:pt>
          <cx:pt idx="39829">0</cx:pt>
          <cx:pt idx="39830">3</cx:pt>
          <cx:pt idx="39831">4</cx:pt>
          <cx:pt idx="39832">4</cx:pt>
          <cx:pt idx="39833">1</cx:pt>
          <cx:pt idx="39834">2</cx:pt>
          <cx:pt idx="39835">2</cx:pt>
          <cx:pt idx="39836">3</cx:pt>
          <cx:pt idx="39837">1</cx:pt>
          <cx:pt idx="39838">4</cx:pt>
          <cx:pt idx="39839">1</cx:pt>
          <cx:pt idx="39840">3</cx:pt>
          <cx:pt idx="39841">3</cx:pt>
          <cx:pt idx="39842">3</cx:pt>
          <cx:pt idx="39843">3</cx:pt>
          <cx:pt idx="39844">2</cx:pt>
          <cx:pt idx="39845">5</cx:pt>
          <cx:pt idx="39846">4</cx:pt>
          <cx:pt idx="39847">3</cx:pt>
          <cx:pt idx="39848">3</cx:pt>
          <cx:pt idx="39849">1</cx:pt>
          <cx:pt idx="39850">4</cx:pt>
          <cx:pt idx="39851">3</cx:pt>
          <cx:pt idx="39852">2</cx:pt>
          <cx:pt idx="39853">2</cx:pt>
          <cx:pt idx="39854">3</cx:pt>
          <cx:pt idx="39855">2</cx:pt>
          <cx:pt idx="39856">4</cx:pt>
          <cx:pt idx="39857">2</cx:pt>
          <cx:pt idx="39858">3</cx:pt>
          <cx:pt idx="39859">5</cx:pt>
          <cx:pt idx="39860">4</cx:pt>
          <cx:pt idx="39861">3</cx:pt>
          <cx:pt idx="39862">3</cx:pt>
          <cx:pt idx="39863">1</cx:pt>
          <cx:pt idx="39864">5</cx:pt>
          <cx:pt idx="39865">3</cx:pt>
          <cx:pt idx="39866">5</cx:pt>
          <cx:pt idx="39867">2</cx:pt>
          <cx:pt idx="39868">3</cx:pt>
          <cx:pt idx="39869">5</cx:pt>
          <cx:pt idx="39870">3</cx:pt>
          <cx:pt idx="39871">1</cx:pt>
          <cx:pt idx="39872">4</cx:pt>
          <cx:pt idx="39873">2</cx:pt>
          <cx:pt idx="39874">0</cx:pt>
          <cx:pt idx="39875">2</cx:pt>
          <cx:pt idx="39876">4</cx:pt>
          <cx:pt idx="39877">3</cx:pt>
          <cx:pt idx="39878">3</cx:pt>
          <cx:pt idx="39879">0</cx:pt>
          <cx:pt idx="39880">2</cx:pt>
          <cx:pt idx="39881">1</cx:pt>
          <cx:pt idx="39882">5</cx:pt>
          <cx:pt idx="39883">3</cx:pt>
          <cx:pt idx="39884">3</cx:pt>
          <cx:pt idx="39885">5</cx:pt>
          <cx:pt idx="39886">2</cx:pt>
          <cx:pt idx="39887">2</cx:pt>
          <cx:pt idx="39888">4</cx:pt>
          <cx:pt idx="39889">2</cx:pt>
          <cx:pt idx="39890">2</cx:pt>
          <cx:pt idx="39891">3</cx:pt>
          <cx:pt idx="39892">1</cx:pt>
          <cx:pt idx="39893">5</cx:pt>
          <cx:pt idx="39894">1</cx:pt>
          <cx:pt idx="39895">2</cx:pt>
          <cx:pt idx="39896">3</cx:pt>
          <cx:pt idx="39897">3</cx:pt>
          <cx:pt idx="39898">3</cx:pt>
          <cx:pt idx="39899">4</cx:pt>
          <cx:pt idx="39900">4</cx:pt>
          <cx:pt idx="39901">3</cx:pt>
          <cx:pt idx="39902">4</cx:pt>
          <cx:pt idx="39903">2</cx:pt>
          <cx:pt idx="39904">1</cx:pt>
          <cx:pt idx="39905">3</cx:pt>
          <cx:pt idx="39906">3</cx:pt>
          <cx:pt idx="39907">2</cx:pt>
          <cx:pt idx="39908">0</cx:pt>
          <cx:pt idx="39909">5</cx:pt>
          <cx:pt idx="39910">2</cx:pt>
          <cx:pt idx="39911">4</cx:pt>
          <cx:pt idx="39912">4</cx:pt>
          <cx:pt idx="39913">2</cx:pt>
          <cx:pt idx="39914">2</cx:pt>
          <cx:pt idx="39915">2</cx:pt>
          <cx:pt idx="39916">3</cx:pt>
          <cx:pt idx="39917">3</cx:pt>
          <cx:pt idx="39918">3</cx:pt>
          <cx:pt idx="39919">2</cx:pt>
          <cx:pt idx="39920">0</cx:pt>
          <cx:pt idx="39921">0</cx:pt>
          <cx:pt idx="39922">0</cx:pt>
          <cx:pt idx="39923">0</cx:pt>
          <cx:pt idx="39924">1</cx:pt>
          <cx:pt idx="39925">2</cx:pt>
          <cx:pt idx="39926">0</cx:pt>
          <cx:pt idx="39927">3</cx:pt>
          <cx:pt idx="39928">2</cx:pt>
          <cx:pt idx="39929">5</cx:pt>
          <cx:pt idx="39930">4</cx:pt>
          <cx:pt idx="39931">4</cx:pt>
          <cx:pt idx="39932">1</cx:pt>
          <cx:pt idx="39933">2</cx:pt>
          <cx:pt idx="39934">2</cx:pt>
          <cx:pt idx="39935">1</cx:pt>
          <cx:pt idx="39936">1</cx:pt>
          <cx:pt idx="39937">1</cx:pt>
          <cx:pt idx="39938">4</cx:pt>
          <cx:pt idx="39939">5</cx:pt>
          <cx:pt idx="39940">0</cx:pt>
          <cx:pt idx="39941">2</cx:pt>
          <cx:pt idx="39942">4</cx:pt>
          <cx:pt idx="39943">1</cx:pt>
          <cx:pt idx="39944">4</cx:pt>
          <cx:pt idx="39945">3</cx:pt>
          <cx:pt idx="39946">3</cx:pt>
          <cx:pt idx="39947">4</cx:pt>
          <cx:pt idx="39948">2</cx:pt>
          <cx:pt idx="39949">2</cx:pt>
          <cx:pt idx="39950">5</cx:pt>
          <cx:pt idx="39951">2</cx:pt>
          <cx:pt idx="39952">5</cx:pt>
          <cx:pt idx="39953">5</cx:pt>
          <cx:pt idx="39954">2</cx:pt>
          <cx:pt idx="39955">3</cx:pt>
          <cx:pt idx="39956">3</cx:pt>
          <cx:pt idx="39957">3</cx:pt>
          <cx:pt idx="39958">3</cx:pt>
          <cx:pt idx="39959">4</cx:pt>
          <cx:pt idx="39960">3</cx:pt>
          <cx:pt idx="39961">1</cx:pt>
          <cx:pt idx="39962">2</cx:pt>
          <cx:pt idx="39963">4</cx:pt>
          <cx:pt idx="39964">1</cx:pt>
          <cx:pt idx="39965">2</cx:pt>
          <cx:pt idx="39966">3</cx:pt>
          <cx:pt idx="39967">1</cx:pt>
          <cx:pt idx="39968">2</cx:pt>
          <cx:pt idx="39969">2</cx:pt>
          <cx:pt idx="39970">3</cx:pt>
          <cx:pt idx="39971">1</cx:pt>
          <cx:pt idx="39972">4</cx:pt>
          <cx:pt idx="39973">1</cx:pt>
          <cx:pt idx="39974">2</cx:pt>
          <cx:pt idx="39975">1</cx:pt>
          <cx:pt idx="39976">1</cx:pt>
          <cx:pt idx="39977">3</cx:pt>
          <cx:pt idx="39978">1</cx:pt>
          <cx:pt idx="39979">3</cx:pt>
          <cx:pt idx="39980">2</cx:pt>
          <cx:pt idx="39981">3</cx:pt>
          <cx:pt idx="39982">1</cx:pt>
          <cx:pt idx="39983">3</cx:pt>
          <cx:pt idx="39984">4</cx:pt>
          <cx:pt idx="39985">2</cx:pt>
          <cx:pt idx="39986">5</cx:pt>
          <cx:pt idx="39987">2</cx:pt>
          <cx:pt idx="39988">4</cx:pt>
          <cx:pt idx="39989">4</cx:pt>
          <cx:pt idx="39990">0</cx:pt>
          <cx:pt idx="39991">3</cx:pt>
          <cx:pt idx="39992">3</cx:pt>
          <cx:pt idx="39993">5</cx:pt>
          <cx:pt idx="39994">3</cx:pt>
          <cx:pt idx="39995">3</cx:pt>
          <cx:pt idx="39996">5</cx:pt>
          <cx:pt idx="39997">3</cx:pt>
          <cx:pt idx="39998">0</cx:pt>
          <cx:pt idx="39999">3</cx:pt>
          <cx:pt idx="40000">2</cx:pt>
          <cx:pt idx="40001">4</cx:pt>
          <cx:pt idx="40002">3</cx:pt>
          <cx:pt idx="40003">4</cx:pt>
          <cx:pt idx="40004">1</cx:pt>
          <cx:pt idx="40005">1</cx:pt>
          <cx:pt idx="40006">1</cx:pt>
          <cx:pt idx="40007">3</cx:pt>
          <cx:pt idx="40008">0</cx:pt>
          <cx:pt idx="40009">5</cx:pt>
          <cx:pt idx="40010">1</cx:pt>
          <cx:pt idx="40011">0</cx:pt>
          <cx:pt idx="40012">1</cx:pt>
          <cx:pt idx="40013">5</cx:pt>
          <cx:pt idx="40014">3</cx:pt>
          <cx:pt idx="40015">4</cx:pt>
          <cx:pt idx="40016">1</cx:pt>
          <cx:pt idx="40017">2</cx:pt>
          <cx:pt idx="40018">5</cx:pt>
          <cx:pt idx="40019">4</cx:pt>
          <cx:pt idx="40020">4</cx:pt>
          <cx:pt idx="40021">1</cx:pt>
          <cx:pt idx="40022">3</cx:pt>
          <cx:pt idx="40023">1</cx:pt>
          <cx:pt idx="40024">4</cx:pt>
          <cx:pt idx="40025">1</cx:pt>
          <cx:pt idx="40026">3</cx:pt>
          <cx:pt idx="40027">1</cx:pt>
          <cx:pt idx="40028">1</cx:pt>
          <cx:pt idx="40029">5</cx:pt>
          <cx:pt idx="40030">4</cx:pt>
          <cx:pt idx="40031">3</cx:pt>
          <cx:pt idx="40032">2</cx:pt>
          <cx:pt idx="40033">5</cx:pt>
          <cx:pt idx="40034">2</cx:pt>
          <cx:pt idx="40035">1</cx:pt>
          <cx:pt idx="40036">2</cx:pt>
          <cx:pt idx="40037">1</cx:pt>
          <cx:pt idx="40038">4</cx:pt>
          <cx:pt idx="40039">4</cx:pt>
          <cx:pt idx="40040">2</cx:pt>
          <cx:pt idx="40041">4</cx:pt>
          <cx:pt idx="40042">5</cx:pt>
          <cx:pt idx="40043">3</cx:pt>
          <cx:pt idx="40044">1</cx:pt>
          <cx:pt idx="40045">0</cx:pt>
          <cx:pt idx="40046">2</cx:pt>
          <cx:pt idx="40047">3</cx:pt>
          <cx:pt idx="40048">3</cx:pt>
          <cx:pt idx="40049">4</cx:pt>
          <cx:pt idx="40050">4</cx:pt>
          <cx:pt idx="40051">5</cx:pt>
          <cx:pt idx="40052">2</cx:pt>
          <cx:pt idx="40053">3</cx:pt>
          <cx:pt idx="40054">5</cx:pt>
          <cx:pt idx="40055">1</cx:pt>
          <cx:pt idx="40056">5</cx:pt>
          <cx:pt idx="40057">5</cx:pt>
          <cx:pt idx="40058">2</cx:pt>
          <cx:pt idx="40059">3</cx:pt>
          <cx:pt idx="40060">3</cx:pt>
          <cx:pt idx="40061">1</cx:pt>
          <cx:pt idx="40062">4</cx:pt>
          <cx:pt idx="40063">3</cx:pt>
          <cx:pt idx="40064">4</cx:pt>
          <cx:pt idx="40065">2</cx:pt>
          <cx:pt idx="40066">2</cx:pt>
          <cx:pt idx="40067">4</cx:pt>
          <cx:pt idx="40068">4</cx:pt>
          <cx:pt idx="40069">4</cx:pt>
          <cx:pt idx="40070">4</cx:pt>
          <cx:pt idx="40071">4</cx:pt>
          <cx:pt idx="40072">4</cx:pt>
          <cx:pt idx="40073">4</cx:pt>
          <cx:pt idx="40074">3</cx:pt>
          <cx:pt idx="40075">3</cx:pt>
          <cx:pt idx="40076">4</cx:pt>
          <cx:pt idx="40077">3</cx:pt>
          <cx:pt idx="40078">2</cx:pt>
          <cx:pt idx="40079">2</cx:pt>
          <cx:pt idx="40080">2</cx:pt>
          <cx:pt idx="40081">3</cx:pt>
          <cx:pt idx="40082">3</cx:pt>
          <cx:pt idx="40083">4</cx:pt>
          <cx:pt idx="40084">4</cx:pt>
          <cx:pt idx="40085">3</cx:pt>
          <cx:pt idx="40086">1</cx:pt>
          <cx:pt idx="40087">2</cx:pt>
          <cx:pt idx="40088">3</cx:pt>
          <cx:pt idx="40089">1</cx:pt>
          <cx:pt idx="40090">4</cx:pt>
          <cx:pt idx="40091">2</cx:pt>
          <cx:pt idx="40092">3</cx:pt>
          <cx:pt idx="40093">2</cx:pt>
          <cx:pt idx="40094">1</cx:pt>
          <cx:pt idx="40095">3</cx:pt>
          <cx:pt idx="40096">4</cx:pt>
          <cx:pt idx="40097">2</cx:pt>
          <cx:pt idx="40098">3</cx:pt>
          <cx:pt idx="40099">1</cx:pt>
          <cx:pt idx="40100">2</cx:pt>
          <cx:pt idx="40101">0</cx:pt>
          <cx:pt idx="40102">3</cx:pt>
          <cx:pt idx="40103">2</cx:pt>
          <cx:pt idx="40104">1</cx:pt>
          <cx:pt idx="40105">2</cx:pt>
          <cx:pt idx="40106">1</cx:pt>
          <cx:pt idx="40107">4</cx:pt>
          <cx:pt idx="40108">4</cx:pt>
          <cx:pt idx="40109">4</cx:pt>
          <cx:pt idx="40110">1</cx:pt>
          <cx:pt idx="40111">2</cx:pt>
          <cx:pt idx="40112">3</cx:pt>
          <cx:pt idx="40113">3</cx:pt>
          <cx:pt idx="40114">3</cx:pt>
          <cx:pt idx="40115">0</cx:pt>
          <cx:pt idx="40116">5</cx:pt>
          <cx:pt idx="40117">2</cx:pt>
          <cx:pt idx="40118">5</cx:pt>
          <cx:pt idx="40119">3</cx:pt>
          <cx:pt idx="40120">3</cx:pt>
          <cx:pt idx="40121">3</cx:pt>
          <cx:pt idx="40122">2</cx:pt>
          <cx:pt idx="40123">5</cx:pt>
          <cx:pt idx="40124">1</cx:pt>
          <cx:pt idx="40125">3</cx:pt>
          <cx:pt idx="40126">2</cx:pt>
          <cx:pt idx="40127">1</cx:pt>
          <cx:pt idx="40128">4</cx:pt>
          <cx:pt idx="40129">2</cx:pt>
          <cx:pt idx="40130">5</cx:pt>
          <cx:pt idx="40131">3</cx:pt>
          <cx:pt idx="40132">5</cx:pt>
          <cx:pt idx="40133">5</cx:pt>
          <cx:pt idx="40134">2</cx:pt>
          <cx:pt idx="40135">1</cx:pt>
          <cx:pt idx="40136">2</cx:pt>
          <cx:pt idx="40137">4</cx:pt>
          <cx:pt idx="40138">4</cx:pt>
          <cx:pt idx="40139">3</cx:pt>
          <cx:pt idx="40140">4</cx:pt>
          <cx:pt idx="40141">5</cx:pt>
          <cx:pt idx="40142">4</cx:pt>
          <cx:pt idx="40143">2</cx:pt>
          <cx:pt idx="40144">5</cx:pt>
          <cx:pt idx="40145">2</cx:pt>
          <cx:pt idx="40146">3</cx:pt>
          <cx:pt idx="40147">5</cx:pt>
          <cx:pt idx="40148">4</cx:pt>
          <cx:pt idx="40149">2</cx:pt>
          <cx:pt idx="40150">1</cx:pt>
          <cx:pt idx="40151">5</cx:pt>
          <cx:pt idx="40152">5</cx:pt>
          <cx:pt idx="40153">2</cx:pt>
          <cx:pt idx="40154">2</cx:pt>
          <cx:pt idx="40155">3</cx:pt>
          <cx:pt idx="40156">0</cx:pt>
          <cx:pt idx="40157">4</cx:pt>
          <cx:pt idx="40158">4</cx:pt>
          <cx:pt idx="40159">2</cx:pt>
          <cx:pt idx="40160">2</cx:pt>
          <cx:pt idx="40161">4</cx:pt>
          <cx:pt idx="40162">5</cx:pt>
          <cx:pt idx="40163">4</cx:pt>
          <cx:pt idx="40164">1</cx:pt>
          <cx:pt idx="40165">3</cx:pt>
          <cx:pt idx="40166">5</cx:pt>
          <cx:pt idx="40167">2</cx:pt>
          <cx:pt idx="40168">4</cx:pt>
          <cx:pt idx="40169">2</cx:pt>
          <cx:pt idx="40170">3</cx:pt>
          <cx:pt idx="40171">1</cx:pt>
          <cx:pt idx="40172">0</cx:pt>
          <cx:pt idx="40173">2</cx:pt>
          <cx:pt idx="40174">4</cx:pt>
          <cx:pt idx="40175">4</cx:pt>
          <cx:pt idx="40176">2</cx:pt>
          <cx:pt idx="40177">2</cx:pt>
          <cx:pt idx="40178">5</cx:pt>
          <cx:pt idx="40179">3</cx:pt>
          <cx:pt idx="40180">5</cx:pt>
          <cx:pt idx="40181">1</cx:pt>
          <cx:pt idx="40182">4</cx:pt>
          <cx:pt idx="40183">2</cx:pt>
          <cx:pt idx="40184">2</cx:pt>
          <cx:pt idx="40185">4</cx:pt>
          <cx:pt idx="40186">3</cx:pt>
          <cx:pt idx="40187">5</cx:pt>
          <cx:pt idx="40188">4</cx:pt>
          <cx:pt idx="40189">4</cx:pt>
          <cx:pt idx="40190">2</cx:pt>
          <cx:pt idx="40191">2</cx:pt>
          <cx:pt idx="40192">5</cx:pt>
          <cx:pt idx="40193">3</cx:pt>
          <cx:pt idx="40194">5</cx:pt>
          <cx:pt idx="40195">2</cx:pt>
          <cx:pt idx="40196">5</cx:pt>
          <cx:pt idx="40197">4</cx:pt>
          <cx:pt idx="40198">5</cx:pt>
          <cx:pt idx="40199">3</cx:pt>
          <cx:pt idx="40200">5</cx:pt>
          <cx:pt idx="40201">0</cx:pt>
          <cx:pt idx="40202">0</cx:pt>
          <cx:pt idx="40203">3</cx:pt>
          <cx:pt idx="40204">5</cx:pt>
          <cx:pt idx="40205">2</cx:pt>
          <cx:pt idx="40206">2</cx:pt>
          <cx:pt idx="40207">3</cx:pt>
          <cx:pt idx="40208">5</cx:pt>
          <cx:pt idx="40209">3</cx:pt>
          <cx:pt idx="40210">3</cx:pt>
          <cx:pt idx="40211">2</cx:pt>
          <cx:pt idx="40212">1</cx:pt>
          <cx:pt idx="40213">3</cx:pt>
          <cx:pt idx="40214">1</cx:pt>
          <cx:pt idx="40215">4</cx:pt>
          <cx:pt idx="40216">3</cx:pt>
          <cx:pt idx="40217">5</cx:pt>
          <cx:pt idx="40218">3</cx:pt>
          <cx:pt idx="40219">1</cx:pt>
          <cx:pt idx="40220">3</cx:pt>
          <cx:pt idx="40221">4</cx:pt>
          <cx:pt idx="40222">3</cx:pt>
          <cx:pt idx="40223">3</cx:pt>
          <cx:pt idx="40224">2</cx:pt>
          <cx:pt idx="40225">4</cx:pt>
          <cx:pt idx="40226">5</cx:pt>
          <cx:pt idx="40227">2</cx:pt>
          <cx:pt idx="40228">3</cx:pt>
          <cx:pt idx="40229">1</cx:pt>
          <cx:pt idx="40230">2</cx:pt>
          <cx:pt idx="40231">5</cx:pt>
          <cx:pt idx="40232">3</cx:pt>
          <cx:pt idx="40233">5</cx:pt>
          <cx:pt idx="40234">2</cx:pt>
          <cx:pt idx="40235">2</cx:pt>
          <cx:pt idx="40236">3</cx:pt>
          <cx:pt idx="40237">4</cx:pt>
          <cx:pt idx="40238">2</cx:pt>
          <cx:pt idx="40239">2</cx:pt>
          <cx:pt idx="40240">1</cx:pt>
          <cx:pt idx="40241">2</cx:pt>
          <cx:pt idx="40242">5</cx:pt>
          <cx:pt idx="40243">4</cx:pt>
          <cx:pt idx="40244">3</cx:pt>
          <cx:pt idx="40245">2</cx:pt>
          <cx:pt idx="40246">3</cx:pt>
          <cx:pt idx="40247">5</cx:pt>
          <cx:pt idx="40248">3</cx:pt>
          <cx:pt idx="40249">2</cx:pt>
          <cx:pt idx="40250">1</cx:pt>
          <cx:pt idx="40251">2</cx:pt>
          <cx:pt idx="40252">5</cx:pt>
          <cx:pt idx="40253">3</cx:pt>
          <cx:pt idx="40254">3</cx:pt>
          <cx:pt idx="40255">3</cx:pt>
          <cx:pt idx="40256">3</cx:pt>
          <cx:pt idx="40257">2</cx:pt>
          <cx:pt idx="40258">3</cx:pt>
          <cx:pt idx="40259">2</cx:pt>
          <cx:pt idx="40260">5</cx:pt>
          <cx:pt idx="40261">3</cx:pt>
          <cx:pt idx="40262">4</cx:pt>
          <cx:pt idx="40263">2</cx:pt>
          <cx:pt idx="40264">1</cx:pt>
          <cx:pt idx="40265">2</cx:pt>
          <cx:pt idx="40266">3</cx:pt>
          <cx:pt idx="40267">1</cx:pt>
          <cx:pt idx="40268">4</cx:pt>
          <cx:pt idx="40269">3</cx:pt>
          <cx:pt idx="40270">1</cx:pt>
          <cx:pt idx="40271">5</cx:pt>
          <cx:pt idx="40272">4</cx:pt>
          <cx:pt idx="40273">2</cx:pt>
          <cx:pt idx="40274">2</cx:pt>
          <cx:pt idx="40275">5</cx:pt>
          <cx:pt idx="40276">4</cx:pt>
          <cx:pt idx="40277">4</cx:pt>
          <cx:pt idx="40278">4</cx:pt>
          <cx:pt idx="40279">2</cx:pt>
          <cx:pt idx="40280">2</cx:pt>
          <cx:pt idx="40281">3</cx:pt>
          <cx:pt idx="40282">4</cx:pt>
          <cx:pt idx="40283">0</cx:pt>
          <cx:pt idx="40284">5</cx:pt>
          <cx:pt idx="40285">5</cx:pt>
          <cx:pt idx="40286">4</cx:pt>
          <cx:pt idx="40287">2</cx:pt>
          <cx:pt idx="40288">2</cx:pt>
          <cx:pt idx="40289">3</cx:pt>
          <cx:pt idx="40290">0</cx:pt>
          <cx:pt idx="40291">1</cx:pt>
          <cx:pt idx="40292">2</cx:pt>
          <cx:pt idx="40293">1</cx:pt>
          <cx:pt idx="40294">5</cx:pt>
          <cx:pt idx="40295">3</cx:pt>
          <cx:pt idx="40296">4</cx:pt>
          <cx:pt idx="40297">1</cx:pt>
          <cx:pt idx="40298">2</cx:pt>
          <cx:pt idx="40299">2</cx:pt>
          <cx:pt idx="40300">3</cx:pt>
          <cx:pt idx="40301">0</cx:pt>
          <cx:pt idx="40302">1</cx:pt>
          <cx:pt idx="40303">3</cx:pt>
          <cx:pt idx="40304">3</cx:pt>
          <cx:pt idx="40305">5</cx:pt>
          <cx:pt idx="40306">5</cx:pt>
          <cx:pt idx="40307">4</cx:pt>
          <cx:pt idx="40308">4</cx:pt>
          <cx:pt idx="40309">3</cx:pt>
          <cx:pt idx="40310">2</cx:pt>
          <cx:pt idx="40311">5</cx:pt>
          <cx:pt idx="40312">4</cx:pt>
          <cx:pt idx="40313">2</cx:pt>
          <cx:pt idx="40314">4</cx:pt>
          <cx:pt idx="40315">5</cx:pt>
          <cx:pt idx="40316">5</cx:pt>
          <cx:pt idx="40317">3</cx:pt>
          <cx:pt idx="40318">2</cx:pt>
          <cx:pt idx="40319">3</cx:pt>
          <cx:pt idx="40320">1</cx:pt>
          <cx:pt idx="40321">3</cx:pt>
          <cx:pt idx="40322">5</cx:pt>
          <cx:pt idx="40323">2</cx:pt>
          <cx:pt idx="40324">1</cx:pt>
          <cx:pt idx="40325">2</cx:pt>
          <cx:pt idx="40326">1</cx:pt>
          <cx:pt idx="40327">2</cx:pt>
          <cx:pt idx="40328">4</cx:pt>
          <cx:pt idx="40329">3</cx:pt>
          <cx:pt idx="40330">3</cx:pt>
          <cx:pt idx="40331">3</cx:pt>
          <cx:pt idx="40332">4</cx:pt>
          <cx:pt idx="40333">5</cx:pt>
          <cx:pt idx="40334">3</cx:pt>
          <cx:pt idx="40335">2</cx:pt>
          <cx:pt idx="40336">2</cx:pt>
          <cx:pt idx="40337">5</cx:pt>
          <cx:pt idx="40338">4</cx:pt>
          <cx:pt idx="40339">2</cx:pt>
          <cx:pt idx="40340">1</cx:pt>
          <cx:pt idx="40341">5</cx:pt>
          <cx:pt idx="40342">2</cx:pt>
          <cx:pt idx="40343">4</cx:pt>
          <cx:pt idx="40344">1</cx:pt>
          <cx:pt idx="40345">2</cx:pt>
          <cx:pt idx="40346">5</cx:pt>
          <cx:pt idx="40347">3</cx:pt>
          <cx:pt idx="40348">0</cx:pt>
          <cx:pt idx="40349">3</cx:pt>
          <cx:pt idx="40350">2</cx:pt>
          <cx:pt idx="40351">2</cx:pt>
          <cx:pt idx="40352">3</cx:pt>
          <cx:pt idx="40353">5</cx:pt>
          <cx:pt idx="40354">2</cx:pt>
          <cx:pt idx="40355">2</cx:pt>
          <cx:pt idx="40356">3</cx:pt>
          <cx:pt idx="40357">2</cx:pt>
          <cx:pt idx="40358">5</cx:pt>
          <cx:pt idx="40359">4</cx:pt>
          <cx:pt idx="40360">1</cx:pt>
          <cx:pt idx="40361">2</cx:pt>
          <cx:pt idx="40362">1</cx:pt>
          <cx:pt idx="40363">5</cx:pt>
          <cx:pt idx="40364">4</cx:pt>
          <cx:pt idx="40365">4</cx:pt>
          <cx:pt idx="40366">5</cx:pt>
          <cx:pt idx="40367">0</cx:pt>
          <cx:pt idx="40368">5</cx:pt>
          <cx:pt idx="40369">4</cx:pt>
          <cx:pt idx="40370">5</cx:pt>
          <cx:pt idx="40371">3</cx:pt>
          <cx:pt idx="40372">5</cx:pt>
          <cx:pt idx="40373">0</cx:pt>
          <cx:pt idx="40374">1</cx:pt>
          <cx:pt idx="40375">3</cx:pt>
          <cx:pt idx="40376">5</cx:pt>
          <cx:pt idx="40377">2</cx:pt>
          <cx:pt idx="40378">0</cx:pt>
          <cx:pt idx="40379">3</cx:pt>
          <cx:pt idx="40380">4</cx:pt>
          <cx:pt idx="40381">3</cx:pt>
          <cx:pt idx="40382">4</cx:pt>
          <cx:pt idx="40383">3</cx:pt>
          <cx:pt idx="40384">1</cx:pt>
          <cx:pt idx="40385">4</cx:pt>
          <cx:pt idx="40386">1</cx:pt>
          <cx:pt idx="40387">1</cx:pt>
          <cx:pt idx="40388">5</cx:pt>
          <cx:pt idx="40389">1</cx:pt>
          <cx:pt idx="40390">4</cx:pt>
          <cx:pt idx="40391">1</cx:pt>
          <cx:pt idx="40392">3</cx:pt>
          <cx:pt idx="40393">1</cx:pt>
          <cx:pt idx="40394">3</cx:pt>
          <cx:pt idx="40395">4</cx:pt>
          <cx:pt idx="40396">0</cx:pt>
          <cx:pt idx="40397">3</cx:pt>
          <cx:pt idx="40398">4</cx:pt>
          <cx:pt idx="40399">2</cx:pt>
          <cx:pt idx="40400">2</cx:pt>
          <cx:pt idx="40401">3</cx:pt>
          <cx:pt idx="40402">2</cx:pt>
          <cx:pt idx="40403">4</cx:pt>
          <cx:pt idx="40404">4</cx:pt>
          <cx:pt idx="40405">2</cx:pt>
          <cx:pt idx="40406">2</cx:pt>
          <cx:pt idx="40407">1</cx:pt>
          <cx:pt idx="40408">3</cx:pt>
          <cx:pt idx="40409">2</cx:pt>
          <cx:pt idx="40410">5</cx:pt>
          <cx:pt idx="40411">3</cx:pt>
          <cx:pt idx="40412">4</cx:pt>
          <cx:pt idx="40413">1</cx:pt>
          <cx:pt idx="40414">2</cx:pt>
          <cx:pt idx="40415">0</cx:pt>
          <cx:pt idx="40416">2</cx:pt>
          <cx:pt idx="40417">4</cx:pt>
          <cx:pt idx="40418">3</cx:pt>
          <cx:pt idx="40419">5</cx:pt>
          <cx:pt idx="40420">3</cx:pt>
          <cx:pt idx="40421">2</cx:pt>
          <cx:pt idx="40422">3</cx:pt>
          <cx:pt idx="40423">5</cx:pt>
          <cx:pt idx="40424">5</cx:pt>
          <cx:pt idx="40425">5</cx:pt>
          <cx:pt idx="40426">1</cx:pt>
          <cx:pt idx="40427">0</cx:pt>
          <cx:pt idx="40428">1</cx:pt>
          <cx:pt idx="40429">1</cx:pt>
          <cx:pt idx="40430">1</cx:pt>
          <cx:pt idx="40431">3</cx:pt>
          <cx:pt idx="40432">1</cx:pt>
          <cx:pt idx="40433">3</cx:pt>
          <cx:pt idx="40434">1</cx:pt>
          <cx:pt idx="40435">5</cx:pt>
          <cx:pt idx="40436">5</cx:pt>
          <cx:pt idx="40437">4</cx:pt>
          <cx:pt idx="40438">3</cx:pt>
          <cx:pt idx="40439">2</cx:pt>
          <cx:pt idx="40440">4</cx:pt>
          <cx:pt idx="40441">4</cx:pt>
          <cx:pt idx="40442">4</cx:pt>
          <cx:pt idx="40443">2</cx:pt>
          <cx:pt idx="40444">4</cx:pt>
          <cx:pt idx="40445">4</cx:pt>
          <cx:pt idx="40446">5</cx:pt>
          <cx:pt idx="40447">2</cx:pt>
          <cx:pt idx="40448">3</cx:pt>
          <cx:pt idx="40449">4</cx:pt>
          <cx:pt idx="40450">1</cx:pt>
          <cx:pt idx="40451">2</cx:pt>
          <cx:pt idx="40452">5</cx:pt>
          <cx:pt idx="40453">4</cx:pt>
          <cx:pt idx="40454">3</cx:pt>
          <cx:pt idx="40455">1</cx:pt>
          <cx:pt idx="40456">3</cx:pt>
          <cx:pt idx="40457">2</cx:pt>
          <cx:pt idx="40458">4</cx:pt>
          <cx:pt idx="40459">3</cx:pt>
          <cx:pt idx="40460">2</cx:pt>
          <cx:pt idx="40461">1</cx:pt>
          <cx:pt idx="40462">5</cx:pt>
          <cx:pt idx="40463">3</cx:pt>
          <cx:pt idx="40464">1</cx:pt>
          <cx:pt idx="40465">2</cx:pt>
          <cx:pt idx="40466">3</cx:pt>
          <cx:pt idx="40467">2</cx:pt>
          <cx:pt idx="40468">4</cx:pt>
          <cx:pt idx="40469">4</cx:pt>
          <cx:pt idx="40470">1</cx:pt>
          <cx:pt idx="40471">3</cx:pt>
          <cx:pt idx="40472">4</cx:pt>
          <cx:pt idx="40473">2</cx:pt>
          <cx:pt idx="40474">4</cx:pt>
          <cx:pt idx="40475">2</cx:pt>
          <cx:pt idx="40476">3</cx:pt>
          <cx:pt idx="40477">1</cx:pt>
          <cx:pt idx="40478">3</cx:pt>
          <cx:pt idx="40479">2</cx:pt>
          <cx:pt idx="40480">5</cx:pt>
          <cx:pt idx="40481">3</cx:pt>
          <cx:pt idx="40482">3</cx:pt>
          <cx:pt idx="40483">4</cx:pt>
          <cx:pt idx="40484">1</cx:pt>
          <cx:pt idx="40485">2</cx:pt>
          <cx:pt idx="40486">3</cx:pt>
          <cx:pt idx="40487">3</cx:pt>
          <cx:pt idx="40488">5</cx:pt>
          <cx:pt idx="40489">4</cx:pt>
          <cx:pt idx="40490">5</cx:pt>
          <cx:pt idx="40491">3</cx:pt>
          <cx:pt idx="40492">4</cx:pt>
          <cx:pt idx="40493">3</cx:pt>
          <cx:pt idx="40494">2</cx:pt>
          <cx:pt idx="40495">5</cx:pt>
          <cx:pt idx="40496">3</cx:pt>
          <cx:pt idx="40497">4</cx:pt>
          <cx:pt idx="40498">5</cx:pt>
          <cx:pt idx="40499">2</cx:pt>
          <cx:pt idx="40500">1</cx:pt>
          <cx:pt idx="40501">1</cx:pt>
          <cx:pt idx="40502">5</cx:pt>
          <cx:pt idx="40503">3</cx:pt>
          <cx:pt idx="40504">0</cx:pt>
          <cx:pt idx="40505">4</cx:pt>
          <cx:pt idx="40506">4</cx:pt>
          <cx:pt idx="40507">0</cx:pt>
          <cx:pt idx="40508">1</cx:pt>
          <cx:pt idx="40509">2</cx:pt>
          <cx:pt idx="40510">2</cx:pt>
          <cx:pt idx="40511">5</cx:pt>
          <cx:pt idx="40512">4</cx:pt>
          <cx:pt idx="40513">4</cx:pt>
          <cx:pt idx="40514">4</cx:pt>
          <cx:pt idx="40515">3</cx:pt>
          <cx:pt idx="40516">5</cx:pt>
          <cx:pt idx="40517">2</cx:pt>
          <cx:pt idx="40518">1</cx:pt>
          <cx:pt idx="40519">3</cx:pt>
          <cx:pt idx="40520">1</cx:pt>
          <cx:pt idx="40521">0</cx:pt>
          <cx:pt idx="40522">1</cx:pt>
          <cx:pt idx="40523">1</cx:pt>
          <cx:pt idx="40524">4</cx:pt>
          <cx:pt idx="40525">3</cx:pt>
          <cx:pt idx="40526">4</cx:pt>
          <cx:pt idx="40527">4</cx:pt>
          <cx:pt idx="40528">2</cx:pt>
          <cx:pt idx="40529">4</cx:pt>
          <cx:pt idx="40530">4</cx:pt>
          <cx:pt idx="40531">2</cx:pt>
          <cx:pt idx="40532">4</cx:pt>
          <cx:pt idx="40533">3</cx:pt>
          <cx:pt idx="40534">3</cx:pt>
          <cx:pt idx="40535">1</cx:pt>
          <cx:pt idx="40536">3</cx:pt>
          <cx:pt idx="40537">4</cx:pt>
          <cx:pt idx="40538">1</cx:pt>
          <cx:pt idx="40539">2</cx:pt>
          <cx:pt idx="40540">2</cx:pt>
          <cx:pt idx="40541">2</cx:pt>
          <cx:pt idx="40542">2</cx:pt>
          <cx:pt idx="40543">1</cx:pt>
          <cx:pt idx="40544">2</cx:pt>
          <cx:pt idx="40545">5</cx:pt>
          <cx:pt idx="40546">2</cx:pt>
          <cx:pt idx="40547">3</cx:pt>
          <cx:pt idx="40548">2</cx:pt>
          <cx:pt idx="40549">2</cx:pt>
          <cx:pt idx="40550">3</cx:pt>
          <cx:pt idx="40551">3</cx:pt>
          <cx:pt idx="40552">3</cx:pt>
          <cx:pt idx="40553">1</cx:pt>
          <cx:pt idx="40554">0</cx:pt>
          <cx:pt idx="40555">2</cx:pt>
          <cx:pt idx="40556">4</cx:pt>
          <cx:pt idx="40557">1</cx:pt>
          <cx:pt idx="40558">3</cx:pt>
          <cx:pt idx="40559">3</cx:pt>
          <cx:pt idx="40560">2</cx:pt>
          <cx:pt idx="40561">3</cx:pt>
          <cx:pt idx="40562">0</cx:pt>
          <cx:pt idx="40563">3</cx:pt>
          <cx:pt idx="40564">5</cx:pt>
          <cx:pt idx="40565">4</cx:pt>
          <cx:pt idx="40566">4</cx:pt>
          <cx:pt idx="40567">1</cx:pt>
          <cx:pt idx="40568">1</cx:pt>
          <cx:pt idx="40569">4</cx:pt>
          <cx:pt idx="40570">0</cx:pt>
          <cx:pt idx="40571">3</cx:pt>
          <cx:pt idx="40572">2</cx:pt>
          <cx:pt idx="40573">5</cx:pt>
          <cx:pt idx="40574">4</cx:pt>
          <cx:pt idx="40575">1</cx:pt>
          <cx:pt idx="40576">1</cx:pt>
          <cx:pt idx="40577">1</cx:pt>
          <cx:pt idx="40578">2</cx:pt>
          <cx:pt idx="40579">5</cx:pt>
          <cx:pt idx="40580">1</cx:pt>
          <cx:pt idx="40581">3</cx:pt>
          <cx:pt idx="40582">3</cx:pt>
          <cx:pt idx="40583">2</cx:pt>
          <cx:pt idx="40584">1</cx:pt>
          <cx:pt idx="40585">2</cx:pt>
          <cx:pt idx="40586">3</cx:pt>
          <cx:pt idx="40587">2</cx:pt>
          <cx:pt idx="40588">3</cx:pt>
          <cx:pt idx="40589">0</cx:pt>
          <cx:pt idx="40590">5</cx:pt>
          <cx:pt idx="40591">2</cx:pt>
          <cx:pt idx="40592">3</cx:pt>
          <cx:pt idx="40593">2</cx:pt>
          <cx:pt idx="40594">4</cx:pt>
          <cx:pt idx="40595">4</cx:pt>
          <cx:pt idx="40596">3</cx:pt>
          <cx:pt idx="40597">0</cx:pt>
          <cx:pt idx="40598">5</cx:pt>
          <cx:pt idx="40599">1</cx:pt>
          <cx:pt idx="40600">5</cx:pt>
          <cx:pt idx="40601">2</cx:pt>
          <cx:pt idx="40602">3</cx:pt>
          <cx:pt idx="40603">2</cx:pt>
          <cx:pt idx="40604">4</cx:pt>
          <cx:pt idx="40605">3</cx:pt>
          <cx:pt idx="40606">1</cx:pt>
          <cx:pt idx="40607">2</cx:pt>
          <cx:pt idx="40608">4</cx:pt>
          <cx:pt idx="40609">2</cx:pt>
          <cx:pt idx="40610">5</cx:pt>
          <cx:pt idx="40611">5</cx:pt>
          <cx:pt idx="40612">3</cx:pt>
          <cx:pt idx="40613">5</cx:pt>
          <cx:pt idx="40614">2</cx:pt>
          <cx:pt idx="40615">1</cx:pt>
          <cx:pt idx="40616">4</cx:pt>
          <cx:pt idx="40617">2</cx:pt>
          <cx:pt idx="40618">3</cx:pt>
          <cx:pt idx="40619">3</cx:pt>
          <cx:pt idx="40620">3</cx:pt>
          <cx:pt idx="40621">3</cx:pt>
          <cx:pt idx="40622">3</cx:pt>
          <cx:pt idx="40623">1</cx:pt>
          <cx:pt idx="40624">5</cx:pt>
          <cx:pt idx="40625">3</cx:pt>
          <cx:pt idx="40626">2</cx:pt>
          <cx:pt idx="40627">2</cx:pt>
          <cx:pt idx="40628">4</cx:pt>
          <cx:pt idx="40629">1</cx:pt>
          <cx:pt idx="40630">3</cx:pt>
          <cx:pt idx="40631">4</cx:pt>
          <cx:pt idx="40632">4</cx:pt>
          <cx:pt idx="40633">3</cx:pt>
          <cx:pt idx="40634">4</cx:pt>
          <cx:pt idx="40635">2</cx:pt>
          <cx:pt idx="40636">0</cx:pt>
          <cx:pt idx="40637">4</cx:pt>
          <cx:pt idx="40638">3</cx:pt>
          <cx:pt idx="40639">2</cx:pt>
          <cx:pt idx="40640">1</cx:pt>
          <cx:pt idx="40641">3</cx:pt>
          <cx:pt idx="40642">2</cx:pt>
          <cx:pt idx="40643">5</cx:pt>
          <cx:pt idx="40644">3</cx:pt>
          <cx:pt idx="40645">2</cx:pt>
          <cx:pt idx="40646">3</cx:pt>
          <cx:pt idx="40647">4</cx:pt>
          <cx:pt idx="40648">3</cx:pt>
          <cx:pt idx="40649">2</cx:pt>
          <cx:pt idx="40650">3</cx:pt>
          <cx:pt idx="40651">2</cx:pt>
          <cx:pt idx="40652">3</cx:pt>
          <cx:pt idx="40653">5</cx:pt>
          <cx:pt idx="40654">1</cx:pt>
          <cx:pt idx="40655">2</cx:pt>
          <cx:pt idx="40656">2</cx:pt>
          <cx:pt idx="40657">3</cx:pt>
          <cx:pt idx="40658">0</cx:pt>
          <cx:pt idx="40659">4</cx:pt>
          <cx:pt idx="40660">2</cx:pt>
          <cx:pt idx="40661">4</cx:pt>
          <cx:pt idx="40662">3</cx:pt>
          <cx:pt idx="40663">0</cx:pt>
          <cx:pt idx="40664">3</cx:pt>
          <cx:pt idx="40665">3</cx:pt>
          <cx:pt idx="40666">4</cx:pt>
          <cx:pt idx="40667">3</cx:pt>
          <cx:pt idx="40668">1</cx:pt>
          <cx:pt idx="40669">5</cx:pt>
          <cx:pt idx="40670">3</cx:pt>
          <cx:pt idx="40671">2</cx:pt>
          <cx:pt idx="40672">5</cx:pt>
          <cx:pt idx="40673">3</cx:pt>
          <cx:pt idx="40674">4</cx:pt>
          <cx:pt idx="40675">3</cx:pt>
          <cx:pt idx="40676">4</cx:pt>
          <cx:pt idx="40677">3</cx:pt>
          <cx:pt idx="40678">5</cx:pt>
          <cx:pt idx="40679">0</cx:pt>
          <cx:pt idx="40680">2</cx:pt>
          <cx:pt idx="40681">5</cx:pt>
          <cx:pt idx="40682">2</cx:pt>
          <cx:pt idx="40683">3</cx:pt>
          <cx:pt idx="40684">2</cx:pt>
          <cx:pt idx="40685">3</cx:pt>
          <cx:pt idx="40686">3</cx:pt>
          <cx:pt idx="40687">4</cx:pt>
          <cx:pt idx="40688">2</cx:pt>
          <cx:pt idx="40689">3</cx:pt>
          <cx:pt idx="40690">4</cx:pt>
          <cx:pt idx="40691">4</cx:pt>
          <cx:pt idx="40692">2</cx:pt>
          <cx:pt idx="40693">1</cx:pt>
          <cx:pt idx="40694">1</cx:pt>
          <cx:pt idx="40695">2</cx:pt>
          <cx:pt idx="40696">5</cx:pt>
          <cx:pt idx="40697">4</cx:pt>
          <cx:pt idx="40698">3</cx:pt>
          <cx:pt idx="40699">5</cx:pt>
          <cx:pt idx="40700">1</cx:pt>
          <cx:pt idx="40701">1</cx:pt>
          <cx:pt idx="40702">1</cx:pt>
          <cx:pt idx="40703">3</cx:pt>
          <cx:pt idx="40704">5</cx:pt>
          <cx:pt idx="40705">2</cx:pt>
          <cx:pt idx="40706">1</cx:pt>
          <cx:pt idx="40707">3</cx:pt>
          <cx:pt idx="40708">4</cx:pt>
          <cx:pt idx="40709">4</cx:pt>
          <cx:pt idx="40710">0</cx:pt>
          <cx:pt idx="40711">2</cx:pt>
          <cx:pt idx="40712">1</cx:pt>
          <cx:pt idx="40713">2</cx:pt>
          <cx:pt idx="40714">2</cx:pt>
          <cx:pt idx="40715">5</cx:pt>
          <cx:pt idx="40716">2</cx:pt>
          <cx:pt idx="40717">2</cx:pt>
          <cx:pt idx="40718">3</cx:pt>
          <cx:pt idx="40719">1</cx:pt>
          <cx:pt idx="40720">3</cx:pt>
          <cx:pt idx="40721">2</cx:pt>
          <cx:pt idx="40722">1</cx:pt>
          <cx:pt idx="40723">3</cx:pt>
          <cx:pt idx="40724">2</cx:pt>
          <cx:pt idx="40725">2</cx:pt>
          <cx:pt idx="40726">2</cx:pt>
          <cx:pt idx="40727">1</cx:pt>
          <cx:pt idx="40728">3</cx:pt>
          <cx:pt idx="40729">2</cx:pt>
          <cx:pt idx="40730">4</cx:pt>
          <cx:pt idx="40731">5</cx:pt>
          <cx:pt idx="40732">1</cx:pt>
          <cx:pt idx="40733">3</cx:pt>
          <cx:pt idx="40734">2</cx:pt>
          <cx:pt idx="40735">3</cx:pt>
          <cx:pt idx="40736">1</cx:pt>
          <cx:pt idx="40737">2</cx:pt>
          <cx:pt idx="40738">3</cx:pt>
          <cx:pt idx="40739">5</cx:pt>
          <cx:pt idx="40740">2</cx:pt>
          <cx:pt idx="40741">2</cx:pt>
          <cx:pt idx="40742">4</cx:pt>
          <cx:pt idx="40743">2</cx:pt>
          <cx:pt idx="40744">3</cx:pt>
          <cx:pt idx="40745">1</cx:pt>
          <cx:pt idx="40746">3</cx:pt>
          <cx:pt idx="40747">1</cx:pt>
          <cx:pt idx="40748">2</cx:pt>
          <cx:pt idx="40749">3</cx:pt>
          <cx:pt idx="40750">3</cx:pt>
          <cx:pt idx="40751">2</cx:pt>
          <cx:pt idx="40752">1</cx:pt>
          <cx:pt idx="40753">2</cx:pt>
          <cx:pt idx="40754">1</cx:pt>
          <cx:pt idx="40755">5</cx:pt>
          <cx:pt idx="40756">3</cx:pt>
          <cx:pt idx="40757">4</cx:pt>
          <cx:pt idx="40758">5</cx:pt>
          <cx:pt idx="40759">2</cx:pt>
          <cx:pt idx="40760">2</cx:pt>
          <cx:pt idx="40761">5</cx:pt>
          <cx:pt idx="40762">5</cx:pt>
          <cx:pt idx="40763">3</cx:pt>
          <cx:pt idx="40764">3</cx:pt>
          <cx:pt idx="40765">4</cx:pt>
          <cx:pt idx="40766">2</cx:pt>
          <cx:pt idx="40767">2</cx:pt>
          <cx:pt idx="40768">4</cx:pt>
          <cx:pt idx="40769">1</cx:pt>
          <cx:pt idx="40770">1</cx:pt>
          <cx:pt idx="40771">0</cx:pt>
          <cx:pt idx="40772">5</cx:pt>
          <cx:pt idx="40773">2</cx:pt>
          <cx:pt idx="40774">3</cx:pt>
          <cx:pt idx="40775">4</cx:pt>
          <cx:pt idx="40776">3</cx:pt>
          <cx:pt idx="40777">3</cx:pt>
          <cx:pt idx="40778">5</cx:pt>
          <cx:pt idx="40779">2</cx:pt>
          <cx:pt idx="40780">2</cx:pt>
          <cx:pt idx="40781">3</cx:pt>
          <cx:pt idx="40782">4</cx:pt>
          <cx:pt idx="40783">4</cx:pt>
          <cx:pt idx="40784">2</cx:pt>
          <cx:pt idx="40785">2</cx:pt>
          <cx:pt idx="40786">3</cx:pt>
          <cx:pt idx="40787">2</cx:pt>
          <cx:pt idx="40788">2</cx:pt>
          <cx:pt idx="40789">3</cx:pt>
          <cx:pt idx="40790">3</cx:pt>
          <cx:pt idx="40791">3</cx:pt>
          <cx:pt idx="40792">5</cx:pt>
          <cx:pt idx="40793">4</cx:pt>
          <cx:pt idx="40794">1</cx:pt>
          <cx:pt idx="40795">3</cx:pt>
          <cx:pt idx="40796">1</cx:pt>
          <cx:pt idx="40797">1</cx:pt>
          <cx:pt idx="40798">2</cx:pt>
          <cx:pt idx="40799">4</cx:pt>
          <cx:pt idx="40800">4</cx:pt>
          <cx:pt idx="40801">4</cx:pt>
          <cx:pt idx="40802">0</cx:pt>
          <cx:pt idx="40803">2</cx:pt>
          <cx:pt idx="40804">1</cx:pt>
          <cx:pt idx="40805">3</cx:pt>
          <cx:pt idx="40806">0</cx:pt>
          <cx:pt idx="40807">5</cx:pt>
          <cx:pt idx="40808">4</cx:pt>
          <cx:pt idx="40809">2</cx:pt>
          <cx:pt idx="40810">5</cx:pt>
          <cx:pt idx="40811">2</cx:pt>
          <cx:pt idx="40812">4</cx:pt>
          <cx:pt idx="40813">3</cx:pt>
          <cx:pt idx="40814">3</cx:pt>
          <cx:pt idx="40815">4</cx:pt>
          <cx:pt idx="40816">4</cx:pt>
          <cx:pt idx="40817">4</cx:pt>
          <cx:pt idx="40818">1</cx:pt>
          <cx:pt idx="40819">0</cx:pt>
          <cx:pt idx="40820">1</cx:pt>
          <cx:pt idx="40821">2</cx:pt>
          <cx:pt idx="40822">4</cx:pt>
          <cx:pt idx="40823">0</cx:pt>
          <cx:pt idx="40824">1</cx:pt>
          <cx:pt idx="40825">4</cx:pt>
          <cx:pt idx="40826">4</cx:pt>
          <cx:pt idx="40827">0</cx:pt>
          <cx:pt idx="40828">4</cx:pt>
          <cx:pt idx="40829">1</cx:pt>
          <cx:pt idx="40830">2</cx:pt>
          <cx:pt idx="40831">3</cx:pt>
          <cx:pt idx="40832">4</cx:pt>
          <cx:pt idx="40833">5</cx:pt>
          <cx:pt idx="40834">3</cx:pt>
          <cx:pt idx="40835">5</cx:pt>
          <cx:pt idx="40836">3</cx:pt>
          <cx:pt idx="40837">3</cx:pt>
          <cx:pt idx="40838">2</cx:pt>
          <cx:pt idx="40839">4</cx:pt>
          <cx:pt idx="40840">3</cx:pt>
          <cx:pt idx="40841">2</cx:pt>
          <cx:pt idx="40842">0</cx:pt>
          <cx:pt idx="40843">2</cx:pt>
          <cx:pt idx="40844">4</cx:pt>
          <cx:pt idx="40845">2</cx:pt>
          <cx:pt idx="40846">2</cx:pt>
          <cx:pt idx="40847">4</cx:pt>
          <cx:pt idx="40848">3</cx:pt>
          <cx:pt idx="40849">3</cx:pt>
          <cx:pt idx="40850">3</cx:pt>
          <cx:pt idx="40851">4</cx:pt>
          <cx:pt idx="40852">5</cx:pt>
          <cx:pt idx="40853">5</cx:pt>
          <cx:pt idx="40854">3</cx:pt>
          <cx:pt idx="40855">0</cx:pt>
          <cx:pt idx="40856">3</cx:pt>
          <cx:pt idx="40857">2</cx:pt>
          <cx:pt idx="40858">3</cx:pt>
          <cx:pt idx="40859">2</cx:pt>
          <cx:pt idx="40860">3</cx:pt>
          <cx:pt idx="40861">1</cx:pt>
          <cx:pt idx="40862">2</cx:pt>
          <cx:pt idx="40863">1</cx:pt>
          <cx:pt idx="40864">3</cx:pt>
          <cx:pt idx="40865">4</cx:pt>
          <cx:pt idx="40866">2</cx:pt>
          <cx:pt idx="40867">0</cx:pt>
          <cx:pt idx="40868">4</cx:pt>
          <cx:pt idx="40869">3</cx:pt>
          <cx:pt idx="40870">4</cx:pt>
          <cx:pt idx="40871">4</cx:pt>
          <cx:pt idx="40872">3</cx:pt>
          <cx:pt idx="40873">2</cx:pt>
          <cx:pt idx="40874">5</cx:pt>
          <cx:pt idx="40875">3</cx:pt>
          <cx:pt idx="40876">2</cx:pt>
          <cx:pt idx="40877">1</cx:pt>
          <cx:pt idx="40878">2</cx:pt>
          <cx:pt idx="40879">3</cx:pt>
          <cx:pt idx="40880">2</cx:pt>
          <cx:pt idx="40881">3</cx:pt>
          <cx:pt idx="40882">4</cx:pt>
          <cx:pt idx="40883">4</cx:pt>
          <cx:pt idx="40884">2</cx:pt>
          <cx:pt idx="40885">4</cx:pt>
          <cx:pt idx="40886">5</cx:pt>
          <cx:pt idx="40887">5</cx:pt>
          <cx:pt idx="40888">3</cx:pt>
          <cx:pt idx="40889">3</cx:pt>
          <cx:pt idx="40890">3</cx:pt>
          <cx:pt idx="40891">5</cx:pt>
          <cx:pt idx="40892">5</cx:pt>
          <cx:pt idx="40893">3</cx:pt>
          <cx:pt idx="40894">1</cx:pt>
          <cx:pt idx="40895">2</cx:pt>
          <cx:pt idx="40896">2</cx:pt>
          <cx:pt idx="40897">3</cx:pt>
          <cx:pt idx="40898">2</cx:pt>
          <cx:pt idx="40899">3</cx:pt>
          <cx:pt idx="40900">3</cx:pt>
          <cx:pt idx="40901">3</cx:pt>
          <cx:pt idx="40902">5</cx:pt>
          <cx:pt idx="40903">2</cx:pt>
          <cx:pt idx="40904">0</cx:pt>
          <cx:pt idx="40905">0</cx:pt>
          <cx:pt idx="40906">5</cx:pt>
          <cx:pt idx="40907">1</cx:pt>
          <cx:pt idx="40908">3</cx:pt>
          <cx:pt idx="40909">1</cx:pt>
          <cx:pt idx="40910">3</cx:pt>
          <cx:pt idx="40911">2</cx:pt>
          <cx:pt idx="40912">2</cx:pt>
          <cx:pt idx="40913">1</cx:pt>
          <cx:pt idx="40914">1</cx:pt>
          <cx:pt idx="40915">4</cx:pt>
          <cx:pt idx="40916">2</cx:pt>
          <cx:pt idx="40917">1</cx:pt>
          <cx:pt idx="40918">1</cx:pt>
          <cx:pt idx="40919">4</cx:pt>
          <cx:pt idx="40920">4</cx:pt>
          <cx:pt idx="40921">2</cx:pt>
          <cx:pt idx="40922">3</cx:pt>
          <cx:pt idx="40923">3</cx:pt>
          <cx:pt idx="40924">1</cx:pt>
          <cx:pt idx="40925">5</cx:pt>
          <cx:pt idx="40926">3</cx:pt>
          <cx:pt idx="40927">4</cx:pt>
          <cx:pt idx="40928">2</cx:pt>
          <cx:pt idx="40929">2</cx:pt>
          <cx:pt idx="40930">3</cx:pt>
          <cx:pt idx="40931">3</cx:pt>
          <cx:pt idx="40932">0</cx:pt>
          <cx:pt idx="40933">0</cx:pt>
          <cx:pt idx="40934">4</cx:pt>
          <cx:pt idx="40935">4</cx:pt>
          <cx:pt idx="40936">3</cx:pt>
          <cx:pt idx="40937">5</cx:pt>
          <cx:pt idx="40938">3</cx:pt>
          <cx:pt idx="40939">4</cx:pt>
          <cx:pt idx="40940">5</cx:pt>
          <cx:pt idx="40941">2</cx:pt>
          <cx:pt idx="40942">2</cx:pt>
          <cx:pt idx="40943">1</cx:pt>
          <cx:pt idx="40944">3</cx:pt>
          <cx:pt idx="40945">1</cx:pt>
          <cx:pt idx="40946">4</cx:pt>
          <cx:pt idx="40947">0</cx:pt>
          <cx:pt idx="40948">2</cx:pt>
          <cx:pt idx="40949">1</cx:pt>
          <cx:pt idx="40950">5</cx:pt>
          <cx:pt idx="40951">5</cx:pt>
          <cx:pt idx="40952">1</cx:pt>
          <cx:pt idx="40953">2</cx:pt>
          <cx:pt idx="40954">2</cx:pt>
          <cx:pt idx="40955">3</cx:pt>
          <cx:pt idx="40956">3</cx:pt>
          <cx:pt idx="40957">2</cx:pt>
          <cx:pt idx="40958">0</cx:pt>
          <cx:pt idx="40959">4</cx:pt>
          <cx:pt idx="40960">2</cx:pt>
          <cx:pt idx="40961">1</cx:pt>
          <cx:pt idx="40962">5</cx:pt>
          <cx:pt idx="40963">3</cx:pt>
          <cx:pt idx="40964">2</cx:pt>
          <cx:pt idx="40965">1</cx:pt>
          <cx:pt idx="40966">2</cx:pt>
          <cx:pt idx="40967">1</cx:pt>
          <cx:pt idx="40968">5</cx:pt>
          <cx:pt idx="40969">1</cx:pt>
          <cx:pt idx="40970">1</cx:pt>
          <cx:pt idx="40971">3</cx:pt>
          <cx:pt idx="40972">1</cx:pt>
          <cx:pt idx="40973">4</cx:pt>
          <cx:pt idx="40974">5</cx:pt>
          <cx:pt idx="40975">1</cx:pt>
          <cx:pt idx="40976">2</cx:pt>
          <cx:pt idx="40977">1</cx:pt>
          <cx:pt idx="40978">2</cx:pt>
          <cx:pt idx="40979">2</cx:pt>
          <cx:pt idx="40980">2</cx:pt>
          <cx:pt idx="40981">4</cx:pt>
          <cx:pt idx="40982">3</cx:pt>
          <cx:pt idx="40983">2</cx:pt>
          <cx:pt idx="40984">3</cx:pt>
          <cx:pt idx="40985">4</cx:pt>
          <cx:pt idx="40986">3</cx:pt>
          <cx:pt idx="40987">2</cx:pt>
          <cx:pt idx="40988">4</cx:pt>
          <cx:pt idx="40989">5</cx:pt>
          <cx:pt idx="40990">4</cx:pt>
          <cx:pt idx="40991">3</cx:pt>
          <cx:pt idx="40992">2</cx:pt>
          <cx:pt idx="40993">5</cx:pt>
          <cx:pt idx="40994">2</cx:pt>
          <cx:pt idx="40995">3</cx:pt>
          <cx:pt idx="40996">0</cx:pt>
          <cx:pt idx="40997">1</cx:pt>
          <cx:pt idx="40998">3</cx:pt>
          <cx:pt idx="40999">2</cx:pt>
          <cx:pt idx="41000">3</cx:pt>
          <cx:pt idx="41001">3</cx:pt>
          <cx:pt idx="41002">4</cx:pt>
          <cx:pt idx="41003">2</cx:pt>
          <cx:pt idx="41004">3</cx:pt>
          <cx:pt idx="41005">5</cx:pt>
          <cx:pt idx="41006">4</cx:pt>
          <cx:pt idx="41007">4</cx:pt>
          <cx:pt idx="41008">3</cx:pt>
          <cx:pt idx="41009">0</cx:pt>
          <cx:pt idx="41010">4</cx:pt>
          <cx:pt idx="41011">2</cx:pt>
          <cx:pt idx="41012">2</cx:pt>
          <cx:pt idx="41013">3</cx:pt>
          <cx:pt idx="41014">5</cx:pt>
          <cx:pt idx="41015">2</cx:pt>
          <cx:pt idx="41016">1</cx:pt>
          <cx:pt idx="41017">2</cx:pt>
          <cx:pt idx="41018">3</cx:pt>
          <cx:pt idx="41019">2</cx:pt>
          <cx:pt idx="41020">1</cx:pt>
          <cx:pt idx="41021">5</cx:pt>
          <cx:pt idx="41022">1</cx:pt>
          <cx:pt idx="41023">0</cx:pt>
          <cx:pt idx="41024">0</cx:pt>
          <cx:pt idx="41025">0</cx:pt>
          <cx:pt idx="41026">5</cx:pt>
          <cx:pt idx="41027">2</cx:pt>
          <cx:pt idx="41028">4</cx:pt>
          <cx:pt idx="41029">4</cx:pt>
          <cx:pt idx="41030">3</cx:pt>
          <cx:pt idx="41031">3</cx:pt>
          <cx:pt idx="41032">5</cx:pt>
          <cx:pt idx="41033">2</cx:pt>
          <cx:pt idx="41034">5</cx:pt>
          <cx:pt idx="41035">4</cx:pt>
          <cx:pt idx="41036">1</cx:pt>
          <cx:pt idx="41037">4</cx:pt>
          <cx:pt idx="41038">3</cx:pt>
          <cx:pt idx="41039">4</cx:pt>
          <cx:pt idx="41040">3</cx:pt>
          <cx:pt idx="41041">1</cx:pt>
          <cx:pt idx="41042">4</cx:pt>
          <cx:pt idx="41043">5</cx:pt>
          <cx:pt idx="41044">2</cx:pt>
          <cx:pt idx="41045">3</cx:pt>
          <cx:pt idx="41046">5</cx:pt>
          <cx:pt idx="41047">4</cx:pt>
          <cx:pt idx="41048">5</cx:pt>
          <cx:pt idx="41049">5</cx:pt>
          <cx:pt idx="41050">5</cx:pt>
          <cx:pt idx="41051">5</cx:pt>
          <cx:pt idx="41052">3</cx:pt>
          <cx:pt idx="41053">3</cx:pt>
          <cx:pt idx="41054">1</cx:pt>
          <cx:pt idx="41055">0</cx:pt>
          <cx:pt idx="41056">3</cx:pt>
          <cx:pt idx="41057">0</cx:pt>
          <cx:pt idx="41058">3</cx:pt>
          <cx:pt idx="41059">2</cx:pt>
          <cx:pt idx="41060">4</cx:pt>
          <cx:pt idx="41061">3</cx:pt>
          <cx:pt idx="41062">4</cx:pt>
          <cx:pt idx="41063">3</cx:pt>
          <cx:pt idx="41064">2</cx:pt>
          <cx:pt idx="41065">1</cx:pt>
          <cx:pt idx="41066">3</cx:pt>
          <cx:pt idx="41067">1</cx:pt>
          <cx:pt idx="41068">3</cx:pt>
          <cx:pt idx="41069">2</cx:pt>
          <cx:pt idx="41070">3</cx:pt>
          <cx:pt idx="41071">1</cx:pt>
          <cx:pt idx="41072">4</cx:pt>
          <cx:pt idx="41073">2</cx:pt>
          <cx:pt idx="41074">4</cx:pt>
          <cx:pt idx="41075">3</cx:pt>
          <cx:pt idx="41076">3</cx:pt>
          <cx:pt idx="41077">0</cx:pt>
          <cx:pt idx="41078">2</cx:pt>
          <cx:pt idx="41079">3</cx:pt>
          <cx:pt idx="41080">0</cx:pt>
          <cx:pt idx="41081">3</cx:pt>
          <cx:pt idx="41082">4</cx:pt>
          <cx:pt idx="41083">1</cx:pt>
          <cx:pt idx="41084">4</cx:pt>
          <cx:pt idx="41085">0</cx:pt>
          <cx:pt idx="41086">3</cx:pt>
          <cx:pt idx="41087">1</cx:pt>
          <cx:pt idx="41088">5</cx:pt>
          <cx:pt idx="41089">5</cx:pt>
          <cx:pt idx="41090">3</cx:pt>
          <cx:pt idx="41091">2</cx:pt>
          <cx:pt idx="41092">3</cx:pt>
          <cx:pt idx="41093">4</cx:pt>
          <cx:pt idx="41094">4</cx:pt>
          <cx:pt idx="41095">3</cx:pt>
          <cx:pt idx="41096">2</cx:pt>
          <cx:pt idx="41097">2</cx:pt>
          <cx:pt idx="41098">2</cx:pt>
          <cx:pt idx="41099">3</cx:pt>
          <cx:pt idx="41100">5</cx:pt>
          <cx:pt idx="41101">5</cx:pt>
          <cx:pt idx="41102">4</cx:pt>
          <cx:pt idx="41103">0</cx:pt>
          <cx:pt idx="41104">4</cx:pt>
          <cx:pt idx="41105">3</cx:pt>
          <cx:pt idx="41106">3</cx:pt>
          <cx:pt idx="41107">5</cx:pt>
          <cx:pt idx="41108">4</cx:pt>
          <cx:pt idx="41109">3</cx:pt>
          <cx:pt idx="41110">4</cx:pt>
          <cx:pt idx="41111">4</cx:pt>
          <cx:pt idx="41112">4</cx:pt>
          <cx:pt idx="41113">3</cx:pt>
          <cx:pt idx="41114">3</cx:pt>
          <cx:pt idx="41115">5</cx:pt>
          <cx:pt idx="41116">4</cx:pt>
          <cx:pt idx="41117">3</cx:pt>
          <cx:pt idx="41118">1</cx:pt>
          <cx:pt idx="41119">3</cx:pt>
          <cx:pt idx="41120">4</cx:pt>
          <cx:pt idx="41121">2</cx:pt>
          <cx:pt idx="41122">3</cx:pt>
          <cx:pt idx="41123">3</cx:pt>
          <cx:pt idx="41124">5</cx:pt>
          <cx:pt idx="41125">1</cx:pt>
          <cx:pt idx="41126">0</cx:pt>
          <cx:pt idx="41127">1</cx:pt>
          <cx:pt idx="41128">2</cx:pt>
          <cx:pt idx="41129">0</cx:pt>
          <cx:pt idx="41130">4</cx:pt>
          <cx:pt idx="41131">5</cx:pt>
          <cx:pt idx="41132">4</cx:pt>
          <cx:pt idx="41133">2</cx:pt>
          <cx:pt idx="41134">4</cx:pt>
          <cx:pt idx="41135">3</cx:pt>
          <cx:pt idx="41136">5</cx:pt>
          <cx:pt idx="41137">3</cx:pt>
          <cx:pt idx="41138">1</cx:pt>
          <cx:pt idx="41139">4</cx:pt>
          <cx:pt idx="41140">0</cx:pt>
          <cx:pt idx="41141">2</cx:pt>
          <cx:pt idx="41142">4</cx:pt>
          <cx:pt idx="41143">1</cx:pt>
          <cx:pt idx="41144">1</cx:pt>
          <cx:pt idx="41145">2</cx:pt>
          <cx:pt idx="41146">4</cx:pt>
          <cx:pt idx="41147">4</cx:pt>
          <cx:pt idx="41148">2</cx:pt>
          <cx:pt idx="41149">5</cx:pt>
          <cx:pt idx="41150">2</cx:pt>
          <cx:pt idx="41151">2</cx:pt>
          <cx:pt idx="41152">2</cx:pt>
          <cx:pt idx="41153">1</cx:pt>
          <cx:pt idx="41154">2</cx:pt>
          <cx:pt idx="41155">2</cx:pt>
          <cx:pt idx="41156">4</cx:pt>
          <cx:pt idx="41157">4</cx:pt>
          <cx:pt idx="41158">3</cx:pt>
          <cx:pt idx="41159">1</cx:pt>
          <cx:pt idx="41160">0</cx:pt>
          <cx:pt idx="41161">1</cx:pt>
          <cx:pt idx="41162">2</cx:pt>
          <cx:pt idx="41163">3</cx:pt>
          <cx:pt idx="41164">3</cx:pt>
          <cx:pt idx="41165">5</cx:pt>
          <cx:pt idx="41166">5</cx:pt>
          <cx:pt idx="41167">1</cx:pt>
          <cx:pt idx="41168">3</cx:pt>
          <cx:pt idx="41169">5</cx:pt>
          <cx:pt idx="41170">3</cx:pt>
          <cx:pt idx="41171">0</cx:pt>
          <cx:pt idx="41172">3</cx:pt>
          <cx:pt idx="41173">5</cx:pt>
          <cx:pt idx="41174">5</cx:pt>
          <cx:pt idx="41175">4</cx:pt>
          <cx:pt idx="41176">4</cx:pt>
          <cx:pt idx="41177">3</cx:pt>
          <cx:pt idx="41178">4</cx:pt>
          <cx:pt idx="41179">0</cx:pt>
          <cx:pt idx="41180">2</cx:pt>
          <cx:pt idx="41181">5</cx:pt>
          <cx:pt idx="41182">4</cx:pt>
          <cx:pt idx="41183">3</cx:pt>
          <cx:pt idx="41184">3</cx:pt>
          <cx:pt idx="41185">5</cx:pt>
          <cx:pt idx="41186">4</cx:pt>
          <cx:pt idx="41187">1</cx:pt>
          <cx:pt idx="41188">3</cx:pt>
          <cx:pt idx="41189">3</cx:pt>
          <cx:pt idx="41190">2</cx:pt>
          <cx:pt idx="41191">3</cx:pt>
          <cx:pt idx="41192">2</cx:pt>
          <cx:pt idx="41193">4</cx:pt>
          <cx:pt idx="41194">5</cx:pt>
          <cx:pt idx="41195">4</cx:pt>
          <cx:pt idx="41196">4</cx:pt>
          <cx:pt idx="41197">2</cx:pt>
          <cx:pt idx="41198">4</cx:pt>
          <cx:pt idx="41199">4</cx:pt>
          <cx:pt idx="41200">1</cx:pt>
          <cx:pt idx="41201">3</cx:pt>
          <cx:pt idx="41202">5</cx:pt>
          <cx:pt idx="41203">1</cx:pt>
          <cx:pt idx="41204">2</cx:pt>
          <cx:pt idx="41205">2</cx:pt>
          <cx:pt idx="41206">4</cx:pt>
          <cx:pt idx="41207">1</cx:pt>
          <cx:pt idx="41208">5</cx:pt>
          <cx:pt idx="41209">4</cx:pt>
          <cx:pt idx="41210">5</cx:pt>
          <cx:pt idx="41211">3</cx:pt>
          <cx:pt idx="41212">1</cx:pt>
          <cx:pt idx="41213">2</cx:pt>
          <cx:pt idx="41214">4</cx:pt>
          <cx:pt idx="41215">2</cx:pt>
          <cx:pt idx="41216">4</cx:pt>
          <cx:pt idx="41217">3</cx:pt>
          <cx:pt idx="41218">4</cx:pt>
          <cx:pt idx="41219">3</cx:pt>
          <cx:pt idx="41220">2</cx:pt>
          <cx:pt idx="41221">3</cx:pt>
          <cx:pt idx="41222">2</cx:pt>
          <cx:pt idx="41223">5</cx:pt>
          <cx:pt idx="41224">4</cx:pt>
          <cx:pt idx="41225">1</cx:pt>
          <cx:pt idx="41226">3</cx:pt>
          <cx:pt idx="41227">2</cx:pt>
          <cx:pt idx="41228">5</cx:pt>
          <cx:pt idx="41229">0</cx:pt>
          <cx:pt idx="41230">1</cx:pt>
          <cx:pt idx="41231">1</cx:pt>
          <cx:pt idx="41232">2</cx:pt>
          <cx:pt idx="41233">3</cx:pt>
          <cx:pt idx="41234">2</cx:pt>
          <cx:pt idx="41235">1</cx:pt>
          <cx:pt idx="41236">5</cx:pt>
          <cx:pt idx="41237">4</cx:pt>
          <cx:pt idx="41238">5</cx:pt>
          <cx:pt idx="41239">5</cx:pt>
          <cx:pt idx="41240">3</cx:pt>
          <cx:pt idx="41241">5</cx:pt>
          <cx:pt idx="41242">2</cx:pt>
          <cx:pt idx="41243">3</cx:pt>
          <cx:pt idx="41244">4</cx:pt>
          <cx:pt idx="41245">0</cx:pt>
          <cx:pt idx="41246">1</cx:pt>
          <cx:pt idx="41247">2</cx:pt>
          <cx:pt idx="41248">0</cx:pt>
          <cx:pt idx="41249">3</cx:pt>
          <cx:pt idx="41250">4</cx:pt>
          <cx:pt idx="41251">3</cx:pt>
          <cx:pt idx="41252">3</cx:pt>
          <cx:pt idx="41253">4</cx:pt>
          <cx:pt idx="41254">1</cx:pt>
          <cx:pt idx="41255">4</cx:pt>
          <cx:pt idx="41256">1</cx:pt>
          <cx:pt idx="41257">3</cx:pt>
          <cx:pt idx="41258">5</cx:pt>
          <cx:pt idx="41259">3</cx:pt>
          <cx:pt idx="41260">3</cx:pt>
          <cx:pt idx="41261">4</cx:pt>
          <cx:pt idx="41262">3</cx:pt>
          <cx:pt idx="41263">3</cx:pt>
          <cx:pt idx="41264">3</cx:pt>
          <cx:pt idx="41265">3</cx:pt>
          <cx:pt idx="41266">3</cx:pt>
          <cx:pt idx="41267">1</cx:pt>
          <cx:pt idx="41268">1</cx:pt>
          <cx:pt idx="41269">3</cx:pt>
          <cx:pt idx="41270">1</cx:pt>
          <cx:pt idx="41271">4</cx:pt>
          <cx:pt idx="41272">2</cx:pt>
          <cx:pt idx="41273">2</cx:pt>
          <cx:pt idx="41274">3</cx:pt>
          <cx:pt idx="41275">4</cx:pt>
          <cx:pt idx="41276">3</cx:pt>
          <cx:pt idx="41277">3</cx:pt>
          <cx:pt idx="41278">4</cx:pt>
          <cx:pt idx="41279">2</cx:pt>
          <cx:pt idx="41280">5</cx:pt>
          <cx:pt idx="41281">2</cx:pt>
          <cx:pt idx="41282">3</cx:pt>
          <cx:pt idx="41283">3</cx:pt>
          <cx:pt idx="41284">4</cx:pt>
          <cx:pt idx="41285">3</cx:pt>
          <cx:pt idx="41286">3</cx:pt>
          <cx:pt idx="41287">2</cx:pt>
          <cx:pt idx="41288">4</cx:pt>
          <cx:pt idx="41289">2</cx:pt>
          <cx:pt idx="41290">3</cx:pt>
          <cx:pt idx="41291">1</cx:pt>
          <cx:pt idx="41292">1</cx:pt>
          <cx:pt idx="41293">1</cx:pt>
          <cx:pt idx="41294">1</cx:pt>
          <cx:pt idx="41295">4</cx:pt>
          <cx:pt idx="41296">4</cx:pt>
          <cx:pt idx="41297">5</cx:pt>
          <cx:pt idx="41298">0</cx:pt>
          <cx:pt idx="41299">1</cx:pt>
          <cx:pt idx="41300">0</cx:pt>
          <cx:pt idx="41301">3</cx:pt>
          <cx:pt idx="41302">2</cx:pt>
          <cx:pt idx="41303">2</cx:pt>
          <cx:pt idx="41304">3</cx:pt>
          <cx:pt idx="41305">2</cx:pt>
          <cx:pt idx="41306">2</cx:pt>
          <cx:pt idx="41307">1</cx:pt>
          <cx:pt idx="41308">3</cx:pt>
          <cx:pt idx="41309">0</cx:pt>
          <cx:pt idx="41310">1</cx:pt>
          <cx:pt idx="41311">2</cx:pt>
          <cx:pt idx="41312">1</cx:pt>
          <cx:pt idx="41313">0</cx:pt>
          <cx:pt idx="41314">4</cx:pt>
          <cx:pt idx="41315">1</cx:pt>
          <cx:pt idx="41316">2</cx:pt>
          <cx:pt idx="41317">3</cx:pt>
          <cx:pt idx="41318">3</cx:pt>
          <cx:pt idx="41319">5</cx:pt>
          <cx:pt idx="41320">3</cx:pt>
          <cx:pt idx="41321">1</cx:pt>
          <cx:pt idx="41322">5</cx:pt>
          <cx:pt idx="41323">3</cx:pt>
          <cx:pt idx="41324">4</cx:pt>
          <cx:pt idx="41325">1</cx:pt>
          <cx:pt idx="41326">2</cx:pt>
          <cx:pt idx="41327">4</cx:pt>
          <cx:pt idx="41328">1</cx:pt>
          <cx:pt idx="41329">3</cx:pt>
          <cx:pt idx="41330">2</cx:pt>
          <cx:pt idx="41331">3</cx:pt>
          <cx:pt idx="41332">4</cx:pt>
          <cx:pt idx="41333">5</cx:pt>
          <cx:pt idx="41334">4</cx:pt>
          <cx:pt idx="41335">4</cx:pt>
          <cx:pt idx="41336">2</cx:pt>
          <cx:pt idx="41337">5</cx:pt>
          <cx:pt idx="41338">4</cx:pt>
          <cx:pt idx="41339">4</cx:pt>
          <cx:pt idx="41340">1</cx:pt>
          <cx:pt idx="41341">0</cx:pt>
          <cx:pt idx="41342">1</cx:pt>
          <cx:pt idx="41343">5</cx:pt>
          <cx:pt idx="41344">5</cx:pt>
          <cx:pt idx="41345">2</cx:pt>
          <cx:pt idx="41346">0</cx:pt>
          <cx:pt idx="41347">5</cx:pt>
          <cx:pt idx="41348">4</cx:pt>
          <cx:pt idx="41349">3</cx:pt>
          <cx:pt idx="41350">5</cx:pt>
          <cx:pt idx="41351">4</cx:pt>
          <cx:pt idx="41352">4</cx:pt>
          <cx:pt idx="41353">3</cx:pt>
          <cx:pt idx="41354">3</cx:pt>
          <cx:pt idx="41355">3</cx:pt>
          <cx:pt idx="41356">3</cx:pt>
          <cx:pt idx="41357">3</cx:pt>
          <cx:pt idx="41358">3</cx:pt>
          <cx:pt idx="41359">1</cx:pt>
          <cx:pt idx="41360">5</cx:pt>
          <cx:pt idx="41361">4</cx:pt>
          <cx:pt idx="41362">2</cx:pt>
          <cx:pt idx="41363">1</cx:pt>
          <cx:pt idx="41364">1</cx:pt>
          <cx:pt idx="41365">5</cx:pt>
          <cx:pt idx="41366">3</cx:pt>
          <cx:pt idx="41367">2</cx:pt>
          <cx:pt idx="41368">5</cx:pt>
          <cx:pt idx="41369">2</cx:pt>
          <cx:pt idx="41370">1</cx:pt>
          <cx:pt idx="41371">4</cx:pt>
          <cx:pt idx="41372">0</cx:pt>
          <cx:pt idx="41373">3</cx:pt>
          <cx:pt idx="41374">1</cx:pt>
          <cx:pt idx="41375">1</cx:pt>
          <cx:pt idx="41376">4</cx:pt>
          <cx:pt idx="41377">2</cx:pt>
          <cx:pt idx="41378">4</cx:pt>
          <cx:pt idx="41379">1</cx:pt>
          <cx:pt idx="41380">3</cx:pt>
          <cx:pt idx="41381">1</cx:pt>
          <cx:pt idx="41382">3</cx:pt>
          <cx:pt idx="41383">3</cx:pt>
          <cx:pt idx="41384">5</cx:pt>
          <cx:pt idx="41385">4</cx:pt>
          <cx:pt idx="41386">1</cx:pt>
          <cx:pt idx="41387">3</cx:pt>
          <cx:pt idx="41388">5</cx:pt>
          <cx:pt idx="41389">2</cx:pt>
          <cx:pt idx="41390">1</cx:pt>
          <cx:pt idx="41391">3</cx:pt>
          <cx:pt idx="41392">5</cx:pt>
          <cx:pt idx="41393">1</cx:pt>
          <cx:pt idx="41394">5</cx:pt>
          <cx:pt idx="41395">5</cx:pt>
          <cx:pt idx="41396">5</cx:pt>
          <cx:pt idx="41397">3</cx:pt>
          <cx:pt idx="41398">4</cx:pt>
          <cx:pt idx="41399">2</cx:pt>
          <cx:pt idx="41400">3</cx:pt>
          <cx:pt idx="41401">3</cx:pt>
          <cx:pt idx="41402">0</cx:pt>
          <cx:pt idx="41403">3</cx:pt>
          <cx:pt idx="41404">3</cx:pt>
          <cx:pt idx="41405">1</cx:pt>
          <cx:pt idx="41406">4</cx:pt>
          <cx:pt idx="41407">2</cx:pt>
          <cx:pt idx="41408">5</cx:pt>
          <cx:pt idx="41409">3</cx:pt>
          <cx:pt idx="41410">5</cx:pt>
          <cx:pt idx="41411">0</cx:pt>
          <cx:pt idx="41412">2</cx:pt>
          <cx:pt idx="41413">4</cx:pt>
          <cx:pt idx="41414">4</cx:pt>
          <cx:pt idx="41415">3</cx:pt>
          <cx:pt idx="41416">1</cx:pt>
          <cx:pt idx="41417">2</cx:pt>
          <cx:pt idx="41418">3</cx:pt>
          <cx:pt idx="41419">5</cx:pt>
          <cx:pt idx="41420">5</cx:pt>
          <cx:pt idx="41421">5</cx:pt>
          <cx:pt idx="41422">3</cx:pt>
          <cx:pt idx="41423">3</cx:pt>
          <cx:pt idx="41424">2</cx:pt>
          <cx:pt idx="41425">2</cx:pt>
          <cx:pt idx="41426">2</cx:pt>
          <cx:pt idx="41427">2</cx:pt>
          <cx:pt idx="41428">3</cx:pt>
          <cx:pt idx="41429">4</cx:pt>
          <cx:pt idx="41430">2</cx:pt>
          <cx:pt idx="41431">3</cx:pt>
          <cx:pt idx="41432">3</cx:pt>
          <cx:pt idx="41433">3</cx:pt>
          <cx:pt idx="41434">2</cx:pt>
          <cx:pt idx="41435">2</cx:pt>
          <cx:pt idx="41436">0</cx:pt>
          <cx:pt idx="41437">1</cx:pt>
          <cx:pt idx="41438">2</cx:pt>
          <cx:pt idx="41439">4</cx:pt>
          <cx:pt idx="41440">5</cx:pt>
          <cx:pt idx="41441">3</cx:pt>
          <cx:pt idx="41442">4</cx:pt>
          <cx:pt idx="41443">3</cx:pt>
          <cx:pt idx="41444">1</cx:pt>
          <cx:pt idx="41445">3</cx:pt>
          <cx:pt idx="41446">0</cx:pt>
          <cx:pt idx="41447">2</cx:pt>
          <cx:pt idx="41448">2</cx:pt>
          <cx:pt idx="41449">1</cx:pt>
          <cx:pt idx="41450">1</cx:pt>
          <cx:pt idx="41451">4</cx:pt>
          <cx:pt idx="41452">1</cx:pt>
          <cx:pt idx="41453">2</cx:pt>
          <cx:pt idx="41454">3</cx:pt>
          <cx:pt idx="41455">5</cx:pt>
          <cx:pt idx="41456">1</cx:pt>
          <cx:pt idx="41457">3</cx:pt>
          <cx:pt idx="41458">2</cx:pt>
          <cx:pt idx="41459">3</cx:pt>
          <cx:pt idx="41460">3</cx:pt>
          <cx:pt idx="41461">5</cx:pt>
          <cx:pt idx="41462">2</cx:pt>
          <cx:pt idx="41463">5</cx:pt>
          <cx:pt idx="41464">3</cx:pt>
          <cx:pt idx="41465">2</cx:pt>
          <cx:pt idx="41466">3</cx:pt>
          <cx:pt idx="41467">4</cx:pt>
          <cx:pt idx="41468">5</cx:pt>
          <cx:pt idx="41469">5</cx:pt>
          <cx:pt idx="41470">2</cx:pt>
          <cx:pt idx="41471">4</cx:pt>
          <cx:pt idx="41472">3</cx:pt>
          <cx:pt idx="41473">3</cx:pt>
          <cx:pt idx="41474">3</cx:pt>
          <cx:pt idx="41475">1</cx:pt>
          <cx:pt idx="41476">4</cx:pt>
          <cx:pt idx="41477">5</cx:pt>
          <cx:pt idx="41478">2</cx:pt>
          <cx:pt idx="41479">1</cx:pt>
          <cx:pt idx="41480">5</cx:pt>
          <cx:pt idx="41481">4</cx:pt>
          <cx:pt idx="41482">3</cx:pt>
          <cx:pt idx="41483">2</cx:pt>
          <cx:pt idx="41484">2</cx:pt>
          <cx:pt idx="41485">2</cx:pt>
          <cx:pt idx="41486">5</cx:pt>
          <cx:pt idx="41487">2</cx:pt>
          <cx:pt idx="41488">3</cx:pt>
          <cx:pt idx="41489">4</cx:pt>
          <cx:pt idx="41490">0</cx:pt>
          <cx:pt idx="41491">3</cx:pt>
          <cx:pt idx="41492">3</cx:pt>
          <cx:pt idx="41493">4</cx:pt>
          <cx:pt idx="41494">4</cx:pt>
          <cx:pt idx="41495">1</cx:pt>
          <cx:pt idx="41496">2</cx:pt>
          <cx:pt idx="41497">1</cx:pt>
          <cx:pt idx="41498">5</cx:pt>
          <cx:pt idx="41499">1</cx:pt>
          <cx:pt idx="41500">2</cx:pt>
          <cx:pt idx="41501">1</cx:pt>
          <cx:pt idx="41502">2</cx:pt>
          <cx:pt idx="41503">4</cx:pt>
          <cx:pt idx="41504">1</cx:pt>
          <cx:pt idx="41505">3</cx:pt>
          <cx:pt idx="41506">5</cx:pt>
          <cx:pt idx="41507">1</cx:pt>
          <cx:pt idx="41508">2</cx:pt>
          <cx:pt idx="41509">1</cx:pt>
          <cx:pt idx="41510">3</cx:pt>
          <cx:pt idx="41511">2</cx:pt>
          <cx:pt idx="41512">3</cx:pt>
          <cx:pt idx="41513">1</cx:pt>
          <cx:pt idx="41514">4</cx:pt>
          <cx:pt idx="41515">5</cx:pt>
          <cx:pt idx="41516">1</cx:pt>
          <cx:pt idx="41517">2</cx:pt>
          <cx:pt idx="41518">4</cx:pt>
          <cx:pt idx="41519">3</cx:pt>
          <cx:pt idx="41520">3</cx:pt>
          <cx:pt idx="41521">2</cx:pt>
          <cx:pt idx="41522">2</cx:pt>
          <cx:pt idx="41523">4</cx:pt>
          <cx:pt idx="41524">2</cx:pt>
          <cx:pt idx="41525">2</cx:pt>
          <cx:pt idx="41526">3</cx:pt>
          <cx:pt idx="41527">1</cx:pt>
          <cx:pt idx="41528">1</cx:pt>
          <cx:pt idx="41529">4</cx:pt>
          <cx:pt idx="41530">1</cx:pt>
          <cx:pt idx="41531">2</cx:pt>
          <cx:pt idx="41532">4</cx:pt>
          <cx:pt idx="41533">3</cx:pt>
          <cx:pt idx="41534">4</cx:pt>
          <cx:pt idx="41535">5</cx:pt>
          <cx:pt idx="41536">1</cx:pt>
          <cx:pt idx="41537">3</cx:pt>
          <cx:pt idx="41538">1</cx:pt>
          <cx:pt idx="41539">0</cx:pt>
          <cx:pt idx="41540">3</cx:pt>
          <cx:pt idx="41541">3</cx:pt>
          <cx:pt idx="41542">2</cx:pt>
          <cx:pt idx="41543">4</cx:pt>
          <cx:pt idx="41544">3</cx:pt>
          <cx:pt idx="41545">1</cx:pt>
          <cx:pt idx="41546">2</cx:pt>
          <cx:pt idx="41547">4</cx:pt>
          <cx:pt idx="41548">2</cx:pt>
          <cx:pt idx="41549">1</cx:pt>
          <cx:pt idx="41550">5</cx:pt>
          <cx:pt idx="41551">4</cx:pt>
          <cx:pt idx="41552">4</cx:pt>
          <cx:pt idx="41553">2</cx:pt>
          <cx:pt idx="41554">1</cx:pt>
          <cx:pt idx="41555">4</cx:pt>
          <cx:pt idx="41556">0</cx:pt>
          <cx:pt idx="41557">1</cx:pt>
          <cx:pt idx="41558">3</cx:pt>
          <cx:pt idx="41559">4</cx:pt>
          <cx:pt idx="41560">3</cx:pt>
          <cx:pt idx="41561">2</cx:pt>
          <cx:pt idx="41562">2</cx:pt>
          <cx:pt idx="41563">4</cx:pt>
          <cx:pt idx="41564">4</cx:pt>
          <cx:pt idx="41565">2</cx:pt>
          <cx:pt idx="41566">1</cx:pt>
          <cx:pt idx="41567">3</cx:pt>
          <cx:pt idx="41568">2</cx:pt>
          <cx:pt idx="41569">2</cx:pt>
          <cx:pt idx="41570">4</cx:pt>
          <cx:pt idx="41571">2</cx:pt>
          <cx:pt idx="41572">2</cx:pt>
          <cx:pt idx="41573">3</cx:pt>
          <cx:pt idx="41574">3</cx:pt>
          <cx:pt idx="41575">1</cx:pt>
          <cx:pt idx="41576">3</cx:pt>
          <cx:pt idx="41577">2</cx:pt>
          <cx:pt idx="41578">2</cx:pt>
          <cx:pt idx="41579">1</cx:pt>
          <cx:pt idx="41580">3</cx:pt>
          <cx:pt idx="41581">2</cx:pt>
          <cx:pt idx="41582">5</cx:pt>
          <cx:pt idx="41583">4</cx:pt>
          <cx:pt idx="41584">2</cx:pt>
          <cx:pt idx="41585">4</cx:pt>
          <cx:pt idx="41586">2</cx:pt>
          <cx:pt idx="41587">0</cx:pt>
          <cx:pt idx="41588">5</cx:pt>
          <cx:pt idx="41589">2</cx:pt>
          <cx:pt idx="41590">0</cx:pt>
          <cx:pt idx="41591">2</cx:pt>
          <cx:pt idx="41592">2</cx:pt>
          <cx:pt idx="41593">2</cx:pt>
          <cx:pt idx="41594">4</cx:pt>
          <cx:pt idx="41595">0</cx:pt>
          <cx:pt idx="41596">2</cx:pt>
          <cx:pt idx="41597">2</cx:pt>
          <cx:pt idx="41598">1</cx:pt>
          <cx:pt idx="41599">2</cx:pt>
          <cx:pt idx="41600">2</cx:pt>
          <cx:pt idx="41601">4</cx:pt>
          <cx:pt idx="41602">3</cx:pt>
          <cx:pt idx="41603">1</cx:pt>
          <cx:pt idx="41604">4</cx:pt>
          <cx:pt idx="41605">2</cx:pt>
          <cx:pt idx="41606">1</cx:pt>
          <cx:pt idx="41607">0</cx:pt>
          <cx:pt idx="41608">3</cx:pt>
          <cx:pt idx="41609">2</cx:pt>
          <cx:pt idx="41610">0</cx:pt>
          <cx:pt idx="41611">1</cx:pt>
          <cx:pt idx="41612">3</cx:pt>
          <cx:pt idx="41613">1</cx:pt>
          <cx:pt idx="41614">2</cx:pt>
          <cx:pt idx="41615">5</cx:pt>
          <cx:pt idx="41616">5</cx:pt>
          <cx:pt idx="41617">5</cx:pt>
          <cx:pt idx="41618">5</cx:pt>
          <cx:pt idx="41619">3</cx:pt>
          <cx:pt idx="41620">1</cx:pt>
          <cx:pt idx="41621">4</cx:pt>
          <cx:pt idx="41622">2</cx:pt>
          <cx:pt idx="41623">2</cx:pt>
          <cx:pt idx="41624">5</cx:pt>
          <cx:pt idx="41625">1</cx:pt>
          <cx:pt idx="41626">3</cx:pt>
          <cx:pt idx="41627">2</cx:pt>
          <cx:pt idx="41628">3</cx:pt>
          <cx:pt idx="41629">1</cx:pt>
          <cx:pt idx="41630">3</cx:pt>
          <cx:pt idx="41631">1</cx:pt>
          <cx:pt idx="41632">0</cx:pt>
          <cx:pt idx="41633">4</cx:pt>
          <cx:pt idx="41634">2</cx:pt>
          <cx:pt idx="41635">4</cx:pt>
          <cx:pt idx="41636">4</cx:pt>
          <cx:pt idx="41637">4</cx:pt>
          <cx:pt idx="41638">5</cx:pt>
          <cx:pt idx="41639">4</cx:pt>
          <cx:pt idx="41640">3</cx:pt>
          <cx:pt idx="41641">3</cx:pt>
          <cx:pt idx="41642">1</cx:pt>
          <cx:pt idx="41643">2</cx:pt>
          <cx:pt idx="41644">0</cx:pt>
          <cx:pt idx="41645">4</cx:pt>
          <cx:pt idx="41646">2</cx:pt>
          <cx:pt idx="41647">5</cx:pt>
          <cx:pt idx="41648">4</cx:pt>
          <cx:pt idx="41649">5</cx:pt>
          <cx:pt idx="41650">3</cx:pt>
          <cx:pt idx="41651">4</cx:pt>
          <cx:pt idx="41652">4</cx:pt>
          <cx:pt idx="41653">3</cx:pt>
          <cx:pt idx="41654">2</cx:pt>
          <cx:pt idx="41655">3</cx:pt>
          <cx:pt idx="41656">4</cx:pt>
          <cx:pt idx="41657">1</cx:pt>
          <cx:pt idx="41658">4</cx:pt>
          <cx:pt idx="41659">4</cx:pt>
          <cx:pt idx="41660">5</cx:pt>
          <cx:pt idx="41661">3</cx:pt>
          <cx:pt idx="41662">2</cx:pt>
          <cx:pt idx="41663">1</cx:pt>
          <cx:pt idx="41664">2</cx:pt>
          <cx:pt idx="41665">3</cx:pt>
          <cx:pt idx="41666">1</cx:pt>
          <cx:pt idx="41667">5</cx:pt>
          <cx:pt idx="41668">4</cx:pt>
          <cx:pt idx="41669">5</cx:pt>
          <cx:pt idx="41670">5</cx:pt>
          <cx:pt idx="41671">5</cx:pt>
          <cx:pt idx="41672">1</cx:pt>
          <cx:pt idx="41673">1</cx:pt>
          <cx:pt idx="41674">5</cx:pt>
          <cx:pt idx="41675">5</cx:pt>
          <cx:pt idx="41676">3</cx:pt>
          <cx:pt idx="41677">2</cx:pt>
          <cx:pt idx="41678">3</cx:pt>
          <cx:pt idx="41679">2</cx:pt>
          <cx:pt idx="41680">3</cx:pt>
          <cx:pt idx="41681">2</cx:pt>
          <cx:pt idx="41682">3</cx:pt>
          <cx:pt idx="41683">5</cx:pt>
          <cx:pt idx="41684">3</cx:pt>
          <cx:pt idx="41685">1</cx:pt>
          <cx:pt idx="41686">3</cx:pt>
          <cx:pt idx="41687">5</cx:pt>
          <cx:pt idx="41688">3</cx:pt>
          <cx:pt idx="41689">5</cx:pt>
          <cx:pt idx="41690">5</cx:pt>
          <cx:pt idx="41691">5</cx:pt>
          <cx:pt idx="41692">1</cx:pt>
          <cx:pt idx="41693">5</cx:pt>
          <cx:pt idx="41694">1</cx:pt>
          <cx:pt idx="41695">5</cx:pt>
          <cx:pt idx="41696">1</cx:pt>
          <cx:pt idx="41697">1</cx:pt>
          <cx:pt idx="41698">4</cx:pt>
          <cx:pt idx="41699">2</cx:pt>
          <cx:pt idx="41700">1</cx:pt>
          <cx:pt idx="41701">0</cx:pt>
          <cx:pt idx="41702">5</cx:pt>
          <cx:pt idx="41703">5</cx:pt>
          <cx:pt idx="41704">5</cx:pt>
          <cx:pt idx="41705">3</cx:pt>
          <cx:pt idx="41706">4</cx:pt>
          <cx:pt idx="41707">5</cx:pt>
          <cx:pt idx="41708">2</cx:pt>
          <cx:pt idx="41709">4</cx:pt>
          <cx:pt idx="41710">3</cx:pt>
          <cx:pt idx="41711">1</cx:pt>
          <cx:pt idx="41712">1</cx:pt>
          <cx:pt idx="41713">3</cx:pt>
          <cx:pt idx="41714">2</cx:pt>
          <cx:pt idx="41715">4</cx:pt>
          <cx:pt idx="41716">4</cx:pt>
          <cx:pt idx="41717">0</cx:pt>
          <cx:pt idx="41718">4</cx:pt>
          <cx:pt idx="41719">0</cx:pt>
          <cx:pt idx="41720">2</cx:pt>
          <cx:pt idx="41721">3</cx:pt>
          <cx:pt idx="41722">2</cx:pt>
          <cx:pt idx="41723">2</cx:pt>
          <cx:pt idx="41724">5</cx:pt>
          <cx:pt idx="41725">5</cx:pt>
          <cx:pt idx="41726">4</cx:pt>
          <cx:pt idx="41727">4</cx:pt>
          <cx:pt idx="41728">5</cx:pt>
          <cx:pt idx="41729">2</cx:pt>
          <cx:pt idx="41730">2</cx:pt>
          <cx:pt idx="41731">4</cx:pt>
          <cx:pt idx="41732">4</cx:pt>
          <cx:pt idx="41733">3</cx:pt>
          <cx:pt idx="41734">1</cx:pt>
          <cx:pt idx="41735">1</cx:pt>
          <cx:pt idx="41736">4</cx:pt>
          <cx:pt idx="41737">2</cx:pt>
          <cx:pt idx="41738">5</cx:pt>
          <cx:pt idx="41739">2</cx:pt>
          <cx:pt idx="41740">1</cx:pt>
          <cx:pt idx="41741">5</cx:pt>
          <cx:pt idx="41742">1</cx:pt>
          <cx:pt idx="41743">1</cx:pt>
          <cx:pt idx="41744">3</cx:pt>
          <cx:pt idx="41745">1</cx:pt>
          <cx:pt idx="41746">5</cx:pt>
          <cx:pt idx="41747">1</cx:pt>
          <cx:pt idx="41748">3</cx:pt>
          <cx:pt idx="41749">2</cx:pt>
          <cx:pt idx="41750">3</cx:pt>
          <cx:pt idx="41751">4</cx:pt>
          <cx:pt idx="41752">5</cx:pt>
          <cx:pt idx="41753">4</cx:pt>
          <cx:pt idx="41754">5</cx:pt>
          <cx:pt idx="41755">4</cx:pt>
          <cx:pt idx="41756">3</cx:pt>
          <cx:pt idx="41757">4</cx:pt>
          <cx:pt idx="41758">1</cx:pt>
          <cx:pt idx="41759">2</cx:pt>
          <cx:pt idx="41760">3</cx:pt>
          <cx:pt idx="41761">4</cx:pt>
          <cx:pt idx="41762">4</cx:pt>
          <cx:pt idx="41763">4</cx:pt>
          <cx:pt idx="41764">1</cx:pt>
          <cx:pt idx="41765">3</cx:pt>
          <cx:pt idx="41766">2</cx:pt>
          <cx:pt idx="41767">1</cx:pt>
          <cx:pt idx="41768">2</cx:pt>
          <cx:pt idx="41769">2</cx:pt>
          <cx:pt idx="41770">5</cx:pt>
          <cx:pt idx="41771">3</cx:pt>
          <cx:pt idx="41772">1</cx:pt>
          <cx:pt idx="41773">1</cx:pt>
          <cx:pt idx="41774">4</cx:pt>
          <cx:pt idx="41775">1</cx:pt>
          <cx:pt idx="41776">2</cx:pt>
          <cx:pt idx="41777">0</cx:pt>
          <cx:pt idx="41778">4</cx:pt>
          <cx:pt idx="41779">1</cx:pt>
          <cx:pt idx="41780">2</cx:pt>
          <cx:pt idx="41781">3</cx:pt>
          <cx:pt idx="41782">3</cx:pt>
          <cx:pt idx="41783">2</cx:pt>
          <cx:pt idx="41784">4</cx:pt>
          <cx:pt idx="41785">3</cx:pt>
          <cx:pt idx="41786">3</cx:pt>
          <cx:pt idx="41787">5</cx:pt>
          <cx:pt idx="41788">2</cx:pt>
          <cx:pt idx="41789">1</cx:pt>
          <cx:pt idx="41790">4</cx:pt>
          <cx:pt idx="41791">5</cx:pt>
          <cx:pt idx="41792">3</cx:pt>
          <cx:pt idx="41793">4</cx:pt>
          <cx:pt idx="41794">1</cx:pt>
          <cx:pt idx="41795">3</cx:pt>
          <cx:pt idx="41796">1</cx:pt>
          <cx:pt idx="41797">5</cx:pt>
          <cx:pt idx="41798">1</cx:pt>
          <cx:pt idx="41799">3</cx:pt>
          <cx:pt idx="41800">3</cx:pt>
          <cx:pt idx="41801">4</cx:pt>
          <cx:pt idx="41802">5</cx:pt>
          <cx:pt idx="41803">2</cx:pt>
          <cx:pt idx="41804">2</cx:pt>
          <cx:pt idx="41805">4</cx:pt>
          <cx:pt idx="41806">3</cx:pt>
          <cx:pt idx="41807">3</cx:pt>
          <cx:pt idx="41808">2</cx:pt>
          <cx:pt idx="41809">2</cx:pt>
          <cx:pt idx="41810">2</cx:pt>
          <cx:pt idx="41811">4</cx:pt>
          <cx:pt idx="41812">4</cx:pt>
          <cx:pt idx="41813">2</cx:pt>
          <cx:pt idx="41814">1</cx:pt>
          <cx:pt idx="41815">3</cx:pt>
          <cx:pt idx="41816">4</cx:pt>
          <cx:pt idx="41817">2</cx:pt>
          <cx:pt idx="41818">4</cx:pt>
          <cx:pt idx="41819">4</cx:pt>
          <cx:pt idx="41820">3</cx:pt>
          <cx:pt idx="41821">3</cx:pt>
          <cx:pt idx="41822">3</cx:pt>
          <cx:pt idx="41823">4</cx:pt>
          <cx:pt idx="41824">2</cx:pt>
          <cx:pt idx="41825">3</cx:pt>
          <cx:pt idx="41826">5</cx:pt>
          <cx:pt idx="41827">4</cx:pt>
          <cx:pt idx="41828">3</cx:pt>
          <cx:pt idx="41829">3</cx:pt>
          <cx:pt idx="41830">4</cx:pt>
          <cx:pt idx="41831">4</cx:pt>
          <cx:pt idx="41832">2</cx:pt>
          <cx:pt idx="41833">2</cx:pt>
          <cx:pt idx="41834">3</cx:pt>
          <cx:pt idx="41835">1</cx:pt>
          <cx:pt idx="41836">4</cx:pt>
          <cx:pt idx="41837">2</cx:pt>
          <cx:pt idx="41838">4</cx:pt>
          <cx:pt idx="41839">0</cx:pt>
          <cx:pt idx="41840">4</cx:pt>
          <cx:pt idx="41841">4</cx:pt>
          <cx:pt idx="41842">3</cx:pt>
          <cx:pt idx="41843">2</cx:pt>
          <cx:pt idx="41844">4</cx:pt>
          <cx:pt idx="41845">5</cx:pt>
          <cx:pt idx="41846">5</cx:pt>
          <cx:pt idx="41847">3</cx:pt>
          <cx:pt idx="41848">1</cx:pt>
          <cx:pt idx="41849">3</cx:pt>
          <cx:pt idx="41850">4</cx:pt>
          <cx:pt idx="41851">3</cx:pt>
          <cx:pt idx="41852">5</cx:pt>
          <cx:pt idx="41853">3</cx:pt>
          <cx:pt idx="41854">2</cx:pt>
          <cx:pt idx="41855">4</cx:pt>
          <cx:pt idx="41856">5</cx:pt>
          <cx:pt idx="41857">3</cx:pt>
          <cx:pt idx="41858">4</cx:pt>
          <cx:pt idx="41859">2</cx:pt>
          <cx:pt idx="41860">1</cx:pt>
          <cx:pt idx="41861">1</cx:pt>
          <cx:pt idx="41862">4</cx:pt>
          <cx:pt idx="41863">4</cx:pt>
          <cx:pt idx="41864">3</cx:pt>
          <cx:pt idx="41865">5</cx:pt>
          <cx:pt idx="41866">5</cx:pt>
          <cx:pt idx="41867">1</cx:pt>
          <cx:pt idx="41868">1</cx:pt>
          <cx:pt idx="41869">2</cx:pt>
          <cx:pt idx="41870">2</cx:pt>
          <cx:pt idx="41871">5</cx:pt>
          <cx:pt idx="41872">1</cx:pt>
          <cx:pt idx="41873">3</cx:pt>
          <cx:pt idx="41874">3</cx:pt>
          <cx:pt idx="41875">3</cx:pt>
          <cx:pt idx="41876">1</cx:pt>
          <cx:pt idx="41877">5</cx:pt>
          <cx:pt idx="41878">2</cx:pt>
          <cx:pt idx="41879">1</cx:pt>
          <cx:pt idx="41880">3</cx:pt>
          <cx:pt idx="41881">4</cx:pt>
          <cx:pt idx="41882">4</cx:pt>
          <cx:pt idx="41883">2</cx:pt>
          <cx:pt idx="41884">5</cx:pt>
          <cx:pt idx="41885">4</cx:pt>
          <cx:pt idx="41886">2</cx:pt>
          <cx:pt idx="41887">2</cx:pt>
          <cx:pt idx="41888">2</cx:pt>
          <cx:pt idx="41889">3</cx:pt>
          <cx:pt idx="41890">4</cx:pt>
          <cx:pt idx="41891">1</cx:pt>
          <cx:pt idx="41892">2</cx:pt>
          <cx:pt idx="41893">3</cx:pt>
          <cx:pt idx="41894">3</cx:pt>
          <cx:pt idx="41895">2</cx:pt>
          <cx:pt idx="41896">2</cx:pt>
          <cx:pt idx="41897">1</cx:pt>
          <cx:pt idx="41898">3</cx:pt>
          <cx:pt idx="41899">1</cx:pt>
          <cx:pt idx="41900">5</cx:pt>
          <cx:pt idx="41901">3</cx:pt>
          <cx:pt idx="41902">0</cx:pt>
          <cx:pt idx="41903">1</cx:pt>
          <cx:pt idx="41904">1</cx:pt>
          <cx:pt idx="41905">2</cx:pt>
          <cx:pt idx="41906">5</cx:pt>
          <cx:pt idx="41907">2</cx:pt>
          <cx:pt idx="41908">2</cx:pt>
          <cx:pt idx="41909">2</cx:pt>
          <cx:pt idx="41910">3</cx:pt>
          <cx:pt idx="41911">4</cx:pt>
          <cx:pt idx="41912">4</cx:pt>
          <cx:pt idx="41913">2</cx:pt>
          <cx:pt idx="41914">4</cx:pt>
          <cx:pt idx="41915">2</cx:pt>
          <cx:pt idx="41916">1</cx:pt>
          <cx:pt idx="41917">5</cx:pt>
          <cx:pt idx="41918">5</cx:pt>
          <cx:pt idx="41919">3</cx:pt>
          <cx:pt idx="41920">2</cx:pt>
          <cx:pt idx="41921">0</cx:pt>
          <cx:pt idx="41922">4</cx:pt>
          <cx:pt idx="41923">4</cx:pt>
          <cx:pt idx="41924">3</cx:pt>
          <cx:pt idx="41925">2</cx:pt>
          <cx:pt idx="41926">1</cx:pt>
          <cx:pt idx="41927">3</cx:pt>
          <cx:pt idx="41928">2</cx:pt>
          <cx:pt idx="41929">2</cx:pt>
          <cx:pt idx="41930">5</cx:pt>
          <cx:pt idx="41931">5</cx:pt>
          <cx:pt idx="41932">2</cx:pt>
          <cx:pt idx="41933">3</cx:pt>
          <cx:pt idx="41934">2</cx:pt>
          <cx:pt idx="41935">2</cx:pt>
          <cx:pt idx="41936">2</cx:pt>
          <cx:pt idx="41937">2</cx:pt>
          <cx:pt idx="41938">1</cx:pt>
          <cx:pt idx="41939">2</cx:pt>
          <cx:pt idx="41940">3</cx:pt>
          <cx:pt idx="41941">5</cx:pt>
          <cx:pt idx="41942">2</cx:pt>
          <cx:pt idx="41943">3</cx:pt>
          <cx:pt idx="41944">2</cx:pt>
          <cx:pt idx="41945">5</cx:pt>
          <cx:pt idx="41946">3</cx:pt>
          <cx:pt idx="41947">2</cx:pt>
          <cx:pt idx="41948">3</cx:pt>
          <cx:pt idx="41949">4</cx:pt>
          <cx:pt idx="41950">4</cx:pt>
          <cx:pt idx="41951">1</cx:pt>
          <cx:pt idx="41952">5</cx:pt>
          <cx:pt idx="41953">3</cx:pt>
          <cx:pt idx="41954">4</cx:pt>
          <cx:pt idx="41955">4</cx:pt>
          <cx:pt idx="41956">4</cx:pt>
          <cx:pt idx="41957">2</cx:pt>
          <cx:pt idx="41958">5</cx:pt>
          <cx:pt idx="41959">2</cx:pt>
          <cx:pt idx="41960">3</cx:pt>
          <cx:pt idx="41961">0</cx:pt>
          <cx:pt idx="41962">1</cx:pt>
          <cx:pt idx="41963">2</cx:pt>
          <cx:pt idx="41964">1</cx:pt>
          <cx:pt idx="41965">4</cx:pt>
          <cx:pt idx="41966">3</cx:pt>
          <cx:pt idx="41967">2</cx:pt>
          <cx:pt idx="41968">5</cx:pt>
          <cx:pt idx="41969">4</cx:pt>
          <cx:pt idx="41970">0</cx:pt>
          <cx:pt idx="41971">3</cx:pt>
          <cx:pt idx="41972">1</cx:pt>
          <cx:pt idx="41973">4</cx:pt>
          <cx:pt idx="41974">4</cx:pt>
          <cx:pt idx="41975">5</cx:pt>
          <cx:pt idx="41976">1</cx:pt>
          <cx:pt idx="41977">2</cx:pt>
          <cx:pt idx="41978">5</cx:pt>
          <cx:pt idx="41979">2</cx:pt>
          <cx:pt idx="41980">4</cx:pt>
          <cx:pt idx="41981">4</cx:pt>
          <cx:pt idx="41982">0</cx:pt>
          <cx:pt idx="41983">2</cx:pt>
          <cx:pt idx="41984">4</cx:pt>
          <cx:pt idx="41985">5</cx:pt>
          <cx:pt idx="41986">3</cx:pt>
          <cx:pt idx="41987">5</cx:pt>
          <cx:pt idx="41988">2</cx:pt>
          <cx:pt idx="41989">3</cx:pt>
          <cx:pt idx="41990">2</cx:pt>
          <cx:pt idx="41991">4</cx:pt>
          <cx:pt idx="41992">3</cx:pt>
          <cx:pt idx="41993">5</cx:pt>
          <cx:pt idx="41994">2</cx:pt>
          <cx:pt idx="41995">0</cx:pt>
          <cx:pt idx="41996">4</cx:pt>
          <cx:pt idx="41997">4</cx:pt>
          <cx:pt idx="41998">1</cx:pt>
          <cx:pt idx="41999">3</cx:pt>
          <cx:pt idx="42000">3</cx:pt>
          <cx:pt idx="42001">3</cx:pt>
          <cx:pt idx="42002">1</cx:pt>
          <cx:pt idx="42003">2</cx:pt>
          <cx:pt idx="42004">3</cx:pt>
          <cx:pt idx="42005">5</cx:pt>
          <cx:pt idx="42006">3</cx:pt>
          <cx:pt idx="42007">2</cx:pt>
          <cx:pt idx="42008">1</cx:pt>
          <cx:pt idx="42009">2</cx:pt>
          <cx:pt idx="42010">4</cx:pt>
          <cx:pt idx="42011">3</cx:pt>
          <cx:pt idx="42012">2</cx:pt>
          <cx:pt idx="42013">4</cx:pt>
          <cx:pt idx="42014">2</cx:pt>
          <cx:pt idx="42015">2</cx:pt>
          <cx:pt idx="42016">3</cx:pt>
          <cx:pt idx="42017">2</cx:pt>
          <cx:pt idx="42018">3</cx:pt>
          <cx:pt idx="42019">3</cx:pt>
          <cx:pt idx="42020">3</cx:pt>
          <cx:pt idx="42021">3</cx:pt>
          <cx:pt idx="42022">3</cx:pt>
          <cx:pt idx="42023">3</cx:pt>
          <cx:pt idx="42024">3</cx:pt>
          <cx:pt idx="42025">5</cx:pt>
          <cx:pt idx="42026">3</cx:pt>
          <cx:pt idx="42027">1</cx:pt>
          <cx:pt idx="42028">5</cx:pt>
          <cx:pt idx="42029">2</cx:pt>
          <cx:pt idx="42030">4</cx:pt>
          <cx:pt idx="42031">4</cx:pt>
          <cx:pt idx="42032">1</cx:pt>
          <cx:pt idx="42033">2</cx:pt>
          <cx:pt idx="42034">3</cx:pt>
          <cx:pt idx="42035">3</cx:pt>
          <cx:pt idx="42036">1</cx:pt>
          <cx:pt idx="42037">4</cx:pt>
          <cx:pt idx="42038">5</cx:pt>
          <cx:pt idx="42039">2</cx:pt>
          <cx:pt idx="42040">1</cx:pt>
          <cx:pt idx="42041">3</cx:pt>
          <cx:pt idx="42042">3</cx:pt>
          <cx:pt idx="42043">2</cx:pt>
          <cx:pt idx="42044">4</cx:pt>
          <cx:pt idx="42045">3</cx:pt>
          <cx:pt idx="42046">2</cx:pt>
          <cx:pt idx="42047">4</cx:pt>
          <cx:pt idx="42048">5</cx:pt>
          <cx:pt idx="42049">5</cx:pt>
          <cx:pt idx="42050">1</cx:pt>
          <cx:pt idx="42051">3</cx:pt>
          <cx:pt idx="42052">2</cx:pt>
          <cx:pt idx="42053">5</cx:pt>
          <cx:pt idx="42054">1</cx:pt>
          <cx:pt idx="42055">1</cx:pt>
          <cx:pt idx="42056">3</cx:pt>
          <cx:pt idx="42057">1</cx:pt>
          <cx:pt idx="42058">1</cx:pt>
          <cx:pt idx="42059">2</cx:pt>
          <cx:pt idx="42060">2</cx:pt>
          <cx:pt idx="42061">2</cx:pt>
          <cx:pt idx="42062">1</cx:pt>
          <cx:pt idx="42063">3</cx:pt>
          <cx:pt idx="42064">4</cx:pt>
          <cx:pt idx="42065">5</cx:pt>
          <cx:pt idx="42066">5</cx:pt>
          <cx:pt idx="42067">2</cx:pt>
          <cx:pt idx="42068">2</cx:pt>
          <cx:pt idx="42069">3</cx:pt>
          <cx:pt idx="42070">4</cx:pt>
          <cx:pt idx="42071">3</cx:pt>
          <cx:pt idx="42072">1</cx:pt>
          <cx:pt idx="42073">1</cx:pt>
          <cx:pt idx="42074">1</cx:pt>
          <cx:pt idx="42075">2</cx:pt>
          <cx:pt idx="42076">2</cx:pt>
          <cx:pt idx="42077">1</cx:pt>
          <cx:pt idx="42078">2</cx:pt>
          <cx:pt idx="42079">4</cx:pt>
          <cx:pt idx="42080">4</cx:pt>
          <cx:pt idx="42081">2</cx:pt>
          <cx:pt idx="42082">3</cx:pt>
          <cx:pt idx="42083">2</cx:pt>
          <cx:pt idx="42084">3</cx:pt>
          <cx:pt idx="42085">0</cx:pt>
          <cx:pt idx="42086">5</cx:pt>
          <cx:pt idx="42087">1</cx:pt>
          <cx:pt idx="42088">3</cx:pt>
          <cx:pt idx="42089">5</cx:pt>
          <cx:pt idx="42090">1</cx:pt>
          <cx:pt idx="42091">2</cx:pt>
          <cx:pt idx="42092">4</cx:pt>
          <cx:pt idx="42093">5</cx:pt>
          <cx:pt idx="42094">2</cx:pt>
          <cx:pt idx="42095">4</cx:pt>
          <cx:pt idx="42096">5</cx:pt>
          <cx:pt idx="42097">4</cx:pt>
          <cx:pt idx="42098">3</cx:pt>
          <cx:pt idx="42099">2</cx:pt>
          <cx:pt idx="42100">4</cx:pt>
          <cx:pt idx="42101">0</cx:pt>
          <cx:pt idx="42102">5</cx:pt>
          <cx:pt idx="42103">2</cx:pt>
          <cx:pt idx="42104">2</cx:pt>
          <cx:pt idx="42105">1</cx:pt>
          <cx:pt idx="42106">5</cx:pt>
          <cx:pt idx="42107">2</cx:pt>
          <cx:pt idx="42108">3</cx:pt>
          <cx:pt idx="42109">1</cx:pt>
          <cx:pt idx="42110">4</cx:pt>
          <cx:pt idx="42111">4</cx:pt>
          <cx:pt idx="42112">5</cx:pt>
          <cx:pt idx="42113">1</cx:pt>
          <cx:pt idx="42114">3</cx:pt>
          <cx:pt idx="42115">2</cx:pt>
          <cx:pt idx="42116">1</cx:pt>
          <cx:pt idx="42117">3</cx:pt>
          <cx:pt idx="42118">3</cx:pt>
          <cx:pt idx="42119">2</cx:pt>
          <cx:pt idx="42120">1</cx:pt>
          <cx:pt idx="42121">1</cx:pt>
          <cx:pt idx="42122">3</cx:pt>
          <cx:pt idx="42123">2</cx:pt>
          <cx:pt idx="42124">2</cx:pt>
          <cx:pt idx="42125">4</cx:pt>
          <cx:pt idx="42126">3</cx:pt>
          <cx:pt idx="42127">2</cx:pt>
          <cx:pt idx="42128">1</cx:pt>
          <cx:pt idx="42129">3</cx:pt>
          <cx:pt idx="42130">5</cx:pt>
          <cx:pt idx="42131">0</cx:pt>
          <cx:pt idx="42132">1</cx:pt>
          <cx:pt idx="42133">4</cx:pt>
          <cx:pt idx="42134">5</cx:pt>
          <cx:pt idx="42135">2</cx:pt>
          <cx:pt idx="42136">1</cx:pt>
          <cx:pt idx="42137">3</cx:pt>
          <cx:pt idx="42138">3</cx:pt>
          <cx:pt idx="42139">3</cx:pt>
          <cx:pt idx="42140">4</cx:pt>
          <cx:pt idx="42141">4</cx:pt>
          <cx:pt idx="42142">2</cx:pt>
          <cx:pt idx="42143">3</cx:pt>
          <cx:pt idx="42144">1</cx:pt>
          <cx:pt idx="42145">0</cx:pt>
          <cx:pt idx="42146">2</cx:pt>
          <cx:pt idx="42147">3</cx:pt>
          <cx:pt idx="42148">2</cx:pt>
          <cx:pt idx="42149">5</cx:pt>
          <cx:pt idx="42150">2</cx:pt>
          <cx:pt idx="42151">5</cx:pt>
          <cx:pt idx="42152">2</cx:pt>
          <cx:pt idx="42153">2</cx:pt>
          <cx:pt idx="42154">4</cx:pt>
          <cx:pt idx="42155">1</cx:pt>
          <cx:pt idx="42156">1</cx:pt>
          <cx:pt idx="42157">3</cx:pt>
          <cx:pt idx="42158">4</cx:pt>
          <cx:pt idx="42159">5</cx:pt>
          <cx:pt idx="42160">3</cx:pt>
          <cx:pt idx="42161">5</cx:pt>
          <cx:pt idx="42162">4</cx:pt>
          <cx:pt idx="42163">3</cx:pt>
          <cx:pt idx="42164">2</cx:pt>
          <cx:pt idx="42165">3</cx:pt>
          <cx:pt idx="42166">5</cx:pt>
          <cx:pt idx="42167">1</cx:pt>
          <cx:pt idx="42168">2</cx:pt>
          <cx:pt idx="42169">1</cx:pt>
          <cx:pt idx="42170">1</cx:pt>
          <cx:pt idx="42171">3</cx:pt>
          <cx:pt idx="42172">3</cx:pt>
          <cx:pt idx="42173">3</cx:pt>
          <cx:pt idx="42174">4</cx:pt>
          <cx:pt idx="42175">1</cx:pt>
          <cx:pt idx="42176">5</cx:pt>
          <cx:pt idx="42177">4</cx:pt>
          <cx:pt idx="42178">2</cx:pt>
          <cx:pt idx="42179">5</cx:pt>
          <cx:pt idx="42180">2</cx:pt>
          <cx:pt idx="42181">2</cx:pt>
          <cx:pt idx="42182">1</cx:pt>
          <cx:pt idx="42183">1</cx:pt>
          <cx:pt idx="42184">3</cx:pt>
          <cx:pt idx="42185">2</cx:pt>
          <cx:pt idx="42186">2</cx:pt>
          <cx:pt idx="42187">3</cx:pt>
          <cx:pt idx="42188">2</cx:pt>
          <cx:pt idx="42189">3</cx:pt>
          <cx:pt idx="42190">4</cx:pt>
          <cx:pt idx="42191">1</cx:pt>
          <cx:pt idx="42192">1</cx:pt>
          <cx:pt idx="42193">0</cx:pt>
          <cx:pt idx="42194">4</cx:pt>
          <cx:pt idx="42195">4</cx:pt>
          <cx:pt idx="42196">1</cx:pt>
          <cx:pt idx="42197">3</cx:pt>
          <cx:pt idx="42198">4</cx:pt>
          <cx:pt idx="42199">2</cx:pt>
          <cx:pt idx="42200">2</cx:pt>
          <cx:pt idx="42201">3</cx:pt>
          <cx:pt idx="42202">4</cx:pt>
          <cx:pt idx="42203">1</cx:pt>
          <cx:pt idx="42204">1</cx:pt>
          <cx:pt idx="42205">5</cx:pt>
          <cx:pt idx="42206">3</cx:pt>
          <cx:pt idx="42207">2</cx:pt>
          <cx:pt idx="42208">3</cx:pt>
          <cx:pt idx="42209">2</cx:pt>
          <cx:pt idx="42210">1</cx:pt>
          <cx:pt idx="42211">5</cx:pt>
          <cx:pt idx="42212">5</cx:pt>
          <cx:pt idx="42213">2</cx:pt>
          <cx:pt idx="42214">3</cx:pt>
          <cx:pt idx="42215">4</cx:pt>
          <cx:pt idx="42216">3</cx:pt>
          <cx:pt idx="42217">1</cx:pt>
          <cx:pt idx="42218">1</cx:pt>
          <cx:pt idx="42219">2</cx:pt>
          <cx:pt idx="42220">1</cx:pt>
          <cx:pt idx="42221">3</cx:pt>
          <cx:pt idx="42222">4</cx:pt>
          <cx:pt idx="42223">1</cx:pt>
          <cx:pt idx="42224">2</cx:pt>
          <cx:pt idx="42225">1</cx:pt>
          <cx:pt idx="42226">2</cx:pt>
          <cx:pt idx="42227">5</cx:pt>
          <cx:pt idx="42228">1</cx:pt>
          <cx:pt idx="42229">3</cx:pt>
          <cx:pt idx="42230">3</cx:pt>
          <cx:pt idx="42231">2</cx:pt>
          <cx:pt idx="42232">2</cx:pt>
          <cx:pt idx="42233">3</cx:pt>
          <cx:pt idx="42234">5</cx:pt>
          <cx:pt idx="42235">3</cx:pt>
          <cx:pt idx="42236">2</cx:pt>
          <cx:pt idx="42237">5</cx:pt>
          <cx:pt idx="42238">2</cx:pt>
          <cx:pt idx="42239">2</cx:pt>
          <cx:pt idx="42240">4</cx:pt>
          <cx:pt idx="42241">2</cx:pt>
          <cx:pt idx="42242">5</cx:pt>
          <cx:pt idx="42243">5</cx:pt>
          <cx:pt idx="42244">5</cx:pt>
          <cx:pt idx="42245">1</cx:pt>
          <cx:pt idx="42246">5</cx:pt>
          <cx:pt idx="42247">1</cx:pt>
          <cx:pt idx="42248">1</cx:pt>
          <cx:pt idx="42249">4</cx:pt>
          <cx:pt idx="42250">4</cx:pt>
          <cx:pt idx="42251">3</cx:pt>
          <cx:pt idx="42252">2</cx:pt>
          <cx:pt idx="42253">3</cx:pt>
          <cx:pt idx="42254">3</cx:pt>
          <cx:pt idx="42255">4</cx:pt>
          <cx:pt idx="42256">3</cx:pt>
          <cx:pt idx="42257">5</cx:pt>
          <cx:pt idx="42258">1</cx:pt>
          <cx:pt idx="42259">5</cx:pt>
          <cx:pt idx="42260">1</cx:pt>
          <cx:pt idx="42261">3</cx:pt>
          <cx:pt idx="42262">3</cx:pt>
          <cx:pt idx="42263">2</cx:pt>
          <cx:pt idx="42264">0</cx:pt>
          <cx:pt idx="42265">4</cx:pt>
          <cx:pt idx="42266">2</cx:pt>
          <cx:pt idx="42267">2</cx:pt>
          <cx:pt idx="42268">5</cx:pt>
          <cx:pt idx="42269">1</cx:pt>
          <cx:pt idx="42270">2</cx:pt>
          <cx:pt idx="42271">1</cx:pt>
          <cx:pt idx="42272">1</cx:pt>
          <cx:pt idx="42273">4</cx:pt>
          <cx:pt idx="42274">3</cx:pt>
          <cx:pt idx="42275">3</cx:pt>
          <cx:pt idx="42276">4</cx:pt>
          <cx:pt idx="42277">0</cx:pt>
          <cx:pt idx="42278">4</cx:pt>
          <cx:pt idx="42279">1</cx:pt>
          <cx:pt idx="42280">3</cx:pt>
          <cx:pt idx="42281">1</cx:pt>
          <cx:pt idx="42282">3</cx:pt>
          <cx:pt idx="42283">3</cx:pt>
          <cx:pt idx="42284">5</cx:pt>
          <cx:pt idx="42285">3</cx:pt>
          <cx:pt idx="42286">3</cx:pt>
          <cx:pt idx="42287">5</cx:pt>
          <cx:pt idx="42288">5</cx:pt>
          <cx:pt idx="42289">4</cx:pt>
          <cx:pt idx="42290">1</cx:pt>
          <cx:pt idx="42291">3</cx:pt>
          <cx:pt idx="42292">1</cx:pt>
          <cx:pt idx="42293">5</cx:pt>
          <cx:pt idx="42294">1</cx:pt>
          <cx:pt idx="42295">4</cx:pt>
          <cx:pt idx="42296">5</cx:pt>
          <cx:pt idx="42297">1</cx:pt>
          <cx:pt idx="42298">3</cx:pt>
          <cx:pt idx="42299">3</cx:pt>
          <cx:pt idx="42300">3</cx:pt>
          <cx:pt idx="42301">2</cx:pt>
          <cx:pt idx="42302">1</cx:pt>
          <cx:pt idx="42303">3</cx:pt>
          <cx:pt idx="42304">4</cx:pt>
          <cx:pt idx="42305">2</cx:pt>
          <cx:pt idx="42306">3</cx:pt>
          <cx:pt idx="42307">5</cx:pt>
          <cx:pt idx="42308">1</cx:pt>
          <cx:pt idx="42309">1</cx:pt>
          <cx:pt idx="42310">3</cx:pt>
          <cx:pt idx="42311">2</cx:pt>
          <cx:pt idx="42312">1</cx:pt>
          <cx:pt idx="42313">5</cx:pt>
          <cx:pt idx="42314">2</cx:pt>
          <cx:pt idx="42315">5</cx:pt>
          <cx:pt idx="42316">3</cx:pt>
          <cx:pt idx="42317">2</cx:pt>
          <cx:pt idx="42318">2</cx:pt>
          <cx:pt idx="42319">4</cx:pt>
          <cx:pt idx="42320">4</cx:pt>
          <cx:pt idx="42321">3</cx:pt>
          <cx:pt idx="42322">4</cx:pt>
          <cx:pt idx="42323">3</cx:pt>
          <cx:pt idx="42324">1</cx:pt>
          <cx:pt idx="42325">0</cx:pt>
          <cx:pt idx="42326">4</cx:pt>
          <cx:pt idx="42327">3</cx:pt>
          <cx:pt idx="42328">1</cx:pt>
          <cx:pt idx="42329">3</cx:pt>
          <cx:pt idx="42330">2</cx:pt>
          <cx:pt idx="42331">2</cx:pt>
          <cx:pt idx="42332">4</cx:pt>
          <cx:pt idx="42333">4</cx:pt>
          <cx:pt idx="42334">1</cx:pt>
          <cx:pt idx="42335">3</cx:pt>
          <cx:pt idx="42336">1</cx:pt>
          <cx:pt idx="42337">3</cx:pt>
          <cx:pt idx="42338">5</cx:pt>
          <cx:pt idx="42339">3</cx:pt>
          <cx:pt idx="42340">4</cx:pt>
          <cx:pt idx="42341">2</cx:pt>
          <cx:pt idx="42342">3</cx:pt>
          <cx:pt idx="42343">2</cx:pt>
          <cx:pt idx="42344">5</cx:pt>
          <cx:pt idx="42345">0</cx:pt>
          <cx:pt idx="42346">2</cx:pt>
          <cx:pt idx="42347">5</cx:pt>
          <cx:pt idx="42348">4</cx:pt>
          <cx:pt idx="42349">3</cx:pt>
          <cx:pt idx="42350">2</cx:pt>
          <cx:pt idx="42351">1</cx:pt>
          <cx:pt idx="42352">0</cx:pt>
          <cx:pt idx="42353">3</cx:pt>
          <cx:pt idx="42354">2</cx:pt>
          <cx:pt idx="42355">2</cx:pt>
          <cx:pt idx="42356">2</cx:pt>
          <cx:pt idx="42357">3</cx:pt>
          <cx:pt idx="42358">5</cx:pt>
          <cx:pt idx="42359">1</cx:pt>
          <cx:pt idx="42360">3</cx:pt>
          <cx:pt idx="42361">4</cx:pt>
          <cx:pt idx="42362">1</cx:pt>
          <cx:pt idx="42363">2</cx:pt>
          <cx:pt idx="42364">1</cx:pt>
          <cx:pt idx="42365">1</cx:pt>
          <cx:pt idx="42366">2</cx:pt>
          <cx:pt idx="42367">3</cx:pt>
          <cx:pt idx="42368">0</cx:pt>
          <cx:pt idx="42369">4</cx:pt>
          <cx:pt idx="42370">3</cx:pt>
          <cx:pt idx="42371">5</cx:pt>
          <cx:pt idx="42372">3</cx:pt>
          <cx:pt idx="42373">2</cx:pt>
          <cx:pt idx="42374">3</cx:pt>
          <cx:pt idx="42375">4</cx:pt>
          <cx:pt idx="42376">2</cx:pt>
          <cx:pt idx="42377">4</cx:pt>
          <cx:pt idx="42378">4</cx:pt>
          <cx:pt idx="42379">2</cx:pt>
          <cx:pt idx="42380">5</cx:pt>
          <cx:pt idx="42381">4</cx:pt>
          <cx:pt idx="42382">1</cx:pt>
          <cx:pt idx="42383">1</cx:pt>
          <cx:pt idx="42384">2</cx:pt>
          <cx:pt idx="42385">3</cx:pt>
          <cx:pt idx="42386">5</cx:pt>
          <cx:pt idx="42387">2</cx:pt>
          <cx:pt idx="42388">3</cx:pt>
          <cx:pt idx="42389">2</cx:pt>
          <cx:pt idx="42390">4</cx:pt>
          <cx:pt idx="42391">5</cx:pt>
          <cx:pt idx="42392">3</cx:pt>
          <cx:pt idx="42393">2</cx:pt>
          <cx:pt idx="42394">3</cx:pt>
          <cx:pt idx="42395">5</cx:pt>
          <cx:pt idx="42396">2</cx:pt>
          <cx:pt idx="42397">2</cx:pt>
          <cx:pt idx="42398">5</cx:pt>
          <cx:pt idx="42399">2</cx:pt>
          <cx:pt idx="42400">5</cx:pt>
          <cx:pt idx="42401">2</cx:pt>
          <cx:pt idx="42402">5</cx:pt>
          <cx:pt idx="42403">1</cx:pt>
          <cx:pt idx="42404">4</cx:pt>
          <cx:pt idx="42405">1</cx:pt>
          <cx:pt idx="42406">0</cx:pt>
          <cx:pt idx="42407">3</cx:pt>
          <cx:pt idx="42408">3</cx:pt>
          <cx:pt idx="42409">1</cx:pt>
          <cx:pt idx="42410">0</cx:pt>
          <cx:pt idx="42411">1</cx:pt>
          <cx:pt idx="42412">2</cx:pt>
          <cx:pt idx="42413">3</cx:pt>
          <cx:pt idx="42414">1</cx:pt>
          <cx:pt idx="42415">1</cx:pt>
          <cx:pt idx="42416">2</cx:pt>
          <cx:pt idx="42417">5</cx:pt>
          <cx:pt idx="42418">4</cx:pt>
          <cx:pt idx="42419">2</cx:pt>
          <cx:pt idx="42420">3</cx:pt>
          <cx:pt idx="42421">4</cx:pt>
          <cx:pt idx="42422">1</cx:pt>
          <cx:pt idx="42423">1</cx:pt>
          <cx:pt idx="42424">1</cx:pt>
          <cx:pt idx="42425">5</cx:pt>
          <cx:pt idx="42426">5</cx:pt>
          <cx:pt idx="42427">4</cx:pt>
          <cx:pt idx="42428">3</cx:pt>
          <cx:pt idx="42429">3</cx:pt>
          <cx:pt idx="42430">5</cx:pt>
          <cx:pt idx="42431">4</cx:pt>
          <cx:pt idx="42432">3</cx:pt>
          <cx:pt idx="42433">2</cx:pt>
          <cx:pt idx="42434">2</cx:pt>
          <cx:pt idx="42435">1</cx:pt>
          <cx:pt idx="42436">2</cx:pt>
          <cx:pt idx="42437">5</cx:pt>
          <cx:pt idx="42438">4</cx:pt>
          <cx:pt idx="42439">4</cx:pt>
          <cx:pt idx="42440">3</cx:pt>
          <cx:pt idx="42441">2</cx:pt>
          <cx:pt idx="42442">4</cx:pt>
          <cx:pt idx="42443">4</cx:pt>
          <cx:pt idx="42444">5</cx:pt>
          <cx:pt idx="42445">5</cx:pt>
          <cx:pt idx="42446">5</cx:pt>
          <cx:pt idx="42447">3</cx:pt>
          <cx:pt idx="42448">0</cx:pt>
          <cx:pt idx="42449">3</cx:pt>
          <cx:pt idx="42450">1</cx:pt>
          <cx:pt idx="42451">2</cx:pt>
          <cx:pt idx="42452">2</cx:pt>
          <cx:pt idx="42453">1</cx:pt>
          <cx:pt idx="42454">1</cx:pt>
          <cx:pt idx="42455">3</cx:pt>
          <cx:pt idx="42456">3</cx:pt>
          <cx:pt idx="42457">1</cx:pt>
          <cx:pt idx="42458">1</cx:pt>
          <cx:pt idx="42459">3</cx:pt>
          <cx:pt idx="42460">2</cx:pt>
          <cx:pt idx="42461">3</cx:pt>
          <cx:pt idx="42462">1</cx:pt>
          <cx:pt idx="42463">5</cx:pt>
          <cx:pt idx="42464">1</cx:pt>
          <cx:pt idx="42465">3</cx:pt>
          <cx:pt idx="42466">1</cx:pt>
          <cx:pt idx="42467">3</cx:pt>
          <cx:pt idx="42468">3</cx:pt>
          <cx:pt idx="42469">4</cx:pt>
          <cx:pt idx="42470">4</cx:pt>
          <cx:pt idx="42471">2</cx:pt>
          <cx:pt idx="42472">3</cx:pt>
          <cx:pt idx="42473">3</cx:pt>
          <cx:pt idx="42474">0</cx:pt>
          <cx:pt idx="42475">4</cx:pt>
          <cx:pt idx="42476">3</cx:pt>
          <cx:pt idx="42477">2</cx:pt>
          <cx:pt idx="42478">2</cx:pt>
          <cx:pt idx="42479">2</cx:pt>
          <cx:pt idx="42480">2</cx:pt>
          <cx:pt idx="42481">4</cx:pt>
          <cx:pt idx="42482">3</cx:pt>
          <cx:pt idx="42483">2</cx:pt>
          <cx:pt idx="42484">4</cx:pt>
          <cx:pt idx="42485">4</cx:pt>
          <cx:pt idx="42486">2</cx:pt>
          <cx:pt idx="42487">5</cx:pt>
          <cx:pt idx="42488">1</cx:pt>
          <cx:pt idx="42489">3</cx:pt>
          <cx:pt idx="42490">2</cx:pt>
          <cx:pt idx="42491">4</cx:pt>
          <cx:pt idx="42492">4</cx:pt>
          <cx:pt idx="42493">5</cx:pt>
          <cx:pt idx="42494">3</cx:pt>
          <cx:pt idx="42495">1</cx:pt>
          <cx:pt idx="42496">3</cx:pt>
          <cx:pt idx="42497">2</cx:pt>
          <cx:pt idx="42498">2</cx:pt>
          <cx:pt idx="42499">3</cx:pt>
          <cx:pt idx="42500">2</cx:pt>
          <cx:pt idx="42501">3</cx:pt>
          <cx:pt idx="42502">3</cx:pt>
          <cx:pt idx="42503">4</cx:pt>
          <cx:pt idx="42504">3</cx:pt>
          <cx:pt idx="42505">3</cx:pt>
          <cx:pt idx="42506">1</cx:pt>
          <cx:pt idx="42507">1</cx:pt>
          <cx:pt idx="42508">1</cx:pt>
          <cx:pt idx="42509">3</cx:pt>
          <cx:pt idx="42510">4</cx:pt>
          <cx:pt idx="42511">3</cx:pt>
          <cx:pt idx="42512">1</cx:pt>
          <cx:pt idx="42513">2</cx:pt>
          <cx:pt idx="42514">2</cx:pt>
          <cx:pt idx="42515">4</cx:pt>
          <cx:pt idx="42516">2</cx:pt>
          <cx:pt idx="42517">1</cx:pt>
          <cx:pt idx="42518">1</cx:pt>
          <cx:pt idx="42519">2</cx:pt>
          <cx:pt idx="42520">3</cx:pt>
          <cx:pt idx="42521">2</cx:pt>
          <cx:pt idx="42522">4</cx:pt>
          <cx:pt idx="42523">2</cx:pt>
          <cx:pt idx="42524">5</cx:pt>
          <cx:pt idx="42525">2</cx:pt>
          <cx:pt idx="42526">2</cx:pt>
          <cx:pt idx="42527">3</cx:pt>
          <cx:pt idx="42528">3</cx:pt>
          <cx:pt idx="42529">3</cx:pt>
          <cx:pt idx="42530">2</cx:pt>
          <cx:pt idx="42531">2</cx:pt>
          <cx:pt idx="42532">2</cx:pt>
          <cx:pt idx="42533">4</cx:pt>
          <cx:pt idx="42534">5</cx:pt>
          <cx:pt idx="42535">4</cx:pt>
          <cx:pt idx="42536">4</cx:pt>
          <cx:pt idx="42537">2</cx:pt>
          <cx:pt idx="42538">2</cx:pt>
          <cx:pt idx="42539">4</cx:pt>
          <cx:pt idx="42540">4</cx:pt>
          <cx:pt idx="42541">5</cx:pt>
          <cx:pt idx="42542">4</cx:pt>
          <cx:pt idx="42543">0</cx:pt>
          <cx:pt idx="42544">3</cx:pt>
          <cx:pt idx="42545">3</cx:pt>
          <cx:pt idx="42546">3</cx:pt>
          <cx:pt idx="42547">5</cx:pt>
          <cx:pt idx="42548">3</cx:pt>
          <cx:pt idx="42549">2</cx:pt>
          <cx:pt idx="42550">1</cx:pt>
          <cx:pt idx="42551">2</cx:pt>
          <cx:pt idx="42552">1</cx:pt>
          <cx:pt idx="42553">2</cx:pt>
          <cx:pt idx="42554">4</cx:pt>
          <cx:pt idx="42555">1</cx:pt>
          <cx:pt idx="42556">1</cx:pt>
          <cx:pt idx="42557">1</cx:pt>
          <cx:pt idx="42558">3</cx:pt>
          <cx:pt idx="42559">1</cx:pt>
          <cx:pt idx="42560">5</cx:pt>
          <cx:pt idx="42561">1</cx:pt>
          <cx:pt idx="42562">2</cx:pt>
          <cx:pt idx="42563">2</cx:pt>
          <cx:pt idx="42564">2</cx:pt>
          <cx:pt idx="42565">1</cx:pt>
          <cx:pt idx="42566">3</cx:pt>
          <cx:pt idx="42567">3</cx:pt>
          <cx:pt idx="42568">3</cx:pt>
          <cx:pt idx="42569">2</cx:pt>
          <cx:pt idx="42570">2</cx:pt>
          <cx:pt idx="42571">3</cx:pt>
          <cx:pt idx="42572">5</cx:pt>
          <cx:pt idx="42573">4</cx:pt>
          <cx:pt idx="42574">1</cx:pt>
          <cx:pt idx="42575">1</cx:pt>
          <cx:pt idx="42576">0</cx:pt>
          <cx:pt idx="42577">3</cx:pt>
          <cx:pt idx="42578">0</cx:pt>
          <cx:pt idx="42579">3</cx:pt>
          <cx:pt idx="42580">1</cx:pt>
          <cx:pt idx="42581">1</cx:pt>
          <cx:pt idx="42582">2</cx:pt>
          <cx:pt idx="42583">1</cx:pt>
          <cx:pt idx="42584">4</cx:pt>
          <cx:pt idx="42585">4</cx:pt>
          <cx:pt idx="42586">3</cx:pt>
          <cx:pt idx="42587">5</cx:pt>
          <cx:pt idx="42588">3</cx:pt>
          <cx:pt idx="42589">2</cx:pt>
          <cx:pt idx="42590">3</cx:pt>
          <cx:pt idx="42591">2</cx:pt>
          <cx:pt idx="42592">2</cx:pt>
          <cx:pt idx="42593">1</cx:pt>
          <cx:pt idx="42594">1</cx:pt>
          <cx:pt idx="42595">2</cx:pt>
          <cx:pt idx="42596">2</cx:pt>
          <cx:pt idx="42597">3</cx:pt>
          <cx:pt idx="42598">3</cx:pt>
          <cx:pt idx="42599">3</cx:pt>
          <cx:pt idx="42600">4</cx:pt>
          <cx:pt idx="42601">1</cx:pt>
          <cx:pt idx="42602">3</cx:pt>
          <cx:pt idx="42603">1</cx:pt>
          <cx:pt idx="42604">2</cx:pt>
          <cx:pt idx="42605">1</cx:pt>
          <cx:pt idx="42606">4</cx:pt>
          <cx:pt idx="42607">1</cx:pt>
          <cx:pt idx="42608">4</cx:pt>
          <cx:pt idx="42609">3</cx:pt>
          <cx:pt idx="42610">3</cx:pt>
          <cx:pt idx="42611">4</cx:pt>
          <cx:pt idx="42612">4</cx:pt>
          <cx:pt idx="42613">5</cx:pt>
          <cx:pt idx="42614">1</cx:pt>
          <cx:pt idx="42615">3</cx:pt>
          <cx:pt idx="42616">1</cx:pt>
          <cx:pt idx="42617">2</cx:pt>
          <cx:pt idx="42618">5</cx:pt>
          <cx:pt idx="42619">4</cx:pt>
          <cx:pt idx="42620">4</cx:pt>
          <cx:pt idx="42621">4</cx:pt>
          <cx:pt idx="42622">1</cx:pt>
          <cx:pt idx="42623">5</cx:pt>
          <cx:pt idx="42624">5</cx:pt>
          <cx:pt idx="42625">1</cx:pt>
          <cx:pt idx="42626">3</cx:pt>
          <cx:pt idx="42627">1</cx:pt>
          <cx:pt idx="42628">3</cx:pt>
          <cx:pt idx="42629">5</cx:pt>
          <cx:pt idx="42630">4</cx:pt>
          <cx:pt idx="42631">4</cx:pt>
          <cx:pt idx="42632">3</cx:pt>
          <cx:pt idx="42633">3</cx:pt>
          <cx:pt idx="42634">2</cx:pt>
          <cx:pt idx="42635">2</cx:pt>
          <cx:pt idx="42636">5</cx:pt>
          <cx:pt idx="42637">1</cx:pt>
          <cx:pt idx="42638">3</cx:pt>
          <cx:pt idx="42639">2</cx:pt>
          <cx:pt idx="42640">4</cx:pt>
          <cx:pt idx="42641">3</cx:pt>
          <cx:pt idx="42642">3</cx:pt>
          <cx:pt idx="42643">2</cx:pt>
          <cx:pt idx="42644">3</cx:pt>
          <cx:pt idx="42645">2</cx:pt>
          <cx:pt idx="42646">3</cx:pt>
          <cx:pt idx="42647">1</cx:pt>
          <cx:pt idx="42648">3</cx:pt>
          <cx:pt idx="42649">5</cx:pt>
          <cx:pt idx="42650">2</cx:pt>
          <cx:pt idx="42651">1</cx:pt>
          <cx:pt idx="42652">3</cx:pt>
          <cx:pt idx="42653">4</cx:pt>
          <cx:pt idx="42654">5</cx:pt>
          <cx:pt idx="42655">2</cx:pt>
          <cx:pt idx="42656">1</cx:pt>
          <cx:pt idx="42657">4</cx:pt>
          <cx:pt idx="42658">3</cx:pt>
          <cx:pt idx="42659">2</cx:pt>
          <cx:pt idx="42660">1</cx:pt>
          <cx:pt idx="42661">3</cx:pt>
          <cx:pt idx="42662">3</cx:pt>
          <cx:pt idx="42663">2</cx:pt>
          <cx:pt idx="42664">0</cx:pt>
          <cx:pt idx="42665">3</cx:pt>
          <cx:pt idx="42666">3</cx:pt>
          <cx:pt idx="42667">5</cx:pt>
          <cx:pt idx="42668">5</cx:pt>
          <cx:pt idx="42669">2</cx:pt>
          <cx:pt idx="42670">5</cx:pt>
          <cx:pt idx="42671">3</cx:pt>
          <cx:pt idx="42672">0</cx:pt>
          <cx:pt idx="42673">2</cx:pt>
          <cx:pt idx="42674">3</cx:pt>
          <cx:pt idx="42675">4</cx:pt>
          <cx:pt idx="42676">2</cx:pt>
          <cx:pt idx="42677">4</cx:pt>
          <cx:pt idx="42678">1</cx:pt>
          <cx:pt idx="42679">1</cx:pt>
          <cx:pt idx="42680">4</cx:pt>
          <cx:pt idx="42681">5</cx:pt>
          <cx:pt idx="42682">2</cx:pt>
          <cx:pt idx="42683">3</cx:pt>
          <cx:pt idx="42684">5</cx:pt>
          <cx:pt idx="42685">3</cx:pt>
          <cx:pt idx="42686">4</cx:pt>
          <cx:pt idx="42687">5</cx:pt>
          <cx:pt idx="42688">3</cx:pt>
          <cx:pt idx="42689">3</cx:pt>
          <cx:pt idx="42690">4</cx:pt>
          <cx:pt idx="42691">5</cx:pt>
          <cx:pt idx="42692">1</cx:pt>
          <cx:pt idx="42693">2</cx:pt>
          <cx:pt idx="42694">1</cx:pt>
          <cx:pt idx="42695">1</cx:pt>
          <cx:pt idx="42696">3</cx:pt>
          <cx:pt idx="42697">2</cx:pt>
          <cx:pt idx="42698">0</cx:pt>
          <cx:pt idx="42699">2</cx:pt>
          <cx:pt idx="42700">3</cx:pt>
          <cx:pt idx="42701">2</cx:pt>
          <cx:pt idx="42702">3</cx:pt>
          <cx:pt idx="42703">4</cx:pt>
          <cx:pt idx="42704">3</cx:pt>
          <cx:pt idx="42705">5</cx:pt>
          <cx:pt idx="42706">2</cx:pt>
          <cx:pt idx="42707">2</cx:pt>
          <cx:pt idx="42708">1</cx:pt>
          <cx:pt idx="42709">3</cx:pt>
          <cx:pt idx="42710">3</cx:pt>
          <cx:pt idx="42711">3</cx:pt>
          <cx:pt idx="42712">4</cx:pt>
          <cx:pt idx="42713">2</cx:pt>
          <cx:pt idx="42714">4</cx:pt>
          <cx:pt idx="42715">5</cx:pt>
          <cx:pt idx="42716">5</cx:pt>
          <cx:pt idx="42717">4</cx:pt>
          <cx:pt idx="42718">4</cx:pt>
          <cx:pt idx="42719">3</cx:pt>
          <cx:pt idx="42720">4</cx:pt>
          <cx:pt idx="42721">2</cx:pt>
          <cx:pt idx="42722">2</cx:pt>
          <cx:pt idx="42723">4</cx:pt>
          <cx:pt idx="42724">5</cx:pt>
          <cx:pt idx="42725">1</cx:pt>
          <cx:pt idx="42726">2</cx:pt>
          <cx:pt idx="42727">2</cx:pt>
          <cx:pt idx="42728">2</cx:pt>
          <cx:pt idx="42729">1</cx:pt>
          <cx:pt idx="42730">2</cx:pt>
          <cx:pt idx="42731">3</cx:pt>
          <cx:pt idx="42732">5</cx:pt>
          <cx:pt idx="42733">3</cx:pt>
          <cx:pt idx="42734">1</cx:pt>
          <cx:pt idx="42735">0</cx:pt>
          <cx:pt idx="42736">2</cx:pt>
          <cx:pt idx="42737">5</cx:pt>
          <cx:pt idx="42738">2</cx:pt>
          <cx:pt idx="42739">2</cx:pt>
          <cx:pt idx="42740">1</cx:pt>
          <cx:pt idx="42741">4</cx:pt>
          <cx:pt idx="42742">3</cx:pt>
          <cx:pt idx="42743">2</cx:pt>
          <cx:pt idx="42744">3</cx:pt>
          <cx:pt idx="42745">3</cx:pt>
          <cx:pt idx="42746">1</cx:pt>
          <cx:pt idx="42747">2</cx:pt>
          <cx:pt idx="42748">5</cx:pt>
          <cx:pt idx="42749">1</cx:pt>
          <cx:pt idx="42750">4</cx:pt>
          <cx:pt idx="42751">3</cx:pt>
          <cx:pt idx="42752">4</cx:pt>
          <cx:pt idx="42753">4</cx:pt>
          <cx:pt idx="42754">1</cx:pt>
          <cx:pt idx="42755">4</cx:pt>
          <cx:pt idx="42756">2</cx:pt>
          <cx:pt idx="42757">3</cx:pt>
          <cx:pt idx="42758">2</cx:pt>
          <cx:pt idx="42759">2</cx:pt>
          <cx:pt idx="42760">1</cx:pt>
          <cx:pt idx="42761">3</cx:pt>
          <cx:pt idx="42762">1</cx:pt>
          <cx:pt idx="42763">2</cx:pt>
          <cx:pt idx="42764">3</cx:pt>
          <cx:pt idx="42765">0</cx:pt>
          <cx:pt idx="42766">2</cx:pt>
          <cx:pt idx="42767">0</cx:pt>
          <cx:pt idx="42768">3</cx:pt>
          <cx:pt idx="42769">5</cx:pt>
          <cx:pt idx="42770">3</cx:pt>
          <cx:pt idx="42771">3</cx:pt>
          <cx:pt idx="42772">3</cx:pt>
          <cx:pt idx="42773">0</cx:pt>
          <cx:pt idx="42774">2</cx:pt>
          <cx:pt idx="42775">2</cx:pt>
          <cx:pt idx="42776">2</cx:pt>
          <cx:pt idx="42777">3</cx:pt>
          <cx:pt idx="42778">1</cx:pt>
          <cx:pt idx="42779">1</cx:pt>
          <cx:pt idx="42780">4</cx:pt>
          <cx:pt idx="42781">2</cx:pt>
          <cx:pt idx="42782">1</cx:pt>
          <cx:pt idx="42783">2</cx:pt>
          <cx:pt idx="42784">4</cx:pt>
          <cx:pt idx="42785">4</cx:pt>
          <cx:pt idx="42786">4</cx:pt>
          <cx:pt idx="42787">1</cx:pt>
          <cx:pt idx="42788">4</cx:pt>
          <cx:pt idx="42789">1</cx:pt>
          <cx:pt idx="42790">4</cx:pt>
          <cx:pt idx="42791">1</cx:pt>
          <cx:pt idx="42792">2</cx:pt>
          <cx:pt idx="42793">2</cx:pt>
          <cx:pt idx="42794">1</cx:pt>
          <cx:pt idx="42795">2</cx:pt>
          <cx:pt idx="42796">3</cx:pt>
          <cx:pt idx="42797">2</cx:pt>
          <cx:pt idx="42798">5</cx:pt>
          <cx:pt idx="42799">4</cx:pt>
          <cx:pt idx="42800">1</cx:pt>
          <cx:pt idx="42801">1</cx:pt>
          <cx:pt idx="42802">3</cx:pt>
          <cx:pt idx="42803">1</cx:pt>
          <cx:pt idx="42804">2</cx:pt>
          <cx:pt idx="42805">5</cx:pt>
          <cx:pt idx="42806">5</cx:pt>
          <cx:pt idx="42807">2</cx:pt>
          <cx:pt idx="42808">5</cx:pt>
          <cx:pt idx="42809">2</cx:pt>
          <cx:pt idx="42810">1</cx:pt>
          <cx:pt idx="42811">4</cx:pt>
          <cx:pt idx="42812">2</cx:pt>
          <cx:pt idx="42813">5</cx:pt>
          <cx:pt idx="42814">4</cx:pt>
          <cx:pt idx="42815">1</cx:pt>
          <cx:pt idx="42816">1</cx:pt>
          <cx:pt idx="42817">4</cx:pt>
          <cx:pt idx="42818">3</cx:pt>
          <cx:pt idx="42819">1</cx:pt>
          <cx:pt idx="42820">0</cx:pt>
          <cx:pt idx="42821">3</cx:pt>
          <cx:pt idx="42822">1</cx:pt>
          <cx:pt idx="42823">1</cx:pt>
          <cx:pt idx="42824">3</cx:pt>
          <cx:pt idx="42825">0</cx:pt>
          <cx:pt idx="42826">4</cx:pt>
          <cx:pt idx="42827">5</cx:pt>
          <cx:pt idx="42828">4</cx:pt>
          <cx:pt idx="42829">4</cx:pt>
          <cx:pt idx="42830">1</cx:pt>
          <cx:pt idx="42831">2</cx:pt>
          <cx:pt idx="42832">4</cx:pt>
          <cx:pt idx="42833">4</cx:pt>
          <cx:pt idx="42834">1</cx:pt>
          <cx:pt idx="42835">2</cx:pt>
          <cx:pt idx="42836">2</cx:pt>
          <cx:pt idx="42837">5</cx:pt>
          <cx:pt idx="42838">2</cx:pt>
          <cx:pt idx="42839">3</cx:pt>
          <cx:pt idx="42840">3</cx:pt>
          <cx:pt idx="42841">3</cx:pt>
          <cx:pt idx="42842">5</cx:pt>
          <cx:pt idx="42843">1</cx:pt>
          <cx:pt idx="42844">3</cx:pt>
          <cx:pt idx="42845">2</cx:pt>
          <cx:pt idx="42846">5</cx:pt>
          <cx:pt idx="42847">4</cx:pt>
          <cx:pt idx="42848">3</cx:pt>
          <cx:pt idx="42849">2</cx:pt>
          <cx:pt idx="42850">3</cx:pt>
          <cx:pt idx="42851">3</cx:pt>
          <cx:pt idx="42852">5</cx:pt>
          <cx:pt idx="42853">1</cx:pt>
          <cx:pt idx="42854">1</cx:pt>
          <cx:pt idx="42855">4</cx:pt>
          <cx:pt idx="42856">4</cx:pt>
          <cx:pt idx="42857">3</cx:pt>
          <cx:pt idx="42858">2</cx:pt>
          <cx:pt idx="42859">5</cx:pt>
          <cx:pt idx="42860">5</cx:pt>
          <cx:pt idx="42861">2</cx:pt>
          <cx:pt idx="42862">2</cx:pt>
          <cx:pt idx="42863">3</cx:pt>
          <cx:pt idx="42864">5</cx:pt>
          <cx:pt idx="42865">3</cx:pt>
          <cx:pt idx="42866">2</cx:pt>
          <cx:pt idx="42867">5</cx:pt>
          <cx:pt idx="42868">5</cx:pt>
          <cx:pt idx="42869">1</cx:pt>
          <cx:pt idx="42870">2</cx:pt>
          <cx:pt idx="42871">5</cx:pt>
          <cx:pt idx="42872">2</cx:pt>
          <cx:pt idx="42873">1</cx:pt>
          <cx:pt idx="42874">4</cx:pt>
          <cx:pt idx="42875">1</cx:pt>
          <cx:pt idx="42876">2</cx:pt>
          <cx:pt idx="42877">2</cx:pt>
          <cx:pt idx="42878">2</cx:pt>
          <cx:pt idx="42879">4</cx:pt>
          <cx:pt idx="42880">3</cx:pt>
          <cx:pt idx="42881">4</cx:pt>
          <cx:pt idx="42882">5</cx:pt>
          <cx:pt idx="42883">4</cx:pt>
          <cx:pt idx="42884">4</cx:pt>
          <cx:pt idx="42885">2</cx:pt>
          <cx:pt idx="42886">2</cx:pt>
          <cx:pt idx="42887">2</cx:pt>
          <cx:pt idx="42888">4</cx:pt>
          <cx:pt idx="42889">5</cx:pt>
          <cx:pt idx="42890">3</cx:pt>
          <cx:pt idx="42891">5</cx:pt>
          <cx:pt idx="42892">5</cx:pt>
          <cx:pt idx="42893">3</cx:pt>
          <cx:pt idx="42894">1</cx:pt>
          <cx:pt idx="42895">4</cx:pt>
          <cx:pt idx="42896">4</cx:pt>
          <cx:pt idx="42897">1</cx:pt>
          <cx:pt idx="42898">5</cx:pt>
          <cx:pt idx="42899">4</cx:pt>
          <cx:pt idx="42900">2</cx:pt>
          <cx:pt idx="42901">2</cx:pt>
          <cx:pt idx="42902">3</cx:pt>
          <cx:pt idx="42903">0</cx:pt>
          <cx:pt idx="42904">3</cx:pt>
          <cx:pt idx="42905">2</cx:pt>
          <cx:pt idx="42906">2</cx:pt>
          <cx:pt idx="42907">1</cx:pt>
          <cx:pt idx="42908">2</cx:pt>
          <cx:pt idx="42909">3</cx:pt>
          <cx:pt idx="42910">4</cx:pt>
          <cx:pt idx="42911">3</cx:pt>
          <cx:pt idx="42912">3</cx:pt>
          <cx:pt idx="42913">3</cx:pt>
          <cx:pt idx="42914">4</cx:pt>
          <cx:pt idx="42915">4</cx:pt>
          <cx:pt idx="42916">4</cx:pt>
          <cx:pt idx="42917">1</cx:pt>
          <cx:pt idx="42918">1</cx:pt>
          <cx:pt idx="42919">3</cx:pt>
          <cx:pt idx="42920">1</cx:pt>
          <cx:pt idx="42921">2</cx:pt>
          <cx:pt idx="42922">4</cx:pt>
          <cx:pt idx="42923">2</cx:pt>
          <cx:pt idx="42924">2</cx:pt>
          <cx:pt idx="42925">3</cx:pt>
          <cx:pt idx="42926">1</cx:pt>
          <cx:pt idx="42927">2</cx:pt>
          <cx:pt idx="42928">2</cx:pt>
          <cx:pt idx="42929">5</cx:pt>
          <cx:pt idx="42930">2</cx:pt>
          <cx:pt idx="42931">2</cx:pt>
          <cx:pt idx="42932">3</cx:pt>
          <cx:pt idx="42933">1</cx:pt>
          <cx:pt idx="42934">5</cx:pt>
          <cx:pt idx="42935">1</cx:pt>
          <cx:pt idx="42936">3</cx:pt>
          <cx:pt idx="42937">0</cx:pt>
          <cx:pt idx="42938">2</cx:pt>
          <cx:pt idx="42939">4</cx:pt>
          <cx:pt idx="42940">5</cx:pt>
          <cx:pt idx="42941">4</cx:pt>
          <cx:pt idx="42942">0</cx:pt>
          <cx:pt idx="42943">1</cx:pt>
          <cx:pt idx="42944">3</cx:pt>
          <cx:pt idx="42945">5</cx:pt>
          <cx:pt idx="42946">2</cx:pt>
          <cx:pt idx="42947">1</cx:pt>
          <cx:pt idx="42948">3</cx:pt>
          <cx:pt idx="42949">3</cx:pt>
          <cx:pt idx="42950">4</cx:pt>
          <cx:pt idx="42951">5</cx:pt>
          <cx:pt idx="42952">4</cx:pt>
          <cx:pt idx="42953">4</cx:pt>
          <cx:pt idx="42954">4</cx:pt>
          <cx:pt idx="42955">2</cx:pt>
          <cx:pt idx="42956">1</cx:pt>
          <cx:pt idx="42957">3</cx:pt>
          <cx:pt idx="42958">2</cx:pt>
          <cx:pt idx="42959">3</cx:pt>
          <cx:pt idx="42960">2</cx:pt>
          <cx:pt idx="42961">3</cx:pt>
          <cx:pt idx="42962">5</cx:pt>
          <cx:pt idx="42963">3</cx:pt>
          <cx:pt idx="42964">3</cx:pt>
          <cx:pt idx="42965">3</cx:pt>
          <cx:pt idx="42966">2</cx:pt>
          <cx:pt idx="42967">3</cx:pt>
          <cx:pt idx="42968">3</cx:pt>
          <cx:pt idx="42969">4</cx:pt>
          <cx:pt idx="42970">4</cx:pt>
          <cx:pt idx="42971">5</cx:pt>
          <cx:pt idx="42972">4</cx:pt>
          <cx:pt idx="42973">3</cx:pt>
          <cx:pt idx="42974">1</cx:pt>
          <cx:pt idx="42975">1</cx:pt>
          <cx:pt idx="42976">2</cx:pt>
          <cx:pt idx="42977">0</cx:pt>
          <cx:pt idx="42978">1</cx:pt>
          <cx:pt idx="42979">3</cx:pt>
          <cx:pt idx="42980">4</cx:pt>
          <cx:pt idx="42981">4</cx:pt>
          <cx:pt idx="42982">2</cx:pt>
          <cx:pt idx="42983">3</cx:pt>
          <cx:pt idx="42984">4</cx:pt>
          <cx:pt idx="42985">2</cx:pt>
          <cx:pt idx="42986">2</cx:pt>
          <cx:pt idx="42987">2</cx:pt>
          <cx:pt idx="42988">5</cx:pt>
          <cx:pt idx="42989">3</cx:pt>
          <cx:pt idx="42990">5</cx:pt>
          <cx:pt idx="42991">3</cx:pt>
          <cx:pt idx="42992">1</cx:pt>
          <cx:pt idx="42993">1</cx:pt>
          <cx:pt idx="42994">5</cx:pt>
          <cx:pt idx="42995">4</cx:pt>
          <cx:pt idx="42996">4</cx:pt>
          <cx:pt idx="42997">4</cx:pt>
          <cx:pt idx="42998">5</cx:pt>
          <cx:pt idx="42999">1</cx:pt>
          <cx:pt idx="43000">5</cx:pt>
          <cx:pt idx="43001">3</cx:pt>
          <cx:pt idx="43002">4</cx:pt>
          <cx:pt idx="43003">2</cx:pt>
          <cx:pt idx="43004">4</cx:pt>
          <cx:pt idx="43005">5</cx:pt>
          <cx:pt idx="43006">3</cx:pt>
          <cx:pt idx="43007">3</cx:pt>
          <cx:pt idx="43008">3</cx:pt>
          <cx:pt idx="43009">5</cx:pt>
          <cx:pt idx="43010">1</cx:pt>
          <cx:pt idx="43011">2</cx:pt>
          <cx:pt idx="43012">3</cx:pt>
          <cx:pt idx="43013">2</cx:pt>
          <cx:pt idx="43014">4</cx:pt>
          <cx:pt idx="43015">0</cx:pt>
          <cx:pt idx="43016">4</cx:pt>
          <cx:pt idx="43017">1</cx:pt>
          <cx:pt idx="43018">2</cx:pt>
          <cx:pt idx="43019">1</cx:pt>
          <cx:pt idx="43020">4</cx:pt>
          <cx:pt idx="43021">0</cx:pt>
          <cx:pt idx="43022">5</cx:pt>
          <cx:pt idx="43023">2</cx:pt>
          <cx:pt idx="43024">1</cx:pt>
          <cx:pt idx="43025">0</cx:pt>
          <cx:pt idx="43026">3</cx:pt>
          <cx:pt idx="43027">3</cx:pt>
          <cx:pt idx="43028">0</cx:pt>
          <cx:pt idx="43029">2</cx:pt>
          <cx:pt idx="43030">3</cx:pt>
          <cx:pt idx="43031">0</cx:pt>
          <cx:pt idx="43032">5</cx:pt>
          <cx:pt idx="43033">4</cx:pt>
          <cx:pt idx="43034">1</cx:pt>
          <cx:pt idx="43035">3</cx:pt>
          <cx:pt idx="43036">3</cx:pt>
          <cx:pt idx="43037">2</cx:pt>
          <cx:pt idx="43038">2</cx:pt>
          <cx:pt idx="43039">4</cx:pt>
          <cx:pt idx="43040">3</cx:pt>
          <cx:pt idx="43041">2</cx:pt>
          <cx:pt idx="43042">2</cx:pt>
          <cx:pt idx="43043">4</cx:pt>
          <cx:pt idx="43044">3</cx:pt>
          <cx:pt idx="43045">3</cx:pt>
          <cx:pt idx="43046">2</cx:pt>
          <cx:pt idx="43047">4</cx:pt>
          <cx:pt idx="43048">3</cx:pt>
          <cx:pt idx="43049">2</cx:pt>
          <cx:pt idx="43050">2</cx:pt>
          <cx:pt idx="43051">5</cx:pt>
          <cx:pt idx="43052">1</cx:pt>
          <cx:pt idx="43053">1</cx:pt>
          <cx:pt idx="43054">2</cx:pt>
          <cx:pt idx="43055">3</cx:pt>
          <cx:pt idx="43056">3</cx:pt>
          <cx:pt idx="43057">5</cx:pt>
          <cx:pt idx="43058">2</cx:pt>
          <cx:pt idx="43059">1</cx:pt>
          <cx:pt idx="43060">4</cx:pt>
          <cx:pt idx="43061">5</cx:pt>
          <cx:pt idx="43062">1</cx:pt>
          <cx:pt idx="43063">2</cx:pt>
          <cx:pt idx="43064">4</cx:pt>
          <cx:pt idx="43065">4</cx:pt>
          <cx:pt idx="43066">1</cx:pt>
          <cx:pt idx="43067">2</cx:pt>
          <cx:pt idx="43068">3</cx:pt>
          <cx:pt idx="43069">3</cx:pt>
          <cx:pt idx="43070">2</cx:pt>
          <cx:pt idx="43071">3</cx:pt>
          <cx:pt idx="43072">2</cx:pt>
          <cx:pt idx="43073">5</cx:pt>
          <cx:pt idx="43074">4</cx:pt>
          <cx:pt idx="43075">2</cx:pt>
          <cx:pt idx="43076">3</cx:pt>
          <cx:pt idx="43077">2</cx:pt>
          <cx:pt idx="43078">4</cx:pt>
          <cx:pt idx="43079">4</cx:pt>
          <cx:pt idx="43080">3</cx:pt>
          <cx:pt idx="43081">1</cx:pt>
          <cx:pt idx="43082">3</cx:pt>
          <cx:pt idx="43083">1</cx:pt>
          <cx:pt idx="43084">3</cx:pt>
          <cx:pt idx="43085">3</cx:pt>
          <cx:pt idx="43086">1</cx:pt>
          <cx:pt idx="43087">3</cx:pt>
          <cx:pt idx="43088">2</cx:pt>
          <cx:pt idx="43089">2</cx:pt>
          <cx:pt idx="43090">0</cx:pt>
          <cx:pt idx="43091">2</cx:pt>
          <cx:pt idx="43092">4</cx:pt>
          <cx:pt idx="43093">0</cx:pt>
          <cx:pt idx="43094">3</cx:pt>
          <cx:pt idx="43095">5</cx:pt>
          <cx:pt idx="43096">4</cx:pt>
          <cx:pt idx="43097">2</cx:pt>
          <cx:pt idx="43098">5</cx:pt>
          <cx:pt idx="43099">1</cx:pt>
          <cx:pt idx="43100">3</cx:pt>
          <cx:pt idx="43101">5</cx:pt>
          <cx:pt idx="43102">1</cx:pt>
          <cx:pt idx="43103">4</cx:pt>
          <cx:pt idx="43104">2</cx:pt>
          <cx:pt idx="43105">5</cx:pt>
          <cx:pt idx="43106">3</cx:pt>
          <cx:pt idx="43107">1</cx:pt>
          <cx:pt idx="43108">4</cx:pt>
          <cx:pt idx="43109">1</cx:pt>
          <cx:pt idx="43110">1</cx:pt>
          <cx:pt idx="43111">4</cx:pt>
          <cx:pt idx="43112">3</cx:pt>
          <cx:pt idx="43113">3</cx:pt>
          <cx:pt idx="43114">2</cx:pt>
          <cx:pt idx="43115">4</cx:pt>
          <cx:pt idx="43116">4</cx:pt>
          <cx:pt idx="43117">3</cx:pt>
          <cx:pt idx="43118">2</cx:pt>
          <cx:pt idx="43119">0</cx:pt>
          <cx:pt idx="43120">3</cx:pt>
          <cx:pt idx="43121">4</cx:pt>
          <cx:pt idx="43122">4</cx:pt>
          <cx:pt idx="43123">2</cx:pt>
          <cx:pt idx="43124">4</cx:pt>
          <cx:pt idx="43125">3</cx:pt>
          <cx:pt idx="43126">1</cx:pt>
          <cx:pt idx="43127">5</cx:pt>
          <cx:pt idx="43128">5</cx:pt>
          <cx:pt idx="43129">3</cx:pt>
          <cx:pt idx="43130">1</cx:pt>
          <cx:pt idx="43131">1</cx:pt>
          <cx:pt idx="43132">3</cx:pt>
          <cx:pt idx="43133">1</cx:pt>
          <cx:pt idx="43134">4</cx:pt>
          <cx:pt idx="43135">4</cx:pt>
          <cx:pt idx="43136">1</cx:pt>
          <cx:pt idx="43137">2</cx:pt>
          <cx:pt idx="43138">1</cx:pt>
          <cx:pt idx="43139">4</cx:pt>
          <cx:pt idx="43140">1</cx:pt>
          <cx:pt idx="43141">1</cx:pt>
          <cx:pt idx="43142">2</cx:pt>
          <cx:pt idx="43143">0</cx:pt>
          <cx:pt idx="43144">5</cx:pt>
          <cx:pt idx="43145">4</cx:pt>
          <cx:pt idx="43146">2</cx:pt>
          <cx:pt idx="43147">4</cx:pt>
          <cx:pt idx="43148">5</cx:pt>
          <cx:pt idx="43149">1</cx:pt>
          <cx:pt idx="43150">3</cx:pt>
          <cx:pt idx="43151">4</cx:pt>
          <cx:pt idx="43152">2</cx:pt>
          <cx:pt idx="43153">3</cx:pt>
          <cx:pt idx="43154">4</cx:pt>
          <cx:pt idx="43155">4</cx:pt>
          <cx:pt idx="43156">4</cx:pt>
          <cx:pt idx="43157">3</cx:pt>
          <cx:pt idx="43158">1</cx:pt>
          <cx:pt idx="43159">5</cx:pt>
          <cx:pt idx="43160">2</cx:pt>
          <cx:pt idx="43161">4</cx:pt>
          <cx:pt idx="43162">2</cx:pt>
          <cx:pt idx="43163">3</cx:pt>
          <cx:pt idx="43164">1</cx:pt>
          <cx:pt idx="43165">1</cx:pt>
          <cx:pt idx="43166">2</cx:pt>
          <cx:pt idx="43167">2</cx:pt>
          <cx:pt idx="43168">4</cx:pt>
          <cx:pt idx="43169">1</cx:pt>
          <cx:pt idx="43170">0</cx:pt>
          <cx:pt idx="43171">3</cx:pt>
          <cx:pt idx="43172">5</cx:pt>
          <cx:pt idx="43173">2</cx:pt>
          <cx:pt idx="43174">1</cx:pt>
          <cx:pt idx="43175">2</cx:pt>
          <cx:pt idx="43176">3</cx:pt>
          <cx:pt idx="43177">4</cx:pt>
          <cx:pt idx="43178">3</cx:pt>
          <cx:pt idx="43179">2</cx:pt>
          <cx:pt idx="43180">0</cx:pt>
          <cx:pt idx="43181">2</cx:pt>
          <cx:pt idx="43182">2</cx:pt>
          <cx:pt idx="43183">3</cx:pt>
          <cx:pt idx="43184">5</cx:pt>
          <cx:pt idx="43185">0</cx:pt>
          <cx:pt idx="43186">3</cx:pt>
          <cx:pt idx="43187">2</cx:pt>
          <cx:pt idx="43188">0</cx:pt>
          <cx:pt idx="43189">2</cx:pt>
          <cx:pt idx="43190">5</cx:pt>
          <cx:pt idx="43191">1</cx:pt>
          <cx:pt idx="43192">1</cx:pt>
          <cx:pt idx="43193">2</cx:pt>
          <cx:pt idx="43194">1</cx:pt>
          <cx:pt idx="43195">5</cx:pt>
          <cx:pt idx="43196">5</cx:pt>
          <cx:pt idx="43197">4</cx:pt>
          <cx:pt idx="43198">2</cx:pt>
          <cx:pt idx="43199">5</cx:pt>
          <cx:pt idx="43200">2</cx:pt>
          <cx:pt idx="43201">2</cx:pt>
          <cx:pt idx="43202">2</cx:pt>
          <cx:pt idx="43203">2</cx:pt>
          <cx:pt idx="43204">1</cx:pt>
          <cx:pt idx="43205">4</cx:pt>
          <cx:pt idx="43206">3</cx:pt>
          <cx:pt idx="43207">2</cx:pt>
          <cx:pt idx="43208">1</cx:pt>
          <cx:pt idx="43209">3</cx:pt>
          <cx:pt idx="43210">1</cx:pt>
          <cx:pt idx="43211">1</cx:pt>
          <cx:pt idx="43212">2</cx:pt>
          <cx:pt idx="43213">0</cx:pt>
          <cx:pt idx="43214">4</cx:pt>
          <cx:pt idx="43215">3</cx:pt>
          <cx:pt idx="43216">4</cx:pt>
          <cx:pt idx="43217">2</cx:pt>
          <cx:pt idx="43218">3</cx:pt>
          <cx:pt idx="43219">5</cx:pt>
          <cx:pt idx="43220">5</cx:pt>
          <cx:pt idx="43221">5</cx:pt>
          <cx:pt idx="43222">1</cx:pt>
          <cx:pt idx="43223">5</cx:pt>
          <cx:pt idx="43224">5</cx:pt>
          <cx:pt idx="43225">1</cx:pt>
          <cx:pt idx="43226">4</cx:pt>
          <cx:pt idx="43227">3</cx:pt>
          <cx:pt idx="43228">1</cx:pt>
          <cx:pt idx="43229">1</cx:pt>
          <cx:pt idx="43230">2</cx:pt>
          <cx:pt idx="43231">4</cx:pt>
          <cx:pt idx="43232">4</cx:pt>
          <cx:pt idx="43233">2</cx:pt>
          <cx:pt idx="43234">3</cx:pt>
          <cx:pt idx="43235">2</cx:pt>
          <cx:pt idx="43236">4</cx:pt>
          <cx:pt idx="43237">4</cx:pt>
          <cx:pt idx="43238">1</cx:pt>
          <cx:pt idx="43239">2</cx:pt>
          <cx:pt idx="43240">3</cx:pt>
          <cx:pt idx="43241">4</cx:pt>
          <cx:pt idx="43242">2</cx:pt>
          <cx:pt idx="43243">1</cx:pt>
          <cx:pt idx="43244">1</cx:pt>
          <cx:pt idx="43245">5</cx:pt>
          <cx:pt idx="43246">3</cx:pt>
          <cx:pt idx="43247">2</cx:pt>
          <cx:pt idx="43248">3</cx:pt>
          <cx:pt idx="43249">1</cx:pt>
          <cx:pt idx="43250">4</cx:pt>
          <cx:pt idx="43251">4</cx:pt>
          <cx:pt idx="43252">4</cx:pt>
          <cx:pt idx="43253">0</cx:pt>
          <cx:pt idx="43254">2</cx:pt>
          <cx:pt idx="43255">2</cx:pt>
          <cx:pt idx="43256">5</cx:pt>
          <cx:pt idx="43257">3</cx:pt>
          <cx:pt idx="43258">3</cx:pt>
          <cx:pt idx="43259">3</cx:pt>
          <cx:pt idx="43260">2</cx:pt>
          <cx:pt idx="43261">0</cx:pt>
          <cx:pt idx="43262">3</cx:pt>
          <cx:pt idx="43263">3</cx:pt>
          <cx:pt idx="43264">4</cx:pt>
          <cx:pt idx="43265">4</cx:pt>
          <cx:pt idx="43266">2</cx:pt>
          <cx:pt idx="43267">5</cx:pt>
          <cx:pt idx="43268">4</cx:pt>
          <cx:pt idx="43269">5</cx:pt>
          <cx:pt idx="43270">1</cx:pt>
          <cx:pt idx="43271">4</cx:pt>
          <cx:pt idx="43272">4</cx:pt>
          <cx:pt idx="43273">3</cx:pt>
          <cx:pt idx="43274">2</cx:pt>
          <cx:pt idx="43275">1</cx:pt>
          <cx:pt idx="43276">3</cx:pt>
          <cx:pt idx="43277">2</cx:pt>
          <cx:pt idx="43278">4</cx:pt>
          <cx:pt idx="43279">4</cx:pt>
          <cx:pt idx="43280">3</cx:pt>
          <cx:pt idx="43281">0</cx:pt>
          <cx:pt idx="43282">2</cx:pt>
          <cx:pt idx="43283">5</cx:pt>
          <cx:pt idx="43284">2</cx:pt>
          <cx:pt idx="43285">4</cx:pt>
          <cx:pt idx="43286">1</cx:pt>
          <cx:pt idx="43287">4</cx:pt>
          <cx:pt idx="43288">4</cx:pt>
          <cx:pt idx="43289">1</cx:pt>
          <cx:pt idx="43290">5</cx:pt>
          <cx:pt idx="43291">3</cx:pt>
          <cx:pt idx="43292">2</cx:pt>
          <cx:pt idx="43293">2</cx:pt>
          <cx:pt idx="43294">1</cx:pt>
          <cx:pt idx="43295">2</cx:pt>
          <cx:pt idx="43296">3</cx:pt>
          <cx:pt idx="43297">1</cx:pt>
          <cx:pt idx="43298">1</cx:pt>
          <cx:pt idx="43299">4</cx:pt>
          <cx:pt idx="43300">3</cx:pt>
          <cx:pt idx="43301">1</cx:pt>
          <cx:pt idx="43302">0</cx:pt>
          <cx:pt idx="43303">1</cx:pt>
          <cx:pt idx="43304">4</cx:pt>
          <cx:pt idx="43305">5</cx:pt>
          <cx:pt idx="43306">3</cx:pt>
          <cx:pt idx="43307">1</cx:pt>
          <cx:pt idx="43308">3</cx:pt>
          <cx:pt idx="43309">5</cx:pt>
          <cx:pt idx="43310">0</cx:pt>
          <cx:pt idx="43311">5</cx:pt>
          <cx:pt idx="43312">3</cx:pt>
          <cx:pt idx="43313">5</cx:pt>
          <cx:pt idx="43314">5</cx:pt>
          <cx:pt idx="43315">2</cx:pt>
          <cx:pt idx="43316">4</cx:pt>
          <cx:pt idx="43317">4</cx:pt>
          <cx:pt idx="43318">2</cx:pt>
          <cx:pt idx="43319">4</cx:pt>
          <cx:pt idx="43320">2</cx:pt>
          <cx:pt idx="43321">5</cx:pt>
          <cx:pt idx="43322">2</cx:pt>
          <cx:pt idx="43323">1</cx:pt>
          <cx:pt idx="43324">4</cx:pt>
          <cx:pt idx="43325">5</cx:pt>
          <cx:pt idx="43326">5</cx:pt>
          <cx:pt idx="43327">2</cx:pt>
          <cx:pt idx="43328">0</cx:pt>
          <cx:pt idx="43329">3</cx:pt>
          <cx:pt idx="43330">4</cx:pt>
          <cx:pt idx="43331">2</cx:pt>
          <cx:pt idx="43332">0</cx:pt>
          <cx:pt idx="43333">3</cx:pt>
          <cx:pt idx="43334">1</cx:pt>
          <cx:pt idx="43335">3</cx:pt>
          <cx:pt idx="43336">1</cx:pt>
          <cx:pt idx="43337">1</cx:pt>
          <cx:pt idx="43338">4</cx:pt>
          <cx:pt idx="43339">3</cx:pt>
          <cx:pt idx="43340">1</cx:pt>
          <cx:pt idx="43341">2</cx:pt>
          <cx:pt idx="43342">3</cx:pt>
          <cx:pt idx="43343">3</cx:pt>
          <cx:pt idx="43344">3</cx:pt>
          <cx:pt idx="43345">3</cx:pt>
          <cx:pt idx="43346">2</cx:pt>
          <cx:pt idx="43347">1</cx:pt>
          <cx:pt idx="43348">4</cx:pt>
          <cx:pt idx="43349">3</cx:pt>
          <cx:pt idx="43350">1</cx:pt>
          <cx:pt idx="43351">2</cx:pt>
          <cx:pt idx="43352">3</cx:pt>
          <cx:pt idx="43353">3</cx:pt>
          <cx:pt idx="43354">5</cx:pt>
          <cx:pt idx="43355">5</cx:pt>
          <cx:pt idx="43356">3</cx:pt>
          <cx:pt idx="43357">4</cx:pt>
          <cx:pt idx="43358">4</cx:pt>
          <cx:pt idx="43359">3</cx:pt>
          <cx:pt idx="43360">1</cx:pt>
          <cx:pt idx="43361">4</cx:pt>
          <cx:pt idx="43362">1</cx:pt>
          <cx:pt idx="43363">2</cx:pt>
          <cx:pt idx="43364">3</cx:pt>
          <cx:pt idx="43365">2</cx:pt>
          <cx:pt idx="43366">3</cx:pt>
          <cx:pt idx="43367">4</cx:pt>
          <cx:pt idx="43368">4</cx:pt>
          <cx:pt idx="43369">4</cx:pt>
          <cx:pt idx="43370">2</cx:pt>
          <cx:pt idx="43371">2</cx:pt>
          <cx:pt idx="43372">2</cx:pt>
          <cx:pt idx="43373">2</cx:pt>
          <cx:pt idx="43374">2</cx:pt>
          <cx:pt idx="43375">3</cx:pt>
          <cx:pt idx="43376">1</cx:pt>
          <cx:pt idx="43377">1</cx:pt>
          <cx:pt idx="43378">4</cx:pt>
          <cx:pt idx="43379">2</cx:pt>
          <cx:pt idx="43380">4</cx:pt>
          <cx:pt idx="43381">3</cx:pt>
          <cx:pt idx="43382">2</cx:pt>
          <cx:pt idx="43383">4</cx:pt>
          <cx:pt idx="43384">3</cx:pt>
          <cx:pt idx="43385">1</cx:pt>
          <cx:pt idx="43386">2</cx:pt>
          <cx:pt idx="43387">3</cx:pt>
          <cx:pt idx="43388">4</cx:pt>
          <cx:pt idx="43389">1</cx:pt>
          <cx:pt idx="43390">4</cx:pt>
          <cx:pt idx="43391">2</cx:pt>
          <cx:pt idx="43392">1</cx:pt>
          <cx:pt idx="43393">1</cx:pt>
          <cx:pt idx="43394">1</cx:pt>
          <cx:pt idx="43395">4</cx:pt>
          <cx:pt idx="43396">1</cx:pt>
          <cx:pt idx="43397">5</cx:pt>
          <cx:pt idx="43398">5</cx:pt>
          <cx:pt idx="43399">4</cx:pt>
          <cx:pt idx="43400">2</cx:pt>
          <cx:pt idx="43401">2</cx:pt>
          <cx:pt idx="43402">4</cx:pt>
          <cx:pt idx="43403">3</cx:pt>
          <cx:pt idx="43404">1</cx:pt>
          <cx:pt idx="43405">3</cx:pt>
          <cx:pt idx="43406">4</cx:pt>
          <cx:pt idx="43407">3</cx:pt>
          <cx:pt idx="43408">2</cx:pt>
          <cx:pt idx="43409">2</cx:pt>
          <cx:pt idx="43410">2</cx:pt>
          <cx:pt idx="43411">2</cx:pt>
          <cx:pt idx="43412">2</cx:pt>
          <cx:pt idx="43413">4</cx:pt>
          <cx:pt idx="43414">2</cx:pt>
          <cx:pt idx="43415">2</cx:pt>
          <cx:pt idx="43416">3</cx:pt>
          <cx:pt idx="43417">1</cx:pt>
          <cx:pt idx="43418">2</cx:pt>
          <cx:pt idx="43419">5</cx:pt>
          <cx:pt idx="43420">5</cx:pt>
          <cx:pt idx="43421">2</cx:pt>
          <cx:pt idx="43422">4</cx:pt>
          <cx:pt idx="43423">5</cx:pt>
          <cx:pt idx="43424">3</cx:pt>
          <cx:pt idx="43425">4</cx:pt>
          <cx:pt idx="43426">4</cx:pt>
          <cx:pt idx="43427">4</cx:pt>
          <cx:pt idx="43428">2</cx:pt>
          <cx:pt idx="43429">4</cx:pt>
          <cx:pt idx="43430">4</cx:pt>
          <cx:pt idx="43431">4</cx:pt>
          <cx:pt idx="43432">0</cx:pt>
          <cx:pt idx="43433">1</cx:pt>
          <cx:pt idx="43434">2</cx:pt>
          <cx:pt idx="43435">5</cx:pt>
          <cx:pt idx="43436">0</cx:pt>
          <cx:pt idx="43437">2</cx:pt>
          <cx:pt idx="43438">4</cx:pt>
          <cx:pt idx="43439">4</cx:pt>
          <cx:pt idx="43440">3</cx:pt>
          <cx:pt idx="43441">1</cx:pt>
          <cx:pt idx="43442">4</cx:pt>
          <cx:pt idx="43443">1</cx:pt>
          <cx:pt idx="43444">4</cx:pt>
          <cx:pt idx="43445">5</cx:pt>
          <cx:pt idx="43446">5</cx:pt>
          <cx:pt idx="43447">4</cx:pt>
          <cx:pt idx="43448">3</cx:pt>
          <cx:pt idx="43449">5</cx:pt>
          <cx:pt idx="43450">0</cx:pt>
          <cx:pt idx="43451">4</cx:pt>
          <cx:pt idx="43452">3</cx:pt>
          <cx:pt idx="43453">4</cx:pt>
          <cx:pt idx="43454">5</cx:pt>
          <cx:pt idx="43455">5</cx:pt>
          <cx:pt idx="43456">5</cx:pt>
          <cx:pt idx="43457">1</cx:pt>
          <cx:pt idx="43458">4</cx:pt>
          <cx:pt idx="43459">2</cx:pt>
          <cx:pt idx="43460">5</cx:pt>
          <cx:pt idx="43461">4</cx:pt>
          <cx:pt idx="43462">3</cx:pt>
          <cx:pt idx="43463">4</cx:pt>
          <cx:pt idx="43464">1</cx:pt>
          <cx:pt idx="43465">1</cx:pt>
          <cx:pt idx="43466">0</cx:pt>
          <cx:pt idx="43467">1</cx:pt>
          <cx:pt idx="43468">2</cx:pt>
          <cx:pt idx="43469">1</cx:pt>
          <cx:pt idx="43470">2</cx:pt>
          <cx:pt idx="43471">5</cx:pt>
          <cx:pt idx="43472">2</cx:pt>
          <cx:pt idx="43473">3</cx:pt>
          <cx:pt idx="43474">3</cx:pt>
          <cx:pt idx="43475">2</cx:pt>
          <cx:pt idx="43476">3</cx:pt>
          <cx:pt idx="43477">1</cx:pt>
          <cx:pt idx="43478">4</cx:pt>
          <cx:pt idx="43479">4</cx:pt>
          <cx:pt idx="43480">5</cx:pt>
          <cx:pt idx="43481">3</cx:pt>
          <cx:pt idx="43482">2</cx:pt>
          <cx:pt idx="43483">4</cx:pt>
          <cx:pt idx="43484">3</cx:pt>
          <cx:pt idx="43485">1</cx:pt>
          <cx:pt idx="43486">5</cx:pt>
          <cx:pt idx="43487">1</cx:pt>
          <cx:pt idx="43488">4</cx:pt>
          <cx:pt idx="43489">1</cx:pt>
          <cx:pt idx="43490">4</cx:pt>
          <cx:pt idx="43491">4</cx:pt>
          <cx:pt idx="43492">4</cx:pt>
          <cx:pt idx="43493">5</cx:pt>
          <cx:pt idx="43494">3</cx:pt>
          <cx:pt idx="43495">4</cx:pt>
          <cx:pt idx="43496">2</cx:pt>
          <cx:pt idx="43497">3</cx:pt>
          <cx:pt idx="43498">2</cx:pt>
          <cx:pt idx="43499">4</cx:pt>
          <cx:pt idx="43500">0</cx:pt>
          <cx:pt idx="43501">1</cx:pt>
          <cx:pt idx="43502">4</cx:pt>
          <cx:pt idx="43503">3</cx:pt>
          <cx:pt idx="43504">5</cx:pt>
          <cx:pt idx="43505">4</cx:pt>
          <cx:pt idx="43506">2</cx:pt>
          <cx:pt idx="43507">1</cx:pt>
          <cx:pt idx="43508">1</cx:pt>
          <cx:pt idx="43509">5</cx:pt>
          <cx:pt idx="43510">3</cx:pt>
          <cx:pt idx="43511">3</cx:pt>
          <cx:pt idx="43512">3</cx:pt>
          <cx:pt idx="43513">2</cx:pt>
          <cx:pt idx="43514">3</cx:pt>
          <cx:pt idx="43515">4</cx:pt>
          <cx:pt idx="43516">5</cx:pt>
          <cx:pt idx="43517">2</cx:pt>
          <cx:pt idx="43518">2</cx:pt>
          <cx:pt idx="43519">3</cx:pt>
          <cx:pt idx="43520">5</cx:pt>
          <cx:pt idx="43521">4</cx:pt>
          <cx:pt idx="43522">1</cx:pt>
          <cx:pt idx="43523">3</cx:pt>
          <cx:pt idx="43524">0</cx:pt>
          <cx:pt idx="43525">0</cx:pt>
          <cx:pt idx="43526">2</cx:pt>
          <cx:pt idx="43527">2</cx:pt>
          <cx:pt idx="43528">3</cx:pt>
          <cx:pt idx="43529">1</cx:pt>
          <cx:pt idx="43530">3</cx:pt>
          <cx:pt idx="43531">4</cx:pt>
          <cx:pt idx="43532">5</cx:pt>
          <cx:pt idx="43533">3</cx:pt>
          <cx:pt idx="43534">0</cx:pt>
          <cx:pt idx="43535">3</cx:pt>
          <cx:pt idx="43536">2</cx:pt>
          <cx:pt idx="43537">0</cx:pt>
          <cx:pt idx="43538">4</cx:pt>
          <cx:pt idx="43539">5</cx:pt>
          <cx:pt idx="43540">2</cx:pt>
          <cx:pt idx="43541">2</cx:pt>
          <cx:pt idx="43542">4</cx:pt>
          <cx:pt idx="43543">2</cx:pt>
          <cx:pt idx="43544">1</cx:pt>
          <cx:pt idx="43545">4</cx:pt>
          <cx:pt idx="43546">0</cx:pt>
          <cx:pt idx="43547">2</cx:pt>
          <cx:pt idx="43548">5</cx:pt>
          <cx:pt idx="43549">2</cx:pt>
          <cx:pt idx="43550">1</cx:pt>
          <cx:pt idx="43551">2</cx:pt>
          <cx:pt idx="43552">4</cx:pt>
          <cx:pt idx="43553">2</cx:pt>
          <cx:pt idx="43554">3</cx:pt>
          <cx:pt idx="43555">4</cx:pt>
          <cx:pt idx="43556">3</cx:pt>
          <cx:pt idx="43557">3</cx:pt>
          <cx:pt idx="43558">1</cx:pt>
          <cx:pt idx="43559">2</cx:pt>
          <cx:pt idx="43560">4</cx:pt>
          <cx:pt idx="43561">2</cx:pt>
          <cx:pt idx="43562">2</cx:pt>
          <cx:pt idx="43563">2</cx:pt>
          <cx:pt idx="43564">3</cx:pt>
          <cx:pt idx="43565">3</cx:pt>
          <cx:pt idx="43566">2</cx:pt>
          <cx:pt idx="43567">2</cx:pt>
          <cx:pt idx="43568">3</cx:pt>
          <cx:pt idx="43569">4</cx:pt>
          <cx:pt idx="43570">4</cx:pt>
          <cx:pt idx="43571">4</cx:pt>
          <cx:pt idx="43572">3</cx:pt>
          <cx:pt idx="43573">2</cx:pt>
          <cx:pt idx="43574">3</cx:pt>
          <cx:pt idx="43575">1</cx:pt>
          <cx:pt idx="43576">3</cx:pt>
          <cx:pt idx="43577">2</cx:pt>
          <cx:pt idx="43578">5</cx:pt>
          <cx:pt idx="43579">1</cx:pt>
          <cx:pt idx="43580">2</cx:pt>
          <cx:pt idx="43581">1</cx:pt>
          <cx:pt idx="43582">1</cx:pt>
          <cx:pt idx="43583">5</cx:pt>
          <cx:pt idx="43584">4</cx:pt>
          <cx:pt idx="43585">4</cx:pt>
          <cx:pt idx="43586">3</cx:pt>
          <cx:pt idx="43587">4</cx:pt>
          <cx:pt idx="43588">4</cx:pt>
          <cx:pt idx="43589">3</cx:pt>
          <cx:pt idx="43590">5</cx:pt>
          <cx:pt idx="43591">3</cx:pt>
          <cx:pt idx="43592">5</cx:pt>
          <cx:pt idx="43593">1</cx:pt>
          <cx:pt idx="43594">3</cx:pt>
          <cx:pt idx="43595">1</cx:pt>
          <cx:pt idx="43596">1</cx:pt>
          <cx:pt idx="43597">4</cx:pt>
          <cx:pt idx="43598">5</cx:pt>
          <cx:pt idx="43599">1</cx:pt>
          <cx:pt idx="43600">4</cx:pt>
          <cx:pt idx="43601">0</cx:pt>
          <cx:pt idx="43602">1</cx:pt>
          <cx:pt idx="43603">4</cx:pt>
          <cx:pt idx="43604">3</cx:pt>
          <cx:pt idx="43605">2</cx:pt>
          <cx:pt idx="43606">1</cx:pt>
          <cx:pt idx="43607">2</cx:pt>
          <cx:pt idx="43608">3</cx:pt>
          <cx:pt idx="43609">4</cx:pt>
          <cx:pt idx="43610">2</cx:pt>
          <cx:pt idx="43611">5</cx:pt>
          <cx:pt idx="43612">4</cx:pt>
          <cx:pt idx="43613">3</cx:pt>
          <cx:pt idx="43614">2</cx:pt>
          <cx:pt idx="43615">2</cx:pt>
          <cx:pt idx="43616">3</cx:pt>
          <cx:pt idx="43617">4</cx:pt>
          <cx:pt idx="43618">3</cx:pt>
          <cx:pt idx="43619">3</cx:pt>
          <cx:pt idx="43620">4</cx:pt>
          <cx:pt idx="43621">1</cx:pt>
          <cx:pt idx="43622">4</cx:pt>
          <cx:pt idx="43623">5</cx:pt>
          <cx:pt idx="43624">4</cx:pt>
          <cx:pt idx="43625">1</cx:pt>
          <cx:pt idx="43626">4</cx:pt>
          <cx:pt idx="43627">1</cx:pt>
          <cx:pt idx="43628">2</cx:pt>
          <cx:pt idx="43629">1</cx:pt>
          <cx:pt idx="43630">4</cx:pt>
          <cx:pt idx="43631">3</cx:pt>
          <cx:pt idx="43632">3</cx:pt>
          <cx:pt idx="43633">0</cx:pt>
          <cx:pt idx="43634">3</cx:pt>
          <cx:pt idx="43635">3</cx:pt>
          <cx:pt idx="43636">3</cx:pt>
          <cx:pt idx="43637">3</cx:pt>
          <cx:pt idx="43638">4</cx:pt>
          <cx:pt idx="43639">4</cx:pt>
          <cx:pt idx="43640">1</cx:pt>
          <cx:pt idx="43641">5</cx:pt>
          <cx:pt idx="43642">1</cx:pt>
          <cx:pt idx="43643">5</cx:pt>
          <cx:pt idx="43644">3</cx:pt>
          <cx:pt idx="43645">4</cx:pt>
          <cx:pt idx="43646">3</cx:pt>
          <cx:pt idx="43647">4</cx:pt>
          <cx:pt idx="43648">2</cx:pt>
          <cx:pt idx="43649">5</cx:pt>
          <cx:pt idx="43650">4</cx:pt>
          <cx:pt idx="43651">3</cx:pt>
          <cx:pt idx="43652">4</cx:pt>
          <cx:pt idx="43653">2</cx:pt>
          <cx:pt idx="43654">3</cx:pt>
          <cx:pt idx="43655">3</cx:pt>
          <cx:pt idx="43656">4</cx:pt>
          <cx:pt idx="43657">2</cx:pt>
          <cx:pt idx="43658">3</cx:pt>
          <cx:pt idx="43659">2</cx:pt>
          <cx:pt idx="43660">2</cx:pt>
          <cx:pt idx="43661">0</cx:pt>
          <cx:pt idx="43662">5</cx:pt>
          <cx:pt idx="43663">0</cx:pt>
          <cx:pt idx="43664">4</cx:pt>
          <cx:pt idx="43665">3</cx:pt>
          <cx:pt idx="43666">1</cx:pt>
          <cx:pt idx="43667">4</cx:pt>
          <cx:pt idx="43668">0</cx:pt>
          <cx:pt idx="43669">2</cx:pt>
          <cx:pt idx="43670">1</cx:pt>
          <cx:pt idx="43671">5</cx:pt>
          <cx:pt idx="43672">2</cx:pt>
          <cx:pt idx="43673">1</cx:pt>
          <cx:pt idx="43674">4</cx:pt>
          <cx:pt idx="43675">1</cx:pt>
          <cx:pt idx="43676">3</cx:pt>
          <cx:pt idx="43677">1</cx:pt>
          <cx:pt idx="43678">5</cx:pt>
          <cx:pt idx="43679">5</cx:pt>
          <cx:pt idx="43680">1</cx:pt>
          <cx:pt idx="43681">4</cx:pt>
          <cx:pt idx="43682">1</cx:pt>
          <cx:pt idx="43683">3</cx:pt>
          <cx:pt idx="43684">4</cx:pt>
          <cx:pt idx="43685">4</cx:pt>
          <cx:pt idx="43686">2</cx:pt>
          <cx:pt idx="43687">4</cx:pt>
          <cx:pt idx="43688">4</cx:pt>
          <cx:pt idx="43689">1</cx:pt>
          <cx:pt idx="43690">5</cx:pt>
          <cx:pt idx="43691">1</cx:pt>
          <cx:pt idx="43692">4</cx:pt>
          <cx:pt idx="43693">4</cx:pt>
          <cx:pt idx="43694">3</cx:pt>
          <cx:pt idx="43695">3</cx:pt>
          <cx:pt idx="43696">2</cx:pt>
          <cx:pt idx="43697">5</cx:pt>
          <cx:pt idx="43698">2</cx:pt>
          <cx:pt idx="43699">3</cx:pt>
          <cx:pt idx="43700">2</cx:pt>
          <cx:pt idx="43701">3</cx:pt>
          <cx:pt idx="43702">4</cx:pt>
          <cx:pt idx="43703">4</cx:pt>
          <cx:pt idx="43704">3</cx:pt>
          <cx:pt idx="43705">2</cx:pt>
          <cx:pt idx="43706">4</cx:pt>
          <cx:pt idx="43707">4</cx:pt>
          <cx:pt idx="43708">4</cx:pt>
          <cx:pt idx="43709">2</cx:pt>
          <cx:pt idx="43710">5</cx:pt>
          <cx:pt idx="43711">4</cx:pt>
          <cx:pt idx="43712">2</cx:pt>
          <cx:pt idx="43713">5</cx:pt>
          <cx:pt idx="43714">3</cx:pt>
          <cx:pt idx="43715">2</cx:pt>
          <cx:pt idx="43716">2</cx:pt>
          <cx:pt idx="43717">1</cx:pt>
          <cx:pt idx="43718">1</cx:pt>
          <cx:pt idx="43719">2</cx:pt>
          <cx:pt idx="43720">3</cx:pt>
          <cx:pt idx="43721">4</cx:pt>
          <cx:pt idx="43722">5</cx:pt>
          <cx:pt idx="43723">5</cx:pt>
          <cx:pt idx="43724">2</cx:pt>
          <cx:pt idx="43725">2</cx:pt>
          <cx:pt idx="43726">4</cx:pt>
          <cx:pt idx="43727">3</cx:pt>
          <cx:pt idx="43728">2</cx:pt>
          <cx:pt idx="43729">4</cx:pt>
          <cx:pt idx="43730">3</cx:pt>
          <cx:pt idx="43731">3</cx:pt>
          <cx:pt idx="43732">4</cx:pt>
          <cx:pt idx="43733">2</cx:pt>
          <cx:pt idx="43734">4</cx:pt>
          <cx:pt idx="43735">5</cx:pt>
          <cx:pt idx="43736">1</cx:pt>
          <cx:pt idx="43737">4</cx:pt>
          <cx:pt idx="43738">3</cx:pt>
          <cx:pt idx="43739">3</cx:pt>
          <cx:pt idx="43740">2</cx:pt>
          <cx:pt idx="43741">2</cx:pt>
          <cx:pt idx="43742">4</cx:pt>
          <cx:pt idx="43743">1</cx:pt>
          <cx:pt idx="43744">4</cx:pt>
          <cx:pt idx="43745">3</cx:pt>
          <cx:pt idx="43746">3</cx:pt>
          <cx:pt idx="43747">2</cx:pt>
          <cx:pt idx="43748">2</cx:pt>
          <cx:pt idx="43749">1</cx:pt>
          <cx:pt idx="43750">2</cx:pt>
          <cx:pt idx="43751">3</cx:pt>
          <cx:pt idx="43752">3</cx:pt>
          <cx:pt idx="43753">4</cx:pt>
          <cx:pt idx="43754">1</cx:pt>
          <cx:pt idx="43755">3</cx:pt>
          <cx:pt idx="43756">4</cx:pt>
          <cx:pt idx="43757">2</cx:pt>
          <cx:pt idx="43758">4</cx:pt>
          <cx:pt idx="43759">5</cx:pt>
          <cx:pt idx="43760">2</cx:pt>
          <cx:pt idx="43761">0</cx:pt>
          <cx:pt idx="43762">1</cx:pt>
          <cx:pt idx="43763">2</cx:pt>
          <cx:pt idx="43764">1</cx:pt>
          <cx:pt idx="43765">3</cx:pt>
          <cx:pt idx="43766">5</cx:pt>
          <cx:pt idx="43767">2</cx:pt>
          <cx:pt idx="43768">1</cx:pt>
          <cx:pt idx="43769">2</cx:pt>
          <cx:pt idx="43770">2</cx:pt>
          <cx:pt idx="43771">2</cx:pt>
          <cx:pt idx="43772">1</cx:pt>
          <cx:pt idx="43773">0</cx:pt>
          <cx:pt idx="43774">4</cx:pt>
          <cx:pt idx="43775">5</cx:pt>
          <cx:pt idx="43776">4</cx:pt>
          <cx:pt idx="43777">4</cx:pt>
          <cx:pt idx="43778">2</cx:pt>
          <cx:pt idx="43779">5</cx:pt>
          <cx:pt idx="43780">1</cx:pt>
          <cx:pt idx="43781">2</cx:pt>
          <cx:pt idx="43782">5</cx:pt>
          <cx:pt idx="43783">1</cx:pt>
          <cx:pt idx="43784">1</cx:pt>
          <cx:pt idx="43785">1</cx:pt>
          <cx:pt idx="43786">5</cx:pt>
          <cx:pt idx="43787">3</cx:pt>
          <cx:pt idx="43788">1</cx:pt>
          <cx:pt idx="43789">3</cx:pt>
          <cx:pt idx="43790">4</cx:pt>
          <cx:pt idx="43791">1</cx:pt>
          <cx:pt idx="43792">1</cx:pt>
          <cx:pt idx="43793">3</cx:pt>
          <cx:pt idx="43794">2</cx:pt>
          <cx:pt idx="43795">5</cx:pt>
          <cx:pt idx="43796">3</cx:pt>
          <cx:pt idx="43797">1</cx:pt>
          <cx:pt idx="43798">3</cx:pt>
          <cx:pt idx="43799">5</cx:pt>
          <cx:pt idx="43800">2</cx:pt>
          <cx:pt idx="43801">3</cx:pt>
          <cx:pt idx="43802">4</cx:pt>
          <cx:pt idx="43803">0</cx:pt>
          <cx:pt idx="43804">4</cx:pt>
          <cx:pt idx="43805">3</cx:pt>
          <cx:pt idx="43806">2</cx:pt>
          <cx:pt idx="43807">2</cx:pt>
          <cx:pt idx="43808">5</cx:pt>
          <cx:pt idx="43809">3</cx:pt>
          <cx:pt idx="43810">4</cx:pt>
          <cx:pt idx="43811">1</cx:pt>
          <cx:pt idx="43812">5</cx:pt>
          <cx:pt idx="43813">4</cx:pt>
          <cx:pt idx="43814">5</cx:pt>
          <cx:pt idx="43815">5</cx:pt>
          <cx:pt idx="43816">2</cx:pt>
          <cx:pt idx="43817">3</cx:pt>
          <cx:pt idx="43818">4</cx:pt>
          <cx:pt idx="43819">2</cx:pt>
          <cx:pt idx="43820">5</cx:pt>
          <cx:pt idx="43821">3</cx:pt>
          <cx:pt idx="43822">3</cx:pt>
          <cx:pt idx="43823">2</cx:pt>
          <cx:pt idx="43824">4</cx:pt>
          <cx:pt idx="43825">1</cx:pt>
          <cx:pt idx="43826">5</cx:pt>
          <cx:pt idx="43827">3</cx:pt>
          <cx:pt idx="43828">1</cx:pt>
          <cx:pt idx="43829">2</cx:pt>
          <cx:pt idx="43830">3</cx:pt>
          <cx:pt idx="43831">2</cx:pt>
          <cx:pt idx="43832">4</cx:pt>
          <cx:pt idx="43833">4</cx:pt>
          <cx:pt idx="43834">0</cx:pt>
          <cx:pt idx="43835">5</cx:pt>
          <cx:pt idx="43836">4</cx:pt>
          <cx:pt idx="43837">2</cx:pt>
          <cx:pt idx="43838">2</cx:pt>
          <cx:pt idx="43839">1</cx:pt>
          <cx:pt idx="43840">5</cx:pt>
          <cx:pt idx="43841">5</cx:pt>
          <cx:pt idx="43842">3</cx:pt>
          <cx:pt idx="43843">2</cx:pt>
          <cx:pt idx="43844">4</cx:pt>
          <cx:pt idx="43845">4</cx:pt>
          <cx:pt idx="43846">2</cx:pt>
          <cx:pt idx="43847">1</cx:pt>
          <cx:pt idx="43848">4</cx:pt>
          <cx:pt idx="43849">0</cx:pt>
          <cx:pt idx="43850">2</cx:pt>
          <cx:pt idx="43851">3</cx:pt>
          <cx:pt idx="43852">5</cx:pt>
          <cx:pt idx="43853">2</cx:pt>
          <cx:pt idx="43854">2</cx:pt>
          <cx:pt idx="43855">5</cx:pt>
          <cx:pt idx="43856">4</cx:pt>
          <cx:pt idx="43857">3</cx:pt>
          <cx:pt idx="43858">2</cx:pt>
          <cx:pt idx="43859">1</cx:pt>
          <cx:pt idx="43860">3</cx:pt>
          <cx:pt idx="43861">1</cx:pt>
          <cx:pt idx="43862">4</cx:pt>
          <cx:pt idx="43863">1</cx:pt>
          <cx:pt idx="43864">3</cx:pt>
          <cx:pt idx="43865">2</cx:pt>
          <cx:pt idx="43866">2</cx:pt>
          <cx:pt idx="43867">1</cx:pt>
          <cx:pt idx="43868">3</cx:pt>
          <cx:pt idx="43869">2</cx:pt>
          <cx:pt idx="43870">5</cx:pt>
          <cx:pt idx="43871">4</cx:pt>
          <cx:pt idx="43872">5</cx:pt>
          <cx:pt idx="43873">4</cx:pt>
          <cx:pt idx="43874">5</cx:pt>
          <cx:pt idx="43875">3</cx:pt>
          <cx:pt idx="43876">2</cx:pt>
          <cx:pt idx="43877">3</cx:pt>
          <cx:pt idx="43878">2</cx:pt>
          <cx:pt idx="43879">4</cx:pt>
          <cx:pt idx="43880">5</cx:pt>
          <cx:pt idx="43881">5</cx:pt>
          <cx:pt idx="43882">3</cx:pt>
          <cx:pt idx="43883">5</cx:pt>
          <cx:pt idx="43884">4</cx:pt>
          <cx:pt idx="43885">1</cx:pt>
          <cx:pt idx="43886">3</cx:pt>
          <cx:pt idx="43887">0</cx:pt>
          <cx:pt idx="43888">1</cx:pt>
          <cx:pt idx="43889">3</cx:pt>
          <cx:pt idx="43890">4</cx:pt>
          <cx:pt idx="43891">4</cx:pt>
          <cx:pt idx="43892">5</cx:pt>
          <cx:pt idx="43893">0</cx:pt>
          <cx:pt idx="43894">1</cx:pt>
          <cx:pt idx="43895">3</cx:pt>
          <cx:pt idx="43896">5</cx:pt>
          <cx:pt idx="43897">2</cx:pt>
          <cx:pt idx="43898">2</cx:pt>
          <cx:pt idx="43899">5</cx:pt>
          <cx:pt idx="43900">2</cx:pt>
          <cx:pt idx="43901">5</cx:pt>
          <cx:pt idx="43902">5</cx:pt>
          <cx:pt idx="43903">5</cx:pt>
          <cx:pt idx="43904">5</cx:pt>
          <cx:pt idx="43905">4</cx:pt>
          <cx:pt idx="43906">3</cx:pt>
          <cx:pt idx="43907">0</cx:pt>
          <cx:pt idx="43908">4</cx:pt>
          <cx:pt idx="43909">5</cx:pt>
          <cx:pt idx="43910">3</cx:pt>
          <cx:pt idx="43911">1</cx:pt>
          <cx:pt idx="43912">5</cx:pt>
          <cx:pt idx="43913">3</cx:pt>
          <cx:pt idx="43914">4</cx:pt>
          <cx:pt idx="43915">5</cx:pt>
          <cx:pt idx="43916">1</cx:pt>
          <cx:pt idx="43917">3</cx:pt>
          <cx:pt idx="43918">5</cx:pt>
          <cx:pt idx="43919">3</cx:pt>
          <cx:pt idx="43920">2</cx:pt>
          <cx:pt idx="43921">2</cx:pt>
          <cx:pt idx="43922">3</cx:pt>
          <cx:pt idx="43923">3</cx:pt>
          <cx:pt idx="43924">3</cx:pt>
          <cx:pt idx="43925">2</cx:pt>
          <cx:pt idx="43926">3</cx:pt>
          <cx:pt idx="43927">1</cx:pt>
          <cx:pt idx="43928">1</cx:pt>
          <cx:pt idx="43929">4</cx:pt>
          <cx:pt idx="43930">4</cx:pt>
          <cx:pt idx="43931">5</cx:pt>
          <cx:pt idx="43932">2</cx:pt>
          <cx:pt idx="43933">3</cx:pt>
          <cx:pt idx="43934">1</cx:pt>
          <cx:pt idx="43935">2</cx:pt>
          <cx:pt idx="43936">0</cx:pt>
          <cx:pt idx="43937">3</cx:pt>
          <cx:pt idx="43938">2</cx:pt>
          <cx:pt idx="43939">2</cx:pt>
          <cx:pt idx="43940">1</cx:pt>
          <cx:pt idx="43941">2</cx:pt>
          <cx:pt idx="43942">5</cx:pt>
          <cx:pt idx="43943">5</cx:pt>
          <cx:pt idx="43944">5</cx:pt>
          <cx:pt idx="43945">3</cx:pt>
          <cx:pt idx="43946">2</cx:pt>
          <cx:pt idx="43947">1</cx:pt>
          <cx:pt idx="43948">2</cx:pt>
          <cx:pt idx="43949">1</cx:pt>
          <cx:pt idx="43950">3</cx:pt>
          <cx:pt idx="43951">5</cx:pt>
          <cx:pt idx="43952">2</cx:pt>
          <cx:pt idx="43953">2</cx:pt>
          <cx:pt idx="43954">5</cx:pt>
          <cx:pt idx="43955">2</cx:pt>
          <cx:pt idx="43956">5</cx:pt>
          <cx:pt idx="43957">4</cx:pt>
          <cx:pt idx="43958">1</cx:pt>
          <cx:pt idx="43959">2</cx:pt>
          <cx:pt idx="43960">2</cx:pt>
          <cx:pt idx="43961">5</cx:pt>
          <cx:pt idx="43962">1</cx:pt>
          <cx:pt idx="43963">2</cx:pt>
          <cx:pt idx="43964">3</cx:pt>
          <cx:pt idx="43965">4</cx:pt>
          <cx:pt idx="43966">3</cx:pt>
          <cx:pt idx="43967">3</cx:pt>
          <cx:pt idx="43968">5</cx:pt>
          <cx:pt idx="43969">0</cx:pt>
          <cx:pt idx="43970">3</cx:pt>
          <cx:pt idx="43971">2</cx:pt>
          <cx:pt idx="43972">1</cx:pt>
          <cx:pt idx="43973">4</cx:pt>
          <cx:pt idx="43974">1</cx:pt>
          <cx:pt idx="43975">4</cx:pt>
          <cx:pt idx="43976">3</cx:pt>
          <cx:pt idx="43977">3</cx:pt>
          <cx:pt idx="43978">1</cx:pt>
          <cx:pt idx="43979">4</cx:pt>
          <cx:pt idx="43980">4</cx:pt>
          <cx:pt idx="43981">1</cx:pt>
          <cx:pt idx="43982">3</cx:pt>
          <cx:pt idx="43983">5</cx:pt>
          <cx:pt idx="43984">2</cx:pt>
          <cx:pt idx="43985">5</cx:pt>
          <cx:pt idx="43986">5</cx:pt>
          <cx:pt idx="43987">1</cx:pt>
          <cx:pt idx="43988">2</cx:pt>
          <cx:pt idx="43989">3</cx:pt>
          <cx:pt idx="43990">5</cx:pt>
          <cx:pt idx="43991">5</cx:pt>
          <cx:pt idx="43992">4</cx:pt>
          <cx:pt idx="43993">4</cx:pt>
          <cx:pt idx="43994">1</cx:pt>
          <cx:pt idx="43995">5</cx:pt>
          <cx:pt idx="43996">1</cx:pt>
          <cx:pt idx="43997">2</cx:pt>
          <cx:pt idx="43998">2</cx:pt>
          <cx:pt idx="43999">4</cx:pt>
          <cx:pt idx="44000">3</cx:pt>
          <cx:pt idx="44001">3</cx:pt>
          <cx:pt idx="44002">2</cx:pt>
          <cx:pt idx="44003">4</cx:pt>
          <cx:pt idx="44004">4</cx:pt>
          <cx:pt idx="44005">3</cx:pt>
          <cx:pt idx="44006">5</cx:pt>
          <cx:pt idx="44007">4</cx:pt>
          <cx:pt idx="44008">3</cx:pt>
          <cx:pt idx="44009">4</cx:pt>
          <cx:pt idx="44010">3</cx:pt>
          <cx:pt idx="44011">2</cx:pt>
          <cx:pt idx="44012">4</cx:pt>
          <cx:pt idx="44013">1</cx:pt>
          <cx:pt idx="44014">1</cx:pt>
          <cx:pt idx="44015">3</cx:pt>
          <cx:pt idx="44016">3</cx:pt>
          <cx:pt idx="44017">2</cx:pt>
          <cx:pt idx="44018">3</cx:pt>
          <cx:pt idx="44019">0</cx:pt>
          <cx:pt idx="44020">4</cx:pt>
          <cx:pt idx="44021">5</cx:pt>
          <cx:pt idx="44022">1</cx:pt>
          <cx:pt idx="44023">0</cx:pt>
          <cx:pt idx="44024">4</cx:pt>
          <cx:pt idx="44025">5</cx:pt>
          <cx:pt idx="44026">3</cx:pt>
          <cx:pt idx="44027">2</cx:pt>
          <cx:pt idx="44028">2</cx:pt>
          <cx:pt idx="44029">2</cx:pt>
          <cx:pt idx="44030">0</cx:pt>
          <cx:pt idx="44031">1</cx:pt>
          <cx:pt idx="44032">1</cx:pt>
          <cx:pt idx="44033">0</cx:pt>
          <cx:pt idx="44034">1</cx:pt>
          <cx:pt idx="44035">3</cx:pt>
          <cx:pt idx="44036">5</cx:pt>
          <cx:pt idx="44037">5</cx:pt>
          <cx:pt idx="44038">5</cx:pt>
          <cx:pt idx="44039">1</cx:pt>
          <cx:pt idx="44040">4</cx:pt>
          <cx:pt idx="44041">4</cx:pt>
          <cx:pt idx="44042">0</cx:pt>
          <cx:pt idx="44043">4</cx:pt>
          <cx:pt idx="44044">3</cx:pt>
          <cx:pt idx="44045">3</cx:pt>
          <cx:pt idx="44046">2</cx:pt>
          <cx:pt idx="44047">2</cx:pt>
          <cx:pt idx="44048">4</cx:pt>
          <cx:pt idx="44049">3</cx:pt>
          <cx:pt idx="44050">2</cx:pt>
          <cx:pt idx="44051">3</cx:pt>
          <cx:pt idx="44052">2</cx:pt>
          <cx:pt idx="44053">4</cx:pt>
          <cx:pt idx="44054">1</cx:pt>
          <cx:pt idx="44055">2</cx:pt>
          <cx:pt idx="44056">5</cx:pt>
          <cx:pt idx="44057">5</cx:pt>
          <cx:pt idx="44058">2</cx:pt>
          <cx:pt idx="44059">4</cx:pt>
          <cx:pt idx="44060">5</cx:pt>
          <cx:pt idx="44061">5</cx:pt>
          <cx:pt idx="44062">1</cx:pt>
          <cx:pt idx="44063">5</cx:pt>
          <cx:pt idx="44064">1</cx:pt>
          <cx:pt idx="44065">4</cx:pt>
          <cx:pt idx="44066">1</cx:pt>
          <cx:pt idx="44067">2</cx:pt>
          <cx:pt idx="44068">2</cx:pt>
          <cx:pt idx="44069">1</cx:pt>
          <cx:pt idx="44070">3</cx:pt>
          <cx:pt idx="44071">3</cx:pt>
          <cx:pt idx="44072">4</cx:pt>
          <cx:pt idx="44073">3</cx:pt>
          <cx:pt idx="44074">4</cx:pt>
          <cx:pt idx="44075">4</cx:pt>
          <cx:pt idx="44076">3</cx:pt>
          <cx:pt idx="44077">2</cx:pt>
          <cx:pt idx="44078">4</cx:pt>
          <cx:pt idx="44079">3</cx:pt>
          <cx:pt idx="44080">1</cx:pt>
          <cx:pt idx="44081">4</cx:pt>
          <cx:pt idx="44082">4</cx:pt>
          <cx:pt idx="44083">0</cx:pt>
          <cx:pt idx="44084">4</cx:pt>
          <cx:pt idx="44085">3</cx:pt>
          <cx:pt idx="44086">1</cx:pt>
          <cx:pt idx="44087">3</cx:pt>
          <cx:pt idx="44088">0</cx:pt>
          <cx:pt idx="44089">4</cx:pt>
          <cx:pt idx="44090">3</cx:pt>
          <cx:pt idx="44091">4</cx:pt>
          <cx:pt idx="44092">3</cx:pt>
          <cx:pt idx="44093">2</cx:pt>
          <cx:pt idx="44094">4</cx:pt>
          <cx:pt idx="44095">3</cx:pt>
          <cx:pt idx="44096">3</cx:pt>
          <cx:pt idx="44097">1</cx:pt>
          <cx:pt idx="44098">2</cx:pt>
          <cx:pt idx="44099">1</cx:pt>
          <cx:pt idx="44100">1</cx:pt>
          <cx:pt idx="44101">1</cx:pt>
          <cx:pt idx="44102">3</cx:pt>
          <cx:pt idx="44103">5</cx:pt>
          <cx:pt idx="44104">4</cx:pt>
          <cx:pt idx="44105">4</cx:pt>
          <cx:pt idx="44106">2</cx:pt>
          <cx:pt idx="44107">1</cx:pt>
          <cx:pt idx="44108">0</cx:pt>
          <cx:pt idx="44109">3</cx:pt>
          <cx:pt idx="44110">5</cx:pt>
          <cx:pt idx="44111">0</cx:pt>
          <cx:pt idx="44112">1</cx:pt>
          <cx:pt idx="44113">4</cx:pt>
          <cx:pt idx="44114">5</cx:pt>
          <cx:pt idx="44115">5</cx:pt>
          <cx:pt idx="44116">4</cx:pt>
          <cx:pt idx="44117">4</cx:pt>
          <cx:pt idx="44118">1</cx:pt>
          <cx:pt idx="44119">2</cx:pt>
          <cx:pt idx="44120">4</cx:pt>
          <cx:pt idx="44121">1</cx:pt>
          <cx:pt idx="44122">3</cx:pt>
          <cx:pt idx="44123">1</cx:pt>
          <cx:pt idx="44124">5</cx:pt>
          <cx:pt idx="44125">1</cx:pt>
          <cx:pt idx="44126">4</cx:pt>
          <cx:pt idx="44127">5</cx:pt>
          <cx:pt idx="44128">4</cx:pt>
          <cx:pt idx="44129">3</cx:pt>
          <cx:pt idx="44130">5</cx:pt>
          <cx:pt idx="44131">3</cx:pt>
          <cx:pt idx="44132">4</cx:pt>
          <cx:pt idx="44133">2</cx:pt>
          <cx:pt idx="44134">1</cx:pt>
          <cx:pt idx="44135">1</cx:pt>
          <cx:pt idx="44136">4</cx:pt>
          <cx:pt idx="44137">2</cx:pt>
          <cx:pt idx="44138">1</cx:pt>
          <cx:pt idx="44139">2</cx:pt>
          <cx:pt idx="44140">1</cx:pt>
          <cx:pt idx="44141">5</cx:pt>
          <cx:pt idx="44142">2</cx:pt>
          <cx:pt idx="44143">2</cx:pt>
          <cx:pt idx="44144">1</cx:pt>
          <cx:pt idx="44145">1</cx:pt>
          <cx:pt idx="44146">1</cx:pt>
          <cx:pt idx="44147">2</cx:pt>
          <cx:pt idx="44148">2</cx:pt>
          <cx:pt idx="44149">3</cx:pt>
          <cx:pt idx="44150">1</cx:pt>
          <cx:pt idx="44151">1</cx:pt>
          <cx:pt idx="44152">4</cx:pt>
          <cx:pt idx="44153">4</cx:pt>
          <cx:pt idx="44154">5</cx:pt>
          <cx:pt idx="44155">2</cx:pt>
          <cx:pt idx="44156">0</cx:pt>
          <cx:pt idx="44157">0</cx:pt>
          <cx:pt idx="44158">3</cx:pt>
          <cx:pt idx="44159">3</cx:pt>
          <cx:pt idx="44160">2</cx:pt>
          <cx:pt idx="44161">3</cx:pt>
          <cx:pt idx="44162">5</cx:pt>
          <cx:pt idx="44163">4</cx:pt>
          <cx:pt idx="44164">4</cx:pt>
          <cx:pt idx="44165">5</cx:pt>
          <cx:pt idx="44166">3</cx:pt>
          <cx:pt idx="44167">2</cx:pt>
          <cx:pt idx="44168">5</cx:pt>
          <cx:pt idx="44169">2</cx:pt>
          <cx:pt idx="44170">5</cx:pt>
          <cx:pt idx="44171">3</cx:pt>
          <cx:pt idx="44172">4</cx:pt>
          <cx:pt idx="44173">4</cx:pt>
          <cx:pt idx="44174">3</cx:pt>
          <cx:pt idx="44175">4</cx:pt>
          <cx:pt idx="44176">1</cx:pt>
          <cx:pt idx="44177">1</cx:pt>
          <cx:pt idx="44178">3</cx:pt>
          <cx:pt idx="44179">0</cx:pt>
          <cx:pt idx="44180">2</cx:pt>
          <cx:pt idx="44181">4</cx:pt>
          <cx:pt idx="44182">5</cx:pt>
          <cx:pt idx="44183">5</cx:pt>
          <cx:pt idx="44184">4</cx:pt>
          <cx:pt idx="44185">1</cx:pt>
          <cx:pt idx="44186">4</cx:pt>
          <cx:pt idx="44187">1</cx:pt>
          <cx:pt idx="44188">3</cx:pt>
          <cx:pt idx="44189">4</cx:pt>
          <cx:pt idx="44190">2</cx:pt>
          <cx:pt idx="44191">3</cx:pt>
          <cx:pt idx="44192">2</cx:pt>
          <cx:pt idx="44193">3</cx:pt>
          <cx:pt idx="44194">2</cx:pt>
          <cx:pt idx="44195">3</cx:pt>
          <cx:pt idx="44196">4</cx:pt>
          <cx:pt idx="44197">0</cx:pt>
          <cx:pt idx="44198">5</cx:pt>
          <cx:pt idx="44199">2</cx:pt>
          <cx:pt idx="44200">3</cx:pt>
          <cx:pt idx="44201">3</cx:pt>
          <cx:pt idx="44202">3</cx:pt>
          <cx:pt idx="44203">1</cx:pt>
          <cx:pt idx="44204">3</cx:pt>
          <cx:pt idx="44205">1</cx:pt>
          <cx:pt idx="44206">2</cx:pt>
          <cx:pt idx="44207">2</cx:pt>
          <cx:pt idx="44208">5</cx:pt>
          <cx:pt idx="44209">1</cx:pt>
          <cx:pt idx="44210">3</cx:pt>
          <cx:pt idx="44211">3</cx:pt>
          <cx:pt idx="44212">4</cx:pt>
          <cx:pt idx="44213">5</cx:pt>
          <cx:pt idx="44214">4</cx:pt>
          <cx:pt idx="44215">1</cx:pt>
          <cx:pt idx="44216">2</cx:pt>
          <cx:pt idx="44217">5</cx:pt>
          <cx:pt idx="44218">4</cx:pt>
          <cx:pt idx="44219">4</cx:pt>
          <cx:pt idx="44220">2</cx:pt>
          <cx:pt idx="44221">5</cx:pt>
          <cx:pt idx="44222">2</cx:pt>
          <cx:pt idx="44223">3</cx:pt>
          <cx:pt idx="44224">2</cx:pt>
          <cx:pt idx="44225">1</cx:pt>
          <cx:pt idx="44226">1</cx:pt>
          <cx:pt idx="44227">2</cx:pt>
          <cx:pt idx="44228">1</cx:pt>
          <cx:pt idx="44229">5</cx:pt>
          <cx:pt idx="44230">4</cx:pt>
          <cx:pt idx="44231">5</cx:pt>
          <cx:pt idx="44232">3</cx:pt>
          <cx:pt idx="44233">3</cx:pt>
          <cx:pt idx="44234">4</cx:pt>
          <cx:pt idx="44235">3</cx:pt>
          <cx:pt idx="44236">5</cx:pt>
          <cx:pt idx="44237">5</cx:pt>
          <cx:pt idx="44238">1</cx:pt>
          <cx:pt idx="44239">5</cx:pt>
          <cx:pt idx="44240">3</cx:pt>
          <cx:pt idx="44241">0</cx:pt>
          <cx:pt idx="44242">1</cx:pt>
          <cx:pt idx="44243">3</cx:pt>
          <cx:pt idx="44244">0</cx:pt>
          <cx:pt idx="44245">4</cx:pt>
          <cx:pt idx="44246">3</cx:pt>
          <cx:pt idx="44247">4</cx:pt>
          <cx:pt idx="44248">3</cx:pt>
          <cx:pt idx="44249">3</cx:pt>
          <cx:pt idx="44250">3</cx:pt>
          <cx:pt idx="44251">5</cx:pt>
          <cx:pt idx="44252">5</cx:pt>
          <cx:pt idx="44253">3</cx:pt>
          <cx:pt idx="44254">4</cx:pt>
          <cx:pt idx="44255">1</cx:pt>
          <cx:pt idx="44256">2</cx:pt>
          <cx:pt idx="44257">3</cx:pt>
          <cx:pt idx="44258">0</cx:pt>
          <cx:pt idx="44259">4</cx:pt>
          <cx:pt idx="44260">1</cx:pt>
          <cx:pt idx="44261">5</cx:pt>
          <cx:pt idx="44262">5</cx:pt>
          <cx:pt idx="44263">4</cx:pt>
          <cx:pt idx="44264">1</cx:pt>
          <cx:pt idx="44265">1</cx:pt>
          <cx:pt idx="44266">4</cx:pt>
          <cx:pt idx="44267">1</cx:pt>
          <cx:pt idx="44268">1</cx:pt>
          <cx:pt idx="44269">3</cx:pt>
          <cx:pt idx="44270">5</cx:pt>
          <cx:pt idx="44271">3</cx:pt>
          <cx:pt idx="44272">5</cx:pt>
          <cx:pt idx="44273">2</cx:pt>
          <cx:pt idx="44274">3</cx:pt>
          <cx:pt idx="44275">3</cx:pt>
          <cx:pt idx="44276">2</cx:pt>
          <cx:pt idx="44277">0</cx:pt>
          <cx:pt idx="44278">1</cx:pt>
          <cx:pt idx="44279">5</cx:pt>
          <cx:pt idx="44280">4</cx:pt>
          <cx:pt idx="44281">2</cx:pt>
          <cx:pt idx="44282">2</cx:pt>
          <cx:pt idx="44283">1</cx:pt>
          <cx:pt idx="44284">3</cx:pt>
          <cx:pt idx="44285">2</cx:pt>
          <cx:pt idx="44286">4</cx:pt>
          <cx:pt idx="44287">4</cx:pt>
          <cx:pt idx="44288">3</cx:pt>
          <cx:pt idx="44289">2</cx:pt>
          <cx:pt idx="44290">3</cx:pt>
          <cx:pt idx="44291">3</cx:pt>
          <cx:pt idx="44292">4</cx:pt>
          <cx:pt idx="44293">3</cx:pt>
          <cx:pt idx="44294">2</cx:pt>
          <cx:pt idx="44295">4</cx:pt>
          <cx:pt idx="44296">2</cx:pt>
          <cx:pt idx="44297">3</cx:pt>
          <cx:pt idx="44298">3</cx:pt>
          <cx:pt idx="44299">3</cx:pt>
          <cx:pt idx="44300">5</cx:pt>
          <cx:pt idx="44301">4</cx:pt>
          <cx:pt idx="44302">2</cx:pt>
          <cx:pt idx="44303">4</cx:pt>
          <cx:pt idx="44304">5</cx:pt>
          <cx:pt idx="44305">3</cx:pt>
          <cx:pt idx="44306">2</cx:pt>
          <cx:pt idx="44307">3</cx:pt>
          <cx:pt idx="44308">3</cx:pt>
          <cx:pt idx="44309">3</cx:pt>
          <cx:pt idx="44310">2</cx:pt>
          <cx:pt idx="44311">3</cx:pt>
          <cx:pt idx="44312">2</cx:pt>
          <cx:pt idx="44313">4</cx:pt>
          <cx:pt idx="44314">3</cx:pt>
          <cx:pt idx="44315">2</cx:pt>
          <cx:pt idx="44316">5</cx:pt>
          <cx:pt idx="44317">4</cx:pt>
          <cx:pt idx="44318">3</cx:pt>
          <cx:pt idx="44319">4</cx:pt>
          <cx:pt idx="44320">5</cx:pt>
          <cx:pt idx="44321">3</cx:pt>
          <cx:pt idx="44322">5</cx:pt>
          <cx:pt idx="44323">2</cx:pt>
          <cx:pt idx="44324">4</cx:pt>
          <cx:pt idx="44325">2</cx:pt>
          <cx:pt idx="44326">4</cx:pt>
          <cx:pt idx="44327">3</cx:pt>
          <cx:pt idx="44328">1</cx:pt>
          <cx:pt idx="44329">4</cx:pt>
          <cx:pt idx="44330">4</cx:pt>
          <cx:pt idx="44331">2</cx:pt>
          <cx:pt idx="44332">5</cx:pt>
          <cx:pt idx="44333">1</cx:pt>
          <cx:pt idx="44334">4</cx:pt>
          <cx:pt idx="44335">0</cx:pt>
          <cx:pt idx="44336">2</cx:pt>
          <cx:pt idx="44337">1</cx:pt>
          <cx:pt idx="44338">3</cx:pt>
          <cx:pt idx="44339">3</cx:pt>
          <cx:pt idx="44340">4</cx:pt>
          <cx:pt idx="44341">5</cx:pt>
          <cx:pt idx="44342">3</cx:pt>
          <cx:pt idx="44343">2</cx:pt>
          <cx:pt idx="44344">3</cx:pt>
          <cx:pt idx="44345">2</cx:pt>
          <cx:pt idx="44346">0</cx:pt>
          <cx:pt idx="44347">3</cx:pt>
          <cx:pt idx="44348">3</cx:pt>
          <cx:pt idx="44349">5</cx:pt>
          <cx:pt idx="44350">3</cx:pt>
          <cx:pt idx="44351">2</cx:pt>
          <cx:pt idx="44352">2</cx:pt>
          <cx:pt idx="44353">5</cx:pt>
          <cx:pt idx="44354">3</cx:pt>
          <cx:pt idx="44355">2</cx:pt>
          <cx:pt idx="44356">5</cx:pt>
          <cx:pt idx="44357">5</cx:pt>
          <cx:pt idx="44358">4</cx:pt>
          <cx:pt idx="44359">3</cx:pt>
          <cx:pt idx="44360">1</cx:pt>
          <cx:pt idx="44361">2</cx:pt>
          <cx:pt idx="44362">4</cx:pt>
          <cx:pt idx="44363">3</cx:pt>
          <cx:pt idx="44364">3</cx:pt>
          <cx:pt idx="44365">4</cx:pt>
          <cx:pt idx="44366">3</cx:pt>
          <cx:pt idx="44367">3</cx:pt>
          <cx:pt idx="44368">3</cx:pt>
          <cx:pt idx="44369">4</cx:pt>
          <cx:pt idx="44370">2</cx:pt>
          <cx:pt idx="44371">2</cx:pt>
          <cx:pt idx="44372">2</cx:pt>
          <cx:pt idx="44373">2</cx:pt>
          <cx:pt idx="44374">5</cx:pt>
          <cx:pt idx="44375">4</cx:pt>
          <cx:pt idx="44376">2</cx:pt>
          <cx:pt idx="44377">4</cx:pt>
          <cx:pt idx="44378">4</cx:pt>
          <cx:pt idx="44379">5</cx:pt>
          <cx:pt idx="44380">3</cx:pt>
          <cx:pt idx="44381">1</cx:pt>
          <cx:pt idx="44382">5</cx:pt>
          <cx:pt idx="44383">5</cx:pt>
          <cx:pt idx="44384">3</cx:pt>
          <cx:pt idx="44385">2</cx:pt>
          <cx:pt idx="44386">2</cx:pt>
          <cx:pt idx="44387">4</cx:pt>
          <cx:pt idx="44388">5</cx:pt>
          <cx:pt idx="44389">1</cx:pt>
          <cx:pt idx="44390">2</cx:pt>
          <cx:pt idx="44391">1</cx:pt>
          <cx:pt idx="44392">3</cx:pt>
          <cx:pt idx="44393">1</cx:pt>
          <cx:pt idx="44394">3</cx:pt>
          <cx:pt idx="44395">3</cx:pt>
          <cx:pt idx="44396">3</cx:pt>
          <cx:pt idx="44397">2</cx:pt>
          <cx:pt idx="44398">2</cx:pt>
          <cx:pt idx="44399">3</cx:pt>
          <cx:pt idx="44400">1</cx:pt>
          <cx:pt idx="44401">2</cx:pt>
          <cx:pt idx="44402">1</cx:pt>
          <cx:pt idx="44403">2</cx:pt>
          <cx:pt idx="44404">1</cx:pt>
          <cx:pt idx="44405">4</cx:pt>
          <cx:pt idx="44406">2</cx:pt>
          <cx:pt idx="44407">3</cx:pt>
          <cx:pt idx="44408">5</cx:pt>
          <cx:pt idx="44409">1</cx:pt>
          <cx:pt idx="44410">5</cx:pt>
          <cx:pt idx="44411">3</cx:pt>
          <cx:pt idx="44412">2</cx:pt>
          <cx:pt idx="44413">5</cx:pt>
          <cx:pt idx="44414">3</cx:pt>
          <cx:pt idx="44415">3</cx:pt>
          <cx:pt idx="44416">2</cx:pt>
          <cx:pt idx="44417">4</cx:pt>
          <cx:pt idx="44418">2</cx:pt>
          <cx:pt idx="44419">5</cx:pt>
          <cx:pt idx="44420">0</cx:pt>
          <cx:pt idx="44421">5</cx:pt>
          <cx:pt idx="44422">2</cx:pt>
          <cx:pt idx="44423">3</cx:pt>
          <cx:pt idx="44424">1</cx:pt>
          <cx:pt idx="44425">4</cx:pt>
          <cx:pt idx="44426">3</cx:pt>
          <cx:pt idx="44427">1</cx:pt>
          <cx:pt idx="44428">0</cx:pt>
          <cx:pt idx="44429">3</cx:pt>
          <cx:pt idx="44430">3</cx:pt>
          <cx:pt idx="44431">2</cx:pt>
          <cx:pt idx="44432">2</cx:pt>
          <cx:pt idx="44433">3</cx:pt>
          <cx:pt idx="44434">5</cx:pt>
          <cx:pt idx="44435">3</cx:pt>
          <cx:pt idx="44436">3</cx:pt>
          <cx:pt idx="44437">5</cx:pt>
          <cx:pt idx="44438">3</cx:pt>
          <cx:pt idx="44439">0</cx:pt>
          <cx:pt idx="44440">1</cx:pt>
          <cx:pt idx="44441">5</cx:pt>
          <cx:pt idx="44442">3</cx:pt>
          <cx:pt idx="44443">1</cx:pt>
          <cx:pt idx="44444">1</cx:pt>
          <cx:pt idx="44445">3</cx:pt>
          <cx:pt idx="44446">5</cx:pt>
          <cx:pt idx="44447">5</cx:pt>
          <cx:pt idx="44448">1</cx:pt>
          <cx:pt idx="44449">2</cx:pt>
          <cx:pt idx="44450">2</cx:pt>
          <cx:pt idx="44451">1</cx:pt>
          <cx:pt idx="44452">4</cx:pt>
          <cx:pt idx="44453">3</cx:pt>
          <cx:pt idx="44454">4</cx:pt>
          <cx:pt idx="44455">4</cx:pt>
          <cx:pt idx="44456">2</cx:pt>
          <cx:pt idx="44457">5</cx:pt>
          <cx:pt idx="44458">4</cx:pt>
          <cx:pt idx="44459">3</cx:pt>
          <cx:pt idx="44460">3</cx:pt>
          <cx:pt idx="44461">5</cx:pt>
          <cx:pt idx="44462">4</cx:pt>
          <cx:pt idx="44463">1</cx:pt>
          <cx:pt idx="44464">5</cx:pt>
          <cx:pt idx="44465">3</cx:pt>
          <cx:pt idx="44466">3</cx:pt>
          <cx:pt idx="44467">2</cx:pt>
          <cx:pt idx="44468">4</cx:pt>
          <cx:pt idx="44469">5</cx:pt>
          <cx:pt idx="44470">1</cx:pt>
          <cx:pt idx="44471">3</cx:pt>
          <cx:pt idx="44472">2</cx:pt>
          <cx:pt idx="44473">4</cx:pt>
          <cx:pt idx="44474">1</cx:pt>
          <cx:pt idx="44475">2</cx:pt>
          <cx:pt idx="44476">4</cx:pt>
          <cx:pt idx="44477">4</cx:pt>
          <cx:pt idx="44478">5</cx:pt>
          <cx:pt idx="44479">3</cx:pt>
          <cx:pt idx="44480">5</cx:pt>
          <cx:pt idx="44481">4</cx:pt>
          <cx:pt idx="44482">5</cx:pt>
          <cx:pt idx="44483">2</cx:pt>
          <cx:pt idx="44484">3</cx:pt>
          <cx:pt idx="44485">3</cx:pt>
          <cx:pt idx="44486">0</cx:pt>
          <cx:pt idx="44487">2</cx:pt>
          <cx:pt idx="44488">5</cx:pt>
          <cx:pt idx="44489">3</cx:pt>
          <cx:pt idx="44490">3</cx:pt>
          <cx:pt idx="44491">1</cx:pt>
          <cx:pt idx="44492">2</cx:pt>
          <cx:pt idx="44493">5</cx:pt>
          <cx:pt idx="44494">4</cx:pt>
          <cx:pt idx="44495">4</cx:pt>
          <cx:pt idx="44496">4</cx:pt>
          <cx:pt idx="44497">1</cx:pt>
          <cx:pt idx="44498">3</cx:pt>
          <cx:pt idx="44499">1</cx:pt>
          <cx:pt idx="44500">1</cx:pt>
          <cx:pt idx="44501">1</cx:pt>
          <cx:pt idx="44502">4</cx:pt>
          <cx:pt idx="44503">1</cx:pt>
          <cx:pt idx="44504">3</cx:pt>
          <cx:pt idx="44505">2</cx:pt>
          <cx:pt idx="44506">1</cx:pt>
          <cx:pt idx="44507">3</cx:pt>
          <cx:pt idx="44508">3</cx:pt>
          <cx:pt idx="44509">3</cx:pt>
          <cx:pt idx="44510">1</cx:pt>
          <cx:pt idx="44511">1</cx:pt>
          <cx:pt idx="44512">2</cx:pt>
          <cx:pt idx="44513">1</cx:pt>
          <cx:pt idx="44514">2</cx:pt>
          <cx:pt idx="44515">5</cx:pt>
          <cx:pt idx="44516">1</cx:pt>
          <cx:pt idx="44517">3</cx:pt>
          <cx:pt idx="44518">5</cx:pt>
          <cx:pt idx="44519">3</cx:pt>
          <cx:pt idx="44520">3</cx:pt>
          <cx:pt idx="44521">1</cx:pt>
          <cx:pt idx="44522">5</cx:pt>
          <cx:pt idx="44523">2</cx:pt>
          <cx:pt idx="44524">3</cx:pt>
          <cx:pt idx="44525">3</cx:pt>
          <cx:pt idx="44526">2</cx:pt>
          <cx:pt idx="44527">5</cx:pt>
          <cx:pt idx="44528">3</cx:pt>
          <cx:pt idx="44529">3</cx:pt>
          <cx:pt idx="44530">3</cx:pt>
          <cx:pt idx="44531">2</cx:pt>
          <cx:pt idx="44532">5</cx:pt>
          <cx:pt idx="44533">0</cx:pt>
          <cx:pt idx="44534">4</cx:pt>
          <cx:pt idx="44535">1</cx:pt>
          <cx:pt idx="44536">4</cx:pt>
          <cx:pt idx="44537">5</cx:pt>
          <cx:pt idx="44538">3</cx:pt>
          <cx:pt idx="44539">2</cx:pt>
          <cx:pt idx="44540">1</cx:pt>
          <cx:pt idx="44541">3</cx:pt>
          <cx:pt idx="44542">2</cx:pt>
          <cx:pt idx="44543">3</cx:pt>
          <cx:pt idx="44544">4</cx:pt>
          <cx:pt idx="44545">4</cx:pt>
          <cx:pt idx="44546">1</cx:pt>
          <cx:pt idx="44547">4</cx:pt>
          <cx:pt idx="44548">1</cx:pt>
          <cx:pt idx="44549">5</cx:pt>
          <cx:pt idx="44550">2</cx:pt>
          <cx:pt idx="44551">2</cx:pt>
          <cx:pt idx="44552">3</cx:pt>
          <cx:pt idx="44553">5</cx:pt>
          <cx:pt idx="44554">1</cx:pt>
          <cx:pt idx="44555">2</cx:pt>
          <cx:pt idx="44556">1</cx:pt>
          <cx:pt idx="44557">3</cx:pt>
          <cx:pt idx="44558">4</cx:pt>
          <cx:pt idx="44559">2</cx:pt>
          <cx:pt idx="44560">1</cx:pt>
          <cx:pt idx="44561">4</cx:pt>
          <cx:pt idx="44562">3</cx:pt>
          <cx:pt idx="44563">2</cx:pt>
          <cx:pt idx="44564">0</cx:pt>
          <cx:pt idx="44565">2</cx:pt>
          <cx:pt idx="44566">2</cx:pt>
          <cx:pt idx="44567">1</cx:pt>
          <cx:pt idx="44568">1</cx:pt>
          <cx:pt idx="44569">2</cx:pt>
          <cx:pt idx="44570">3</cx:pt>
          <cx:pt idx="44571">1</cx:pt>
          <cx:pt idx="44572">2</cx:pt>
          <cx:pt idx="44573">3</cx:pt>
          <cx:pt idx="44574">1</cx:pt>
          <cx:pt idx="44575">3</cx:pt>
          <cx:pt idx="44576">2</cx:pt>
          <cx:pt idx="44577">1</cx:pt>
          <cx:pt idx="44578">1</cx:pt>
          <cx:pt idx="44579">3</cx:pt>
          <cx:pt idx="44580">5</cx:pt>
          <cx:pt idx="44581">3</cx:pt>
          <cx:pt idx="44582">0</cx:pt>
          <cx:pt idx="44583">4</cx:pt>
          <cx:pt idx="44584">3</cx:pt>
          <cx:pt idx="44585">4</cx:pt>
          <cx:pt idx="44586">5</cx:pt>
          <cx:pt idx="44587">4</cx:pt>
          <cx:pt idx="44588">2</cx:pt>
          <cx:pt idx="44589">2</cx:pt>
          <cx:pt idx="44590">3</cx:pt>
          <cx:pt idx="44591">2</cx:pt>
          <cx:pt idx="44592">4</cx:pt>
          <cx:pt idx="44593">3</cx:pt>
          <cx:pt idx="44594">3</cx:pt>
          <cx:pt idx="44595">2</cx:pt>
          <cx:pt idx="44596">0</cx:pt>
          <cx:pt idx="44597">2</cx:pt>
          <cx:pt idx="44598">0</cx:pt>
          <cx:pt idx="44599">4</cx:pt>
          <cx:pt idx="44600">0</cx:pt>
          <cx:pt idx="44601">3</cx:pt>
          <cx:pt idx="44602">3</cx:pt>
          <cx:pt idx="44603">2</cx:pt>
          <cx:pt idx="44604">1</cx:pt>
          <cx:pt idx="44605">2</cx:pt>
          <cx:pt idx="44606">4</cx:pt>
          <cx:pt idx="44607">3</cx:pt>
          <cx:pt idx="44608">1</cx:pt>
          <cx:pt idx="44609">1</cx:pt>
          <cx:pt idx="44610">3</cx:pt>
          <cx:pt idx="44611">1</cx:pt>
          <cx:pt idx="44612">2</cx:pt>
          <cx:pt idx="44613">2</cx:pt>
          <cx:pt idx="44614">3</cx:pt>
          <cx:pt idx="44615">3</cx:pt>
          <cx:pt idx="44616">3</cx:pt>
          <cx:pt idx="44617">1</cx:pt>
          <cx:pt idx="44618">3</cx:pt>
          <cx:pt idx="44619">3</cx:pt>
          <cx:pt idx="44620">1</cx:pt>
          <cx:pt idx="44621">4</cx:pt>
          <cx:pt idx="44622">1</cx:pt>
          <cx:pt idx="44623">5</cx:pt>
          <cx:pt idx="44624">1</cx:pt>
          <cx:pt idx="44625">3</cx:pt>
          <cx:pt idx="44626">3</cx:pt>
          <cx:pt idx="44627">1</cx:pt>
          <cx:pt idx="44628">4</cx:pt>
          <cx:pt idx="44629">2</cx:pt>
          <cx:pt idx="44630">1</cx:pt>
          <cx:pt idx="44631">4</cx:pt>
          <cx:pt idx="44632">3</cx:pt>
          <cx:pt idx="44633">2</cx:pt>
          <cx:pt idx="44634">3</cx:pt>
          <cx:pt idx="44635">3</cx:pt>
          <cx:pt idx="44636">4</cx:pt>
          <cx:pt idx="44637">5</cx:pt>
          <cx:pt idx="44638">1</cx:pt>
          <cx:pt idx="44639">1</cx:pt>
          <cx:pt idx="44640">4</cx:pt>
          <cx:pt idx="44641">2</cx:pt>
          <cx:pt idx="44642">1</cx:pt>
          <cx:pt idx="44643">3</cx:pt>
          <cx:pt idx="44644">2</cx:pt>
          <cx:pt idx="44645">5</cx:pt>
          <cx:pt idx="44646">1</cx:pt>
          <cx:pt idx="44647">5</cx:pt>
          <cx:pt idx="44648">1</cx:pt>
          <cx:pt idx="44649">3</cx:pt>
          <cx:pt idx="44650">4</cx:pt>
          <cx:pt idx="44651">4</cx:pt>
          <cx:pt idx="44652">1</cx:pt>
          <cx:pt idx="44653">0</cx:pt>
          <cx:pt idx="44654">3</cx:pt>
          <cx:pt idx="44655">2</cx:pt>
          <cx:pt idx="44656">1</cx:pt>
          <cx:pt idx="44657">4</cx:pt>
          <cx:pt idx="44658">5</cx:pt>
          <cx:pt idx="44659">4</cx:pt>
          <cx:pt idx="44660">4</cx:pt>
          <cx:pt idx="44661">4</cx:pt>
          <cx:pt idx="44662">2</cx:pt>
          <cx:pt idx="44663">5</cx:pt>
          <cx:pt idx="44664">3</cx:pt>
          <cx:pt idx="44665">4</cx:pt>
          <cx:pt idx="44666">3</cx:pt>
          <cx:pt idx="44667">4</cx:pt>
          <cx:pt idx="44668">2</cx:pt>
          <cx:pt idx="44669">4</cx:pt>
          <cx:pt idx="44670">4</cx:pt>
          <cx:pt idx="44671">5</cx:pt>
          <cx:pt idx="44672">5</cx:pt>
          <cx:pt idx="44673">3</cx:pt>
          <cx:pt idx="44674">5</cx:pt>
          <cx:pt idx="44675">1</cx:pt>
          <cx:pt idx="44676">2</cx:pt>
          <cx:pt idx="44677">1</cx:pt>
          <cx:pt idx="44678">4</cx:pt>
          <cx:pt idx="44679">3</cx:pt>
          <cx:pt idx="44680">3</cx:pt>
          <cx:pt idx="44681">4</cx:pt>
          <cx:pt idx="44682">3</cx:pt>
          <cx:pt idx="44683">4</cx:pt>
          <cx:pt idx="44684">4</cx:pt>
          <cx:pt idx="44685">1</cx:pt>
          <cx:pt idx="44686">5</cx:pt>
          <cx:pt idx="44687">1</cx:pt>
          <cx:pt idx="44688">2</cx:pt>
          <cx:pt idx="44689">3</cx:pt>
          <cx:pt idx="44690">1</cx:pt>
          <cx:pt idx="44691">1</cx:pt>
          <cx:pt idx="44692">5</cx:pt>
          <cx:pt idx="44693">1</cx:pt>
          <cx:pt idx="44694">2</cx:pt>
          <cx:pt idx="44695">4</cx:pt>
          <cx:pt idx="44696">2</cx:pt>
          <cx:pt idx="44697">1</cx:pt>
          <cx:pt idx="44698">3</cx:pt>
          <cx:pt idx="44699">2</cx:pt>
          <cx:pt idx="44700">3</cx:pt>
          <cx:pt idx="44701">2</cx:pt>
          <cx:pt idx="44702">5</cx:pt>
          <cx:pt idx="44703">1</cx:pt>
          <cx:pt idx="44704">2</cx:pt>
          <cx:pt idx="44705">2</cx:pt>
          <cx:pt idx="44706">2</cx:pt>
          <cx:pt idx="44707">3</cx:pt>
          <cx:pt idx="44708">3</cx:pt>
          <cx:pt idx="44709">3</cx:pt>
          <cx:pt idx="44710">2</cx:pt>
          <cx:pt idx="44711">3</cx:pt>
          <cx:pt idx="44712">1</cx:pt>
          <cx:pt idx="44713">5</cx:pt>
          <cx:pt idx="44714">4</cx:pt>
          <cx:pt idx="44715">3</cx:pt>
          <cx:pt idx="44716">3</cx:pt>
          <cx:pt idx="44717">0</cx:pt>
          <cx:pt idx="44718">3</cx:pt>
          <cx:pt idx="44719">5</cx:pt>
          <cx:pt idx="44720">4</cx:pt>
          <cx:pt idx="44721">5</cx:pt>
          <cx:pt idx="44722">1</cx:pt>
          <cx:pt idx="44723">0</cx:pt>
          <cx:pt idx="44724">3</cx:pt>
          <cx:pt idx="44725">3</cx:pt>
          <cx:pt idx="44726">4</cx:pt>
          <cx:pt idx="44727">4</cx:pt>
          <cx:pt idx="44728">1</cx:pt>
          <cx:pt idx="44729">3</cx:pt>
          <cx:pt idx="44730">4</cx:pt>
          <cx:pt idx="44731">2</cx:pt>
          <cx:pt idx="44732">3</cx:pt>
          <cx:pt idx="44733">2</cx:pt>
          <cx:pt idx="44734">4</cx:pt>
          <cx:pt idx="44735">3</cx:pt>
          <cx:pt idx="44736">2</cx:pt>
          <cx:pt idx="44737">3</cx:pt>
          <cx:pt idx="44738">2</cx:pt>
          <cx:pt idx="44739">1</cx:pt>
          <cx:pt idx="44740">4</cx:pt>
          <cx:pt idx="44741">3</cx:pt>
          <cx:pt idx="44742">0</cx:pt>
          <cx:pt idx="44743">2</cx:pt>
          <cx:pt idx="44744">2</cx:pt>
          <cx:pt idx="44745">3</cx:pt>
          <cx:pt idx="44746">2</cx:pt>
          <cx:pt idx="44747">3</cx:pt>
          <cx:pt idx="44748">1</cx:pt>
          <cx:pt idx="44749">1</cx:pt>
          <cx:pt idx="44750">0</cx:pt>
          <cx:pt idx="44751">1</cx:pt>
          <cx:pt idx="44752">5</cx:pt>
          <cx:pt idx="44753">5</cx:pt>
          <cx:pt idx="44754">5</cx:pt>
          <cx:pt idx="44755">4</cx:pt>
          <cx:pt idx="44756">5</cx:pt>
          <cx:pt idx="44757">2</cx:pt>
          <cx:pt idx="44758">3</cx:pt>
          <cx:pt idx="44759">1</cx:pt>
          <cx:pt idx="44760">3</cx:pt>
          <cx:pt idx="44761">2</cx:pt>
          <cx:pt idx="44762">3</cx:pt>
          <cx:pt idx="44763">1</cx:pt>
          <cx:pt idx="44764">2</cx:pt>
          <cx:pt idx="44765">5</cx:pt>
          <cx:pt idx="44766">2</cx:pt>
          <cx:pt idx="44767">2</cx:pt>
          <cx:pt idx="44768">1</cx:pt>
          <cx:pt idx="44769">1</cx:pt>
          <cx:pt idx="44770">4</cx:pt>
          <cx:pt idx="44771">2</cx:pt>
          <cx:pt idx="44772">5</cx:pt>
          <cx:pt idx="44773">2</cx:pt>
          <cx:pt idx="44774">1</cx:pt>
          <cx:pt idx="44775">2</cx:pt>
          <cx:pt idx="44776">5</cx:pt>
          <cx:pt idx="44777">1</cx:pt>
          <cx:pt idx="44778">5</cx:pt>
          <cx:pt idx="44779">5</cx:pt>
          <cx:pt idx="44780">5</cx:pt>
          <cx:pt idx="44781">4</cx:pt>
          <cx:pt idx="44782">4</cx:pt>
          <cx:pt idx="44783">2</cx:pt>
          <cx:pt idx="44784">3</cx:pt>
          <cx:pt idx="44785">2</cx:pt>
          <cx:pt idx="44786">4</cx:pt>
          <cx:pt idx="44787">1</cx:pt>
          <cx:pt idx="44788">3</cx:pt>
          <cx:pt idx="44789">2</cx:pt>
          <cx:pt idx="44790">4</cx:pt>
          <cx:pt idx="44791">4</cx:pt>
          <cx:pt idx="44792">3</cx:pt>
          <cx:pt idx="44793">4</cx:pt>
          <cx:pt idx="44794">4</cx:pt>
          <cx:pt idx="44795">4</cx:pt>
          <cx:pt idx="44796">1</cx:pt>
          <cx:pt idx="44797">3</cx:pt>
          <cx:pt idx="44798">5</cx:pt>
          <cx:pt idx="44799">2</cx:pt>
          <cx:pt idx="44800">3</cx:pt>
          <cx:pt idx="44801">2</cx:pt>
          <cx:pt idx="44802">2</cx:pt>
          <cx:pt idx="44803">2</cx:pt>
          <cx:pt idx="44804">3</cx:pt>
          <cx:pt idx="44805">2</cx:pt>
          <cx:pt idx="44806">0</cx:pt>
          <cx:pt idx="44807">2</cx:pt>
          <cx:pt idx="44808">2</cx:pt>
          <cx:pt idx="44809">2</cx:pt>
          <cx:pt idx="44810">3</cx:pt>
          <cx:pt idx="44811">1</cx:pt>
          <cx:pt idx="44812">3</cx:pt>
          <cx:pt idx="44813">2</cx:pt>
          <cx:pt idx="44814">2</cx:pt>
          <cx:pt idx="44815">1</cx:pt>
          <cx:pt idx="44816">1</cx:pt>
          <cx:pt idx="44817">3</cx:pt>
          <cx:pt idx="44818">5</cx:pt>
          <cx:pt idx="44819">1</cx:pt>
          <cx:pt idx="44820">4</cx:pt>
          <cx:pt idx="44821">2</cx:pt>
          <cx:pt idx="44822">4</cx:pt>
          <cx:pt idx="44823">2</cx:pt>
          <cx:pt idx="44824">1</cx:pt>
          <cx:pt idx="44825">3</cx:pt>
          <cx:pt idx="44826">3</cx:pt>
          <cx:pt idx="44827">4</cx:pt>
          <cx:pt idx="44828">2</cx:pt>
          <cx:pt idx="44829">4</cx:pt>
          <cx:pt idx="44830">2</cx:pt>
          <cx:pt idx="44831">2</cx:pt>
          <cx:pt idx="44832">4</cx:pt>
          <cx:pt idx="44833">3</cx:pt>
          <cx:pt idx="44834">1</cx:pt>
          <cx:pt idx="44835">3</cx:pt>
          <cx:pt idx="44836">4</cx:pt>
          <cx:pt idx="44837">2</cx:pt>
          <cx:pt idx="44838">2</cx:pt>
          <cx:pt idx="44839">5</cx:pt>
          <cx:pt idx="44840">1</cx:pt>
          <cx:pt idx="44841">3</cx:pt>
          <cx:pt idx="44842">0</cx:pt>
          <cx:pt idx="44843">2</cx:pt>
          <cx:pt idx="44844">3</cx:pt>
          <cx:pt idx="44845">3</cx:pt>
          <cx:pt idx="44846">1</cx:pt>
          <cx:pt idx="44847">4</cx:pt>
          <cx:pt idx="44848">3</cx:pt>
          <cx:pt idx="44849">4</cx:pt>
          <cx:pt idx="44850">2</cx:pt>
          <cx:pt idx="44851">0</cx:pt>
          <cx:pt idx="44852">4</cx:pt>
          <cx:pt idx="44853">2</cx:pt>
          <cx:pt idx="44854">1</cx:pt>
          <cx:pt idx="44855">3</cx:pt>
          <cx:pt idx="44856">2</cx:pt>
          <cx:pt idx="44857">5</cx:pt>
          <cx:pt idx="44858">4</cx:pt>
          <cx:pt idx="44859">5</cx:pt>
          <cx:pt idx="44860">3</cx:pt>
          <cx:pt idx="44861">3</cx:pt>
          <cx:pt idx="44862">3</cx:pt>
          <cx:pt idx="44863">2</cx:pt>
          <cx:pt idx="44864">3</cx:pt>
          <cx:pt idx="44865">3</cx:pt>
          <cx:pt idx="44866">2</cx:pt>
          <cx:pt idx="44867">5</cx:pt>
          <cx:pt idx="44868">5</cx:pt>
          <cx:pt idx="44869">2</cx:pt>
          <cx:pt idx="44870">5</cx:pt>
          <cx:pt idx="44871">2</cx:pt>
          <cx:pt idx="44872">2</cx:pt>
          <cx:pt idx="44873">2</cx:pt>
          <cx:pt idx="44874">4</cx:pt>
          <cx:pt idx="44875">3</cx:pt>
          <cx:pt idx="44876">1</cx:pt>
          <cx:pt idx="44877">2</cx:pt>
          <cx:pt idx="44878">2</cx:pt>
          <cx:pt idx="44879">1</cx:pt>
          <cx:pt idx="44880">2</cx:pt>
          <cx:pt idx="44881">4</cx:pt>
          <cx:pt idx="44882">3</cx:pt>
          <cx:pt idx="44883">4</cx:pt>
          <cx:pt idx="44884">4</cx:pt>
          <cx:pt idx="44885">2</cx:pt>
          <cx:pt idx="44886">2</cx:pt>
          <cx:pt idx="44887">4</cx:pt>
          <cx:pt idx="44888">2</cx:pt>
          <cx:pt idx="44889">4</cx:pt>
          <cx:pt idx="44890">3</cx:pt>
          <cx:pt idx="44891">3</cx:pt>
          <cx:pt idx="44892">3</cx:pt>
          <cx:pt idx="44893">2</cx:pt>
          <cx:pt idx="44894">1</cx:pt>
          <cx:pt idx="44895">4</cx:pt>
          <cx:pt idx="44896">3</cx:pt>
          <cx:pt idx="44897">0</cx:pt>
          <cx:pt idx="44898">1</cx:pt>
          <cx:pt idx="44899">3</cx:pt>
          <cx:pt idx="44900">2</cx:pt>
          <cx:pt idx="44901">4</cx:pt>
          <cx:pt idx="44902">2</cx:pt>
          <cx:pt idx="44903">3</cx:pt>
          <cx:pt idx="44904">3</cx:pt>
          <cx:pt idx="44905">0</cx:pt>
          <cx:pt idx="44906">1</cx:pt>
          <cx:pt idx="44907">4</cx:pt>
          <cx:pt idx="44908">1</cx:pt>
          <cx:pt idx="44909">3</cx:pt>
          <cx:pt idx="44910">3</cx:pt>
          <cx:pt idx="44911">3</cx:pt>
          <cx:pt idx="44912">1</cx:pt>
          <cx:pt idx="44913">2</cx:pt>
          <cx:pt idx="44914">4</cx:pt>
          <cx:pt idx="44915">1</cx:pt>
          <cx:pt idx="44916">1</cx:pt>
          <cx:pt idx="44917">2</cx:pt>
          <cx:pt idx="44918">3</cx:pt>
          <cx:pt idx="44919">4</cx:pt>
          <cx:pt idx="44920">2</cx:pt>
          <cx:pt idx="44921">4</cx:pt>
          <cx:pt idx="44922">0</cx:pt>
          <cx:pt idx="44923">3</cx:pt>
          <cx:pt idx="44924">4</cx:pt>
          <cx:pt idx="44925">1</cx:pt>
          <cx:pt idx="44926">4</cx:pt>
          <cx:pt idx="44927">3</cx:pt>
          <cx:pt idx="44928">2</cx:pt>
          <cx:pt idx="44929">1</cx:pt>
          <cx:pt idx="44930">2</cx:pt>
          <cx:pt idx="44931">5</cx:pt>
          <cx:pt idx="44932">3</cx:pt>
          <cx:pt idx="44933">1</cx:pt>
          <cx:pt idx="44934">2</cx:pt>
          <cx:pt idx="44935">2</cx:pt>
          <cx:pt idx="44936">0</cx:pt>
          <cx:pt idx="44937">4</cx:pt>
          <cx:pt idx="44938">3</cx:pt>
          <cx:pt idx="44939">0</cx:pt>
          <cx:pt idx="44940">2</cx:pt>
          <cx:pt idx="44941">4</cx:pt>
          <cx:pt idx="44942">5</cx:pt>
          <cx:pt idx="44943">5</cx:pt>
          <cx:pt idx="44944">4</cx:pt>
          <cx:pt idx="44945">2</cx:pt>
          <cx:pt idx="44946">1</cx:pt>
          <cx:pt idx="44947">1</cx:pt>
          <cx:pt idx="44948">4</cx:pt>
          <cx:pt idx="44949">2</cx:pt>
          <cx:pt idx="44950">4</cx:pt>
          <cx:pt idx="44951">2</cx:pt>
          <cx:pt idx="44952">2</cx:pt>
          <cx:pt idx="44953">1</cx:pt>
          <cx:pt idx="44954">3</cx:pt>
          <cx:pt idx="44955">1</cx:pt>
          <cx:pt idx="44956">1</cx:pt>
          <cx:pt idx="44957">3</cx:pt>
          <cx:pt idx="44958">3</cx:pt>
          <cx:pt idx="44959">1</cx:pt>
          <cx:pt idx="44960">3</cx:pt>
          <cx:pt idx="44961">4</cx:pt>
          <cx:pt idx="44962">3</cx:pt>
          <cx:pt idx="44963">3</cx:pt>
          <cx:pt idx="44964">0</cx:pt>
          <cx:pt idx="44965">2</cx:pt>
          <cx:pt idx="44966">1</cx:pt>
          <cx:pt idx="44967">3</cx:pt>
          <cx:pt idx="44968">2</cx:pt>
          <cx:pt idx="44969">1</cx:pt>
          <cx:pt idx="44970">2</cx:pt>
          <cx:pt idx="44971">2</cx:pt>
          <cx:pt idx="44972">3</cx:pt>
          <cx:pt idx="44973">3</cx:pt>
          <cx:pt idx="44974">4</cx:pt>
          <cx:pt idx="44975">4</cx:pt>
          <cx:pt idx="44976">2</cx:pt>
          <cx:pt idx="44977">2</cx:pt>
          <cx:pt idx="44978">4</cx:pt>
          <cx:pt idx="44979">4</cx:pt>
          <cx:pt idx="44980">5</cx:pt>
          <cx:pt idx="44981">2</cx:pt>
          <cx:pt idx="44982">2</cx:pt>
          <cx:pt idx="44983">1</cx:pt>
          <cx:pt idx="44984">3</cx:pt>
          <cx:pt idx="44985">3</cx:pt>
          <cx:pt idx="44986">5</cx:pt>
          <cx:pt idx="44987">2</cx:pt>
          <cx:pt idx="44988">1</cx:pt>
          <cx:pt idx="44989">3</cx:pt>
          <cx:pt idx="44990">4</cx:pt>
          <cx:pt idx="44991">1</cx:pt>
          <cx:pt idx="44992">3</cx:pt>
          <cx:pt idx="44993">2</cx:pt>
          <cx:pt idx="44994">2</cx:pt>
          <cx:pt idx="44995">3</cx:pt>
          <cx:pt idx="44996">3</cx:pt>
          <cx:pt idx="44997">1</cx:pt>
          <cx:pt idx="44998">3</cx:pt>
          <cx:pt idx="44999">3</cx:pt>
          <cx:pt idx="45000">4</cx:pt>
          <cx:pt idx="45001">5</cx:pt>
          <cx:pt idx="45002">0</cx:pt>
          <cx:pt idx="45003">2</cx:pt>
          <cx:pt idx="45004">3</cx:pt>
          <cx:pt idx="45005">1</cx:pt>
          <cx:pt idx="45006">2</cx:pt>
          <cx:pt idx="45007">5</cx:pt>
          <cx:pt idx="45008">2</cx:pt>
          <cx:pt idx="45009">2</cx:pt>
          <cx:pt idx="45010">3</cx:pt>
          <cx:pt idx="45011">3</cx:pt>
          <cx:pt idx="45012">1</cx:pt>
          <cx:pt idx="45013">1</cx:pt>
          <cx:pt idx="45014">2</cx:pt>
          <cx:pt idx="45015">2</cx:pt>
          <cx:pt idx="45016">3</cx:pt>
          <cx:pt idx="45017">3</cx:pt>
          <cx:pt idx="45018">2</cx:pt>
          <cx:pt idx="45019">3</cx:pt>
          <cx:pt idx="45020">3</cx:pt>
          <cx:pt idx="45021">1</cx:pt>
          <cx:pt idx="45022">3</cx:pt>
          <cx:pt idx="45023">5</cx:pt>
          <cx:pt idx="45024">4</cx:pt>
          <cx:pt idx="45025">4</cx:pt>
          <cx:pt idx="45026">3</cx:pt>
          <cx:pt idx="45027">4</cx:pt>
          <cx:pt idx="45028">0</cx:pt>
          <cx:pt idx="45029">1</cx:pt>
          <cx:pt idx="45030">1</cx:pt>
          <cx:pt idx="45031">2</cx:pt>
          <cx:pt idx="45032">4</cx:pt>
          <cx:pt idx="45033">2</cx:pt>
          <cx:pt idx="45034">3</cx:pt>
          <cx:pt idx="45035">3</cx:pt>
          <cx:pt idx="45036">3</cx:pt>
          <cx:pt idx="45037">4</cx:pt>
          <cx:pt idx="45038">3</cx:pt>
          <cx:pt idx="45039">4</cx:pt>
          <cx:pt idx="45040">3</cx:pt>
          <cx:pt idx="45041">3</cx:pt>
          <cx:pt idx="45042">2</cx:pt>
          <cx:pt idx="45043">4</cx:pt>
          <cx:pt idx="45044">3</cx:pt>
          <cx:pt idx="45045">5</cx:pt>
          <cx:pt idx="45046">4</cx:pt>
          <cx:pt idx="45047">4</cx:pt>
          <cx:pt idx="45048">3</cx:pt>
          <cx:pt idx="45049">4</cx:pt>
          <cx:pt idx="45050">2</cx:pt>
          <cx:pt idx="45051">4</cx:pt>
          <cx:pt idx="45052">4</cx:pt>
          <cx:pt idx="45053">4</cx:pt>
          <cx:pt idx="45054">3</cx:pt>
          <cx:pt idx="45055">4</cx:pt>
          <cx:pt idx="45056">4</cx:pt>
          <cx:pt idx="45057">2</cx:pt>
          <cx:pt idx="45058">0</cx:pt>
          <cx:pt idx="45059">4</cx:pt>
          <cx:pt idx="45060">4</cx:pt>
          <cx:pt idx="45061">2</cx:pt>
          <cx:pt idx="45062">4</cx:pt>
          <cx:pt idx="45063">2</cx:pt>
          <cx:pt idx="45064">4</cx:pt>
          <cx:pt idx="45065">4</cx:pt>
          <cx:pt idx="45066">2</cx:pt>
          <cx:pt idx="45067">2</cx:pt>
          <cx:pt idx="45068">5</cx:pt>
          <cx:pt idx="45069">4</cx:pt>
          <cx:pt idx="45070">5</cx:pt>
          <cx:pt idx="45071">0</cx:pt>
          <cx:pt idx="45072">4</cx:pt>
          <cx:pt idx="45073">1</cx:pt>
          <cx:pt idx="45074">3</cx:pt>
          <cx:pt idx="45075">1</cx:pt>
          <cx:pt idx="45076">3</cx:pt>
          <cx:pt idx="45077">2</cx:pt>
          <cx:pt idx="45078">3</cx:pt>
          <cx:pt idx="45079">0</cx:pt>
          <cx:pt idx="45080">3</cx:pt>
          <cx:pt idx="45081">3</cx:pt>
          <cx:pt idx="45082">3</cx:pt>
          <cx:pt idx="45083">3</cx:pt>
          <cx:pt idx="45084">1</cx:pt>
          <cx:pt idx="45085">2</cx:pt>
          <cx:pt idx="45086">5</cx:pt>
          <cx:pt idx="45087">5</cx:pt>
          <cx:pt idx="45088">4</cx:pt>
          <cx:pt idx="45089">1</cx:pt>
          <cx:pt idx="45090">1</cx:pt>
          <cx:pt idx="45091">1</cx:pt>
          <cx:pt idx="45092">4</cx:pt>
          <cx:pt idx="45093">3</cx:pt>
          <cx:pt idx="45094">2</cx:pt>
          <cx:pt idx="45095">0</cx:pt>
          <cx:pt idx="45096">3</cx:pt>
          <cx:pt idx="45097">1</cx:pt>
          <cx:pt idx="45098">4</cx:pt>
          <cx:pt idx="45099">1</cx:pt>
          <cx:pt idx="45100">4</cx:pt>
          <cx:pt idx="45101">5</cx:pt>
          <cx:pt idx="45102">4</cx:pt>
          <cx:pt idx="45103">3</cx:pt>
          <cx:pt idx="45104">2</cx:pt>
          <cx:pt idx="45105">4</cx:pt>
          <cx:pt idx="45106">2</cx:pt>
          <cx:pt idx="45107">2</cx:pt>
          <cx:pt idx="45108">2</cx:pt>
          <cx:pt idx="45109">5</cx:pt>
          <cx:pt idx="45110">2</cx:pt>
          <cx:pt idx="45111">3</cx:pt>
          <cx:pt idx="45112">4</cx:pt>
          <cx:pt idx="45113">5</cx:pt>
          <cx:pt idx="45114">1</cx:pt>
          <cx:pt idx="45115">1</cx:pt>
          <cx:pt idx="45116">3</cx:pt>
          <cx:pt idx="45117">3</cx:pt>
          <cx:pt idx="45118">0</cx:pt>
          <cx:pt idx="45119">3</cx:pt>
          <cx:pt idx="45120">4</cx:pt>
          <cx:pt idx="45121">1</cx:pt>
          <cx:pt idx="45122">3</cx:pt>
          <cx:pt idx="45123">3</cx:pt>
          <cx:pt idx="45124">3</cx:pt>
          <cx:pt idx="45125">2</cx:pt>
          <cx:pt idx="45126">4</cx:pt>
          <cx:pt idx="45127">2</cx:pt>
          <cx:pt idx="45128">0</cx:pt>
          <cx:pt idx="45129">0</cx:pt>
          <cx:pt idx="45130">2</cx:pt>
          <cx:pt idx="45131">1</cx:pt>
          <cx:pt idx="45132">5</cx:pt>
          <cx:pt idx="45133">3</cx:pt>
          <cx:pt idx="45134">1</cx:pt>
          <cx:pt idx="45135">3</cx:pt>
          <cx:pt idx="45136">1</cx:pt>
          <cx:pt idx="45137">4</cx:pt>
          <cx:pt idx="45138">4</cx:pt>
          <cx:pt idx="45139">3</cx:pt>
          <cx:pt idx="45140">2</cx:pt>
          <cx:pt idx="45141">2</cx:pt>
          <cx:pt idx="45142">3</cx:pt>
          <cx:pt idx="45143">3</cx:pt>
          <cx:pt idx="45144">1</cx:pt>
          <cx:pt idx="45145">3</cx:pt>
          <cx:pt idx="45146">2</cx:pt>
          <cx:pt idx="45147">5</cx:pt>
          <cx:pt idx="45148">3</cx:pt>
          <cx:pt idx="45149">3</cx:pt>
          <cx:pt idx="45150">3</cx:pt>
          <cx:pt idx="45151">3</cx:pt>
          <cx:pt idx="45152">0</cx:pt>
          <cx:pt idx="45153">3</cx:pt>
          <cx:pt idx="45154">2</cx:pt>
          <cx:pt idx="45155">1</cx:pt>
          <cx:pt idx="45156">1</cx:pt>
          <cx:pt idx="45157">2</cx:pt>
          <cx:pt idx="45158">3</cx:pt>
          <cx:pt idx="45159">5</cx:pt>
          <cx:pt idx="45160">1</cx:pt>
          <cx:pt idx="45161">3</cx:pt>
          <cx:pt idx="45162">3</cx:pt>
          <cx:pt idx="45163">3</cx:pt>
          <cx:pt idx="45164">3</cx:pt>
          <cx:pt idx="45165">0</cx:pt>
          <cx:pt idx="45166">3</cx:pt>
          <cx:pt idx="45167">4</cx:pt>
          <cx:pt idx="45168">5</cx:pt>
          <cx:pt idx="45169">1</cx:pt>
          <cx:pt idx="45170">4</cx:pt>
          <cx:pt idx="45171">1</cx:pt>
          <cx:pt idx="45172">1</cx:pt>
          <cx:pt idx="45173">3</cx:pt>
          <cx:pt idx="45174">1</cx:pt>
          <cx:pt idx="45175">1</cx:pt>
          <cx:pt idx="45176">3</cx:pt>
          <cx:pt idx="45177">4</cx:pt>
          <cx:pt idx="45178">3</cx:pt>
          <cx:pt idx="45179">5</cx:pt>
          <cx:pt idx="45180">5</cx:pt>
          <cx:pt idx="45181">1</cx:pt>
          <cx:pt idx="45182">2</cx:pt>
          <cx:pt idx="45183">2</cx:pt>
          <cx:pt idx="45184">1</cx:pt>
          <cx:pt idx="45185">5</cx:pt>
          <cx:pt idx="45186">1</cx:pt>
          <cx:pt idx="45187">3</cx:pt>
          <cx:pt idx="45188">1</cx:pt>
          <cx:pt idx="45189">2</cx:pt>
          <cx:pt idx="45190">3</cx:pt>
          <cx:pt idx="45191">2</cx:pt>
          <cx:pt idx="45192">0</cx:pt>
          <cx:pt idx="45193">3</cx:pt>
          <cx:pt idx="45194">5</cx:pt>
          <cx:pt idx="45195">4</cx:pt>
          <cx:pt idx="45196">4</cx:pt>
          <cx:pt idx="45197">2</cx:pt>
          <cx:pt idx="45198">5</cx:pt>
          <cx:pt idx="45199">4</cx:pt>
          <cx:pt idx="45200">4</cx:pt>
          <cx:pt idx="45201">3</cx:pt>
          <cx:pt idx="45202">3</cx:pt>
          <cx:pt idx="45203">2</cx:pt>
          <cx:pt idx="45204">5</cx:pt>
          <cx:pt idx="45205">5</cx:pt>
          <cx:pt idx="45206">5</cx:pt>
          <cx:pt idx="45207">4</cx:pt>
          <cx:pt idx="45208">4</cx:pt>
          <cx:pt idx="45209">5</cx:pt>
          <cx:pt idx="45210">1</cx:pt>
          <cx:pt idx="45211">1</cx:pt>
          <cx:pt idx="45212">2</cx:pt>
          <cx:pt idx="45213">3</cx:pt>
          <cx:pt idx="45214">2</cx:pt>
          <cx:pt idx="45215">2</cx:pt>
          <cx:pt idx="45216">5</cx:pt>
          <cx:pt idx="45217">5</cx:pt>
          <cx:pt idx="45218">5</cx:pt>
          <cx:pt idx="45219">4</cx:pt>
          <cx:pt idx="45220">2</cx:pt>
          <cx:pt idx="45221">1</cx:pt>
          <cx:pt idx="45222">2</cx:pt>
          <cx:pt idx="45223">5</cx:pt>
          <cx:pt idx="45224">3</cx:pt>
          <cx:pt idx="45225">4</cx:pt>
          <cx:pt idx="45226">4</cx:pt>
          <cx:pt idx="45227">2</cx:pt>
          <cx:pt idx="45228">3</cx:pt>
          <cx:pt idx="45229">0</cx:pt>
          <cx:pt idx="45230">1</cx:pt>
          <cx:pt idx="45231">1</cx:pt>
          <cx:pt idx="45232">1</cx:pt>
          <cx:pt idx="45233">3</cx:pt>
          <cx:pt idx="45234">4</cx:pt>
          <cx:pt idx="45235">3</cx:pt>
          <cx:pt idx="45236">1</cx:pt>
          <cx:pt idx="45237">2</cx:pt>
          <cx:pt idx="45238">2</cx:pt>
          <cx:pt idx="45239">2</cx:pt>
          <cx:pt idx="45240">1</cx:pt>
          <cx:pt idx="45241">3</cx:pt>
          <cx:pt idx="45242">2</cx:pt>
          <cx:pt idx="45243">4</cx:pt>
          <cx:pt idx="45244">3</cx:pt>
          <cx:pt idx="45245">2</cx:pt>
          <cx:pt idx="45246">2</cx:pt>
          <cx:pt idx="45247">1</cx:pt>
          <cx:pt idx="45248">3</cx:pt>
          <cx:pt idx="45249">3</cx:pt>
          <cx:pt idx="45250">3</cx:pt>
          <cx:pt idx="45251">2</cx:pt>
          <cx:pt idx="45252">3</cx:pt>
          <cx:pt idx="45253">5</cx:pt>
          <cx:pt idx="45254">4</cx:pt>
          <cx:pt idx="45255">4</cx:pt>
          <cx:pt idx="45256">4</cx:pt>
          <cx:pt idx="45257">3</cx:pt>
          <cx:pt idx="45258">3</cx:pt>
          <cx:pt idx="45259">2</cx:pt>
          <cx:pt idx="45260">3</cx:pt>
          <cx:pt idx="45261">3</cx:pt>
          <cx:pt idx="45262">2</cx:pt>
          <cx:pt idx="45263">5</cx:pt>
          <cx:pt idx="45264">5</cx:pt>
          <cx:pt idx="45265">4</cx:pt>
          <cx:pt idx="45266">4</cx:pt>
          <cx:pt idx="45267">2</cx:pt>
          <cx:pt idx="45268">4</cx:pt>
          <cx:pt idx="45269">1</cx:pt>
          <cx:pt idx="45270">3</cx:pt>
          <cx:pt idx="45271">0</cx:pt>
          <cx:pt idx="45272">3</cx:pt>
          <cx:pt idx="45273">2</cx:pt>
          <cx:pt idx="45274">2</cx:pt>
          <cx:pt idx="45275">3</cx:pt>
          <cx:pt idx="45276">5</cx:pt>
          <cx:pt idx="45277">5</cx:pt>
          <cx:pt idx="45278">2</cx:pt>
          <cx:pt idx="45279">2</cx:pt>
          <cx:pt idx="45280">4</cx:pt>
          <cx:pt idx="45281">5</cx:pt>
          <cx:pt idx="45282">3</cx:pt>
          <cx:pt idx="45283">5</cx:pt>
          <cx:pt idx="45284">4</cx:pt>
          <cx:pt idx="45285">4</cx:pt>
          <cx:pt idx="45286">3</cx:pt>
          <cx:pt idx="45287">4</cx:pt>
          <cx:pt idx="45288">5</cx:pt>
          <cx:pt idx="45289">1</cx:pt>
          <cx:pt idx="45290">1</cx:pt>
          <cx:pt idx="45291">2</cx:pt>
          <cx:pt idx="45292">2</cx:pt>
          <cx:pt idx="45293">3</cx:pt>
          <cx:pt idx="45294">0</cx:pt>
          <cx:pt idx="45295">3</cx:pt>
          <cx:pt idx="45296">3</cx:pt>
          <cx:pt idx="45297">3</cx:pt>
          <cx:pt idx="45298">1</cx:pt>
          <cx:pt idx="45299">3</cx:pt>
          <cx:pt idx="45300">4</cx:pt>
          <cx:pt idx="45301">2</cx:pt>
          <cx:pt idx="45302">0</cx:pt>
          <cx:pt idx="45303">4</cx:pt>
          <cx:pt idx="45304">2</cx:pt>
          <cx:pt idx="45305">1</cx:pt>
          <cx:pt idx="45306">2</cx:pt>
          <cx:pt idx="45307">2</cx:pt>
          <cx:pt idx="45308">1</cx:pt>
          <cx:pt idx="45309">0</cx:pt>
          <cx:pt idx="45310">1</cx:pt>
          <cx:pt idx="45311">1</cx:pt>
          <cx:pt idx="45312">2</cx:pt>
          <cx:pt idx="45313">1</cx:pt>
          <cx:pt idx="45314">2</cx:pt>
          <cx:pt idx="45315">4</cx:pt>
          <cx:pt idx="45316">3</cx:pt>
          <cx:pt idx="45317">2</cx:pt>
          <cx:pt idx="45318">1</cx:pt>
          <cx:pt idx="45319">2</cx:pt>
          <cx:pt idx="45320">0</cx:pt>
          <cx:pt idx="45321">4</cx:pt>
          <cx:pt idx="45322">3</cx:pt>
          <cx:pt idx="45323">5</cx:pt>
          <cx:pt idx="45324">2</cx:pt>
          <cx:pt idx="45325">1</cx:pt>
          <cx:pt idx="45326">2</cx:pt>
          <cx:pt idx="45327">3</cx:pt>
          <cx:pt idx="45328">4</cx:pt>
          <cx:pt idx="45329">3</cx:pt>
          <cx:pt idx="45330">2</cx:pt>
          <cx:pt idx="45331">4</cx:pt>
          <cx:pt idx="45332">2</cx:pt>
          <cx:pt idx="45333">3</cx:pt>
          <cx:pt idx="45334">3</cx:pt>
          <cx:pt idx="45335">4</cx:pt>
          <cx:pt idx="45336">2</cx:pt>
          <cx:pt idx="45337">3</cx:pt>
          <cx:pt idx="45338">2</cx:pt>
          <cx:pt idx="45339">4</cx:pt>
          <cx:pt idx="45340">5</cx:pt>
          <cx:pt idx="45341">4</cx:pt>
          <cx:pt idx="45342">3</cx:pt>
          <cx:pt idx="45343">2</cx:pt>
          <cx:pt idx="45344">1</cx:pt>
          <cx:pt idx="45345">2</cx:pt>
          <cx:pt idx="45346">5</cx:pt>
          <cx:pt idx="45347">2</cx:pt>
          <cx:pt idx="45348">3</cx:pt>
          <cx:pt idx="45349">4</cx:pt>
          <cx:pt idx="45350">1</cx:pt>
          <cx:pt idx="45351">1</cx:pt>
          <cx:pt idx="45352">3</cx:pt>
          <cx:pt idx="45353">5</cx:pt>
          <cx:pt idx="45354">0</cx:pt>
          <cx:pt idx="45355">5</cx:pt>
          <cx:pt idx="45356">5</cx:pt>
          <cx:pt idx="45357">3</cx:pt>
          <cx:pt idx="45358">5</cx:pt>
          <cx:pt idx="45359">3</cx:pt>
          <cx:pt idx="45360">5</cx:pt>
          <cx:pt idx="45361">4</cx:pt>
          <cx:pt idx="45362">2</cx:pt>
          <cx:pt idx="45363">1</cx:pt>
          <cx:pt idx="45364">4</cx:pt>
          <cx:pt idx="45365">2</cx:pt>
          <cx:pt idx="45366">2</cx:pt>
          <cx:pt idx="45367">3</cx:pt>
          <cx:pt idx="45368">5</cx:pt>
          <cx:pt idx="45369">2</cx:pt>
          <cx:pt idx="45370">2</cx:pt>
          <cx:pt idx="45371">3</cx:pt>
          <cx:pt idx="45372">2</cx:pt>
          <cx:pt idx="45373">1</cx:pt>
          <cx:pt idx="45374">3</cx:pt>
          <cx:pt idx="45375">3</cx:pt>
          <cx:pt idx="45376">4</cx:pt>
          <cx:pt idx="45377">3</cx:pt>
          <cx:pt idx="45378">3</cx:pt>
          <cx:pt idx="45379">4</cx:pt>
          <cx:pt idx="45380">5</cx:pt>
          <cx:pt idx="45381">2</cx:pt>
          <cx:pt idx="45382">3</cx:pt>
          <cx:pt idx="45383">4</cx:pt>
          <cx:pt idx="45384">0</cx:pt>
          <cx:pt idx="45385">5</cx:pt>
          <cx:pt idx="45386">2</cx:pt>
          <cx:pt idx="45387">2</cx:pt>
          <cx:pt idx="45388">1</cx:pt>
          <cx:pt idx="45389">1</cx:pt>
          <cx:pt idx="45390">0</cx:pt>
          <cx:pt idx="45391">3</cx:pt>
          <cx:pt idx="45392">5</cx:pt>
          <cx:pt idx="45393">1</cx:pt>
          <cx:pt idx="45394">5</cx:pt>
          <cx:pt idx="45395">2</cx:pt>
          <cx:pt idx="45396">3</cx:pt>
          <cx:pt idx="45397">5</cx:pt>
          <cx:pt idx="45398">3</cx:pt>
          <cx:pt idx="45399">2</cx:pt>
          <cx:pt idx="45400">4</cx:pt>
          <cx:pt idx="45401">4</cx:pt>
          <cx:pt idx="45402">5</cx:pt>
          <cx:pt idx="45403">2</cx:pt>
          <cx:pt idx="45404">4</cx:pt>
          <cx:pt idx="45405">1</cx:pt>
          <cx:pt idx="45406">5</cx:pt>
          <cx:pt idx="45407">4</cx:pt>
          <cx:pt idx="45408">3</cx:pt>
          <cx:pt idx="45409">5</cx:pt>
          <cx:pt idx="45410">5</cx:pt>
          <cx:pt idx="45411">3</cx:pt>
          <cx:pt idx="45412">3</cx:pt>
          <cx:pt idx="45413">4</cx:pt>
          <cx:pt idx="45414">3</cx:pt>
          <cx:pt idx="45415">3</cx:pt>
          <cx:pt idx="45416">1</cx:pt>
          <cx:pt idx="45417">2</cx:pt>
          <cx:pt idx="45418">5</cx:pt>
          <cx:pt idx="45419">5</cx:pt>
          <cx:pt idx="45420">4</cx:pt>
          <cx:pt idx="45421">1</cx:pt>
          <cx:pt idx="45422">0</cx:pt>
          <cx:pt idx="45423">1</cx:pt>
          <cx:pt idx="45424">3</cx:pt>
          <cx:pt idx="45425">2</cx:pt>
          <cx:pt idx="45426">2</cx:pt>
          <cx:pt idx="45427">1</cx:pt>
          <cx:pt idx="45428">0</cx:pt>
          <cx:pt idx="45429">3</cx:pt>
          <cx:pt idx="45430">4</cx:pt>
          <cx:pt idx="45431">4</cx:pt>
          <cx:pt idx="45432">2</cx:pt>
          <cx:pt idx="45433">5</cx:pt>
          <cx:pt idx="45434">3</cx:pt>
          <cx:pt idx="45435">2</cx:pt>
          <cx:pt idx="45436">1</cx:pt>
          <cx:pt idx="45437">2</cx:pt>
          <cx:pt idx="45438">2</cx:pt>
          <cx:pt idx="45439">2</cx:pt>
          <cx:pt idx="45440">3</cx:pt>
          <cx:pt idx="45441">5</cx:pt>
          <cx:pt idx="45442">2</cx:pt>
          <cx:pt idx="45443">4</cx:pt>
          <cx:pt idx="45444">1</cx:pt>
          <cx:pt idx="45445">4</cx:pt>
          <cx:pt idx="45446">3</cx:pt>
          <cx:pt idx="45447">4</cx:pt>
          <cx:pt idx="45448">2</cx:pt>
          <cx:pt idx="45449">4</cx:pt>
          <cx:pt idx="45450">2</cx:pt>
          <cx:pt idx="45451">4</cx:pt>
          <cx:pt idx="45452">3</cx:pt>
          <cx:pt idx="45453">2</cx:pt>
          <cx:pt idx="45454">3</cx:pt>
          <cx:pt idx="45455">3</cx:pt>
          <cx:pt idx="45456">1</cx:pt>
          <cx:pt idx="45457">3</cx:pt>
          <cx:pt idx="45458">4</cx:pt>
          <cx:pt idx="45459">3</cx:pt>
          <cx:pt idx="45460">5</cx:pt>
          <cx:pt idx="45461">4</cx:pt>
          <cx:pt idx="45462">5</cx:pt>
          <cx:pt idx="45463">5</cx:pt>
          <cx:pt idx="45464">2</cx:pt>
          <cx:pt idx="45465">2</cx:pt>
          <cx:pt idx="45466">3</cx:pt>
          <cx:pt idx="45467">5</cx:pt>
          <cx:pt idx="45468">2</cx:pt>
          <cx:pt idx="45469">3</cx:pt>
          <cx:pt idx="45470">4</cx:pt>
          <cx:pt idx="45471">2</cx:pt>
          <cx:pt idx="45472">5</cx:pt>
          <cx:pt idx="45473">5</cx:pt>
          <cx:pt idx="45474">3</cx:pt>
          <cx:pt idx="45475">4</cx:pt>
          <cx:pt idx="45476">3</cx:pt>
          <cx:pt idx="45477">2</cx:pt>
          <cx:pt idx="45478">0</cx:pt>
          <cx:pt idx="45479">3</cx:pt>
          <cx:pt idx="45480">2</cx:pt>
          <cx:pt idx="45481">5</cx:pt>
          <cx:pt idx="45482">2</cx:pt>
          <cx:pt idx="45483">2</cx:pt>
          <cx:pt idx="45484">2</cx:pt>
          <cx:pt idx="45485">2</cx:pt>
          <cx:pt idx="45486">5</cx:pt>
          <cx:pt idx="45487">1</cx:pt>
          <cx:pt idx="45488">3</cx:pt>
          <cx:pt idx="45489">2</cx:pt>
          <cx:pt idx="45490">0</cx:pt>
          <cx:pt idx="45491">2</cx:pt>
          <cx:pt idx="45492">5</cx:pt>
          <cx:pt idx="45493">4</cx:pt>
          <cx:pt idx="45494">2</cx:pt>
          <cx:pt idx="45495">1</cx:pt>
          <cx:pt idx="45496">5</cx:pt>
          <cx:pt idx="45497">4</cx:pt>
          <cx:pt idx="45498">4</cx:pt>
          <cx:pt idx="45499">2</cx:pt>
          <cx:pt idx="45500">3</cx:pt>
          <cx:pt idx="45501">1</cx:pt>
          <cx:pt idx="45502">5</cx:pt>
          <cx:pt idx="45503">3</cx:pt>
          <cx:pt idx="45504">4</cx:pt>
          <cx:pt idx="45505">3</cx:pt>
          <cx:pt idx="45506">4</cx:pt>
          <cx:pt idx="45507">4</cx:pt>
          <cx:pt idx="45508">3</cx:pt>
          <cx:pt idx="45509">3</cx:pt>
          <cx:pt idx="45510">5</cx:pt>
          <cx:pt idx="45511">1</cx:pt>
          <cx:pt idx="45512">2</cx:pt>
          <cx:pt idx="45513">2</cx:pt>
          <cx:pt idx="45514">2</cx:pt>
          <cx:pt idx="45515">3</cx:pt>
          <cx:pt idx="45516">2</cx:pt>
          <cx:pt idx="45517">3</cx:pt>
          <cx:pt idx="45518">3</cx:pt>
          <cx:pt idx="45519">1</cx:pt>
          <cx:pt idx="45520">5</cx:pt>
          <cx:pt idx="45521">3</cx:pt>
          <cx:pt idx="45522">2</cx:pt>
          <cx:pt idx="45523">5</cx:pt>
          <cx:pt idx="45524">1</cx:pt>
          <cx:pt idx="45525">4</cx:pt>
          <cx:pt idx="45526">3</cx:pt>
          <cx:pt idx="45527">4</cx:pt>
          <cx:pt idx="45528">2</cx:pt>
          <cx:pt idx="45529">5</cx:pt>
          <cx:pt idx="45530">2</cx:pt>
          <cx:pt idx="45531">3</cx:pt>
          <cx:pt idx="45532">2</cx:pt>
          <cx:pt idx="45533">3</cx:pt>
          <cx:pt idx="45534">3</cx:pt>
          <cx:pt idx="45535">2</cx:pt>
          <cx:pt idx="45536">2</cx:pt>
          <cx:pt idx="45537">3</cx:pt>
          <cx:pt idx="45538">4</cx:pt>
          <cx:pt idx="45539">5</cx:pt>
          <cx:pt idx="45540">3</cx:pt>
          <cx:pt idx="45541">3</cx:pt>
          <cx:pt idx="45542">3</cx:pt>
          <cx:pt idx="45543">1</cx:pt>
          <cx:pt idx="45544">5</cx:pt>
          <cx:pt idx="45545">5</cx:pt>
          <cx:pt idx="45546">1</cx:pt>
          <cx:pt idx="45547">2</cx:pt>
          <cx:pt idx="45548">2</cx:pt>
          <cx:pt idx="45549">3</cx:pt>
          <cx:pt idx="45550">3</cx:pt>
          <cx:pt idx="45551">5</cx:pt>
          <cx:pt idx="45552">3</cx:pt>
          <cx:pt idx="45553">2</cx:pt>
          <cx:pt idx="45554">1</cx:pt>
          <cx:pt idx="45555">2</cx:pt>
          <cx:pt idx="45556">1</cx:pt>
          <cx:pt idx="45557">4</cx:pt>
          <cx:pt idx="45558">4</cx:pt>
          <cx:pt idx="45559">1</cx:pt>
          <cx:pt idx="45560">2</cx:pt>
          <cx:pt idx="45561">1</cx:pt>
          <cx:pt idx="45562">4</cx:pt>
          <cx:pt idx="45563">4</cx:pt>
          <cx:pt idx="45564">3</cx:pt>
          <cx:pt idx="45565">3</cx:pt>
          <cx:pt idx="45566">2</cx:pt>
          <cx:pt idx="45567">5</cx:pt>
          <cx:pt idx="45568">3</cx:pt>
          <cx:pt idx="45569">0</cx:pt>
          <cx:pt idx="45570">1</cx:pt>
          <cx:pt idx="45571">3</cx:pt>
          <cx:pt idx="45572">1</cx:pt>
          <cx:pt idx="45573">4</cx:pt>
          <cx:pt idx="45574">4</cx:pt>
          <cx:pt idx="45575">3</cx:pt>
          <cx:pt idx="45576">3</cx:pt>
          <cx:pt idx="45577">1</cx:pt>
          <cx:pt idx="45578">5</cx:pt>
          <cx:pt idx="45579">3</cx:pt>
          <cx:pt idx="45580">1</cx:pt>
          <cx:pt idx="45581">3</cx:pt>
          <cx:pt idx="45582">0</cx:pt>
          <cx:pt idx="45583">2</cx:pt>
          <cx:pt idx="45584">4</cx:pt>
          <cx:pt idx="45585">4</cx:pt>
          <cx:pt idx="45586">4</cx:pt>
          <cx:pt idx="45587">1</cx:pt>
          <cx:pt idx="45588">1</cx:pt>
          <cx:pt idx="45589">3</cx:pt>
          <cx:pt idx="45590">2</cx:pt>
          <cx:pt idx="45591">4</cx:pt>
          <cx:pt idx="45592">5</cx:pt>
          <cx:pt idx="45593">2</cx:pt>
          <cx:pt idx="45594">4</cx:pt>
          <cx:pt idx="45595">3</cx:pt>
          <cx:pt idx="45596">2</cx:pt>
          <cx:pt idx="45597">2</cx:pt>
          <cx:pt idx="45598">5</cx:pt>
          <cx:pt idx="45599">4</cx:pt>
          <cx:pt idx="45600">2</cx:pt>
          <cx:pt idx="45601">1</cx:pt>
          <cx:pt idx="45602">1</cx:pt>
          <cx:pt idx="45603">1</cx:pt>
          <cx:pt idx="45604">1</cx:pt>
          <cx:pt idx="45605">4</cx:pt>
          <cx:pt idx="45606">2</cx:pt>
          <cx:pt idx="45607">1</cx:pt>
          <cx:pt idx="45608">5</cx:pt>
          <cx:pt idx="45609">1</cx:pt>
          <cx:pt idx="45610">1</cx:pt>
          <cx:pt idx="45611">1</cx:pt>
          <cx:pt idx="45612">1</cx:pt>
          <cx:pt idx="45613">3</cx:pt>
          <cx:pt idx="45614">3</cx:pt>
          <cx:pt idx="45615">4</cx:pt>
          <cx:pt idx="45616">2</cx:pt>
          <cx:pt idx="45617">5</cx:pt>
          <cx:pt idx="45618">2</cx:pt>
          <cx:pt idx="45619">3</cx:pt>
          <cx:pt idx="45620">2</cx:pt>
          <cx:pt idx="45621">3</cx:pt>
          <cx:pt idx="45622">2</cx:pt>
          <cx:pt idx="45623">1</cx:pt>
          <cx:pt idx="45624">2</cx:pt>
          <cx:pt idx="45625">3</cx:pt>
          <cx:pt idx="45626">3</cx:pt>
          <cx:pt idx="45627">3</cx:pt>
          <cx:pt idx="45628">3</cx:pt>
          <cx:pt idx="45629">4</cx:pt>
          <cx:pt idx="45630">1</cx:pt>
          <cx:pt idx="45631">1</cx:pt>
          <cx:pt idx="45632">4</cx:pt>
          <cx:pt idx="45633">3</cx:pt>
          <cx:pt idx="45634">0</cx:pt>
          <cx:pt idx="45635">3</cx:pt>
          <cx:pt idx="45636">5</cx:pt>
          <cx:pt idx="45637">1</cx:pt>
          <cx:pt idx="45638">3</cx:pt>
          <cx:pt idx="45639">3</cx:pt>
          <cx:pt idx="45640">0</cx:pt>
          <cx:pt idx="45641">5</cx:pt>
          <cx:pt idx="45642">4</cx:pt>
          <cx:pt idx="45643">1</cx:pt>
          <cx:pt idx="45644">3</cx:pt>
          <cx:pt idx="45645">5</cx:pt>
          <cx:pt idx="45646">2</cx:pt>
          <cx:pt idx="45647">3</cx:pt>
          <cx:pt idx="45648">1</cx:pt>
          <cx:pt idx="45649">1</cx:pt>
          <cx:pt idx="45650">3</cx:pt>
          <cx:pt idx="45651">3</cx:pt>
          <cx:pt idx="45652">2</cx:pt>
          <cx:pt idx="45653">4</cx:pt>
          <cx:pt idx="45654">2</cx:pt>
          <cx:pt idx="45655">2</cx:pt>
          <cx:pt idx="45656">2</cx:pt>
          <cx:pt idx="45657">3</cx:pt>
          <cx:pt idx="45658">5</cx:pt>
          <cx:pt idx="45659">4</cx:pt>
          <cx:pt idx="45660">2</cx:pt>
          <cx:pt idx="45661">3</cx:pt>
          <cx:pt idx="45662">1</cx:pt>
          <cx:pt idx="45663">4</cx:pt>
          <cx:pt idx="45664">3</cx:pt>
          <cx:pt idx="45665">4</cx:pt>
          <cx:pt idx="45666">2</cx:pt>
          <cx:pt idx="45667">5</cx:pt>
          <cx:pt idx="45668">0</cx:pt>
          <cx:pt idx="45669">2</cx:pt>
          <cx:pt idx="45670">4</cx:pt>
          <cx:pt idx="45671">5</cx:pt>
          <cx:pt idx="45672">1</cx:pt>
          <cx:pt idx="45673">2</cx:pt>
          <cx:pt idx="45674">3</cx:pt>
          <cx:pt idx="45675">5</cx:pt>
          <cx:pt idx="45676">4</cx:pt>
          <cx:pt idx="45677">3</cx:pt>
          <cx:pt idx="45678">3</cx:pt>
          <cx:pt idx="45679">4</cx:pt>
          <cx:pt idx="45680">3</cx:pt>
          <cx:pt idx="45681">3</cx:pt>
          <cx:pt idx="45682">1</cx:pt>
          <cx:pt idx="45683">3</cx:pt>
          <cx:pt idx="45684">2</cx:pt>
          <cx:pt idx="45685">2</cx:pt>
          <cx:pt idx="45686">2</cx:pt>
          <cx:pt idx="45687">1</cx:pt>
          <cx:pt idx="45688">4</cx:pt>
          <cx:pt idx="45689">3</cx:pt>
          <cx:pt idx="45690">3</cx:pt>
          <cx:pt idx="45691">5</cx:pt>
          <cx:pt idx="45692">3</cx:pt>
          <cx:pt idx="45693">4</cx:pt>
          <cx:pt idx="45694">4</cx:pt>
          <cx:pt idx="45695">3</cx:pt>
          <cx:pt idx="45696">1</cx:pt>
          <cx:pt idx="45697">1</cx:pt>
          <cx:pt idx="45698">1</cx:pt>
          <cx:pt idx="45699">3</cx:pt>
          <cx:pt idx="45700">2</cx:pt>
          <cx:pt idx="45701">4</cx:pt>
          <cx:pt idx="45702">3</cx:pt>
          <cx:pt idx="45703">1</cx:pt>
          <cx:pt idx="45704">5</cx:pt>
          <cx:pt idx="45705">3</cx:pt>
          <cx:pt idx="45706">1</cx:pt>
          <cx:pt idx="45707">3</cx:pt>
          <cx:pt idx="45708">2</cx:pt>
          <cx:pt idx="45709">2</cx:pt>
          <cx:pt idx="45710">4</cx:pt>
          <cx:pt idx="45711">2</cx:pt>
          <cx:pt idx="45712">4</cx:pt>
          <cx:pt idx="45713">1</cx:pt>
          <cx:pt idx="45714">2</cx:pt>
          <cx:pt idx="45715">3</cx:pt>
          <cx:pt idx="45716">3</cx:pt>
          <cx:pt idx="45717">5</cx:pt>
          <cx:pt idx="45718">2</cx:pt>
          <cx:pt idx="45719">4</cx:pt>
          <cx:pt idx="45720">0</cx:pt>
          <cx:pt idx="45721">2</cx:pt>
          <cx:pt idx="45722">4</cx:pt>
          <cx:pt idx="45723">5</cx:pt>
          <cx:pt idx="45724">2</cx:pt>
          <cx:pt idx="45725">2</cx:pt>
          <cx:pt idx="45726">4</cx:pt>
          <cx:pt idx="45727">2</cx:pt>
          <cx:pt idx="45728">3</cx:pt>
          <cx:pt idx="45729">5</cx:pt>
          <cx:pt idx="45730">5</cx:pt>
          <cx:pt idx="45731">1</cx:pt>
          <cx:pt idx="45732">3</cx:pt>
          <cx:pt idx="45733">2</cx:pt>
          <cx:pt idx="45734">5</cx:pt>
          <cx:pt idx="45735">4</cx:pt>
          <cx:pt idx="45736">2</cx:pt>
          <cx:pt idx="45737">0</cx:pt>
          <cx:pt idx="45738">2</cx:pt>
          <cx:pt idx="45739">3</cx:pt>
          <cx:pt idx="45740">3</cx:pt>
          <cx:pt idx="45741">5</cx:pt>
          <cx:pt idx="45742">2</cx:pt>
          <cx:pt idx="45743">0</cx:pt>
          <cx:pt idx="45744">1</cx:pt>
          <cx:pt idx="45745">3</cx:pt>
          <cx:pt idx="45746">0</cx:pt>
          <cx:pt idx="45747">3</cx:pt>
          <cx:pt idx="45748">2</cx:pt>
          <cx:pt idx="45749">1</cx:pt>
          <cx:pt idx="45750">3</cx:pt>
          <cx:pt idx="45751">2</cx:pt>
          <cx:pt idx="45752">2</cx:pt>
          <cx:pt idx="45753">3</cx:pt>
          <cx:pt idx="45754">0</cx:pt>
          <cx:pt idx="45755">3</cx:pt>
          <cx:pt idx="45756">2</cx:pt>
          <cx:pt idx="45757">1</cx:pt>
          <cx:pt idx="45758">4</cx:pt>
          <cx:pt idx="45759">2</cx:pt>
          <cx:pt idx="45760">2</cx:pt>
          <cx:pt idx="45761">3</cx:pt>
          <cx:pt idx="45762">1</cx:pt>
          <cx:pt idx="45763">5</cx:pt>
          <cx:pt idx="45764">5</cx:pt>
          <cx:pt idx="45765">4</cx:pt>
          <cx:pt idx="45766">2</cx:pt>
          <cx:pt idx="45767">5</cx:pt>
          <cx:pt idx="45768">3</cx:pt>
          <cx:pt idx="45769">4</cx:pt>
          <cx:pt idx="45770">1</cx:pt>
          <cx:pt idx="45771">5</cx:pt>
          <cx:pt idx="45772">1</cx:pt>
          <cx:pt idx="45773">1</cx:pt>
          <cx:pt idx="45774">5</cx:pt>
          <cx:pt idx="45775">2</cx:pt>
          <cx:pt idx="45776">2</cx:pt>
          <cx:pt idx="45777">5</cx:pt>
          <cx:pt idx="45778">3</cx:pt>
          <cx:pt idx="45779">1</cx:pt>
          <cx:pt idx="45780">5</cx:pt>
          <cx:pt idx="45781">5</cx:pt>
          <cx:pt idx="45782">5</cx:pt>
          <cx:pt idx="45783">2</cx:pt>
          <cx:pt idx="45784">2</cx:pt>
          <cx:pt idx="45785">2</cx:pt>
          <cx:pt idx="45786">3</cx:pt>
          <cx:pt idx="45787">3</cx:pt>
          <cx:pt idx="45788">3</cx:pt>
          <cx:pt idx="45789">5</cx:pt>
          <cx:pt idx="45790">5</cx:pt>
          <cx:pt idx="45791">4</cx:pt>
          <cx:pt idx="45792">5</cx:pt>
          <cx:pt idx="45793">3</cx:pt>
          <cx:pt idx="45794">2</cx:pt>
          <cx:pt idx="45795">3</cx:pt>
          <cx:pt idx="45796">3</cx:pt>
          <cx:pt idx="45797">2</cx:pt>
          <cx:pt idx="45798">3</cx:pt>
          <cx:pt idx="45799">4</cx:pt>
          <cx:pt idx="45800">1</cx:pt>
          <cx:pt idx="45801">3</cx:pt>
          <cx:pt idx="45802">4</cx:pt>
          <cx:pt idx="45803">3</cx:pt>
          <cx:pt idx="45804">0</cx:pt>
          <cx:pt idx="45805">5</cx:pt>
          <cx:pt idx="45806">3</cx:pt>
          <cx:pt idx="45807">3</cx:pt>
          <cx:pt idx="45808">5</cx:pt>
          <cx:pt idx="45809">2</cx:pt>
          <cx:pt idx="45810">5</cx:pt>
          <cx:pt idx="45811">4</cx:pt>
          <cx:pt idx="45812">1</cx:pt>
          <cx:pt idx="45813">3</cx:pt>
          <cx:pt idx="45814">4</cx:pt>
          <cx:pt idx="45815">4</cx:pt>
          <cx:pt idx="45816">3</cx:pt>
          <cx:pt idx="45817">3</cx:pt>
          <cx:pt idx="45818">1</cx:pt>
          <cx:pt idx="45819">2</cx:pt>
          <cx:pt idx="45820">2</cx:pt>
          <cx:pt idx="45821">3</cx:pt>
          <cx:pt idx="45822">4</cx:pt>
          <cx:pt idx="45823">5</cx:pt>
          <cx:pt idx="45824">3</cx:pt>
          <cx:pt idx="45825">3</cx:pt>
          <cx:pt idx="45826">3</cx:pt>
          <cx:pt idx="45827">5</cx:pt>
          <cx:pt idx="45828">2</cx:pt>
          <cx:pt idx="45829">1</cx:pt>
          <cx:pt idx="45830">3</cx:pt>
          <cx:pt idx="45831">5</cx:pt>
          <cx:pt idx="45832">4</cx:pt>
          <cx:pt idx="45833">5</cx:pt>
          <cx:pt idx="45834">2</cx:pt>
          <cx:pt idx="45835">5</cx:pt>
          <cx:pt idx="45836">3</cx:pt>
          <cx:pt idx="45837">0</cx:pt>
          <cx:pt idx="45838">1</cx:pt>
          <cx:pt idx="45839">2</cx:pt>
          <cx:pt idx="45840">1</cx:pt>
          <cx:pt idx="45841">4</cx:pt>
          <cx:pt idx="45842">1</cx:pt>
          <cx:pt idx="45843">1</cx:pt>
          <cx:pt idx="45844">3</cx:pt>
          <cx:pt idx="45845">1</cx:pt>
          <cx:pt idx="45846">4</cx:pt>
          <cx:pt idx="45847">1</cx:pt>
          <cx:pt idx="45848">3</cx:pt>
          <cx:pt idx="45849">1</cx:pt>
          <cx:pt idx="45850">1</cx:pt>
          <cx:pt idx="45851">4</cx:pt>
          <cx:pt idx="45852">4</cx:pt>
          <cx:pt idx="45853">4</cx:pt>
          <cx:pt idx="45854">3</cx:pt>
          <cx:pt idx="45855">5</cx:pt>
          <cx:pt idx="45856">1</cx:pt>
          <cx:pt idx="45857">1</cx:pt>
          <cx:pt idx="45858">0</cx:pt>
          <cx:pt idx="45859">4</cx:pt>
          <cx:pt idx="45860">3</cx:pt>
          <cx:pt idx="45861">5</cx:pt>
          <cx:pt idx="45862">5</cx:pt>
          <cx:pt idx="45863">4</cx:pt>
          <cx:pt idx="45864">2</cx:pt>
          <cx:pt idx="45865">4</cx:pt>
          <cx:pt idx="45866">2</cx:pt>
          <cx:pt idx="45867">1</cx:pt>
          <cx:pt idx="45868">2</cx:pt>
          <cx:pt idx="45869">2</cx:pt>
          <cx:pt idx="45870">2</cx:pt>
          <cx:pt idx="45871">2</cx:pt>
          <cx:pt idx="45872">3</cx:pt>
          <cx:pt idx="45873">2</cx:pt>
          <cx:pt idx="45874">5</cx:pt>
          <cx:pt idx="45875">3</cx:pt>
          <cx:pt idx="45876">1</cx:pt>
          <cx:pt idx="45877">3</cx:pt>
          <cx:pt idx="45878">3</cx:pt>
          <cx:pt idx="45879">4</cx:pt>
          <cx:pt idx="45880">2</cx:pt>
          <cx:pt idx="45881">2</cx:pt>
          <cx:pt idx="45882">4</cx:pt>
          <cx:pt idx="45883">1</cx:pt>
          <cx:pt idx="45884">3</cx:pt>
          <cx:pt idx="45885">1</cx:pt>
          <cx:pt idx="45886">2</cx:pt>
          <cx:pt idx="45887">3</cx:pt>
          <cx:pt idx="45888">2</cx:pt>
          <cx:pt idx="45889">0</cx:pt>
          <cx:pt idx="45890">5</cx:pt>
          <cx:pt idx="45891">3</cx:pt>
          <cx:pt idx="45892">3</cx:pt>
          <cx:pt idx="45893">3</cx:pt>
          <cx:pt idx="45894">3</cx:pt>
          <cx:pt idx="45895">5</cx:pt>
          <cx:pt idx="45896">3</cx:pt>
          <cx:pt idx="45897">0</cx:pt>
          <cx:pt idx="45898">3</cx:pt>
          <cx:pt idx="45899">1</cx:pt>
          <cx:pt idx="45900">2</cx:pt>
          <cx:pt idx="45901">0</cx:pt>
          <cx:pt idx="45902">4</cx:pt>
          <cx:pt idx="45903">0</cx:pt>
          <cx:pt idx="45904">1</cx:pt>
          <cx:pt idx="45905">1</cx:pt>
          <cx:pt idx="45906">3</cx:pt>
          <cx:pt idx="45907">2</cx:pt>
          <cx:pt idx="45908">3</cx:pt>
          <cx:pt idx="45909">3</cx:pt>
          <cx:pt idx="45910">1</cx:pt>
          <cx:pt idx="45911">3</cx:pt>
          <cx:pt idx="45912">3</cx:pt>
          <cx:pt idx="45913">2</cx:pt>
          <cx:pt idx="45914">4</cx:pt>
          <cx:pt idx="45915">4</cx:pt>
          <cx:pt idx="45916">1</cx:pt>
          <cx:pt idx="45917">4</cx:pt>
          <cx:pt idx="45918">1</cx:pt>
          <cx:pt idx="45919">5</cx:pt>
          <cx:pt idx="45920">3</cx:pt>
          <cx:pt idx="45921">2</cx:pt>
          <cx:pt idx="45922">1</cx:pt>
          <cx:pt idx="45923">4</cx:pt>
          <cx:pt idx="45924">1</cx:pt>
          <cx:pt idx="45925">1</cx:pt>
          <cx:pt idx="45926">5</cx:pt>
          <cx:pt idx="45927">3</cx:pt>
          <cx:pt idx="45928">4</cx:pt>
          <cx:pt idx="45929">3</cx:pt>
          <cx:pt idx="45930">3</cx:pt>
          <cx:pt idx="45931">0</cx:pt>
          <cx:pt idx="45932">1</cx:pt>
          <cx:pt idx="45933">4</cx:pt>
          <cx:pt idx="45934">0</cx:pt>
          <cx:pt idx="45935">5</cx:pt>
          <cx:pt idx="45936">2</cx:pt>
          <cx:pt idx="45937">4</cx:pt>
          <cx:pt idx="45938">2</cx:pt>
          <cx:pt idx="45939">4</cx:pt>
          <cx:pt idx="45940">1</cx:pt>
          <cx:pt idx="45941">2</cx:pt>
          <cx:pt idx="45942">5</cx:pt>
          <cx:pt idx="45943">5</cx:pt>
          <cx:pt idx="45944">4</cx:pt>
          <cx:pt idx="45945">1</cx:pt>
          <cx:pt idx="45946">2</cx:pt>
          <cx:pt idx="45947">1</cx:pt>
          <cx:pt idx="45948">4</cx:pt>
          <cx:pt idx="45949">5</cx:pt>
          <cx:pt idx="45950">2</cx:pt>
          <cx:pt idx="45951">5</cx:pt>
          <cx:pt idx="45952">2</cx:pt>
          <cx:pt idx="45953">2</cx:pt>
          <cx:pt idx="45954">2</cx:pt>
          <cx:pt idx="45955">2</cx:pt>
          <cx:pt idx="45956">0</cx:pt>
          <cx:pt idx="45957">2</cx:pt>
          <cx:pt idx="45958">5</cx:pt>
          <cx:pt idx="45959">4</cx:pt>
          <cx:pt idx="45960">4</cx:pt>
          <cx:pt idx="45961">3</cx:pt>
          <cx:pt idx="45962">1</cx:pt>
          <cx:pt idx="45963">2</cx:pt>
          <cx:pt idx="45964">4</cx:pt>
          <cx:pt idx="45965">2</cx:pt>
          <cx:pt idx="45966">4</cx:pt>
          <cx:pt idx="45967">2</cx:pt>
          <cx:pt idx="45968">3</cx:pt>
          <cx:pt idx="45969">4</cx:pt>
          <cx:pt idx="45970">4</cx:pt>
          <cx:pt idx="45971">5</cx:pt>
          <cx:pt idx="45972">2</cx:pt>
          <cx:pt idx="45973">3</cx:pt>
          <cx:pt idx="45974">4</cx:pt>
          <cx:pt idx="45975">1</cx:pt>
          <cx:pt idx="45976">1</cx:pt>
          <cx:pt idx="45977">1</cx:pt>
          <cx:pt idx="45978">2</cx:pt>
          <cx:pt idx="45979">2</cx:pt>
          <cx:pt idx="45980">2</cx:pt>
          <cx:pt idx="45981">1</cx:pt>
          <cx:pt idx="45982">5</cx:pt>
          <cx:pt idx="45983">3</cx:pt>
          <cx:pt idx="45984">3</cx:pt>
          <cx:pt idx="45985">4</cx:pt>
          <cx:pt idx="45986">2</cx:pt>
          <cx:pt idx="45987">0</cx:pt>
          <cx:pt idx="45988">1</cx:pt>
          <cx:pt idx="45989">4</cx:pt>
          <cx:pt idx="45990">4</cx:pt>
          <cx:pt idx="45991">4</cx:pt>
          <cx:pt idx="45992">3</cx:pt>
          <cx:pt idx="45993">0</cx:pt>
          <cx:pt idx="45994">3</cx:pt>
          <cx:pt idx="45995">1</cx:pt>
          <cx:pt idx="45996">1</cx:pt>
          <cx:pt idx="45997">2</cx:pt>
          <cx:pt idx="45998">3</cx:pt>
          <cx:pt idx="45999">2</cx:pt>
          <cx:pt idx="46000">2</cx:pt>
          <cx:pt idx="46001">2</cx:pt>
          <cx:pt idx="46002">0</cx:pt>
          <cx:pt idx="46003">2</cx:pt>
          <cx:pt idx="46004">0</cx:pt>
          <cx:pt idx="46005">1</cx:pt>
          <cx:pt idx="46006">1</cx:pt>
          <cx:pt idx="46007">4</cx:pt>
          <cx:pt idx="46008">4</cx:pt>
          <cx:pt idx="46009">3</cx:pt>
          <cx:pt idx="46010">4</cx:pt>
          <cx:pt idx="46011">2</cx:pt>
          <cx:pt idx="46012">5</cx:pt>
          <cx:pt idx="46013">1</cx:pt>
          <cx:pt idx="46014">4</cx:pt>
          <cx:pt idx="46015">3</cx:pt>
          <cx:pt idx="46016">4</cx:pt>
          <cx:pt idx="46017">2</cx:pt>
          <cx:pt idx="46018">2</cx:pt>
          <cx:pt idx="46019">3</cx:pt>
          <cx:pt idx="46020">2</cx:pt>
          <cx:pt idx="46021">2</cx:pt>
          <cx:pt idx="46022">5</cx:pt>
          <cx:pt idx="46023">3</cx:pt>
          <cx:pt idx="46024">3</cx:pt>
          <cx:pt idx="46025">4</cx:pt>
          <cx:pt idx="46026">3</cx:pt>
          <cx:pt idx="46027">3</cx:pt>
          <cx:pt idx="46028">4</cx:pt>
          <cx:pt idx="46029">4</cx:pt>
          <cx:pt idx="46030">3</cx:pt>
          <cx:pt idx="46031">4</cx:pt>
          <cx:pt idx="46032">3</cx:pt>
          <cx:pt idx="46033">3</cx:pt>
          <cx:pt idx="46034">1</cx:pt>
          <cx:pt idx="46035">5</cx:pt>
          <cx:pt idx="46036">3</cx:pt>
          <cx:pt idx="46037">3</cx:pt>
          <cx:pt idx="46038">0</cx:pt>
          <cx:pt idx="46039">2</cx:pt>
          <cx:pt idx="46040">5</cx:pt>
          <cx:pt idx="46041">1</cx:pt>
          <cx:pt idx="46042">1</cx:pt>
          <cx:pt idx="46043">3</cx:pt>
          <cx:pt idx="46044">4</cx:pt>
          <cx:pt idx="46045">5</cx:pt>
          <cx:pt idx="46046">3</cx:pt>
          <cx:pt idx="46047">4</cx:pt>
          <cx:pt idx="46048">5</cx:pt>
          <cx:pt idx="46049">1</cx:pt>
          <cx:pt idx="46050">4</cx:pt>
          <cx:pt idx="46051">5</cx:pt>
          <cx:pt idx="46052">3</cx:pt>
          <cx:pt idx="46053">2</cx:pt>
          <cx:pt idx="46054">1</cx:pt>
          <cx:pt idx="46055">4</cx:pt>
          <cx:pt idx="46056">5</cx:pt>
          <cx:pt idx="46057">2</cx:pt>
          <cx:pt idx="46058">5</cx:pt>
          <cx:pt idx="46059">1</cx:pt>
          <cx:pt idx="46060">2</cx:pt>
          <cx:pt idx="46061">5</cx:pt>
          <cx:pt idx="46062">3</cx:pt>
          <cx:pt idx="46063">1</cx:pt>
          <cx:pt idx="46064">1</cx:pt>
          <cx:pt idx="46065">4</cx:pt>
          <cx:pt idx="46066">3</cx:pt>
          <cx:pt idx="46067">4</cx:pt>
          <cx:pt idx="46068">5</cx:pt>
          <cx:pt idx="46069">2</cx:pt>
          <cx:pt idx="46070">3</cx:pt>
          <cx:pt idx="46071">0</cx:pt>
          <cx:pt idx="46072">4</cx:pt>
          <cx:pt idx="46073">1</cx:pt>
          <cx:pt idx="46074">3</cx:pt>
          <cx:pt idx="46075">1</cx:pt>
          <cx:pt idx="46076">1</cx:pt>
          <cx:pt idx="46077">5</cx:pt>
          <cx:pt idx="46078">1</cx:pt>
          <cx:pt idx="46079">2</cx:pt>
          <cx:pt idx="46080">5</cx:pt>
          <cx:pt idx="46081">3</cx:pt>
          <cx:pt idx="46082">1</cx:pt>
          <cx:pt idx="46083">3</cx:pt>
          <cx:pt idx="46084">2</cx:pt>
          <cx:pt idx="46085">0</cx:pt>
          <cx:pt idx="46086">3</cx:pt>
          <cx:pt idx="46087">5</cx:pt>
          <cx:pt idx="46088">4</cx:pt>
          <cx:pt idx="46089">4</cx:pt>
          <cx:pt idx="46090">5</cx:pt>
          <cx:pt idx="46091">0</cx:pt>
          <cx:pt idx="46092">5</cx:pt>
          <cx:pt idx="46093">5</cx:pt>
          <cx:pt idx="46094">5</cx:pt>
          <cx:pt idx="46095">2</cx:pt>
          <cx:pt idx="46096">5</cx:pt>
          <cx:pt idx="46097">4</cx:pt>
          <cx:pt idx="46098">3</cx:pt>
          <cx:pt idx="46099">3</cx:pt>
          <cx:pt idx="46100">4</cx:pt>
          <cx:pt idx="46101">0</cx:pt>
          <cx:pt idx="46102">3</cx:pt>
          <cx:pt idx="46103">3</cx:pt>
          <cx:pt idx="46104">3</cx:pt>
          <cx:pt idx="46105">4</cx:pt>
          <cx:pt idx="46106">3</cx:pt>
          <cx:pt idx="46107">1</cx:pt>
          <cx:pt idx="46108">5</cx:pt>
          <cx:pt idx="46109">3</cx:pt>
          <cx:pt idx="46110">1</cx:pt>
          <cx:pt idx="46111">2</cx:pt>
          <cx:pt idx="46112">5</cx:pt>
          <cx:pt idx="46113">5</cx:pt>
          <cx:pt idx="46114">2</cx:pt>
          <cx:pt idx="46115">4</cx:pt>
          <cx:pt idx="46116">3</cx:pt>
          <cx:pt idx="46117">5</cx:pt>
          <cx:pt idx="46118">3</cx:pt>
          <cx:pt idx="46119">3</cx:pt>
          <cx:pt idx="46120">2</cx:pt>
          <cx:pt idx="46121">2</cx:pt>
          <cx:pt idx="46122">4</cx:pt>
          <cx:pt idx="46123">4</cx:pt>
          <cx:pt idx="46124">1</cx:pt>
          <cx:pt idx="46125">2</cx:pt>
          <cx:pt idx="46126">2</cx:pt>
          <cx:pt idx="46127">3</cx:pt>
          <cx:pt idx="46128">2</cx:pt>
          <cx:pt idx="46129">2</cx:pt>
          <cx:pt idx="46130">2</cx:pt>
          <cx:pt idx="46131">1</cx:pt>
          <cx:pt idx="46132">1</cx:pt>
          <cx:pt idx="46133">1</cx:pt>
          <cx:pt idx="46134">2</cx:pt>
          <cx:pt idx="46135">2</cx:pt>
          <cx:pt idx="46136">5</cx:pt>
          <cx:pt idx="46137">1</cx:pt>
          <cx:pt idx="46138">1</cx:pt>
          <cx:pt idx="46139">2</cx:pt>
          <cx:pt idx="46140">1</cx:pt>
          <cx:pt idx="46141">1</cx:pt>
          <cx:pt idx="46142">4</cx:pt>
          <cx:pt idx="46143">4</cx:pt>
          <cx:pt idx="46144">2</cx:pt>
          <cx:pt idx="46145">4</cx:pt>
          <cx:pt idx="46146">5</cx:pt>
          <cx:pt idx="46147">5</cx:pt>
          <cx:pt idx="46148">3</cx:pt>
          <cx:pt idx="46149">0</cx:pt>
          <cx:pt idx="46150">4</cx:pt>
          <cx:pt idx="46151">5</cx:pt>
          <cx:pt idx="46152">4</cx:pt>
          <cx:pt idx="46153">5</cx:pt>
          <cx:pt idx="46154">2</cx:pt>
          <cx:pt idx="46155">1</cx:pt>
          <cx:pt idx="46156">2</cx:pt>
          <cx:pt idx="46157">4</cx:pt>
          <cx:pt idx="46158">0</cx:pt>
          <cx:pt idx="46159">1</cx:pt>
          <cx:pt idx="46160">1</cx:pt>
          <cx:pt idx="46161">2</cx:pt>
          <cx:pt idx="46162">4</cx:pt>
          <cx:pt idx="46163">2</cx:pt>
          <cx:pt idx="46164">1</cx:pt>
          <cx:pt idx="46165">3</cx:pt>
          <cx:pt idx="46166">4</cx:pt>
          <cx:pt idx="46167">2</cx:pt>
          <cx:pt idx="46168">5</cx:pt>
          <cx:pt idx="46169">1</cx:pt>
          <cx:pt idx="46170">1</cx:pt>
          <cx:pt idx="46171">1</cx:pt>
          <cx:pt idx="46172">4</cx:pt>
          <cx:pt idx="46173">4</cx:pt>
          <cx:pt idx="46174">4</cx:pt>
          <cx:pt idx="46175">4</cx:pt>
          <cx:pt idx="46176">4</cx:pt>
          <cx:pt idx="46177">1</cx:pt>
          <cx:pt idx="46178">2</cx:pt>
          <cx:pt idx="46179">4</cx:pt>
          <cx:pt idx="46180">5</cx:pt>
          <cx:pt idx="46181">3</cx:pt>
          <cx:pt idx="46182">5</cx:pt>
          <cx:pt idx="46183">1</cx:pt>
          <cx:pt idx="46184">3</cx:pt>
          <cx:pt idx="46185">4</cx:pt>
          <cx:pt idx="46186">1</cx:pt>
          <cx:pt idx="46187">2</cx:pt>
          <cx:pt idx="46188">3</cx:pt>
          <cx:pt idx="46189">2</cx:pt>
          <cx:pt idx="46190">2</cx:pt>
          <cx:pt idx="46191">1</cx:pt>
          <cx:pt idx="46192">3</cx:pt>
          <cx:pt idx="46193">5</cx:pt>
          <cx:pt idx="46194">3</cx:pt>
          <cx:pt idx="46195">2</cx:pt>
          <cx:pt idx="46196">1</cx:pt>
          <cx:pt idx="46197">2</cx:pt>
          <cx:pt idx="46198">3</cx:pt>
          <cx:pt idx="46199">1</cx:pt>
          <cx:pt idx="46200">1</cx:pt>
          <cx:pt idx="46201">4</cx:pt>
          <cx:pt idx="46202">1</cx:pt>
          <cx:pt idx="46203">5</cx:pt>
          <cx:pt idx="46204">0</cx:pt>
          <cx:pt idx="46205">2</cx:pt>
          <cx:pt idx="46206">3</cx:pt>
          <cx:pt idx="46207">5</cx:pt>
          <cx:pt idx="46208">3</cx:pt>
          <cx:pt idx="46209">2</cx:pt>
          <cx:pt idx="46210">5</cx:pt>
          <cx:pt idx="46211">3</cx:pt>
          <cx:pt idx="46212">2</cx:pt>
          <cx:pt idx="46213">2</cx:pt>
          <cx:pt idx="46214">2</cx:pt>
          <cx:pt idx="46215">3</cx:pt>
          <cx:pt idx="46216">4</cx:pt>
          <cx:pt idx="46217">3</cx:pt>
          <cx:pt idx="46218">3</cx:pt>
          <cx:pt idx="46219">1</cx:pt>
          <cx:pt idx="46220">0</cx:pt>
          <cx:pt idx="46221">2</cx:pt>
          <cx:pt idx="46222">5</cx:pt>
          <cx:pt idx="46223">1</cx:pt>
          <cx:pt idx="46224">2</cx:pt>
          <cx:pt idx="46225">3</cx:pt>
          <cx:pt idx="46226">4</cx:pt>
          <cx:pt idx="46227">4</cx:pt>
          <cx:pt idx="46228">0</cx:pt>
          <cx:pt idx="46229">2</cx:pt>
          <cx:pt idx="46230">4</cx:pt>
          <cx:pt idx="46231">1</cx:pt>
          <cx:pt idx="46232">5</cx:pt>
          <cx:pt idx="46233">1</cx:pt>
          <cx:pt idx="46234">3</cx:pt>
          <cx:pt idx="46235">4</cx:pt>
          <cx:pt idx="46236">4</cx:pt>
          <cx:pt idx="46237">1</cx:pt>
          <cx:pt idx="46238">2</cx:pt>
          <cx:pt idx="46239">4</cx:pt>
          <cx:pt idx="46240">5</cx:pt>
          <cx:pt idx="46241">4</cx:pt>
          <cx:pt idx="46242">3</cx:pt>
          <cx:pt idx="46243">0</cx:pt>
          <cx:pt idx="46244">2</cx:pt>
          <cx:pt idx="46245">3</cx:pt>
          <cx:pt idx="46246">1</cx:pt>
          <cx:pt idx="46247">5</cx:pt>
          <cx:pt idx="46248">2</cx:pt>
          <cx:pt idx="46249">1</cx:pt>
          <cx:pt idx="46250">3</cx:pt>
          <cx:pt idx="46251">3</cx:pt>
          <cx:pt idx="46252">4</cx:pt>
          <cx:pt idx="46253">1</cx:pt>
          <cx:pt idx="46254">5</cx:pt>
          <cx:pt idx="46255">2</cx:pt>
          <cx:pt idx="46256">1</cx:pt>
          <cx:pt idx="46257">5</cx:pt>
          <cx:pt idx="46258">1</cx:pt>
          <cx:pt idx="46259">5</cx:pt>
          <cx:pt idx="46260">0</cx:pt>
          <cx:pt idx="46261">2</cx:pt>
          <cx:pt idx="46262">2</cx:pt>
          <cx:pt idx="46263">0</cx:pt>
          <cx:pt idx="46264">2</cx:pt>
          <cx:pt idx="46265">5</cx:pt>
          <cx:pt idx="46266">2</cx:pt>
          <cx:pt idx="46267">3</cx:pt>
          <cx:pt idx="46268">2</cx:pt>
          <cx:pt idx="46269">2</cx:pt>
          <cx:pt idx="46270">4</cx:pt>
          <cx:pt idx="46271">1</cx:pt>
          <cx:pt idx="46272">3</cx:pt>
          <cx:pt idx="46273">4</cx:pt>
          <cx:pt idx="46274">2</cx:pt>
          <cx:pt idx="46275">1</cx:pt>
          <cx:pt idx="46276">3</cx:pt>
          <cx:pt idx="46277">2</cx:pt>
          <cx:pt idx="46278">5</cx:pt>
          <cx:pt idx="46279">3</cx:pt>
          <cx:pt idx="46280">4</cx:pt>
          <cx:pt idx="46281">2</cx:pt>
          <cx:pt idx="46282">4</cx:pt>
          <cx:pt idx="46283">4</cx:pt>
          <cx:pt idx="46284">4</cx:pt>
          <cx:pt idx="46285">3</cx:pt>
          <cx:pt idx="46286">3</cx:pt>
          <cx:pt idx="46287">4</cx:pt>
          <cx:pt idx="46288">3</cx:pt>
          <cx:pt idx="46289">5</cx:pt>
          <cx:pt idx="46290">0</cx:pt>
          <cx:pt idx="46291">4</cx:pt>
          <cx:pt idx="46292">3</cx:pt>
          <cx:pt idx="46293">3</cx:pt>
          <cx:pt idx="46294">2</cx:pt>
          <cx:pt idx="46295">3</cx:pt>
          <cx:pt idx="46296">2</cx:pt>
          <cx:pt idx="46297">2</cx:pt>
          <cx:pt idx="46298">2</cx:pt>
          <cx:pt idx="46299">4</cx:pt>
          <cx:pt idx="46300">3</cx:pt>
          <cx:pt idx="46301">2</cx:pt>
          <cx:pt idx="46302">3</cx:pt>
          <cx:pt idx="46303">5</cx:pt>
          <cx:pt idx="46304">1</cx:pt>
          <cx:pt idx="46305">3</cx:pt>
          <cx:pt idx="46306">2</cx:pt>
          <cx:pt idx="46307">5</cx:pt>
          <cx:pt idx="46308">5</cx:pt>
          <cx:pt idx="46309">1</cx:pt>
          <cx:pt idx="46310">1</cx:pt>
          <cx:pt idx="46311">5</cx:pt>
          <cx:pt idx="46312">2</cx:pt>
          <cx:pt idx="46313">4</cx:pt>
          <cx:pt idx="46314">2</cx:pt>
          <cx:pt idx="46315">3</cx:pt>
          <cx:pt idx="46316">3</cx:pt>
          <cx:pt idx="46317">1</cx:pt>
          <cx:pt idx="46318">1</cx:pt>
          <cx:pt idx="46319">2</cx:pt>
          <cx:pt idx="46320">5</cx:pt>
          <cx:pt idx="46321">5</cx:pt>
          <cx:pt idx="46322">5</cx:pt>
          <cx:pt idx="46323">2</cx:pt>
          <cx:pt idx="46324">3</cx:pt>
          <cx:pt idx="46325">2</cx:pt>
          <cx:pt idx="46326">3</cx:pt>
          <cx:pt idx="46327">3</cx:pt>
          <cx:pt idx="46328">5</cx:pt>
          <cx:pt idx="46329">2</cx:pt>
          <cx:pt idx="46330">4</cx:pt>
          <cx:pt idx="46331">0</cx:pt>
          <cx:pt idx="46332">2</cx:pt>
          <cx:pt idx="46333">1</cx:pt>
          <cx:pt idx="46334">3</cx:pt>
          <cx:pt idx="46335">1</cx:pt>
          <cx:pt idx="46336">5</cx:pt>
          <cx:pt idx="46337">1</cx:pt>
          <cx:pt idx="46338">3</cx:pt>
          <cx:pt idx="46339">3</cx:pt>
          <cx:pt idx="46340">2</cx:pt>
          <cx:pt idx="46341">1</cx:pt>
          <cx:pt idx="46342">3</cx:pt>
          <cx:pt idx="46343">4</cx:pt>
          <cx:pt idx="46344">4</cx:pt>
          <cx:pt idx="46345">3</cx:pt>
          <cx:pt idx="46346">3</cx:pt>
          <cx:pt idx="46347">3</cx:pt>
          <cx:pt idx="46348">3</cx:pt>
          <cx:pt idx="46349">2</cx:pt>
          <cx:pt idx="46350">3</cx:pt>
          <cx:pt idx="46351">4</cx:pt>
          <cx:pt idx="46352">5</cx:pt>
          <cx:pt idx="46353">5</cx:pt>
          <cx:pt idx="46354">3</cx:pt>
          <cx:pt idx="46355">2</cx:pt>
          <cx:pt idx="46356">3</cx:pt>
          <cx:pt idx="46357">4</cx:pt>
          <cx:pt idx="46358">3</cx:pt>
          <cx:pt idx="46359">5</cx:pt>
          <cx:pt idx="46360">3</cx:pt>
          <cx:pt idx="46361">4</cx:pt>
          <cx:pt idx="46362">2</cx:pt>
          <cx:pt idx="46363">2</cx:pt>
          <cx:pt idx="46364">3</cx:pt>
          <cx:pt idx="46365">2</cx:pt>
          <cx:pt idx="46366">5</cx:pt>
          <cx:pt idx="46367">1</cx:pt>
          <cx:pt idx="46368">5</cx:pt>
          <cx:pt idx="46369">1</cx:pt>
          <cx:pt idx="46370">2</cx:pt>
          <cx:pt idx="46371">1</cx:pt>
          <cx:pt idx="46372">1</cx:pt>
          <cx:pt idx="46373">2</cx:pt>
          <cx:pt idx="46374">3</cx:pt>
          <cx:pt idx="46375">4</cx:pt>
          <cx:pt idx="46376">4</cx:pt>
          <cx:pt idx="46377">4</cx:pt>
          <cx:pt idx="46378">5</cx:pt>
          <cx:pt idx="46379">3</cx:pt>
          <cx:pt idx="46380">1</cx:pt>
          <cx:pt idx="46381">2</cx:pt>
          <cx:pt idx="46382">3</cx:pt>
          <cx:pt idx="46383">2</cx:pt>
          <cx:pt idx="46384">3</cx:pt>
          <cx:pt idx="46385">5</cx:pt>
          <cx:pt idx="46386">3</cx:pt>
          <cx:pt idx="46387">3</cx:pt>
          <cx:pt idx="46388">5</cx:pt>
          <cx:pt idx="46389">3</cx:pt>
          <cx:pt idx="46390">5</cx:pt>
          <cx:pt idx="46391">1</cx:pt>
          <cx:pt idx="46392">2</cx:pt>
          <cx:pt idx="46393">1</cx:pt>
          <cx:pt idx="46394">2</cx:pt>
          <cx:pt idx="46395">5</cx:pt>
          <cx:pt idx="46396">5</cx:pt>
          <cx:pt idx="46397">2</cx:pt>
          <cx:pt idx="46398">3</cx:pt>
          <cx:pt idx="46399">2</cx:pt>
          <cx:pt idx="46400">4</cx:pt>
          <cx:pt idx="46401">4</cx:pt>
          <cx:pt idx="46402">3</cx:pt>
          <cx:pt idx="46403">3</cx:pt>
          <cx:pt idx="46404">4</cx:pt>
          <cx:pt idx="46405">5</cx:pt>
          <cx:pt idx="46406">3</cx:pt>
          <cx:pt idx="46407">3</cx:pt>
          <cx:pt idx="46408">1</cx:pt>
          <cx:pt idx="46409">3</cx:pt>
          <cx:pt idx="46410">5</cx:pt>
          <cx:pt idx="46411">4</cx:pt>
          <cx:pt idx="46412">4</cx:pt>
          <cx:pt idx="46413">4</cx:pt>
          <cx:pt idx="46414">3</cx:pt>
          <cx:pt idx="46415">4</cx:pt>
          <cx:pt idx="46416">3</cx:pt>
          <cx:pt idx="46417">2</cx:pt>
          <cx:pt idx="46418">2</cx:pt>
          <cx:pt idx="46419">1</cx:pt>
          <cx:pt idx="46420">2</cx:pt>
          <cx:pt idx="46421">5</cx:pt>
          <cx:pt idx="46422">0</cx:pt>
          <cx:pt idx="46423">3</cx:pt>
          <cx:pt idx="46424">2</cx:pt>
          <cx:pt idx="46425">3</cx:pt>
          <cx:pt idx="46426">0</cx:pt>
          <cx:pt idx="46427">3</cx:pt>
          <cx:pt idx="46428">5</cx:pt>
          <cx:pt idx="46429">3</cx:pt>
          <cx:pt idx="46430">4</cx:pt>
          <cx:pt idx="46431">4</cx:pt>
          <cx:pt idx="46432">1</cx:pt>
          <cx:pt idx="46433">3</cx:pt>
          <cx:pt idx="46434">5</cx:pt>
          <cx:pt idx="46435">1</cx:pt>
          <cx:pt idx="46436">4</cx:pt>
          <cx:pt idx="46437">5</cx:pt>
          <cx:pt idx="46438">5</cx:pt>
          <cx:pt idx="46439">1</cx:pt>
          <cx:pt idx="46440">4</cx:pt>
          <cx:pt idx="46441">5</cx:pt>
          <cx:pt idx="46442">3</cx:pt>
          <cx:pt idx="46443">4</cx:pt>
          <cx:pt idx="46444">5</cx:pt>
          <cx:pt idx="46445">3</cx:pt>
          <cx:pt idx="46446">2</cx:pt>
          <cx:pt idx="46447">0</cx:pt>
          <cx:pt idx="46448">1</cx:pt>
          <cx:pt idx="46449">2</cx:pt>
          <cx:pt idx="46450">0</cx:pt>
          <cx:pt idx="46451">2</cx:pt>
          <cx:pt idx="46452">4</cx:pt>
          <cx:pt idx="46453">3</cx:pt>
          <cx:pt idx="46454">2</cx:pt>
          <cx:pt idx="46455">3</cx:pt>
          <cx:pt idx="46456">5</cx:pt>
          <cx:pt idx="46457">2</cx:pt>
          <cx:pt idx="46458">1</cx:pt>
          <cx:pt idx="46459">3</cx:pt>
          <cx:pt idx="46460">5</cx:pt>
          <cx:pt idx="46461">1</cx:pt>
          <cx:pt idx="46462">3</cx:pt>
          <cx:pt idx="46463">0</cx:pt>
          <cx:pt idx="46464">1</cx:pt>
          <cx:pt idx="46465">5</cx:pt>
          <cx:pt idx="46466">3</cx:pt>
          <cx:pt idx="46467">3</cx:pt>
          <cx:pt idx="46468">3</cx:pt>
          <cx:pt idx="46469">4</cx:pt>
          <cx:pt idx="46470">3</cx:pt>
          <cx:pt idx="46471">4</cx:pt>
          <cx:pt idx="46472">5</cx:pt>
          <cx:pt idx="46473">2</cx:pt>
          <cx:pt idx="46474">4</cx:pt>
          <cx:pt idx="46475">4</cx:pt>
          <cx:pt idx="46476">3</cx:pt>
          <cx:pt idx="46477">2</cx:pt>
          <cx:pt idx="46478">1</cx:pt>
          <cx:pt idx="46479">3</cx:pt>
          <cx:pt idx="46480">2</cx:pt>
          <cx:pt idx="46481">2</cx:pt>
          <cx:pt idx="46482">2</cx:pt>
          <cx:pt idx="46483">3</cx:pt>
          <cx:pt idx="46484">3</cx:pt>
          <cx:pt idx="46485">5</cx:pt>
          <cx:pt idx="46486">1</cx:pt>
          <cx:pt idx="46487">5</cx:pt>
          <cx:pt idx="46488">2</cx:pt>
          <cx:pt idx="46489">4</cx:pt>
          <cx:pt idx="46490">3</cx:pt>
          <cx:pt idx="46491">4</cx:pt>
          <cx:pt idx="46492">0</cx:pt>
          <cx:pt idx="46493">1</cx:pt>
          <cx:pt idx="46494">2</cx:pt>
          <cx:pt idx="46495">3</cx:pt>
          <cx:pt idx="46496">2</cx:pt>
          <cx:pt idx="46497">2</cx:pt>
          <cx:pt idx="46498">2</cx:pt>
          <cx:pt idx="46499">3</cx:pt>
          <cx:pt idx="46500">4</cx:pt>
          <cx:pt idx="46501">1</cx:pt>
          <cx:pt idx="46502">3</cx:pt>
          <cx:pt idx="46503">2</cx:pt>
          <cx:pt idx="46504">2</cx:pt>
          <cx:pt idx="46505">4</cx:pt>
          <cx:pt idx="46506">5</cx:pt>
          <cx:pt idx="46507">4</cx:pt>
          <cx:pt idx="46508">2</cx:pt>
          <cx:pt idx="46509">5</cx:pt>
          <cx:pt idx="46510">4</cx:pt>
          <cx:pt idx="46511">4</cx:pt>
          <cx:pt idx="46512">1</cx:pt>
          <cx:pt idx="46513">3</cx:pt>
          <cx:pt idx="46514">3</cx:pt>
          <cx:pt idx="46515">1</cx:pt>
          <cx:pt idx="46516">3</cx:pt>
          <cx:pt idx="46517">2</cx:pt>
          <cx:pt idx="46518">4</cx:pt>
          <cx:pt idx="46519">2</cx:pt>
          <cx:pt idx="46520">1</cx:pt>
          <cx:pt idx="46521">2</cx:pt>
          <cx:pt idx="46522">5</cx:pt>
          <cx:pt idx="46523">1</cx:pt>
          <cx:pt idx="46524">5</cx:pt>
          <cx:pt idx="46525">3</cx:pt>
          <cx:pt idx="46526">4</cx:pt>
          <cx:pt idx="46527">1</cx:pt>
          <cx:pt idx="46528">5</cx:pt>
          <cx:pt idx="46529">3</cx:pt>
          <cx:pt idx="46530">4</cx:pt>
          <cx:pt idx="46531">1</cx:pt>
          <cx:pt idx="46532">5</cx:pt>
          <cx:pt idx="46533">4</cx:pt>
          <cx:pt idx="46534">3</cx:pt>
          <cx:pt idx="46535">4</cx:pt>
          <cx:pt idx="46536">5</cx:pt>
          <cx:pt idx="46537">4</cx:pt>
          <cx:pt idx="46538">1</cx:pt>
          <cx:pt idx="46539">4</cx:pt>
          <cx:pt idx="46540">2</cx:pt>
          <cx:pt idx="46541">3</cx:pt>
          <cx:pt idx="46542">1</cx:pt>
          <cx:pt idx="46543">2</cx:pt>
          <cx:pt idx="46544">4</cx:pt>
          <cx:pt idx="46545">3</cx:pt>
          <cx:pt idx="46546">3</cx:pt>
          <cx:pt idx="46547">5</cx:pt>
          <cx:pt idx="46548">4</cx:pt>
          <cx:pt idx="46549">1</cx:pt>
          <cx:pt idx="46550">2</cx:pt>
          <cx:pt idx="46551">2</cx:pt>
          <cx:pt idx="46552">1</cx:pt>
          <cx:pt idx="46553">2</cx:pt>
          <cx:pt idx="46554">2</cx:pt>
          <cx:pt idx="46555">4</cx:pt>
          <cx:pt idx="46556">3</cx:pt>
          <cx:pt idx="46557">4</cx:pt>
          <cx:pt idx="46558">2</cx:pt>
          <cx:pt idx="46559">5</cx:pt>
          <cx:pt idx="46560">4</cx:pt>
          <cx:pt idx="46561">4</cx:pt>
          <cx:pt idx="46562">2</cx:pt>
          <cx:pt idx="46563">3</cx:pt>
          <cx:pt idx="46564">4</cx:pt>
          <cx:pt idx="46565">3</cx:pt>
          <cx:pt idx="46566">2</cx:pt>
          <cx:pt idx="46567">4</cx:pt>
          <cx:pt idx="46568">4</cx:pt>
          <cx:pt idx="46569">3</cx:pt>
          <cx:pt idx="46570">2</cx:pt>
          <cx:pt idx="46571">4</cx:pt>
          <cx:pt idx="46572">1</cx:pt>
          <cx:pt idx="46573">4</cx:pt>
          <cx:pt idx="46574">3</cx:pt>
          <cx:pt idx="46575">2</cx:pt>
          <cx:pt idx="46576">0</cx:pt>
          <cx:pt idx="46577">4</cx:pt>
          <cx:pt idx="46578">2</cx:pt>
          <cx:pt idx="46579">2</cx:pt>
          <cx:pt idx="46580">1</cx:pt>
          <cx:pt idx="46581">3</cx:pt>
          <cx:pt idx="46582">1</cx:pt>
          <cx:pt idx="46583">3</cx:pt>
          <cx:pt idx="46584">3</cx:pt>
          <cx:pt idx="46585">1</cx:pt>
          <cx:pt idx="46586">1</cx:pt>
          <cx:pt idx="46587">1</cx:pt>
          <cx:pt idx="46588">4</cx:pt>
          <cx:pt idx="46589">4</cx:pt>
          <cx:pt idx="46590">2</cx:pt>
          <cx:pt idx="46591">4</cx:pt>
          <cx:pt idx="46592">4</cx:pt>
          <cx:pt idx="46593">2</cx:pt>
          <cx:pt idx="46594">5</cx:pt>
          <cx:pt idx="46595">4</cx:pt>
          <cx:pt idx="46596">2</cx:pt>
          <cx:pt idx="46597">5</cx:pt>
          <cx:pt idx="46598">4</cx:pt>
          <cx:pt idx="46599">4</cx:pt>
          <cx:pt idx="46600">2</cx:pt>
          <cx:pt idx="46601">4</cx:pt>
          <cx:pt idx="46602">2</cx:pt>
          <cx:pt idx="46603">5</cx:pt>
          <cx:pt idx="46604">3</cx:pt>
          <cx:pt idx="46605">2</cx:pt>
          <cx:pt idx="46606">5</cx:pt>
          <cx:pt idx="46607">4</cx:pt>
          <cx:pt idx="46608">2</cx:pt>
          <cx:pt idx="46609">3</cx:pt>
          <cx:pt idx="46610">1</cx:pt>
          <cx:pt idx="46611">3</cx:pt>
          <cx:pt idx="46612">4</cx:pt>
          <cx:pt idx="46613">3</cx:pt>
          <cx:pt idx="46614">4</cx:pt>
          <cx:pt idx="46615">3</cx:pt>
          <cx:pt idx="46616">1</cx:pt>
          <cx:pt idx="46617">1</cx:pt>
          <cx:pt idx="46618">1</cx:pt>
          <cx:pt idx="46619">3</cx:pt>
          <cx:pt idx="46620">2</cx:pt>
          <cx:pt idx="46621">3</cx:pt>
          <cx:pt idx="46622">2</cx:pt>
          <cx:pt idx="46623">3</cx:pt>
          <cx:pt idx="46624">0</cx:pt>
          <cx:pt idx="46625">3</cx:pt>
          <cx:pt idx="46626">0</cx:pt>
          <cx:pt idx="46627">1</cx:pt>
          <cx:pt idx="46628">4</cx:pt>
          <cx:pt idx="46629">0</cx:pt>
          <cx:pt idx="46630">2</cx:pt>
          <cx:pt idx="46631">3</cx:pt>
          <cx:pt idx="46632">2</cx:pt>
          <cx:pt idx="46633">1</cx:pt>
          <cx:pt idx="46634">3</cx:pt>
          <cx:pt idx="46635">3</cx:pt>
          <cx:pt idx="46636">2</cx:pt>
          <cx:pt idx="46637">2</cx:pt>
          <cx:pt idx="46638">2</cx:pt>
          <cx:pt idx="46639">0</cx:pt>
          <cx:pt idx="46640">1</cx:pt>
          <cx:pt idx="46641">1</cx:pt>
          <cx:pt idx="46642">4</cx:pt>
          <cx:pt idx="46643">3</cx:pt>
          <cx:pt idx="46644">3</cx:pt>
          <cx:pt idx="46645">2</cx:pt>
          <cx:pt idx="46646">4</cx:pt>
          <cx:pt idx="46647">4</cx:pt>
          <cx:pt idx="46648">1</cx:pt>
          <cx:pt idx="46649">5</cx:pt>
          <cx:pt idx="46650">3</cx:pt>
          <cx:pt idx="46651">4</cx:pt>
          <cx:pt idx="46652">3</cx:pt>
          <cx:pt idx="46653">1</cx:pt>
          <cx:pt idx="46654">2</cx:pt>
          <cx:pt idx="46655">4</cx:pt>
          <cx:pt idx="46656">4</cx:pt>
          <cx:pt idx="46657">4</cx:pt>
          <cx:pt idx="46658">4</cx:pt>
          <cx:pt idx="46659">2</cx:pt>
          <cx:pt idx="46660">4</cx:pt>
          <cx:pt idx="46661">1</cx:pt>
          <cx:pt idx="46662">0</cx:pt>
          <cx:pt idx="46663">1</cx:pt>
          <cx:pt idx="46664">3</cx:pt>
          <cx:pt idx="46665">3</cx:pt>
          <cx:pt idx="46666">3</cx:pt>
          <cx:pt idx="46667">4</cx:pt>
          <cx:pt idx="46668">0</cx:pt>
          <cx:pt idx="46669">2</cx:pt>
          <cx:pt idx="46670">1</cx:pt>
          <cx:pt idx="46671">0</cx:pt>
          <cx:pt idx="46672">2</cx:pt>
          <cx:pt idx="46673">4</cx:pt>
          <cx:pt idx="46674">2</cx:pt>
          <cx:pt idx="46675">4</cx:pt>
          <cx:pt idx="46676">2</cx:pt>
          <cx:pt idx="46677">3</cx:pt>
          <cx:pt idx="46678">1</cx:pt>
          <cx:pt idx="46679">3</cx:pt>
          <cx:pt idx="46680">0</cx:pt>
          <cx:pt idx="46681">3</cx:pt>
          <cx:pt idx="46682">0</cx:pt>
          <cx:pt idx="46683">2</cx:pt>
          <cx:pt idx="46684">1</cx:pt>
          <cx:pt idx="46685">5</cx:pt>
          <cx:pt idx="46686">2</cx:pt>
          <cx:pt idx="46687">4</cx:pt>
          <cx:pt idx="46688">4</cx:pt>
          <cx:pt idx="46689">1</cx:pt>
          <cx:pt idx="46690">1</cx:pt>
          <cx:pt idx="46691">2</cx:pt>
          <cx:pt idx="46692">2</cx:pt>
          <cx:pt idx="46693">3</cx:pt>
          <cx:pt idx="46694">2</cx:pt>
          <cx:pt idx="46695">3</cx:pt>
          <cx:pt idx="46696">0</cx:pt>
          <cx:pt idx="46697">2</cx:pt>
          <cx:pt idx="46698">3</cx:pt>
          <cx:pt idx="46699">3</cx:pt>
          <cx:pt idx="46700">1</cx:pt>
          <cx:pt idx="46701">4</cx:pt>
          <cx:pt idx="46702">3</cx:pt>
          <cx:pt idx="46703">2</cx:pt>
          <cx:pt idx="46704">4</cx:pt>
          <cx:pt idx="46705">2</cx:pt>
          <cx:pt idx="46706">1</cx:pt>
          <cx:pt idx="46707">2</cx:pt>
          <cx:pt idx="46708">2</cx:pt>
          <cx:pt idx="46709">3</cx:pt>
          <cx:pt idx="46710">2</cx:pt>
          <cx:pt idx="46711">4</cx:pt>
          <cx:pt idx="46712">4</cx:pt>
          <cx:pt idx="46713">5</cx:pt>
          <cx:pt idx="46714">1</cx:pt>
          <cx:pt idx="46715">2</cx:pt>
          <cx:pt idx="46716">3</cx:pt>
          <cx:pt idx="46717">5</cx:pt>
          <cx:pt idx="46718">0</cx:pt>
          <cx:pt idx="46719">2</cx:pt>
          <cx:pt idx="46720">4</cx:pt>
          <cx:pt idx="46721">5</cx:pt>
          <cx:pt idx="46722">2</cx:pt>
          <cx:pt idx="46723">4</cx:pt>
          <cx:pt idx="46724">4</cx:pt>
          <cx:pt idx="46725">0</cx:pt>
          <cx:pt idx="46726">1</cx:pt>
          <cx:pt idx="46727">3</cx:pt>
          <cx:pt idx="46728">2</cx:pt>
          <cx:pt idx="46729">3</cx:pt>
          <cx:pt idx="46730">1</cx:pt>
          <cx:pt idx="46731">3</cx:pt>
          <cx:pt idx="46732">4</cx:pt>
          <cx:pt idx="46733">2</cx:pt>
          <cx:pt idx="46734">5</cx:pt>
          <cx:pt idx="46735">4</cx:pt>
          <cx:pt idx="46736">3</cx:pt>
          <cx:pt idx="46737">3</cx:pt>
          <cx:pt idx="46738">3</cx:pt>
          <cx:pt idx="46739">3</cx:pt>
          <cx:pt idx="46740">3</cx:pt>
          <cx:pt idx="46741">1</cx:pt>
          <cx:pt idx="46742">1</cx:pt>
          <cx:pt idx="46743">4</cx:pt>
          <cx:pt idx="46744">1</cx:pt>
          <cx:pt idx="46745">2</cx:pt>
          <cx:pt idx="46746">2</cx:pt>
          <cx:pt idx="46747">2</cx:pt>
          <cx:pt idx="46748">2</cx:pt>
          <cx:pt idx="46749">2</cx:pt>
          <cx:pt idx="46750">3</cx:pt>
          <cx:pt idx="46751">5</cx:pt>
          <cx:pt idx="46752">5</cx:pt>
          <cx:pt idx="46753">3</cx:pt>
          <cx:pt idx="46754">1</cx:pt>
          <cx:pt idx="46755">0</cx:pt>
          <cx:pt idx="46756">1</cx:pt>
          <cx:pt idx="46757">5</cx:pt>
          <cx:pt idx="46758">1</cx:pt>
          <cx:pt idx="46759">1</cx:pt>
          <cx:pt idx="46760">4</cx:pt>
          <cx:pt idx="46761">1</cx:pt>
          <cx:pt idx="46762">4</cx:pt>
          <cx:pt idx="46763">2</cx:pt>
          <cx:pt idx="46764">3</cx:pt>
          <cx:pt idx="46765">3</cx:pt>
          <cx:pt idx="46766">4</cx:pt>
          <cx:pt idx="46767">1</cx:pt>
          <cx:pt idx="46768">0</cx:pt>
          <cx:pt idx="46769">4</cx:pt>
          <cx:pt idx="46770">3</cx:pt>
          <cx:pt idx="46771">1</cx:pt>
          <cx:pt idx="46772">3</cx:pt>
          <cx:pt idx="46773">2</cx:pt>
          <cx:pt idx="46774">4</cx:pt>
          <cx:pt idx="46775">4</cx:pt>
          <cx:pt idx="46776">2</cx:pt>
          <cx:pt idx="46777">2</cx:pt>
          <cx:pt idx="46778">2</cx:pt>
          <cx:pt idx="46779">3</cx:pt>
          <cx:pt idx="46780">1</cx:pt>
          <cx:pt idx="46781">3</cx:pt>
          <cx:pt idx="46782">1</cx:pt>
          <cx:pt idx="46783">5</cx:pt>
          <cx:pt idx="46784">2</cx:pt>
          <cx:pt idx="46785">5</cx:pt>
          <cx:pt idx="46786">1</cx:pt>
          <cx:pt idx="46787">1</cx:pt>
          <cx:pt idx="46788">2</cx:pt>
          <cx:pt idx="46789">1</cx:pt>
          <cx:pt idx="46790">4</cx:pt>
          <cx:pt idx="46791">1</cx:pt>
          <cx:pt idx="46792">5</cx:pt>
          <cx:pt idx="46793">4</cx:pt>
          <cx:pt idx="46794">3</cx:pt>
          <cx:pt idx="46795">2</cx:pt>
          <cx:pt idx="46796">3</cx:pt>
          <cx:pt idx="46797">3</cx:pt>
          <cx:pt idx="46798">3</cx:pt>
          <cx:pt idx="46799">3</cx:pt>
          <cx:pt idx="46800">2</cx:pt>
          <cx:pt idx="46801">3</cx:pt>
          <cx:pt idx="46802">3</cx:pt>
          <cx:pt idx="46803">1</cx:pt>
          <cx:pt idx="46804">4</cx:pt>
          <cx:pt idx="46805">1</cx:pt>
          <cx:pt idx="46806">4</cx:pt>
          <cx:pt idx="46807">3</cx:pt>
          <cx:pt idx="46808">5</cx:pt>
          <cx:pt idx="46809">1</cx:pt>
          <cx:pt idx="46810">2</cx:pt>
          <cx:pt idx="46811">1</cx:pt>
          <cx:pt idx="46812">5</cx:pt>
          <cx:pt idx="46813">4</cx:pt>
          <cx:pt idx="46814">2</cx:pt>
          <cx:pt idx="46815">2</cx:pt>
          <cx:pt idx="46816">3</cx:pt>
          <cx:pt idx="46817">3</cx:pt>
          <cx:pt idx="46818">4</cx:pt>
          <cx:pt idx="46819">4</cx:pt>
          <cx:pt idx="46820">3</cx:pt>
          <cx:pt idx="46821">2</cx:pt>
          <cx:pt idx="46822">3</cx:pt>
          <cx:pt idx="46823">2</cx:pt>
          <cx:pt idx="46824">1</cx:pt>
          <cx:pt idx="46825">2</cx:pt>
          <cx:pt idx="46826">3</cx:pt>
          <cx:pt idx="46827">1</cx:pt>
          <cx:pt idx="46828">4</cx:pt>
          <cx:pt idx="46829">3</cx:pt>
          <cx:pt idx="46830">4</cx:pt>
          <cx:pt idx="46831">3</cx:pt>
          <cx:pt idx="46832">5</cx:pt>
          <cx:pt idx="46833">3</cx:pt>
          <cx:pt idx="46834">1</cx:pt>
          <cx:pt idx="46835">3</cx:pt>
          <cx:pt idx="46836">4</cx:pt>
          <cx:pt idx="46837">1</cx:pt>
          <cx:pt idx="46838">2</cx:pt>
          <cx:pt idx="46839">4</cx:pt>
          <cx:pt idx="46840">2</cx:pt>
          <cx:pt idx="46841">5</cx:pt>
          <cx:pt idx="46842">4</cx:pt>
          <cx:pt idx="46843">4</cx:pt>
          <cx:pt idx="46844">2</cx:pt>
          <cx:pt idx="46845">4</cx:pt>
          <cx:pt idx="46846">3</cx:pt>
          <cx:pt idx="46847">3</cx:pt>
          <cx:pt idx="46848">3</cx:pt>
          <cx:pt idx="46849">1</cx:pt>
          <cx:pt idx="46850">4</cx:pt>
          <cx:pt idx="46851">4</cx:pt>
          <cx:pt idx="46852">2</cx:pt>
          <cx:pt idx="46853">1</cx:pt>
          <cx:pt idx="46854">3</cx:pt>
          <cx:pt idx="46855">3</cx:pt>
          <cx:pt idx="46856">1</cx:pt>
          <cx:pt idx="46857">2</cx:pt>
          <cx:pt idx="46858">0</cx:pt>
          <cx:pt idx="46859">3</cx:pt>
          <cx:pt idx="46860">2</cx:pt>
          <cx:pt idx="46861">4</cx:pt>
          <cx:pt idx="46862">3</cx:pt>
          <cx:pt idx="46863">2</cx:pt>
          <cx:pt idx="46864">2</cx:pt>
          <cx:pt idx="46865">3</cx:pt>
          <cx:pt idx="46866">5</cx:pt>
          <cx:pt idx="46867">1</cx:pt>
          <cx:pt idx="46868">5</cx:pt>
          <cx:pt idx="46869">3</cx:pt>
          <cx:pt idx="46870">4</cx:pt>
          <cx:pt idx="46871">2</cx:pt>
          <cx:pt idx="46872">3</cx:pt>
          <cx:pt idx="46873">3</cx:pt>
          <cx:pt idx="46874">3</cx:pt>
          <cx:pt idx="46875">5</cx:pt>
          <cx:pt idx="46876">2</cx:pt>
          <cx:pt idx="46877">1</cx:pt>
          <cx:pt idx="46878">2</cx:pt>
          <cx:pt idx="46879">3</cx:pt>
          <cx:pt idx="46880">1</cx:pt>
          <cx:pt idx="46881">4</cx:pt>
          <cx:pt idx="46882">1</cx:pt>
          <cx:pt idx="46883">4</cx:pt>
          <cx:pt idx="46884">5</cx:pt>
          <cx:pt idx="46885">5</cx:pt>
          <cx:pt idx="46886">3</cx:pt>
          <cx:pt idx="46887">3</cx:pt>
          <cx:pt idx="46888">1</cx:pt>
          <cx:pt idx="46889">3</cx:pt>
          <cx:pt idx="46890">2</cx:pt>
          <cx:pt idx="46891">1</cx:pt>
          <cx:pt idx="46892">4</cx:pt>
          <cx:pt idx="46893">2</cx:pt>
          <cx:pt idx="46894">5</cx:pt>
          <cx:pt idx="46895">1</cx:pt>
          <cx:pt idx="46896">1</cx:pt>
          <cx:pt idx="46897">4</cx:pt>
          <cx:pt idx="46898">2</cx:pt>
          <cx:pt idx="46899">3</cx:pt>
          <cx:pt idx="46900">1</cx:pt>
          <cx:pt idx="46901">2</cx:pt>
          <cx:pt idx="46902">2</cx:pt>
          <cx:pt idx="46903">2</cx:pt>
          <cx:pt idx="46904">4</cx:pt>
          <cx:pt idx="46905">0</cx:pt>
          <cx:pt idx="46906">3</cx:pt>
          <cx:pt idx="46907">3</cx:pt>
          <cx:pt idx="46908">4</cx:pt>
          <cx:pt idx="46909">3</cx:pt>
          <cx:pt idx="46910">0</cx:pt>
          <cx:pt idx="46911">5</cx:pt>
          <cx:pt idx="46912">4</cx:pt>
          <cx:pt idx="46913">4</cx:pt>
          <cx:pt idx="46914">1</cx:pt>
          <cx:pt idx="46915">5</cx:pt>
          <cx:pt idx="46916">3</cx:pt>
          <cx:pt idx="46917">5</cx:pt>
          <cx:pt idx="46918">2</cx:pt>
          <cx:pt idx="46919">3</cx:pt>
          <cx:pt idx="46920">4</cx:pt>
          <cx:pt idx="46921">1</cx:pt>
          <cx:pt idx="46922">1</cx:pt>
          <cx:pt idx="46923">5</cx:pt>
          <cx:pt idx="46924">5</cx:pt>
          <cx:pt idx="46925">4</cx:pt>
          <cx:pt idx="46926">1</cx:pt>
          <cx:pt idx="46927">5</cx:pt>
          <cx:pt idx="46928">1</cx:pt>
          <cx:pt idx="46929">3</cx:pt>
          <cx:pt idx="46930">3</cx:pt>
          <cx:pt idx="46931">4</cx:pt>
          <cx:pt idx="46932">0</cx:pt>
          <cx:pt idx="46933">3</cx:pt>
          <cx:pt idx="46934">2</cx:pt>
          <cx:pt idx="46935">3</cx:pt>
          <cx:pt idx="46936">3</cx:pt>
          <cx:pt idx="46937">4</cx:pt>
          <cx:pt idx="46938">3</cx:pt>
          <cx:pt idx="46939">5</cx:pt>
          <cx:pt idx="46940">2</cx:pt>
          <cx:pt idx="46941">4</cx:pt>
          <cx:pt idx="46942">2</cx:pt>
          <cx:pt idx="46943">3</cx:pt>
          <cx:pt idx="46944">2</cx:pt>
          <cx:pt idx="46945">1</cx:pt>
          <cx:pt idx="46946">3</cx:pt>
          <cx:pt idx="46947">3</cx:pt>
          <cx:pt idx="46948">4</cx:pt>
          <cx:pt idx="46949">1</cx:pt>
          <cx:pt idx="46950">2</cx:pt>
          <cx:pt idx="46951">5</cx:pt>
          <cx:pt idx="46952">3</cx:pt>
          <cx:pt idx="46953">2</cx:pt>
          <cx:pt idx="46954">4</cx:pt>
          <cx:pt idx="46955">2</cx:pt>
          <cx:pt idx="46956">0</cx:pt>
          <cx:pt idx="46957">3</cx:pt>
          <cx:pt idx="46958">3</cx:pt>
          <cx:pt idx="46959">4</cx:pt>
          <cx:pt idx="46960">3</cx:pt>
          <cx:pt idx="46961">1</cx:pt>
          <cx:pt idx="46962">3</cx:pt>
          <cx:pt idx="46963">3</cx:pt>
          <cx:pt idx="46964">2</cx:pt>
          <cx:pt idx="46965">1</cx:pt>
          <cx:pt idx="46966">1</cx:pt>
          <cx:pt idx="46967">5</cx:pt>
          <cx:pt idx="46968">1</cx:pt>
          <cx:pt idx="46969">5</cx:pt>
          <cx:pt idx="46970">3</cx:pt>
          <cx:pt idx="46971">1</cx:pt>
          <cx:pt idx="46972">4</cx:pt>
          <cx:pt idx="46973">3</cx:pt>
          <cx:pt idx="46974">4</cx:pt>
          <cx:pt idx="46975">3</cx:pt>
          <cx:pt idx="46976">4</cx:pt>
          <cx:pt idx="46977">3</cx:pt>
          <cx:pt idx="46978">3</cx:pt>
          <cx:pt idx="46979">4</cx:pt>
          <cx:pt idx="46980">3</cx:pt>
          <cx:pt idx="46981">3</cx:pt>
          <cx:pt idx="46982">3</cx:pt>
          <cx:pt idx="46983">2</cx:pt>
          <cx:pt idx="46984">1</cx:pt>
          <cx:pt idx="46985">3</cx:pt>
          <cx:pt idx="46986">3</cx:pt>
          <cx:pt idx="46987">2</cx:pt>
          <cx:pt idx="46988">2</cx:pt>
          <cx:pt idx="46989">2</cx:pt>
          <cx:pt idx="46990">4</cx:pt>
          <cx:pt idx="46991">5</cx:pt>
          <cx:pt idx="46992">1</cx:pt>
          <cx:pt idx="46993">5</cx:pt>
          <cx:pt idx="46994">4</cx:pt>
          <cx:pt idx="46995">1</cx:pt>
          <cx:pt idx="46996">2</cx:pt>
          <cx:pt idx="46997">0</cx:pt>
          <cx:pt idx="46998">3</cx:pt>
          <cx:pt idx="46999">4</cx:pt>
          <cx:pt idx="47000">3</cx:pt>
          <cx:pt idx="47001">4</cx:pt>
          <cx:pt idx="47002">3</cx:pt>
          <cx:pt idx="47003">5</cx:pt>
          <cx:pt idx="47004">5</cx:pt>
          <cx:pt idx="47005">3</cx:pt>
          <cx:pt idx="47006">1</cx:pt>
          <cx:pt idx="47007">3</cx:pt>
          <cx:pt idx="47008">4</cx:pt>
          <cx:pt idx="47009">2</cx:pt>
          <cx:pt idx="47010">1</cx:pt>
          <cx:pt idx="47011">5</cx:pt>
          <cx:pt idx="47012">3</cx:pt>
          <cx:pt idx="47013">4</cx:pt>
          <cx:pt idx="47014">1</cx:pt>
          <cx:pt idx="47015">3</cx:pt>
          <cx:pt idx="47016">2</cx:pt>
          <cx:pt idx="47017">5</cx:pt>
          <cx:pt idx="47018">2</cx:pt>
          <cx:pt idx="47019">3</cx:pt>
          <cx:pt idx="47020">1</cx:pt>
          <cx:pt idx="47021">1</cx:pt>
          <cx:pt idx="47022">2</cx:pt>
          <cx:pt idx="47023">3</cx:pt>
          <cx:pt idx="47024">3</cx:pt>
          <cx:pt idx="47025">1</cx:pt>
          <cx:pt idx="47026">3</cx:pt>
          <cx:pt idx="47027">2</cx:pt>
          <cx:pt idx="47028">3</cx:pt>
          <cx:pt idx="47029">2</cx:pt>
          <cx:pt idx="47030">1</cx:pt>
          <cx:pt idx="47031">4</cx:pt>
          <cx:pt idx="47032">3</cx:pt>
          <cx:pt idx="47033">3</cx:pt>
          <cx:pt idx="47034">4</cx:pt>
          <cx:pt idx="47035">5</cx:pt>
          <cx:pt idx="47036">2</cx:pt>
          <cx:pt idx="47037">0</cx:pt>
          <cx:pt idx="47038">3</cx:pt>
          <cx:pt idx="47039">4</cx:pt>
          <cx:pt idx="47040">1</cx:pt>
          <cx:pt idx="47041">1</cx:pt>
          <cx:pt idx="47042">3</cx:pt>
          <cx:pt idx="47043">3</cx:pt>
          <cx:pt idx="47044">2</cx:pt>
          <cx:pt idx="47045">1</cx:pt>
          <cx:pt idx="47046">4</cx:pt>
          <cx:pt idx="47047">3</cx:pt>
          <cx:pt idx="47048">1</cx:pt>
          <cx:pt idx="47049">1</cx:pt>
          <cx:pt idx="47050">1</cx:pt>
          <cx:pt idx="47051">1</cx:pt>
          <cx:pt idx="47052">0</cx:pt>
          <cx:pt idx="47053">5</cx:pt>
          <cx:pt idx="47054">3</cx:pt>
          <cx:pt idx="47055">3</cx:pt>
          <cx:pt idx="47056">4</cx:pt>
          <cx:pt idx="47057">5</cx:pt>
          <cx:pt idx="47058">3</cx:pt>
          <cx:pt idx="47059">2</cx:pt>
          <cx:pt idx="47060">1</cx:pt>
          <cx:pt idx="47061">5</cx:pt>
          <cx:pt idx="47062">2</cx:pt>
          <cx:pt idx="47063">2</cx:pt>
          <cx:pt idx="47064">2</cx:pt>
          <cx:pt idx="47065">2</cx:pt>
          <cx:pt idx="47066">5</cx:pt>
          <cx:pt idx="47067">5</cx:pt>
          <cx:pt idx="47068">5</cx:pt>
          <cx:pt idx="47069">3</cx:pt>
          <cx:pt idx="47070">0</cx:pt>
          <cx:pt idx="47071">3</cx:pt>
          <cx:pt idx="47072">5</cx:pt>
          <cx:pt idx="47073">1</cx:pt>
          <cx:pt idx="47074">5</cx:pt>
          <cx:pt idx="47075">1</cx:pt>
          <cx:pt idx="47076">1</cx:pt>
          <cx:pt idx="47077">4</cx:pt>
          <cx:pt idx="47078">3</cx:pt>
          <cx:pt idx="47079">4</cx:pt>
          <cx:pt idx="47080">3</cx:pt>
          <cx:pt idx="47081">5</cx:pt>
          <cx:pt idx="47082">2</cx:pt>
          <cx:pt idx="47083">3</cx:pt>
          <cx:pt idx="47084">1</cx:pt>
          <cx:pt idx="47085">4</cx:pt>
          <cx:pt idx="47086">4</cx:pt>
          <cx:pt idx="47087">1</cx:pt>
          <cx:pt idx="47088">2</cx:pt>
          <cx:pt idx="47089">2</cx:pt>
          <cx:pt idx="47090">1</cx:pt>
          <cx:pt idx="47091">2</cx:pt>
          <cx:pt idx="47092">4</cx:pt>
          <cx:pt idx="47093">1</cx:pt>
          <cx:pt idx="47094">0</cx:pt>
          <cx:pt idx="47095">4</cx:pt>
          <cx:pt idx="47096">3</cx:pt>
          <cx:pt idx="47097">4</cx:pt>
          <cx:pt idx="47098">3</cx:pt>
          <cx:pt idx="47099">5</cx:pt>
          <cx:pt idx="47100">3</cx:pt>
          <cx:pt idx="47101">3</cx:pt>
          <cx:pt idx="47102">1</cx:pt>
          <cx:pt idx="47103">2</cx:pt>
          <cx:pt idx="47104">3</cx:pt>
          <cx:pt idx="47105">1</cx:pt>
          <cx:pt idx="47106">4</cx:pt>
          <cx:pt idx="47107">5</cx:pt>
          <cx:pt idx="47108">5</cx:pt>
          <cx:pt idx="47109">3</cx:pt>
          <cx:pt idx="47110">3</cx:pt>
          <cx:pt idx="47111">1</cx:pt>
          <cx:pt idx="47112">2</cx:pt>
          <cx:pt idx="47113">2</cx:pt>
          <cx:pt idx="47114">1</cx:pt>
          <cx:pt idx="47115">3</cx:pt>
          <cx:pt idx="47116">1</cx:pt>
          <cx:pt idx="47117">3</cx:pt>
          <cx:pt idx="47118">2</cx:pt>
          <cx:pt idx="47119">2</cx:pt>
          <cx:pt idx="47120">5</cx:pt>
          <cx:pt idx="47121">3</cx:pt>
          <cx:pt idx="47122">2</cx:pt>
          <cx:pt idx="47123">1</cx:pt>
          <cx:pt idx="47124">3</cx:pt>
          <cx:pt idx="47125">3</cx:pt>
          <cx:pt idx="47126">4</cx:pt>
          <cx:pt idx="47127">2</cx:pt>
          <cx:pt idx="47128">3</cx:pt>
          <cx:pt idx="47129">2</cx:pt>
          <cx:pt idx="47130">1</cx:pt>
          <cx:pt idx="47131">2</cx:pt>
          <cx:pt idx="47132">2</cx:pt>
          <cx:pt idx="47133">0</cx:pt>
          <cx:pt idx="47134">4</cx:pt>
          <cx:pt idx="47135">4</cx:pt>
          <cx:pt idx="47136">2</cx:pt>
          <cx:pt idx="47137">3</cx:pt>
          <cx:pt idx="47138">2</cx:pt>
          <cx:pt idx="47139">3</cx:pt>
          <cx:pt idx="47140">4</cx:pt>
          <cx:pt idx="47141">3</cx:pt>
          <cx:pt idx="47142">2</cx:pt>
          <cx:pt idx="47143">4</cx:pt>
          <cx:pt idx="47144">2</cx:pt>
          <cx:pt idx="47145">2</cx:pt>
          <cx:pt idx="47146">5</cx:pt>
          <cx:pt idx="47147">3</cx:pt>
          <cx:pt idx="47148">0</cx:pt>
          <cx:pt idx="47149">1</cx:pt>
          <cx:pt idx="47150">2</cx:pt>
          <cx:pt idx="47151">1</cx:pt>
          <cx:pt idx="47152">2</cx:pt>
          <cx:pt idx="47153">3</cx:pt>
          <cx:pt idx="47154">4</cx:pt>
          <cx:pt idx="47155">3</cx:pt>
          <cx:pt idx="47156">2</cx:pt>
          <cx:pt idx="47157">2</cx:pt>
          <cx:pt idx="47158">3</cx:pt>
          <cx:pt idx="47159">0</cx:pt>
          <cx:pt idx="47160">3</cx:pt>
          <cx:pt idx="47161">2</cx:pt>
          <cx:pt idx="47162">1</cx:pt>
          <cx:pt idx="47163">1</cx:pt>
          <cx:pt idx="47164">2</cx:pt>
          <cx:pt idx="47165">3</cx:pt>
          <cx:pt idx="47166">3</cx:pt>
          <cx:pt idx="47167">1</cx:pt>
          <cx:pt idx="47168">3</cx:pt>
          <cx:pt idx="47169">2</cx:pt>
          <cx:pt idx="47170">0</cx:pt>
          <cx:pt idx="47171">3</cx:pt>
          <cx:pt idx="47172">3</cx:pt>
          <cx:pt idx="47173">0</cx:pt>
          <cx:pt idx="47174">3</cx:pt>
          <cx:pt idx="47175">2</cx:pt>
          <cx:pt idx="47176">0</cx:pt>
          <cx:pt idx="47177">3</cx:pt>
          <cx:pt idx="47178">0</cx:pt>
          <cx:pt idx="47179">4</cx:pt>
          <cx:pt idx="47180">4</cx:pt>
          <cx:pt idx="47181">2</cx:pt>
          <cx:pt idx="47182">1</cx:pt>
          <cx:pt idx="47183">2</cx:pt>
          <cx:pt idx="47184">0</cx:pt>
          <cx:pt idx="47185">5</cx:pt>
          <cx:pt idx="47186">4</cx:pt>
          <cx:pt idx="47187">2</cx:pt>
          <cx:pt idx="47188">3</cx:pt>
          <cx:pt idx="47189">3</cx:pt>
          <cx:pt idx="47190">4</cx:pt>
          <cx:pt idx="47191">5</cx:pt>
          <cx:pt idx="47192">0</cx:pt>
          <cx:pt idx="47193">4</cx:pt>
          <cx:pt idx="47194">4</cx:pt>
          <cx:pt idx="47195">5</cx:pt>
          <cx:pt idx="47196">4</cx:pt>
          <cx:pt idx="47197">3</cx:pt>
          <cx:pt idx="47198">4</cx:pt>
          <cx:pt idx="47199">4</cx:pt>
          <cx:pt idx="47200">1</cx:pt>
          <cx:pt idx="47201">4</cx:pt>
          <cx:pt idx="47202">1</cx:pt>
          <cx:pt idx="47203">4</cx:pt>
          <cx:pt idx="47204">1</cx:pt>
          <cx:pt idx="47205">1</cx:pt>
          <cx:pt idx="47206">5</cx:pt>
          <cx:pt idx="47207">0</cx:pt>
          <cx:pt idx="47208">1</cx:pt>
          <cx:pt idx="47209">2</cx:pt>
          <cx:pt idx="47210">4</cx:pt>
          <cx:pt idx="47211">2</cx:pt>
          <cx:pt idx="47212">4</cx:pt>
          <cx:pt idx="47213">3</cx:pt>
          <cx:pt idx="47214">5</cx:pt>
          <cx:pt idx="47215">2</cx:pt>
          <cx:pt idx="47216">2</cx:pt>
          <cx:pt idx="47217">1</cx:pt>
          <cx:pt idx="47218">5</cx:pt>
          <cx:pt idx="47219">3</cx:pt>
          <cx:pt idx="47220">5</cx:pt>
          <cx:pt idx="47221">5</cx:pt>
          <cx:pt idx="47222">0</cx:pt>
          <cx:pt idx="47223">2</cx:pt>
          <cx:pt idx="47224">2</cx:pt>
          <cx:pt idx="47225">4</cx:pt>
          <cx:pt idx="47226">3</cx:pt>
          <cx:pt idx="47227">3</cx:pt>
          <cx:pt idx="47228">3</cx:pt>
          <cx:pt idx="47229">1</cx:pt>
          <cx:pt idx="47230">4</cx:pt>
          <cx:pt idx="47231">1</cx:pt>
          <cx:pt idx="47232">3</cx:pt>
          <cx:pt idx="47233">0</cx:pt>
          <cx:pt idx="47234">5</cx:pt>
          <cx:pt idx="47235">1</cx:pt>
          <cx:pt idx="47236">1</cx:pt>
          <cx:pt idx="47237">1</cx:pt>
          <cx:pt idx="47238">4</cx:pt>
          <cx:pt idx="47239">2</cx:pt>
          <cx:pt idx="47240">1</cx:pt>
          <cx:pt idx="47241">5</cx:pt>
          <cx:pt idx="47242">2</cx:pt>
          <cx:pt idx="47243">3</cx:pt>
          <cx:pt idx="47244">5</cx:pt>
          <cx:pt idx="47245">2</cx:pt>
          <cx:pt idx="47246">4</cx:pt>
          <cx:pt idx="47247">2</cx:pt>
          <cx:pt idx="47248">2</cx:pt>
          <cx:pt idx="47249">5</cx:pt>
          <cx:pt idx="47250">4</cx:pt>
          <cx:pt idx="47251">4</cx:pt>
          <cx:pt idx="47252">3</cx:pt>
          <cx:pt idx="47253">2</cx:pt>
          <cx:pt idx="47254">4</cx:pt>
          <cx:pt idx="47255">1</cx:pt>
          <cx:pt idx="47256">4</cx:pt>
          <cx:pt idx="47257">5</cx:pt>
          <cx:pt idx="47258">4</cx:pt>
          <cx:pt idx="47259">4</cx:pt>
          <cx:pt idx="47260">5</cx:pt>
          <cx:pt idx="47261">0</cx:pt>
          <cx:pt idx="47262">3</cx:pt>
          <cx:pt idx="47263">1</cx:pt>
          <cx:pt idx="47264">3</cx:pt>
          <cx:pt idx="47265">1</cx:pt>
          <cx:pt idx="47266">1</cx:pt>
          <cx:pt idx="47267">3</cx:pt>
          <cx:pt idx="47268">1</cx:pt>
          <cx:pt idx="47269">4</cx:pt>
          <cx:pt idx="47270">3</cx:pt>
          <cx:pt idx="47271">1</cx:pt>
          <cx:pt idx="47272">5</cx:pt>
          <cx:pt idx="47273">2</cx:pt>
          <cx:pt idx="47274">2</cx:pt>
          <cx:pt idx="47275">4</cx:pt>
          <cx:pt idx="47276">1</cx:pt>
          <cx:pt idx="47277">0</cx:pt>
          <cx:pt idx="47278">5</cx:pt>
          <cx:pt idx="47279">1</cx:pt>
          <cx:pt idx="47280">5</cx:pt>
          <cx:pt idx="47281">2</cx:pt>
          <cx:pt idx="47282">2</cx:pt>
          <cx:pt idx="47283">2</cx:pt>
          <cx:pt idx="47284">1</cx:pt>
          <cx:pt idx="47285">5</cx:pt>
          <cx:pt idx="47286">2</cx:pt>
          <cx:pt idx="47287">2</cx:pt>
          <cx:pt idx="47288">4</cx:pt>
          <cx:pt idx="47289">2</cx:pt>
          <cx:pt idx="47290">2</cx:pt>
          <cx:pt idx="47291">2</cx:pt>
          <cx:pt idx="47292">4</cx:pt>
          <cx:pt idx="47293">4</cx:pt>
          <cx:pt idx="47294">2</cx:pt>
          <cx:pt idx="47295">4</cx:pt>
          <cx:pt idx="47296">4</cx:pt>
          <cx:pt idx="47297">3</cx:pt>
          <cx:pt idx="47298">0</cx:pt>
          <cx:pt idx="47299">5</cx:pt>
          <cx:pt idx="47300">5</cx:pt>
          <cx:pt idx="47301">3</cx:pt>
          <cx:pt idx="47302">5</cx:pt>
          <cx:pt idx="47303">1</cx:pt>
          <cx:pt idx="47304">4</cx:pt>
          <cx:pt idx="47305">2</cx:pt>
          <cx:pt idx="47306">3</cx:pt>
          <cx:pt idx="47307">1</cx:pt>
          <cx:pt idx="47308">2</cx:pt>
          <cx:pt idx="47309">2</cx:pt>
          <cx:pt idx="47310">2</cx:pt>
          <cx:pt idx="47311">0</cx:pt>
          <cx:pt idx="47312">5</cx:pt>
          <cx:pt idx="47313">5</cx:pt>
          <cx:pt idx="47314">3</cx:pt>
          <cx:pt idx="47315">4</cx:pt>
          <cx:pt idx="47316">2</cx:pt>
          <cx:pt idx="47317">1</cx:pt>
          <cx:pt idx="47318">4</cx:pt>
          <cx:pt idx="47319">2</cx:pt>
          <cx:pt idx="47320">3</cx:pt>
          <cx:pt idx="47321">3</cx:pt>
          <cx:pt idx="47322">0</cx:pt>
          <cx:pt idx="47323">3</cx:pt>
          <cx:pt idx="47324">3</cx:pt>
          <cx:pt idx="47325">1</cx:pt>
          <cx:pt idx="47326">3</cx:pt>
          <cx:pt idx="47327">3</cx:pt>
          <cx:pt idx="47328">4</cx:pt>
          <cx:pt idx="47329">3</cx:pt>
          <cx:pt idx="47330">4</cx:pt>
          <cx:pt idx="47331">2</cx:pt>
          <cx:pt idx="47332">1</cx:pt>
          <cx:pt idx="47333">4</cx:pt>
          <cx:pt idx="47334">2</cx:pt>
          <cx:pt idx="47335">4</cx:pt>
          <cx:pt idx="47336">2</cx:pt>
          <cx:pt idx="47337">3</cx:pt>
          <cx:pt idx="47338">1</cx:pt>
          <cx:pt idx="47339">5</cx:pt>
          <cx:pt idx="47340">3</cx:pt>
          <cx:pt idx="47341">2</cx:pt>
          <cx:pt idx="47342">5</cx:pt>
          <cx:pt idx="47343">3</cx:pt>
          <cx:pt idx="47344">5</cx:pt>
          <cx:pt idx="47345">3</cx:pt>
          <cx:pt idx="47346">3</cx:pt>
          <cx:pt idx="47347">4</cx:pt>
          <cx:pt idx="47348">4</cx:pt>
          <cx:pt idx="47349">2</cx:pt>
          <cx:pt idx="47350">2</cx:pt>
          <cx:pt idx="47351">3</cx:pt>
          <cx:pt idx="47352">1</cx:pt>
          <cx:pt idx="47353">3</cx:pt>
          <cx:pt idx="47354">4</cx:pt>
          <cx:pt idx="47355">2</cx:pt>
          <cx:pt idx="47356">3</cx:pt>
          <cx:pt idx="47357">0</cx:pt>
          <cx:pt idx="47358">2</cx:pt>
          <cx:pt idx="47359">4</cx:pt>
          <cx:pt idx="47360">4</cx:pt>
          <cx:pt idx="47361">1</cx:pt>
          <cx:pt idx="47362">3</cx:pt>
          <cx:pt idx="47363">5</cx:pt>
          <cx:pt idx="47364">2</cx:pt>
          <cx:pt idx="47365">4</cx:pt>
          <cx:pt idx="47366">3</cx:pt>
          <cx:pt idx="47367">1</cx:pt>
          <cx:pt idx="47368">2</cx:pt>
          <cx:pt idx="47369">3</cx:pt>
          <cx:pt idx="47370">1</cx:pt>
          <cx:pt idx="47371">4</cx:pt>
          <cx:pt idx="47372">4</cx:pt>
          <cx:pt idx="47373">1</cx:pt>
          <cx:pt idx="47374">4</cx:pt>
          <cx:pt idx="47375">1</cx:pt>
          <cx:pt idx="47376">2</cx:pt>
          <cx:pt idx="47377">0</cx:pt>
          <cx:pt idx="47378">1</cx:pt>
          <cx:pt idx="47379">3</cx:pt>
          <cx:pt idx="47380">1</cx:pt>
          <cx:pt idx="47381">2</cx:pt>
          <cx:pt idx="47382">3</cx:pt>
          <cx:pt idx="47383">2</cx:pt>
          <cx:pt idx="47384">4</cx:pt>
          <cx:pt idx="47385">3</cx:pt>
          <cx:pt idx="47386">5</cx:pt>
          <cx:pt idx="47387">3</cx:pt>
          <cx:pt idx="47388">5</cx:pt>
          <cx:pt idx="47389">3</cx:pt>
          <cx:pt idx="47390">4</cx:pt>
          <cx:pt idx="47391">1</cx:pt>
          <cx:pt idx="47392">3</cx:pt>
          <cx:pt idx="47393">3</cx:pt>
          <cx:pt idx="47394">4</cx:pt>
          <cx:pt idx="47395">1</cx:pt>
          <cx:pt idx="47396">4</cx:pt>
          <cx:pt idx="47397">3</cx:pt>
          <cx:pt idx="47398">2</cx:pt>
          <cx:pt idx="47399">4</cx:pt>
          <cx:pt idx="47400">5</cx:pt>
          <cx:pt idx="47401">4</cx:pt>
          <cx:pt idx="47402">3</cx:pt>
          <cx:pt idx="47403">5</cx:pt>
          <cx:pt idx="47404">3</cx:pt>
          <cx:pt idx="47405">2</cx:pt>
          <cx:pt idx="47406">3</cx:pt>
          <cx:pt idx="47407">4</cx:pt>
          <cx:pt idx="47408">2</cx:pt>
          <cx:pt idx="47409">3</cx:pt>
          <cx:pt idx="47410">2</cx:pt>
          <cx:pt idx="47411">0</cx:pt>
          <cx:pt idx="47412">3</cx:pt>
          <cx:pt idx="47413">4</cx:pt>
          <cx:pt idx="47414">4</cx:pt>
          <cx:pt idx="47415">3</cx:pt>
          <cx:pt idx="47416">1</cx:pt>
          <cx:pt idx="47417">5</cx:pt>
          <cx:pt idx="47418">5</cx:pt>
          <cx:pt idx="47419">0</cx:pt>
          <cx:pt idx="47420">5</cx:pt>
          <cx:pt idx="47421">4</cx:pt>
          <cx:pt idx="47422">3</cx:pt>
          <cx:pt idx="47423">3</cx:pt>
          <cx:pt idx="47424">4</cx:pt>
          <cx:pt idx="47425">3</cx:pt>
          <cx:pt idx="47426">4</cx:pt>
          <cx:pt idx="47427">1</cx:pt>
          <cx:pt idx="47428">1</cx:pt>
          <cx:pt idx="47429">2</cx:pt>
          <cx:pt idx="47430">3</cx:pt>
          <cx:pt idx="47431">4</cx:pt>
          <cx:pt idx="47432">4</cx:pt>
          <cx:pt idx="47433">2</cx:pt>
          <cx:pt idx="47434">3</cx:pt>
          <cx:pt idx="47435">1</cx:pt>
          <cx:pt idx="47436">3</cx:pt>
          <cx:pt idx="47437">2</cx:pt>
          <cx:pt idx="47438">3</cx:pt>
          <cx:pt idx="47439">2</cx:pt>
          <cx:pt idx="47440">2</cx:pt>
          <cx:pt idx="47441">3</cx:pt>
          <cx:pt idx="47442">3</cx:pt>
          <cx:pt idx="47443">1</cx:pt>
          <cx:pt idx="47444">3</cx:pt>
          <cx:pt idx="47445">4</cx:pt>
          <cx:pt idx="47446">2</cx:pt>
          <cx:pt idx="47447">4</cx:pt>
          <cx:pt idx="47448">2</cx:pt>
          <cx:pt idx="47449">2</cx:pt>
          <cx:pt idx="47450">3</cx:pt>
          <cx:pt idx="47451">1</cx:pt>
          <cx:pt idx="47452">2</cx:pt>
          <cx:pt idx="47453">3</cx:pt>
          <cx:pt idx="47454">4</cx:pt>
          <cx:pt idx="47455">1</cx:pt>
          <cx:pt idx="47456">1</cx:pt>
          <cx:pt idx="47457">2</cx:pt>
          <cx:pt idx="47458">4</cx:pt>
          <cx:pt idx="47459">2</cx:pt>
          <cx:pt idx="47460">4</cx:pt>
          <cx:pt idx="47461">4</cx:pt>
          <cx:pt idx="47462">4</cx:pt>
          <cx:pt idx="47463">4</cx:pt>
          <cx:pt idx="47464">5</cx:pt>
          <cx:pt idx="47465">5</cx:pt>
          <cx:pt idx="47466">4</cx:pt>
          <cx:pt idx="47467">0</cx:pt>
          <cx:pt idx="47468">1</cx:pt>
          <cx:pt idx="47469">3</cx:pt>
          <cx:pt idx="47470">4</cx:pt>
          <cx:pt idx="47471">4</cx:pt>
          <cx:pt idx="47472">5</cx:pt>
          <cx:pt idx="47473">4</cx:pt>
          <cx:pt idx="47474">2</cx:pt>
          <cx:pt idx="47475">3</cx:pt>
          <cx:pt idx="47476">2</cx:pt>
          <cx:pt idx="47477">3</cx:pt>
          <cx:pt idx="47478">4</cx:pt>
          <cx:pt idx="47479">2</cx:pt>
          <cx:pt idx="47480">4</cx:pt>
          <cx:pt idx="47481">4</cx:pt>
          <cx:pt idx="47482">5</cx:pt>
          <cx:pt idx="47483">1</cx:pt>
          <cx:pt idx="47484">2</cx:pt>
          <cx:pt idx="47485">3</cx:pt>
          <cx:pt idx="47486">4</cx:pt>
          <cx:pt idx="47487">4</cx:pt>
          <cx:pt idx="47488">3</cx:pt>
          <cx:pt idx="47489">0</cx:pt>
          <cx:pt idx="47490">1</cx:pt>
          <cx:pt idx="47491">1</cx:pt>
          <cx:pt idx="47492">2</cx:pt>
          <cx:pt idx="47493">4</cx:pt>
          <cx:pt idx="47494">2</cx:pt>
          <cx:pt idx="47495">2</cx:pt>
          <cx:pt idx="47496">1</cx:pt>
          <cx:pt idx="47497">3</cx:pt>
          <cx:pt idx="47498">5</cx:pt>
          <cx:pt idx="47499">2</cx:pt>
          <cx:pt idx="47500">3</cx:pt>
          <cx:pt idx="47501">1</cx:pt>
          <cx:pt idx="47502">3</cx:pt>
          <cx:pt idx="47503">1</cx:pt>
          <cx:pt idx="47504">2</cx:pt>
          <cx:pt idx="47505">3</cx:pt>
          <cx:pt idx="47506">4</cx:pt>
          <cx:pt idx="47507">2</cx:pt>
          <cx:pt idx="47508">4</cx:pt>
          <cx:pt idx="47509">1</cx:pt>
          <cx:pt idx="47510">3</cx:pt>
          <cx:pt idx="47511">2</cx:pt>
          <cx:pt idx="47512">3</cx:pt>
          <cx:pt idx="47513">4</cx:pt>
          <cx:pt idx="47514">3</cx:pt>
          <cx:pt idx="47515">4</cx:pt>
          <cx:pt idx="47516">2</cx:pt>
          <cx:pt idx="47517">3</cx:pt>
          <cx:pt idx="47518">1</cx:pt>
          <cx:pt idx="47519">4</cx:pt>
          <cx:pt idx="47520">3</cx:pt>
          <cx:pt idx="47521">3</cx:pt>
          <cx:pt idx="47522">4</cx:pt>
          <cx:pt idx="47523">1</cx:pt>
          <cx:pt idx="47524">3</cx:pt>
          <cx:pt idx="47525">1</cx:pt>
          <cx:pt idx="47526">3</cx:pt>
          <cx:pt idx="47527">2</cx:pt>
          <cx:pt idx="47528">3</cx:pt>
          <cx:pt idx="47529">0</cx:pt>
          <cx:pt idx="47530">2</cx:pt>
          <cx:pt idx="47531">4</cx:pt>
          <cx:pt idx="47532">3</cx:pt>
          <cx:pt idx="47533">3</cx:pt>
          <cx:pt idx="47534">3</cx:pt>
          <cx:pt idx="47535">1</cx:pt>
          <cx:pt idx="47536">4</cx:pt>
          <cx:pt idx="47537">2</cx:pt>
          <cx:pt idx="47538">4</cx:pt>
          <cx:pt idx="47539">1</cx:pt>
          <cx:pt idx="47540">4</cx:pt>
          <cx:pt idx="47541">1</cx:pt>
          <cx:pt idx="47542">5</cx:pt>
          <cx:pt idx="47543">5</cx:pt>
          <cx:pt idx="47544">4</cx:pt>
          <cx:pt idx="47545">2</cx:pt>
          <cx:pt idx="47546">4</cx:pt>
          <cx:pt idx="47547">1</cx:pt>
          <cx:pt idx="47548">4</cx:pt>
          <cx:pt idx="47549">3</cx:pt>
          <cx:pt idx="47550">2</cx:pt>
          <cx:pt idx="47551">5</cx:pt>
          <cx:pt idx="47552">5</cx:pt>
          <cx:pt idx="47553">2</cx:pt>
          <cx:pt idx="47554">0</cx:pt>
          <cx:pt idx="47555">5</cx:pt>
          <cx:pt idx="47556">1</cx:pt>
          <cx:pt idx="47557">2</cx:pt>
          <cx:pt idx="47558">2</cx:pt>
          <cx:pt idx="47559">1</cx:pt>
          <cx:pt idx="47560">1</cx:pt>
          <cx:pt idx="47561">4</cx:pt>
          <cx:pt idx="47562">4</cx:pt>
          <cx:pt idx="47563">4</cx:pt>
          <cx:pt idx="47564">1</cx:pt>
          <cx:pt idx="47565">4</cx:pt>
          <cx:pt idx="47566">4</cx:pt>
          <cx:pt idx="47567">2</cx:pt>
          <cx:pt idx="47568">1</cx:pt>
          <cx:pt idx="47569">3</cx:pt>
          <cx:pt idx="47570">4</cx:pt>
          <cx:pt idx="47571">1</cx:pt>
          <cx:pt idx="47572">5</cx:pt>
          <cx:pt idx="47573">2</cx:pt>
          <cx:pt idx="47574">5</cx:pt>
          <cx:pt idx="47575">4</cx:pt>
          <cx:pt idx="47576">3</cx:pt>
          <cx:pt idx="47577">3</cx:pt>
          <cx:pt idx="47578">1</cx:pt>
          <cx:pt idx="47579">1</cx:pt>
          <cx:pt idx="47580">0</cx:pt>
          <cx:pt idx="47581">3</cx:pt>
          <cx:pt idx="47582">1</cx:pt>
          <cx:pt idx="47583">5</cx:pt>
          <cx:pt idx="47584">2</cx:pt>
          <cx:pt idx="47585">4</cx:pt>
          <cx:pt idx="47586">4</cx:pt>
          <cx:pt idx="47587">2</cx:pt>
          <cx:pt idx="47588">2</cx:pt>
          <cx:pt idx="47589">2</cx:pt>
          <cx:pt idx="47590">4</cx:pt>
          <cx:pt idx="47591">2</cx:pt>
          <cx:pt idx="47592">2</cx:pt>
          <cx:pt idx="47593">4</cx:pt>
          <cx:pt idx="47594">4</cx:pt>
          <cx:pt idx="47595">5</cx:pt>
          <cx:pt idx="47596">0</cx:pt>
          <cx:pt idx="47597">1</cx:pt>
          <cx:pt idx="47598">3</cx:pt>
          <cx:pt idx="47599">1</cx:pt>
          <cx:pt idx="47600">5</cx:pt>
          <cx:pt idx="47601">0</cx:pt>
          <cx:pt idx="47602">2</cx:pt>
          <cx:pt idx="47603">5</cx:pt>
          <cx:pt idx="47604">5</cx:pt>
          <cx:pt idx="47605">3</cx:pt>
          <cx:pt idx="47606">5</cx:pt>
          <cx:pt idx="47607">3</cx:pt>
          <cx:pt idx="47608">4</cx:pt>
          <cx:pt idx="47609">0</cx:pt>
          <cx:pt idx="47610">1</cx:pt>
          <cx:pt idx="47611">2</cx:pt>
          <cx:pt idx="47612">2</cx:pt>
          <cx:pt idx="47613">3</cx:pt>
          <cx:pt idx="47614">5</cx:pt>
          <cx:pt idx="47615">2</cx:pt>
          <cx:pt idx="47616">2</cx:pt>
          <cx:pt idx="47617">5</cx:pt>
          <cx:pt idx="47618">2</cx:pt>
          <cx:pt idx="47619">4</cx:pt>
          <cx:pt idx="47620">4</cx:pt>
          <cx:pt idx="47621">4</cx:pt>
          <cx:pt idx="47622">1</cx:pt>
          <cx:pt idx="47623">1</cx:pt>
          <cx:pt idx="47624">2</cx:pt>
          <cx:pt idx="47625">4</cx:pt>
          <cx:pt idx="47626">4</cx:pt>
          <cx:pt idx="47627">4</cx:pt>
          <cx:pt idx="47628">2</cx:pt>
          <cx:pt idx="47629">1</cx:pt>
          <cx:pt idx="47630">1</cx:pt>
          <cx:pt idx="47631">4</cx:pt>
          <cx:pt idx="47632">1</cx:pt>
          <cx:pt idx="47633">2</cx:pt>
          <cx:pt idx="47634">5</cx:pt>
          <cx:pt idx="47635">4</cx:pt>
          <cx:pt idx="47636">3</cx:pt>
          <cx:pt idx="47637">2</cx:pt>
          <cx:pt idx="47638">1</cx:pt>
          <cx:pt idx="47639">0</cx:pt>
          <cx:pt idx="47640">4</cx:pt>
          <cx:pt idx="47641">4</cx:pt>
          <cx:pt idx="47642">1</cx:pt>
          <cx:pt idx="47643">4</cx:pt>
          <cx:pt idx="47644">1</cx:pt>
          <cx:pt idx="47645">3</cx:pt>
          <cx:pt idx="47646">3</cx:pt>
          <cx:pt idx="47647">4</cx:pt>
          <cx:pt idx="47648">1</cx:pt>
          <cx:pt idx="47649">4</cx:pt>
          <cx:pt idx="47650">3</cx:pt>
          <cx:pt idx="47651">1</cx:pt>
          <cx:pt idx="47652">5</cx:pt>
          <cx:pt idx="47653">1</cx:pt>
          <cx:pt idx="47654">1</cx:pt>
          <cx:pt idx="47655">4</cx:pt>
          <cx:pt idx="47656">2</cx:pt>
          <cx:pt idx="47657">5</cx:pt>
          <cx:pt idx="47658">2</cx:pt>
          <cx:pt idx="47659">4</cx:pt>
          <cx:pt idx="47660">2</cx:pt>
          <cx:pt idx="47661">3</cx:pt>
          <cx:pt idx="47662">2</cx:pt>
          <cx:pt idx="47663">5</cx:pt>
          <cx:pt idx="47664">3</cx:pt>
          <cx:pt idx="47665">1</cx:pt>
          <cx:pt idx="47666">5</cx:pt>
          <cx:pt idx="47667">2</cx:pt>
          <cx:pt idx="47668">2</cx:pt>
          <cx:pt idx="47669">2</cx:pt>
          <cx:pt idx="47670">3</cx:pt>
          <cx:pt idx="47671">1</cx:pt>
          <cx:pt idx="47672">4</cx:pt>
          <cx:pt idx="47673">3</cx:pt>
          <cx:pt idx="47674">4</cx:pt>
          <cx:pt idx="47675">3</cx:pt>
          <cx:pt idx="47676">2</cx:pt>
          <cx:pt idx="47677">0</cx:pt>
          <cx:pt idx="47678">0</cx:pt>
          <cx:pt idx="47679">5</cx:pt>
          <cx:pt idx="47680">3</cx:pt>
          <cx:pt idx="47681">3</cx:pt>
          <cx:pt idx="47682">4</cx:pt>
          <cx:pt idx="47683">3</cx:pt>
          <cx:pt idx="47684">3</cx:pt>
          <cx:pt idx="47685">3</cx:pt>
          <cx:pt idx="47686">2</cx:pt>
          <cx:pt idx="47687">2</cx:pt>
          <cx:pt idx="47688">2</cx:pt>
          <cx:pt idx="47689">4</cx:pt>
          <cx:pt idx="47690">1</cx:pt>
          <cx:pt idx="47691">0</cx:pt>
          <cx:pt idx="47692">4</cx:pt>
          <cx:pt idx="47693">2</cx:pt>
          <cx:pt idx="47694">2</cx:pt>
          <cx:pt idx="47695">3</cx:pt>
          <cx:pt idx="47696">1</cx:pt>
          <cx:pt idx="47697">5</cx:pt>
          <cx:pt idx="47698">3</cx:pt>
          <cx:pt idx="47699">5</cx:pt>
          <cx:pt idx="47700">0</cx:pt>
          <cx:pt idx="47701">4</cx:pt>
          <cx:pt idx="47702">2</cx:pt>
          <cx:pt idx="47703">3</cx:pt>
          <cx:pt idx="47704">1</cx:pt>
          <cx:pt idx="47705">4</cx:pt>
          <cx:pt idx="47706">1</cx:pt>
          <cx:pt idx="47707">0</cx:pt>
          <cx:pt idx="47708">4</cx:pt>
          <cx:pt idx="47709">3</cx:pt>
          <cx:pt idx="47710">4</cx:pt>
          <cx:pt idx="47711">2</cx:pt>
          <cx:pt idx="47712">4</cx:pt>
          <cx:pt idx="47713">2</cx:pt>
          <cx:pt idx="47714">5</cx:pt>
          <cx:pt idx="47715">3</cx:pt>
          <cx:pt idx="47716">2</cx:pt>
          <cx:pt idx="47717">3</cx:pt>
          <cx:pt idx="47718">3</cx:pt>
          <cx:pt idx="47719">3</cx:pt>
          <cx:pt idx="47720">0</cx:pt>
          <cx:pt idx="47721">4</cx:pt>
          <cx:pt idx="47722">3</cx:pt>
          <cx:pt idx="47723">5</cx:pt>
          <cx:pt idx="47724">4</cx:pt>
          <cx:pt idx="47725">5</cx:pt>
          <cx:pt idx="47726">1</cx:pt>
          <cx:pt idx="47727">3</cx:pt>
          <cx:pt idx="47728">2</cx:pt>
          <cx:pt idx="47729">3</cx:pt>
          <cx:pt idx="47730">2</cx:pt>
          <cx:pt idx="47731">2</cx:pt>
          <cx:pt idx="47732">4</cx:pt>
          <cx:pt idx="47733">2</cx:pt>
          <cx:pt idx="47734">2</cx:pt>
          <cx:pt idx="47735">1</cx:pt>
          <cx:pt idx="47736">3</cx:pt>
          <cx:pt idx="47737">2</cx:pt>
          <cx:pt idx="47738">3</cx:pt>
          <cx:pt idx="47739">3</cx:pt>
          <cx:pt idx="47740">4</cx:pt>
          <cx:pt idx="47741">2</cx:pt>
          <cx:pt idx="47742">2</cx:pt>
          <cx:pt idx="47743">0</cx:pt>
          <cx:pt idx="47744">1</cx:pt>
          <cx:pt idx="47745">2</cx:pt>
          <cx:pt idx="47746">2</cx:pt>
          <cx:pt idx="47747">3</cx:pt>
          <cx:pt idx="47748">4</cx:pt>
          <cx:pt idx="47749">3</cx:pt>
          <cx:pt idx="47750">4</cx:pt>
          <cx:pt idx="47751">1</cx:pt>
          <cx:pt idx="47752">4</cx:pt>
          <cx:pt idx="47753">3</cx:pt>
          <cx:pt idx="47754">1</cx:pt>
          <cx:pt idx="47755">4</cx:pt>
          <cx:pt idx="47756">3</cx:pt>
          <cx:pt idx="47757">1</cx:pt>
          <cx:pt idx="47758">3</cx:pt>
          <cx:pt idx="47759">0</cx:pt>
          <cx:pt idx="47760">4</cx:pt>
          <cx:pt idx="47761">3</cx:pt>
          <cx:pt idx="47762">3</cx:pt>
          <cx:pt idx="47763">2</cx:pt>
          <cx:pt idx="47764">3</cx:pt>
          <cx:pt idx="47765">5</cx:pt>
          <cx:pt idx="47766">2</cx:pt>
          <cx:pt idx="47767">2</cx:pt>
          <cx:pt idx="47768">2</cx:pt>
          <cx:pt idx="47769">4</cx:pt>
          <cx:pt idx="47770">5</cx:pt>
          <cx:pt idx="47771">4</cx:pt>
          <cx:pt idx="47772">1</cx:pt>
          <cx:pt idx="47773">2</cx:pt>
          <cx:pt idx="47774">2</cx:pt>
          <cx:pt idx="47775">2</cx:pt>
          <cx:pt idx="47776">4</cx:pt>
          <cx:pt idx="47777">1</cx:pt>
          <cx:pt idx="47778">1</cx:pt>
          <cx:pt idx="47779">2</cx:pt>
          <cx:pt idx="47780">1</cx:pt>
          <cx:pt idx="47781">1</cx:pt>
          <cx:pt idx="47782">4</cx:pt>
          <cx:pt idx="47783">2</cx:pt>
          <cx:pt idx="47784">1</cx:pt>
          <cx:pt idx="47785">4</cx:pt>
          <cx:pt idx="47786">5</cx:pt>
          <cx:pt idx="47787">5</cx:pt>
          <cx:pt idx="47788">4</cx:pt>
          <cx:pt idx="47789">0</cx:pt>
          <cx:pt idx="47790">5</cx:pt>
          <cx:pt idx="47791">4</cx:pt>
          <cx:pt idx="47792">1</cx:pt>
          <cx:pt idx="47793">3</cx:pt>
          <cx:pt idx="47794">5</cx:pt>
          <cx:pt idx="47795">2</cx:pt>
          <cx:pt idx="47796">3</cx:pt>
          <cx:pt idx="47797">3</cx:pt>
          <cx:pt idx="47798">2</cx:pt>
          <cx:pt idx="47799">5</cx:pt>
          <cx:pt idx="47800">4</cx:pt>
          <cx:pt idx="47801">0</cx:pt>
          <cx:pt idx="47802">0</cx:pt>
          <cx:pt idx="47803">4</cx:pt>
          <cx:pt idx="47804">1</cx:pt>
          <cx:pt idx="47805">3</cx:pt>
          <cx:pt idx="47806">5</cx:pt>
          <cx:pt idx="47807">3</cx:pt>
          <cx:pt idx="47808">1</cx:pt>
          <cx:pt idx="47809">3</cx:pt>
          <cx:pt idx="47810">3</cx:pt>
          <cx:pt idx="47811">1</cx:pt>
          <cx:pt idx="47812">2</cx:pt>
          <cx:pt idx="47813">4</cx:pt>
          <cx:pt idx="47814">3</cx:pt>
          <cx:pt idx="47815">4</cx:pt>
          <cx:pt idx="47816">4</cx:pt>
          <cx:pt idx="47817">5</cx:pt>
          <cx:pt idx="47818">5</cx:pt>
          <cx:pt idx="47819">1</cx:pt>
          <cx:pt idx="47820">4</cx:pt>
          <cx:pt idx="47821">4</cx:pt>
          <cx:pt idx="47822">0</cx:pt>
          <cx:pt idx="47823">4</cx:pt>
          <cx:pt idx="47824">1</cx:pt>
          <cx:pt idx="47825">2</cx:pt>
          <cx:pt idx="47826">2</cx:pt>
          <cx:pt idx="47827">2</cx:pt>
          <cx:pt idx="47828">2</cx:pt>
          <cx:pt idx="47829">1</cx:pt>
          <cx:pt idx="47830">2</cx:pt>
          <cx:pt idx="47831">5</cx:pt>
          <cx:pt idx="47832">4</cx:pt>
          <cx:pt idx="47833">3</cx:pt>
          <cx:pt idx="47834">2</cx:pt>
          <cx:pt idx="47835">1</cx:pt>
          <cx:pt idx="47836">5</cx:pt>
          <cx:pt idx="47837">1</cx:pt>
          <cx:pt idx="47838">1</cx:pt>
          <cx:pt idx="47839">2</cx:pt>
          <cx:pt idx="47840">3</cx:pt>
          <cx:pt idx="47841">1</cx:pt>
          <cx:pt idx="47842">4</cx:pt>
          <cx:pt idx="47843">2</cx:pt>
          <cx:pt idx="47844">3</cx:pt>
          <cx:pt idx="47845">3</cx:pt>
          <cx:pt idx="47846">4</cx:pt>
          <cx:pt idx="47847">4</cx:pt>
          <cx:pt idx="47848">5</cx:pt>
          <cx:pt idx="47849">3</cx:pt>
          <cx:pt idx="47850">1</cx:pt>
          <cx:pt idx="47851">2</cx:pt>
          <cx:pt idx="47852">3</cx:pt>
          <cx:pt idx="47853">1</cx:pt>
          <cx:pt idx="47854">0</cx:pt>
          <cx:pt idx="47855">2</cx:pt>
          <cx:pt idx="47856">2</cx:pt>
          <cx:pt idx="47857">3</cx:pt>
          <cx:pt idx="47858">3</cx:pt>
          <cx:pt idx="47859">1</cx:pt>
          <cx:pt idx="47860">3</cx:pt>
          <cx:pt idx="47861">3</cx:pt>
          <cx:pt idx="47862">2</cx:pt>
          <cx:pt idx="47863">3</cx:pt>
          <cx:pt idx="47864">1</cx:pt>
          <cx:pt idx="47865">2</cx:pt>
          <cx:pt idx="47866">2</cx:pt>
          <cx:pt idx="47867">1</cx:pt>
          <cx:pt idx="47868">3</cx:pt>
          <cx:pt idx="47869">2</cx:pt>
          <cx:pt idx="47870">3</cx:pt>
          <cx:pt idx="47871">2</cx:pt>
          <cx:pt idx="47872">2</cx:pt>
          <cx:pt idx="47873">2</cx:pt>
          <cx:pt idx="47874">2</cx:pt>
          <cx:pt idx="47875">4</cx:pt>
          <cx:pt idx="47876">3</cx:pt>
          <cx:pt idx="47877">3</cx:pt>
          <cx:pt idx="47878">1</cx:pt>
          <cx:pt idx="47879">4</cx:pt>
          <cx:pt idx="47880">5</cx:pt>
          <cx:pt idx="47881">2</cx:pt>
          <cx:pt idx="47882">1</cx:pt>
          <cx:pt idx="47883">3</cx:pt>
          <cx:pt idx="47884">1</cx:pt>
          <cx:pt idx="47885">5</cx:pt>
          <cx:pt idx="47886">5</cx:pt>
          <cx:pt idx="47887">5</cx:pt>
          <cx:pt idx="47888">3</cx:pt>
          <cx:pt idx="47889">0</cx:pt>
          <cx:pt idx="47890">3</cx:pt>
          <cx:pt idx="47891">4</cx:pt>
          <cx:pt idx="47892">3</cx:pt>
          <cx:pt idx="47893">3</cx:pt>
          <cx:pt idx="47894">3</cx:pt>
          <cx:pt idx="47895">0</cx:pt>
          <cx:pt idx="47896">3</cx:pt>
          <cx:pt idx="47897">5</cx:pt>
          <cx:pt idx="47898">2</cx:pt>
          <cx:pt idx="47899">3</cx:pt>
          <cx:pt idx="47900">2</cx:pt>
          <cx:pt idx="47901">4</cx:pt>
          <cx:pt idx="47902">3</cx:pt>
          <cx:pt idx="47903">3</cx:pt>
          <cx:pt idx="47904">1</cx:pt>
          <cx:pt idx="47905">1</cx:pt>
          <cx:pt idx="47906">2</cx:pt>
          <cx:pt idx="47907">4</cx:pt>
          <cx:pt idx="47908">3</cx:pt>
          <cx:pt idx="47909">1</cx:pt>
          <cx:pt idx="47910">3</cx:pt>
          <cx:pt idx="47911">1</cx:pt>
          <cx:pt idx="47912">1</cx:pt>
          <cx:pt idx="47913">5</cx:pt>
          <cx:pt idx="47914">5</cx:pt>
          <cx:pt idx="47915">4</cx:pt>
          <cx:pt idx="47916">5</cx:pt>
          <cx:pt idx="47917">2</cx:pt>
          <cx:pt idx="47918">2</cx:pt>
          <cx:pt idx="47919">5</cx:pt>
          <cx:pt idx="47920">4</cx:pt>
          <cx:pt idx="47921">3</cx:pt>
          <cx:pt idx="47922">3</cx:pt>
          <cx:pt idx="47923">3</cx:pt>
          <cx:pt idx="47924">3</cx:pt>
          <cx:pt idx="47925">0</cx:pt>
          <cx:pt idx="47926">4</cx:pt>
          <cx:pt idx="47927">4</cx:pt>
          <cx:pt idx="47928">2</cx:pt>
          <cx:pt idx="47929">1</cx:pt>
          <cx:pt idx="47930">1</cx:pt>
          <cx:pt idx="47931">3</cx:pt>
          <cx:pt idx="47932">2</cx:pt>
          <cx:pt idx="47933">3</cx:pt>
          <cx:pt idx="47934">5</cx:pt>
          <cx:pt idx="47935">2</cx:pt>
          <cx:pt idx="47936">4</cx:pt>
          <cx:pt idx="47937">4</cx:pt>
          <cx:pt idx="47938">3</cx:pt>
          <cx:pt idx="47939">2</cx:pt>
          <cx:pt idx="47940">2</cx:pt>
          <cx:pt idx="47941">5</cx:pt>
          <cx:pt idx="47942">0</cx:pt>
          <cx:pt idx="47943">1</cx:pt>
          <cx:pt idx="47944">3</cx:pt>
          <cx:pt idx="47945">2</cx:pt>
          <cx:pt idx="47946">1</cx:pt>
          <cx:pt idx="47947">5</cx:pt>
          <cx:pt idx="47948">2</cx:pt>
          <cx:pt idx="47949">3</cx:pt>
          <cx:pt idx="47950">2</cx:pt>
          <cx:pt idx="47951">2</cx:pt>
          <cx:pt idx="47952">2</cx:pt>
          <cx:pt idx="47953">2</cx:pt>
          <cx:pt idx="47954">4</cx:pt>
          <cx:pt idx="47955">3</cx:pt>
          <cx:pt idx="47956">3</cx:pt>
          <cx:pt idx="47957">1</cx:pt>
          <cx:pt idx="47958">1</cx:pt>
          <cx:pt idx="47959">2</cx:pt>
          <cx:pt idx="47960">3</cx:pt>
          <cx:pt idx="47961">4</cx:pt>
          <cx:pt idx="47962">2</cx:pt>
          <cx:pt idx="47963">2</cx:pt>
          <cx:pt idx="47964">1</cx:pt>
          <cx:pt idx="47965">1</cx:pt>
          <cx:pt idx="47966">1</cx:pt>
          <cx:pt idx="47967">2</cx:pt>
          <cx:pt idx="47968">0</cx:pt>
          <cx:pt idx="47969">1</cx:pt>
          <cx:pt idx="47970">4</cx:pt>
          <cx:pt idx="47971">3</cx:pt>
          <cx:pt idx="47972">4</cx:pt>
          <cx:pt idx="47973">1</cx:pt>
          <cx:pt idx="47974">3</cx:pt>
          <cx:pt idx="47975">4</cx:pt>
          <cx:pt idx="47976">3</cx:pt>
          <cx:pt idx="47977">4</cx:pt>
          <cx:pt idx="47978">2</cx:pt>
          <cx:pt idx="47979">4</cx:pt>
          <cx:pt idx="47980">5</cx:pt>
          <cx:pt idx="47981">4</cx:pt>
          <cx:pt idx="47982">5</cx:pt>
          <cx:pt idx="47983">4</cx:pt>
          <cx:pt idx="47984">4</cx:pt>
          <cx:pt idx="47985">4</cx:pt>
          <cx:pt idx="47986">1</cx:pt>
          <cx:pt idx="47987">4</cx:pt>
          <cx:pt idx="47988">3</cx:pt>
          <cx:pt idx="47989">2</cx:pt>
          <cx:pt idx="47990">5</cx:pt>
          <cx:pt idx="47991">2</cx:pt>
          <cx:pt idx="47992">1</cx:pt>
          <cx:pt idx="47993">1</cx:pt>
          <cx:pt idx="47994">5</cx:pt>
          <cx:pt idx="47995">4</cx:pt>
          <cx:pt idx="47996">0</cx:pt>
          <cx:pt idx="47997">1</cx:pt>
          <cx:pt idx="47998">2</cx:pt>
          <cx:pt idx="47999">5</cx:pt>
          <cx:pt idx="48000">2</cx:pt>
          <cx:pt idx="48001">2</cx:pt>
          <cx:pt idx="48002">1</cx:pt>
          <cx:pt idx="48003">5</cx:pt>
          <cx:pt idx="48004">4</cx:pt>
          <cx:pt idx="48005">2</cx:pt>
          <cx:pt idx="48006">2</cx:pt>
          <cx:pt idx="48007">4</cx:pt>
          <cx:pt idx="48008">2</cx:pt>
          <cx:pt idx="48009">1</cx:pt>
          <cx:pt idx="48010">2</cx:pt>
          <cx:pt idx="48011">5</cx:pt>
          <cx:pt idx="48012">3</cx:pt>
          <cx:pt idx="48013">3</cx:pt>
          <cx:pt idx="48014">3</cx:pt>
          <cx:pt idx="48015">5</cx:pt>
          <cx:pt idx="48016">4</cx:pt>
          <cx:pt idx="48017">3</cx:pt>
          <cx:pt idx="48018">2</cx:pt>
          <cx:pt idx="48019">1</cx:pt>
          <cx:pt idx="48020">2</cx:pt>
          <cx:pt idx="48021">1</cx:pt>
          <cx:pt idx="48022">2</cx:pt>
          <cx:pt idx="48023">2</cx:pt>
          <cx:pt idx="48024">3</cx:pt>
          <cx:pt idx="48025">4</cx:pt>
          <cx:pt idx="48026">1</cx:pt>
          <cx:pt idx="48027">3</cx:pt>
          <cx:pt idx="48028">1</cx:pt>
          <cx:pt idx="48029">2</cx:pt>
          <cx:pt idx="48030">4</cx:pt>
          <cx:pt idx="48031">3</cx:pt>
          <cx:pt idx="48032">3</cx:pt>
          <cx:pt idx="48033">4</cx:pt>
          <cx:pt idx="48034">3</cx:pt>
          <cx:pt idx="48035">1</cx:pt>
          <cx:pt idx="48036">2</cx:pt>
          <cx:pt idx="48037">3</cx:pt>
          <cx:pt idx="48038">3</cx:pt>
          <cx:pt idx="48039">2</cx:pt>
          <cx:pt idx="48040">1</cx:pt>
          <cx:pt idx="48041">2</cx:pt>
          <cx:pt idx="48042">3</cx:pt>
          <cx:pt idx="48043">3</cx:pt>
          <cx:pt idx="48044">5</cx:pt>
          <cx:pt idx="48045">4</cx:pt>
          <cx:pt idx="48046">5</cx:pt>
          <cx:pt idx="48047">4</cx:pt>
          <cx:pt idx="48048">4</cx:pt>
          <cx:pt idx="48049">1</cx:pt>
          <cx:pt idx="48050">1</cx:pt>
          <cx:pt idx="48051">1</cx:pt>
          <cx:pt idx="48052">2</cx:pt>
          <cx:pt idx="48053">3</cx:pt>
          <cx:pt idx="48054">4</cx:pt>
          <cx:pt idx="48055">5</cx:pt>
          <cx:pt idx="48056">3</cx:pt>
          <cx:pt idx="48057">1</cx:pt>
          <cx:pt idx="48058">2</cx:pt>
          <cx:pt idx="48059">2</cx:pt>
          <cx:pt idx="48060">4</cx:pt>
          <cx:pt idx="48061">3</cx:pt>
          <cx:pt idx="48062">3</cx:pt>
          <cx:pt idx="48063">3</cx:pt>
          <cx:pt idx="48064">5</cx:pt>
          <cx:pt idx="48065">3</cx:pt>
          <cx:pt idx="48066">2</cx:pt>
          <cx:pt idx="48067">3</cx:pt>
          <cx:pt idx="48068">5</cx:pt>
          <cx:pt idx="48069">3</cx:pt>
          <cx:pt idx="48070">5</cx:pt>
          <cx:pt idx="48071">0</cx:pt>
          <cx:pt idx="48072">3</cx:pt>
          <cx:pt idx="48073">3</cx:pt>
          <cx:pt idx="48074">4</cx:pt>
          <cx:pt idx="48075">3</cx:pt>
          <cx:pt idx="48076">2</cx:pt>
          <cx:pt idx="48077">3</cx:pt>
          <cx:pt idx="48078">4</cx:pt>
          <cx:pt idx="48079">3</cx:pt>
          <cx:pt idx="48080">2</cx:pt>
          <cx:pt idx="48081">3</cx:pt>
          <cx:pt idx="48082">1</cx:pt>
          <cx:pt idx="48083">5</cx:pt>
          <cx:pt idx="48084">3</cx:pt>
          <cx:pt idx="48085">1</cx:pt>
          <cx:pt idx="48086">2</cx:pt>
          <cx:pt idx="48087">4</cx:pt>
          <cx:pt idx="48088">4</cx:pt>
          <cx:pt idx="48089">2</cx:pt>
          <cx:pt idx="48090">2</cx:pt>
          <cx:pt idx="48091">2</cx:pt>
          <cx:pt idx="48092">3</cx:pt>
          <cx:pt idx="48093">4</cx:pt>
          <cx:pt idx="48094">4</cx:pt>
          <cx:pt idx="48095">0</cx:pt>
          <cx:pt idx="48096">4</cx:pt>
          <cx:pt idx="48097">5</cx:pt>
          <cx:pt idx="48098">4</cx:pt>
          <cx:pt idx="48099">2</cx:pt>
          <cx:pt idx="48100">5</cx:pt>
          <cx:pt idx="48101">1</cx:pt>
          <cx:pt idx="48102">4</cx:pt>
          <cx:pt idx="48103">1</cx:pt>
          <cx:pt idx="48104">1</cx:pt>
          <cx:pt idx="48105">2</cx:pt>
          <cx:pt idx="48106">3</cx:pt>
          <cx:pt idx="48107">3</cx:pt>
          <cx:pt idx="48108">2</cx:pt>
          <cx:pt idx="48109">3</cx:pt>
          <cx:pt idx="48110">2</cx:pt>
          <cx:pt idx="48111">1</cx:pt>
          <cx:pt idx="48112">3</cx:pt>
          <cx:pt idx="48113">0</cx:pt>
          <cx:pt idx="48114">3</cx:pt>
          <cx:pt idx="48115">5</cx:pt>
          <cx:pt idx="48116">2</cx:pt>
          <cx:pt idx="48117">1</cx:pt>
          <cx:pt idx="48118">4</cx:pt>
          <cx:pt idx="48119">0</cx:pt>
          <cx:pt idx="48120">0</cx:pt>
          <cx:pt idx="48121">5</cx:pt>
          <cx:pt idx="48122">2</cx:pt>
          <cx:pt idx="48123">5</cx:pt>
          <cx:pt idx="48124">3</cx:pt>
          <cx:pt idx="48125">3</cx:pt>
          <cx:pt idx="48126">1</cx:pt>
          <cx:pt idx="48127">5</cx:pt>
          <cx:pt idx="48128">2</cx:pt>
          <cx:pt idx="48129">4</cx:pt>
          <cx:pt idx="48130">4</cx:pt>
          <cx:pt idx="48131">2</cx:pt>
          <cx:pt idx="48132">3</cx:pt>
          <cx:pt idx="48133">3</cx:pt>
          <cx:pt idx="48134">3</cx:pt>
          <cx:pt idx="48135">1</cx:pt>
          <cx:pt idx="48136">3</cx:pt>
          <cx:pt idx="48137">1</cx:pt>
          <cx:pt idx="48138">2</cx:pt>
          <cx:pt idx="48139">3</cx:pt>
          <cx:pt idx="48140">3</cx:pt>
          <cx:pt idx="48141">4</cx:pt>
          <cx:pt idx="48142">0</cx:pt>
          <cx:pt idx="48143">3</cx:pt>
          <cx:pt idx="48144">4</cx:pt>
          <cx:pt idx="48145">1</cx:pt>
          <cx:pt idx="48146">2</cx:pt>
          <cx:pt idx="48147">2</cx:pt>
          <cx:pt idx="48148">4</cx:pt>
          <cx:pt idx="48149">4</cx:pt>
          <cx:pt idx="48150">3</cx:pt>
          <cx:pt idx="48151">2</cx:pt>
          <cx:pt idx="48152">2</cx:pt>
          <cx:pt idx="48153">1</cx:pt>
          <cx:pt idx="48154">2</cx:pt>
          <cx:pt idx="48155">4</cx:pt>
          <cx:pt idx="48156">2</cx:pt>
          <cx:pt idx="48157">2</cx:pt>
          <cx:pt idx="48158">3</cx:pt>
          <cx:pt idx="48159">0</cx:pt>
          <cx:pt idx="48160">3</cx:pt>
          <cx:pt idx="48161">3</cx:pt>
          <cx:pt idx="48162">1</cx:pt>
          <cx:pt idx="48163">1</cx:pt>
          <cx:pt idx="48164">1</cx:pt>
          <cx:pt idx="48165">2</cx:pt>
          <cx:pt idx="48166">4</cx:pt>
          <cx:pt idx="48167">3</cx:pt>
          <cx:pt idx="48168">3</cx:pt>
          <cx:pt idx="48169">2</cx:pt>
          <cx:pt idx="48170">5</cx:pt>
          <cx:pt idx="48171">3</cx:pt>
          <cx:pt idx="48172">1</cx:pt>
          <cx:pt idx="48173">4</cx:pt>
          <cx:pt idx="48174">1</cx:pt>
          <cx:pt idx="48175">1</cx:pt>
          <cx:pt idx="48176">1</cx:pt>
          <cx:pt idx="48177">4</cx:pt>
          <cx:pt idx="48178">2</cx:pt>
          <cx:pt idx="48179">2</cx:pt>
          <cx:pt idx="48180">1</cx:pt>
          <cx:pt idx="48181">5</cx:pt>
          <cx:pt idx="48182">4</cx:pt>
          <cx:pt idx="48183">4</cx:pt>
          <cx:pt idx="48184">3</cx:pt>
          <cx:pt idx="48185">5</cx:pt>
          <cx:pt idx="48186">4</cx:pt>
          <cx:pt idx="48187">1</cx:pt>
          <cx:pt idx="48188">2</cx:pt>
          <cx:pt idx="48189">4</cx:pt>
          <cx:pt idx="48190">2</cx:pt>
          <cx:pt idx="48191">1</cx:pt>
          <cx:pt idx="48192">3</cx:pt>
          <cx:pt idx="48193">3</cx:pt>
          <cx:pt idx="48194">2</cx:pt>
          <cx:pt idx="48195">0</cx:pt>
          <cx:pt idx="48196">3</cx:pt>
          <cx:pt idx="48197">4</cx:pt>
          <cx:pt idx="48198">2</cx:pt>
          <cx:pt idx="48199">1</cx:pt>
          <cx:pt idx="48200">2</cx:pt>
          <cx:pt idx="48201">1</cx:pt>
          <cx:pt idx="48202">4</cx:pt>
          <cx:pt idx="48203">4</cx:pt>
          <cx:pt idx="48204">2</cx:pt>
          <cx:pt idx="48205">5</cx:pt>
          <cx:pt idx="48206">3</cx:pt>
          <cx:pt idx="48207">2</cx:pt>
          <cx:pt idx="48208">1</cx:pt>
          <cx:pt idx="48209">3</cx:pt>
          <cx:pt idx="48210">0</cx:pt>
          <cx:pt idx="48211">4</cx:pt>
          <cx:pt idx="48212">1</cx:pt>
          <cx:pt idx="48213">1</cx:pt>
          <cx:pt idx="48214">1</cx:pt>
          <cx:pt idx="48215">4</cx:pt>
          <cx:pt idx="48216">1</cx:pt>
          <cx:pt idx="48217">1</cx:pt>
          <cx:pt idx="48218">4</cx:pt>
          <cx:pt idx="48219">3</cx:pt>
          <cx:pt idx="48220">3</cx:pt>
          <cx:pt idx="48221">4</cx:pt>
          <cx:pt idx="48222">3</cx:pt>
          <cx:pt idx="48223">2</cx:pt>
          <cx:pt idx="48224">4</cx:pt>
          <cx:pt idx="48225">5</cx:pt>
          <cx:pt idx="48226">2</cx:pt>
          <cx:pt idx="48227">0</cx:pt>
          <cx:pt idx="48228">1</cx:pt>
          <cx:pt idx="48229">1</cx:pt>
          <cx:pt idx="48230">2</cx:pt>
          <cx:pt idx="48231">5</cx:pt>
          <cx:pt idx="48232">3</cx:pt>
          <cx:pt idx="48233">3</cx:pt>
          <cx:pt idx="48234">3</cx:pt>
          <cx:pt idx="48235">1</cx:pt>
          <cx:pt idx="48236">2</cx:pt>
          <cx:pt idx="48237">2</cx:pt>
          <cx:pt idx="48238">2</cx:pt>
          <cx:pt idx="48239">1</cx:pt>
          <cx:pt idx="48240">2</cx:pt>
          <cx:pt idx="48241">2</cx:pt>
          <cx:pt idx="48242">4</cx:pt>
          <cx:pt idx="48243">3</cx:pt>
          <cx:pt idx="48244">2</cx:pt>
          <cx:pt idx="48245">4</cx:pt>
          <cx:pt idx="48246">5</cx:pt>
          <cx:pt idx="48247">3</cx:pt>
          <cx:pt idx="48248">4</cx:pt>
          <cx:pt idx="48249">4</cx:pt>
          <cx:pt idx="48250">1</cx:pt>
          <cx:pt idx="48251">1</cx:pt>
          <cx:pt idx="48252">1</cx:pt>
          <cx:pt idx="48253">3</cx:pt>
          <cx:pt idx="48254">3</cx:pt>
          <cx:pt idx="48255">2</cx:pt>
          <cx:pt idx="48256">2</cx:pt>
          <cx:pt idx="48257">2</cx:pt>
          <cx:pt idx="48258">5</cx:pt>
          <cx:pt idx="48259">3</cx:pt>
          <cx:pt idx="48260">3</cx:pt>
          <cx:pt idx="48261">4</cx:pt>
          <cx:pt idx="48262">3</cx:pt>
          <cx:pt idx="48263">3</cx:pt>
          <cx:pt idx="48264">4</cx:pt>
          <cx:pt idx="48265">3</cx:pt>
          <cx:pt idx="48266">2</cx:pt>
          <cx:pt idx="48267">2</cx:pt>
          <cx:pt idx="48268">5</cx:pt>
          <cx:pt idx="48269">4</cx:pt>
          <cx:pt idx="48270">3</cx:pt>
          <cx:pt idx="48271">1</cx:pt>
          <cx:pt idx="48272">3</cx:pt>
          <cx:pt idx="48273">3</cx:pt>
          <cx:pt idx="48274">1</cx:pt>
          <cx:pt idx="48275">2</cx:pt>
          <cx:pt idx="48276">2</cx:pt>
          <cx:pt idx="48277">1</cx:pt>
          <cx:pt idx="48278">5</cx:pt>
          <cx:pt idx="48279">2</cx:pt>
          <cx:pt idx="48280">1</cx:pt>
          <cx:pt idx="48281">2</cx:pt>
          <cx:pt idx="48282">5</cx:pt>
          <cx:pt idx="48283">2</cx:pt>
          <cx:pt idx="48284">2</cx:pt>
          <cx:pt idx="48285">3</cx:pt>
          <cx:pt idx="48286">3</cx:pt>
          <cx:pt idx="48287">2</cx:pt>
          <cx:pt idx="48288">3</cx:pt>
          <cx:pt idx="48289">3</cx:pt>
          <cx:pt idx="48290">2</cx:pt>
          <cx:pt idx="48291">1</cx:pt>
          <cx:pt idx="48292">3</cx:pt>
          <cx:pt idx="48293">3</cx:pt>
          <cx:pt idx="48294">5</cx:pt>
          <cx:pt idx="48295">5</cx:pt>
          <cx:pt idx="48296">2</cx:pt>
          <cx:pt idx="48297">2</cx:pt>
          <cx:pt idx="48298">1</cx:pt>
          <cx:pt idx="48299">3</cx:pt>
          <cx:pt idx="48300">5</cx:pt>
          <cx:pt idx="48301">2</cx:pt>
          <cx:pt idx="48302">1</cx:pt>
          <cx:pt idx="48303">1</cx:pt>
          <cx:pt idx="48304">1</cx:pt>
          <cx:pt idx="48305">5</cx:pt>
          <cx:pt idx="48306">0</cx:pt>
          <cx:pt idx="48307">2</cx:pt>
          <cx:pt idx="48308">4</cx:pt>
          <cx:pt idx="48309">1</cx:pt>
          <cx:pt idx="48310">3</cx:pt>
          <cx:pt idx="48311">2</cx:pt>
          <cx:pt idx="48312">0</cx:pt>
          <cx:pt idx="48313">5</cx:pt>
          <cx:pt idx="48314">4</cx:pt>
          <cx:pt idx="48315">1</cx:pt>
          <cx:pt idx="48316">3</cx:pt>
          <cx:pt idx="48317">3</cx:pt>
          <cx:pt idx="48318">5</cx:pt>
          <cx:pt idx="48319">3</cx:pt>
          <cx:pt idx="48320">1</cx:pt>
          <cx:pt idx="48321">4</cx:pt>
          <cx:pt idx="48322">2</cx:pt>
          <cx:pt idx="48323">0</cx:pt>
          <cx:pt idx="48324">4</cx:pt>
          <cx:pt idx="48325">1</cx:pt>
          <cx:pt idx="48326">1</cx:pt>
          <cx:pt idx="48327">4</cx:pt>
          <cx:pt idx="48328">1</cx:pt>
          <cx:pt idx="48329">3</cx:pt>
          <cx:pt idx="48330">3</cx:pt>
          <cx:pt idx="48331">3</cx:pt>
          <cx:pt idx="48332">4</cx:pt>
          <cx:pt idx="48333">0</cx:pt>
          <cx:pt idx="48334">2</cx:pt>
          <cx:pt idx="48335">4</cx:pt>
          <cx:pt idx="48336">4</cx:pt>
          <cx:pt idx="48337">1</cx:pt>
          <cx:pt idx="48338">2</cx:pt>
          <cx:pt idx="48339">2</cx:pt>
          <cx:pt idx="48340">1</cx:pt>
          <cx:pt idx="48341">1</cx:pt>
          <cx:pt idx="48342">3</cx:pt>
          <cx:pt idx="48343">4</cx:pt>
          <cx:pt idx="48344">4</cx:pt>
          <cx:pt idx="48345">2</cx:pt>
          <cx:pt idx="48346">4</cx:pt>
          <cx:pt idx="48347">4</cx:pt>
          <cx:pt idx="48348">1</cx:pt>
          <cx:pt idx="48349">4</cx:pt>
          <cx:pt idx="48350">2</cx:pt>
          <cx:pt idx="48351">4</cx:pt>
          <cx:pt idx="48352">4</cx:pt>
          <cx:pt idx="48353">5</cx:pt>
          <cx:pt idx="48354">3</cx:pt>
          <cx:pt idx="48355">2</cx:pt>
          <cx:pt idx="48356">5</cx:pt>
          <cx:pt idx="48357">1</cx:pt>
          <cx:pt idx="48358">5</cx:pt>
          <cx:pt idx="48359">2</cx:pt>
          <cx:pt idx="48360">1</cx:pt>
          <cx:pt idx="48361">1</cx:pt>
          <cx:pt idx="48362">3</cx:pt>
          <cx:pt idx="48363">1</cx:pt>
          <cx:pt idx="48364">4</cx:pt>
          <cx:pt idx="48365">1</cx:pt>
          <cx:pt idx="48366">3</cx:pt>
          <cx:pt idx="48367">1</cx:pt>
          <cx:pt idx="48368">1</cx:pt>
          <cx:pt idx="48369">5</cx:pt>
          <cx:pt idx="48370">1</cx:pt>
          <cx:pt idx="48371">4</cx:pt>
          <cx:pt idx="48372">2</cx:pt>
          <cx:pt idx="48373">0</cx:pt>
          <cx:pt idx="48374">3</cx:pt>
          <cx:pt idx="48375">2</cx:pt>
          <cx:pt idx="48376">3</cx:pt>
          <cx:pt idx="48377">3</cx:pt>
          <cx:pt idx="48378">0</cx:pt>
          <cx:pt idx="48379">2</cx:pt>
          <cx:pt idx="48380">2</cx:pt>
          <cx:pt idx="48381">3</cx:pt>
          <cx:pt idx="48382">1</cx:pt>
          <cx:pt idx="48383">4</cx:pt>
          <cx:pt idx="48384">3</cx:pt>
          <cx:pt idx="48385">2</cx:pt>
          <cx:pt idx="48386">2</cx:pt>
          <cx:pt idx="48387">2</cx:pt>
          <cx:pt idx="48388">3</cx:pt>
          <cx:pt idx="48389">2</cx:pt>
          <cx:pt idx="48390">2</cx:pt>
          <cx:pt idx="48391">3</cx:pt>
          <cx:pt idx="48392">2</cx:pt>
          <cx:pt idx="48393">3</cx:pt>
          <cx:pt idx="48394">2</cx:pt>
          <cx:pt idx="48395">4</cx:pt>
          <cx:pt idx="48396">5</cx:pt>
          <cx:pt idx="48397">3</cx:pt>
          <cx:pt idx="48398">1</cx:pt>
          <cx:pt idx="48399">1</cx:pt>
          <cx:pt idx="48400">1</cx:pt>
          <cx:pt idx="48401">2</cx:pt>
          <cx:pt idx="48402">3</cx:pt>
          <cx:pt idx="48403">3</cx:pt>
          <cx:pt idx="48404">0</cx:pt>
          <cx:pt idx="48405">3</cx:pt>
          <cx:pt idx="48406">2</cx:pt>
          <cx:pt idx="48407">4</cx:pt>
          <cx:pt idx="48408">1</cx:pt>
          <cx:pt idx="48409">1</cx:pt>
          <cx:pt idx="48410">1</cx:pt>
          <cx:pt idx="48411">5</cx:pt>
          <cx:pt idx="48412">0</cx:pt>
          <cx:pt idx="48413">2</cx:pt>
          <cx:pt idx="48414">4</cx:pt>
          <cx:pt idx="48415">4</cx:pt>
          <cx:pt idx="48416">4</cx:pt>
          <cx:pt idx="48417">4</cx:pt>
          <cx:pt idx="48418">4</cx:pt>
          <cx:pt idx="48419">3</cx:pt>
          <cx:pt idx="48420">2</cx:pt>
          <cx:pt idx="48421">2</cx:pt>
          <cx:pt idx="48422">1</cx:pt>
          <cx:pt idx="48423">2</cx:pt>
          <cx:pt idx="48424">1</cx:pt>
          <cx:pt idx="48425">1</cx:pt>
          <cx:pt idx="48426">5</cx:pt>
          <cx:pt idx="48427">4</cx:pt>
          <cx:pt idx="48428">3</cx:pt>
          <cx:pt idx="48429">4</cx:pt>
          <cx:pt idx="48430">2</cx:pt>
          <cx:pt idx="48431">4</cx:pt>
          <cx:pt idx="48432">1</cx:pt>
          <cx:pt idx="48433">3</cx:pt>
          <cx:pt idx="48434">0</cx:pt>
          <cx:pt idx="48435">3</cx:pt>
          <cx:pt idx="48436">1</cx:pt>
          <cx:pt idx="48437">0</cx:pt>
          <cx:pt idx="48438">5</cx:pt>
          <cx:pt idx="48439">4</cx:pt>
          <cx:pt idx="48440">5</cx:pt>
          <cx:pt idx="48441">3</cx:pt>
          <cx:pt idx="48442">4</cx:pt>
          <cx:pt idx="48443">4</cx:pt>
          <cx:pt idx="48444">3</cx:pt>
          <cx:pt idx="48445">3</cx:pt>
          <cx:pt idx="48446">3</cx:pt>
          <cx:pt idx="48447">3</cx:pt>
          <cx:pt idx="48448">1</cx:pt>
          <cx:pt idx="48449">2</cx:pt>
          <cx:pt idx="48450">0</cx:pt>
          <cx:pt idx="48451">4</cx:pt>
          <cx:pt idx="48452">3</cx:pt>
          <cx:pt idx="48453">4</cx:pt>
          <cx:pt idx="48454">4</cx:pt>
          <cx:pt idx="48455">5</cx:pt>
          <cx:pt idx="48456">2</cx:pt>
          <cx:pt idx="48457">1</cx:pt>
          <cx:pt idx="48458">1</cx:pt>
          <cx:pt idx="48459">3</cx:pt>
          <cx:pt idx="48460">4</cx:pt>
          <cx:pt idx="48461">3</cx:pt>
          <cx:pt idx="48462">3</cx:pt>
          <cx:pt idx="48463">2</cx:pt>
          <cx:pt idx="48464">4</cx:pt>
          <cx:pt idx="48465">2</cx:pt>
          <cx:pt idx="48466">2</cx:pt>
          <cx:pt idx="48467">3</cx:pt>
          <cx:pt idx="48468">4</cx:pt>
          <cx:pt idx="48469">4</cx:pt>
          <cx:pt idx="48470">3</cx:pt>
          <cx:pt idx="48471">4</cx:pt>
          <cx:pt idx="48472">2</cx:pt>
          <cx:pt idx="48473">2</cx:pt>
          <cx:pt idx="48474">1</cx:pt>
          <cx:pt idx="48475">3</cx:pt>
          <cx:pt idx="48476">2</cx:pt>
          <cx:pt idx="48477">3</cx:pt>
          <cx:pt idx="48478">3</cx:pt>
          <cx:pt idx="48479">3</cx:pt>
          <cx:pt idx="48480">1</cx:pt>
          <cx:pt idx="48481">4</cx:pt>
          <cx:pt idx="48482">2</cx:pt>
          <cx:pt idx="48483">0</cx:pt>
          <cx:pt idx="48484">4</cx:pt>
          <cx:pt idx="48485">2</cx:pt>
          <cx:pt idx="48486">0</cx:pt>
          <cx:pt idx="48487">4</cx:pt>
          <cx:pt idx="48488">3</cx:pt>
          <cx:pt idx="48489">0</cx:pt>
          <cx:pt idx="48490">2</cx:pt>
          <cx:pt idx="48491">1</cx:pt>
          <cx:pt idx="48492">3</cx:pt>
          <cx:pt idx="48493">3</cx:pt>
          <cx:pt idx="48494">1</cx:pt>
          <cx:pt idx="48495">0</cx:pt>
          <cx:pt idx="48496">3</cx:pt>
          <cx:pt idx="48497">2</cx:pt>
          <cx:pt idx="48498">1</cx:pt>
          <cx:pt idx="48499">3</cx:pt>
          <cx:pt idx="48500">4</cx:pt>
          <cx:pt idx="48501">3</cx:pt>
          <cx:pt idx="48502">2</cx:pt>
          <cx:pt idx="48503">4</cx:pt>
          <cx:pt idx="48504">3</cx:pt>
          <cx:pt idx="48505">3</cx:pt>
          <cx:pt idx="48506">4</cx:pt>
          <cx:pt idx="48507">5</cx:pt>
          <cx:pt idx="48508">4</cx:pt>
          <cx:pt idx="48509">5</cx:pt>
          <cx:pt idx="48510">4</cx:pt>
          <cx:pt idx="48511">3</cx:pt>
          <cx:pt idx="48512">5</cx:pt>
          <cx:pt idx="48513">3</cx:pt>
          <cx:pt idx="48514">5</cx:pt>
          <cx:pt idx="48515">3</cx:pt>
          <cx:pt idx="48516">2</cx:pt>
          <cx:pt idx="48517">5</cx:pt>
          <cx:pt idx="48518">5</cx:pt>
          <cx:pt idx="48519">2</cx:pt>
          <cx:pt idx="48520">5</cx:pt>
          <cx:pt idx="48521">1</cx:pt>
          <cx:pt idx="48522">3</cx:pt>
          <cx:pt idx="48523">0</cx:pt>
          <cx:pt idx="48524">3</cx:pt>
          <cx:pt idx="48525">5</cx:pt>
          <cx:pt idx="48526">2</cx:pt>
          <cx:pt idx="48527">3</cx:pt>
          <cx:pt idx="48528">2</cx:pt>
          <cx:pt idx="48529">4</cx:pt>
          <cx:pt idx="48530">2</cx:pt>
          <cx:pt idx="48531">5</cx:pt>
          <cx:pt idx="48532">3</cx:pt>
          <cx:pt idx="48533">5</cx:pt>
          <cx:pt idx="48534">2</cx:pt>
          <cx:pt idx="48535">5</cx:pt>
          <cx:pt idx="48536">3</cx:pt>
          <cx:pt idx="48537">2</cx:pt>
          <cx:pt idx="48538">2</cx:pt>
          <cx:pt idx="48539">1</cx:pt>
          <cx:pt idx="48540">2</cx:pt>
          <cx:pt idx="48541">2</cx:pt>
          <cx:pt idx="48542">5</cx:pt>
          <cx:pt idx="48543">1</cx:pt>
          <cx:pt idx="48544">3</cx:pt>
          <cx:pt idx="48545">1</cx:pt>
          <cx:pt idx="48546">1</cx:pt>
          <cx:pt idx="48547">4</cx:pt>
          <cx:pt idx="48548">3</cx:pt>
          <cx:pt idx="48549">1</cx:pt>
          <cx:pt idx="48550">4</cx:pt>
          <cx:pt idx="48551">5</cx:pt>
          <cx:pt idx="48552">5</cx:pt>
          <cx:pt idx="48553">2</cx:pt>
          <cx:pt idx="48554">3</cx:pt>
          <cx:pt idx="48555">2</cx:pt>
          <cx:pt idx="48556">4</cx:pt>
          <cx:pt idx="48557">0</cx:pt>
          <cx:pt idx="48558">2</cx:pt>
          <cx:pt idx="48559">3</cx:pt>
          <cx:pt idx="48560">3</cx:pt>
          <cx:pt idx="48561">3</cx:pt>
          <cx:pt idx="48562">1</cx:pt>
          <cx:pt idx="48563">3</cx:pt>
          <cx:pt idx="48564">2</cx:pt>
          <cx:pt idx="48565">2</cx:pt>
          <cx:pt idx="48566">5</cx:pt>
          <cx:pt idx="48567">2</cx:pt>
          <cx:pt idx="48568">3</cx:pt>
          <cx:pt idx="48569">0</cx:pt>
          <cx:pt idx="48570">2</cx:pt>
          <cx:pt idx="48571">3</cx:pt>
          <cx:pt idx="48572">2</cx:pt>
          <cx:pt idx="48573">3</cx:pt>
          <cx:pt idx="48574">5</cx:pt>
          <cx:pt idx="48575">4</cx:pt>
          <cx:pt idx="48576">0</cx:pt>
          <cx:pt idx="48577">4</cx:pt>
          <cx:pt idx="48578">1</cx:pt>
          <cx:pt idx="48579">1</cx:pt>
          <cx:pt idx="48580">2</cx:pt>
          <cx:pt idx="48581">2</cx:pt>
          <cx:pt idx="48582">1</cx:pt>
          <cx:pt idx="48583">5</cx:pt>
          <cx:pt idx="48584">3</cx:pt>
          <cx:pt idx="48585">3</cx:pt>
          <cx:pt idx="48586">0</cx:pt>
          <cx:pt idx="48587">4</cx:pt>
          <cx:pt idx="48588">5</cx:pt>
          <cx:pt idx="48589">1</cx:pt>
          <cx:pt idx="48590">1</cx:pt>
          <cx:pt idx="48591">4</cx:pt>
          <cx:pt idx="48592">4</cx:pt>
          <cx:pt idx="48593">2</cx:pt>
          <cx:pt idx="48594">5</cx:pt>
          <cx:pt idx="48595">2</cx:pt>
          <cx:pt idx="48596">3</cx:pt>
          <cx:pt idx="48597">3</cx:pt>
          <cx:pt idx="48598">3</cx:pt>
          <cx:pt idx="48599">4</cx:pt>
          <cx:pt idx="48600">4</cx:pt>
          <cx:pt idx="48601">0</cx:pt>
          <cx:pt idx="48602">2</cx:pt>
          <cx:pt idx="48603">3</cx:pt>
          <cx:pt idx="48604">1</cx:pt>
          <cx:pt idx="48605">3</cx:pt>
          <cx:pt idx="48606">3</cx:pt>
          <cx:pt idx="48607">5</cx:pt>
          <cx:pt idx="48608">3</cx:pt>
          <cx:pt idx="48609">5</cx:pt>
          <cx:pt idx="48610">4</cx:pt>
          <cx:pt idx="48611">0</cx:pt>
          <cx:pt idx="48612">4</cx:pt>
          <cx:pt idx="48613">2</cx:pt>
          <cx:pt idx="48614">2</cx:pt>
          <cx:pt idx="48615">3</cx:pt>
          <cx:pt idx="48616">5</cx:pt>
          <cx:pt idx="48617">4</cx:pt>
          <cx:pt idx="48618">0</cx:pt>
          <cx:pt idx="48619">0</cx:pt>
          <cx:pt idx="48620">3</cx:pt>
          <cx:pt idx="48621">1</cx:pt>
          <cx:pt idx="48622">3</cx:pt>
          <cx:pt idx="48623">4</cx:pt>
          <cx:pt idx="48624">1</cx:pt>
          <cx:pt idx="48625">2</cx:pt>
          <cx:pt idx="48626">4</cx:pt>
          <cx:pt idx="48627">2</cx:pt>
          <cx:pt idx="48628">4</cx:pt>
          <cx:pt idx="48629">2</cx:pt>
          <cx:pt idx="48630">4</cx:pt>
          <cx:pt idx="48631">2</cx:pt>
          <cx:pt idx="48632">2</cx:pt>
          <cx:pt idx="48633">1</cx:pt>
          <cx:pt idx="48634">5</cx:pt>
          <cx:pt idx="48635">2</cx:pt>
          <cx:pt idx="48636">2</cx:pt>
          <cx:pt idx="48637">3</cx:pt>
          <cx:pt idx="48638">1</cx:pt>
          <cx:pt idx="48639">3</cx:pt>
          <cx:pt idx="48640">1</cx:pt>
          <cx:pt idx="48641">3</cx:pt>
          <cx:pt idx="48642">4</cx:pt>
          <cx:pt idx="48643">2</cx:pt>
          <cx:pt idx="48644">1</cx:pt>
          <cx:pt idx="48645">1</cx:pt>
          <cx:pt idx="48646">5</cx:pt>
          <cx:pt idx="48647">3</cx:pt>
          <cx:pt idx="48648">4</cx:pt>
          <cx:pt idx="48649">3</cx:pt>
          <cx:pt idx="48650">3</cx:pt>
          <cx:pt idx="48651">4</cx:pt>
          <cx:pt idx="48652">3</cx:pt>
          <cx:pt idx="48653">3</cx:pt>
          <cx:pt idx="48654">1</cx:pt>
          <cx:pt idx="48655">2</cx:pt>
          <cx:pt idx="48656">5</cx:pt>
          <cx:pt idx="48657">4</cx:pt>
          <cx:pt idx="48658">4</cx:pt>
          <cx:pt idx="48659">4</cx:pt>
          <cx:pt idx="48660">3</cx:pt>
          <cx:pt idx="48661">3</cx:pt>
          <cx:pt idx="48662">1</cx:pt>
          <cx:pt idx="48663">3</cx:pt>
          <cx:pt idx="48664">3</cx:pt>
          <cx:pt idx="48665">4</cx:pt>
          <cx:pt idx="48666">1</cx:pt>
          <cx:pt idx="48667">2</cx:pt>
          <cx:pt idx="48668">3</cx:pt>
          <cx:pt idx="48669">5</cx:pt>
          <cx:pt idx="48670">0</cx:pt>
          <cx:pt idx="48671">3</cx:pt>
          <cx:pt idx="48672">1</cx:pt>
          <cx:pt idx="48673">2</cx:pt>
          <cx:pt idx="48674">4</cx:pt>
          <cx:pt idx="48675">1</cx:pt>
          <cx:pt idx="48676">4</cx:pt>
          <cx:pt idx="48677">1</cx:pt>
          <cx:pt idx="48678">5</cx:pt>
          <cx:pt idx="48679">0</cx:pt>
          <cx:pt idx="48680">4</cx:pt>
          <cx:pt idx="48681">3</cx:pt>
          <cx:pt idx="48682">5</cx:pt>
          <cx:pt idx="48683">3</cx:pt>
          <cx:pt idx="48684">2</cx:pt>
          <cx:pt idx="48685">3</cx:pt>
          <cx:pt idx="48686">4</cx:pt>
          <cx:pt idx="48687">1</cx:pt>
          <cx:pt idx="48688">2</cx:pt>
          <cx:pt idx="48689">1</cx:pt>
          <cx:pt idx="48690">2</cx:pt>
          <cx:pt idx="48691">1</cx:pt>
          <cx:pt idx="48692">4</cx:pt>
          <cx:pt idx="48693">5</cx:pt>
          <cx:pt idx="48694">1</cx:pt>
          <cx:pt idx="48695">2</cx:pt>
          <cx:pt idx="48696">5</cx:pt>
          <cx:pt idx="48697">5</cx:pt>
          <cx:pt idx="48698">1</cx:pt>
          <cx:pt idx="48699">4</cx:pt>
          <cx:pt idx="48700">2</cx:pt>
          <cx:pt idx="48701">1</cx:pt>
          <cx:pt idx="48702">1</cx:pt>
          <cx:pt idx="48703">4</cx:pt>
          <cx:pt idx="48704">5</cx:pt>
          <cx:pt idx="48705">4</cx:pt>
          <cx:pt idx="48706">2</cx:pt>
          <cx:pt idx="48707">4</cx:pt>
          <cx:pt idx="48708">3</cx:pt>
          <cx:pt idx="48709">3</cx:pt>
          <cx:pt idx="48710">2</cx:pt>
          <cx:pt idx="48711">2</cx:pt>
          <cx:pt idx="48712">4</cx:pt>
          <cx:pt idx="48713">5</cx:pt>
          <cx:pt idx="48714">2</cx:pt>
          <cx:pt idx="48715">3</cx:pt>
          <cx:pt idx="48716">4</cx:pt>
          <cx:pt idx="48717">1</cx:pt>
          <cx:pt idx="48718">1</cx:pt>
          <cx:pt idx="48719">3</cx:pt>
          <cx:pt idx="48720">5</cx:pt>
          <cx:pt idx="48721">2</cx:pt>
          <cx:pt idx="48722">1</cx:pt>
          <cx:pt idx="48723">4</cx:pt>
          <cx:pt idx="48724">3</cx:pt>
          <cx:pt idx="48725">0</cx:pt>
          <cx:pt idx="48726">3</cx:pt>
          <cx:pt idx="48727">5</cx:pt>
          <cx:pt idx="48728">1</cx:pt>
          <cx:pt idx="48729">2</cx:pt>
          <cx:pt idx="48730">2</cx:pt>
          <cx:pt idx="48731">3</cx:pt>
          <cx:pt idx="48732">1</cx:pt>
          <cx:pt idx="48733">5</cx:pt>
          <cx:pt idx="48734">5</cx:pt>
          <cx:pt idx="48735">2</cx:pt>
          <cx:pt idx="48736">5</cx:pt>
          <cx:pt idx="48737">2</cx:pt>
          <cx:pt idx="48738">5</cx:pt>
          <cx:pt idx="48739">3</cx:pt>
          <cx:pt idx="48740">5</cx:pt>
          <cx:pt idx="48741">5</cx:pt>
          <cx:pt idx="48742">2</cx:pt>
          <cx:pt idx="48743">2</cx:pt>
          <cx:pt idx="48744">2</cx:pt>
          <cx:pt idx="48745">1</cx:pt>
          <cx:pt idx="48746">4</cx:pt>
          <cx:pt idx="48747">3</cx:pt>
          <cx:pt idx="48748">4</cx:pt>
          <cx:pt idx="48749">4</cx:pt>
          <cx:pt idx="48750">2</cx:pt>
          <cx:pt idx="48751">3</cx:pt>
          <cx:pt idx="48752">2</cx:pt>
          <cx:pt idx="48753">3</cx:pt>
          <cx:pt idx="48754">1</cx:pt>
          <cx:pt idx="48755">1</cx:pt>
          <cx:pt idx="48756">4</cx:pt>
          <cx:pt idx="48757">5</cx:pt>
          <cx:pt idx="48758">1</cx:pt>
          <cx:pt idx="48759">4</cx:pt>
          <cx:pt idx="48760">1</cx:pt>
          <cx:pt idx="48761">4</cx:pt>
          <cx:pt idx="48762">3</cx:pt>
          <cx:pt idx="48763">2</cx:pt>
          <cx:pt idx="48764">1</cx:pt>
          <cx:pt idx="48765">4</cx:pt>
          <cx:pt idx="48766">3</cx:pt>
          <cx:pt idx="48767">4</cx:pt>
          <cx:pt idx="48768">1</cx:pt>
          <cx:pt idx="48769">5</cx:pt>
          <cx:pt idx="48770">4</cx:pt>
          <cx:pt idx="48771">1</cx:pt>
          <cx:pt idx="48772">4</cx:pt>
          <cx:pt idx="48773">5</cx:pt>
          <cx:pt idx="48774">2</cx:pt>
          <cx:pt idx="48775">1</cx:pt>
          <cx:pt idx="48776">3</cx:pt>
          <cx:pt idx="48777">1</cx:pt>
          <cx:pt idx="48778">5</cx:pt>
          <cx:pt idx="48779">2</cx:pt>
          <cx:pt idx="48780">4</cx:pt>
          <cx:pt idx="48781">2</cx:pt>
          <cx:pt idx="48782">5</cx:pt>
          <cx:pt idx="48783">3</cx:pt>
          <cx:pt idx="48784">4</cx:pt>
          <cx:pt idx="48785">5</cx:pt>
          <cx:pt idx="48786">4</cx:pt>
          <cx:pt idx="48787">2</cx:pt>
          <cx:pt idx="48788">2</cx:pt>
          <cx:pt idx="48789">3</cx:pt>
          <cx:pt idx="48790">3</cx:pt>
          <cx:pt idx="48791">4</cx:pt>
          <cx:pt idx="48792">3</cx:pt>
          <cx:pt idx="48793">3</cx:pt>
          <cx:pt idx="48794">3</cx:pt>
          <cx:pt idx="48795">1</cx:pt>
          <cx:pt idx="48796">3</cx:pt>
          <cx:pt idx="48797">5</cx:pt>
          <cx:pt idx="48798">2</cx:pt>
          <cx:pt idx="48799">2</cx:pt>
          <cx:pt idx="48800">2</cx:pt>
          <cx:pt idx="48801">3</cx:pt>
          <cx:pt idx="48802">2</cx:pt>
          <cx:pt idx="48803">3</cx:pt>
          <cx:pt idx="48804">5</cx:pt>
          <cx:pt idx="48805">2</cx:pt>
          <cx:pt idx="48806">2</cx:pt>
          <cx:pt idx="48807">3</cx:pt>
          <cx:pt idx="48808">1</cx:pt>
          <cx:pt idx="48809">4</cx:pt>
          <cx:pt idx="48810">4</cx:pt>
          <cx:pt idx="48811">2</cx:pt>
          <cx:pt idx="48812">2</cx:pt>
          <cx:pt idx="48813">1</cx:pt>
          <cx:pt idx="48814">2</cx:pt>
          <cx:pt idx="48815">4</cx:pt>
          <cx:pt idx="48816">3</cx:pt>
          <cx:pt idx="48817">5</cx:pt>
          <cx:pt idx="48818">5</cx:pt>
          <cx:pt idx="48819">0</cx:pt>
          <cx:pt idx="48820">0</cx:pt>
          <cx:pt idx="48821">3</cx:pt>
          <cx:pt idx="48822">1</cx:pt>
          <cx:pt idx="48823">2</cx:pt>
          <cx:pt idx="48824">3</cx:pt>
          <cx:pt idx="48825">2</cx:pt>
          <cx:pt idx="48826">4</cx:pt>
          <cx:pt idx="48827">5</cx:pt>
          <cx:pt idx="48828">2</cx:pt>
          <cx:pt idx="48829">0</cx:pt>
          <cx:pt idx="48830">2</cx:pt>
          <cx:pt idx="48831">3</cx:pt>
          <cx:pt idx="48832">3</cx:pt>
          <cx:pt idx="48833">5</cx:pt>
          <cx:pt idx="48834">4</cx:pt>
          <cx:pt idx="48835">4</cx:pt>
          <cx:pt idx="48836">0</cx:pt>
          <cx:pt idx="48837">2</cx:pt>
          <cx:pt idx="48838">2</cx:pt>
          <cx:pt idx="48839">5</cx:pt>
          <cx:pt idx="48840">5</cx:pt>
          <cx:pt idx="48841">3</cx:pt>
          <cx:pt idx="48842">3</cx:pt>
          <cx:pt idx="48843">3</cx:pt>
          <cx:pt idx="48844">2</cx:pt>
          <cx:pt idx="48845">5</cx:pt>
          <cx:pt idx="48846">3</cx:pt>
          <cx:pt idx="48847">5</cx:pt>
          <cx:pt idx="48848">5</cx:pt>
          <cx:pt idx="48849">3</cx:pt>
          <cx:pt idx="48850">1</cx:pt>
          <cx:pt idx="48851">5</cx:pt>
          <cx:pt idx="48852">5</cx:pt>
          <cx:pt idx="48853">1</cx:pt>
          <cx:pt idx="48854">1</cx:pt>
          <cx:pt idx="48855">3</cx:pt>
          <cx:pt idx="48856">3</cx:pt>
          <cx:pt idx="48857">3</cx:pt>
          <cx:pt idx="48858">4</cx:pt>
          <cx:pt idx="48859">2</cx:pt>
          <cx:pt idx="48860">1</cx:pt>
          <cx:pt idx="48861">4</cx:pt>
          <cx:pt idx="48862">3</cx:pt>
          <cx:pt idx="48863">3</cx:pt>
          <cx:pt idx="48864">2</cx:pt>
          <cx:pt idx="48865">3</cx:pt>
          <cx:pt idx="48866">0</cx:pt>
          <cx:pt idx="48867">5</cx:pt>
          <cx:pt idx="48868">1</cx:pt>
          <cx:pt idx="48869">4</cx:pt>
          <cx:pt idx="48870">5</cx:pt>
          <cx:pt idx="48871">4</cx:pt>
          <cx:pt idx="48872">4</cx:pt>
          <cx:pt idx="48873">2</cx:pt>
          <cx:pt idx="48874">3</cx:pt>
          <cx:pt idx="48875">3</cx:pt>
          <cx:pt idx="48876">3</cx:pt>
          <cx:pt idx="48877">1</cx:pt>
          <cx:pt idx="48878">1</cx:pt>
          <cx:pt idx="48879">1</cx:pt>
          <cx:pt idx="48880">0</cx:pt>
          <cx:pt idx="48881">1</cx:pt>
          <cx:pt idx="48882">5</cx:pt>
          <cx:pt idx="48883">3</cx:pt>
          <cx:pt idx="48884">1</cx:pt>
          <cx:pt idx="48885">1</cx:pt>
          <cx:pt idx="48886">4</cx:pt>
          <cx:pt idx="48887">4</cx:pt>
          <cx:pt idx="48888">2</cx:pt>
          <cx:pt idx="48889">1</cx:pt>
          <cx:pt idx="48890">5</cx:pt>
          <cx:pt idx="48891">1</cx:pt>
          <cx:pt idx="48892">4</cx:pt>
          <cx:pt idx="48893">3</cx:pt>
          <cx:pt idx="48894">5</cx:pt>
          <cx:pt idx="48895">2</cx:pt>
          <cx:pt idx="48896">4</cx:pt>
          <cx:pt idx="48897">2</cx:pt>
          <cx:pt idx="48898">4</cx:pt>
          <cx:pt idx="48899">5</cx:pt>
          <cx:pt idx="48900">4</cx:pt>
          <cx:pt idx="48901">2</cx:pt>
          <cx:pt idx="48902">4</cx:pt>
          <cx:pt idx="48903">5</cx:pt>
          <cx:pt idx="48904">0</cx:pt>
          <cx:pt idx="48905">3</cx:pt>
          <cx:pt idx="48906">4</cx:pt>
          <cx:pt idx="48907">5</cx:pt>
          <cx:pt idx="48908">2</cx:pt>
          <cx:pt idx="48909">3</cx:pt>
          <cx:pt idx="48910">3</cx:pt>
          <cx:pt idx="48911">3</cx:pt>
          <cx:pt idx="48912">1</cx:pt>
          <cx:pt idx="48913">3</cx:pt>
          <cx:pt idx="48914">2</cx:pt>
          <cx:pt idx="48915">1</cx:pt>
          <cx:pt idx="48916">4</cx:pt>
          <cx:pt idx="48917">2</cx:pt>
          <cx:pt idx="48918">0</cx:pt>
          <cx:pt idx="48919">4</cx:pt>
          <cx:pt idx="48920">2</cx:pt>
          <cx:pt idx="48921">4</cx:pt>
          <cx:pt idx="48922">3</cx:pt>
          <cx:pt idx="48923">4</cx:pt>
          <cx:pt idx="48924">4</cx:pt>
          <cx:pt idx="48925">1</cx:pt>
          <cx:pt idx="48926">4</cx:pt>
          <cx:pt idx="48927">0</cx:pt>
          <cx:pt idx="48928">4</cx:pt>
          <cx:pt idx="48929">1</cx:pt>
          <cx:pt idx="48930">2</cx:pt>
          <cx:pt idx="48931">2</cx:pt>
          <cx:pt idx="48932">1</cx:pt>
          <cx:pt idx="48933">1</cx:pt>
          <cx:pt idx="48934">3</cx:pt>
          <cx:pt idx="48935">4</cx:pt>
          <cx:pt idx="48936">4</cx:pt>
          <cx:pt idx="48937">4</cx:pt>
          <cx:pt idx="48938">2</cx:pt>
          <cx:pt idx="48939">2</cx:pt>
          <cx:pt idx="48940">5</cx:pt>
          <cx:pt idx="48941">1</cx:pt>
          <cx:pt idx="48942">4</cx:pt>
          <cx:pt idx="48943">5</cx:pt>
          <cx:pt idx="48944">2</cx:pt>
          <cx:pt idx="48945">4</cx:pt>
          <cx:pt idx="48946">2</cx:pt>
          <cx:pt idx="48947">3</cx:pt>
          <cx:pt idx="48948">2</cx:pt>
          <cx:pt idx="48949">1</cx:pt>
          <cx:pt idx="48950">4</cx:pt>
          <cx:pt idx="48951">5</cx:pt>
          <cx:pt idx="48952">4</cx:pt>
          <cx:pt idx="48953">3</cx:pt>
          <cx:pt idx="48954">1</cx:pt>
          <cx:pt idx="48955">5</cx:pt>
          <cx:pt idx="48956">1</cx:pt>
          <cx:pt idx="48957">0</cx:pt>
          <cx:pt idx="48958">2</cx:pt>
          <cx:pt idx="48959">4</cx:pt>
          <cx:pt idx="48960">2</cx:pt>
          <cx:pt idx="48961">2</cx:pt>
          <cx:pt idx="48962">5</cx:pt>
          <cx:pt idx="48963">3</cx:pt>
          <cx:pt idx="48964">5</cx:pt>
          <cx:pt idx="48965">1</cx:pt>
          <cx:pt idx="48966">1</cx:pt>
          <cx:pt idx="48967">2</cx:pt>
          <cx:pt idx="48968">3</cx:pt>
          <cx:pt idx="48969">0</cx:pt>
          <cx:pt idx="48970">3</cx:pt>
          <cx:pt idx="48971">3</cx:pt>
          <cx:pt idx="48972">2</cx:pt>
          <cx:pt idx="48973">3</cx:pt>
          <cx:pt idx="48974">1</cx:pt>
          <cx:pt idx="48975">5</cx:pt>
          <cx:pt idx="48976">3</cx:pt>
          <cx:pt idx="48977">3</cx:pt>
          <cx:pt idx="48978">5</cx:pt>
          <cx:pt idx="48979">3</cx:pt>
          <cx:pt idx="48980">0</cx:pt>
          <cx:pt idx="48981">1</cx:pt>
          <cx:pt idx="48982">5</cx:pt>
          <cx:pt idx="48983">3</cx:pt>
          <cx:pt idx="48984">4</cx:pt>
          <cx:pt idx="48985">2</cx:pt>
          <cx:pt idx="48986">3</cx:pt>
          <cx:pt idx="48987">3</cx:pt>
          <cx:pt idx="48988">3</cx:pt>
          <cx:pt idx="48989">4</cx:pt>
          <cx:pt idx="48990">2</cx:pt>
          <cx:pt idx="48991">1</cx:pt>
          <cx:pt idx="48992">1</cx:pt>
          <cx:pt idx="48993">4</cx:pt>
          <cx:pt idx="48994">5</cx:pt>
          <cx:pt idx="48995">2</cx:pt>
          <cx:pt idx="48996">3</cx:pt>
          <cx:pt idx="48997">3</cx:pt>
          <cx:pt idx="48998">3</cx:pt>
          <cx:pt idx="48999">1</cx:pt>
          <cx:pt idx="49000">3</cx:pt>
          <cx:pt idx="49001">4</cx:pt>
          <cx:pt idx="49002">1</cx:pt>
          <cx:pt idx="49003">5</cx:pt>
          <cx:pt idx="49004">1</cx:pt>
          <cx:pt idx="49005">4</cx:pt>
          <cx:pt idx="49006">1</cx:pt>
          <cx:pt idx="49007">1</cx:pt>
          <cx:pt idx="49008">4</cx:pt>
          <cx:pt idx="49009">2</cx:pt>
          <cx:pt idx="49010">4</cx:pt>
          <cx:pt idx="49011">2</cx:pt>
          <cx:pt idx="49012">2</cx:pt>
          <cx:pt idx="49013">4</cx:pt>
          <cx:pt idx="49014">4</cx:pt>
          <cx:pt idx="49015">4</cx:pt>
          <cx:pt idx="49016">3</cx:pt>
          <cx:pt idx="49017">2</cx:pt>
          <cx:pt idx="49018">1</cx:pt>
          <cx:pt idx="49019">4</cx:pt>
          <cx:pt idx="49020">3</cx:pt>
          <cx:pt idx="49021">2</cx:pt>
          <cx:pt idx="49022">1</cx:pt>
          <cx:pt idx="49023">4</cx:pt>
          <cx:pt idx="49024">1</cx:pt>
          <cx:pt idx="49025">3</cx:pt>
          <cx:pt idx="49026">4</cx:pt>
          <cx:pt idx="49027">4</cx:pt>
          <cx:pt idx="49028">3</cx:pt>
          <cx:pt idx="49029">3</cx:pt>
          <cx:pt idx="49030">2</cx:pt>
          <cx:pt idx="49031">3</cx:pt>
          <cx:pt idx="49032">3</cx:pt>
          <cx:pt idx="49033">5</cx:pt>
          <cx:pt idx="49034">1</cx:pt>
          <cx:pt idx="49035">5</cx:pt>
          <cx:pt idx="49036">2</cx:pt>
          <cx:pt idx="49037">2</cx:pt>
          <cx:pt idx="49038">3</cx:pt>
          <cx:pt idx="49039">4</cx:pt>
          <cx:pt idx="49040">2</cx:pt>
          <cx:pt idx="49041">3</cx:pt>
          <cx:pt idx="49042">5</cx:pt>
          <cx:pt idx="49043">3</cx:pt>
          <cx:pt idx="49044">2</cx:pt>
          <cx:pt idx="49045">2</cx:pt>
          <cx:pt idx="49046">4</cx:pt>
          <cx:pt idx="49047">1</cx:pt>
          <cx:pt idx="49048">0</cx:pt>
          <cx:pt idx="49049">2</cx:pt>
          <cx:pt idx="49050">0</cx:pt>
          <cx:pt idx="49051">4</cx:pt>
          <cx:pt idx="49052">3</cx:pt>
          <cx:pt idx="49053">4</cx:pt>
          <cx:pt idx="49054">3</cx:pt>
          <cx:pt idx="49055">3</cx:pt>
          <cx:pt idx="49056">4</cx:pt>
          <cx:pt idx="49057">4</cx:pt>
          <cx:pt idx="49058">1</cx:pt>
          <cx:pt idx="49059">5</cx:pt>
          <cx:pt idx="49060">5</cx:pt>
          <cx:pt idx="49061">5</cx:pt>
          <cx:pt idx="49062">3</cx:pt>
          <cx:pt idx="49063">1</cx:pt>
          <cx:pt idx="49064">5</cx:pt>
          <cx:pt idx="49065">1</cx:pt>
          <cx:pt idx="49066">2</cx:pt>
          <cx:pt idx="49067">5</cx:pt>
          <cx:pt idx="49068">2</cx:pt>
          <cx:pt idx="49069">2</cx:pt>
          <cx:pt idx="49070">3</cx:pt>
          <cx:pt idx="49071">4</cx:pt>
          <cx:pt idx="49072">1</cx:pt>
          <cx:pt idx="49073">1</cx:pt>
          <cx:pt idx="49074">1</cx:pt>
          <cx:pt idx="49075">1</cx:pt>
          <cx:pt idx="49076">1</cx:pt>
          <cx:pt idx="49077">2</cx:pt>
          <cx:pt idx="49078">1</cx:pt>
          <cx:pt idx="49079">5</cx:pt>
          <cx:pt idx="49080">1</cx:pt>
          <cx:pt idx="49081">3</cx:pt>
          <cx:pt idx="49082">3</cx:pt>
          <cx:pt idx="49083">3</cx:pt>
          <cx:pt idx="49084">4</cx:pt>
          <cx:pt idx="49085">0</cx:pt>
          <cx:pt idx="49086">1</cx:pt>
          <cx:pt idx="49087">1</cx:pt>
          <cx:pt idx="49088">2</cx:pt>
          <cx:pt idx="49089">2</cx:pt>
          <cx:pt idx="49090">0</cx:pt>
          <cx:pt idx="49091">2</cx:pt>
          <cx:pt idx="49092">3</cx:pt>
          <cx:pt idx="49093">1</cx:pt>
          <cx:pt idx="49094">5</cx:pt>
          <cx:pt idx="49095">2</cx:pt>
          <cx:pt idx="49096">4</cx:pt>
          <cx:pt idx="49097">3</cx:pt>
          <cx:pt idx="49098">1</cx:pt>
          <cx:pt idx="49099">3</cx:pt>
          <cx:pt idx="49100">5</cx:pt>
          <cx:pt idx="49101">3</cx:pt>
          <cx:pt idx="49102">5</cx:pt>
          <cx:pt idx="49103">1</cx:pt>
          <cx:pt idx="49104">3</cx:pt>
          <cx:pt idx="49105">3</cx:pt>
          <cx:pt idx="49106">5</cx:pt>
          <cx:pt idx="49107">1</cx:pt>
          <cx:pt idx="49108">0</cx:pt>
          <cx:pt idx="49109">1</cx:pt>
          <cx:pt idx="49110">4</cx:pt>
          <cx:pt idx="49111">1</cx:pt>
          <cx:pt idx="49112">2</cx:pt>
          <cx:pt idx="49113">2</cx:pt>
          <cx:pt idx="49114">0</cx:pt>
          <cx:pt idx="49115">1</cx:pt>
          <cx:pt idx="49116">5</cx:pt>
          <cx:pt idx="49117">2</cx:pt>
          <cx:pt idx="49118">3</cx:pt>
          <cx:pt idx="49119">3</cx:pt>
          <cx:pt idx="49120">3</cx:pt>
          <cx:pt idx="49121">2</cx:pt>
          <cx:pt idx="49122">1</cx:pt>
          <cx:pt idx="49123">4</cx:pt>
          <cx:pt idx="49124">0</cx:pt>
          <cx:pt idx="49125">2</cx:pt>
          <cx:pt idx="49126">3</cx:pt>
          <cx:pt idx="49127">3</cx:pt>
          <cx:pt idx="49128">1</cx:pt>
          <cx:pt idx="49129">1</cx:pt>
          <cx:pt idx="49130">3</cx:pt>
          <cx:pt idx="49131">5</cx:pt>
          <cx:pt idx="49132">4</cx:pt>
          <cx:pt idx="49133">3</cx:pt>
          <cx:pt idx="49134">4</cx:pt>
          <cx:pt idx="49135">1</cx:pt>
          <cx:pt idx="49136">5</cx:pt>
          <cx:pt idx="49137">2</cx:pt>
          <cx:pt idx="49138">5</cx:pt>
          <cx:pt idx="49139">1</cx:pt>
          <cx:pt idx="49140">3</cx:pt>
          <cx:pt idx="49141">4</cx:pt>
          <cx:pt idx="49142">3</cx:pt>
          <cx:pt idx="49143">5</cx:pt>
          <cx:pt idx="49144">5</cx:pt>
          <cx:pt idx="49145">3</cx:pt>
          <cx:pt idx="49146">5</cx:pt>
          <cx:pt idx="49147">1</cx:pt>
          <cx:pt idx="49148">1</cx:pt>
          <cx:pt idx="49149">3</cx:pt>
          <cx:pt idx="49150">2</cx:pt>
          <cx:pt idx="49151">1</cx:pt>
          <cx:pt idx="49152">2</cx:pt>
          <cx:pt idx="49153">4</cx:pt>
          <cx:pt idx="49154">3</cx:pt>
          <cx:pt idx="49155">3</cx:pt>
          <cx:pt idx="49156">3</cx:pt>
          <cx:pt idx="49157">3</cx:pt>
          <cx:pt idx="49158">2</cx:pt>
          <cx:pt idx="49159">4</cx:pt>
          <cx:pt idx="49160">2</cx:pt>
          <cx:pt idx="49161">2</cx:pt>
          <cx:pt idx="49162">1</cx:pt>
          <cx:pt idx="49163">3</cx:pt>
          <cx:pt idx="49164">5</cx:pt>
          <cx:pt idx="49165">4</cx:pt>
          <cx:pt idx="49166">4</cx:pt>
          <cx:pt idx="49167">5</cx:pt>
          <cx:pt idx="49168">4</cx:pt>
          <cx:pt idx="49169">1</cx:pt>
          <cx:pt idx="49170">5</cx:pt>
          <cx:pt idx="49171">2</cx:pt>
          <cx:pt idx="49172">3</cx:pt>
          <cx:pt idx="49173">2</cx:pt>
          <cx:pt idx="49174">2</cx:pt>
          <cx:pt idx="49175">5</cx:pt>
          <cx:pt idx="49176">1</cx:pt>
          <cx:pt idx="49177">3</cx:pt>
          <cx:pt idx="49178">1</cx:pt>
          <cx:pt idx="49179">4</cx:pt>
          <cx:pt idx="49180">0</cx:pt>
          <cx:pt idx="49181">4</cx:pt>
          <cx:pt idx="49182">3</cx:pt>
          <cx:pt idx="49183">2</cx:pt>
          <cx:pt idx="49184">1</cx:pt>
          <cx:pt idx="49185">2</cx:pt>
          <cx:pt idx="49186">2</cx:pt>
          <cx:pt idx="49187">3</cx:pt>
          <cx:pt idx="49188">2</cx:pt>
          <cx:pt idx="49189">1</cx:pt>
          <cx:pt idx="49190">3</cx:pt>
          <cx:pt idx="49191">1</cx:pt>
          <cx:pt idx="49192">5</cx:pt>
          <cx:pt idx="49193">0</cx:pt>
          <cx:pt idx="49194">1</cx:pt>
          <cx:pt idx="49195">5</cx:pt>
          <cx:pt idx="49196">3</cx:pt>
          <cx:pt idx="49197">5</cx:pt>
          <cx:pt idx="49198">4</cx:pt>
          <cx:pt idx="49199">4</cx:pt>
          <cx:pt idx="49200">5</cx:pt>
          <cx:pt idx="49201">3</cx:pt>
          <cx:pt idx="49202">3</cx:pt>
          <cx:pt idx="49203">4</cx:pt>
          <cx:pt idx="49204">2</cx:pt>
          <cx:pt idx="49205">3</cx:pt>
          <cx:pt idx="49206">4</cx:pt>
          <cx:pt idx="49207">2</cx:pt>
          <cx:pt idx="49208">4</cx:pt>
          <cx:pt idx="49209">5</cx:pt>
          <cx:pt idx="49210">3</cx:pt>
          <cx:pt idx="49211">5</cx:pt>
          <cx:pt idx="49212">4</cx:pt>
          <cx:pt idx="49213">0</cx:pt>
          <cx:pt idx="49214">3</cx:pt>
          <cx:pt idx="49215">3</cx:pt>
          <cx:pt idx="49216">3</cx:pt>
          <cx:pt idx="49217">3</cx:pt>
          <cx:pt idx="49218">2</cx:pt>
          <cx:pt idx="49219">1</cx:pt>
          <cx:pt idx="49220">2</cx:pt>
          <cx:pt idx="49221">1</cx:pt>
          <cx:pt idx="49222">3</cx:pt>
          <cx:pt idx="49223">4</cx:pt>
          <cx:pt idx="49224">2</cx:pt>
          <cx:pt idx="49225">3</cx:pt>
          <cx:pt idx="49226">1</cx:pt>
          <cx:pt idx="49227">2</cx:pt>
          <cx:pt idx="49228">4</cx:pt>
          <cx:pt idx="49229">3</cx:pt>
          <cx:pt idx="49230">4</cx:pt>
          <cx:pt idx="49231">2</cx:pt>
          <cx:pt idx="49232">3</cx:pt>
          <cx:pt idx="49233">2</cx:pt>
          <cx:pt idx="49234">2</cx:pt>
          <cx:pt idx="49235">2</cx:pt>
          <cx:pt idx="49236">1</cx:pt>
          <cx:pt idx="49237">4</cx:pt>
          <cx:pt idx="49238">3</cx:pt>
          <cx:pt idx="49239">1</cx:pt>
          <cx:pt idx="49240">3</cx:pt>
          <cx:pt idx="49241">1</cx:pt>
          <cx:pt idx="49242">3</cx:pt>
          <cx:pt idx="49243">1</cx:pt>
          <cx:pt idx="49244">1</cx:pt>
          <cx:pt idx="49245">3</cx:pt>
          <cx:pt idx="49246">2</cx:pt>
          <cx:pt idx="49247">5</cx:pt>
          <cx:pt idx="49248">1</cx:pt>
          <cx:pt idx="49249">4</cx:pt>
          <cx:pt idx="49250">4</cx:pt>
          <cx:pt idx="49251">4</cx:pt>
          <cx:pt idx="49252">1</cx:pt>
          <cx:pt idx="49253">1</cx:pt>
          <cx:pt idx="49254">2</cx:pt>
          <cx:pt idx="49255">2</cx:pt>
          <cx:pt idx="49256">2</cx:pt>
          <cx:pt idx="49257">4</cx:pt>
          <cx:pt idx="49258">2</cx:pt>
          <cx:pt idx="49259">2</cx:pt>
          <cx:pt idx="49260">3</cx:pt>
          <cx:pt idx="49261">3</cx:pt>
          <cx:pt idx="49262">3</cx:pt>
          <cx:pt idx="49263">4</cx:pt>
          <cx:pt idx="49264">2</cx:pt>
          <cx:pt idx="49265">3</cx:pt>
          <cx:pt idx="49266">2</cx:pt>
          <cx:pt idx="49267">2</cx:pt>
          <cx:pt idx="49268">4</cx:pt>
          <cx:pt idx="49269">4</cx:pt>
          <cx:pt idx="49270">4</cx:pt>
          <cx:pt idx="49271">5</cx:pt>
          <cx:pt idx="49272">4</cx:pt>
          <cx:pt idx="49273">1</cx:pt>
          <cx:pt idx="49274">5</cx:pt>
          <cx:pt idx="49275">3</cx:pt>
          <cx:pt idx="49276">1</cx:pt>
          <cx:pt idx="49277">1</cx:pt>
          <cx:pt idx="49278">0</cx:pt>
          <cx:pt idx="49279">4</cx:pt>
          <cx:pt idx="49280">3</cx:pt>
          <cx:pt idx="49281">3</cx:pt>
          <cx:pt idx="49282">1</cx:pt>
          <cx:pt idx="49283">2</cx:pt>
          <cx:pt idx="49284">4</cx:pt>
          <cx:pt idx="49285">2</cx:pt>
          <cx:pt idx="49286">2</cx:pt>
          <cx:pt idx="49287">4</cx:pt>
          <cx:pt idx="49288">3</cx:pt>
          <cx:pt idx="49289">3</cx:pt>
          <cx:pt idx="49290">2</cx:pt>
          <cx:pt idx="49291">4</cx:pt>
          <cx:pt idx="49292">4</cx:pt>
          <cx:pt idx="49293">3</cx:pt>
          <cx:pt idx="49294">4</cx:pt>
          <cx:pt idx="49295">3</cx:pt>
          <cx:pt idx="49296">3</cx:pt>
          <cx:pt idx="49297">4</cx:pt>
          <cx:pt idx="49298">5</cx:pt>
          <cx:pt idx="49299">4</cx:pt>
          <cx:pt idx="49300">4</cx:pt>
          <cx:pt idx="49301">2</cx:pt>
          <cx:pt idx="49302">2</cx:pt>
          <cx:pt idx="49303">0</cx:pt>
          <cx:pt idx="49304">3</cx:pt>
          <cx:pt idx="49305">2</cx:pt>
          <cx:pt idx="49306">1</cx:pt>
          <cx:pt idx="49307">4</cx:pt>
          <cx:pt idx="49308">1</cx:pt>
          <cx:pt idx="49309">3</cx:pt>
          <cx:pt idx="49310">1</cx:pt>
          <cx:pt idx="49311">2</cx:pt>
          <cx:pt idx="49312">5</cx:pt>
          <cx:pt idx="49313">4</cx:pt>
          <cx:pt idx="49314">1</cx:pt>
          <cx:pt idx="49315">2</cx:pt>
          <cx:pt idx="49316">5</cx:pt>
          <cx:pt idx="49317">3</cx:pt>
          <cx:pt idx="49318">2</cx:pt>
          <cx:pt idx="49319">2</cx:pt>
          <cx:pt idx="49320">5</cx:pt>
          <cx:pt idx="49321">2</cx:pt>
          <cx:pt idx="49322">0</cx:pt>
          <cx:pt idx="49323">1</cx:pt>
          <cx:pt idx="49324">1</cx:pt>
          <cx:pt idx="49325">2</cx:pt>
          <cx:pt idx="49326">1</cx:pt>
          <cx:pt idx="49327">3</cx:pt>
          <cx:pt idx="49328">0</cx:pt>
          <cx:pt idx="49329">1</cx:pt>
          <cx:pt idx="49330">2</cx:pt>
          <cx:pt idx="49331">4</cx:pt>
          <cx:pt idx="49332">2</cx:pt>
          <cx:pt idx="49333">5</cx:pt>
          <cx:pt idx="49334">2</cx:pt>
          <cx:pt idx="49335">1</cx:pt>
          <cx:pt idx="49336">4</cx:pt>
          <cx:pt idx="49337">4</cx:pt>
          <cx:pt idx="49338">3</cx:pt>
          <cx:pt idx="49339">0</cx:pt>
          <cx:pt idx="49340">2</cx:pt>
          <cx:pt idx="49341">3</cx:pt>
          <cx:pt idx="49342">2</cx:pt>
          <cx:pt idx="49343">4</cx:pt>
          <cx:pt idx="49344">4</cx:pt>
          <cx:pt idx="49345">2</cx:pt>
          <cx:pt idx="49346">5</cx:pt>
          <cx:pt idx="49347">2</cx:pt>
          <cx:pt idx="49348">1</cx:pt>
          <cx:pt idx="49349">3</cx:pt>
          <cx:pt idx="49350">2</cx:pt>
          <cx:pt idx="49351">3</cx:pt>
          <cx:pt idx="49352">5</cx:pt>
          <cx:pt idx="49353">3</cx:pt>
          <cx:pt idx="49354">1</cx:pt>
          <cx:pt idx="49355">4</cx:pt>
          <cx:pt idx="49356">5</cx:pt>
          <cx:pt idx="49357">5</cx:pt>
          <cx:pt idx="49358">2</cx:pt>
          <cx:pt idx="49359">3</cx:pt>
          <cx:pt idx="49360">5</cx:pt>
          <cx:pt idx="49361">4</cx:pt>
          <cx:pt idx="49362">5</cx:pt>
          <cx:pt idx="49363">1</cx:pt>
          <cx:pt idx="49364">2</cx:pt>
          <cx:pt idx="49365">2</cx:pt>
          <cx:pt idx="49366">0</cx:pt>
          <cx:pt idx="49367">2</cx:pt>
          <cx:pt idx="49368">2</cx:pt>
          <cx:pt idx="49369">4</cx:pt>
          <cx:pt idx="49370">3</cx:pt>
          <cx:pt idx="49371">1</cx:pt>
          <cx:pt idx="49372">4</cx:pt>
          <cx:pt idx="49373">2</cx:pt>
          <cx:pt idx="49374">5</cx:pt>
          <cx:pt idx="49375">2</cx:pt>
          <cx:pt idx="49376">4</cx:pt>
          <cx:pt idx="49377">5</cx:pt>
          <cx:pt idx="49378">5</cx:pt>
          <cx:pt idx="49379">2</cx:pt>
          <cx:pt idx="49380">3</cx:pt>
          <cx:pt idx="49381">5</cx:pt>
          <cx:pt idx="49382">4</cx:pt>
          <cx:pt idx="49383">0</cx:pt>
          <cx:pt idx="49384">3</cx:pt>
          <cx:pt idx="49385">1</cx:pt>
          <cx:pt idx="49386">0</cx:pt>
          <cx:pt idx="49387">4</cx:pt>
          <cx:pt idx="49388">5</cx:pt>
          <cx:pt idx="49389">0</cx:pt>
          <cx:pt idx="49390">2</cx:pt>
          <cx:pt idx="49391">4</cx:pt>
          <cx:pt idx="49392">3</cx:pt>
          <cx:pt idx="49393">4</cx:pt>
          <cx:pt idx="49394">2</cx:pt>
          <cx:pt idx="49395">4</cx:pt>
          <cx:pt idx="49396">3</cx:pt>
          <cx:pt idx="49397">5</cx:pt>
          <cx:pt idx="49398">2</cx:pt>
          <cx:pt idx="49399">2</cx:pt>
          <cx:pt idx="49400">3</cx:pt>
          <cx:pt idx="49401">2</cx:pt>
          <cx:pt idx="49402">1</cx:pt>
          <cx:pt idx="49403">4</cx:pt>
          <cx:pt idx="49404">5</cx:pt>
          <cx:pt idx="49405">1</cx:pt>
          <cx:pt idx="49406">4</cx:pt>
          <cx:pt idx="49407">4</cx:pt>
          <cx:pt idx="49408">4</cx:pt>
          <cx:pt idx="49409">1</cx:pt>
          <cx:pt idx="49410">3</cx:pt>
          <cx:pt idx="49411">5</cx:pt>
          <cx:pt idx="49412">4</cx:pt>
          <cx:pt idx="49413">2</cx:pt>
          <cx:pt idx="49414">2</cx:pt>
          <cx:pt idx="49415">1</cx:pt>
          <cx:pt idx="49416">4</cx:pt>
          <cx:pt idx="49417">3</cx:pt>
          <cx:pt idx="49418">1</cx:pt>
          <cx:pt idx="49419">4</cx:pt>
          <cx:pt idx="49420">4</cx:pt>
          <cx:pt idx="49421">5</cx:pt>
          <cx:pt idx="49422">2</cx:pt>
          <cx:pt idx="49423">5</cx:pt>
          <cx:pt idx="49424">4</cx:pt>
          <cx:pt idx="49425">3</cx:pt>
          <cx:pt idx="49426">3</cx:pt>
          <cx:pt idx="49427">2</cx:pt>
          <cx:pt idx="49428">4</cx:pt>
          <cx:pt idx="49429">3</cx:pt>
          <cx:pt idx="49430">4</cx:pt>
          <cx:pt idx="49431">4</cx:pt>
          <cx:pt idx="49432">4</cx:pt>
          <cx:pt idx="49433">5</cx:pt>
          <cx:pt idx="49434">3</cx:pt>
          <cx:pt idx="49435">2</cx:pt>
          <cx:pt idx="49436">3</cx:pt>
          <cx:pt idx="49437">3</cx:pt>
          <cx:pt idx="49438">5</cx:pt>
          <cx:pt idx="49439">4</cx:pt>
          <cx:pt idx="49440">3</cx:pt>
          <cx:pt idx="49441">1</cx:pt>
          <cx:pt idx="49442">1</cx:pt>
          <cx:pt idx="49443">1</cx:pt>
          <cx:pt idx="49444">3</cx:pt>
          <cx:pt idx="49445">2</cx:pt>
          <cx:pt idx="49446">2</cx:pt>
          <cx:pt idx="49447">1</cx:pt>
          <cx:pt idx="49448">2</cx:pt>
          <cx:pt idx="49449">2</cx:pt>
          <cx:pt idx="49450">4</cx:pt>
          <cx:pt idx="49451">4</cx:pt>
          <cx:pt idx="49452">3</cx:pt>
          <cx:pt idx="49453">5</cx:pt>
          <cx:pt idx="49454">5</cx:pt>
          <cx:pt idx="49455">3</cx:pt>
          <cx:pt idx="49456">2</cx:pt>
          <cx:pt idx="49457">3</cx:pt>
          <cx:pt idx="49458">1</cx:pt>
          <cx:pt idx="49459">1</cx:pt>
          <cx:pt idx="49460">4</cx:pt>
          <cx:pt idx="49461">3</cx:pt>
          <cx:pt idx="49462">4</cx:pt>
          <cx:pt idx="49463">0</cx:pt>
          <cx:pt idx="49464">1</cx:pt>
          <cx:pt idx="49465">3</cx:pt>
          <cx:pt idx="49466">1</cx:pt>
          <cx:pt idx="49467">5</cx:pt>
          <cx:pt idx="49468">1</cx:pt>
          <cx:pt idx="49469">4</cx:pt>
          <cx:pt idx="49470">4</cx:pt>
          <cx:pt idx="49471">3</cx:pt>
          <cx:pt idx="49472">3</cx:pt>
          <cx:pt idx="49473">1</cx:pt>
          <cx:pt idx="49474">2</cx:pt>
          <cx:pt idx="49475">4</cx:pt>
          <cx:pt idx="49476">5</cx:pt>
          <cx:pt idx="49477">2</cx:pt>
          <cx:pt idx="49478">1</cx:pt>
          <cx:pt idx="49479">4</cx:pt>
          <cx:pt idx="49480">1</cx:pt>
          <cx:pt idx="49481">5</cx:pt>
          <cx:pt idx="49482">4</cx:pt>
          <cx:pt idx="49483">1</cx:pt>
          <cx:pt idx="49484">4</cx:pt>
          <cx:pt idx="49485">1</cx:pt>
          <cx:pt idx="49486">3</cx:pt>
          <cx:pt idx="49487">2</cx:pt>
          <cx:pt idx="49488">0</cx:pt>
          <cx:pt idx="49489">1</cx:pt>
          <cx:pt idx="49490">2</cx:pt>
          <cx:pt idx="49491">1</cx:pt>
          <cx:pt idx="49492">1</cx:pt>
          <cx:pt idx="49493">2</cx:pt>
          <cx:pt idx="49494">2</cx:pt>
          <cx:pt idx="49495">2</cx:pt>
          <cx:pt idx="49496">4</cx:pt>
          <cx:pt idx="49497">4</cx:pt>
          <cx:pt idx="49498">4</cx:pt>
          <cx:pt idx="49499">2</cx:pt>
          <cx:pt idx="49500">2</cx:pt>
          <cx:pt idx="49501">0</cx:pt>
          <cx:pt idx="49502">2</cx:pt>
          <cx:pt idx="49503">4</cx:pt>
          <cx:pt idx="49504">5</cx:pt>
          <cx:pt idx="49505">4</cx:pt>
          <cx:pt idx="49506">1</cx:pt>
          <cx:pt idx="49507">1</cx:pt>
          <cx:pt idx="49508">5</cx:pt>
          <cx:pt idx="49509">3</cx:pt>
          <cx:pt idx="49510">2</cx:pt>
          <cx:pt idx="49511">3</cx:pt>
          <cx:pt idx="49512">5</cx:pt>
          <cx:pt idx="49513">4</cx:pt>
          <cx:pt idx="49514">5</cx:pt>
          <cx:pt idx="49515">2</cx:pt>
          <cx:pt idx="49516">4</cx:pt>
          <cx:pt idx="49517">2</cx:pt>
          <cx:pt idx="49518">2</cx:pt>
          <cx:pt idx="49519">3</cx:pt>
          <cx:pt idx="49520">4</cx:pt>
          <cx:pt idx="49521">2</cx:pt>
          <cx:pt idx="49522">4</cx:pt>
          <cx:pt idx="49523">0</cx:pt>
          <cx:pt idx="49524">2</cx:pt>
          <cx:pt idx="49525">2</cx:pt>
          <cx:pt idx="49526">2</cx:pt>
          <cx:pt idx="49527">1</cx:pt>
          <cx:pt idx="49528">4</cx:pt>
          <cx:pt idx="49529">1</cx:pt>
          <cx:pt idx="49530">3</cx:pt>
          <cx:pt idx="49531">4</cx:pt>
          <cx:pt idx="49532">1</cx:pt>
          <cx:pt idx="49533">5</cx:pt>
          <cx:pt idx="49534">2</cx:pt>
          <cx:pt idx="49535">4</cx:pt>
          <cx:pt idx="49536">3</cx:pt>
          <cx:pt idx="49537">5</cx:pt>
          <cx:pt idx="49538">1</cx:pt>
          <cx:pt idx="49539">4</cx:pt>
          <cx:pt idx="49540">5</cx:pt>
          <cx:pt idx="49541">4</cx:pt>
          <cx:pt idx="49542">4</cx:pt>
          <cx:pt idx="49543">5</cx:pt>
          <cx:pt idx="49544">2</cx:pt>
          <cx:pt idx="49545">1</cx:pt>
          <cx:pt idx="49546">5</cx:pt>
          <cx:pt idx="49547">2</cx:pt>
          <cx:pt idx="49548">4</cx:pt>
          <cx:pt idx="49549">4</cx:pt>
          <cx:pt idx="49550">1</cx:pt>
          <cx:pt idx="49551">3</cx:pt>
          <cx:pt idx="49552">5</cx:pt>
          <cx:pt idx="49553">4</cx:pt>
          <cx:pt idx="49554">3</cx:pt>
          <cx:pt idx="49555">2</cx:pt>
          <cx:pt idx="49556">1</cx:pt>
          <cx:pt idx="49557">4</cx:pt>
          <cx:pt idx="49558">4</cx:pt>
          <cx:pt idx="49559">1</cx:pt>
          <cx:pt idx="49560">1</cx:pt>
          <cx:pt idx="49561">1</cx:pt>
          <cx:pt idx="49562">4</cx:pt>
          <cx:pt idx="49563">3</cx:pt>
          <cx:pt idx="49564">4</cx:pt>
          <cx:pt idx="49565">1</cx:pt>
          <cx:pt idx="49566">2</cx:pt>
          <cx:pt idx="49567">1</cx:pt>
          <cx:pt idx="49568">4</cx:pt>
          <cx:pt idx="49569">4</cx:pt>
          <cx:pt idx="49570">4</cx:pt>
          <cx:pt idx="49571">2</cx:pt>
          <cx:pt idx="49572">2</cx:pt>
          <cx:pt idx="49573">4</cx:pt>
          <cx:pt idx="49574">5</cx:pt>
          <cx:pt idx="49575">4</cx:pt>
          <cx:pt idx="49576">3</cx:pt>
          <cx:pt idx="49577">4</cx:pt>
          <cx:pt idx="49578">4</cx:pt>
          <cx:pt idx="49579">2</cx:pt>
          <cx:pt idx="49580">3</cx:pt>
          <cx:pt idx="49581">3</cx:pt>
          <cx:pt idx="49582">1</cx:pt>
          <cx:pt idx="49583">2</cx:pt>
          <cx:pt idx="49584">4</cx:pt>
          <cx:pt idx="49585">1</cx:pt>
          <cx:pt idx="49586">5</cx:pt>
          <cx:pt idx="49587">2</cx:pt>
          <cx:pt idx="49588">4</cx:pt>
          <cx:pt idx="49589">3</cx:pt>
          <cx:pt idx="49590">3</cx:pt>
          <cx:pt idx="49591">2</cx:pt>
          <cx:pt idx="49592">4</cx:pt>
          <cx:pt idx="49593">1</cx:pt>
          <cx:pt idx="49594">1</cx:pt>
          <cx:pt idx="49595">1</cx:pt>
          <cx:pt idx="49596">1</cx:pt>
          <cx:pt idx="49597">1</cx:pt>
          <cx:pt idx="49598">5</cx:pt>
          <cx:pt idx="49599">2</cx:pt>
          <cx:pt idx="49600">5</cx:pt>
          <cx:pt idx="49601">0</cx:pt>
          <cx:pt idx="49602">3</cx:pt>
          <cx:pt idx="49603">5</cx:pt>
          <cx:pt idx="49604">4</cx:pt>
          <cx:pt idx="49605">1</cx:pt>
          <cx:pt idx="49606">0</cx:pt>
          <cx:pt idx="49607">2</cx:pt>
          <cx:pt idx="49608">0</cx:pt>
          <cx:pt idx="49609">1</cx:pt>
          <cx:pt idx="49610">2</cx:pt>
          <cx:pt idx="49611">3</cx:pt>
          <cx:pt idx="49612">3</cx:pt>
          <cx:pt idx="49613">5</cx:pt>
          <cx:pt idx="49614">5</cx:pt>
          <cx:pt idx="49615">2</cx:pt>
          <cx:pt idx="49616">3</cx:pt>
          <cx:pt idx="49617">2</cx:pt>
          <cx:pt idx="49618">3</cx:pt>
          <cx:pt idx="49619">2</cx:pt>
          <cx:pt idx="49620">5</cx:pt>
          <cx:pt idx="49621">2</cx:pt>
          <cx:pt idx="49622">3</cx:pt>
          <cx:pt idx="49623">1</cx:pt>
          <cx:pt idx="49624">3</cx:pt>
          <cx:pt idx="49625">4</cx:pt>
          <cx:pt idx="49626">2</cx:pt>
          <cx:pt idx="49627">5</cx:pt>
          <cx:pt idx="49628">0</cx:pt>
          <cx:pt idx="49629">4</cx:pt>
          <cx:pt idx="49630">3</cx:pt>
          <cx:pt idx="49631">4</cx:pt>
          <cx:pt idx="49632">2</cx:pt>
          <cx:pt idx="49633">1</cx:pt>
          <cx:pt idx="49634">2</cx:pt>
          <cx:pt idx="49635">2</cx:pt>
          <cx:pt idx="49636">3</cx:pt>
          <cx:pt idx="49637">1</cx:pt>
          <cx:pt idx="49638">5</cx:pt>
          <cx:pt idx="49639">3</cx:pt>
          <cx:pt idx="49640">5</cx:pt>
          <cx:pt idx="49641">2</cx:pt>
          <cx:pt idx="49642">4</cx:pt>
          <cx:pt idx="49643">2</cx:pt>
          <cx:pt idx="49644">4</cx:pt>
          <cx:pt idx="49645">3</cx:pt>
          <cx:pt idx="49646">1</cx:pt>
          <cx:pt idx="49647">0</cx:pt>
          <cx:pt idx="49648">2</cx:pt>
          <cx:pt idx="49649">5</cx:pt>
          <cx:pt idx="49650">5</cx:pt>
          <cx:pt idx="49651">2</cx:pt>
          <cx:pt idx="49652">2</cx:pt>
          <cx:pt idx="49653">0</cx:pt>
          <cx:pt idx="49654">4</cx:pt>
          <cx:pt idx="49655">5</cx:pt>
          <cx:pt idx="49656">3</cx:pt>
          <cx:pt idx="49657">0</cx:pt>
          <cx:pt idx="49658">0</cx:pt>
          <cx:pt idx="49659">3</cx:pt>
          <cx:pt idx="49660">4</cx:pt>
          <cx:pt idx="49661">4</cx:pt>
          <cx:pt idx="49662">3</cx:pt>
          <cx:pt idx="49663">0</cx:pt>
          <cx:pt idx="49664">5</cx:pt>
          <cx:pt idx="49665">4</cx:pt>
          <cx:pt idx="49666">3</cx:pt>
          <cx:pt idx="49667">2</cx:pt>
          <cx:pt idx="49668">5</cx:pt>
          <cx:pt idx="49669">1</cx:pt>
          <cx:pt idx="49670">1</cx:pt>
          <cx:pt idx="49671">2</cx:pt>
          <cx:pt idx="49672">3</cx:pt>
          <cx:pt idx="49673">3</cx:pt>
          <cx:pt idx="49674">2</cx:pt>
          <cx:pt idx="49675">3</cx:pt>
          <cx:pt idx="49676">3</cx:pt>
          <cx:pt idx="49677">4</cx:pt>
          <cx:pt idx="49678">0</cx:pt>
          <cx:pt idx="49679">3</cx:pt>
          <cx:pt idx="49680">4</cx:pt>
          <cx:pt idx="49681">1</cx:pt>
          <cx:pt idx="49682">5</cx:pt>
          <cx:pt idx="49683">4</cx:pt>
          <cx:pt idx="49684">1</cx:pt>
          <cx:pt idx="49685">4</cx:pt>
          <cx:pt idx="49686">2</cx:pt>
          <cx:pt idx="49687">4</cx:pt>
          <cx:pt idx="49688">4</cx:pt>
          <cx:pt idx="49689">5</cx:pt>
          <cx:pt idx="49690">1</cx:pt>
          <cx:pt idx="49691">3</cx:pt>
          <cx:pt idx="49692">3</cx:pt>
          <cx:pt idx="49693">4</cx:pt>
          <cx:pt idx="49694">2</cx:pt>
          <cx:pt idx="49695">2</cx:pt>
          <cx:pt idx="49696">1</cx:pt>
          <cx:pt idx="49697">1</cx:pt>
          <cx:pt idx="49698">1</cx:pt>
          <cx:pt idx="49699">2</cx:pt>
          <cx:pt idx="49700">4</cx:pt>
          <cx:pt idx="49701">3</cx:pt>
          <cx:pt idx="49702">3</cx:pt>
          <cx:pt idx="49703">5</cx:pt>
          <cx:pt idx="49704">5</cx:pt>
          <cx:pt idx="49705">2</cx:pt>
          <cx:pt idx="49706">3</cx:pt>
          <cx:pt idx="49707">1</cx:pt>
          <cx:pt idx="49708">5</cx:pt>
          <cx:pt idx="49709">1</cx:pt>
          <cx:pt idx="49710">1</cx:pt>
          <cx:pt idx="49711">4</cx:pt>
          <cx:pt idx="49712">2</cx:pt>
          <cx:pt idx="49713">5</cx:pt>
          <cx:pt idx="49714">5</cx:pt>
          <cx:pt idx="49715">3</cx:pt>
          <cx:pt idx="49716">1</cx:pt>
          <cx:pt idx="49717">2</cx:pt>
          <cx:pt idx="49718">1</cx:pt>
          <cx:pt idx="49719">1</cx:pt>
          <cx:pt idx="49720">2</cx:pt>
          <cx:pt idx="49721">1</cx:pt>
          <cx:pt idx="49722">3</cx:pt>
          <cx:pt idx="49723">1</cx:pt>
          <cx:pt idx="49724">5</cx:pt>
          <cx:pt idx="49725">2</cx:pt>
          <cx:pt idx="49726">1</cx:pt>
          <cx:pt idx="49727">4</cx:pt>
          <cx:pt idx="49728">5</cx:pt>
          <cx:pt idx="49729">1</cx:pt>
          <cx:pt idx="49730">2</cx:pt>
          <cx:pt idx="49731">2</cx:pt>
          <cx:pt idx="49732">3</cx:pt>
          <cx:pt idx="49733">3</cx:pt>
          <cx:pt idx="49734">2</cx:pt>
          <cx:pt idx="49735">4</cx:pt>
          <cx:pt idx="49736">2</cx:pt>
          <cx:pt idx="49737">2</cx:pt>
          <cx:pt idx="49738">5</cx:pt>
          <cx:pt idx="49739">1</cx:pt>
          <cx:pt idx="49740">1</cx:pt>
          <cx:pt idx="49741">5</cx:pt>
          <cx:pt idx="49742">4</cx:pt>
          <cx:pt idx="49743">3</cx:pt>
          <cx:pt idx="49744">2</cx:pt>
          <cx:pt idx="49745">5</cx:pt>
          <cx:pt idx="49746">4</cx:pt>
          <cx:pt idx="49747">2</cx:pt>
          <cx:pt idx="49748">2</cx:pt>
          <cx:pt idx="49749">5</cx:pt>
          <cx:pt idx="49750">4</cx:pt>
          <cx:pt idx="49751">3</cx:pt>
          <cx:pt idx="49752">2</cx:pt>
          <cx:pt idx="49753">5</cx:pt>
          <cx:pt idx="49754">1</cx:pt>
          <cx:pt idx="49755">2</cx:pt>
          <cx:pt idx="49756">2</cx:pt>
          <cx:pt idx="49757">2</cx:pt>
          <cx:pt idx="49758">3</cx:pt>
          <cx:pt idx="49759">1</cx:pt>
          <cx:pt idx="49760">4</cx:pt>
          <cx:pt idx="49761">1</cx:pt>
          <cx:pt idx="49762">1</cx:pt>
          <cx:pt idx="49763">4</cx:pt>
          <cx:pt idx="49764">3</cx:pt>
          <cx:pt idx="49765">3</cx:pt>
          <cx:pt idx="49766">0</cx:pt>
          <cx:pt idx="49767">2</cx:pt>
          <cx:pt idx="49768">1</cx:pt>
          <cx:pt idx="49769">5</cx:pt>
          <cx:pt idx="49770">1</cx:pt>
          <cx:pt idx="49771">1</cx:pt>
          <cx:pt idx="49772">3</cx:pt>
          <cx:pt idx="49773">4</cx:pt>
          <cx:pt idx="49774">4</cx:pt>
          <cx:pt idx="49775">3</cx:pt>
          <cx:pt idx="49776">1</cx:pt>
          <cx:pt idx="49777">1</cx:pt>
          <cx:pt idx="49778">4</cx:pt>
          <cx:pt idx="49779">4</cx:pt>
          <cx:pt idx="49780">2</cx:pt>
          <cx:pt idx="49781">5</cx:pt>
          <cx:pt idx="49782">1</cx:pt>
          <cx:pt idx="49783">5</cx:pt>
          <cx:pt idx="49784">2</cx:pt>
          <cx:pt idx="49785">4</cx:pt>
          <cx:pt idx="49786">1</cx:pt>
          <cx:pt idx="49787">4</cx:pt>
          <cx:pt idx="49788">0</cx:pt>
          <cx:pt idx="49789">3</cx:pt>
          <cx:pt idx="49790">0</cx:pt>
          <cx:pt idx="49791">2</cx:pt>
          <cx:pt idx="49792">1</cx:pt>
          <cx:pt idx="49793">2</cx:pt>
          <cx:pt idx="49794">2</cx:pt>
          <cx:pt idx="49795">2</cx:pt>
          <cx:pt idx="49796">5</cx:pt>
          <cx:pt idx="49797">5</cx:pt>
          <cx:pt idx="49798">2</cx:pt>
          <cx:pt idx="49799">3</cx:pt>
          <cx:pt idx="49800">4</cx:pt>
          <cx:pt idx="49801">2</cx:pt>
          <cx:pt idx="49802">3</cx:pt>
          <cx:pt idx="49803">4</cx:pt>
          <cx:pt idx="49804">3</cx:pt>
          <cx:pt idx="49805">2</cx:pt>
          <cx:pt idx="49806">1</cx:pt>
          <cx:pt idx="49807">2</cx:pt>
          <cx:pt idx="49808">3</cx:pt>
          <cx:pt idx="49809">1</cx:pt>
          <cx:pt idx="49810">4</cx:pt>
          <cx:pt idx="49811">1</cx:pt>
          <cx:pt idx="49812">4</cx:pt>
          <cx:pt idx="49813">2</cx:pt>
          <cx:pt idx="49814">5</cx:pt>
          <cx:pt idx="49815">1</cx:pt>
          <cx:pt idx="49816">4</cx:pt>
          <cx:pt idx="49817">2</cx:pt>
          <cx:pt idx="49818">1</cx:pt>
          <cx:pt idx="49819">3</cx:pt>
          <cx:pt idx="49820">4</cx:pt>
          <cx:pt idx="49821">2</cx:pt>
          <cx:pt idx="49822">5</cx:pt>
          <cx:pt idx="49823">2</cx:pt>
          <cx:pt idx="49824">2</cx:pt>
          <cx:pt idx="49825">3</cx:pt>
          <cx:pt idx="49826">4</cx:pt>
          <cx:pt idx="49827">1</cx:pt>
          <cx:pt idx="49828">2</cx:pt>
          <cx:pt idx="49829">3</cx:pt>
          <cx:pt idx="49830">2</cx:pt>
          <cx:pt idx="49831">4</cx:pt>
          <cx:pt idx="49832">2</cx:pt>
          <cx:pt idx="49833">3</cx:pt>
          <cx:pt idx="49834">5</cx:pt>
          <cx:pt idx="49835">3</cx:pt>
          <cx:pt idx="49836">2</cx:pt>
          <cx:pt idx="49837">2</cx:pt>
          <cx:pt idx="49838">4</cx:pt>
          <cx:pt idx="49839">1</cx:pt>
          <cx:pt idx="49840">1</cx:pt>
          <cx:pt idx="49841">3</cx:pt>
          <cx:pt idx="49842">3</cx:pt>
          <cx:pt idx="49843">5</cx:pt>
          <cx:pt idx="49844">5</cx:pt>
          <cx:pt idx="49845">3</cx:pt>
          <cx:pt idx="49846">2</cx:pt>
          <cx:pt idx="49847">0</cx:pt>
          <cx:pt idx="49848">4</cx:pt>
          <cx:pt idx="49849">4</cx:pt>
          <cx:pt idx="49850">3</cx:pt>
          <cx:pt idx="49851">3</cx:pt>
          <cx:pt idx="49852">3</cx:pt>
          <cx:pt idx="49853">4</cx:pt>
          <cx:pt idx="49854">3</cx:pt>
          <cx:pt idx="49855">5</cx:pt>
          <cx:pt idx="49856">3</cx:pt>
          <cx:pt idx="49857">1</cx:pt>
          <cx:pt idx="49858">2</cx:pt>
          <cx:pt idx="49859">3</cx:pt>
          <cx:pt idx="49860">2</cx:pt>
          <cx:pt idx="49861">3</cx:pt>
          <cx:pt idx="49862">3</cx:pt>
          <cx:pt idx="49863">1</cx:pt>
          <cx:pt idx="49864">5</cx:pt>
          <cx:pt idx="49865">5</cx:pt>
          <cx:pt idx="49866">1</cx:pt>
          <cx:pt idx="49867">2</cx:pt>
          <cx:pt idx="49868">2</cx:pt>
          <cx:pt idx="49869">4</cx:pt>
          <cx:pt idx="49870">3</cx:pt>
          <cx:pt idx="49871">1</cx:pt>
          <cx:pt idx="49872">3</cx:pt>
          <cx:pt idx="49873">1</cx:pt>
          <cx:pt idx="49874">2</cx:pt>
          <cx:pt idx="49875">3</cx:pt>
          <cx:pt idx="49876">3</cx:pt>
          <cx:pt idx="49877">4</cx:pt>
          <cx:pt idx="49878">3</cx:pt>
          <cx:pt idx="49879">2</cx:pt>
          <cx:pt idx="49880">3</cx:pt>
          <cx:pt idx="49881">3</cx:pt>
          <cx:pt idx="49882">1</cx:pt>
          <cx:pt idx="49883">1</cx:pt>
          <cx:pt idx="49884">1</cx:pt>
          <cx:pt idx="49885">2</cx:pt>
          <cx:pt idx="49886">2</cx:pt>
          <cx:pt idx="49887">3</cx:pt>
          <cx:pt idx="49888">2</cx:pt>
          <cx:pt idx="49889">4</cx:pt>
          <cx:pt idx="49890">4</cx:pt>
          <cx:pt idx="49891">4</cx:pt>
          <cx:pt idx="49892">2</cx:pt>
          <cx:pt idx="49893">3</cx:pt>
          <cx:pt idx="49894">4</cx:pt>
          <cx:pt idx="49895">5</cx:pt>
          <cx:pt idx="49896">0</cx:pt>
          <cx:pt idx="49897">3</cx:pt>
          <cx:pt idx="49898">1</cx:pt>
          <cx:pt idx="49899">5</cx:pt>
          <cx:pt idx="49900">2</cx:pt>
          <cx:pt idx="49901">4</cx:pt>
          <cx:pt idx="49902">4</cx:pt>
          <cx:pt idx="49903">1</cx:pt>
          <cx:pt idx="49904">3</cx:pt>
          <cx:pt idx="49905">5</cx:pt>
          <cx:pt idx="49906">1</cx:pt>
          <cx:pt idx="49907">2</cx:pt>
          <cx:pt idx="49908">3</cx:pt>
          <cx:pt idx="49909">4</cx:pt>
          <cx:pt idx="49910">1</cx:pt>
          <cx:pt idx="49911">3</cx:pt>
          <cx:pt idx="49912">3</cx:pt>
          <cx:pt idx="49913">4</cx:pt>
          <cx:pt idx="49914">2</cx:pt>
          <cx:pt idx="49915">4</cx:pt>
          <cx:pt idx="49916">4</cx:pt>
          <cx:pt idx="49917">3</cx:pt>
          <cx:pt idx="49918">4</cx:pt>
          <cx:pt idx="49919">3</cx:pt>
          <cx:pt idx="49920">4</cx:pt>
          <cx:pt idx="49921">5</cx:pt>
          <cx:pt idx="49922">3</cx:pt>
          <cx:pt idx="49923">5</cx:pt>
          <cx:pt idx="49924">1</cx:pt>
          <cx:pt idx="49925">5</cx:pt>
          <cx:pt idx="49926">2</cx:pt>
          <cx:pt idx="49927">1</cx:pt>
          <cx:pt idx="49928">4</cx:pt>
          <cx:pt idx="49929">5</cx:pt>
          <cx:pt idx="49930">3</cx:pt>
          <cx:pt idx="49931">1</cx:pt>
          <cx:pt idx="49932">1</cx:pt>
          <cx:pt idx="49933">2</cx:pt>
          <cx:pt idx="49934">2</cx:pt>
          <cx:pt idx="49935">0</cx:pt>
          <cx:pt idx="49936">0</cx:pt>
          <cx:pt idx="49937">2</cx:pt>
          <cx:pt idx="49938">1</cx:pt>
          <cx:pt idx="49939">4</cx:pt>
          <cx:pt idx="49940">2</cx:pt>
          <cx:pt idx="49941">2</cx:pt>
          <cx:pt idx="49942">0</cx:pt>
          <cx:pt idx="49943">2</cx:pt>
          <cx:pt idx="49944">1</cx:pt>
          <cx:pt idx="49945">4</cx:pt>
          <cx:pt idx="49946">5</cx:pt>
          <cx:pt idx="49947">2</cx:pt>
          <cx:pt idx="49948">5</cx:pt>
          <cx:pt idx="49949">5</cx:pt>
          <cx:pt idx="49950">1</cx:pt>
          <cx:pt idx="49951">4</cx:pt>
          <cx:pt idx="49952">2</cx:pt>
          <cx:pt idx="49953">5</cx:pt>
          <cx:pt idx="49954">5</cx:pt>
          <cx:pt idx="49955">1</cx:pt>
          <cx:pt idx="49956">2</cx:pt>
          <cx:pt idx="49957">1</cx:pt>
          <cx:pt idx="49958">4</cx:pt>
          <cx:pt idx="49959">2</cx:pt>
          <cx:pt idx="49960">2</cx:pt>
          <cx:pt idx="49961">1</cx:pt>
          <cx:pt idx="49962">2</cx:pt>
          <cx:pt idx="49963">3</cx:pt>
          <cx:pt idx="49964">1</cx:pt>
          <cx:pt idx="49965">3</cx:pt>
          <cx:pt idx="49966">1</cx:pt>
          <cx:pt idx="49967">3</cx:pt>
          <cx:pt idx="49968">2</cx:pt>
          <cx:pt idx="49969">2</cx:pt>
          <cx:pt idx="49970">2</cx:pt>
          <cx:pt idx="49971">4</cx:pt>
          <cx:pt idx="49972">2</cx:pt>
          <cx:pt idx="49973">4</cx:pt>
          <cx:pt idx="49974">4</cx:pt>
          <cx:pt idx="49975">4</cx:pt>
          <cx:pt idx="49976">3</cx:pt>
          <cx:pt idx="49977">3</cx:pt>
          <cx:pt idx="49978">3</cx:pt>
          <cx:pt idx="49979">5</cx:pt>
          <cx:pt idx="49980">3</cx:pt>
          <cx:pt idx="49981">1</cx:pt>
          <cx:pt idx="49982">1</cx:pt>
          <cx:pt idx="49983">0</cx:pt>
          <cx:pt idx="49984">5</cx:pt>
          <cx:pt idx="49985">4</cx:pt>
          <cx:pt idx="49986">2</cx:pt>
          <cx:pt idx="49987">5</cx:pt>
          <cx:pt idx="49988">3</cx:pt>
          <cx:pt idx="49989">2</cx:pt>
          <cx:pt idx="49990">1</cx:pt>
          <cx:pt idx="49991">4</cx:pt>
          <cx:pt idx="49992">5</cx:pt>
          <cx:pt idx="49993">3</cx:pt>
          <cx:pt idx="49994">2</cx:pt>
          <cx:pt idx="49995">5</cx:pt>
          <cx:pt idx="49996">4</cx:pt>
          <cx:pt idx="49997">2</cx:pt>
          <cx:pt idx="49998">5</cx:pt>
          <cx:pt idx="49999">1</cx:pt>
          <cx:pt idx="50000">2</cx:pt>
          <cx:pt idx="50001">2</cx:pt>
          <cx:pt idx="50002">4</cx:pt>
          <cx:pt idx="50003">4</cx:pt>
          <cx:pt idx="50004">1</cx:pt>
          <cx:pt idx="50005">1</cx:pt>
          <cx:pt idx="50006">2</cx:pt>
          <cx:pt idx="50007">2</cx:pt>
          <cx:pt idx="50008">2</cx:pt>
          <cx:pt idx="50009">1</cx:pt>
          <cx:pt idx="50010">2</cx:pt>
          <cx:pt idx="50011">3</cx:pt>
          <cx:pt idx="50012">5</cx:pt>
          <cx:pt idx="50013">3</cx:pt>
          <cx:pt idx="50014">4</cx:pt>
          <cx:pt idx="50015">3</cx:pt>
          <cx:pt idx="50016">5</cx:pt>
          <cx:pt idx="50017">1</cx:pt>
          <cx:pt idx="50018">4</cx:pt>
          <cx:pt idx="50019">1</cx:pt>
          <cx:pt idx="50020">2</cx:pt>
          <cx:pt idx="50021">2</cx:pt>
          <cx:pt idx="50022">5</cx:pt>
          <cx:pt idx="50023">2</cx:pt>
          <cx:pt idx="50024">5</cx:pt>
          <cx:pt idx="50025">2</cx:pt>
          <cx:pt idx="50026">1</cx:pt>
          <cx:pt idx="50027">5</cx:pt>
          <cx:pt idx="50028">2</cx:pt>
          <cx:pt idx="50029">4</cx:pt>
          <cx:pt idx="50030">2</cx:pt>
          <cx:pt idx="50031">2</cx:pt>
          <cx:pt idx="50032">0</cx:pt>
          <cx:pt idx="50033">1</cx:pt>
          <cx:pt idx="50034">3</cx:pt>
          <cx:pt idx="50035">2</cx:pt>
          <cx:pt idx="50036">1</cx:pt>
          <cx:pt idx="50037">4</cx:pt>
          <cx:pt idx="50038">5</cx:pt>
          <cx:pt idx="50039">2</cx:pt>
          <cx:pt idx="50040">5</cx:pt>
          <cx:pt idx="50041">1</cx:pt>
          <cx:pt idx="50042">2</cx:pt>
          <cx:pt idx="50043">0</cx:pt>
          <cx:pt idx="50044">5</cx:pt>
          <cx:pt idx="50045">1</cx:pt>
          <cx:pt idx="50046">2</cx:pt>
          <cx:pt idx="50047">5</cx:pt>
          <cx:pt idx="50048">5</cx:pt>
          <cx:pt idx="50049">3</cx:pt>
          <cx:pt idx="50050">2</cx:pt>
          <cx:pt idx="50051">4</cx:pt>
          <cx:pt idx="50052">3</cx:pt>
          <cx:pt idx="50053">3</cx:pt>
          <cx:pt idx="50054">1</cx:pt>
          <cx:pt idx="50055">5</cx:pt>
          <cx:pt idx="50056">2</cx:pt>
          <cx:pt idx="50057">1</cx:pt>
          <cx:pt idx="50058">0</cx:pt>
          <cx:pt idx="50059">2</cx:pt>
          <cx:pt idx="50060">3</cx:pt>
          <cx:pt idx="50061">2</cx:pt>
          <cx:pt idx="50062">0</cx:pt>
          <cx:pt idx="50063">1</cx:pt>
          <cx:pt idx="50064">3</cx:pt>
          <cx:pt idx="50065">5</cx:pt>
          <cx:pt idx="50066">3</cx:pt>
          <cx:pt idx="50067">3</cx:pt>
          <cx:pt idx="50068">4</cx:pt>
          <cx:pt idx="50069">3</cx:pt>
          <cx:pt idx="50070">2</cx:pt>
          <cx:pt idx="50071">3</cx:pt>
          <cx:pt idx="50072">5</cx:pt>
          <cx:pt idx="50073">5</cx:pt>
          <cx:pt idx="50074">2</cx:pt>
          <cx:pt idx="50075">2</cx:pt>
          <cx:pt idx="50076">5</cx:pt>
          <cx:pt idx="50077">2</cx:pt>
          <cx:pt idx="50078">4</cx:pt>
          <cx:pt idx="50079">2</cx:pt>
          <cx:pt idx="50080">4</cx:pt>
          <cx:pt idx="50081">3</cx:pt>
          <cx:pt idx="50082">1</cx:pt>
          <cx:pt idx="50083">2</cx:pt>
          <cx:pt idx="50084">1</cx:pt>
          <cx:pt idx="50085">0</cx:pt>
          <cx:pt idx="50086">0</cx:pt>
          <cx:pt idx="50087">5</cx:pt>
          <cx:pt idx="50088">3</cx:pt>
          <cx:pt idx="50089">1</cx:pt>
          <cx:pt idx="50090">4</cx:pt>
          <cx:pt idx="50091">5</cx:pt>
          <cx:pt idx="50092">5</cx:pt>
          <cx:pt idx="50093">1</cx:pt>
          <cx:pt idx="50094">1</cx:pt>
          <cx:pt idx="50095">4</cx:pt>
          <cx:pt idx="50096">3</cx:pt>
          <cx:pt idx="50097">4</cx:pt>
          <cx:pt idx="50098">1</cx:pt>
          <cx:pt idx="50099">3</cx:pt>
          <cx:pt idx="50100">1</cx:pt>
          <cx:pt idx="50101">3</cx:pt>
          <cx:pt idx="50102">4</cx:pt>
          <cx:pt idx="50103">1</cx:pt>
          <cx:pt idx="50104">3</cx:pt>
          <cx:pt idx="50105">3</cx:pt>
          <cx:pt idx="50106">1</cx:pt>
          <cx:pt idx="50107">4</cx:pt>
          <cx:pt idx="50108">3</cx:pt>
          <cx:pt idx="50109">4</cx:pt>
          <cx:pt idx="50110">4</cx:pt>
          <cx:pt idx="50111">2</cx:pt>
          <cx:pt idx="50112">1</cx:pt>
          <cx:pt idx="50113">2</cx:pt>
          <cx:pt idx="50114">5</cx:pt>
          <cx:pt idx="50115">2</cx:pt>
          <cx:pt idx="50116">2</cx:pt>
          <cx:pt idx="50117">3</cx:pt>
          <cx:pt idx="50118">2</cx:pt>
          <cx:pt idx="50119">1</cx:pt>
          <cx:pt idx="50120">3</cx:pt>
          <cx:pt idx="50121">5</cx:pt>
          <cx:pt idx="50122">0</cx:pt>
          <cx:pt idx="50123">3</cx:pt>
          <cx:pt idx="50124">2</cx:pt>
          <cx:pt idx="50125">1</cx:pt>
          <cx:pt idx="50126">3</cx:pt>
          <cx:pt idx="50127">5</cx:pt>
          <cx:pt idx="50128">3</cx:pt>
          <cx:pt idx="50129">1</cx:pt>
          <cx:pt idx="50130">2</cx:pt>
          <cx:pt idx="50131">3</cx:pt>
          <cx:pt idx="50132">4</cx:pt>
          <cx:pt idx="50133">0</cx:pt>
          <cx:pt idx="50134">4</cx:pt>
          <cx:pt idx="50135">1</cx:pt>
          <cx:pt idx="50136">3</cx:pt>
          <cx:pt idx="50137">1</cx:pt>
          <cx:pt idx="50138">4</cx:pt>
          <cx:pt idx="50139">2</cx:pt>
          <cx:pt idx="50140">1</cx:pt>
          <cx:pt idx="50141">2</cx:pt>
          <cx:pt idx="50142">2</cx:pt>
          <cx:pt idx="50143">1</cx:pt>
          <cx:pt idx="50144">2</cx:pt>
          <cx:pt idx="50145">2</cx:pt>
          <cx:pt idx="50146">3</cx:pt>
          <cx:pt idx="50147">3</cx:pt>
          <cx:pt idx="50148">4</cx:pt>
          <cx:pt idx="50149">3</cx:pt>
          <cx:pt idx="50150">1</cx:pt>
          <cx:pt idx="50151">1</cx:pt>
          <cx:pt idx="50152">3</cx:pt>
          <cx:pt idx="50153">1</cx:pt>
          <cx:pt idx="50154">2</cx:pt>
          <cx:pt idx="50155">2</cx:pt>
          <cx:pt idx="50156">3</cx:pt>
          <cx:pt idx="50157">5</cx:pt>
          <cx:pt idx="50158">1</cx:pt>
          <cx:pt idx="50159">1</cx:pt>
          <cx:pt idx="50160">1</cx:pt>
          <cx:pt idx="50161">4</cx:pt>
          <cx:pt idx="50162">1</cx:pt>
          <cx:pt idx="50163">3</cx:pt>
          <cx:pt idx="50164">3</cx:pt>
          <cx:pt idx="50165">5</cx:pt>
          <cx:pt idx="50166">1</cx:pt>
          <cx:pt idx="50167">1</cx:pt>
          <cx:pt idx="50168">4</cx:pt>
          <cx:pt idx="50169">3</cx:pt>
          <cx:pt idx="50170">5</cx:pt>
          <cx:pt idx="50171">3</cx:pt>
          <cx:pt idx="50172">4</cx:pt>
          <cx:pt idx="50173">2</cx:pt>
          <cx:pt idx="50174">5</cx:pt>
          <cx:pt idx="50175">5</cx:pt>
          <cx:pt idx="50176">4</cx:pt>
          <cx:pt idx="50177">2</cx:pt>
          <cx:pt idx="50178">1</cx:pt>
          <cx:pt idx="50179">2</cx:pt>
          <cx:pt idx="50180">5</cx:pt>
          <cx:pt idx="50181">5</cx:pt>
          <cx:pt idx="50182">2</cx:pt>
          <cx:pt idx="50183">1</cx:pt>
          <cx:pt idx="50184">4</cx:pt>
          <cx:pt idx="50185">2</cx:pt>
          <cx:pt idx="50186">2</cx:pt>
          <cx:pt idx="50187">2</cx:pt>
          <cx:pt idx="50188">2</cx:pt>
          <cx:pt idx="50189">3</cx:pt>
          <cx:pt idx="50190">0</cx:pt>
          <cx:pt idx="50191">2</cx:pt>
          <cx:pt idx="50192">3</cx:pt>
          <cx:pt idx="50193">4</cx:pt>
          <cx:pt idx="50194">2</cx:pt>
          <cx:pt idx="50195">3</cx:pt>
          <cx:pt idx="50196">5</cx:pt>
          <cx:pt idx="50197">4</cx:pt>
          <cx:pt idx="50198">1</cx:pt>
          <cx:pt idx="50199">4</cx:pt>
          <cx:pt idx="50200">2</cx:pt>
          <cx:pt idx="50201">5</cx:pt>
          <cx:pt idx="50202">2</cx:pt>
          <cx:pt idx="50203">2</cx:pt>
          <cx:pt idx="50204">3</cx:pt>
          <cx:pt idx="50205">4</cx:pt>
          <cx:pt idx="50206">4</cx:pt>
          <cx:pt idx="50207">1</cx:pt>
          <cx:pt idx="50208">1</cx:pt>
          <cx:pt idx="50209">3</cx:pt>
          <cx:pt idx="50210">3</cx:pt>
          <cx:pt idx="50211">3</cx:pt>
          <cx:pt idx="50212">3</cx:pt>
          <cx:pt idx="50213">4</cx:pt>
          <cx:pt idx="50214">1</cx:pt>
          <cx:pt idx="50215">1</cx:pt>
          <cx:pt idx="50216">2</cx:pt>
          <cx:pt idx="50217">3</cx:pt>
          <cx:pt idx="50218">5</cx:pt>
          <cx:pt idx="50219">2</cx:pt>
          <cx:pt idx="50220">2</cx:pt>
          <cx:pt idx="50221">3</cx:pt>
          <cx:pt idx="50222">1</cx:pt>
          <cx:pt idx="50223">4</cx:pt>
          <cx:pt idx="50224">5</cx:pt>
          <cx:pt idx="50225">3</cx:pt>
          <cx:pt idx="50226">4</cx:pt>
          <cx:pt idx="50227">3</cx:pt>
          <cx:pt idx="50228">2</cx:pt>
          <cx:pt idx="50229">2</cx:pt>
          <cx:pt idx="50230">3</cx:pt>
          <cx:pt idx="50231">1</cx:pt>
          <cx:pt idx="50232">4</cx:pt>
          <cx:pt idx="50233">2</cx:pt>
          <cx:pt idx="50234">3</cx:pt>
          <cx:pt idx="50235">5</cx:pt>
          <cx:pt idx="50236">4</cx:pt>
          <cx:pt idx="50237">2</cx:pt>
          <cx:pt idx="50238">5</cx:pt>
          <cx:pt idx="50239">3</cx:pt>
          <cx:pt idx="50240">4</cx:pt>
          <cx:pt idx="50241">4</cx:pt>
          <cx:pt idx="50242">4</cx:pt>
          <cx:pt idx="50243">5</cx:pt>
          <cx:pt idx="50244">3</cx:pt>
          <cx:pt idx="50245">1</cx:pt>
          <cx:pt idx="50246">3</cx:pt>
          <cx:pt idx="50247">3</cx:pt>
          <cx:pt idx="50248">4</cx:pt>
          <cx:pt idx="50249">4</cx:pt>
          <cx:pt idx="50250">3</cx:pt>
          <cx:pt idx="50251">1</cx:pt>
          <cx:pt idx="50252">2</cx:pt>
          <cx:pt idx="50253">4</cx:pt>
          <cx:pt idx="50254">0</cx:pt>
          <cx:pt idx="50255">2</cx:pt>
          <cx:pt idx="50256">1</cx:pt>
          <cx:pt idx="50257">2</cx:pt>
          <cx:pt idx="50258">1</cx:pt>
          <cx:pt idx="50259">5</cx:pt>
          <cx:pt idx="50260">4</cx:pt>
          <cx:pt idx="50261">1</cx:pt>
          <cx:pt idx="50262">0</cx:pt>
          <cx:pt idx="50263">2</cx:pt>
          <cx:pt idx="50264">1</cx:pt>
          <cx:pt idx="50265">2</cx:pt>
          <cx:pt idx="50266">4</cx:pt>
          <cx:pt idx="50267">5</cx:pt>
          <cx:pt idx="50268">3</cx:pt>
          <cx:pt idx="50269">2</cx:pt>
          <cx:pt idx="50270">3</cx:pt>
          <cx:pt idx="50271">5</cx:pt>
          <cx:pt idx="50272">3</cx:pt>
          <cx:pt idx="50273">2</cx:pt>
          <cx:pt idx="50274">1</cx:pt>
          <cx:pt idx="50275">5</cx:pt>
          <cx:pt idx="50276">5</cx:pt>
          <cx:pt idx="50277">4</cx:pt>
          <cx:pt idx="50278">3</cx:pt>
          <cx:pt idx="50279">4</cx:pt>
          <cx:pt idx="50280">3</cx:pt>
          <cx:pt idx="50281">1</cx:pt>
          <cx:pt idx="50282">4</cx:pt>
          <cx:pt idx="50283">1</cx:pt>
          <cx:pt idx="50284">0</cx:pt>
          <cx:pt idx="50285">5</cx:pt>
          <cx:pt idx="50286">4</cx:pt>
          <cx:pt idx="50287">4</cx:pt>
          <cx:pt idx="50288">5</cx:pt>
          <cx:pt idx="50289">3</cx:pt>
          <cx:pt idx="50290">1</cx:pt>
          <cx:pt idx="50291">3</cx:pt>
          <cx:pt idx="50292">5</cx:pt>
          <cx:pt idx="50293">1</cx:pt>
          <cx:pt idx="50294">2</cx:pt>
          <cx:pt idx="50295">4</cx:pt>
          <cx:pt idx="50296">2</cx:pt>
          <cx:pt idx="50297">4</cx:pt>
          <cx:pt idx="50298">3</cx:pt>
          <cx:pt idx="50299">3</cx:pt>
          <cx:pt idx="50300">1</cx:pt>
          <cx:pt idx="50301">3</cx:pt>
          <cx:pt idx="50302">4</cx:pt>
          <cx:pt idx="50303">2</cx:pt>
          <cx:pt idx="50304">3</cx:pt>
          <cx:pt idx="50305">3</cx:pt>
          <cx:pt idx="50306">3</cx:pt>
          <cx:pt idx="50307">2</cx:pt>
          <cx:pt idx="50308">4</cx:pt>
          <cx:pt idx="50309">1</cx:pt>
          <cx:pt idx="50310">2</cx:pt>
          <cx:pt idx="50311">4</cx:pt>
          <cx:pt idx="50312">4</cx:pt>
          <cx:pt idx="50313">0</cx:pt>
          <cx:pt idx="50314">3</cx:pt>
          <cx:pt idx="50315">3</cx:pt>
          <cx:pt idx="50316">5</cx:pt>
          <cx:pt idx="50317">1</cx:pt>
          <cx:pt idx="50318">4</cx:pt>
          <cx:pt idx="50319">2</cx:pt>
          <cx:pt idx="50320">2</cx:pt>
          <cx:pt idx="50321">3</cx:pt>
          <cx:pt idx="50322">2</cx:pt>
          <cx:pt idx="50323">4</cx:pt>
          <cx:pt idx="50324">3</cx:pt>
          <cx:pt idx="50325">2</cx:pt>
          <cx:pt idx="50326">3</cx:pt>
          <cx:pt idx="50327">1</cx:pt>
          <cx:pt idx="50328">5</cx:pt>
          <cx:pt idx="50329">1</cx:pt>
          <cx:pt idx="50330">3</cx:pt>
          <cx:pt idx="50331">2</cx:pt>
          <cx:pt idx="50332">4</cx:pt>
          <cx:pt idx="50333">2</cx:pt>
          <cx:pt idx="50334">1</cx:pt>
          <cx:pt idx="50335">4</cx:pt>
          <cx:pt idx="50336">4</cx:pt>
          <cx:pt idx="50337">3</cx:pt>
          <cx:pt idx="50338">2</cx:pt>
          <cx:pt idx="50339">2</cx:pt>
          <cx:pt idx="50340">2</cx:pt>
          <cx:pt idx="50341">3</cx:pt>
          <cx:pt idx="50342">4</cx:pt>
          <cx:pt idx="50343">5</cx:pt>
          <cx:pt idx="50344">0</cx:pt>
          <cx:pt idx="50345">3</cx:pt>
          <cx:pt idx="50346">3</cx:pt>
          <cx:pt idx="50347">2</cx:pt>
          <cx:pt idx="50348">1</cx:pt>
          <cx:pt idx="50349">2</cx:pt>
          <cx:pt idx="50350">1</cx:pt>
          <cx:pt idx="50351">4</cx:pt>
          <cx:pt idx="50352">4</cx:pt>
          <cx:pt idx="50353">3</cx:pt>
          <cx:pt idx="50354">3</cx:pt>
          <cx:pt idx="50355">4</cx:pt>
          <cx:pt idx="50356">4</cx:pt>
          <cx:pt idx="50357">3</cx:pt>
          <cx:pt idx="50358">1</cx:pt>
          <cx:pt idx="50359">5</cx:pt>
          <cx:pt idx="50360">2</cx:pt>
          <cx:pt idx="50361">2</cx:pt>
          <cx:pt idx="50362">0</cx:pt>
          <cx:pt idx="50363">5</cx:pt>
          <cx:pt idx="50364">4</cx:pt>
          <cx:pt idx="50365">3</cx:pt>
          <cx:pt idx="50366">2</cx:pt>
          <cx:pt idx="50367">1</cx:pt>
          <cx:pt idx="50368">1</cx:pt>
          <cx:pt idx="50369">3</cx:pt>
          <cx:pt idx="50370">5</cx:pt>
          <cx:pt idx="50371">0</cx:pt>
          <cx:pt idx="50372">2</cx:pt>
          <cx:pt idx="50373">4</cx:pt>
          <cx:pt idx="50374">2</cx:pt>
          <cx:pt idx="50375">5</cx:pt>
          <cx:pt idx="50376">3</cx:pt>
          <cx:pt idx="50377">4</cx:pt>
          <cx:pt idx="50378">1</cx:pt>
          <cx:pt idx="50379">5</cx:pt>
          <cx:pt idx="50380">4</cx:pt>
          <cx:pt idx="50381">2</cx:pt>
          <cx:pt idx="50382">5</cx:pt>
          <cx:pt idx="50383">2</cx:pt>
          <cx:pt idx="50384">1</cx:pt>
          <cx:pt idx="50385">4</cx:pt>
          <cx:pt idx="50386">3</cx:pt>
          <cx:pt idx="50387">2</cx:pt>
          <cx:pt idx="50388">1</cx:pt>
          <cx:pt idx="50389">2</cx:pt>
          <cx:pt idx="50390">1</cx:pt>
          <cx:pt idx="50391">4</cx:pt>
          <cx:pt idx="50392">4</cx:pt>
          <cx:pt idx="50393">3</cx:pt>
          <cx:pt idx="50394">4</cx:pt>
          <cx:pt idx="50395">4</cx:pt>
          <cx:pt idx="50396">3</cx:pt>
          <cx:pt idx="50397">2</cx:pt>
          <cx:pt idx="50398">3</cx:pt>
          <cx:pt idx="50399">1</cx:pt>
          <cx:pt idx="50400">0</cx:pt>
          <cx:pt idx="50401">3</cx:pt>
          <cx:pt idx="50402">0</cx:pt>
          <cx:pt idx="50403">1</cx:pt>
          <cx:pt idx="50404">3</cx:pt>
          <cx:pt idx="50405">1</cx:pt>
          <cx:pt idx="50406">1</cx:pt>
          <cx:pt idx="50407">4</cx:pt>
          <cx:pt idx="50408">1</cx:pt>
          <cx:pt idx="50409">2</cx:pt>
          <cx:pt idx="50410">2</cx:pt>
          <cx:pt idx="50411">0</cx:pt>
          <cx:pt idx="50412">5</cx:pt>
          <cx:pt idx="50413">3</cx:pt>
          <cx:pt idx="50414">5</cx:pt>
          <cx:pt idx="50415">4</cx:pt>
          <cx:pt idx="50416">4</cx:pt>
          <cx:pt idx="50417">2</cx:pt>
          <cx:pt idx="50418">3</cx:pt>
          <cx:pt idx="50419">4</cx:pt>
          <cx:pt idx="50420">2</cx:pt>
          <cx:pt idx="50421">4</cx:pt>
          <cx:pt idx="50422">1</cx:pt>
          <cx:pt idx="50423">1</cx:pt>
          <cx:pt idx="50424">2</cx:pt>
          <cx:pt idx="50425">1</cx:pt>
          <cx:pt idx="50426">1</cx:pt>
          <cx:pt idx="50427">4</cx:pt>
          <cx:pt idx="50428">1</cx:pt>
          <cx:pt idx="50429">5</cx:pt>
          <cx:pt idx="50430">0</cx:pt>
          <cx:pt idx="50431">3</cx:pt>
          <cx:pt idx="50432">5</cx:pt>
          <cx:pt idx="50433">4</cx:pt>
          <cx:pt idx="50434">2</cx:pt>
          <cx:pt idx="50435">2</cx:pt>
          <cx:pt idx="50436">1</cx:pt>
          <cx:pt idx="50437">4</cx:pt>
          <cx:pt idx="50438">0</cx:pt>
          <cx:pt idx="50439">1</cx:pt>
          <cx:pt idx="50440">2</cx:pt>
          <cx:pt idx="50441">4</cx:pt>
          <cx:pt idx="50442">3</cx:pt>
          <cx:pt idx="50443">5</cx:pt>
          <cx:pt idx="50444">2</cx:pt>
          <cx:pt idx="50445">2</cx:pt>
          <cx:pt idx="50446">4</cx:pt>
          <cx:pt idx="50447">1</cx:pt>
          <cx:pt idx="50448">5</cx:pt>
          <cx:pt idx="50449">3</cx:pt>
          <cx:pt idx="50450">5</cx:pt>
          <cx:pt idx="50451">1</cx:pt>
          <cx:pt idx="50452">5</cx:pt>
          <cx:pt idx="50453">3</cx:pt>
          <cx:pt idx="50454">4</cx:pt>
          <cx:pt idx="50455">5</cx:pt>
          <cx:pt idx="50456">1</cx:pt>
          <cx:pt idx="50457">2</cx:pt>
          <cx:pt idx="50458">3</cx:pt>
          <cx:pt idx="50459">1</cx:pt>
          <cx:pt idx="50460">2</cx:pt>
          <cx:pt idx="50461">1</cx:pt>
          <cx:pt idx="50462">2</cx:pt>
          <cx:pt idx="50463">3</cx:pt>
          <cx:pt idx="50464">4</cx:pt>
          <cx:pt idx="50465">2</cx:pt>
          <cx:pt idx="50466">4</cx:pt>
          <cx:pt idx="50467">3</cx:pt>
          <cx:pt idx="50468">4</cx:pt>
          <cx:pt idx="50469">2</cx:pt>
          <cx:pt idx="50470">3</cx:pt>
          <cx:pt idx="50471">2</cx:pt>
          <cx:pt idx="50472">2</cx:pt>
          <cx:pt idx="50473">3</cx:pt>
          <cx:pt idx="50474">4</cx:pt>
          <cx:pt idx="50475">5</cx:pt>
          <cx:pt idx="50476">4</cx:pt>
          <cx:pt idx="50477">5</cx:pt>
          <cx:pt idx="50478">3</cx:pt>
          <cx:pt idx="50479">3</cx:pt>
          <cx:pt idx="50480">2</cx:pt>
          <cx:pt idx="50481">1</cx:pt>
          <cx:pt idx="50482">3</cx:pt>
          <cx:pt idx="50483">5</cx:pt>
          <cx:pt idx="50484">2</cx:pt>
          <cx:pt idx="50485">1</cx:pt>
          <cx:pt idx="50486">1</cx:pt>
          <cx:pt idx="50487">3</cx:pt>
          <cx:pt idx="50488">4</cx:pt>
          <cx:pt idx="50489">5</cx:pt>
          <cx:pt idx="50490">4</cx:pt>
          <cx:pt idx="50491">3</cx:pt>
          <cx:pt idx="50492">3</cx:pt>
          <cx:pt idx="50493">3</cx:pt>
          <cx:pt idx="50494">0</cx:pt>
          <cx:pt idx="50495">3</cx:pt>
          <cx:pt idx="50496">1</cx:pt>
          <cx:pt idx="50497">1</cx:pt>
          <cx:pt idx="50498">3</cx:pt>
          <cx:pt idx="50499">3</cx:pt>
          <cx:pt idx="50500">3</cx:pt>
          <cx:pt idx="50501">5</cx:pt>
          <cx:pt idx="50502">5</cx:pt>
          <cx:pt idx="50503">4</cx:pt>
          <cx:pt idx="50504">2</cx:pt>
          <cx:pt idx="50505">1</cx:pt>
          <cx:pt idx="50506">2</cx:pt>
          <cx:pt idx="50507">2</cx:pt>
          <cx:pt idx="50508">1</cx:pt>
          <cx:pt idx="50509">2</cx:pt>
          <cx:pt idx="50510">5</cx:pt>
          <cx:pt idx="50511">4</cx:pt>
          <cx:pt idx="50512">0</cx:pt>
          <cx:pt idx="50513">4</cx:pt>
          <cx:pt idx="50514">1</cx:pt>
          <cx:pt idx="50515">2</cx:pt>
          <cx:pt idx="50516">3</cx:pt>
          <cx:pt idx="50517">3</cx:pt>
          <cx:pt idx="50518">0</cx:pt>
          <cx:pt idx="50519">2</cx:pt>
          <cx:pt idx="50520">1</cx:pt>
          <cx:pt idx="50521">1</cx:pt>
          <cx:pt idx="50522">2</cx:pt>
          <cx:pt idx="50523">4</cx:pt>
          <cx:pt idx="50524">1</cx:pt>
          <cx:pt idx="50525">5</cx:pt>
          <cx:pt idx="50526">3</cx:pt>
          <cx:pt idx="50527">1</cx:pt>
          <cx:pt idx="50528">4</cx:pt>
          <cx:pt idx="50529">3</cx:pt>
          <cx:pt idx="50530">3</cx:pt>
          <cx:pt idx="50531">2</cx:pt>
          <cx:pt idx="50532">5</cx:pt>
          <cx:pt idx="50533">3</cx:pt>
          <cx:pt idx="50534">3</cx:pt>
          <cx:pt idx="50535">3</cx:pt>
          <cx:pt idx="50536">4</cx:pt>
          <cx:pt idx="50537">5</cx:pt>
          <cx:pt idx="50538">0</cx:pt>
          <cx:pt idx="50539">3</cx:pt>
          <cx:pt idx="50540">1</cx:pt>
          <cx:pt idx="50541">2</cx:pt>
          <cx:pt idx="50542">5</cx:pt>
          <cx:pt idx="50543">5</cx:pt>
          <cx:pt idx="50544">3</cx:pt>
          <cx:pt idx="50545">1</cx:pt>
          <cx:pt idx="50546">3</cx:pt>
          <cx:pt idx="50547">4</cx:pt>
          <cx:pt idx="50548">3</cx:pt>
          <cx:pt idx="50549">2</cx:pt>
          <cx:pt idx="50550">3</cx:pt>
          <cx:pt idx="50551">3</cx:pt>
          <cx:pt idx="50552">4</cx:pt>
          <cx:pt idx="50553">5</cx:pt>
          <cx:pt idx="50554">3</cx:pt>
          <cx:pt idx="50555">3</cx:pt>
          <cx:pt idx="50556">2</cx:pt>
          <cx:pt idx="50557">4</cx:pt>
          <cx:pt idx="50558">3</cx:pt>
          <cx:pt idx="50559">1</cx:pt>
          <cx:pt idx="50560">3</cx:pt>
          <cx:pt idx="50561">4</cx:pt>
          <cx:pt idx="50562">4</cx:pt>
          <cx:pt idx="50563">2</cx:pt>
          <cx:pt idx="50564">4</cx:pt>
          <cx:pt idx="50565">2</cx:pt>
          <cx:pt idx="50566">4</cx:pt>
          <cx:pt idx="50567">1</cx:pt>
          <cx:pt idx="50568">1</cx:pt>
          <cx:pt idx="50569">1</cx:pt>
          <cx:pt idx="50570">2</cx:pt>
          <cx:pt idx="50571">3</cx:pt>
          <cx:pt idx="50572">3</cx:pt>
          <cx:pt idx="50573">3</cx:pt>
          <cx:pt idx="50574">1</cx:pt>
          <cx:pt idx="50575">0</cx:pt>
          <cx:pt idx="50576">2</cx:pt>
          <cx:pt idx="50577">4</cx:pt>
          <cx:pt idx="50578">1</cx:pt>
          <cx:pt idx="50579">3</cx:pt>
          <cx:pt idx="50580">5</cx:pt>
          <cx:pt idx="50581">3</cx:pt>
          <cx:pt idx="50582">5</cx:pt>
          <cx:pt idx="50583">3</cx:pt>
          <cx:pt idx="50584">1</cx:pt>
          <cx:pt idx="50585">3</cx:pt>
          <cx:pt idx="50586">2</cx:pt>
          <cx:pt idx="50587">3</cx:pt>
          <cx:pt idx="50588">4</cx:pt>
          <cx:pt idx="50589">5</cx:pt>
          <cx:pt idx="50590">3</cx:pt>
          <cx:pt idx="50591">2</cx:pt>
          <cx:pt idx="50592">4</cx:pt>
          <cx:pt idx="50593">2</cx:pt>
          <cx:pt idx="50594">1</cx:pt>
          <cx:pt idx="50595">2</cx:pt>
          <cx:pt idx="50596">3</cx:pt>
          <cx:pt idx="50597">2</cx:pt>
          <cx:pt idx="50598">5</cx:pt>
          <cx:pt idx="50599">2</cx:pt>
          <cx:pt idx="50600">3</cx:pt>
          <cx:pt idx="50601">1</cx:pt>
          <cx:pt idx="50602">3</cx:pt>
          <cx:pt idx="50603">2</cx:pt>
          <cx:pt idx="50604">4</cx:pt>
          <cx:pt idx="50605">2</cx:pt>
          <cx:pt idx="50606">2</cx:pt>
          <cx:pt idx="50607">5</cx:pt>
          <cx:pt idx="50608">3</cx:pt>
          <cx:pt idx="50609">3</cx:pt>
          <cx:pt idx="50610">4</cx:pt>
          <cx:pt idx="50611">5</cx:pt>
          <cx:pt idx="50612">2</cx:pt>
          <cx:pt idx="50613">2</cx:pt>
          <cx:pt idx="50614">1</cx:pt>
          <cx:pt idx="50615">1</cx:pt>
          <cx:pt idx="50616">2</cx:pt>
          <cx:pt idx="50617">1</cx:pt>
          <cx:pt idx="50618">1</cx:pt>
          <cx:pt idx="50619">4</cx:pt>
          <cx:pt idx="50620">1</cx:pt>
          <cx:pt idx="50621">5</cx:pt>
          <cx:pt idx="50622">3</cx:pt>
          <cx:pt idx="50623">4</cx:pt>
          <cx:pt idx="50624">2</cx:pt>
          <cx:pt idx="50625">0</cx:pt>
          <cx:pt idx="50626">3</cx:pt>
          <cx:pt idx="50627">4</cx:pt>
          <cx:pt idx="50628">1</cx:pt>
          <cx:pt idx="50629">3</cx:pt>
          <cx:pt idx="50630">5</cx:pt>
          <cx:pt idx="50631">1</cx:pt>
          <cx:pt idx="50632">3</cx:pt>
          <cx:pt idx="50633">1</cx:pt>
          <cx:pt idx="50634">2</cx:pt>
          <cx:pt idx="50635">0</cx:pt>
          <cx:pt idx="50636">3</cx:pt>
          <cx:pt idx="50637">1</cx:pt>
          <cx:pt idx="50638">4</cx:pt>
          <cx:pt idx="50639">3</cx:pt>
          <cx:pt idx="50640">5</cx:pt>
          <cx:pt idx="50641">3</cx:pt>
          <cx:pt idx="50642">1</cx:pt>
          <cx:pt idx="50643">4</cx:pt>
          <cx:pt idx="50644">5</cx:pt>
          <cx:pt idx="50645">3</cx:pt>
          <cx:pt idx="50646">3</cx:pt>
          <cx:pt idx="50647">4</cx:pt>
          <cx:pt idx="50648">3</cx:pt>
          <cx:pt idx="50649">4</cx:pt>
          <cx:pt idx="50650">2</cx:pt>
          <cx:pt idx="50651">2</cx:pt>
          <cx:pt idx="50652">4</cx:pt>
          <cx:pt idx="50653">5</cx:pt>
          <cx:pt idx="50654">1</cx:pt>
          <cx:pt idx="50655">1</cx:pt>
          <cx:pt idx="50656">2</cx:pt>
          <cx:pt idx="50657">5</cx:pt>
          <cx:pt idx="50658">1</cx:pt>
          <cx:pt idx="50659">2</cx:pt>
          <cx:pt idx="50660">0</cx:pt>
          <cx:pt idx="50661">1</cx:pt>
          <cx:pt idx="50662">3</cx:pt>
          <cx:pt idx="50663">4</cx:pt>
          <cx:pt idx="50664">5</cx:pt>
          <cx:pt idx="50665">3</cx:pt>
          <cx:pt idx="50666">2</cx:pt>
          <cx:pt idx="50667">5</cx:pt>
          <cx:pt idx="50668">3</cx:pt>
          <cx:pt idx="50669">4</cx:pt>
          <cx:pt idx="50670">1</cx:pt>
          <cx:pt idx="50671">3</cx:pt>
          <cx:pt idx="50672">2</cx:pt>
          <cx:pt idx="50673">3</cx:pt>
          <cx:pt idx="50674">4</cx:pt>
          <cx:pt idx="50675">5</cx:pt>
          <cx:pt idx="50676">4</cx:pt>
          <cx:pt idx="50677">2</cx:pt>
          <cx:pt idx="50678">5</cx:pt>
          <cx:pt idx="50679">1</cx:pt>
          <cx:pt idx="50680">1</cx:pt>
          <cx:pt idx="50681">5</cx:pt>
          <cx:pt idx="50682">1</cx:pt>
          <cx:pt idx="50683">3</cx:pt>
          <cx:pt idx="50684">2</cx:pt>
          <cx:pt idx="50685">3</cx:pt>
          <cx:pt idx="50686">3</cx:pt>
          <cx:pt idx="50687">5</cx:pt>
          <cx:pt idx="50688">5</cx:pt>
          <cx:pt idx="50689">4</cx:pt>
          <cx:pt idx="50690">3</cx:pt>
          <cx:pt idx="50691">1</cx:pt>
          <cx:pt idx="50692">3</cx:pt>
          <cx:pt idx="50693">1</cx:pt>
          <cx:pt idx="50694">2</cx:pt>
          <cx:pt idx="50695">4</cx:pt>
          <cx:pt idx="50696">5</cx:pt>
          <cx:pt idx="50697">4</cx:pt>
          <cx:pt idx="50698">1</cx:pt>
          <cx:pt idx="50699">1</cx:pt>
          <cx:pt idx="50700">1</cx:pt>
          <cx:pt idx="50701">1</cx:pt>
          <cx:pt idx="50702">4</cx:pt>
          <cx:pt idx="50703">1</cx:pt>
          <cx:pt idx="50704">2</cx:pt>
          <cx:pt idx="50705">3</cx:pt>
          <cx:pt idx="50706">2</cx:pt>
          <cx:pt idx="50707">4</cx:pt>
          <cx:pt idx="50708">1</cx:pt>
          <cx:pt idx="50709">3</cx:pt>
          <cx:pt idx="50710">2</cx:pt>
          <cx:pt idx="50711">3</cx:pt>
          <cx:pt idx="50712">3</cx:pt>
          <cx:pt idx="50713">2</cx:pt>
          <cx:pt idx="50714">2</cx:pt>
          <cx:pt idx="50715">4</cx:pt>
          <cx:pt idx="50716">5</cx:pt>
          <cx:pt idx="50717">3</cx:pt>
          <cx:pt idx="50718">3</cx:pt>
          <cx:pt idx="50719">2</cx:pt>
          <cx:pt idx="50720">3</cx:pt>
          <cx:pt idx="50721">2</cx:pt>
          <cx:pt idx="50722">5</cx:pt>
          <cx:pt idx="50723">4</cx:pt>
          <cx:pt idx="50724">4</cx:pt>
          <cx:pt idx="50725">2</cx:pt>
          <cx:pt idx="50726">3</cx:pt>
          <cx:pt idx="50727">5</cx:pt>
          <cx:pt idx="50728">3</cx:pt>
          <cx:pt idx="50729">2</cx:pt>
          <cx:pt idx="50730">3</cx:pt>
          <cx:pt idx="50731">3</cx:pt>
          <cx:pt idx="50732">1</cx:pt>
          <cx:pt idx="50733">2</cx:pt>
          <cx:pt idx="50734">1</cx:pt>
          <cx:pt idx="50735">0</cx:pt>
          <cx:pt idx="50736">1</cx:pt>
          <cx:pt idx="50737">3</cx:pt>
          <cx:pt idx="50738">2</cx:pt>
          <cx:pt idx="50739">0</cx:pt>
          <cx:pt idx="50740">5</cx:pt>
          <cx:pt idx="50741">3</cx:pt>
          <cx:pt idx="50742">5</cx:pt>
          <cx:pt idx="50743">4</cx:pt>
          <cx:pt idx="50744">4</cx:pt>
          <cx:pt idx="50745">4</cx:pt>
          <cx:pt idx="50746">4</cx:pt>
          <cx:pt idx="50747">4</cx:pt>
          <cx:pt idx="50748">2</cx:pt>
          <cx:pt idx="50749">2</cx:pt>
          <cx:pt idx="50750">4</cx:pt>
          <cx:pt idx="50751">2</cx:pt>
          <cx:pt idx="50752">1</cx:pt>
          <cx:pt idx="50753">2</cx:pt>
          <cx:pt idx="50754">1</cx:pt>
          <cx:pt idx="50755">0</cx:pt>
          <cx:pt idx="50756">4</cx:pt>
          <cx:pt idx="50757">2</cx:pt>
          <cx:pt idx="50758">1</cx:pt>
          <cx:pt idx="50759">0</cx:pt>
          <cx:pt idx="50760">2</cx:pt>
          <cx:pt idx="50761">5</cx:pt>
          <cx:pt idx="50762">2</cx:pt>
          <cx:pt idx="50763">3</cx:pt>
          <cx:pt idx="50764">2</cx:pt>
          <cx:pt idx="50765">4</cx:pt>
          <cx:pt idx="50766">3</cx:pt>
          <cx:pt idx="50767">4</cx:pt>
          <cx:pt idx="50768">4</cx:pt>
          <cx:pt idx="50769">2</cx:pt>
          <cx:pt idx="50770">4</cx:pt>
          <cx:pt idx="50771">3</cx:pt>
          <cx:pt idx="50772">1</cx:pt>
          <cx:pt idx="50773">5</cx:pt>
          <cx:pt idx="50774">0</cx:pt>
          <cx:pt idx="50775">5</cx:pt>
          <cx:pt idx="50776">1</cx:pt>
          <cx:pt idx="50777">1</cx:pt>
          <cx:pt idx="50778">5</cx:pt>
          <cx:pt idx="50779">5</cx:pt>
          <cx:pt idx="50780">5</cx:pt>
          <cx:pt idx="50781">4</cx:pt>
          <cx:pt idx="50782">1</cx:pt>
          <cx:pt idx="50783">2</cx:pt>
          <cx:pt idx="50784">5</cx:pt>
          <cx:pt idx="50785">5</cx:pt>
          <cx:pt idx="50786">3</cx:pt>
          <cx:pt idx="50787">5</cx:pt>
          <cx:pt idx="50788">4</cx:pt>
          <cx:pt idx="50789">2</cx:pt>
          <cx:pt idx="50790">1</cx:pt>
          <cx:pt idx="50791">1</cx:pt>
          <cx:pt idx="50792">3</cx:pt>
          <cx:pt idx="50793">2</cx:pt>
          <cx:pt idx="50794">1</cx:pt>
          <cx:pt idx="50795">3</cx:pt>
          <cx:pt idx="50796">2</cx:pt>
          <cx:pt idx="50797">3</cx:pt>
          <cx:pt idx="50798">4</cx:pt>
          <cx:pt idx="50799">3</cx:pt>
          <cx:pt idx="50800">2</cx:pt>
          <cx:pt idx="50801">2</cx:pt>
          <cx:pt idx="50802">2</cx:pt>
          <cx:pt idx="50803">1</cx:pt>
          <cx:pt idx="50804">0</cx:pt>
          <cx:pt idx="50805">1</cx:pt>
          <cx:pt idx="50806">2</cx:pt>
          <cx:pt idx="50807">4</cx:pt>
          <cx:pt idx="50808">2</cx:pt>
          <cx:pt idx="50809">3</cx:pt>
          <cx:pt idx="50810">5</cx:pt>
          <cx:pt idx="50811">4</cx:pt>
          <cx:pt idx="50812">2</cx:pt>
          <cx:pt idx="50813">5</cx:pt>
          <cx:pt idx="50814">4</cx:pt>
          <cx:pt idx="50815">4</cx:pt>
          <cx:pt idx="50816">3</cx:pt>
          <cx:pt idx="50817">1</cx:pt>
          <cx:pt idx="50818">5</cx:pt>
          <cx:pt idx="50819">1</cx:pt>
          <cx:pt idx="50820">2</cx:pt>
          <cx:pt idx="50821">2</cx:pt>
          <cx:pt idx="50822">2</cx:pt>
          <cx:pt idx="50823">3</cx:pt>
          <cx:pt idx="50824">4</cx:pt>
          <cx:pt idx="50825">2</cx:pt>
          <cx:pt idx="50826">2</cx:pt>
          <cx:pt idx="50827">3</cx:pt>
          <cx:pt idx="50828">1</cx:pt>
          <cx:pt idx="50829">1</cx:pt>
          <cx:pt idx="50830">4</cx:pt>
          <cx:pt idx="50831">2</cx:pt>
          <cx:pt idx="50832">2</cx:pt>
          <cx:pt idx="50833">3</cx:pt>
          <cx:pt idx="50834">5</cx:pt>
          <cx:pt idx="50835">3</cx:pt>
          <cx:pt idx="50836">4</cx:pt>
          <cx:pt idx="50837">2</cx:pt>
          <cx:pt idx="50838">2</cx:pt>
          <cx:pt idx="50839">1</cx:pt>
          <cx:pt idx="50840">4</cx:pt>
          <cx:pt idx="50841">3</cx:pt>
          <cx:pt idx="50842">4</cx:pt>
          <cx:pt idx="50843">4</cx:pt>
          <cx:pt idx="50844">2</cx:pt>
          <cx:pt idx="50845">2</cx:pt>
          <cx:pt idx="50846">2</cx:pt>
          <cx:pt idx="50847">3</cx:pt>
          <cx:pt idx="50848">0</cx:pt>
          <cx:pt idx="50849">5</cx:pt>
          <cx:pt idx="50850">2</cx:pt>
          <cx:pt idx="50851">2</cx:pt>
          <cx:pt idx="50852">3</cx:pt>
          <cx:pt idx="50853">4</cx:pt>
          <cx:pt idx="50854">3</cx:pt>
          <cx:pt idx="50855">3</cx:pt>
          <cx:pt idx="50856">2</cx:pt>
          <cx:pt idx="50857">3</cx:pt>
          <cx:pt idx="50858">3</cx:pt>
          <cx:pt idx="50859">4</cx:pt>
          <cx:pt idx="50860">2</cx:pt>
          <cx:pt idx="50861">4</cx:pt>
          <cx:pt idx="50862">4</cx:pt>
          <cx:pt idx="50863">4</cx:pt>
          <cx:pt idx="50864">3</cx:pt>
          <cx:pt idx="50865">1</cx:pt>
          <cx:pt idx="50866">3</cx:pt>
          <cx:pt idx="50867">0</cx:pt>
          <cx:pt idx="50868">4</cx:pt>
          <cx:pt idx="50869">5</cx:pt>
          <cx:pt idx="50870">2</cx:pt>
          <cx:pt idx="50871">5</cx:pt>
          <cx:pt idx="50872">1</cx:pt>
          <cx:pt idx="50873">3</cx:pt>
          <cx:pt idx="50874">2</cx:pt>
          <cx:pt idx="50875">3</cx:pt>
          <cx:pt idx="50876">1</cx:pt>
          <cx:pt idx="50877">1</cx:pt>
          <cx:pt idx="50878">3</cx:pt>
          <cx:pt idx="50879">2</cx:pt>
          <cx:pt idx="50880">3</cx:pt>
          <cx:pt idx="50881">2</cx:pt>
          <cx:pt idx="50882">5</cx:pt>
          <cx:pt idx="50883">3</cx:pt>
          <cx:pt idx="50884">3</cx:pt>
          <cx:pt idx="50885">3</cx:pt>
          <cx:pt idx="50886">4</cx:pt>
          <cx:pt idx="50887">3</cx:pt>
          <cx:pt idx="50888">2</cx:pt>
          <cx:pt idx="50889">2</cx:pt>
          <cx:pt idx="50890">4</cx:pt>
          <cx:pt idx="50891">5</cx:pt>
          <cx:pt idx="50892">2</cx:pt>
          <cx:pt idx="50893">1</cx:pt>
          <cx:pt idx="50894">3</cx:pt>
          <cx:pt idx="50895">3</cx:pt>
          <cx:pt idx="50896">0</cx:pt>
          <cx:pt idx="50897">5</cx:pt>
          <cx:pt idx="50898">3</cx:pt>
          <cx:pt idx="50899">4</cx:pt>
          <cx:pt idx="50900">3</cx:pt>
          <cx:pt idx="50901">3</cx:pt>
          <cx:pt idx="50902">5</cx:pt>
          <cx:pt idx="50903">3</cx:pt>
          <cx:pt idx="50904">1</cx:pt>
          <cx:pt idx="50905">5</cx:pt>
          <cx:pt idx="50906">1</cx:pt>
          <cx:pt idx="50907">2</cx:pt>
          <cx:pt idx="50908">5</cx:pt>
          <cx:pt idx="50909">3</cx:pt>
          <cx:pt idx="50910">4</cx:pt>
          <cx:pt idx="50911">5</cx:pt>
          <cx:pt idx="50912">1</cx:pt>
          <cx:pt idx="50913">1</cx:pt>
          <cx:pt idx="50914">3</cx:pt>
          <cx:pt idx="50915">1</cx:pt>
          <cx:pt idx="50916">3</cx:pt>
          <cx:pt idx="50917">1</cx:pt>
          <cx:pt idx="50918">3</cx:pt>
          <cx:pt idx="50919">4</cx:pt>
          <cx:pt idx="50920">3</cx:pt>
          <cx:pt idx="50921">2</cx:pt>
          <cx:pt idx="50922">0</cx:pt>
          <cx:pt idx="50923">5</cx:pt>
          <cx:pt idx="50924">2</cx:pt>
          <cx:pt idx="50925">3</cx:pt>
          <cx:pt idx="50926">2</cx:pt>
          <cx:pt idx="50927">3</cx:pt>
          <cx:pt idx="50928">4</cx:pt>
          <cx:pt idx="50929">1</cx:pt>
          <cx:pt idx="50930">2</cx:pt>
          <cx:pt idx="50931">2</cx:pt>
          <cx:pt idx="50932">5</cx:pt>
          <cx:pt idx="50933">2</cx:pt>
          <cx:pt idx="50934">0</cx:pt>
          <cx:pt idx="50935">2</cx:pt>
          <cx:pt idx="50936">2</cx:pt>
          <cx:pt idx="50937">1</cx:pt>
          <cx:pt idx="50938">1</cx:pt>
          <cx:pt idx="50939">5</cx:pt>
          <cx:pt idx="50940">3</cx:pt>
          <cx:pt idx="50941">0</cx:pt>
          <cx:pt idx="50942">2</cx:pt>
          <cx:pt idx="50943">1</cx:pt>
          <cx:pt idx="50944">1</cx:pt>
          <cx:pt idx="50945">3</cx:pt>
          <cx:pt idx="50946">5</cx:pt>
          <cx:pt idx="50947">3</cx:pt>
          <cx:pt idx="50948">4</cx:pt>
          <cx:pt idx="50949">2</cx:pt>
          <cx:pt idx="50950">1</cx:pt>
          <cx:pt idx="50951">2</cx:pt>
          <cx:pt idx="50952">1</cx:pt>
          <cx:pt idx="50953">2</cx:pt>
          <cx:pt idx="50954">3</cx:pt>
          <cx:pt idx="50955">3</cx:pt>
          <cx:pt idx="50956">2</cx:pt>
          <cx:pt idx="50957">3</cx:pt>
          <cx:pt idx="50958">2</cx:pt>
          <cx:pt idx="50959">5</cx:pt>
          <cx:pt idx="50960">3</cx:pt>
          <cx:pt idx="50961">3</cx:pt>
          <cx:pt idx="50962">4</cx:pt>
          <cx:pt idx="50963">2</cx:pt>
          <cx:pt idx="50964">1</cx:pt>
          <cx:pt idx="50965">3</cx:pt>
          <cx:pt idx="50966">2</cx:pt>
          <cx:pt idx="50967">0</cx:pt>
          <cx:pt idx="50968">3</cx:pt>
          <cx:pt idx="50969">3</cx:pt>
          <cx:pt idx="50970">5</cx:pt>
          <cx:pt idx="50971">3</cx:pt>
          <cx:pt idx="50972">3</cx:pt>
          <cx:pt idx="50973">3</cx:pt>
          <cx:pt idx="50974">4</cx:pt>
          <cx:pt idx="50975">2</cx:pt>
          <cx:pt idx="50976">4</cx:pt>
          <cx:pt idx="50977">1</cx:pt>
          <cx:pt idx="50978">2</cx:pt>
          <cx:pt idx="50979">5</cx:pt>
          <cx:pt idx="50980">5</cx:pt>
          <cx:pt idx="50981">3</cx:pt>
          <cx:pt idx="50982">1</cx:pt>
          <cx:pt idx="50983">2</cx:pt>
          <cx:pt idx="50984">2</cx:pt>
          <cx:pt idx="50985">2</cx:pt>
          <cx:pt idx="50986">4</cx:pt>
          <cx:pt idx="50987">5</cx:pt>
          <cx:pt idx="50988">2</cx:pt>
          <cx:pt idx="50989">3</cx:pt>
          <cx:pt idx="50990">3</cx:pt>
          <cx:pt idx="50991">5</cx:pt>
          <cx:pt idx="50992">5</cx:pt>
          <cx:pt idx="50993">3</cx:pt>
          <cx:pt idx="50994">3</cx:pt>
          <cx:pt idx="50995">3</cx:pt>
          <cx:pt idx="50996">5</cx:pt>
          <cx:pt idx="50997">2</cx:pt>
          <cx:pt idx="50998">1</cx:pt>
          <cx:pt idx="50999">2</cx:pt>
          <cx:pt idx="51000">2</cx:pt>
          <cx:pt idx="51001">1</cx:pt>
          <cx:pt idx="51002">2</cx:pt>
          <cx:pt idx="51003">4</cx:pt>
          <cx:pt idx="51004">2</cx:pt>
          <cx:pt idx="51005">5</cx:pt>
          <cx:pt idx="51006">3</cx:pt>
          <cx:pt idx="51007">4</cx:pt>
          <cx:pt idx="51008">4</cx:pt>
          <cx:pt idx="51009">3</cx:pt>
          <cx:pt idx="51010">1</cx:pt>
          <cx:pt idx="51011">4</cx:pt>
          <cx:pt idx="51012">3</cx:pt>
          <cx:pt idx="51013">2</cx:pt>
          <cx:pt idx="51014">1</cx:pt>
          <cx:pt idx="51015">1</cx:pt>
          <cx:pt idx="51016">4</cx:pt>
          <cx:pt idx="51017">4</cx:pt>
          <cx:pt idx="51018">3</cx:pt>
          <cx:pt idx="51019">3</cx:pt>
          <cx:pt idx="51020">1</cx:pt>
          <cx:pt idx="51021">0</cx:pt>
          <cx:pt idx="51022">5</cx:pt>
          <cx:pt idx="51023">2</cx:pt>
          <cx:pt idx="51024">3</cx:pt>
          <cx:pt idx="51025">2</cx:pt>
          <cx:pt idx="51026">4</cx:pt>
          <cx:pt idx="51027">4</cx:pt>
          <cx:pt idx="51028">2</cx:pt>
          <cx:pt idx="51029">4</cx:pt>
          <cx:pt idx="51030">3</cx:pt>
          <cx:pt idx="51031">1</cx:pt>
          <cx:pt idx="51032">2</cx:pt>
          <cx:pt idx="51033">3</cx:pt>
          <cx:pt idx="51034">4</cx:pt>
          <cx:pt idx="51035">1</cx:pt>
          <cx:pt idx="51036">1</cx:pt>
          <cx:pt idx="51037">4</cx:pt>
          <cx:pt idx="51038">3</cx:pt>
          <cx:pt idx="51039">3</cx:pt>
          <cx:pt idx="51040">3</cx:pt>
          <cx:pt idx="51041">1</cx:pt>
          <cx:pt idx="51042">3</cx:pt>
          <cx:pt idx="51043">2</cx:pt>
          <cx:pt idx="51044">5</cx:pt>
          <cx:pt idx="51045">1</cx:pt>
          <cx:pt idx="51046">5</cx:pt>
          <cx:pt idx="51047">4</cx:pt>
          <cx:pt idx="51048">2</cx:pt>
          <cx:pt idx="51049">4</cx:pt>
          <cx:pt idx="51050">4</cx:pt>
          <cx:pt idx="51051">0</cx:pt>
          <cx:pt idx="51052">2</cx:pt>
          <cx:pt idx="51053">3</cx:pt>
          <cx:pt idx="51054">3</cx:pt>
          <cx:pt idx="51055">3</cx:pt>
          <cx:pt idx="51056">3</cx:pt>
          <cx:pt idx="51057">5</cx:pt>
          <cx:pt idx="51058">3</cx:pt>
          <cx:pt idx="51059">3</cx:pt>
          <cx:pt idx="51060">2</cx:pt>
          <cx:pt idx="51061">2</cx:pt>
          <cx:pt idx="51062">2</cx:pt>
          <cx:pt idx="51063">5</cx:pt>
          <cx:pt idx="51064">3</cx:pt>
          <cx:pt idx="51065">4</cx:pt>
          <cx:pt idx="51066">4</cx:pt>
          <cx:pt idx="51067">3</cx:pt>
          <cx:pt idx="51068">0</cx:pt>
          <cx:pt idx="51069">4</cx:pt>
          <cx:pt idx="51070">1</cx:pt>
          <cx:pt idx="51071">3</cx:pt>
          <cx:pt idx="51072">2</cx:pt>
          <cx:pt idx="51073">1</cx:pt>
          <cx:pt idx="51074">3</cx:pt>
          <cx:pt idx="51075">3</cx:pt>
          <cx:pt idx="51076">3</cx:pt>
          <cx:pt idx="51077">3</cx:pt>
          <cx:pt idx="51078">4</cx:pt>
          <cx:pt idx="51079">3</cx:pt>
          <cx:pt idx="51080">5</cx:pt>
          <cx:pt idx="51081">1</cx:pt>
          <cx:pt idx="51082">4</cx:pt>
          <cx:pt idx="51083">2</cx:pt>
          <cx:pt idx="51084">2</cx:pt>
          <cx:pt idx="51085">4</cx:pt>
          <cx:pt idx="51086">1</cx:pt>
          <cx:pt idx="51087">5</cx:pt>
          <cx:pt idx="51088">4</cx:pt>
          <cx:pt idx="51089">2</cx:pt>
          <cx:pt idx="51090">4</cx:pt>
          <cx:pt idx="51091">2</cx:pt>
          <cx:pt idx="51092">4</cx:pt>
          <cx:pt idx="51093">4</cx:pt>
          <cx:pt idx="51094">5</cx:pt>
          <cx:pt idx="51095">1</cx:pt>
          <cx:pt idx="51096">4</cx:pt>
          <cx:pt idx="51097">4</cx:pt>
          <cx:pt idx="51098">1</cx:pt>
          <cx:pt idx="51099">1</cx:pt>
          <cx:pt idx="51100">3</cx:pt>
          <cx:pt idx="51101">5</cx:pt>
          <cx:pt idx="51102">3</cx:pt>
          <cx:pt idx="51103">0</cx:pt>
          <cx:pt idx="51104">4</cx:pt>
          <cx:pt idx="51105">4</cx:pt>
          <cx:pt idx="51106">2</cx:pt>
          <cx:pt idx="51107">5</cx:pt>
          <cx:pt idx="51108">1</cx:pt>
          <cx:pt idx="51109">2</cx:pt>
          <cx:pt idx="51110">3</cx:pt>
          <cx:pt idx="51111">0</cx:pt>
          <cx:pt idx="51112">2</cx:pt>
          <cx:pt idx="51113">3</cx:pt>
          <cx:pt idx="51114">2</cx:pt>
          <cx:pt idx="51115">2</cx:pt>
          <cx:pt idx="51116">3</cx:pt>
          <cx:pt idx="51117">2</cx:pt>
          <cx:pt idx="51118">5</cx:pt>
          <cx:pt idx="51119">4</cx:pt>
          <cx:pt idx="51120">1</cx:pt>
          <cx:pt idx="51121">4</cx:pt>
          <cx:pt idx="51122">3</cx:pt>
          <cx:pt idx="51123">1</cx:pt>
          <cx:pt idx="51124">3</cx:pt>
          <cx:pt idx="51125">4</cx:pt>
          <cx:pt idx="51126">3</cx:pt>
          <cx:pt idx="51127">2</cx:pt>
          <cx:pt idx="51128">2</cx:pt>
          <cx:pt idx="51129">1</cx:pt>
          <cx:pt idx="51130">5</cx:pt>
          <cx:pt idx="51131">5</cx:pt>
          <cx:pt idx="51132">5</cx:pt>
          <cx:pt idx="51133">2</cx:pt>
          <cx:pt idx="51134">2</cx:pt>
          <cx:pt idx="51135">2</cx:pt>
          <cx:pt idx="51136">0</cx:pt>
          <cx:pt idx="51137">3</cx:pt>
          <cx:pt idx="51138">1</cx:pt>
          <cx:pt idx="51139">3</cx:pt>
          <cx:pt idx="51140">3</cx:pt>
          <cx:pt idx="51141">1</cx:pt>
          <cx:pt idx="51142">1</cx:pt>
          <cx:pt idx="51143">3</cx:pt>
          <cx:pt idx="51144">2</cx:pt>
          <cx:pt idx="51145">3</cx:pt>
          <cx:pt idx="51146">4</cx:pt>
          <cx:pt idx="51147">5</cx:pt>
          <cx:pt idx="51148">3</cx:pt>
          <cx:pt idx="51149">3</cx:pt>
          <cx:pt idx="51150">2</cx:pt>
          <cx:pt idx="51151">0</cx:pt>
          <cx:pt idx="51152">1</cx:pt>
          <cx:pt idx="51153">3</cx:pt>
          <cx:pt idx="51154">3</cx:pt>
          <cx:pt idx="51155">2</cx:pt>
          <cx:pt idx="51156">4</cx:pt>
          <cx:pt idx="51157">3</cx:pt>
          <cx:pt idx="51158">2</cx:pt>
          <cx:pt idx="51159">3</cx:pt>
          <cx:pt idx="51160">1</cx:pt>
          <cx:pt idx="51161">3</cx:pt>
          <cx:pt idx="51162">4</cx:pt>
          <cx:pt idx="51163">2</cx:pt>
          <cx:pt idx="51164">1</cx:pt>
          <cx:pt idx="51165">2</cx:pt>
          <cx:pt idx="51166">5</cx:pt>
          <cx:pt idx="51167">4</cx:pt>
          <cx:pt idx="51168">2</cx:pt>
          <cx:pt idx="51169">1</cx:pt>
          <cx:pt idx="51170">2</cx:pt>
          <cx:pt idx="51171">5</cx:pt>
          <cx:pt idx="51172">3</cx:pt>
          <cx:pt idx="51173">2</cx:pt>
          <cx:pt idx="51174">1</cx:pt>
          <cx:pt idx="51175">4</cx:pt>
          <cx:pt idx="51176">4</cx:pt>
          <cx:pt idx="51177">3</cx:pt>
          <cx:pt idx="51178">3</cx:pt>
          <cx:pt idx="51179">4</cx:pt>
          <cx:pt idx="51180">2</cx:pt>
          <cx:pt idx="51181">5</cx:pt>
          <cx:pt idx="51182">2</cx:pt>
          <cx:pt idx="51183">2</cx:pt>
          <cx:pt idx="51184">4</cx:pt>
          <cx:pt idx="51185">2</cx:pt>
          <cx:pt idx="51186">2</cx:pt>
          <cx:pt idx="51187">4</cx:pt>
          <cx:pt idx="51188">2</cx:pt>
          <cx:pt idx="51189">4</cx:pt>
          <cx:pt idx="51190">2</cx:pt>
          <cx:pt idx="51191">4</cx:pt>
          <cx:pt idx="51192">5</cx:pt>
          <cx:pt idx="51193">3</cx:pt>
          <cx:pt idx="51194">4</cx:pt>
          <cx:pt idx="51195">4</cx:pt>
          <cx:pt idx="51196">3</cx:pt>
          <cx:pt idx="51197">3</cx:pt>
          <cx:pt idx="51198">3</cx:pt>
          <cx:pt idx="51199">4</cx:pt>
          <cx:pt idx="51200">2</cx:pt>
          <cx:pt idx="51201">1</cx:pt>
          <cx:pt idx="51202">4</cx:pt>
          <cx:pt idx="51203">2</cx:pt>
          <cx:pt idx="51204">2</cx:pt>
          <cx:pt idx="51205">1</cx:pt>
          <cx:pt idx="51206">4</cx:pt>
          <cx:pt idx="51207">3</cx:pt>
          <cx:pt idx="51208">3</cx:pt>
          <cx:pt idx="51209">3</cx:pt>
          <cx:pt idx="51210">3</cx:pt>
          <cx:pt idx="51211">2</cx:pt>
          <cx:pt idx="51212">4</cx:pt>
          <cx:pt idx="51213">2</cx:pt>
          <cx:pt idx="51214">1</cx:pt>
          <cx:pt idx="51215">4</cx:pt>
          <cx:pt idx="51216">2</cx:pt>
          <cx:pt idx="51217">3</cx:pt>
          <cx:pt idx="51218">3</cx:pt>
          <cx:pt idx="51219">5</cx:pt>
          <cx:pt idx="51220">4</cx:pt>
          <cx:pt idx="51221">2</cx:pt>
          <cx:pt idx="51222">3</cx:pt>
          <cx:pt idx="51223">1</cx:pt>
          <cx:pt idx="51224">3</cx:pt>
          <cx:pt idx="51225">4</cx:pt>
          <cx:pt idx="51226">5</cx:pt>
          <cx:pt idx="51227">4</cx:pt>
          <cx:pt idx="51228">3</cx:pt>
          <cx:pt idx="51229">3</cx:pt>
          <cx:pt idx="51230">2</cx:pt>
          <cx:pt idx="51231">2</cx:pt>
          <cx:pt idx="51232">1</cx:pt>
          <cx:pt idx="51233">4</cx:pt>
          <cx:pt idx="51234">1</cx:pt>
          <cx:pt idx="51235">3</cx:pt>
          <cx:pt idx="51236">1</cx:pt>
          <cx:pt idx="51237">1</cx:pt>
          <cx:pt idx="51238">3</cx:pt>
          <cx:pt idx="51239">1</cx:pt>
          <cx:pt idx="51240">2</cx:pt>
          <cx:pt idx="51241">3</cx:pt>
          <cx:pt idx="51242">3</cx:pt>
          <cx:pt idx="51243">2</cx:pt>
          <cx:pt idx="51244">0</cx:pt>
          <cx:pt idx="51245">2</cx:pt>
          <cx:pt idx="51246">3</cx:pt>
          <cx:pt idx="51247">3</cx:pt>
          <cx:pt idx="51248">3</cx:pt>
          <cx:pt idx="51249">4</cx:pt>
          <cx:pt idx="51250">1</cx:pt>
          <cx:pt idx="51251">5</cx:pt>
          <cx:pt idx="51252">2</cx:pt>
          <cx:pt idx="51253">2</cx:pt>
          <cx:pt idx="51254">4</cx:pt>
          <cx:pt idx="51255">2</cx:pt>
          <cx:pt idx="51256">1</cx:pt>
          <cx:pt idx="51257">5</cx:pt>
          <cx:pt idx="51258">3</cx:pt>
          <cx:pt idx="51259">3</cx:pt>
          <cx:pt idx="51260">1</cx:pt>
          <cx:pt idx="51261">1</cx:pt>
          <cx:pt idx="51262">1</cx:pt>
          <cx:pt idx="51263">1</cx:pt>
          <cx:pt idx="51264">2</cx:pt>
          <cx:pt idx="51265">2</cx:pt>
          <cx:pt idx="51266">2</cx:pt>
          <cx:pt idx="51267">5</cx:pt>
          <cx:pt idx="51268">3</cx:pt>
          <cx:pt idx="51269">2</cx:pt>
          <cx:pt idx="51270">3</cx:pt>
          <cx:pt idx="51271">2</cx:pt>
          <cx:pt idx="51272">1</cx:pt>
          <cx:pt idx="51273">2</cx:pt>
          <cx:pt idx="51274">1</cx:pt>
          <cx:pt idx="51275">4</cx:pt>
          <cx:pt idx="51276">2</cx:pt>
          <cx:pt idx="51277">1</cx:pt>
          <cx:pt idx="51278">5</cx:pt>
          <cx:pt idx="51279">4</cx:pt>
          <cx:pt idx="51280">5</cx:pt>
          <cx:pt idx="51281">3</cx:pt>
          <cx:pt idx="51282">1</cx:pt>
          <cx:pt idx="51283">3</cx:pt>
          <cx:pt idx="51284">3</cx:pt>
          <cx:pt idx="51285">5</cx:pt>
          <cx:pt idx="51286">0</cx:pt>
          <cx:pt idx="51287">2</cx:pt>
          <cx:pt idx="51288">1</cx:pt>
          <cx:pt idx="51289">5</cx:pt>
          <cx:pt idx="51290">3</cx:pt>
          <cx:pt idx="51291">1</cx:pt>
          <cx:pt idx="51292">5</cx:pt>
          <cx:pt idx="51293">3</cx:pt>
          <cx:pt idx="51294">3</cx:pt>
          <cx:pt idx="51295">2</cx:pt>
          <cx:pt idx="51296">2</cx:pt>
          <cx:pt idx="51297">5</cx:pt>
          <cx:pt idx="51298">3</cx:pt>
          <cx:pt idx="51299">0</cx:pt>
          <cx:pt idx="51300">3</cx:pt>
          <cx:pt idx="51301">3</cx:pt>
          <cx:pt idx="51302">5</cx:pt>
          <cx:pt idx="51303">2</cx:pt>
          <cx:pt idx="51304">2</cx:pt>
          <cx:pt idx="51305">3</cx:pt>
          <cx:pt idx="51306">3</cx:pt>
          <cx:pt idx="51307">5</cx:pt>
          <cx:pt idx="51308">4</cx:pt>
          <cx:pt idx="51309">1</cx:pt>
          <cx:pt idx="51310">3</cx:pt>
          <cx:pt idx="51311">0</cx:pt>
          <cx:pt idx="51312">4</cx:pt>
          <cx:pt idx="51313">2</cx:pt>
          <cx:pt idx="51314">4</cx:pt>
          <cx:pt idx="51315">2</cx:pt>
          <cx:pt idx="51316">1</cx:pt>
          <cx:pt idx="51317">2</cx:pt>
          <cx:pt idx="51318">3</cx:pt>
          <cx:pt idx="51319">3</cx:pt>
          <cx:pt idx="51320">2</cx:pt>
          <cx:pt idx="51321">3</cx:pt>
          <cx:pt idx="51322">4</cx:pt>
          <cx:pt idx="51323">4</cx:pt>
          <cx:pt idx="51324">3</cx:pt>
          <cx:pt idx="51325">2</cx:pt>
          <cx:pt idx="51326">4</cx:pt>
          <cx:pt idx="51327">2</cx:pt>
          <cx:pt idx="51328">0</cx:pt>
          <cx:pt idx="51329">5</cx:pt>
          <cx:pt idx="51330">1</cx:pt>
          <cx:pt idx="51331">2</cx:pt>
          <cx:pt idx="51332">4</cx:pt>
          <cx:pt idx="51333">2</cx:pt>
          <cx:pt idx="51334">3</cx:pt>
          <cx:pt idx="51335">5</cx:pt>
          <cx:pt idx="51336">4</cx:pt>
          <cx:pt idx="51337">1</cx:pt>
          <cx:pt idx="51338">0</cx:pt>
          <cx:pt idx="51339">0</cx:pt>
          <cx:pt idx="51340">0</cx:pt>
          <cx:pt idx="51341">3</cx:pt>
          <cx:pt idx="51342">3</cx:pt>
          <cx:pt idx="51343">3</cx:pt>
          <cx:pt idx="51344">2</cx:pt>
          <cx:pt idx="51345">3</cx:pt>
          <cx:pt idx="51346">2</cx:pt>
          <cx:pt idx="51347">2</cx:pt>
          <cx:pt idx="51348">3</cx:pt>
          <cx:pt idx="51349">3</cx:pt>
          <cx:pt idx="51350">4</cx:pt>
          <cx:pt idx="51351">4</cx:pt>
          <cx:pt idx="51352">2</cx:pt>
          <cx:pt idx="51353">2</cx:pt>
          <cx:pt idx="51354">1</cx:pt>
          <cx:pt idx="51355">3</cx:pt>
          <cx:pt idx="51356">2</cx:pt>
          <cx:pt idx="51357">4</cx:pt>
          <cx:pt idx="51358">3</cx:pt>
          <cx:pt idx="51359">3</cx:pt>
          <cx:pt idx="51360">2</cx:pt>
          <cx:pt idx="51361">2</cx:pt>
          <cx:pt idx="51362">3</cx:pt>
          <cx:pt idx="51363">5</cx:pt>
          <cx:pt idx="51364">4</cx:pt>
          <cx:pt idx="51365">3</cx:pt>
          <cx:pt idx="51366">3</cx:pt>
          <cx:pt idx="51367">2</cx:pt>
          <cx:pt idx="51368">1</cx:pt>
          <cx:pt idx="51369">2</cx:pt>
          <cx:pt idx="51370">4</cx:pt>
          <cx:pt idx="51371">3</cx:pt>
          <cx:pt idx="51372">3</cx:pt>
          <cx:pt idx="51373">2</cx:pt>
          <cx:pt idx="51374">4</cx:pt>
          <cx:pt idx="51375">2</cx:pt>
          <cx:pt idx="51376">3</cx:pt>
          <cx:pt idx="51377">1</cx:pt>
          <cx:pt idx="51378">3</cx:pt>
          <cx:pt idx="51379">1</cx:pt>
          <cx:pt idx="51380">5</cx:pt>
          <cx:pt idx="51381">1</cx:pt>
          <cx:pt idx="51382">4</cx:pt>
          <cx:pt idx="51383">3</cx:pt>
          <cx:pt idx="51384">5</cx:pt>
          <cx:pt idx="51385">4</cx:pt>
          <cx:pt idx="51386">1</cx:pt>
          <cx:pt idx="51387">4</cx:pt>
          <cx:pt idx="51388">1</cx:pt>
          <cx:pt idx="51389">1</cx:pt>
          <cx:pt idx="51390">0</cx:pt>
          <cx:pt idx="51391">5</cx:pt>
          <cx:pt idx="51392">2</cx:pt>
          <cx:pt idx="51393">2</cx:pt>
          <cx:pt idx="51394">2</cx:pt>
          <cx:pt idx="51395">4</cx:pt>
          <cx:pt idx="51396">2</cx:pt>
          <cx:pt idx="51397">5</cx:pt>
          <cx:pt idx="51398">4</cx:pt>
          <cx:pt idx="51399">2</cx:pt>
          <cx:pt idx="51400">3</cx:pt>
          <cx:pt idx="51401">1</cx:pt>
          <cx:pt idx="51402">5</cx:pt>
          <cx:pt idx="51403">2</cx:pt>
          <cx:pt idx="51404">1</cx:pt>
          <cx:pt idx="51405">2</cx:pt>
          <cx:pt idx="51406">4</cx:pt>
          <cx:pt idx="51407">0</cx:pt>
          <cx:pt idx="51408">0</cx:pt>
          <cx:pt idx="51409">2</cx:pt>
          <cx:pt idx="51410">1</cx:pt>
          <cx:pt idx="51411">1</cx:pt>
          <cx:pt idx="51412">3</cx:pt>
          <cx:pt idx="51413">3</cx:pt>
          <cx:pt idx="51414">5</cx:pt>
          <cx:pt idx="51415">2</cx:pt>
          <cx:pt idx="51416">3</cx:pt>
          <cx:pt idx="51417">3</cx:pt>
          <cx:pt idx="51418">3</cx:pt>
          <cx:pt idx="51419">1</cx:pt>
          <cx:pt idx="51420">2</cx:pt>
          <cx:pt idx="51421">3</cx:pt>
          <cx:pt idx="51422">3</cx:pt>
          <cx:pt idx="51423">1</cx:pt>
          <cx:pt idx="51424">3</cx:pt>
          <cx:pt idx="51425">1</cx:pt>
          <cx:pt idx="51426">5</cx:pt>
          <cx:pt idx="51427">1</cx:pt>
          <cx:pt idx="51428">0</cx:pt>
          <cx:pt idx="51429">5</cx:pt>
          <cx:pt idx="51430">3</cx:pt>
          <cx:pt idx="51431">3</cx:pt>
          <cx:pt idx="51432">2</cx:pt>
          <cx:pt idx="51433">3</cx:pt>
          <cx:pt idx="51434">3</cx:pt>
          <cx:pt idx="51435">1</cx:pt>
          <cx:pt idx="51436">1</cx:pt>
          <cx:pt idx="51437">2</cx:pt>
          <cx:pt idx="51438">1</cx:pt>
          <cx:pt idx="51439">4</cx:pt>
          <cx:pt idx="51440">5</cx:pt>
          <cx:pt idx="51441">2</cx:pt>
          <cx:pt idx="51442">2</cx:pt>
          <cx:pt idx="51443">2</cx:pt>
          <cx:pt idx="51444">2</cx:pt>
          <cx:pt idx="51445">3</cx:pt>
          <cx:pt idx="51446">4</cx:pt>
          <cx:pt idx="51447">1</cx:pt>
          <cx:pt idx="51448">1</cx:pt>
          <cx:pt idx="51449">4</cx:pt>
          <cx:pt idx="51450">1</cx:pt>
          <cx:pt idx="51451">5</cx:pt>
          <cx:pt idx="51452">2</cx:pt>
          <cx:pt idx="51453">4</cx:pt>
          <cx:pt idx="51454">3</cx:pt>
          <cx:pt idx="51455">4</cx:pt>
          <cx:pt idx="51456">2</cx:pt>
          <cx:pt idx="51457">4</cx:pt>
          <cx:pt idx="51458">1</cx:pt>
          <cx:pt idx="51459">3</cx:pt>
          <cx:pt idx="51460">3</cx:pt>
          <cx:pt idx="51461">3</cx:pt>
          <cx:pt idx="51462">2</cx:pt>
          <cx:pt idx="51463">2</cx:pt>
          <cx:pt idx="51464">4</cx:pt>
          <cx:pt idx="51465">5</cx:pt>
          <cx:pt idx="51466">2</cx:pt>
          <cx:pt idx="51467">3</cx:pt>
          <cx:pt idx="51468">2</cx:pt>
          <cx:pt idx="51469">5</cx:pt>
          <cx:pt idx="51470">2</cx:pt>
          <cx:pt idx="51471">4</cx:pt>
          <cx:pt idx="51472">2</cx:pt>
          <cx:pt idx="51473">3</cx:pt>
          <cx:pt idx="51474">1</cx:pt>
          <cx:pt idx="51475">1</cx:pt>
          <cx:pt idx="51476">1</cx:pt>
          <cx:pt idx="51477">4</cx:pt>
          <cx:pt idx="51478">4</cx:pt>
          <cx:pt idx="51479">0</cx:pt>
          <cx:pt idx="51480">2</cx:pt>
          <cx:pt idx="51481">4</cx:pt>
          <cx:pt idx="51482">3</cx:pt>
          <cx:pt idx="51483">4</cx:pt>
          <cx:pt idx="51484">3</cx:pt>
          <cx:pt idx="51485">1</cx:pt>
          <cx:pt idx="51486">3</cx:pt>
          <cx:pt idx="51487">4</cx:pt>
          <cx:pt idx="51488">2</cx:pt>
          <cx:pt idx="51489">3</cx:pt>
          <cx:pt idx="51490">1</cx:pt>
          <cx:pt idx="51491">2</cx:pt>
          <cx:pt idx="51492">4</cx:pt>
          <cx:pt idx="51493">2</cx:pt>
          <cx:pt idx="51494">2</cx:pt>
          <cx:pt idx="51495">3</cx:pt>
          <cx:pt idx="51496">2</cx:pt>
          <cx:pt idx="51497">2</cx:pt>
          <cx:pt idx="51498">2</cx:pt>
          <cx:pt idx="51499">2</cx:pt>
          <cx:pt idx="51500">3</cx:pt>
          <cx:pt idx="51501">1</cx:pt>
          <cx:pt idx="51502">4</cx:pt>
          <cx:pt idx="51503">5</cx:pt>
          <cx:pt idx="51504">4</cx:pt>
          <cx:pt idx="51505">1</cx:pt>
          <cx:pt idx="51506">4</cx:pt>
          <cx:pt idx="51507">3</cx:pt>
          <cx:pt idx="51508">3</cx:pt>
          <cx:pt idx="51509">2</cx:pt>
          <cx:pt idx="51510">2</cx:pt>
          <cx:pt idx="51511">2</cx:pt>
          <cx:pt idx="51512">4</cx:pt>
          <cx:pt idx="51513">4</cx:pt>
          <cx:pt idx="51514">3</cx:pt>
          <cx:pt idx="51515">3</cx:pt>
          <cx:pt idx="51516">1</cx:pt>
          <cx:pt idx="51517">5</cx:pt>
          <cx:pt idx="51518">3</cx:pt>
          <cx:pt idx="51519">3</cx:pt>
          <cx:pt idx="51520">4</cx:pt>
          <cx:pt idx="51521">1</cx:pt>
          <cx:pt idx="51522">1</cx:pt>
          <cx:pt idx="51523">2</cx:pt>
          <cx:pt idx="51524">2</cx:pt>
          <cx:pt idx="51525">1</cx:pt>
          <cx:pt idx="51526">5</cx:pt>
          <cx:pt idx="51527">3</cx:pt>
          <cx:pt idx="51528">4</cx:pt>
          <cx:pt idx="51529">1</cx:pt>
          <cx:pt idx="51530">4</cx:pt>
          <cx:pt idx="51531">3</cx:pt>
          <cx:pt idx="51532">3</cx:pt>
          <cx:pt idx="51533">5</cx:pt>
          <cx:pt idx="51534">2</cx:pt>
          <cx:pt idx="51535">4</cx:pt>
          <cx:pt idx="51536">4</cx:pt>
          <cx:pt idx="51537">2</cx:pt>
          <cx:pt idx="51538">3</cx:pt>
          <cx:pt idx="51539">4</cx:pt>
          <cx:pt idx="51540">3</cx:pt>
          <cx:pt idx="51541">1</cx:pt>
          <cx:pt idx="51542">3</cx:pt>
          <cx:pt idx="51543">3</cx:pt>
          <cx:pt idx="51544">1</cx:pt>
          <cx:pt idx="51545">5</cx:pt>
          <cx:pt idx="51546">3</cx:pt>
          <cx:pt idx="51547">2</cx:pt>
          <cx:pt idx="51548">5</cx:pt>
          <cx:pt idx="51549">5</cx:pt>
          <cx:pt idx="51550">3</cx:pt>
          <cx:pt idx="51551">4</cx:pt>
          <cx:pt idx="51552">3</cx:pt>
          <cx:pt idx="51553">3</cx:pt>
          <cx:pt idx="51554">3</cx:pt>
          <cx:pt idx="51555">4</cx:pt>
          <cx:pt idx="51556">3</cx:pt>
          <cx:pt idx="51557">1</cx:pt>
          <cx:pt idx="51558">2</cx:pt>
          <cx:pt idx="51559">2</cx:pt>
          <cx:pt idx="51560">3</cx:pt>
          <cx:pt idx="51561">3</cx:pt>
          <cx:pt idx="51562">3</cx:pt>
          <cx:pt idx="51563">3</cx:pt>
          <cx:pt idx="51564">0</cx:pt>
          <cx:pt idx="51565">2</cx:pt>
          <cx:pt idx="51566">3</cx:pt>
          <cx:pt idx="51567">2</cx:pt>
          <cx:pt idx="51568">2</cx:pt>
          <cx:pt idx="51569">4</cx:pt>
          <cx:pt idx="51570">4</cx:pt>
          <cx:pt idx="51571">1</cx:pt>
          <cx:pt idx="51572">2</cx:pt>
          <cx:pt idx="51573">3</cx:pt>
          <cx:pt idx="51574">3</cx:pt>
          <cx:pt idx="51575">3</cx:pt>
          <cx:pt idx="51576">4</cx:pt>
          <cx:pt idx="51577">1</cx:pt>
          <cx:pt idx="51578">4</cx:pt>
          <cx:pt idx="51579">3</cx:pt>
          <cx:pt idx="51580">4</cx:pt>
          <cx:pt idx="51581">2</cx:pt>
          <cx:pt idx="51582">3</cx:pt>
          <cx:pt idx="51583">5</cx:pt>
          <cx:pt idx="51584">3</cx:pt>
          <cx:pt idx="51585">0</cx:pt>
          <cx:pt idx="51586">1</cx:pt>
          <cx:pt idx="51587">2</cx:pt>
          <cx:pt idx="51588">5</cx:pt>
          <cx:pt idx="51589">2</cx:pt>
          <cx:pt idx="51590">1</cx:pt>
          <cx:pt idx="51591">5</cx:pt>
          <cx:pt idx="51592">4</cx:pt>
          <cx:pt idx="51593">5</cx:pt>
          <cx:pt idx="51594">2</cx:pt>
          <cx:pt idx="51595">1</cx:pt>
          <cx:pt idx="51596">4</cx:pt>
          <cx:pt idx="51597">2</cx:pt>
          <cx:pt idx="51598">3</cx:pt>
          <cx:pt idx="51599">2</cx:pt>
          <cx:pt idx="51600">2</cx:pt>
          <cx:pt idx="51601">2</cx:pt>
          <cx:pt idx="51602">3</cx:pt>
          <cx:pt idx="51603">5</cx:pt>
          <cx:pt idx="51604">4</cx:pt>
          <cx:pt idx="51605">4</cx:pt>
          <cx:pt idx="51606">2</cx:pt>
          <cx:pt idx="51607">3</cx:pt>
          <cx:pt idx="51608">3</cx:pt>
          <cx:pt idx="51609">4</cx:pt>
          <cx:pt idx="51610">3</cx:pt>
          <cx:pt idx="51611">1</cx:pt>
          <cx:pt idx="51612">0</cx:pt>
          <cx:pt idx="51613">2</cx:pt>
          <cx:pt idx="51614">3</cx:pt>
          <cx:pt idx="51615">2</cx:pt>
          <cx:pt idx="51616">3</cx:pt>
          <cx:pt idx="51617">2</cx:pt>
          <cx:pt idx="51618">4</cx:pt>
          <cx:pt idx="51619">5</cx:pt>
          <cx:pt idx="51620">3</cx:pt>
          <cx:pt idx="51621">1</cx:pt>
          <cx:pt idx="51622">3</cx:pt>
          <cx:pt idx="51623">2</cx:pt>
          <cx:pt idx="51624">2</cx:pt>
          <cx:pt idx="51625">1</cx:pt>
          <cx:pt idx="51626">2</cx:pt>
          <cx:pt idx="51627">4</cx:pt>
          <cx:pt idx="51628">4</cx:pt>
          <cx:pt idx="51629">2</cx:pt>
          <cx:pt idx="51630">4</cx:pt>
          <cx:pt idx="51631">2</cx:pt>
          <cx:pt idx="51632">3</cx:pt>
          <cx:pt idx="51633">5</cx:pt>
          <cx:pt idx="51634">3</cx:pt>
          <cx:pt idx="51635">2</cx:pt>
          <cx:pt idx="51636">2</cx:pt>
          <cx:pt idx="51637">0</cx:pt>
          <cx:pt idx="51638">2</cx:pt>
          <cx:pt idx="51639">4</cx:pt>
          <cx:pt idx="51640">2</cx:pt>
          <cx:pt idx="51641">1</cx:pt>
          <cx:pt idx="51642">1</cx:pt>
          <cx:pt idx="51643">2</cx:pt>
          <cx:pt idx="51644">2</cx:pt>
          <cx:pt idx="51645">1</cx:pt>
          <cx:pt idx="51646">4</cx:pt>
          <cx:pt idx="51647">1</cx:pt>
          <cx:pt idx="51648">2</cx:pt>
          <cx:pt idx="51649">3</cx:pt>
          <cx:pt idx="51650">2</cx:pt>
          <cx:pt idx="51651">2</cx:pt>
          <cx:pt idx="51652">2</cx:pt>
          <cx:pt idx="51653">3</cx:pt>
          <cx:pt idx="51654">3</cx:pt>
          <cx:pt idx="51655">2</cx:pt>
          <cx:pt idx="51656">1</cx:pt>
          <cx:pt idx="51657">3</cx:pt>
          <cx:pt idx="51658">3</cx:pt>
          <cx:pt idx="51659">3</cx:pt>
          <cx:pt idx="51660">1</cx:pt>
          <cx:pt idx="51661">2</cx:pt>
          <cx:pt idx="51662">1</cx:pt>
          <cx:pt idx="51663">2</cx:pt>
          <cx:pt idx="51664">1</cx:pt>
          <cx:pt idx="51665">4</cx:pt>
          <cx:pt idx="51666">2</cx:pt>
          <cx:pt idx="51667">4</cx:pt>
          <cx:pt idx="51668">2</cx:pt>
          <cx:pt idx="51669">3</cx:pt>
          <cx:pt idx="51670">1</cx:pt>
          <cx:pt idx="51671">0</cx:pt>
          <cx:pt idx="51672">1</cx:pt>
          <cx:pt idx="51673">2</cx:pt>
          <cx:pt idx="51674">4</cx:pt>
          <cx:pt idx="51675">2</cx:pt>
          <cx:pt idx="51676">4</cx:pt>
          <cx:pt idx="51677">2</cx:pt>
          <cx:pt idx="51678">3</cx:pt>
          <cx:pt idx="51679">2</cx:pt>
          <cx:pt idx="51680">3</cx:pt>
          <cx:pt idx="51681">5</cx:pt>
          <cx:pt idx="51682">4</cx:pt>
          <cx:pt idx="51683">0</cx:pt>
          <cx:pt idx="51684">5</cx:pt>
          <cx:pt idx="51685">1</cx:pt>
          <cx:pt idx="51686">0</cx:pt>
          <cx:pt idx="51687">5</cx:pt>
          <cx:pt idx="51688">1</cx:pt>
          <cx:pt idx="51689">2</cx:pt>
          <cx:pt idx="51690">5</cx:pt>
          <cx:pt idx="51691">1</cx:pt>
          <cx:pt idx="51692">3</cx:pt>
          <cx:pt idx="51693">0</cx:pt>
          <cx:pt idx="51694">3</cx:pt>
          <cx:pt idx="51695">4</cx:pt>
          <cx:pt idx="51696">2</cx:pt>
          <cx:pt idx="51697">4</cx:pt>
          <cx:pt idx="51698">3</cx:pt>
          <cx:pt idx="51699">3</cx:pt>
          <cx:pt idx="51700">3</cx:pt>
          <cx:pt idx="51701">2</cx:pt>
          <cx:pt idx="51702">2</cx:pt>
          <cx:pt idx="51703">5</cx:pt>
          <cx:pt idx="51704">2</cx:pt>
          <cx:pt idx="51705">5</cx:pt>
          <cx:pt idx="51706">4</cx:pt>
          <cx:pt idx="51707">3</cx:pt>
          <cx:pt idx="51708">3</cx:pt>
          <cx:pt idx="51709">5</cx:pt>
          <cx:pt idx="51710">3</cx:pt>
          <cx:pt idx="51711">2</cx:pt>
          <cx:pt idx="51712">1</cx:pt>
          <cx:pt idx="51713">4</cx:pt>
          <cx:pt idx="51714">1</cx:pt>
          <cx:pt idx="51715">2</cx:pt>
          <cx:pt idx="51716">3</cx:pt>
          <cx:pt idx="51717">2</cx:pt>
          <cx:pt idx="51718">3</cx:pt>
          <cx:pt idx="51719">2</cx:pt>
          <cx:pt idx="51720">2</cx:pt>
          <cx:pt idx="51721">2</cx:pt>
          <cx:pt idx="51722">2</cx:pt>
          <cx:pt idx="51723">3</cx:pt>
          <cx:pt idx="51724">5</cx:pt>
          <cx:pt idx="51725">5</cx:pt>
          <cx:pt idx="51726">2</cx:pt>
          <cx:pt idx="51727">4</cx:pt>
          <cx:pt idx="51728">2</cx:pt>
          <cx:pt idx="51729">1</cx:pt>
          <cx:pt idx="51730">2</cx:pt>
          <cx:pt idx="51731">4</cx:pt>
          <cx:pt idx="51732">1</cx:pt>
          <cx:pt idx="51733">1</cx:pt>
          <cx:pt idx="51734">1</cx:pt>
          <cx:pt idx="51735">2</cx:pt>
          <cx:pt idx="51736">4</cx:pt>
          <cx:pt idx="51737">5</cx:pt>
          <cx:pt idx="51738">5</cx:pt>
          <cx:pt idx="51739">1</cx:pt>
          <cx:pt idx="51740">1</cx:pt>
          <cx:pt idx="51741">5</cx:pt>
          <cx:pt idx="51742">4</cx:pt>
          <cx:pt idx="51743">0</cx:pt>
          <cx:pt idx="51744">5</cx:pt>
          <cx:pt idx="51745">4</cx:pt>
          <cx:pt idx="51746">1</cx:pt>
          <cx:pt idx="51747">3</cx:pt>
          <cx:pt idx="51748">3</cx:pt>
          <cx:pt idx="51749">1</cx:pt>
          <cx:pt idx="51750">2</cx:pt>
          <cx:pt idx="51751">3</cx:pt>
          <cx:pt idx="51752">4</cx:pt>
          <cx:pt idx="51753">2</cx:pt>
          <cx:pt idx="51754">5</cx:pt>
          <cx:pt idx="51755">2</cx:pt>
          <cx:pt idx="51756">1</cx:pt>
          <cx:pt idx="51757">1</cx:pt>
          <cx:pt idx="51758">4</cx:pt>
          <cx:pt idx="51759">3</cx:pt>
          <cx:pt idx="51760">2</cx:pt>
          <cx:pt idx="51761">1</cx:pt>
          <cx:pt idx="51762">5</cx:pt>
          <cx:pt idx="51763">2</cx:pt>
          <cx:pt idx="51764">2</cx:pt>
          <cx:pt idx="51765">4</cx:pt>
          <cx:pt idx="51766">3</cx:pt>
          <cx:pt idx="51767">1</cx:pt>
          <cx:pt idx="51768">3</cx:pt>
          <cx:pt idx="51769">4</cx:pt>
          <cx:pt idx="51770">3</cx:pt>
          <cx:pt idx="51771">3</cx:pt>
          <cx:pt idx="51772">5</cx:pt>
          <cx:pt idx="51773">4</cx:pt>
          <cx:pt idx="51774">3</cx:pt>
          <cx:pt idx="51775">2</cx:pt>
          <cx:pt idx="51776">5</cx:pt>
          <cx:pt idx="51777">1</cx:pt>
          <cx:pt idx="51778">1</cx:pt>
          <cx:pt idx="51779">4</cx:pt>
          <cx:pt idx="51780">1</cx:pt>
          <cx:pt idx="51781">0</cx:pt>
          <cx:pt idx="51782">1</cx:pt>
          <cx:pt idx="51783">3</cx:pt>
          <cx:pt idx="51784">1</cx:pt>
          <cx:pt idx="51785">2</cx:pt>
          <cx:pt idx="51786">3</cx:pt>
          <cx:pt idx="51787">0</cx:pt>
          <cx:pt idx="51788">1</cx:pt>
          <cx:pt idx="51789">1</cx:pt>
          <cx:pt idx="51790">1</cx:pt>
          <cx:pt idx="51791">2</cx:pt>
          <cx:pt idx="51792">4</cx:pt>
          <cx:pt idx="51793">4</cx:pt>
          <cx:pt idx="51794">5</cx:pt>
          <cx:pt idx="51795">5</cx:pt>
          <cx:pt idx="51796">1</cx:pt>
          <cx:pt idx="51797">3</cx:pt>
          <cx:pt idx="51798">3</cx:pt>
          <cx:pt idx="51799">3</cx:pt>
          <cx:pt idx="51800">2</cx:pt>
          <cx:pt idx="51801">3</cx:pt>
          <cx:pt idx="51802">1</cx:pt>
          <cx:pt idx="51803">1</cx:pt>
          <cx:pt idx="51804">2</cx:pt>
          <cx:pt idx="51805">3</cx:pt>
          <cx:pt idx="51806">2</cx:pt>
          <cx:pt idx="51807">3</cx:pt>
          <cx:pt idx="51808">2</cx:pt>
          <cx:pt idx="51809">5</cx:pt>
          <cx:pt idx="51810">3</cx:pt>
          <cx:pt idx="51811">3</cx:pt>
          <cx:pt idx="51812">2</cx:pt>
          <cx:pt idx="51813">5</cx:pt>
          <cx:pt idx="51814">2</cx:pt>
          <cx:pt idx="51815">3</cx:pt>
          <cx:pt idx="51816">5</cx:pt>
          <cx:pt idx="51817">2</cx:pt>
          <cx:pt idx="51818">2</cx:pt>
          <cx:pt idx="51819">2</cx:pt>
          <cx:pt idx="51820">3</cx:pt>
          <cx:pt idx="51821">3</cx:pt>
          <cx:pt idx="51822">3</cx:pt>
          <cx:pt idx="51823">2</cx:pt>
          <cx:pt idx="51824">4</cx:pt>
          <cx:pt idx="51825">3</cx:pt>
          <cx:pt idx="51826">1</cx:pt>
          <cx:pt idx="51827">2</cx:pt>
          <cx:pt idx="51828">3</cx:pt>
          <cx:pt idx="51829">1</cx:pt>
          <cx:pt idx="51830">5</cx:pt>
          <cx:pt idx="51831">3</cx:pt>
          <cx:pt idx="51832">4</cx:pt>
          <cx:pt idx="51833">1</cx:pt>
          <cx:pt idx="51834">3</cx:pt>
          <cx:pt idx="51835">3</cx:pt>
          <cx:pt idx="51836">5</cx:pt>
          <cx:pt idx="51837">4</cx:pt>
          <cx:pt idx="51838">1</cx:pt>
          <cx:pt idx="51839">1</cx:pt>
          <cx:pt idx="51840">3</cx:pt>
          <cx:pt idx="51841">3</cx:pt>
          <cx:pt idx="51842">1</cx:pt>
          <cx:pt idx="51843">3</cx:pt>
          <cx:pt idx="51844">3</cx:pt>
          <cx:pt idx="51845">2</cx:pt>
          <cx:pt idx="51846">3</cx:pt>
          <cx:pt idx="51847">4</cx:pt>
          <cx:pt idx="51848">2</cx:pt>
          <cx:pt idx="51849">1</cx:pt>
          <cx:pt idx="51850">4</cx:pt>
          <cx:pt idx="51851">2</cx:pt>
          <cx:pt idx="51852">2</cx:pt>
          <cx:pt idx="51853">1</cx:pt>
          <cx:pt idx="51854">4</cx:pt>
          <cx:pt idx="51855">2</cx:pt>
          <cx:pt idx="51856">4</cx:pt>
          <cx:pt idx="51857">3</cx:pt>
          <cx:pt idx="51858">1</cx:pt>
          <cx:pt idx="51859">3</cx:pt>
          <cx:pt idx="51860">2</cx:pt>
          <cx:pt idx="51861">4</cx:pt>
          <cx:pt idx="51862">5</cx:pt>
          <cx:pt idx="51863">5</cx:pt>
          <cx:pt idx="51864">1</cx:pt>
          <cx:pt idx="51865">2</cx:pt>
          <cx:pt idx="51866">5</cx:pt>
          <cx:pt idx="51867">1</cx:pt>
          <cx:pt idx="51868">5</cx:pt>
          <cx:pt idx="51869">5</cx:pt>
          <cx:pt idx="51870">1</cx:pt>
          <cx:pt idx="51871">2</cx:pt>
          <cx:pt idx="51872">5</cx:pt>
          <cx:pt idx="51873">3</cx:pt>
          <cx:pt idx="51874">4</cx:pt>
          <cx:pt idx="51875">1</cx:pt>
          <cx:pt idx="51876">2</cx:pt>
          <cx:pt idx="51877">3</cx:pt>
          <cx:pt idx="51878">2</cx:pt>
          <cx:pt idx="51879">2</cx:pt>
          <cx:pt idx="51880">4</cx:pt>
          <cx:pt idx="51881">2</cx:pt>
          <cx:pt idx="51882">3</cx:pt>
          <cx:pt idx="51883">4</cx:pt>
          <cx:pt idx="51884">0</cx:pt>
          <cx:pt idx="51885">2</cx:pt>
          <cx:pt idx="51886">0</cx:pt>
          <cx:pt idx="51887">5</cx:pt>
          <cx:pt idx="51888">2</cx:pt>
          <cx:pt idx="51889">5</cx:pt>
          <cx:pt idx="51890">4</cx:pt>
          <cx:pt idx="51891">3</cx:pt>
          <cx:pt idx="51892">3</cx:pt>
          <cx:pt idx="51893">3</cx:pt>
          <cx:pt idx="51894">4</cx:pt>
          <cx:pt idx="51895">5</cx:pt>
          <cx:pt idx="51896">1</cx:pt>
          <cx:pt idx="51897">1</cx:pt>
          <cx:pt idx="51898">2</cx:pt>
          <cx:pt idx="51899">4</cx:pt>
          <cx:pt idx="51900">3</cx:pt>
          <cx:pt idx="51901">2</cx:pt>
          <cx:pt idx="51902">0</cx:pt>
          <cx:pt idx="51903">5</cx:pt>
          <cx:pt idx="51904">3</cx:pt>
          <cx:pt idx="51905">2</cx:pt>
          <cx:pt idx="51906">3</cx:pt>
          <cx:pt idx="51907">1</cx:pt>
          <cx:pt idx="51908">2</cx:pt>
          <cx:pt idx="51909">4</cx:pt>
          <cx:pt idx="51910">3</cx:pt>
          <cx:pt idx="51911">5</cx:pt>
          <cx:pt idx="51912">5</cx:pt>
          <cx:pt idx="51913">5</cx:pt>
          <cx:pt idx="51914">5</cx:pt>
          <cx:pt idx="51915">5</cx:pt>
          <cx:pt idx="51916">5</cx:pt>
          <cx:pt idx="51917">4</cx:pt>
          <cx:pt idx="51918">2</cx:pt>
          <cx:pt idx="51919">2</cx:pt>
          <cx:pt idx="51920">3</cx:pt>
          <cx:pt idx="51921">4</cx:pt>
          <cx:pt idx="51922">3</cx:pt>
          <cx:pt idx="51923">0</cx:pt>
          <cx:pt idx="51924">4</cx:pt>
          <cx:pt idx="51925">4</cx:pt>
          <cx:pt idx="51926">4</cx:pt>
          <cx:pt idx="51927">3</cx:pt>
          <cx:pt idx="51928">4</cx:pt>
          <cx:pt idx="51929">2</cx:pt>
          <cx:pt idx="51930">5</cx:pt>
          <cx:pt idx="51931">2</cx:pt>
          <cx:pt idx="51932">4</cx:pt>
          <cx:pt idx="51933">2</cx:pt>
          <cx:pt idx="51934">4</cx:pt>
          <cx:pt idx="51935">5</cx:pt>
          <cx:pt idx="51936">3</cx:pt>
          <cx:pt idx="51937">3</cx:pt>
          <cx:pt idx="51938">5</cx:pt>
          <cx:pt idx="51939">5</cx:pt>
          <cx:pt idx="51940">4</cx:pt>
          <cx:pt idx="51941">4</cx:pt>
          <cx:pt idx="51942">1</cx:pt>
          <cx:pt idx="51943">1</cx:pt>
          <cx:pt idx="51944">5</cx:pt>
          <cx:pt idx="51945">2</cx:pt>
          <cx:pt idx="51946">3</cx:pt>
          <cx:pt idx="51947">3</cx:pt>
          <cx:pt idx="51948">0</cx:pt>
          <cx:pt idx="51949">4</cx:pt>
          <cx:pt idx="51950">5</cx:pt>
          <cx:pt idx="51951">1</cx:pt>
          <cx:pt idx="51952">2</cx:pt>
          <cx:pt idx="51953">4</cx:pt>
          <cx:pt idx="51954">2</cx:pt>
          <cx:pt idx="51955">1</cx:pt>
          <cx:pt idx="51956">4</cx:pt>
          <cx:pt idx="51957">4</cx:pt>
          <cx:pt idx="51958">2</cx:pt>
          <cx:pt idx="51959">5</cx:pt>
          <cx:pt idx="51960">2</cx:pt>
          <cx:pt idx="51961">4</cx:pt>
          <cx:pt idx="51962">4</cx:pt>
          <cx:pt idx="51963">4</cx:pt>
          <cx:pt idx="51964">3</cx:pt>
          <cx:pt idx="51965">3</cx:pt>
          <cx:pt idx="51966">4</cx:pt>
          <cx:pt idx="51967">4</cx:pt>
          <cx:pt idx="51968">1</cx:pt>
          <cx:pt idx="51969">1</cx:pt>
          <cx:pt idx="51970">4</cx:pt>
          <cx:pt idx="51971">5</cx:pt>
          <cx:pt idx="51972">2</cx:pt>
          <cx:pt idx="51973">1</cx:pt>
          <cx:pt idx="51974">3</cx:pt>
          <cx:pt idx="51975">5</cx:pt>
          <cx:pt idx="51976">3</cx:pt>
          <cx:pt idx="51977">3</cx:pt>
          <cx:pt idx="51978">2</cx:pt>
          <cx:pt idx="51979">3</cx:pt>
          <cx:pt idx="51980">4</cx:pt>
          <cx:pt idx="51981">5</cx:pt>
          <cx:pt idx="51982">2</cx:pt>
          <cx:pt idx="51983">4</cx:pt>
          <cx:pt idx="51984">3</cx:pt>
          <cx:pt idx="51985">2</cx:pt>
          <cx:pt idx="51986">3</cx:pt>
          <cx:pt idx="51987">2</cx:pt>
          <cx:pt idx="51988">2</cx:pt>
          <cx:pt idx="51989">4</cx:pt>
          <cx:pt idx="51990">2</cx:pt>
          <cx:pt idx="51991">2</cx:pt>
          <cx:pt idx="51992">3</cx:pt>
          <cx:pt idx="51993">0</cx:pt>
          <cx:pt idx="51994">2</cx:pt>
          <cx:pt idx="51995">2</cx:pt>
          <cx:pt idx="51996">1</cx:pt>
          <cx:pt idx="51997">1</cx:pt>
          <cx:pt idx="51998">3</cx:pt>
          <cx:pt idx="51999">1</cx:pt>
          <cx:pt idx="52000">5</cx:pt>
          <cx:pt idx="52001">3</cx:pt>
          <cx:pt idx="52002">4</cx:pt>
          <cx:pt idx="52003">5</cx:pt>
          <cx:pt idx="52004">2</cx:pt>
          <cx:pt idx="52005">5</cx:pt>
          <cx:pt idx="52006">3</cx:pt>
          <cx:pt idx="52007">4</cx:pt>
          <cx:pt idx="52008">5</cx:pt>
          <cx:pt idx="52009">2</cx:pt>
          <cx:pt idx="52010">0</cx:pt>
          <cx:pt idx="52011">4</cx:pt>
          <cx:pt idx="52012">4</cx:pt>
          <cx:pt idx="52013">2</cx:pt>
          <cx:pt idx="52014">2</cx:pt>
          <cx:pt idx="52015">2</cx:pt>
          <cx:pt idx="52016">2</cx:pt>
          <cx:pt idx="52017">1</cx:pt>
          <cx:pt idx="52018">4</cx:pt>
          <cx:pt idx="52019">2</cx:pt>
          <cx:pt idx="52020">4</cx:pt>
          <cx:pt idx="52021">5</cx:pt>
          <cx:pt idx="52022">2</cx:pt>
          <cx:pt idx="52023">5</cx:pt>
          <cx:pt idx="52024">5</cx:pt>
          <cx:pt idx="52025">3</cx:pt>
          <cx:pt idx="52026">3</cx:pt>
          <cx:pt idx="52027">3</cx:pt>
          <cx:pt idx="52028">4</cx:pt>
          <cx:pt idx="52029">3</cx:pt>
          <cx:pt idx="52030">4</cx:pt>
          <cx:pt idx="52031">1</cx:pt>
          <cx:pt idx="52032">4</cx:pt>
          <cx:pt idx="52033">5</cx:pt>
          <cx:pt idx="52034">0</cx:pt>
          <cx:pt idx="52035">2</cx:pt>
          <cx:pt idx="52036">3</cx:pt>
          <cx:pt idx="52037">1</cx:pt>
          <cx:pt idx="52038">1</cx:pt>
          <cx:pt idx="52039">2</cx:pt>
          <cx:pt idx="52040">2</cx:pt>
          <cx:pt idx="52041">4</cx:pt>
          <cx:pt idx="52042">2</cx:pt>
          <cx:pt idx="52043">3</cx:pt>
          <cx:pt idx="52044">1</cx:pt>
          <cx:pt idx="52045">1</cx:pt>
          <cx:pt idx="52046">4</cx:pt>
          <cx:pt idx="52047">3</cx:pt>
          <cx:pt idx="52048">4</cx:pt>
          <cx:pt idx="52049">4</cx:pt>
          <cx:pt idx="52050">4</cx:pt>
          <cx:pt idx="52051">0</cx:pt>
          <cx:pt idx="52052">2</cx:pt>
          <cx:pt idx="52053">1</cx:pt>
          <cx:pt idx="52054">4</cx:pt>
          <cx:pt idx="52055">2</cx:pt>
          <cx:pt idx="52056">4</cx:pt>
          <cx:pt idx="52057">2</cx:pt>
          <cx:pt idx="52058">2</cx:pt>
          <cx:pt idx="52059">4</cx:pt>
          <cx:pt idx="52060">3</cx:pt>
          <cx:pt idx="52061">3</cx:pt>
          <cx:pt idx="52062">3</cx:pt>
          <cx:pt idx="52063">2</cx:pt>
          <cx:pt idx="52064">4</cx:pt>
          <cx:pt idx="52065">2</cx:pt>
          <cx:pt idx="52066">5</cx:pt>
          <cx:pt idx="52067">3</cx:pt>
          <cx:pt idx="52068">1</cx:pt>
          <cx:pt idx="52069">3</cx:pt>
          <cx:pt idx="52070">1</cx:pt>
          <cx:pt idx="52071">5</cx:pt>
          <cx:pt idx="52072">2</cx:pt>
          <cx:pt idx="52073">1</cx:pt>
          <cx:pt idx="52074">4</cx:pt>
          <cx:pt idx="52075">4</cx:pt>
          <cx:pt idx="52076">3</cx:pt>
          <cx:pt idx="52077">3</cx:pt>
          <cx:pt idx="52078">3</cx:pt>
          <cx:pt idx="52079">3</cx:pt>
          <cx:pt idx="52080">2</cx:pt>
          <cx:pt idx="52081">1</cx:pt>
          <cx:pt idx="52082">2</cx:pt>
          <cx:pt idx="52083">2</cx:pt>
          <cx:pt idx="52084">1</cx:pt>
          <cx:pt idx="52085">5</cx:pt>
          <cx:pt idx="52086">4</cx:pt>
          <cx:pt idx="52087">4</cx:pt>
          <cx:pt idx="52088">3</cx:pt>
          <cx:pt idx="52089">4</cx:pt>
          <cx:pt idx="52090">3</cx:pt>
          <cx:pt idx="52091">4</cx:pt>
          <cx:pt idx="52092">1</cx:pt>
          <cx:pt idx="52093">2</cx:pt>
          <cx:pt idx="52094">1</cx:pt>
          <cx:pt idx="52095">4</cx:pt>
          <cx:pt idx="52096">3</cx:pt>
          <cx:pt idx="52097">4</cx:pt>
          <cx:pt idx="52098">3</cx:pt>
          <cx:pt idx="52099">3</cx:pt>
          <cx:pt idx="52100">2</cx:pt>
          <cx:pt idx="52101">4</cx:pt>
          <cx:pt idx="52102">3</cx:pt>
          <cx:pt idx="52103">1</cx:pt>
          <cx:pt idx="52104">4</cx:pt>
          <cx:pt idx="52105">2</cx:pt>
          <cx:pt idx="52106">0</cx:pt>
          <cx:pt idx="52107">2</cx:pt>
          <cx:pt idx="52108">2</cx:pt>
          <cx:pt idx="52109">3</cx:pt>
          <cx:pt idx="52110">4</cx:pt>
          <cx:pt idx="52111">3</cx:pt>
          <cx:pt idx="52112">5</cx:pt>
          <cx:pt idx="52113">2</cx:pt>
          <cx:pt idx="52114">3</cx:pt>
          <cx:pt idx="52115">2</cx:pt>
          <cx:pt idx="52116">5</cx:pt>
          <cx:pt idx="52117">2</cx:pt>
          <cx:pt idx="52118">5</cx:pt>
          <cx:pt idx="52119">3</cx:pt>
          <cx:pt idx="52120">4</cx:pt>
          <cx:pt idx="52121">5</cx:pt>
          <cx:pt idx="52122">3</cx:pt>
          <cx:pt idx="52123">2</cx:pt>
          <cx:pt idx="52124">4</cx:pt>
          <cx:pt idx="52125">1</cx:pt>
          <cx:pt idx="52126">1</cx:pt>
          <cx:pt idx="52127">3</cx:pt>
          <cx:pt idx="52128">3</cx:pt>
          <cx:pt idx="52129">0</cx:pt>
          <cx:pt idx="52130">2</cx:pt>
          <cx:pt idx="52131">5</cx:pt>
          <cx:pt idx="52132">2</cx:pt>
          <cx:pt idx="52133">1</cx:pt>
          <cx:pt idx="52134">3</cx:pt>
          <cx:pt idx="52135">2</cx:pt>
          <cx:pt idx="52136">3</cx:pt>
          <cx:pt idx="52137">3</cx:pt>
          <cx:pt idx="52138">4</cx:pt>
          <cx:pt idx="52139">4</cx:pt>
          <cx:pt idx="52140">2</cx:pt>
          <cx:pt idx="52141">4</cx:pt>
          <cx:pt idx="52142">5</cx:pt>
          <cx:pt idx="52143">2</cx:pt>
          <cx:pt idx="52144">1</cx:pt>
          <cx:pt idx="52145">2</cx:pt>
          <cx:pt idx="52146">1</cx:pt>
          <cx:pt idx="52147">1</cx:pt>
          <cx:pt idx="52148">2</cx:pt>
          <cx:pt idx="52149">4</cx:pt>
          <cx:pt idx="52150">4</cx:pt>
          <cx:pt idx="52151">4</cx:pt>
          <cx:pt idx="52152">3</cx:pt>
          <cx:pt idx="52153">3</cx:pt>
          <cx:pt idx="52154">3</cx:pt>
          <cx:pt idx="52155">3</cx:pt>
          <cx:pt idx="52156">2</cx:pt>
          <cx:pt idx="52157">1</cx:pt>
          <cx:pt idx="52158">3</cx:pt>
          <cx:pt idx="52159">2</cx:pt>
          <cx:pt idx="52160">3</cx:pt>
          <cx:pt idx="52161">1</cx:pt>
          <cx:pt idx="52162">3</cx:pt>
          <cx:pt idx="52163">1</cx:pt>
          <cx:pt idx="52164">2</cx:pt>
          <cx:pt idx="52165">2</cx:pt>
          <cx:pt idx="52166">2</cx:pt>
          <cx:pt idx="52167">4</cx:pt>
          <cx:pt idx="52168">1</cx:pt>
          <cx:pt idx="52169">2</cx:pt>
          <cx:pt idx="52170">3</cx:pt>
          <cx:pt idx="52171">1</cx:pt>
          <cx:pt idx="52172">3</cx:pt>
          <cx:pt idx="52173">2</cx:pt>
          <cx:pt idx="52174">5</cx:pt>
          <cx:pt idx="52175">5</cx:pt>
          <cx:pt idx="52176">5</cx:pt>
          <cx:pt idx="52177">4</cx:pt>
          <cx:pt idx="52178">1</cx:pt>
          <cx:pt idx="52179">3</cx:pt>
          <cx:pt idx="52180">1</cx:pt>
          <cx:pt idx="52181">5</cx:pt>
          <cx:pt idx="52182">1</cx:pt>
          <cx:pt idx="52183">5</cx:pt>
          <cx:pt idx="52184">5</cx:pt>
          <cx:pt idx="52185">4</cx:pt>
          <cx:pt idx="52186">2</cx:pt>
          <cx:pt idx="52187">5</cx:pt>
          <cx:pt idx="52188">3</cx:pt>
          <cx:pt idx="52189">5</cx:pt>
          <cx:pt idx="52190">2</cx:pt>
          <cx:pt idx="52191">1</cx:pt>
          <cx:pt idx="52192">4</cx:pt>
          <cx:pt idx="52193">4</cx:pt>
          <cx:pt idx="52194">4</cx:pt>
          <cx:pt idx="52195">1</cx:pt>
          <cx:pt idx="52196">0</cx:pt>
          <cx:pt idx="52197">5</cx:pt>
          <cx:pt idx="52198">0</cx:pt>
          <cx:pt idx="52199">2</cx:pt>
          <cx:pt idx="52200">1</cx:pt>
          <cx:pt idx="52201">2</cx:pt>
          <cx:pt idx="52202">5</cx:pt>
          <cx:pt idx="52203">0</cx:pt>
          <cx:pt idx="52204">5</cx:pt>
          <cx:pt idx="52205">2</cx:pt>
          <cx:pt idx="52206">1</cx:pt>
          <cx:pt idx="52207">3</cx:pt>
          <cx:pt idx="52208">4</cx:pt>
          <cx:pt idx="52209">4</cx:pt>
          <cx:pt idx="52210">2</cx:pt>
          <cx:pt idx="52211">2</cx:pt>
          <cx:pt idx="52212">4</cx:pt>
          <cx:pt idx="52213">4</cx:pt>
          <cx:pt idx="52214">2</cx:pt>
          <cx:pt idx="52215">4</cx:pt>
          <cx:pt idx="52216">3</cx:pt>
          <cx:pt idx="52217">3</cx:pt>
          <cx:pt idx="52218">3</cx:pt>
          <cx:pt idx="52219">2</cx:pt>
          <cx:pt idx="52220">4</cx:pt>
          <cx:pt idx="52221">2</cx:pt>
          <cx:pt idx="52222">2</cx:pt>
          <cx:pt idx="52223">3</cx:pt>
          <cx:pt idx="52224">2</cx:pt>
          <cx:pt idx="52225">5</cx:pt>
          <cx:pt idx="52226">3</cx:pt>
          <cx:pt idx="52227">1</cx:pt>
          <cx:pt idx="52228">1</cx:pt>
          <cx:pt idx="52229">2</cx:pt>
          <cx:pt idx="52230">2</cx:pt>
          <cx:pt idx="52231">1</cx:pt>
          <cx:pt idx="52232">5</cx:pt>
          <cx:pt idx="52233">2</cx:pt>
          <cx:pt idx="52234">1</cx:pt>
          <cx:pt idx="52235">2</cx:pt>
          <cx:pt idx="52236">3</cx:pt>
          <cx:pt idx="52237">2</cx:pt>
          <cx:pt idx="52238">3</cx:pt>
          <cx:pt idx="52239">4</cx:pt>
          <cx:pt idx="52240">4</cx:pt>
          <cx:pt idx="52241">4</cx:pt>
          <cx:pt idx="52242">4</cx:pt>
          <cx:pt idx="52243">1</cx:pt>
          <cx:pt idx="52244">1</cx:pt>
          <cx:pt idx="52245">4</cx:pt>
          <cx:pt idx="52246">2</cx:pt>
          <cx:pt idx="52247">3</cx:pt>
          <cx:pt idx="52248">4</cx:pt>
          <cx:pt idx="52249">1</cx:pt>
          <cx:pt idx="52250">0</cx:pt>
          <cx:pt idx="52251">2</cx:pt>
          <cx:pt idx="52252">2</cx:pt>
          <cx:pt idx="52253">2</cx:pt>
          <cx:pt idx="52254">3</cx:pt>
          <cx:pt idx="52255">3</cx:pt>
          <cx:pt idx="52256">0</cx:pt>
          <cx:pt idx="52257">3</cx:pt>
          <cx:pt idx="52258">1</cx:pt>
          <cx:pt idx="52259">1</cx:pt>
          <cx:pt idx="52260">1</cx:pt>
          <cx:pt idx="52261">3</cx:pt>
          <cx:pt idx="52262">2</cx:pt>
          <cx:pt idx="52263">2</cx:pt>
          <cx:pt idx="52264">2</cx:pt>
          <cx:pt idx="52265">3</cx:pt>
          <cx:pt idx="52266">1</cx:pt>
          <cx:pt idx="52267">2</cx:pt>
          <cx:pt idx="52268">3</cx:pt>
          <cx:pt idx="52269">4</cx:pt>
          <cx:pt idx="52270">5</cx:pt>
          <cx:pt idx="52271">3</cx:pt>
          <cx:pt idx="52272">1</cx:pt>
          <cx:pt idx="52273">2</cx:pt>
          <cx:pt idx="52274">2</cx:pt>
          <cx:pt idx="52275">5</cx:pt>
          <cx:pt idx="52276">3</cx:pt>
          <cx:pt idx="52277">3</cx:pt>
          <cx:pt idx="52278">3</cx:pt>
          <cx:pt idx="52279">4</cx:pt>
          <cx:pt idx="52280">1</cx:pt>
          <cx:pt idx="52281">4</cx:pt>
          <cx:pt idx="52282">3</cx:pt>
          <cx:pt idx="52283">1</cx:pt>
          <cx:pt idx="52284">2</cx:pt>
          <cx:pt idx="52285">0</cx:pt>
          <cx:pt idx="52286">1</cx:pt>
          <cx:pt idx="52287">0</cx:pt>
          <cx:pt idx="52288">0</cx:pt>
          <cx:pt idx="52289">2</cx:pt>
          <cx:pt idx="52290">3</cx:pt>
          <cx:pt idx="52291">2</cx:pt>
          <cx:pt idx="52292">2</cx:pt>
          <cx:pt idx="52293">5</cx:pt>
          <cx:pt idx="52294">3</cx:pt>
          <cx:pt idx="52295">2</cx:pt>
          <cx:pt idx="52296">3</cx:pt>
          <cx:pt idx="52297">5</cx:pt>
          <cx:pt idx="52298">3</cx:pt>
          <cx:pt idx="52299">5</cx:pt>
          <cx:pt idx="52300">4</cx:pt>
          <cx:pt idx="52301">1</cx:pt>
          <cx:pt idx="52302">2</cx:pt>
          <cx:pt idx="52303">4</cx:pt>
          <cx:pt idx="52304">3</cx:pt>
          <cx:pt idx="52305">1</cx:pt>
          <cx:pt idx="52306">3</cx:pt>
          <cx:pt idx="52307">0</cx:pt>
          <cx:pt idx="52308">4</cx:pt>
          <cx:pt idx="52309">1</cx:pt>
          <cx:pt idx="52310">4</cx:pt>
          <cx:pt idx="52311">1</cx:pt>
          <cx:pt idx="52312">2</cx:pt>
          <cx:pt idx="52313">2</cx:pt>
          <cx:pt idx="52314">1</cx:pt>
          <cx:pt idx="52315">3</cx:pt>
          <cx:pt idx="52316">4</cx:pt>
          <cx:pt idx="52317">3</cx:pt>
          <cx:pt idx="52318">3</cx:pt>
          <cx:pt idx="52319">2</cx:pt>
          <cx:pt idx="52320">2</cx:pt>
          <cx:pt idx="52321">4</cx:pt>
          <cx:pt idx="52322">0</cx:pt>
          <cx:pt idx="52323">2</cx:pt>
          <cx:pt idx="52324">2</cx:pt>
          <cx:pt idx="52325">4</cx:pt>
          <cx:pt idx="52326">2</cx:pt>
          <cx:pt idx="52327">2</cx:pt>
          <cx:pt idx="52328">3</cx:pt>
          <cx:pt idx="52329">3</cx:pt>
          <cx:pt idx="52330">1</cx:pt>
          <cx:pt idx="52331">4</cx:pt>
          <cx:pt idx="52332">0</cx:pt>
          <cx:pt idx="52333">1</cx:pt>
          <cx:pt idx="52334">5</cx:pt>
          <cx:pt idx="52335">5</cx:pt>
          <cx:pt idx="52336">5</cx:pt>
          <cx:pt idx="52337">5</cx:pt>
          <cx:pt idx="52338">2</cx:pt>
          <cx:pt idx="52339">3</cx:pt>
          <cx:pt idx="52340">2</cx:pt>
          <cx:pt idx="52341">3</cx:pt>
          <cx:pt idx="52342">5</cx:pt>
          <cx:pt idx="52343">4</cx:pt>
          <cx:pt idx="52344">3</cx:pt>
          <cx:pt idx="52345">3</cx:pt>
          <cx:pt idx="52346">1</cx:pt>
          <cx:pt idx="52347">0</cx:pt>
          <cx:pt idx="52348">3</cx:pt>
          <cx:pt idx="52349">1</cx:pt>
          <cx:pt idx="52350">3</cx:pt>
          <cx:pt idx="52351">4</cx:pt>
          <cx:pt idx="52352">2</cx:pt>
          <cx:pt idx="52353">4</cx:pt>
          <cx:pt idx="52354">2</cx:pt>
          <cx:pt idx="52355">2</cx:pt>
          <cx:pt idx="52356">3</cx:pt>
          <cx:pt idx="52357">1</cx:pt>
          <cx:pt idx="52358">3</cx:pt>
          <cx:pt idx="52359">3</cx:pt>
          <cx:pt idx="52360">0</cx:pt>
          <cx:pt idx="52361">1</cx:pt>
          <cx:pt idx="52362">5</cx:pt>
          <cx:pt idx="52363">5</cx:pt>
          <cx:pt idx="52364">4</cx:pt>
          <cx:pt idx="52365">0</cx:pt>
          <cx:pt idx="52366">2</cx:pt>
          <cx:pt idx="52367">4</cx:pt>
          <cx:pt idx="52368">5</cx:pt>
          <cx:pt idx="52369">2</cx:pt>
          <cx:pt idx="52370">2</cx:pt>
          <cx:pt idx="52371">3</cx:pt>
          <cx:pt idx="52372">1</cx:pt>
          <cx:pt idx="52373">3</cx:pt>
          <cx:pt idx="52374">1</cx:pt>
          <cx:pt idx="52375">1</cx:pt>
          <cx:pt idx="52376">3</cx:pt>
          <cx:pt idx="52377">4</cx:pt>
          <cx:pt idx="52378">4</cx:pt>
          <cx:pt idx="52379">5</cx:pt>
          <cx:pt idx="52380">5</cx:pt>
          <cx:pt idx="52381">4</cx:pt>
          <cx:pt idx="52382">3</cx:pt>
          <cx:pt idx="52383">4</cx:pt>
          <cx:pt idx="52384">3</cx:pt>
          <cx:pt idx="52385">1</cx:pt>
          <cx:pt idx="52386">2</cx:pt>
          <cx:pt idx="52387">0</cx:pt>
          <cx:pt idx="52388">1</cx:pt>
          <cx:pt idx="52389">2</cx:pt>
          <cx:pt idx="52390">4</cx:pt>
          <cx:pt idx="52391">4</cx:pt>
          <cx:pt idx="52392">2</cx:pt>
          <cx:pt idx="52393">3</cx:pt>
          <cx:pt idx="52394">2</cx:pt>
          <cx:pt idx="52395">3</cx:pt>
          <cx:pt idx="52396">4</cx:pt>
          <cx:pt idx="52397">2</cx:pt>
          <cx:pt idx="52398">2</cx:pt>
          <cx:pt idx="52399">2</cx:pt>
          <cx:pt idx="52400">1</cx:pt>
          <cx:pt idx="52401">2</cx:pt>
          <cx:pt idx="52402">2</cx:pt>
          <cx:pt idx="52403">4</cx:pt>
          <cx:pt idx="52404">2</cx:pt>
          <cx:pt idx="52405">2</cx:pt>
          <cx:pt idx="52406">5</cx:pt>
          <cx:pt idx="52407">1</cx:pt>
          <cx:pt idx="52408">0</cx:pt>
          <cx:pt idx="52409">2</cx:pt>
          <cx:pt idx="52410">5</cx:pt>
          <cx:pt idx="52411">2</cx:pt>
          <cx:pt idx="52412">5</cx:pt>
          <cx:pt idx="52413">2</cx:pt>
          <cx:pt idx="52414">0</cx:pt>
          <cx:pt idx="52415">4</cx:pt>
          <cx:pt idx="52416">4</cx:pt>
          <cx:pt idx="52417">2</cx:pt>
          <cx:pt idx="52418">5</cx:pt>
          <cx:pt idx="52419">4</cx:pt>
          <cx:pt idx="52420">4</cx:pt>
          <cx:pt idx="52421">2</cx:pt>
          <cx:pt idx="52422">4</cx:pt>
          <cx:pt idx="52423">3</cx:pt>
          <cx:pt idx="52424">2</cx:pt>
          <cx:pt idx="52425">3</cx:pt>
          <cx:pt idx="52426">4</cx:pt>
          <cx:pt idx="52427">3</cx:pt>
          <cx:pt idx="52428">3</cx:pt>
          <cx:pt idx="52429">1</cx:pt>
          <cx:pt idx="52430">1</cx:pt>
          <cx:pt idx="52431">3</cx:pt>
          <cx:pt idx="52432">0</cx:pt>
          <cx:pt idx="52433">2</cx:pt>
          <cx:pt idx="52434">5</cx:pt>
          <cx:pt idx="52435">2</cx:pt>
          <cx:pt idx="52436">3</cx:pt>
          <cx:pt idx="52437">2</cx:pt>
          <cx:pt idx="52438">4</cx:pt>
          <cx:pt idx="52439">0</cx:pt>
          <cx:pt idx="52440">0</cx:pt>
          <cx:pt idx="52441">4</cx:pt>
          <cx:pt idx="52442">4</cx:pt>
          <cx:pt idx="52443">4</cx:pt>
          <cx:pt idx="52444">3</cx:pt>
          <cx:pt idx="52445">3</cx:pt>
          <cx:pt idx="52446">0</cx:pt>
          <cx:pt idx="52447">1</cx:pt>
          <cx:pt idx="52448">4</cx:pt>
          <cx:pt idx="52449">2</cx:pt>
          <cx:pt idx="52450">1</cx:pt>
          <cx:pt idx="52451">5</cx:pt>
          <cx:pt idx="52452">1</cx:pt>
          <cx:pt idx="52453">1</cx:pt>
          <cx:pt idx="52454">4</cx:pt>
          <cx:pt idx="52455">3</cx:pt>
          <cx:pt idx="52456">5</cx:pt>
          <cx:pt idx="52457">3</cx:pt>
          <cx:pt idx="52458">3</cx:pt>
          <cx:pt idx="52459">3</cx:pt>
          <cx:pt idx="52460">1</cx:pt>
          <cx:pt idx="52461">3</cx:pt>
          <cx:pt idx="52462">5</cx:pt>
          <cx:pt idx="52463">5</cx:pt>
          <cx:pt idx="52464">4</cx:pt>
          <cx:pt idx="52465">1</cx:pt>
          <cx:pt idx="52466">5</cx:pt>
          <cx:pt idx="52467">4</cx:pt>
          <cx:pt idx="52468">3</cx:pt>
          <cx:pt idx="52469">2</cx:pt>
          <cx:pt idx="52470">1</cx:pt>
          <cx:pt idx="52471">2</cx:pt>
          <cx:pt idx="52472">2</cx:pt>
          <cx:pt idx="52473">3</cx:pt>
          <cx:pt idx="52474">0</cx:pt>
          <cx:pt idx="52475">2</cx:pt>
          <cx:pt idx="52476">4</cx:pt>
          <cx:pt idx="52477">3</cx:pt>
          <cx:pt idx="52478">2</cx:pt>
          <cx:pt idx="52479">2</cx:pt>
          <cx:pt idx="52480">4</cx:pt>
          <cx:pt idx="52481">1</cx:pt>
          <cx:pt idx="52482">4</cx:pt>
          <cx:pt idx="52483">2</cx:pt>
          <cx:pt idx="52484">3</cx:pt>
          <cx:pt idx="52485">3</cx:pt>
          <cx:pt idx="52486">5</cx:pt>
          <cx:pt idx="52487">1</cx:pt>
          <cx:pt idx="52488">3</cx:pt>
          <cx:pt idx="52489">1</cx:pt>
          <cx:pt idx="52490">3</cx:pt>
          <cx:pt idx="52491">5</cx:pt>
          <cx:pt idx="52492">2</cx:pt>
          <cx:pt idx="52493">4</cx:pt>
          <cx:pt idx="52494">1</cx:pt>
          <cx:pt idx="52495">4</cx:pt>
          <cx:pt idx="52496">3</cx:pt>
          <cx:pt idx="52497">2</cx:pt>
          <cx:pt idx="52498">3</cx:pt>
          <cx:pt idx="52499">1</cx:pt>
          <cx:pt idx="52500">1</cx:pt>
          <cx:pt idx="52501">4</cx:pt>
          <cx:pt idx="52502">1</cx:pt>
          <cx:pt idx="52503">1</cx:pt>
          <cx:pt idx="52504">3</cx:pt>
          <cx:pt idx="52505">4</cx:pt>
          <cx:pt idx="52506">3</cx:pt>
          <cx:pt idx="52507">1</cx:pt>
          <cx:pt idx="52508">3</cx:pt>
          <cx:pt idx="52509">3</cx:pt>
          <cx:pt idx="52510">2</cx:pt>
          <cx:pt idx="52511">5</cx:pt>
          <cx:pt idx="52512">0</cx:pt>
          <cx:pt idx="52513">5</cx:pt>
          <cx:pt idx="52514">4</cx:pt>
          <cx:pt idx="52515">3</cx:pt>
          <cx:pt idx="52516">3</cx:pt>
          <cx:pt idx="52517">3</cx:pt>
          <cx:pt idx="52518">2</cx:pt>
          <cx:pt idx="52519">5</cx:pt>
          <cx:pt idx="52520">4</cx:pt>
          <cx:pt idx="52521">2</cx:pt>
          <cx:pt idx="52522">1</cx:pt>
          <cx:pt idx="52523">4</cx:pt>
          <cx:pt idx="52524">3</cx:pt>
          <cx:pt idx="52525">5</cx:pt>
          <cx:pt idx="52526">5</cx:pt>
          <cx:pt idx="52527">2</cx:pt>
          <cx:pt idx="52528">4</cx:pt>
          <cx:pt idx="52529">2</cx:pt>
          <cx:pt idx="52530">1</cx:pt>
          <cx:pt idx="52531">0</cx:pt>
          <cx:pt idx="52532">3</cx:pt>
          <cx:pt idx="52533">3</cx:pt>
          <cx:pt idx="52534">2</cx:pt>
          <cx:pt idx="52535">2</cx:pt>
          <cx:pt idx="52536">3</cx:pt>
          <cx:pt idx="52537">5</cx:pt>
          <cx:pt idx="52538">4</cx:pt>
          <cx:pt idx="52539">5</cx:pt>
          <cx:pt idx="52540">2</cx:pt>
          <cx:pt idx="52541">1</cx:pt>
          <cx:pt idx="52542">2</cx:pt>
          <cx:pt idx="52543">3</cx:pt>
          <cx:pt idx="52544">3</cx:pt>
          <cx:pt idx="52545">3</cx:pt>
          <cx:pt idx="52546">1</cx:pt>
          <cx:pt idx="52547">4</cx:pt>
          <cx:pt idx="52548">5</cx:pt>
          <cx:pt idx="52549">0</cx:pt>
          <cx:pt idx="52550">3</cx:pt>
          <cx:pt idx="52551">5</cx:pt>
          <cx:pt idx="52552">1</cx:pt>
          <cx:pt idx="52553">3</cx:pt>
          <cx:pt idx="52554">3</cx:pt>
          <cx:pt idx="52555">3</cx:pt>
          <cx:pt idx="52556">4</cx:pt>
          <cx:pt idx="52557">2</cx:pt>
          <cx:pt idx="52558">5</cx:pt>
          <cx:pt idx="52559">1</cx:pt>
          <cx:pt idx="52560">5</cx:pt>
          <cx:pt idx="52561">4</cx:pt>
          <cx:pt idx="52562">2</cx:pt>
          <cx:pt idx="52563">3</cx:pt>
          <cx:pt idx="52564">5</cx:pt>
          <cx:pt idx="52565">4</cx:pt>
          <cx:pt idx="52566">4</cx:pt>
          <cx:pt idx="52567">5</cx:pt>
          <cx:pt idx="52568">4</cx:pt>
          <cx:pt idx="52569">4</cx:pt>
          <cx:pt idx="52570">2</cx:pt>
          <cx:pt idx="52571">5</cx:pt>
          <cx:pt idx="52572">3</cx:pt>
          <cx:pt idx="52573">2</cx:pt>
          <cx:pt idx="52574">4</cx:pt>
          <cx:pt idx="52575">1</cx:pt>
          <cx:pt idx="52576">2</cx:pt>
          <cx:pt idx="52577">2</cx:pt>
          <cx:pt idx="52578">3</cx:pt>
          <cx:pt idx="52579">2</cx:pt>
          <cx:pt idx="52580">1</cx:pt>
          <cx:pt idx="52581">3</cx:pt>
          <cx:pt idx="52582">2</cx:pt>
          <cx:pt idx="52583">4</cx:pt>
          <cx:pt idx="52584">5</cx:pt>
          <cx:pt idx="52585">3</cx:pt>
          <cx:pt idx="52586">5</cx:pt>
          <cx:pt idx="52587">3</cx:pt>
          <cx:pt idx="52588">1</cx:pt>
          <cx:pt idx="52589">1</cx:pt>
          <cx:pt idx="52590">5</cx:pt>
          <cx:pt idx="52591">4</cx:pt>
          <cx:pt idx="52592">2</cx:pt>
          <cx:pt idx="52593">3</cx:pt>
          <cx:pt idx="52594">3</cx:pt>
          <cx:pt idx="52595">2</cx:pt>
          <cx:pt idx="52596">3</cx:pt>
          <cx:pt idx="52597">2</cx:pt>
          <cx:pt idx="52598">1</cx:pt>
          <cx:pt idx="52599">4</cx:pt>
          <cx:pt idx="52600">4</cx:pt>
          <cx:pt idx="52601">1</cx:pt>
          <cx:pt idx="52602">2</cx:pt>
          <cx:pt idx="52603">1</cx:pt>
          <cx:pt idx="52604">1</cx:pt>
          <cx:pt idx="52605">3</cx:pt>
          <cx:pt idx="52606">5</cx:pt>
          <cx:pt idx="52607">4</cx:pt>
          <cx:pt idx="52608">2</cx:pt>
          <cx:pt idx="52609">4</cx:pt>
          <cx:pt idx="52610">3</cx:pt>
          <cx:pt idx="52611">4</cx:pt>
          <cx:pt idx="52612">1</cx:pt>
          <cx:pt idx="52613">3</cx:pt>
          <cx:pt idx="52614">1</cx:pt>
          <cx:pt idx="52615">5</cx:pt>
          <cx:pt idx="52616">5</cx:pt>
          <cx:pt idx="52617">0</cx:pt>
          <cx:pt idx="52618">2</cx:pt>
          <cx:pt idx="52619">4</cx:pt>
          <cx:pt idx="52620">2</cx:pt>
          <cx:pt idx="52621">4</cx:pt>
          <cx:pt idx="52622">5</cx:pt>
          <cx:pt idx="52623">2</cx:pt>
          <cx:pt idx="52624">0</cx:pt>
          <cx:pt idx="52625">4</cx:pt>
          <cx:pt idx="52626">0</cx:pt>
          <cx:pt idx="52627">0</cx:pt>
          <cx:pt idx="52628">1</cx:pt>
          <cx:pt idx="52629">5</cx:pt>
          <cx:pt idx="52630">2</cx:pt>
          <cx:pt idx="52631">3</cx:pt>
          <cx:pt idx="52632">5</cx:pt>
          <cx:pt idx="52633">2</cx:pt>
          <cx:pt idx="52634">3</cx:pt>
          <cx:pt idx="52635">2</cx:pt>
          <cx:pt idx="52636">1</cx:pt>
          <cx:pt idx="52637">1</cx:pt>
          <cx:pt idx="52638">2</cx:pt>
          <cx:pt idx="52639">2</cx:pt>
          <cx:pt idx="52640">2</cx:pt>
          <cx:pt idx="52641">1</cx:pt>
          <cx:pt idx="52642">2</cx:pt>
          <cx:pt idx="52643">0</cx:pt>
          <cx:pt idx="52644">3</cx:pt>
          <cx:pt idx="52645">1</cx:pt>
          <cx:pt idx="52646">4</cx:pt>
          <cx:pt idx="52647">3</cx:pt>
          <cx:pt idx="52648">5</cx:pt>
          <cx:pt idx="52649">1</cx:pt>
          <cx:pt idx="52650">2</cx:pt>
          <cx:pt idx="52651">1</cx:pt>
          <cx:pt idx="52652">5</cx:pt>
          <cx:pt idx="52653">2</cx:pt>
          <cx:pt idx="52654">4</cx:pt>
          <cx:pt idx="52655">1</cx:pt>
          <cx:pt idx="52656">3</cx:pt>
          <cx:pt idx="52657">4</cx:pt>
          <cx:pt idx="52658">0</cx:pt>
          <cx:pt idx="52659">1</cx:pt>
          <cx:pt idx="52660">3</cx:pt>
          <cx:pt idx="52661">2</cx:pt>
          <cx:pt idx="52662">2</cx:pt>
          <cx:pt idx="52663">3</cx:pt>
          <cx:pt idx="52664">2</cx:pt>
          <cx:pt idx="52665">4</cx:pt>
          <cx:pt idx="52666">4</cx:pt>
          <cx:pt idx="52667">3</cx:pt>
          <cx:pt idx="52668">3</cx:pt>
          <cx:pt idx="52669">0</cx:pt>
          <cx:pt idx="52670">3</cx:pt>
          <cx:pt idx="52671">3</cx:pt>
          <cx:pt idx="52672">2</cx:pt>
          <cx:pt idx="52673">4</cx:pt>
          <cx:pt idx="52674">3</cx:pt>
          <cx:pt idx="52675">2</cx:pt>
          <cx:pt idx="52676">3</cx:pt>
          <cx:pt idx="52677">5</cx:pt>
          <cx:pt idx="52678">3</cx:pt>
          <cx:pt idx="52679">4</cx:pt>
          <cx:pt idx="52680">3</cx:pt>
          <cx:pt idx="52681">5</cx:pt>
          <cx:pt idx="52682">5</cx:pt>
          <cx:pt idx="52683">4</cx:pt>
          <cx:pt idx="52684">1</cx:pt>
          <cx:pt idx="52685">3</cx:pt>
          <cx:pt idx="52686">1</cx:pt>
          <cx:pt idx="52687">0</cx:pt>
          <cx:pt idx="52688">4</cx:pt>
          <cx:pt idx="52689">4</cx:pt>
          <cx:pt idx="52690">5</cx:pt>
          <cx:pt idx="52691">3</cx:pt>
          <cx:pt idx="52692">5</cx:pt>
          <cx:pt idx="52693">2</cx:pt>
          <cx:pt idx="52694">4</cx:pt>
          <cx:pt idx="52695">5</cx:pt>
          <cx:pt idx="52696">1</cx:pt>
          <cx:pt idx="52697">1</cx:pt>
          <cx:pt idx="52698">2</cx:pt>
          <cx:pt idx="52699">1</cx:pt>
          <cx:pt idx="52700">0</cx:pt>
          <cx:pt idx="52701">1</cx:pt>
          <cx:pt idx="52702">3</cx:pt>
          <cx:pt idx="52703">4</cx:pt>
          <cx:pt idx="52704">5</cx:pt>
          <cx:pt idx="52705">2</cx:pt>
          <cx:pt idx="52706">3</cx:pt>
          <cx:pt idx="52707">3</cx:pt>
          <cx:pt idx="52708">4</cx:pt>
          <cx:pt idx="52709">4</cx:pt>
          <cx:pt idx="52710">4</cx:pt>
          <cx:pt idx="52711">5</cx:pt>
          <cx:pt idx="52712">5</cx:pt>
          <cx:pt idx="52713">3</cx:pt>
          <cx:pt idx="52714">5</cx:pt>
          <cx:pt idx="52715">4</cx:pt>
          <cx:pt idx="52716">3</cx:pt>
          <cx:pt idx="52717">3</cx:pt>
          <cx:pt idx="52718">3</cx:pt>
          <cx:pt idx="52719">1</cx:pt>
          <cx:pt idx="52720">2</cx:pt>
          <cx:pt idx="52721">5</cx:pt>
          <cx:pt idx="52722">3</cx:pt>
          <cx:pt idx="52723">5</cx:pt>
          <cx:pt idx="52724">4</cx:pt>
          <cx:pt idx="52725">2</cx:pt>
          <cx:pt idx="52726">1</cx:pt>
          <cx:pt idx="52727">0</cx:pt>
          <cx:pt idx="52728">5</cx:pt>
          <cx:pt idx="52729">4</cx:pt>
          <cx:pt idx="52730">1</cx:pt>
          <cx:pt idx="52731">3</cx:pt>
          <cx:pt idx="52732">4</cx:pt>
          <cx:pt idx="52733">2</cx:pt>
          <cx:pt idx="52734">2</cx:pt>
          <cx:pt idx="52735">1</cx:pt>
          <cx:pt idx="52736">3</cx:pt>
          <cx:pt idx="52737">3</cx:pt>
          <cx:pt idx="52738">3</cx:pt>
          <cx:pt idx="52739">2</cx:pt>
          <cx:pt idx="52740">2</cx:pt>
          <cx:pt idx="52741">5</cx:pt>
          <cx:pt idx="52742">1</cx:pt>
          <cx:pt idx="52743">4</cx:pt>
          <cx:pt idx="52744">0</cx:pt>
          <cx:pt idx="52745">4</cx:pt>
          <cx:pt idx="52746">4</cx:pt>
          <cx:pt idx="52747">2</cx:pt>
          <cx:pt idx="52748">3</cx:pt>
          <cx:pt idx="52749">2</cx:pt>
          <cx:pt idx="52750">3</cx:pt>
          <cx:pt idx="52751">2</cx:pt>
          <cx:pt idx="52752">2</cx:pt>
          <cx:pt idx="52753">5</cx:pt>
          <cx:pt idx="52754">1</cx:pt>
          <cx:pt idx="52755">1</cx:pt>
          <cx:pt idx="52756">2</cx:pt>
          <cx:pt idx="52757">5</cx:pt>
          <cx:pt idx="52758">4</cx:pt>
          <cx:pt idx="52759">4</cx:pt>
          <cx:pt idx="52760">4</cx:pt>
          <cx:pt idx="52761">2</cx:pt>
          <cx:pt idx="52762">1</cx:pt>
          <cx:pt idx="52763">3</cx:pt>
          <cx:pt idx="52764">2</cx:pt>
          <cx:pt idx="52765">2</cx:pt>
          <cx:pt idx="52766">4</cx:pt>
          <cx:pt idx="52767">4</cx:pt>
          <cx:pt idx="52768">0</cx:pt>
          <cx:pt idx="52769">0</cx:pt>
          <cx:pt idx="52770">2</cx:pt>
          <cx:pt idx="52771">4</cx:pt>
          <cx:pt idx="52772">2</cx:pt>
          <cx:pt idx="52773">1</cx:pt>
          <cx:pt idx="52774">2</cx:pt>
          <cx:pt idx="52775">4</cx:pt>
          <cx:pt idx="52776">5</cx:pt>
          <cx:pt idx="52777">3</cx:pt>
          <cx:pt idx="52778">2</cx:pt>
          <cx:pt idx="52779">1</cx:pt>
          <cx:pt idx="52780">3</cx:pt>
          <cx:pt idx="52781">5</cx:pt>
          <cx:pt idx="52782">2</cx:pt>
          <cx:pt idx="52783">2</cx:pt>
          <cx:pt idx="52784">5</cx:pt>
          <cx:pt idx="52785">4</cx:pt>
          <cx:pt idx="52786">1</cx:pt>
          <cx:pt idx="52787">5</cx:pt>
          <cx:pt idx="52788">3</cx:pt>
          <cx:pt idx="52789">1</cx:pt>
          <cx:pt idx="52790">5</cx:pt>
          <cx:pt idx="52791">4</cx:pt>
          <cx:pt idx="52792">3</cx:pt>
          <cx:pt idx="52793">1</cx:pt>
          <cx:pt idx="52794">4</cx:pt>
          <cx:pt idx="52795">2</cx:pt>
          <cx:pt idx="52796">1</cx:pt>
          <cx:pt idx="52797">4</cx:pt>
          <cx:pt idx="52798">0</cx:pt>
          <cx:pt idx="52799">2</cx:pt>
          <cx:pt idx="52800">1</cx:pt>
          <cx:pt idx="52801">3</cx:pt>
          <cx:pt idx="52802">3</cx:pt>
          <cx:pt idx="52803">3</cx:pt>
          <cx:pt idx="52804">1</cx:pt>
          <cx:pt idx="52805">5</cx:pt>
          <cx:pt idx="52806">5</cx:pt>
          <cx:pt idx="52807">5</cx:pt>
          <cx:pt idx="52808">4</cx:pt>
          <cx:pt idx="52809">3</cx:pt>
          <cx:pt idx="52810">3</cx:pt>
          <cx:pt idx="52811">5</cx:pt>
          <cx:pt idx="52812">2</cx:pt>
          <cx:pt idx="52813">4</cx:pt>
          <cx:pt idx="52814">5</cx:pt>
          <cx:pt idx="52815">0</cx:pt>
          <cx:pt idx="52816">1</cx:pt>
          <cx:pt idx="52817">5</cx:pt>
          <cx:pt idx="52818">3</cx:pt>
          <cx:pt idx="52819">5</cx:pt>
          <cx:pt idx="52820">3</cx:pt>
          <cx:pt idx="52821">4</cx:pt>
          <cx:pt idx="52822">5</cx:pt>
          <cx:pt idx="52823">5</cx:pt>
          <cx:pt idx="52824">5</cx:pt>
          <cx:pt idx="52825">5</cx:pt>
          <cx:pt idx="52826">1</cx:pt>
          <cx:pt idx="52827">3</cx:pt>
          <cx:pt idx="52828">1</cx:pt>
          <cx:pt idx="52829">4</cx:pt>
          <cx:pt idx="52830">2</cx:pt>
          <cx:pt idx="52831">3</cx:pt>
          <cx:pt idx="52832">0</cx:pt>
          <cx:pt idx="52833">3</cx:pt>
          <cx:pt idx="52834">5</cx:pt>
          <cx:pt idx="52835">3</cx:pt>
          <cx:pt idx="52836">4</cx:pt>
          <cx:pt idx="52837">3</cx:pt>
          <cx:pt idx="52838">1</cx:pt>
          <cx:pt idx="52839">4</cx:pt>
          <cx:pt idx="52840">5</cx:pt>
          <cx:pt idx="52841">1</cx:pt>
          <cx:pt idx="52842">2</cx:pt>
          <cx:pt idx="52843">5</cx:pt>
          <cx:pt idx="52844">2</cx:pt>
          <cx:pt idx="52845">5</cx:pt>
          <cx:pt idx="52846">5</cx:pt>
          <cx:pt idx="52847">3</cx:pt>
          <cx:pt idx="52848">3</cx:pt>
          <cx:pt idx="52849">3</cx:pt>
          <cx:pt idx="52850">4</cx:pt>
          <cx:pt idx="52851">1</cx:pt>
          <cx:pt idx="52852">4</cx:pt>
          <cx:pt idx="52853">3</cx:pt>
          <cx:pt idx="52854">2</cx:pt>
          <cx:pt idx="52855">4</cx:pt>
          <cx:pt idx="52856">0</cx:pt>
          <cx:pt idx="52857">4</cx:pt>
          <cx:pt idx="52858">4</cx:pt>
          <cx:pt idx="52859">3</cx:pt>
          <cx:pt idx="52860">3</cx:pt>
          <cx:pt idx="52861">1</cx:pt>
          <cx:pt idx="52862">4</cx:pt>
          <cx:pt idx="52863">2</cx:pt>
          <cx:pt idx="52864">4</cx:pt>
          <cx:pt idx="52865">1</cx:pt>
          <cx:pt idx="52866">1</cx:pt>
          <cx:pt idx="52867">5</cx:pt>
          <cx:pt idx="52868">1</cx:pt>
          <cx:pt idx="52869">2</cx:pt>
          <cx:pt idx="52870">3</cx:pt>
          <cx:pt idx="52871">4</cx:pt>
          <cx:pt idx="52872">3</cx:pt>
          <cx:pt idx="52873">2</cx:pt>
          <cx:pt idx="52874">4</cx:pt>
          <cx:pt idx="52875">5</cx:pt>
          <cx:pt idx="52876">3</cx:pt>
          <cx:pt idx="52877">2</cx:pt>
          <cx:pt idx="52878">1</cx:pt>
          <cx:pt idx="52879">3</cx:pt>
          <cx:pt idx="52880">3</cx:pt>
          <cx:pt idx="52881">2</cx:pt>
          <cx:pt idx="52882">1</cx:pt>
          <cx:pt idx="52883">4</cx:pt>
          <cx:pt idx="52884">3</cx:pt>
          <cx:pt idx="52885">1</cx:pt>
          <cx:pt idx="52886">1</cx:pt>
          <cx:pt idx="52887">2</cx:pt>
          <cx:pt idx="52888">4</cx:pt>
          <cx:pt idx="52889">4</cx:pt>
          <cx:pt idx="52890">4</cx:pt>
          <cx:pt idx="52891">5</cx:pt>
          <cx:pt idx="52892">0</cx:pt>
          <cx:pt idx="52893">2</cx:pt>
          <cx:pt idx="52894">4</cx:pt>
          <cx:pt idx="52895">3</cx:pt>
          <cx:pt idx="52896">4</cx:pt>
          <cx:pt idx="52897">2</cx:pt>
          <cx:pt idx="52898">5</cx:pt>
          <cx:pt idx="52899">2</cx:pt>
          <cx:pt idx="52900">3</cx:pt>
          <cx:pt idx="52901">2</cx:pt>
          <cx:pt idx="52902">1</cx:pt>
          <cx:pt idx="52903">2</cx:pt>
          <cx:pt idx="52904">5</cx:pt>
          <cx:pt idx="52905">1</cx:pt>
          <cx:pt idx="52906">2</cx:pt>
          <cx:pt idx="52907">2</cx:pt>
          <cx:pt idx="52908">4</cx:pt>
          <cx:pt idx="52909">3</cx:pt>
          <cx:pt idx="52910">3</cx:pt>
          <cx:pt idx="52911">1</cx:pt>
          <cx:pt idx="52912">2</cx:pt>
          <cx:pt idx="52913">4</cx:pt>
          <cx:pt idx="52914">0</cx:pt>
          <cx:pt idx="52915">4</cx:pt>
          <cx:pt idx="52916">1</cx:pt>
          <cx:pt idx="52917">2</cx:pt>
          <cx:pt idx="52918">5</cx:pt>
          <cx:pt idx="52919">3</cx:pt>
          <cx:pt idx="52920">4</cx:pt>
          <cx:pt idx="52921">2</cx:pt>
          <cx:pt idx="52922">3</cx:pt>
          <cx:pt idx="52923">1</cx:pt>
          <cx:pt idx="52924">3</cx:pt>
          <cx:pt idx="52925">3</cx:pt>
          <cx:pt idx="52926">4</cx:pt>
          <cx:pt idx="52927">4</cx:pt>
          <cx:pt idx="52928">4</cx:pt>
          <cx:pt idx="52929">5</cx:pt>
          <cx:pt idx="52930">4</cx:pt>
          <cx:pt idx="52931">2</cx:pt>
          <cx:pt idx="52932">4</cx:pt>
          <cx:pt idx="52933">4</cx:pt>
          <cx:pt idx="52934">3</cx:pt>
          <cx:pt idx="52935">1</cx:pt>
          <cx:pt idx="52936">3</cx:pt>
          <cx:pt idx="52937">4</cx:pt>
          <cx:pt idx="52938">0</cx:pt>
          <cx:pt idx="52939">2</cx:pt>
          <cx:pt idx="52940">2</cx:pt>
          <cx:pt idx="52941">1</cx:pt>
          <cx:pt idx="52942">4</cx:pt>
          <cx:pt idx="52943">1</cx:pt>
          <cx:pt idx="52944">1</cx:pt>
          <cx:pt idx="52945">1</cx:pt>
          <cx:pt idx="52946">5</cx:pt>
          <cx:pt idx="52947">1</cx:pt>
          <cx:pt idx="52948">3</cx:pt>
          <cx:pt idx="52949">2</cx:pt>
          <cx:pt idx="52950">4</cx:pt>
          <cx:pt idx="52951">4</cx:pt>
          <cx:pt idx="52952">2</cx:pt>
          <cx:pt idx="52953">5</cx:pt>
          <cx:pt idx="52954">2</cx:pt>
          <cx:pt idx="52955">5</cx:pt>
          <cx:pt idx="52956">2</cx:pt>
          <cx:pt idx="52957">2</cx:pt>
          <cx:pt idx="52958">0</cx:pt>
          <cx:pt idx="52959">1</cx:pt>
          <cx:pt idx="52960">1</cx:pt>
          <cx:pt idx="52961">1</cx:pt>
          <cx:pt idx="52962">4</cx:pt>
          <cx:pt idx="52963">3</cx:pt>
          <cx:pt idx="52964">2</cx:pt>
          <cx:pt idx="52965">3</cx:pt>
          <cx:pt idx="52966">3</cx:pt>
          <cx:pt idx="52967">3</cx:pt>
          <cx:pt idx="52968">2</cx:pt>
          <cx:pt idx="52969">3</cx:pt>
          <cx:pt idx="52970">4</cx:pt>
          <cx:pt idx="52971">2</cx:pt>
          <cx:pt idx="52972">2</cx:pt>
          <cx:pt idx="52973">2</cx:pt>
          <cx:pt idx="52974">4</cx:pt>
          <cx:pt idx="52975">2</cx:pt>
          <cx:pt idx="52976">2</cx:pt>
          <cx:pt idx="52977">4</cx:pt>
          <cx:pt idx="52978">2</cx:pt>
          <cx:pt idx="52979">1</cx:pt>
          <cx:pt idx="52980">3</cx:pt>
          <cx:pt idx="52981">3</cx:pt>
          <cx:pt idx="52982">1</cx:pt>
          <cx:pt idx="52983">5</cx:pt>
          <cx:pt idx="52984">3</cx:pt>
          <cx:pt idx="52985">2</cx:pt>
          <cx:pt idx="52986">3</cx:pt>
          <cx:pt idx="52987">5</cx:pt>
          <cx:pt idx="52988">5</cx:pt>
          <cx:pt idx="52989">5</cx:pt>
          <cx:pt idx="52990">3</cx:pt>
          <cx:pt idx="52991">4</cx:pt>
          <cx:pt idx="52992">3</cx:pt>
          <cx:pt idx="52993">4</cx:pt>
          <cx:pt idx="52994">5</cx:pt>
          <cx:pt idx="52995">0</cx:pt>
          <cx:pt idx="52996">0</cx:pt>
          <cx:pt idx="52997">4</cx:pt>
          <cx:pt idx="52998">1</cx:pt>
          <cx:pt idx="52999">4</cx:pt>
          <cx:pt idx="53000">3</cx:pt>
          <cx:pt idx="53001">3</cx:pt>
          <cx:pt idx="53002">3</cx:pt>
          <cx:pt idx="53003">5</cx:pt>
          <cx:pt idx="53004">0</cx:pt>
          <cx:pt idx="53005">2</cx:pt>
          <cx:pt idx="53006">0</cx:pt>
          <cx:pt idx="53007">4</cx:pt>
          <cx:pt idx="53008">1</cx:pt>
          <cx:pt idx="53009">3</cx:pt>
          <cx:pt idx="53010">1</cx:pt>
          <cx:pt idx="53011">3</cx:pt>
          <cx:pt idx="53012">4</cx:pt>
          <cx:pt idx="53013">2</cx:pt>
          <cx:pt idx="53014">2</cx:pt>
          <cx:pt idx="53015">2</cx:pt>
          <cx:pt idx="53016">4</cx:pt>
          <cx:pt idx="53017">2</cx:pt>
          <cx:pt idx="53018">1</cx:pt>
          <cx:pt idx="53019">4</cx:pt>
          <cx:pt idx="53020">4</cx:pt>
          <cx:pt idx="53021">3</cx:pt>
          <cx:pt idx="53022">1</cx:pt>
          <cx:pt idx="53023">2</cx:pt>
          <cx:pt idx="53024">5</cx:pt>
          <cx:pt idx="53025">1</cx:pt>
          <cx:pt idx="53026">5</cx:pt>
          <cx:pt idx="53027">2</cx:pt>
          <cx:pt idx="53028">4</cx:pt>
          <cx:pt idx="53029">3</cx:pt>
          <cx:pt idx="53030">2</cx:pt>
          <cx:pt idx="53031">3</cx:pt>
          <cx:pt idx="53032">3</cx:pt>
          <cx:pt idx="53033">3</cx:pt>
          <cx:pt idx="53034">1</cx:pt>
          <cx:pt idx="53035">5</cx:pt>
          <cx:pt idx="53036">5</cx:pt>
          <cx:pt idx="53037">2</cx:pt>
          <cx:pt idx="53038">5</cx:pt>
          <cx:pt idx="53039">3</cx:pt>
          <cx:pt idx="53040">2</cx:pt>
          <cx:pt idx="53041">1</cx:pt>
          <cx:pt idx="53042">3</cx:pt>
          <cx:pt idx="53043">1</cx:pt>
          <cx:pt idx="53044">4</cx:pt>
          <cx:pt idx="53045">2</cx:pt>
          <cx:pt idx="53046">2</cx:pt>
          <cx:pt idx="53047">4</cx:pt>
          <cx:pt idx="53048">1</cx:pt>
          <cx:pt idx="53049">3</cx:pt>
          <cx:pt idx="53050">5</cx:pt>
          <cx:pt idx="53051">2</cx:pt>
          <cx:pt idx="53052">3</cx:pt>
          <cx:pt idx="53053">1</cx:pt>
          <cx:pt idx="53054">4</cx:pt>
          <cx:pt idx="53055">3</cx:pt>
          <cx:pt idx="53056">5</cx:pt>
          <cx:pt idx="53057">3</cx:pt>
          <cx:pt idx="53058">2</cx:pt>
          <cx:pt idx="53059">5</cx:pt>
          <cx:pt idx="53060">2</cx:pt>
          <cx:pt idx="53061">3</cx:pt>
          <cx:pt idx="53062">4</cx:pt>
          <cx:pt idx="53063">5</cx:pt>
          <cx:pt idx="53064">0</cx:pt>
          <cx:pt idx="53065">2</cx:pt>
          <cx:pt idx="53066">2</cx:pt>
          <cx:pt idx="53067">2</cx:pt>
          <cx:pt idx="53068">1</cx:pt>
          <cx:pt idx="53069">3</cx:pt>
          <cx:pt idx="53070">5</cx:pt>
          <cx:pt idx="53071">3</cx:pt>
          <cx:pt idx="53072">1</cx:pt>
          <cx:pt idx="53073">5</cx:pt>
          <cx:pt idx="53074">4</cx:pt>
          <cx:pt idx="53075">2</cx:pt>
          <cx:pt idx="53076">2</cx:pt>
          <cx:pt idx="53077">1</cx:pt>
          <cx:pt idx="53078">2</cx:pt>
          <cx:pt idx="53079">5</cx:pt>
          <cx:pt idx="53080">5</cx:pt>
          <cx:pt idx="53081">1</cx:pt>
          <cx:pt idx="53082">1</cx:pt>
          <cx:pt idx="53083">4</cx:pt>
          <cx:pt idx="53084">5</cx:pt>
          <cx:pt idx="53085">4</cx:pt>
          <cx:pt idx="53086">1</cx:pt>
          <cx:pt idx="53087">0</cx:pt>
          <cx:pt idx="53088">3</cx:pt>
          <cx:pt idx="53089">4</cx:pt>
          <cx:pt idx="53090">5</cx:pt>
          <cx:pt idx="53091">1</cx:pt>
          <cx:pt idx="53092">3</cx:pt>
          <cx:pt idx="53093">3</cx:pt>
          <cx:pt idx="53094">2</cx:pt>
          <cx:pt idx="53095">2</cx:pt>
          <cx:pt idx="53096">1</cx:pt>
          <cx:pt idx="53097">1</cx:pt>
          <cx:pt idx="53098">2</cx:pt>
          <cx:pt idx="53099">5</cx:pt>
          <cx:pt idx="53100">2</cx:pt>
          <cx:pt idx="53101">4</cx:pt>
          <cx:pt idx="53102">5</cx:pt>
          <cx:pt idx="53103">2</cx:pt>
          <cx:pt idx="53104">4</cx:pt>
          <cx:pt idx="53105">3</cx:pt>
          <cx:pt idx="53106">3</cx:pt>
          <cx:pt idx="53107">4</cx:pt>
          <cx:pt idx="53108">5</cx:pt>
          <cx:pt idx="53109">2</cx:pt>
          <cx:pt idx="53110">3</cx:pt>
          <cx:pt idx="53111">5</cx:pt>
          <cx:pt idx="53112">2</cx:pt>
          <cx:pt idx="53113">4</cx:pt>
          <cx:pt idx="53114">1</cx:pt>
          <cx:pt idx="53115">2</cx:pt>
          <cx:pt idx="53116">5</cx:pt>
          <cx:pt idx="53117">1</cx:pt>
          <cx:pt idx="53118">4</cx:pt>
          <cx:pt idx="53119">2</cx:pt>
          <cx:pt idx="53120">1</cx:pt>
          <cx:pt idx="53121">1</cx:pt>
          <cx:pt idx="53122">3</cx:pt>
          <cx:pt idx="53123">3</cx:pt>
          <cx:pt idx="53124">1</cx:pt>
          <cx:pt idx="53125">4</cx:pt>
          <cx:pt idx="53126">2</cx:pt>
          <cx:pt idx="53127">2</cx:pt>
          <cx:pt idx="53128">2</cx:pt>
          <cx:pt idx="53129">3</cx:pt>
          <cx:pt idx="53130">4</cx:pt>
          <cx:pt idx="53131">4</cx:pt>
          <cx:pt idx="53132">3</cx:pt>
          <cx:pt idx="53133">2</cx:pt>
          <cx:pt idx="53134">3</cx:pt>
          <cx:pt idx="53135">2</cx:pt>
          <cx:pt idx="53136">3</cx:pt>
          <cx:pt idx="53137">5</cx:pt>
          <cx:pt idx="53138">1</cx:pt>
          <cx:pt idx="53139">4</cx:pt>
          <cx:pt idx="53140">3</cx:pt>
          <cx:pt idx="53141">1</cx:pt>
          <cx:pt idx="53142">1</cx:pt>
          <cx:pt idx="53143">1</cx:pt>
          <cx:pt idx="53144">1</cx:pt>
          <cx:pt idx="53145">2</cx:pt>
          <cx:pt idx="53146">3</cx:pt>
          <cx:pt idx="53147">2</cx:pt>
          <cx:pt idx="53148">5</cx:pt>
          <cx:pt idx="53149">2</cx:pt>
          <cx:pt idx="53150">2</cx:pt>
          <cx:pt idx="53151">2</cx:pt>
          <cx:pt idx="53152">2</cx:pt>
          <cx:pt idx="53153">2</cx:pt>
          <cx:pt idx="53154">0</cx:pt>
          <cx:pt idx="53155">1</cx:pt>
          <cx:pt idx="53156">0</cx:pt>
          <cx:pt idx="53157">5</cx:pt>
          <cx:pt idx="53158">2</cx:pt>
          <cx:pt idx="53159">5</cx:pt>
          <cx:pt idx="53160">1</cx:pt>
          <cx:pt idx="53161">2</cx:pt>
          <cx:pt idx="53162">3</cx:pt>
          <cx:pt idx="53163">3</cx:pt>
          <cx:pt idx="53164">5</cx:pt>
          <cx:pt idx="53165">1</cx:pt>
          <cx:pt idx="53166">2</cx:pt>
          <cx:pt idx="53167">4</cx:pt>
          <cx:pt idx="53168">0</cx:pt>
          <cx:pt idx="53169">4</cx:pt>
          <cx:pt idx="53170">2</cx:pt>
          <cx:pt idx="53171">0</cx:pt>
          <cx:pt idx="53172">4</cx:pt>
          <cx:pt idx="53173">3</cx:pt>
          <cx:pt idx="53174">1</cx:pt>
          <cx:pt idx="53175">4</cx:pt>
          <cx:pt idx="53176">1</cx:pt>
          <cx:pt idx="53177">2</cx:pt>
          <cx:pt idx="53178">4</cx:pt>
          <cx:pt idx="53179">2</cx:pt>
          <cx:pt idx="53180">0</cx:pt>
          <cx:pt idx="53181">4</cx:pt>
          <cx:pt idx="53182">2</cx:pt>
          <cx:pt idx="53183">1</cx:pt>
          <cx:pt idx="53184">0</cx:pt>
          <cx:pt idx="53185">3</cx:pt>
          <cx:pt idx="53186">5</cx:pt>
          <cx:pt idx="53187">3</cx:pt>
          <cx:pt idx="53188">1</cx:pt>
          <cx:pt idx="53189">1</cx:pt>
          <cx:pt idx="53190">3</cx:pt>
          <cx:pt idx="53191">4</cx:pt>
          <cx:pt idx="53192">4</cx:pt>
          <cx:pt idx="53193">3</cx:pt>
          <cx:pt idx="53194">5</cx:pt>
          <cx:pt idx="53195">3</cx:pt>
          <cx:pt idx="53196">1</cx:pt>
          <cx:pt idx="53197">1</cx:pt>
          <cx:pt idx="53198">3</cx:pt>
          <cx:pt idx="53199">3</cx:pt>
          <cx:pt idx="53200">3</cx:pt>
          <cx:pt idx="53201">4</cx:pt>
          <cx:pt idx="53202">3</cx:pt>
          <cx:pt idx="53203">3</cx:pt>
          <cx:pt idx="53204">1</cx:pt>
          <cx:pt idx="53205">4</cx:pt>
          <cx:pt idx="53206">1</cx:pt>
          <cx:pt idx="53207">4</cx:pt>
          <cx:pt idx="53208">2</cx:pt>
          <cx:pt idx="53209">2</cx:pt>
          <cx:pt idx="53210">2</cx:pt>
          <cx:pt idx="53211">1</cx:pt>
          <cx:pt idx="53212">4</cx:pt>
          <cx:pt idx="53213">2</cx:pt>
          <cx:pt idx="53214">4</cx:pt>
          <cx:pt idx="53215">3</cx:pt>
          <cx:pt idx="53216">4</cx:pt>
          <cx:pt idx="53217">5</cx:pt>
          <cx:pt idx="53218">3</cx:pt>
          <cx:pt idx="53219">2</cx:pt>
          <cx:pt idx="53220">1</cx:pt>
          <cx:pt idx="53221">2</cx:pt>
          <cx:pt idx="53222">3</cx:pt>
          <cx:pt idx="53223">5</cx:pt>
          <cx:pt idx="53224">0</cx:pt>
          <cx:pt idx="53225">3</cx:pt>
          <cx:pt idx="53226">3</cx:pt>
          <cx:pt idx="53227">4</cx:pt>
          <cx:pt idx="53228">3</cx:pt>
          <cx:pt idx="53229">2</cx:pt>
          <cx:pt idx="53230">3</cx:pt>
          <cx:pt idx="53231">3</cx:pt>
          <cx:pt idx="53232">0</cx:pt>
          <cx:pt idx="53233">2</cx:pt>
          <cx:pt idx="53234">4</cx:pt>
          <cx:pt idx="53235">4</cx:pt>
          <cx:pt idx="53236">4</cx:pt>
          <cx:pt idx="53237">1</cx:pt>
          <cx:pt idx="53238">0</cx:pt>
          <cx:pt idx="53239">2</cx:pt>
          <cx:pt idx="53240">1</cx:pt>
          <cx:pt idx="53241">3</cx:pt>
          <cx:pt idx="53242">3</cx:pt>
          <cx:pt idx="53243">5</cx:pt>
          <cx:pt idx="53244">2</cx:pt>
          <cx:pt idx="53245">1</cx:pt>
          <cx:pt idx="53246">3</cx:pt>
          <cx:pt idx="53247">4</cx:pt>
          <cx:pt idx="53248">4</cx:pt>
          <cx:pt idx="53249">3</cx:pt>
          <cx:pt idx="53250">1</cx:pt>
          <cx:pt idx="53251">0</cx:pt>
          <cx:pt idx="53252">1</cx:pt>
          <cx:pt idx="53253">3</cx:pt>
          <cx:pt idx="53254">3</cx:pt>
          <cx:pt idx="53255">5</cx:pt>
          <cx:pt idx="53256">4</cx:pt>
          <cx:pt idx="53257">3</cx:pt>
          <cx:pt idx="53258">3</cx:pt>
          <cx:pt idx="53259">1</cx:pt>
          <cx:pt idx="53260">4</cx:pt>
          <cx:pt idx="53261">1</cx:pt>
          <cx:pt idx="53262">2</cx:pt>
          <cx:pt idx="53263">3</cx:pt>
          <cx:pt idx="53264">3</cx:pt>
          <cx:pt idx="53265">4</cx:pt>
          <cx:pt idx="53266">3</cx:pt>
          <cx:pt idx="53267">0</cx:pt>
          <cx:pt idx="53268">1</cx:pt>
          <cx:pt idx="53269">2</cx:pt>
          <cx:pt idx="53270">5</cx:pt>
          <cx:pt idx="53271">5</cx:pt>
          <cx:pt idx="53272">1</cx:pt>
          <cx:pt idx="53273">0</cx:pt>
          <cx:pt idx="53274">5</cx:pt>
          <cx:pt idx="53275">2</cx:pt>
          <cx:pt idx="53276">4</cx:pt>
          <cx:pt idx="53277">1</cx:pt>
          <cx:pt idx="53278">1</cx:pt>
          <cx:pt idx="53279">5</cx:pt>
          <cx:pt idx="53280">3</cx:pt>
          <cx:pt idx="53281">2</cx:pt>
          <cx:pt idx="53282">2</cx:pt>
          <cx:pt idx="53283">4</cx:pt>
          <cx:pt idx="53284">5</cx:pt>
          <cx:pt idx="53285">2</cx:pt>
          <cx:pt idx="53286">3</cx:pt>
          <cx:pt idx="53287">2</cx:pt>
          <cx:pt idx="53288">3</cx:pt>
          <cx:pt idx="53289">1</cx:pt>
          <cx:pt idx="53290">3</cx:pt>
          <cx:pt idx="53291">5</cx:pt>
          <cx:pt idx="53292">2</cx:pt>
          <cx:pt idx="53293">5</cx:pt>
          <cx:pt idx="53294">3</cx:pt>
          <cx:pt idx="53295">5</cx:pt>
          <cx:pt idx="53296">4</cx:pt>
          <cx:pt idx="53297">5</cx:pt>
          <cx:pt idx="53298">4</cx:pt>
          <cx:pt idx="53299">2</cx:pt>
          <cx:pt idx="53300">1</cx:pt>
          <cx:pt idx="53301">2</cx:pt>
          <cx:pt idx="53302">1</cx:pt>
          <cx:pt idx="53303">4</cx:pt>
          <cx:pt idx="53304">1</cx:pt>
          <cx:pt idx="53305">4</cx:pt>
          <cx:pt idx="53306">2</cx:pt>
          <cx:pt idx="53307">2</cx:pt>
          <cx:pt idx="53308">2</cx:pt>
          <cx:pt idx="53309">5</cx:pt>
          <cx:pt idx="53310">0</cx:pt>
          <cx:pt idx="53311">1</cx:pt>
          <cx:pt idx="53312">3</cx:pt>
          <cx:pt idx="53313">4</cx:pt>
          <cx:pt idx="53314">1</cx:pt>
          <cx:pt idx="53315">1</cx:pt>
          <cx:pt idx="53316">4</cx:pt>
          <cx:pt idx="53317">4</cx:pt>
          <cx:pt idx="53318">3</cx:pt>
          <cx:pt idx="53319">4</cx:pt>
          <cx:pt idx="53320">4</cx:pt>
          <cx:pt idx="53321">4</cx:pt>
          <cx:pt idx="53322">5</cx:pt>
          <cx:pt idx="53323">4</cx:pt>
          <cx:pt idx="53324">3</cx:pt>
          <cx:pt idx="53325">2</cx:pt>
          <cx:pt idx="53326">1</cx:pt>
          <cx:pt idx="53327">2</cx:pt>
          <cx:pt idx="53328">2</cx:pt>
          <cx:pt idx="53329">3</cx:pt>
          <cx:pt idx="53330">2</cx:pt>
          <cx:pt idx="53331">1</cx:pt>
          <cx:pt idx="53332">2</cx:pt>
          <cx:pt idx="53333">2</cx:pt>
          <cx:pt idx="53334">5</cx:pt>
          <cx:pt idx="53335">2</cx:pt>
          <cx:pt idx="53336">5</cx:pt>
          <cx:pt idx="53337">4</cx:pt>
          <cx:pt idx="53338">2</cx:pt>
          <cx:pt idx="53339">3</cx:pt>
          <cx:pt idx="53340">0</cx:pt>
          <cx:pt idx="53341">3</cx:pt>
          <cx:pt idx="53342">2</cx:pt>
          <cx:pt idx="53343">1</cx:pt>
          <cx:pt idx="53344">2</cx:pt>
          <cx:pt idx="53345">3</cx:pt>
          <cx:pt idx="53346">4</cx:pt>
          <cx:pt idx="53347">3</cx:pt>
          <cx:pt idx="53348">5</cx:pt>
          <cx:pt idx="53349">4</cx:pt>
          <cx:pt idx="53350">3</cx:pt>
          <cx:pt idx="53351">0</cx:pt>
          <cx:pt idx="53352">0</cx:pt>
          <cx:pt idx="53353">1</cx:pt>
          <cx:pt idx="53354">1</cx:pt>
          <cx:pt idx="53355">3</cx:pt>
          <cx:pt idx="53356">3</cx:pt>
          <cx:pt idx="53357">2</cx:pt>
          <cx:pt idx="53358">0</cx:pt>
          <cx:pt idx="53359">2</cx:pt>
          <cx:pt idx="53360">4</cx:pt>
          <cx:pt idx="53361">2</cx:pt>
          <cx:pt idx="53362">4</cx:pt>
          <cx:pt idx="53363">2</cx:pt>
          <cx:pt idx="53364">2</cx:pt>
          <cx:pt idx="53365">3</cx:pt>
          <cx:pt idx="53366">3</cx:pt>
          <cx:pt idx="53367">1</cx:pt>
          <cx:pt idx="53368">0</cx:pt>
          <cx:pt idx="53369">1</cx:pt>
          <cx:pt idx="53370">3</cx:pt>
          <cx:pt idx="53371">1</cx:pt>
          <cx:pt idx="53372">2</cx:pt>
          <cx:pt idx="53373">3</cx:pt>
          <cx:pt idx="53374">1</cx:pt>
          <cx:pt idx="53375">5</cx:pt>
          <cx:pt idx="53376">4</cx:pt>
          <cx:pt idx="53377">5</cx:pt>
          <cx:pt idx="53378">3</cx:pt>
          <cx:pt idx="53379">2</cx:pt>
          <cx:pt idx="53380">3</cx:pt>
          <cx:pt idx="53381">3</cx:pt>
          <cx:pt idx="53382">1</cx:pt>
          <cx:pt idx="53383">2</cx:pt>
          <cx:pt idx="53384">2</cx:pt>
          <cx:pt idx="53385">3</cx:pt>
          <cx:pt idx="53386">3</cx:pt>
          <cx:pt idx="53387">1</cx:pt>
          <cx:pt idx="53388">4</cx:pt>
          <cx:pt idx="53389">4</cx:pt>
          <cx:pt idx="53390">4</cx:pt>
          <cx:pt idx="53391">1</cx:pt>
          <cx:pt idx="53392">4</cx:pt>
          <cx:pt idx="53393">2</cx:pt>
          <cx:pt idx="53394">4</cx:pt>
          <cx:pt idx="53395">3</cx:pt>
          <cx:pt idx="53396">4</cx:pt>
          <cx:pt idx="53397">2</cx:pt>
          <cx:pt idx="53398">2</cx:pt>
          <cx:pt idx="53399">1</cx:pt>
          <cx:pt idx="53400">1</cx:pt>
          <cx:pt idx="53401">0</cx:pt>
          <cx:pt idx="53402">5</cx:pt>
          <cx:pt idx="53403">3</cx:pt>
          <cx:pt idx="53404">3</cx:pt>
          <cx:pt idx="53405">5</cx:pt>
          <cx:pt idx="53406">1</cx:pt>
          <cx:pt idx="53407">2</cx:pt>
          <cx:pt idx="53408">3</cx:pt>
          <cx:pt idx="53409">2</cx:pt>
          <cx:pt idx="53410">2</cx:pt>
          <cx:pt idx="53411">3</cx:pt>
          <cx:pt idx="53412">2</cx:pt>
          <cx:pt idx="53413">5</cx:pt>
          <cx:pt idx="53414">0</cx:pt>
          <cx:pt idx="53415">0</cx:pt>
          <cx:pt idx="53416">3</cx:pt>
          <cx:pt idx="53417">3</cx:pt>
          <cx:pt idx="53418">1</cx:pt>
          <cx:pt idx="53419">3</cx:pt>
          <cx:pt idx="53420">2</cx:pt>
          <cx:pt idx="53421">2</cx:pt>
          <cx:pt idx="53422">1</cx:pt>
          <cx:pt idx="53423">2</cx:pt>
          <cx:pt idx="53424">3</cx:pt>
          <cx:pt idx="53425">3</cx:pt>
          <cx:pt idx="53426">1</cx:pt>
          <cx:pt idx="53427">3</cx:pt>
          <cx:pt idx="53428">1</cx:pt>
          <cx:pt idx="53429">3</cx:pt>
          <cx:pt idx="53430">0</cx:pt>
          <cx:pt idx="53431">1</cx:pt>
          <cx:pt idx="53432">1</cx:pt>
          <cx:pt idx="53433">1</cx:pt>
          <cx:pt idx="53434">4</cx:pt>
          <cx:pt idx="53435">2</cx:pt>
          <cx:pt idx="53436">2</cx:pt>
          <cx:pt idx="53437">5</cx:pt>
          <cx:pt idx="53438">4</cx:pt>
          <cx:pt idx="53439">2</cx:pt>
          <cx:pt idx="53440">5</cx:pt>
          <cx:pt idx="53441">2</cx:pt>
          <cx:pt idx="53442">2</cx:pt>
          <cx:pt idx="53443">2</cx:pt>
          <cx:pt idx="53444">5</cx:pt>
          <cx:pt idx="53445">3</cx:pt>
          <cx:pt idx="53446">2</cx:pt>
          <cx:pt idx="53447">2</cx:pt>
          <cx:pt idx="53448">4</cx:pt>
          <cx:pt idx="53449">2</cx:pt>
          <cx:pt idx="53450">3</cx:pt>
          <cx:pt idx="53451">4</cx:pt>
          <cx:pt idx="53452">2</cx:pt>
          <cx:pt idx="53453">1</cx:pt>
          <cx:pt idx="53454">4</cx:pt>
          <cx:pt idx="53455">4</cx:pt>
          <cx:pt idx="53456">4</cx:pt>
          <cx:pt idx="53457">3</cx:pt>
          <cx:pt idx="53458">5</cx:pt>
          <cx:pt idx="53459">3</cx:pt>
          <cx:pt idx="53460">5</cx:pt>
          <cx:pt idx="53461">1</cx:pt>
          <cx:pt idx="53462">3</cx:pt>
          <cx:pt idx="53463">4</cx:pt>
          <cx:pt idx="53464">3</cx:pt>
          <cx:pt idx="53465">2</cx:pt>
          <cx:pt idx="53466">4</cx:pt>
          <cx:pt idx="53467">3</cx:pt>
          <cx:pt idx="53468">1</cx:pt>
          <cx:pt idx="53469">3</cx:pt>
          <cx:pt idx="53470">3</cx:pt>
          <cx:pt idx="53471">1</cx:pt>
          <cx:pt idx="53472">4</cx:pt>
          <cx:pt idx="53473">2</cx:pt>
          <cx:pt idx="53474">4</cx:pt>
          <cx:pt idx="53475">3</cx:pt>
          <cx:pt idx="53476">3</cx:pt>
          <cx:pt idx="53477">1</cx:pt>
          <cx:pt idx="53478">3</cx:pt>
          <cx:pt idx="53479">4</cx:pt>
          <cx:pt idx="53480">4</cx:pt>
          <cx:pt idx="53481">1</cx:pt>
          <cx:pt idx="53482">4</cx:pt>
          <cx:pt idx="53483">3</cx:pt>
          <cx:pt idx="53484">5</cx:pt>
          <cx:pt idx="53485">2</cx:pt>
          <cx:pt idx="53486">5</cx:pt>
          <cx:pt idx="53487">3</cx:pt>
          <cx:pt idx="53488">2</cx:pt>
          <cx:pt idx="53489">1</cx:pt>
          <cx:pt idx="53490">3</cx:pt>
          <cx:pt idx="53491">3</cx:pt>
          <cx:pt idx="53492">3</cx:pt>
          <cx:pt idx="53493">5</cx:pt>
          <cx:pt idx="53494">3</cx:pt>
          <cx:pt idx="53495">1</cx:pt>
          <cx:pt idx="53496">4</cx:pt>
          <cx:pt idx="53497">1</cx:pt>
          <cx:pt idx="53498">5</cx:pt>
          <cx:pt idx="53499">2</cx:pt>
          <cx:pt idx="53500">4</cx:pt>
          <cx:pt idx="53501">0</cx:pt>
          <cx:pt idx="53502">3</cx:pt>
          <cx:pt idx="53503">1</cx:pt>
          <cx:pt idx="53504">5</cx:pt>
          <cx:pt idx="53505">3</cx:pt>
          <cx:pt idx="53506">5</cx:pt>
          <cx:pt idx="53507">5</cx:pt>
          <cx:pt idx="53508">4</cx:pt>
          <cx:pt idx="53509">3</cx:pt>
          <cx:pt idx="53510">5</cx:pt>
          <cx:pt idx="53511">3</cx:pt>
          <cx:pt idx="53512">3</cx:pt>
          <cx:pt idx="53513">1</cx:pt>
          <cx:pt idx="53514">1</cx:pt>
          <cx:pt idx="53515">2</cx:pt>
          <cx:pt idx="53516">2</cx:pt>
          <cx:pt idx="53517">2</cx:pt>
          <cx:pt idx="53518">2</cx:pt>
          <cx:pt idx="53519">3</cx:pt>
          <cx:pt idx="53520">5</cx:pt>
          <cx:pt idx="53521">2</cx:pt>
          <cx:pt idx="53522">0</cx:pt>
          <cx:pt idx="53523">2</cx:pt>
          <cx:pt idx="53524">3</cx:pt>
          <cx:pt idx="53525">4</cx:pt>
          <cx:pt idx="53526">0</cx:pt>
          <cx:pt idx="53527">4</cx:pt>
          <cx:pt idx="53528">4</cx:pt>
          <cx:pt idx="53529">4</cx:pt>
          <cx:pt idx="53530">3</cx:pt>
          <cx:pt idx="53531">1</cx:pt>
          <cx:pt idx="53532">4</cx:pt>
          <cx:pt idx="53533">0</cx:pt>
          <cx:pt idx="53534">2</cx:pt>
          <cx:pt idx="53535">3</cx:pt>
          <cx:pt idx="53536">3</cx:pt>
          <cx:pt idx="53537">2</cx:pt>
          <cx:pt idx="53538">1</cx:pt>
          <cx:pt idx="53539">0</cx:pt>
          <cx:pt idx="53540">3</cx:pt>
          <cx:pt idx="53541">4</cx:pt>
          <cx:pt idx="53542">2</cx:pt>
          <cx:pt idx="53543">2</cx:pt>
          <cx:pt idx="53544">4</cx:pt>
          <cx:pt idx="53545">4</cx:pt>
          <cx:pt idx="53546">2</cx:pt>
          <cx:pt idx="53547">2</cx:pt>
          <cx:pt idx="53548">1</cx:pt>
          <cx:pt idx="53549">3</cx:pt>
          <cx:pt idx="53550">2</cx:pt>
          <cx:pt idx="53551">3</cx:pt>
          <cx:pt idx="53552">3</cx:pt>
          <cx:pt idx="53553">5</cx:pt>
          <cx:pt idx="53554">2</cx:pt>
          <cx:pt idx="53555">2</cx:pt>
          <cx:pt idx="53556">5</cx:pt>
          <cx:pt idx="53557">2</cx:pt>
          <cx:pt idx="53558">4</cx:pt>
          <cx:pt idx="53559">2</cx:pt>
          <cx:pt idx="53560">4</cx:pt>
          <cx:pt idx="53561">3</cx:pt>
          <cx:pt idx="53562">2</cx:pt>
          <cx:pt idx="53563">1</cx:pt>
          <cx:pt idx="53564">2</cx:pt>
          <cx:pt idx="53565">1</cx:pt>
          <cx:pt idx="53566">3</cx:pt>
          <cx:pt idx="53567">3</cx:pt>
          <cx:pt idx="53568">4</cx:pt>
          <cx:pt idx="53569">3</cx:pt>
          <cx:pt idx="53570">1</cx:pt>
          <cx:pt idx="53571">1</cx:pt>
          <cx:pt idx="53572">4</cx:pt>
          <cx:pt idx="53573">4</cx:pt>
          <cx:pt idx="53574">2</cx:pt>
          <cx:pt idx="53575">2</cx:pt>
          <cx:pt idx="53576">4</cx:pt>
          <cx:pt idx="53577">1</cx:pt>
          <cx:pt idx="53578">5</cx:pt>
          <cx:pt idx="53579">4</cx:pt>
          <cx:pt idx="53580">3</cx:pt>
          <cx:pt idx="53581">1</cx:pt>
          <cx:pt idx="53582">4</cx:pt>
          <cx:pt idx="53583">2</cx:pt>
          <cx:pt idx="53584">1</cx:pt>
          <cx:pt idx="53585">4</cx:pt>
          <cx:pt idx="53586">3</cx:pt>
          <cx:pt idx="53587">3</cx:pt>
          <cx:pt idx="53588">4</cx:pt>
          <cx:pt idx="53589">4</cx:pt>
          <cx:pt idx="53590">2</cx:pt>
          <cx:pt idx="53591">2</cx:pt>
          <cx:pt idx="53592">3</cx:pt>
          <cx:pt idx="53593">2</cx:pt>
          <cx:pt idx="53594">3</cx:pt>
          <cx:pt idx="53595">4</cx:pt>
          <cx:pt idx="53596">2</cx:pt>
          <cx:pt idx="53597">0</cx:pt>
          <cx:pt idx="53598">2</cx:pt>
          <cx:pt idx="53599">5</cx:pt>
          <cx:pt idx="53600">2</cx:pt>
          <cx:pt idx="53601">1</cx:pt>
          <cx:pt idx="53602">0</cx:pt>
          <cx:pt idx="53603">5</cx:pt>
          <cx:pt idx="53604">5</cx:pt>
          <cx:pt idx="53605">5</cx:pt>
          <cx:pt idx="53606">2</cx:pt>
          <cx:pt idx="53607">4</cx:pt>
          <cx:pt idx="53608">4</cx:pt>
          <cx:pt idx="53609">2</cx:pt>
          <cx:pt idx="53610">3</cx:pt>
          <cx:pt idx="53611">3</cx:pt>
          <cx:pt idx="53612">2</cx:pt>
          <cx:pt idx="53613">3</cx:pt>
          <cx:pt idx="53614">2</cx:pt>
          <cx:pt idx="53615">1</cx:pt>
          <cx:pt idx="53616">5</cx:pt>
          <cx:pt idx="53617">5</cx:pt>
          <cx:pt idx="53618">3</cx:pt>
          <cx:pt idx="53619">4</cx:pt>
          <cx:pt idx="53620">2</cx:pt>
          <cx:pt idx="53621">3</cx:pt>
          <cx:pt idx="53622">1</cx:pt>
          <cx:pt idx="53623">1</cx:pt>
          <cx:pt idx="53624">3</cx:pt>
          <cx:pt idx="53625">2</cx:pt>
          <cx:pt idx="53626">3</cx:pt>
          <cx:pt idx="53627">3</cx:pt>
          <cx:pt idx="53628">3</cx:pt>
          <cx:pt idx="53629">2</cx:pt>
          <cx:pt idx="53630">2</cx:pt>
          <cx:pt idx="53631">4</cx:pt>
          <cx:pt idx="53632">1</cx:pt>
          <cx:pt idx="53633">3</cx:pt>
          <cx:pt idx="53634">5</cx:pt>
          <cx:pt idx="53635">3</cx:pt>
          <cx:pt idx="53636">5</cx:pt>
          <cx:pt idx="53637">3</cx:pt>
          <cx:pt idx="53638">4</cx:pt>
          <cx:pt idx="53639">4</cx:pt>
          <cx:pt idx="53640">2</cx:pt>
          <cx:pt idx="53641">3</cx:pt>
          <cx:pt idx="53642">2</cx:pt>
          <cx:pt idx="53643">1</cx:pt>
          <cx:pt idx="53644">2</cx:pt>
          <cx:pt idx="53645">4</cx:pt>
          <cx:pt idx="53646">1</cx:pt>
          <cx:pt idx="53647">3</cx:pt>
          <cx:pt idx="53648">3</cx:pt>
          <cx:pt idx="53649">2</cx:pt>
          <cx:pt idx="53650">5</cx:pt>
          <cx:pt idx="53651">3</cx:pt>
          <cx:pt idx="53652">4</cx:pt>
          <cx:pt idx="53653">2</cx:pt>
          <cx:pt idx="53654">3</cx:pt>
          <cx:pt idx="53655">4</cx:pt>
          <cx:pt idx="53656">4</cx:pt>
          <cx:pt idx="53657">2</cx:pt>
          <cx:pt idx="53658">3</cx:pt>
          <cx:pt idx="53659">5</cx:pt>
          <cx:pt idx="53660">5</cx:pt>
          <cx:pt idx="53661">3</cx:pt>
          <cx:pt idx="53662">2</cx:pt>
          <cx:pt idx="53663">1</cx:pt>
          <cx:pt idx="53664">5</cx:pt>
          <cx:pt idx="53665">2</cx:pt>
          <cx:pt idx="53666">2</cx:pt>
          <cx:pt idx="53667">2</cx:pt>
          <cx:pt idx="53668">3</cx:pt>
          <cx:pt idx="53669">5</cx:pt>
          <cx:pt idx="53670">2</cx:pt>
          <cx:pt idx="53671">5</cx:pt>
          <cx:pt idx="53672">1</cx:pt>
          <cx:pt idx="53673">5</cx:pt>
          <cx:pt idx="53674">1</cx:pt>
          <cx:pt idx="53675">5</cx:pt>
          <cx:pt idx="53676">5</cx:pt>
          <cx:pt idx="53677">4</cx:pt>
          <cx:pt idx="53678">2</cx:pt>
          <cx:pt idx="53679">5</cx:pt>
          <cx:pt idx="53680">1</cx:pt>
          <cx:pt idx="53681">3</cx:pt>
          <cx:pt idx="53682">3</cx:pt>
          <cx:pt idx="53683">5</cx:pt>
          <cx:pt idx="53684">1</cx:pt>
          <cx:pt idx="53685">2</cx:pt>
          <cx:pt idx="53686">5</cx:pt>
          <cx:pt idx="53687">0</cx:pt>
          <cx:pt idx="53688">5</cx:pt>
          <cx:pt idx="53689">0</cx:pt>
          <cx:pt idx="53690">4</cx:pt>
          <cx:pt idx="53691">2</cx:pt>
          <cx:pt idx="53692">5</cx:pt>
          <cx:pt idx="53693">2</cx:pt>
          <cx:pt idx="53694">3</cx:pt>
          <cx:pt idx="53695">1</cx:pt>
          <cx:pt idx="53696">2</cx:pt>
          <cx:pt idx="53697">2</cx:pt>
          <cx:pt idx="53698">5</cx:pt>
          <cx:pt idx="53699">3</cx:pt>
          <cx:pt idx="53700">4</cx:pt>
          <cx:pt idx="53701">2</cx:pt>
          <cx:pt idx="53702">2</cx:pt>
          <cx:pt idx="53703">3</cx:pt>
          <cx:pt idx="53704">4</cx:pt>
          <cx:pt idx="53705">1</cx:pt>
          <cx:pt idx="53706">3</cx:pt>
          <cx:pt idx="53707">2</cx:pt>
          <cx:pt idx="53708">4</cx:pt>
          <cx:pt idx="53709">4</cx:pt>
          <cx:pt idx="53710">0</cx:pt>
          <cx:pt idx="53711">2</cx:pt>
          <cx:pt idx="53712">1</cx:pt>
          <cx:pt idx="53713">5</cx:pt>
          <cx:pt idx="53714">1</cx:pt>
          <cx:pt idx="53715">1</cx:pt>
          <cx:pt idx="53716">3</cx:pt>
          <cx:pt idx="53717">3</cx:pt>
          <cx:pt idx="53718">2</cx:pt>
          <cx:pt idx="53719">4</cx:pt>
          <cx:pt idx="53720">4</cx:pt>
          <cx:pt idx="53721">5</cx:pt>
          <cx:pt idx="53722">3</cx:pt>
          <cx:pt idx="53723">4</cx:pt>
          <cx:pt idx="53724">3</cx:pt>
          <cx:pt idx="53725">4</cx:pt>
          <cx:pt idx="53726">2</cx:pt>
          <cx:pt idx="53727">3</cx:pt>
          <cx:pt idx="53728">2</cx:pt>
          <cx:pt idx="53729">1</cx:pt>
          <cx:pt idx="53730">1</cx:pt>
          <cx:pt idx="53731">1</cx:pt>
          <cx:pt idx="53732">1</cx:pt>
          <cx:pt idx="53733">4</cx:pt>
          <cx:pt idx="53734">2</cx:pt>
          <cx:pt idx="53735">3</cx:pt>
          <cx:pt idx="53736">1</cx:pt>
          <cx:pt idx="53737">3</cx:pt>
          <cx:pt idx="53738">5</cx:pt>
          <cx:pt idx="53739">3</cx:pt>
          <cx:pt idx="53740">3</cx:pt>
          <cx:pt idx="53741">1</cx:pt>
          <cx:pt idx="53742">2</cx:pt>
          <cx:pt idx="53743">0</cx:pt>
          <cx:pt idx="53744">5</cx:pt>
          <cx:pt idx="53745">2</cx:pt>
          <cx:pt idx="53746">4</cx:pt>
          <cx:pt idx="53747">1</cx:pt>
          <cx:pt idx="53748">3</cx:pt>
          <cx:pt idx="53749">2</cx:pt>
          <cx:pt idx="53750">1</cx:pt>
          <cx:pt idx="53751">3</cx:pt>
          <cx:pt idx="53752">4</cx:pt>
          <cx:pt idx="53753">2</cx:pt>
          <cx:pt idx="53754">3</cx:pt>
          <cx:pt idx="53755">1</cx:pt>
          <cx:pt idx="53756">5</cx:pt>
          <cx:pt idx="53757">2</cx:pt>
          <cx:pt idx="53758">2</cx:pt>
          <cx:pt idx="53759">1</cx:pt>
          <cx:pt idx="53760">2</cx:pt>
          <cx:pt idx="53761">1</cx:pt>
          <cx:pt idx="53762">5</cx:pt>
          <cx:pt idx="53763">4</cx:pt>
          <cx:pt idx="53764">4</cx:pt>
          <cx:pt idx="53765">4</cx:pt>
          <cx:pt idx="53766">3</cx:pt>
          <cx:pt idx="53767">0</cx:pt>
          <cx:pt idx="53768">5</cx:pt>
          <cx:pt idx="53769">2</cx:pt>
          <cx:pt idx="53770">3</cx:pt>
          <cx:pt idx="53771">1</cx:pt>
          <cx:pt idx="53772">3</cx:pt>
          <cx:pt idx="53773">3</cx:pt>
          <cx:pt idx="53774">4</cx:pt>
          <cx:pt idx="53775">4</cx:pt>
          <cx:pt idx="53776">4</cx:pt>
          <cx:pt idx="53777">3</cx:pt>
          <cx:pt idx="53778">2</cx:pt>
          <cx:pt idx="53779">2</cx:pt>
          <cx:pt idx="53780">1</cx:pt>
          <cx:pt idx="53781">1</cx:pt>
          <cx:pt idx="53782">3</cx:pt>
          <cx:pt idx="53783">4</cx:pt>
          <cx:pt idx="53784">2</cx:pt>
          <cx:pt idx="53785">1</cx:pt>
          <cx:pt idx="53786">5</cx:pt>
          <cx:pt idx="53787">5</cx:pt>
          <cx:pt idx="53788">0</cx:pt>
          <cx:pt idx="53789">3</cx:pt>
          <cx:pt idx="53790">1</cx:pt>
          <cx:pt idx="53791">1</cx:pt>
          <cx:pt idx="53792">0</cx:pt>
          <cx:pt idx="53793">4</cx:pt>
          <cx:pt idx="53794">2</cx:pt>
          <cx:pt idx="53795">2</cx:pt>
          <cx:pt idx="53796">3</cx:pt>
          <cx:pt idx="53797">5</cx:pt>
          <cx:pt idx="53798">3</cx:pt>
          <cx:pt idx="53799">4</cx:pt>
          <cx:pt idx="53800">4</cx:pt>
          <cx:pt idx="53801">3</cx:pt>
          <cx:pt idx="53802">1</cx:pt>
          <cx:pt idx="53803">3</cx:pt>
          <cx:pt idx="53804">3</cx:pt>
          <cx:pt idx="53805">3</cx:pt>
          <cx:pt idx="53806">0</cx:pt>
          <cx:pt idx="53807">3</cx:pt>
          <cx:pt idx="53808">1</cx:pt>
          <cx:pt idx="53809">4</cx:pt>
          <cx:pt idx="53810">3</cx:pt>
          <cx:pt idx="53811">1</cx:pt>
          <cx:pt idx="53812">1</cx:pt>
          <cx:pt idx="53813">0</cx:pt>
          <cx:pt idx="53814">5</cx:pt>
          <cx:pt idx="53815">4</cx:pt>
          <cx:pt idx="53816">4</cx:pt>
          <cx:pt idx="53817">0</cx:pt>
          <cx:pt idx="53818">2</cx:pt>
          <cx:pt idx="53819">3</cx:pt>
          <cx:pt idx="53820">2</cx:pt>
          <cx:pt idx="53821">3</cx:pt>
          <cx:pt idx="53822">5</cx:pt>
          <cx:pt idx="53823">2</cx:pt>
          <cx:pt idx="53824">4</cx:pt>
          <cx:pt idx="53825">2</cx:pt>
          <cx:pt idx="53826">1</cx:pt>
          <cx:pt idx="53827">3</cx:pt>
          <cx:pt idx="53828">5</cx:pt>
          <cx:pt idx="53829">2</cx:pt>
          <cx:pt idx="53830">3</cx:pt>
          <cx:pt idx="53831">2</cx:pt>
          <cx:pt idx="53832">3</cx:pt>
          <cx:pt idx="53833">4</cx:pt>
          <cx:pt idx="53834">1</cx:pt>
          <cx:pt idx="53835">2</cx:pt>
          <cx:pt idx="53836">1</cx:pt>
          <cx:pt idx="53837">5</cx:pt>
          <cx:pt idx="53838">1</cx:pt>
          <cx:pt idx="53839">5</cx:pt>
          <cx:pt idx="53840">2</cx:pt>
          <cx:pt idx="53841">1</cx:pt>
          <cx:pt idx="53842">5</cx:pt>
          <cx:pt idx="53843">4</cx:pt>
          <cx:pt idx="53844">3</cx:pt>
          <cx:pt idx="53845">0</cx:pt>
          <cx:pt idx="53846">1</cx:pt>
          <cx:pt idx="53847">2</cx:pt>
          <cx:pt idx="53848">4</cx:pt>
          <cx:pt idx="53849">2</cx:pt>
          <cx:pt idx="53850">3</cx:pt>
          <cx:pt idx="53851">4</cx:pt>
          <cx:pt idx="53852">2</cx:pt>
          <cx:pt idx="53853">2</cx:pt>
          <cx:pt idx="53854">2</cx:pt>
          <cx:pt idx="53855">2</cx:pt>
          <cx:pt idx="53856">5</cx:pt>
          <cx:pt idx="53857">5</cx:pt>
          <cx:pt idx="53858">3</cx:pt>
          <cx:pt idx="53859">3</cx:pt>
          <cx:pt idx="53860">4</cx:pt>
          <cx:pt idx="53861">3</cx:pt>
          <cx:pt idx="53862">2</cx:pt>
          <cx:pt idx="53863">1</cx:pt>
          <cx:pt idx="53864">2</cx:pt>
          <cx:pt idx="53865">4</cx:pt>
          <cx:pt idx="53866">2</cx:pt>
          <cx:pt idx="53867">2</cx:pt>
          <cx:pt idx="53868">3</cx:pt>
          <cx:pt idx="53869">5</cx:pt>
          <cx:pt idx="53870">4</cx:pt>
          <cx:pt idx="53871">2</cx:pt>
          <cx:pt idx="53872">3</cx:pt>
          <cx:pt idx="53873">1</cx:pt>
          <cx:pt idx="53874">2</cx:pt>
          <cx:pt idx="53875">2</cx:pt>
          <cx:pt idx="53876">1</cx:pt>
          <cx:pt idx="53877">5</cx:pt>
          <cx:pt idx="53878">4</cx:pt>
          <cx:pt idx="53879">4</cx:pt>
          <cx:pt idx="53880">5</cx:pt>
          <cx:pt idx="53881">4</cx:pt>
          <cx:pt idx="53882">2</cx:pt>
          <cx:pt idx="53883">5</cx:pt>
          <cx:pt idx="53884">4</cx:pt>
          <cx:pt idx="53885">3</cx:pt>
          <cx:pt idx="53886">5</cx:pt>
          <cx:pt idx="53887">3</cx:pt>
          <cx:pt idx="53888">0</cx:pt>
          <cx:pt idx="53889">1</cx:pt>
          <cx:pt idx="53890">1</cx:pt>
          <cx:pt idx="53891">3</cx:pt>
          <cx:pt idx="53892">3</cx:pt>
          <cx:pt idx="53893">2</cx:pt>
          <cx:pt idx="53894">4</cx:pt>
          <cx:pt idx="53895">0</cx:pt>
          <cx:pt idx="53896">4</cx:pt>
          <cx:pt idx="53897">4</cx:pt>
          <cx:pt idx="53898">0</cx:pt>
          <cx:pt idx="53899">4</cx:pt>
          <cx:pt idx="53900">2</cx:pt>
          <cx:pt idx="53901">0</cx:pt>
          <cx:pt idx="53902">4</cx:pt>
          <cx:pt idx="53903">3</cx:pt>
          <cx:pt idx="53904">3</cx:pt>
          <cx:pt idx="53905">4</cx:pt>
          <cx:pt idx="53906">3</cx:pt>
          <cx:pt idx="53907">2</cx:pt>
          <cx:pt idx="53908">5</cx:pt>
          <cx:pt idx="53909">4</cx:pt>
          <cx:pt idx="53910">5</cx:pt>
          <cx:pt idx="53911">1</cx:pt>
          <cx:pt idx="53912">4</cx:pt>
          <cx:pt idx="53913">5</cx:pt>
          <cx:pt idx="53914">5</cx:pt>
          <cx:pt idx="53915">3</cx:pt>
          <cx:pt idx="53916">5</cx:pt>
          <cx:pt idx="53917">5</cx:pt>
          <cx:pt idx="53918">5</cx:pt>
          <cx:pt idx="53919">3</cx:pt>
          <cx:pt idx="53920">3</cx:pt>
          <cx:pt idx="53921">3</cx:pt>
          <cx:pt idx="53922">4</cx:pt>
          <cx:pt idx="53923">2</cx:pt>
          <cx:pt idx="53924">3</cx:pt>
          <cx:pt idx="53925">5</cx:pt>
          <cx:pt idx="53926">5</cx:pt>
          <cx:pt idx="53927">5</cx:pt>
          <cx:pt idx="53928">2</cx:pt>
          <cx:pt idx="53929">2</cx:pt>
          <cx:pt idx="53930">4</cx:pt>
          <cx:pt idx="53931">3</cx:pt>
          <cx:pt idx="53932">2</cx:pt>
          <cx:pt idx="53933">1</cx:pt>
          <cx:pt idx="53934">2</cx:pt>
          <cx:pt idx="53935">3</cx:pt>
          <cx:pt idx="53936">1</cx:pt>
          <cx:pt idx="53937">2</cx:pt>
          <cx:pt idx="53938">4</cx:pt>
          <cx:pt idx="53939">4</cx:pt>
          <cx:pt idx="53940">4</cx:pt>
          <cx:pt idx="53941">2</cx:pt>
          <cx:pt idx="53942">3</cx:pt>
          <cx:pt idx="53943">1</cx:pt>
          <cx:pt idx="53944">5</cx:pt>
          <cx:pt idx="53945">1</cx:pt>
          <cx:pt idx="53946">4</cx:pt>
          <cx:pt idx="53947">5</cx:pt>
          <cx:pt idx="53948">4</cx:pt>
          <cx:pt idx="53949">3</cx:pt>
          <cx:pt idx="53950">3</cx:pt>
          <cx:pt idx="53951">2</cx:pt>
          <cx:pt idx="53952">4</cx:pt>
          <cx:pt idx="53953">4</cx:pt>
          <cx:pt idx="53954">2</cx:pt>
          <cx:pt idx="53955">3</cx:pt>
          <cx:pt idx="53956">2</cx:pt>
          <cx:pt idx="53957">5</cx:pt>
          <cx:pt idx="53958">3</cx:pt>
          <cx:pt idx="53959">1</cx:pt>
          <cx:pt idx="53960">3</cx:pt>
          <cx:pt idx="53961">2</cx:pt>
          <cx:pt idx="53962">5</cx:pt>
          <cx:pt idx="53963">4</cx:pt>
          <cx:pt idx="53964">3</cx:pt>
          <cx:pt idx="53965">2</cx:pt>
          <cx:pt idx="53966">4</cx:pt>
          <cx:pt idx="53967">4</cx:pt>
          <cx:pt idx="53968">1</cx:pt>
          <cx:pt idx="53969">5</cx:pt>
          <cx:pt idx="53970">2</cx:pt>
          <cx:pt idx="53971">5</cx:pt>
          <cx:pt idx="53972">3</cx:pt>
          <cx:pt idx="53973">4</cx:pt>
          <cx:pt idx="53974">2</cx:pt>
          <cx:pt idx="53975">2</cx:pt>
          <cx:pt idx="53976">2</cx:pt>
          <cx:pt idx="53977">3</cx:pt>
          <cx:pt idx="53978">3</cx:pt>
          <cx:pt idx="53979">3</cx:pt>
          <cx:pt idx="53980">3</cx:pt>
          <cx:pt idx="53981">2</cx:pt>
          <cx:pt idx="53982">0</cx:pt>
          <cx:pt idx="53983">4</cx:pt>
          <cx:pt idx="53984">4</cx:pt>
          <cx:pt idx="53985">2</cx:pt>
          <cx:pt idx="53986">5</cx:pt>
          <cx:pt idx="53987">4</cx:pt>
          <cx:pt idx="53988">3</cx:pt>
          <cx:pt idx="53989">5</cx:pt>
          <cx:pt idx="53990">3</cx:pt>
          <cx:pt idx="53991">2</cx:pt>
          <cx:pt idx="53992">4</cx:pt>
          <cx:pt idx="53993">1</cx:pt>
          <cx:pt idx="53994">2</cx:pt>
          <cx:pt idx="53995">3</cx:pt>
          <cx:pt idx="53996">4</cx:pt>
          <cx:pt idx="53997">3</cx:pt>
          <cx:pt idx="53998">2</cx:pt>
          <cx:pt idx="53999">2</cx:pt>
          <cx:pt idx="54000">5</cx:pt>
          <cx:pt idx="54001">2</cx:pt>
          <cx:pt idx="54002">3</cx:pt>
          <cx:pt idx="54003">3</cx:pt>
          <cx:pt idx="54004">4</cx:pt>
          <cx:pt idx="54005">1</cx:pt>
          <cx:pt idx="54006">4</cx:pt>
          <cx:pt idx="54007">5</cx:pt>
          <cx:pt idx="54008">5</cx:pt>
          <cx:pt idx="54009">2</cx:pt>
          <cx:pt idx="54010">2</cx:pt>
          <cx:pt idx="54011">4</cx:pt>
          <cx:pt idx="54012">2</cx:pt>
          <cx:pt idx="54013">2</cx:pt>
          <cx:pt idx="54014">2</cx:pt>
          <cx:pt idx="54015">4</cx:pt>
          <cx:pt idx="54016">1</cx:pt>
          <cx:pt idx="54017">0</cx:pt>
          <cx:pt idx="54018">2</cx:pt>
          <cx:pt idx="54019">2</cx:pt>
          <cx:pt idx="54020">5</cx:pt>
          <cx:pt idx="54021">2</cx:pt>
          <cx:pt idx="54022">5</cx:pt>
          <cx:pt idx="54023">5</cx:pt>
          <cx:pt idx="54024">3</cx:pt>
          <cx:pt idx="54025">1</cx:pt>
          <cx:pt idx="54026">3</cx:pt>
          <cx:pt idx="54027">5</cx:pt>
          <cx:pt idx="54028">3</cx:pt>
          <cx:pt idx="54029">3</cx:pt>
          <cx:pt idx="54030">3</cx:pt>
          <cx:pt idx="54031">5</cx:pt>
          <cx:pt idx="54032">2</cx:pt>
          <cx:pt idx="54033">3</cx:pt>
          <cx:pt idx="54034">1</cx:pt>
          <cx:pt idx="54035">2</cx:pt>
          <cx:pt idx="54036">0</cx:pt>
          <cx:pt idx="54037">1</cx:pt>
          <cx:pt idx="54038">4</cx:pt>
          <cx:pt idx="54039">3</cx:pt>
          <cx:pt idx="54040">2</cx:pt>
          <cx:pt idx="54041">2</cx:pt>
          <cx:pt idx="54042">2</cx:pt>
          <cx:pt idx="54043">2</cx:pt>
          <cx:pt idx="54044">3</cx:pt>
          <cx:pt idx="54045">4</cx:pt>
          <cx:pt idx="54046">3</cx:pt>
          <cx:pt idx="54047">4</cx:pt>
          <cx:pt idx="54048">3</cx:pt>
          <cx:pt idx="54049">1</cx:pt>
          <cx:pt idx="54050">4</cx:pt>
          <cx:pt idx="54051">1</cx:pt>
          <cx:pt idx="54052">2</cx:pt>
          <cx:pt idx="54053">5</cx:pt>
          <cx:pt idx="54054">1</cx:pt>
          <cx:pt idx="54055">1</cx:pt>
          <cx:pt idx="54056">3</cx:pt>
          <cx:pt idx="54057">3</cx:pt>
          <cx:pt idx="54058">5</cx:pt>
          <cx:pt idx="54059">2</cx:pt>
          <cx:pt idx="54060">3</cx:pt>
          <cx:pt idx="54061">4</cx:pt>
          <cx:pt idx="54062">1</cx:pt>
          <cx:pt idx="54063">2</cx:pt>
          <cx:pt idx="54064">4</cx:pt>
          <cx:pt idx="54065">4</cx:pt>
          <cx:pt idx="54066">2</cx:pt>
          <cx:pt idx="54067">4</cx:pt>
          <cx:pt idx="54068">1</cx:pt>
          <cx:pt idx="54069">5</cx:pt>
          <cx:pt idx="54070">2</cx:pt>
          <cx:pt idx="54071">0</cx:pt>
          <cx:pt idx="54072">2</cx:pt>
          <cx:pt idx="54073">1</cx:pt>
          <cx:pt idx="54074">3</cx:pt>
          <cx:pt idx="54075">2</cx:pt>
          <cx:pt idx="54076">3</cx:pt>
          <cx:pt idx="54077">0</cx:pt>
          <cx:pt idx="54078">2</cx:pt>
          <cx:pt idx="54079">3</cx:pt>
          <cx:pt idx="54080">2</cx:pt>
          <cx:pt idx="54081">2</cx:pt>
          <cx:pt idx="54082">2</cx:pt>
          <cx:pt idx="54083">2</cx:pt>
          <cx:pt idx="54084">1</cx:pt>
          <cx:pt idx="54085">1</cx:pt>
          <cx:pt idx="54086">5</cx:pt>
          <cx:pt idx="54087">2</cx:pt>
          <cx:pt idx="54088">1</cx:pt>
          <cx:pt idx="54089">2</cx:pt>
          <cx:pt idx="54090">1</cx:pt>
          <cx:pt idx="54091">1</cx:pt>
          <cx:pt idx="54092">1</cx:pt>
          <cx:pt idx="54093">3</cx:pt>
          <cx:pt idx="54094">2</cx:pt>
          <cx:pt idx="54095">3</cx:pt>
          <cx:pt idx="54096">3</cx:pt>
          <cx:pt idx="54097">4</cx:pt>
          <cx:pt idx="54098">4</cx:pt>
          <cx:pt idx="54099">4</cx:pt>
          <cx:pt idx="54100">1</cx:pt>
          <cx:pt idx="54101">4</cx:pt>
          <cx:pt idx="54102">3</cx:pt>
          <cx:pt idx="54103">2</cx:pt>
          <cx:pt idx="54104">4</cx:pt>
          <cx:pt idx="54105">4</cx:pt>
          <cx:pt idx="54106">3</cx:pt>
          <cx:pt idx="54107">5</cx:pt>
          <cx:pt idx="54108">4</cx:pt>
          <cx:pt idx="54109">1</cx:pt>
          <cx:pt idx="54110">2</cx:pt>
          <cx:pt idx="54111">4</cx:pt>
          <cx:pt idx="54112">5</cx:pt>
          <cx:pt idx="54113">3</cx:pt>
          <cx:pt idx="54114">4</cx:pt>
          <cx:pt idx="54115">5</cx:pt>
          <cx:pt idx="54116">2</cx:pt>
          <cx:pt idx="54117">5</cx:pt>
          <cx:pt idx="54118">2</cx:pt>
          <cx:pt idx="54119">1</cx:pt>
          <cx:pt idx="54120">4</cx:pt>
          <cx:pt idx="54121">3</cx:pt>
          <cx:pt idx="54122">0</cx:pt>
          <cx:pt idx="54123">1</cx:pt>
          <cx:pt idx="54124">2</cx:pt>
          <cx:pt idx="54125">4</cx:pt>
          <cx:pt idx="54126">1</cx:pt>
          <cx:pt idx="54127">4</cx:pt>
          <cx:pt idx="54128">1</cx:pt>
          <cx:pt idx="54129">5</cx:pt>
          <cx:pt idx="54130">5</cx:pt>
          <cx:pt idx="54131">2</cx:pt>
          <cx:pt idx="54132">3</cx:pt>
          <cx:pt idx="54133">5</cx:pt>
          <cx:pt idx="54134">3</cx:pt>
          <cx:pt idx="54135">1</cx:pt>
          <cx:pt idx="54136">3</cx:pt>
          <cx:pt idx="54137">4</cx:pt>
          <cx:pt idx="54138">5</cx:pt>
          <cx:pt idx="54139">3</cx:pt>
          <cx:pt idx="54140">4</cx:pt>
          <cx:pt idx="54141">5</cx:pt>
          <cx:pt idx="54142">4</cx:pt>
          <cx:pt idx="54143">2</cx:pt>
          <cx:pt idx="54144">2</cx:pt>
          <cx:pt idx="54145">4</cx:pt>
          <cx:pt idx="54146">4</cx:pt>
          <cx:pt idx="54147">2</cx:pt>
          <cx:pt idx="54148">1</cx:pt>
          <cx:pt idx="54149">5</cx:pt>
          <cx:pt idx="54150">5</cx:pt>
          <cx:pt idx="54151">3</cx:pt>
          <cx:pt idx="54152">3</cx:pt>
          <cx:pt idx="54153">2</cx:pt>
          <cx:pt idx="54154">2</cx:pt>
          <cx:pt idx="54155">3</cx:pt>
          <cx:pt idx="54156">4</cx:pt>
          <cx:pt idx="54157">1</cx:pt>
          <cx:pt idx="54158">2</cx:pt>
          <cx:pt idx="54159">3</cx:pt>
          <cx:pt idx="54160">2</cx:pt>
          <cx:pt idx="54161">4</cx:pt>
          <cx:pt idx="54162">3</cx:pt>
          <cx:pt idx="54163">1</cx:pt>
          <cx:pt idx="54164">1</cx:pt>
          <cx:pt idx="54165">4</cx:pt>
          <cx:pt idx="54166">5</cx:pt>
          <cx:pt idx="54167">4</cx:pt>
          <cx:pt idx="54168">5</cx:pt>
          <cx:pt idx="54169">5</cx:pt>
          <cx:pt idx="54170">5</cx:pt>
          <cx:pt idx="54171">3</cx:pt>
          <cx:pt idx="54172">2</cx:pt>
          <cx:pt idx="54173">2</cx:pt>
          <cx:pt idx="54174">3</cx:pt>
          <cx:pt idx="54175">0</cx:pt>
          <cx:pt idx="54176">1</cx:pt>
          <cx:pt idx="54177">5</cx:pt>
          <cx:pt idx="54178">2</cx:pt>
          <cx:pt idx="54179">4</cx:pt>
          <cx:pt idx="54180">1</cx:pt>
          <cx:pt idx="54181">2</cx:pt>
          <cx:pt idx="54182">0</cx:pt>
          <cx:pt idx="54183">2</cx:pt>
          <cx:pt idx="54184">4</cx:pt>
          <cx:pt idx="54185">3</cx:pt>
          <cx:pt idx="54186">2</cx:pt>
          <cx:pt idx="54187">4</cx:pt>
          <cx:pt idx="54188">3</cx:pt>
          <cx:pt idx="54189">3</cx:pt>
          <cx:pt idx="54190">4</cx:pt>
          <cx:pt idx="54191">2</cx:pt>
          <cx:pt idx="54192">1</cx:pt>
          <cx:pt idx="54193">4</cx:pt>
          <cx:pt idx="54194">2</cx:pt>
          <cx:pt idx="54195">1</cx:pt>
          <cx:pt idx="54196">3</cx:pt>
          <cx:pt idx="54197">4</cx:pt>
          <cx:pt idx="54198">4</cx:pt>
          <cx:pt idx="54199">2</cx:pt>
          <cx:pt idx="54200">4</cx:pt>
          <cx:pt idx="54201">0</cx:pt>
          <cx:pt idx="54202">1</cx:pt>
          <cx:pt idx="54203">5</cx:pt>
          <cx:pt idx="54204">4</cx:pt>
          <cx:pt idx="54205">3</cx:pt>
          <cx:pt idx="54206">3</cx:pt>
          <cx:pt idx="54207">2</cx:pt>
          <cx:pt idx="54208">5</cx:pt>
          <cx:pt idx="54209">3</cx:pt>
          <cx:pt idx="54210">4</cx:pt>
          <cx:pt idx="54211">0</cx:pt>
          <cx:pt idx="54212">2</cx:pt>
          <cx:pt idx="54213">2</cx:pt>
          <cx:pt idx="54214">4</cx:pt>
          <cx:pt idx="54215">2</cx:pt>
          <cx:pt idx="54216">1</cx:pt>
          <cx:pt idx="54217">3</cx:pt>
          <cx:pt idx="54218">3</cx:pt>
          <cx:pt idx="54219">1</cx:pt>
          <cx:pt idx="54220">2</cx:pt>
          <cx:pt idx="54221">2</cx:pt>
          <cx:pt idx="54222">4</cx:pt>
          <cx:pt idx="54223">4</cx:pt>
          <cx:pt idx="54224">1</cx:pt>
          <cx:pt idx="54225">1</cx:pt>
          <cx:pt idx="54226">0</cx:pt>
          <cx:pt idx="54227">5</cx:pt>
          <cx:pt idx="54228">3</cx:pt>
          <cx:pt idx="54229">2</cx:pt>
          <cx:pt idx="54230">2</cx:pt>
          <cx:pt idx="54231">3</cx:pt>
          <cx:pt idx="54232">4</cx:pt>
          <cx:pt idx="54233">3</cx:pt>
          <cx:pt idx="54234">1</cx:pt>
          <cx:pt idx="54235">4</cx:pt>
          <cx:pt idx="54236">4</cx:pt>
          <cx:pt idx="54237">3</cx:pt>
          <cx:pt idx="54238">1</cx:pt>
          <cx:pt idx="54239">5</cx:pt>
          <cx:pt idx="54240">1</cx:pt>
          <cx:pt idx="54241">1</cx:pt>
          <cx:pt idx="54242">2</cx:pt>
          <cx:pt idx="54243">3</cx:pt>
          <cx:pt idx="54244">4</cx:pt>
          <cx:pt idx="54245">3</cx:pt>
          <cx:pt idx="54246">4</cx:pt>
          <cx:pt idx="54247">3</cx:pt>
          <cx:pt idx="54248">2</cx:pt>
          <cx:pt idx="54249">3</cx:pt>
          <cx:pt idx="54250">2</cx:pt>
          <cx:pt idx="54251">3</cx:pt>
          <cx:pt idx="54252">2</cx:pt>
          <cx:pt idx="54253">1</cx:pt>
          <cx:pt idx="54254">2</cx:pt>
          <cx:pt idx="54255">3</cx:pt>
          <cx:pt idx="54256">5</cx:pt>
          <cx:pt idx="54257">5</cx:pt>
          <cx:pt idx="54258">1</cx:pt>
          <cx:pt idx="54259">3</cx:pt>
          <cx:pt idx="54260">2</cx:pt>
          <cx:pt idx="54261">0</cx:pt>
          <cx:pt idx="54262">2</cx:pt>
          <cx:pt idx="54263">2</cx:pt>
          <cx:pt idx="54264">3</cx:pt>
          <cx:pt idx="54265">5</cx:pt>
          <cx:pt idx="54266">1</cx:pt>
          <cx:pt idx="54267">4</cx:pt>
          <cx:pt idx="54268">3</cx:pt>
          <cx:pt idx="54269">2</cx:pt>
          <cx:pt idx="54270">3</cx:pt>
          <cx:pt idx="54271">2</cx:pt>
          <cx:pt idx="54272">2</cx:pt>
          <cx:pt idx="54273">3</cx:pt>
          <cx:pt idx="54274">4</cx:pt>
          <cx:pt idx="54275">5</cx:pt>
          <cx:pt idx="54276">3</cx:pt>
          <cx:pt idx="54277">4</cx:pt>
          <cx:pt idx="54278">1</cx:pt>
          <cx:pt idx="54279">4</cx:pt>
          <cx:pt idx="54280">1</cx:pt>
          <cx:pt idx="54281">2</cx:pt>
          <cx:pt idx="54282">1</cx:pt>
          <cx:pt idx="54283">1</cx:pt>
          <cx:pt idx="54284">1</cx:pt>
          <cx:pt idx="54285">2</cx:pt>
          <cx:pt idx="54286">1</cx:pt>
          <cx:pt idx="54287">5</cx:pt>
          <cx:pt idx="54288">2</cx:pt>
          <cx:pt idx="54289">3</cx:pt>
          <cx:pt idx="54290">1</cx:pt>
          <cx:pt idx="54291">3</cx:pt>
          <cx:pt idx="54292">3</cx:pt>
          <cx:pt idx="54293">4</cx:pt>
          <cx:pt idx="54294">2</cx:pt>
          <cx:pt idx="54295">3</cx:pt>
          <cx:pt idx="54296">3</cx:pt>
          <cx:pt idx="54297">2</cx:pt>
          <cx:pt idx="54298">1</cx:pt>
          <cx:pt idx="54299">3</cx:pt>
          <cx:pt idx="54300">1</cx:pt>
          <cx:pt idx="54301">1</cx:pt>
          <cx:pt idx="54302">3</cx:pt>
          <cx:pt idx="54303">4</cx:pt>
          <cx:pt idx="54304">2</cx:pt>
          <cx:pt idx="54305">1</cx:pt>
          <cx:pt idx="54306">5</cx:pt>
          <cx:pt idx="54307">4</cx:pt>
          <cx:pt idx="54308">1</cx:pt>
          <cx:pt idx="54309">4</cx:pt>
          <cx:pt idx="54310">4</cx:pt>
          <cx:pt idx="54311">4</cx:pt>
          <cx:pt idx="54312">1</cx:pt>
          <cx:pt idx="54313">4</cx:pt>
          <cx:pt idx="54314">0</cx:pt>
          <cx:pt idx="54315">1</cx:pt>
          <cx:pt idx="54316">1</cx:pt>
          <cx:pt idx="54317">4</cx:pt>
          <cx:pt idx="54318">3</cx:pt>
          <cx:pt idx="54319">2</cx:pt>
          <cx:pt idx="54320">1</cx:pt>
          <cx:pt idx="54321">1</cx:pt>
          <cx:pt idx="54322">2</cx:pt>
          <cx:pt idx="54323">1</cx:pt>
          <cx:pt idx="54324">0</cx:pt>
          <cx:pt idx="54325">2</cx:pt>
          <cx:pt idx="54326">3</cx:pt>
          <cx:pt idx="54327">3</cx:pt>
          <cx:pt idx="54328">2</cx:pt>
          <cx:pt idx="54329">3</cx:pt>
          <cx:pt idx="54330">3</cx:pt>
          <cx:pt idx="54331">3</cx:pt>
          <cx:pt idx="54332">3</cx:pt>
          <cx:pt idx="54333">3</cx:pt>
          <cx:pt idx="54334">3</cx:pt>
          <cx:pt idx="54335">3</cx:pt>
          <cx:pt idx="54336">4</cx:pt>
          <cx:pt idx="54337">3</cx:pt>
          <cx:pt idx="54338">2</cx:pt>
          <cx:pt idx="54339">4</cx:pt>
          <cx:pt idx="54340">5</cx:pt>
          <cx:pt idx="54341">3</cx:pt>
          <cx:pt idx="54342">3</cx:pt>
          <cx:pt idx="54343">0</cx:pt>
          <cx:pt idx="54344">2</cx:pt>
          <cx:pt idx="54345">5</cx:pt>
          <cx:pt idx="54346">4</cx:pt>
          <cx:pt idx="54347">4</cx:pt>
          <cx:pt idx="54348">4</cx:pt>
          <cx:pt idx="54349">1</cx:pt>
          <cx:pt idx="54350">3</cx:pt>
          <cx:pt idx="54351">3</cx:pt>
          <cx:pt idx="54352">2</cx:pt>
          <cx:pt idx="54353">3</cx:pt>
          <cx:pt idx="54354">2</cx:pt>
          <cx:pt idx="54355">4</cx:pt>
          <cx:pt idx="54356">3</cx:pt>
          <cx:pt idx="54357">2</cx:pt>
          <cx:pt idx="54358">5</cx:pt>
          <cx:pt idx="54359">5</cx:pt>
          <cx:pt idx="54360">5</cx:pt>
          <cx:pt idx="54361">1</cx:pt>
          <cx:pt idx="54362">2</cx:pt>
          <cx:pt idx="54363">5</cx:pt>
          <cx:pt idx="54364">2</cx:pt>
          <cx:pt idx="54365">2</cx:pt>
          <cx:pt idx="54366">1</cx:pt>
          <cx:pt idx="54367">5</cx:pt>
          <cx:pt idx="54368">2</cx:pt>
          <cx:pt idx="54369">1</cx:pt>
          <cx:pt idx="54370">4</cx:pt>
          <cx:pt idx="54371">3</cx:pt>
          <cx:pt idx="54372">1</cx:pt>
          <cx:pt idx="54373">5</cx:pt>
          <cx:pt idx="54374">1</cx:pt>
          <cx:pt idx="54375">2</cx:pt>
          <cx:pt idx="54376">2</cx:pt>
          <cx:pt idx="54377">4</cx:pt>
          <cx:pt idx="54378">3</cx:pt>
          <cx:pt idx="54379">3</cx:pt>
          <cx:pt idx="54380">2</cx:pt>
          <cx:pt idx="54381">2</cx:pt>
          <cx:pt idx="54382">2</cx:pt>
          <cx:pt idx="54383">4</cx:pt>
          <cx:pt idx="54384">3</cx:pt>
          <cx:pt idx="54385">3</cx:pt>
          <cx:pt idx="54386">4</cx:pt>
          <cx:pt idx="54387">2</cx:pt>
          <cx:pt idx="54388">1</cx:pt>
          <cx:pt idx="54389">4</cx:pt>
          <cx:pt idx="54390">3</cx:pt>
          <cx:pt idx="54391">3</cx:pt>
          <cx:pt idx="54392">2</cx:pt>
          <cx:pt idx="54393">5</cx:pt>
          <cx:pt idx="54394">3</cx:pt>
          <cx:pt idx="54395">5</cx:pt>
          <cx:pt idx="54396">3</cx:pt>
          <cx:pt idx="54397">5</cx:pt>
          <cx:pt idx="54398">2</cx:pt>
          <cx:pt idx="54399">5</cx:pt>
          <cx:pt idx="54400">4</cx:pt>
          <cx:pt idx="54401">4</cx:pt>
          <cx:pt idx="54402">4</cx:pt>
          <cx:pt idx="54403">3</cx:pt>
          <cx:pt idx="54404">4</cx:pt>
          <cx:pt idx="54405">3</cx:pt>
          <cx:pt idx="54406">1</cx:pt>
          <cx:pt idx="54407">2</cx:pt>
          <cx:pt idx="54408">4</cx:pt>
          <cx:pt idx="54409">3</cx:pt>
          <cx:pt idx="54410">4</cx:pt>
          <cx:pt idx="54411">5</cx:pt>
          <cx:pt idx="54412">4</cx:pt>
          <cx:pt idx="54413">2</cx:pt>
          <cx:pt idx="54414">2</cx:pt>
          <cx:pt idx="54415">3</cx:pt>
          <cx:pt idx="54416">3</cx:pt>
          <cx:pt idx="54417">2</cx:pt>
          <cx:pt idx="54418">1</cx:pt>
          <cx:pt idx="54419">5</cx:pt>
          <cx:pt idx="54420">4</cx:pt>
          <cx:pt idx="54421">2</cx:pt>
          <cx:pt idx="54422">2</cx:pt>
          <cx:pt idx="54423">3</cx:pt>
          <cx:pt idx="54424">4</cx:pt>
          <cx:pt idx="54425">3</cx:pt>
          <cx:pt idx="54426">4</cx:pt>
          <cx:pt idx="54427">0</cx:pt>
          <cx:pt idx="54428">2</cx:pt>
          <cx:pt idx="54429">3</cx:pt>
          <cx:pt idx="54430">1</cx:pt>
          <cx:pt idx="54431">4</cx:pt>
          <cx:pt idx="54432">1</cx:pt>
          <cx:pt idx="54433">2</cx:pt>
          <cx:pt idx="54434">1</cx:pt>
          <cx:pt idx="54435">2</cx:pt>
          <cx:pt idx="54436">5</cx:pt>
          <cx:pt idx="54437">1</cx:pt>
          <cx:pt idx="54438">3</cx:pt>
          <cx:pt idx="54439">0</cx:pt>
          <cx:pt idx="54440">1</cx:pt>
          <cx:pt idx="54441">4</cx:pt>
          <cx:pt idx="54442">3</cx:pt>
          <cx:pt idx="54443">3</cx:pt>
          <cx:pt idx="54444">1</cx:pt>
          <cx:pt idx="54445">5</cx:pt>
          <cx:pt idx="54446">5</cx:pt>
          <cx:pt idx="54447">1</cx:pt>
          <cx:pt idx="54448">3</cx:pt>
          <cx:pt idx="54449">3</cx:pt>
          <cx:pt idx="54450">1</cx:pt>
          <cx:pt idx="54451">0</cx:pt>
          <cx:pt idx="54452">3</cx:pt>
          <cx:pt idx="54453">1</cx:pt>
          <cx:pt idx="54454">3</cx:pt>
          <cx:pt idx="54455">1</cx:pt>
          <cx:pt idx="54456">4</cx:pt>
          <cx:pt idx="54457">3</cx:pt>
          <cx:pt idx="54458">1</cx:pt>
          <cx:pt idx="54459">2</cx:pt>
          <cx:pt idx="54460">2</cx:pt>
          <cx:pt idx="54461">2</cx:pt>
          <cx:pt idx="54462">2</cx:pt>
          <cx:pt idx="54463">1</cx:pt>
          <cx:pt idx="54464">3</cx:pt>
          <cx:pt idx="54465">2</cx:pt>
          <cx:pt idx="54466">4</cx:pt>
          <cx:pt idx="54467">2</cx:pt>
          <cx:pt idx="54468">1</cx:pt>
          <cx:pt idx="54469">3</cx:pt>
          <cx:pt idx="54470">3</cx:pt>
          <cx:pt idx="54471">4</cx:pt>
          <cx:pt idx="54472">5</cx:pt>
          <cx:pt idx="54473">3</cx:pt>
          <cx:pt idx="54474">3</cx:pt>
          <cx:pt idx="54475">3</cx:pt>
          <cx:pt idx="54476">3</cx:pt>
          <cx:pt idx="54477">1</cx:pt>
          <cx:pt idx="54478">4</cx:pt>
          <cx:pt idx="54479">3</cx:pt>
          <cx:pt idx="54480">4</cx:pt>
          <cx:pt idx="54481">4</cx:pt>
          <cx:pt idx="54482">5</cx:pt>
          <cx:pt idx="54483">2</cx:pt>
          <cx:pt idx="54484">3</cx:pt>
          <cx:pt idx="54485">0</cx:pt>
          <cx:pt idx="54486">0</cx:pt>
          <cx:pt idx="54487">3</cx:pt>
          <cx:pt idx="54488">5</cx:pt>
          <cx:pt idx="54489">3</cx:pt>
          <cx:pt idx="54490">3</cx:pt>
          <cx:pt idx="54491">1</cx:pt>
          <cx:pt idx="54492">0</cx:pt>
          <cx:pt idx="54493">1</cx:pt>
          <cx:pt idx="54494">1</cx:pt>
          <cx:pt idx="54495">4</cx:pt>
          <cx:pt idx="54496">4</cx:pt>
          <cx:pt idx="54497">3</cx:pt>
          <cx:pt idx="54498">4</cx:pt>
          <cx:pt idx="54499">3</cx:pt>
          <cx:pt idx="54500">3</cx:pt>
          <cx:pt idx="54501">3</cx:pt>
          <cx:pt idx="54502">3</cx:pt>
          <cx:pt idx="54503">2</cx:pt>
          <cx:pt idx="54504">3</cx:pt>
          <cx:pt idx="54505">1</cx:pt>
          <cx:pt idx="54506">4</cx:pt>
          <cx:pt idx="54507">3</cx:pt>
          <cx:pt idx="54508">2</cx:pt>
          <cx:pt idx="54509">3</cx:pt>
          <cx:pt idx="54510">4</cx:pt>
          <cx:pt idx="54511">3</cx:pt>
          <cx:pt idx="54512">3</cx:pt>
          <cx:pt idx="54513">5</cx:pt>
          <cx:pt idx="54514">1</cx:pt>
          <cx:pt idx="54515">5</cx:pt>
          <cx:pt idx="54516">1</cx:pt>
          <cx:pt idx="54517">2</cx:pt>
          <cx:pt idx="54518">2</cx:pt>
          <cx:pt idx="54519">3</cx:pt>
          <cx:pt idx="54520">2</cx:pt>
          <cx:pt idx="54521">4</cx:pt>
          <cx:pt idx="54522">5</cx:pt>
          <cx:pt idx="54523">4</cx:pt>
          <cx:pt idx="54524">3</cx:pt>
          <cx:pt idx="54525">1</cx:pt>
          <cx:pt idx="54526">0</cx:pt>
          <cx:pt idx="54527">1</cx:pt>
          <cx:pt idx="54528">2</cx:pt>
          <cx:pt idx="54529">1</cx:pt>
          <cx:pt idx="54530">3</cx:pt>
          <cx:pt idx="54531">1</cx:pt>
          <cx:pt idx="54532">2</cx:pt>
          <cx:pt idx="54533">5</cx:pt>
          <cx:pt idx="54534">4</cx:pt>
          <cx:pt idx="54535">2</cx:pt>
          <cx:pt idx="54536">4</cx:pt>
          <cx:pt idx="54537">3</cx:pt>
          <cx:pt idx="54538">0</cx:pt>
          <cx:pt idx="54539">4</cx:pt>
          <cx:pt idx="54540">5</cx:pt>
          <cx:pt idx="54541">2</cx:pt>
          <cx:pt idx="54542">2</cx:pt>
          <cx:pt idx="54543">4</cx:pt>
          <cx:pt idx="54544">1</cx:pt>
          <cx:pt idx="54545">4</cx:pt>
          <cx:pt idx="54546">3</cx:pt>
          <cx:pt idx="54547">3</cx:pt>
          <cx:pt idx="54548">5</cx:pt>
          <cx:pt idx="54549">5</cx:pt>
          <cx:pt idx="54550">5</cx:pt>
          <cx:pt idx="54551">3</cx:pt>
          <cx:pt idx="54552">2</cx:pt>
          <cx:pt idx="54553">2</cx:pt>
          <cx:pt idx="54554">5</cx:pt>
          <cx:pt idx="54555">3</cx:pt>
          <cx:pt idx="54556">0</cx:pt>
          <cx:pt idx="54557">3</cx:pt>
          <cx:pt idx="54558">5</cx:pt>
          <cx:pt idx="54559">3</cx:pt>
          <cx:pt idx="54560">5</cx:pt>
          <cx:pt idx="54561">3</cx:pt>
          <cx:pt idx="54562">3</cx:pt>
          <cx:pt idx="54563">4</cx:pt>
          <cx:pt idx="54564">1</cx:pt>
          <cx:pt idx="54565">5</cx:pt>
          <cx:pt idx="54566">4</cx:pt>
          <cx:pt idx="54567">1</cx:pt>
          <cx:pt idx="54568">1</cx:pt>
          <cx:pt idx="54569">2</cx:pt>
          <cx:pt idx="54570">2</cx:pt>
          <cx:pt idx="54571">1</cx:pt>
          <cx:pt idx="54572">5</cx:pt>
          <cx:pt idx="54573">1</cx:pt>
          <cx:pt idx="54574">3</cx:pt>
          <cx:pt idx="54575">5</cx:pt>
          <cx:pt idx="54576">3</cx:pt>
          <cx:pt idx="54577">3</cx:pt>
          <cx:pt idx="54578">4</cx:pt>
          <cx:pt idx="54579">3</cx:pt>
          <cx:pt idx="54580">4</cx:pt>
          <cx:pt idx="54581">4</cx:pt>
          <cx:pt idx="54582">3</cx:pt>
          <cx:pt idx="54583">1</cx:pt>
          <cx:pt idx="54584">1</cx:pt>
          <cx:pt idx="54585">1</cx:pt>
          <cx:pt idx="54586">4</cx:pt>
          <cx:pt idx="54587">4</cx:pt>
          <cx:pt idx="54588">4</cx:pt>
          <cx:pt idx="54589">5</cx:pt>
          <cx:pt idx="54590">1</cx:pt>
          <cx:pt idx="54591">2</cx:pt>
          <cx:pt idx="54592">5</cx:pt>
          <cx:pt idx="54593">4</cx:pt>
          <cx:pt idx="54594">0</cx:pt>
          <cx:pt idx="54595">4</cx:pt>
          <cx:pt idx="54596">3</cx:pt>
          <cx:pt idx="54597">2</cx:pt>
          <cx:pt idx="54598">2</cx:pt>
          <cx:pt idx="54599">3</cx:pt>
          <cx:pt idx="54600">2</cx:pt>
          <cx:pt idx="54601">2</cx:pt>
          <cx:pt idx="54602">1</cx:pt>
          <cx:pt idx="54603">1</cx:pt>
          <cx:pt idx="54604">0</cx:pt>
          <cx:pt idx="54605">5</cx:pt>
          <cx:pt idx="54606">4</cx:pt>
          <cx:pt idx="54607">4</cx:pt>
          <cx:pt idx="54608">4</cx:pt>
          <cx:pt idx="54609">1</cx:pt>
          <cx:pt idx="54610">1</cx:pt>
          <cx:pt idx="54611">1</cx:pt>
          <cx:pt idx="54612">4</cx:pt>
          <cx:pt idx="54613">3</cx:pt>
          <cx:pt idx="54614">4</cx:pt>
          <cx:pt idx="54615">4</cx:pt>
          <cx:pt idx="54616">4</cx:pt>
          <cx:pt idx="54617">3</cx:pt>
          <cx:pt idx="54618">4</cx:pt>
          <cx:pt idx="54619">3</cx:pt>
          <cx:pt idx="54620">2</cx:pt>
          <cx:pt idx="54621">1</cx:pt>
          <cx:pt idx="54622">2</cx:pt>
          <cx:pt idx="54623">0</cx:pt>
          <cx:pt idx="54624">5</cx:pt>
          <cx:pt idx="54625">5</cx:pt>
          <cx:pt idx="54626">0</cx:pt>
          <cx:pt idx="54627">3</cx:pt>
          <cx:pt idx="54628">1</cx:pt>
          <cx:pt idx="54629">2</cx:pt>
          <cx:pt idx="54630">5</cx:pt>
          <cx:pt idx="54631">4</cx:pt>
          <cx:pt idx="54632">4</cx:pt>
          <cx:pt idx="54633">3</cx:pt>
          <cx:pt idx="54634">1</cx:pt>
          <cx:pt idx="54635">4</cx:pt>
          <cx:pt idx="54636">4</cx:pt>
          <cx:pt idx="54637">0</cx:pt>
          <cx:pt idx="54638">4</cx:pt>
          <cx:pt idx="54639">1</cx:pt>
          <cx:pt idx="54640">2</cx:pt>
          <cx:pt idx="54641">3</cx:pt>
          <cx:pt idx="54642">4</cx:pt>
          <cx:pt idx="54643">4</cx:pt>
          <cx:pt idx="54644">4</cx:pt>
          <cx:pt idx="54645">3</cx:pt>
          <cx:pt idx="54646">2</cx:pt>
          <cx:pt idx="54647">3</cx:pt>
          <cx:pt idx="54648">5</cx:pt>
          <cx:pt idx="54649">1</cx:pt>
          <cx:pt idx="54650">1</cx:pt>
          <cx:pt idx="54651">1</cx:pt>
          <cx:pt idx="54652">3</cx:pt>
          <cx:pt idx="54653">2</cx:pt>
          <cx:pt idx="54654">2</cx:pt>
          <cx:pt idx="54655">3</cx:pt>
          <cx:pt idx="54656">1</cx:pt>
          <cx:pt idx="54657">4</cx:pt>
          <cx:pt idx="54658">2</cx:pt>
          <cx:pt idx="54659">3</cx:pt>
          <cx:pt idx="54660">2</cx:pt>
          <cx:pt idx="54661">1</cx:pt>
          <cx:pt idx="54662">3</cx:pt>
          <cx:pt idx="54663">1</cx:pt>
          <cx:pt idx="54664">2</cx:pt>
          <cx:pt idx="54665">3</cx:pt>
          <cx:pt idx="54666">1</cx:pt>
          <cx:pt idx="54667">2</cx:pt>
          <cx:pt idx="54668">3</cx:pt>
          <cx:pt idx="54669">4</cx:pt>
          <cx:pt idx="54670">2</cx:pt>
          <cx:pt idx="54671">4</cx:pt>
          <cx:pt idx="54672">3</cx:pt>
          <cx:pt idx="54673">1</cx:pt>
          <cx:pt idx="54674">1</cx:pt>
          <cx:pt idx="54675">4</cx:pt>
          <cx:pt idx="54676">3</cx:pt>
          <cx:pt idx="54677">4</cx:pt>
          <cx:pt idx="54678">1</cx:pt>
          <cx:pt idx="54679">2</cx:pt>
          <cx:pt idx="54680">4</cx:pt>
          <cx:pt idx="54681">5</cx:pt>
          <cx:pt idx="54682">3</cx:pt>
          <cx:pt idx="54683">2</cx:pt>
          <cx:pt idx="54684">3</cx:pt>
          <cx:pt idx="54685">2</cx:pt>
          <cx:pt idx="54686">4</cx:pt>
          <cx:pt idx="54687">5</cx:pt>
          <cx:pt idx="54688">3</cx:pt>
          <cx:pt idx="54689">4</cx:pt>
          <cx:pt idx="54690">3</cx:pt>
          <cx:pt idx="54691">3</cx:pt>
          <cx:pt idx="54692">1</cx:pt>
          <cx:pt idx="54693">3</cx:pt>
          <cx:pt idx="54694">1</cx:pt>
          <cx:pt idx="54695">3</cx:pt>
          <cx:pt idx="54696">2</cx:pt>
          <cx:pt idx="54697">0</cx:pt>
          <cx:pt idx="54698">2</cx:pt>
          <cx:pt idx="54699">3</cx:pt>
          <cx:pt idx="54700">5</cx:pt>
          <cx:pt idx="54701">2</cx:pt>
          <cx:pt idx="54702">2</cx:pt>
          <cx:pt idx="54703">4</cx:pt>
          <cx:pt idx="54704">1</cx:pt>
          <cx:pt idx="54705">4</cx:pt>
          <cx:pt idx="54706">3</cx:pt>
          <cx:pt idx="54707">4</cx:pt>
          <cx:pt idx="54708">2</cx:pt>
          <cx:pt idx="54709">4</cx:pt>
          <cx:pt idx="54710">3</cx:pt>
          <cx:pt idx="54711">4</cx:pt>
          <cx:pt idx="54712">0</cx:pt>
          <cx:pt idx="54713">1</cx:pt>
          <cx:pt idx="54714">4</cx:pt>
          <cx:pt idx="54715">0</cx:pt>
          <cx:pt idx="54716">3</cx:pt>
          <cx:pt idx="54717">2</cx:pt>
          <cx:pt idx="54718">5</cx:pt>
          <cx:pt idx="54719">5</cx:pt>
          <cx:pt idx="54720">5</cx:pt>
          <cx:pt idx="54721">3</cx:pt>
          <cx:pt idx="54722">1</cx:pt>
          <cx:pt idx="54723">2</cx:pt>
          <cx:pt idx="54724">3</cx:pt>
          <cx:pt idx="54725">2</cx:pt>
          <cx:pt idx="54726">2</cx:pt>
          <cx:pt idx="54727">5</cx:pt>
          <cx:pt idx="54728">5</cx:pt>
          <cx:pt idx="54729">2</cx:pt>
          <cx:pt idx="54730">5</cx:pt>
          <cx:pt idx="54731">2</cx:pt>
          <cx:pt idx="54732">5</cx:pt>
          <cx:pt idx="54733">1</cx:pt>
          <cx:pt idx="54734">1</cx:pt>
          <cx:pt idx="54735">1</cx:pt>
          <cx:pt idx="54736">2</cx:pt>
          <cx:pt idx="54737">4</cx:pt>
          <cx:pt idx="54738">0</cx:pt>
          <cx:pt idx="54739">1</cx:pt>
          <cx:pt idx="54740">1</cx:pt>
          <cx:pt idx="54741">3</cx:pt>
          <cx:pt idx="54742">1</cx:pt>
          <cx:pt idx="54743">1</cx:pt>
          <cx:pt idx="54744">4</cx:pt>
          <cx:pt idx="54745">3</cx:pt>
          <cx:pt idx="54746">5</cx:pt>
          <cx:pt idx="54747">0</cx:pt>
          <cx:pt idx="54748">3</cx:pt>
          <cx:pt idx="54749">2</cx:pt>
          <cx:pt idx="54750">4</cx:pt>
          <cx:pt idx="54751">2</cx:pt>
          <cx:pt idx="54752">2</cx:pt>
          <cx:pt idx="54753">2</cx:pt>
          <cx:pt idx="54754">4</cx:pt>
          <cx:pt idx="54755">4</cx:pt>
          <cx:pt idx="54756">3</cx:pt>
          <cx:pt idx="54757">1</cx:pt>
          <cx:pt idx="54758">3</cx:pt>
          <cx:pt idx="54759">4</cx:pt>
          <cx:pt idx="54760">3</cx:pt>
          <cx:pt idx="54761">3</cx:pt>
          <cx:pt idx="54762">4</cx:pt>
          <cx:pt idx="54763">4</cx:pt>
          <cx:pt idx="54764">4</cx:pt>
          <cx:pt idx="54765">3</cx:pt>
          <cx:pt idx="54766">5</cx:pt>
          <cx:pt idx="54767">5</cx:pt>
          <cx:pt idx="54768">3</cx:pt>
          <cx:pt idx="54769">1</cx:pt>
          <cx:pt idx="54770">1</cx:pt>
          <cx:pt idx="54771">4</cx:pt>
          <cx:pt idx="54772">3</cx:pt>
          <cx:pt idx="54773">1</cx:pt>
          <cx:pt idx="54774">1</cx:pt>
          <cx:pt idx="54775">2</cx:pt>
          <cx:pt idx="54776">3</cx:pt>
          <cx:pt idx="54777">2</cx:pt>
          <cx:pt idx="54778">2</cx:pt>
          <cx:pt idx="54779">5</cx:pt>
          <cx:pt idx="54780">2</cx:pt>
          <cx:pt idx="54781">3</cx:pt>
          <cx:pt idx="54782">5</cx:pt>
          <cx:pt idx="54783">2</cx:pt>
          <cx:pt idx="54784">2</cx:pt>
          <cx:pt idx="54785">1</cx:pt>
          <cx:pt idx="54786">3</cx:pt>
          <cx:pt idx="54787">2</cx:pt>
          <cx:pt idx="54788">1</cx:pt>
          <cx:pt idx="54789">1</cx:pt>
          <cx:pt idx="54790">3</cx:pt>
          <cx:pt idx="54791">1</cx:pt>
          <cx:pt idx="54792">5</cx:pt>
          <cx:pt idx="54793">1</cx:pt>
          <cx:pt idx="54794">4</cx:pt>
          <cx:pt idx="54795">3</cx:pt>
          <cx:pt idx="54796">3</cx:pt>
          <cx:pt idx="54797">1</cx:pt>
          <cx:pt idx="54798">0</cx:pt>
          <cx:pt idx="54799">5</cx:pt>
          <cx:pt idx="54800">2</cx:pt>
          <cx:pt idx="54801">0</cx:pt>
          <cx:pt idx="54802">2</cx:pt>
          <cx:pt idx="54803">2</cx:pt>
          <cx:pt idx="54804">5</cx:pt>
          <cx:pt idx="54805">1</cx:pt>
          <cx:pt idx="54806">0</cx:pt>
          <cx:pt idx="54807">2</cx:pt>
          <cx:pt idx="54808">3</cx:pt>
          <cx:pt idx="54809">4</cx:pt>
          <cx:pt idx="54810">2</cx:pt>
          <cx:pt idx="54811">4</cx:pt>
          <cx:pt idx="54812">4</cx:pt>
          <cx:pt idx="54813">0</cx:pt>
          <cx:pt idx="54814">3</cx:pt>
          <cx:pt idx="54815">4</cx:pt>
          <cx:pt idx="54816">5</cx:pt>
          <cx:pt idx="54817">1</cx:pt>
          <cx:pt idx="54818">5</cx:pt>
          <cx:pt idx="54819">3</cx:pt>
          <cx:pt idx="54820">2</cx:pt>
          <cx:pt idx="54821">2</cx:pt>
          <cx:pt idx="54822">4</cx:pt>
          <cx:pt idx="54823">2</cx:pt>
          <cx:pt idx="54824">5</cx:pt>
          <cx:pt idx="54825">3</cx:pt>
          <cx:pt idx="54826">5</cx:pt>
          <cx:pt idx="54827">1</cx:pt>
          <cx:pt idx="54828">1</cx:pt>
          <cx:pt idx="54829">3</cx:pt>
          <cx:pt idx="54830">5</cx:pt>
          <cx:pt idx="54831">1</cx:pt>
          <cx:pt idx="54832">5</cx:pt>
          <cx:pt idx="54833">2</cx:pt>
          <cx:pt idx="54834">5</cx:pt>
          <cx:pt idx="54835">4</cx:pt>
          <cx:pt idx="54836">1</cx:pt>
          <cx:pt idx="54837">4</cx:pt>
          <cx:pt idx="54838">5</cx:pt>
          <cx:pt idx="54839">3</cx:pt>
          <cx:pt idx="54840">4</cx:pt>
          <cx:pt idx="54841">5</cx:pt>
          <cx:pt idx="54842">5</cx:pt>
          <cx:pt idx="54843">2</cx:pt>
          <cx:pt idx="54844">4</cx:pt>
          <cx:pt idx="54845">2</cx:pt>
          <cx:pt idx="54846">5</cx:pt>
          <cx:pt idx="54847">5</cx:pt>
          <cx:pt idx="54848">1</cx:pt>
          <cx:pt idx="54849">4</cx:pt>
          <cx:pt idx="54850">3</cx:pt>
          <cx:pt idx="54851">4</cx:pt>
          <cx:pt idx="54852">2</cx:pt>
          <cx:pt idx="54853">1</cx:pt>
          <cx:pt idx="54854">1</cx:pt>
          <cx:pt idx="54855">1</cx:pt>
          <cx:pt idx="54856">3</cx:pt>
          <cx:pt idx="54857">3</cx:pt>
          <cx:pt idx="54858">3</cx:pt>
          <cx:pt idx="54859">5</cx:pt>
          <cx:pt idx="54860">1</cx:pt>
          <cx:pt idx="54861">2</cx:pt>
          <cx:pt idx="54862">3</cx:pt>
          <cx:pt idx="54863">1</cx:pt>
          <cx:pt idx="54864">0</cx:pt>
          <cx:pt idx="54865">3</cx:pt>
          <cx:pt idx="54866">1</cx:pt>
          <cx:pt idx="54867">1</cx:pt>
          <cx:pt idx="54868">0</cx:pt>
          <cx:pt idx="54869">3</cx:pt>
          <cx:pt idx="54870">2</cx:pt>
          <cx:pt idx="54871">3</cx:pt>
          <cx:pt idx="54872">3</cx:pt>
          <cx:pt idx="54873">4</cx:pt>
          <cx:pt idx="54874">1</cx:pt>
          <cx:pt idx="54875">2</cx:pt>
          <cx:pt idx="54876">1</cx:pt>
          <cx:pt idx="54877">1</cx:pt>
          <cx:pt idx="54878">2</cx:pt>
          <cx:pt idx="54879">4</cx:pt>
          <cx:pt idx="54880">1</cx:pt>
          <cx:pt idx="54881">2</cx:pt>
          <cx:pt idx="54882">2</cx:pt>
          <cx:pt idx="54883">4</cx:pt>
          <cx:pt idx="54884">0</cx:pt>
          <cx:pt idx="54885">5</cx:pt>
          <cx:pt idx="54886">3</cx:pt>
          <cx:pt idx="54887">1</cx:pt>
          <cx:pt idx="54888">3</cx:pt>
          <cx:pt idx="54889">4</cx:pt>
          <cx:pt idx="54890">2</cx:pt>
          <cx:pt idx="54891">1</cx:pt>
          <cx:pt idx="54892">2</cx:pt>
          <cx:pt idx="54893">2</cx:pt>
          <cx:pt idx="54894">1</cx:pt>
          <cx:pt idx="54895">4</cx:pt>
          <cx:pt idx="54896">4</cx:pt>
          <cx:pt idx="54897">2</cx:pt>
          <cx:pt idx="54898">3</cx:pt>
          <cx:pt idx="54899">0</cx:pt>
          <cx:pt idx="54900">4</cx:pt>
          <cx:pt idx="54901">4</cx:pt>
          <cx:pt idx="54902">3</cx:pt>
          <cx:pt idx="54903">1</cx:pt>
          <cx:pt idx="54904">3</cx:pt>
          <cx:pt idx="54905">2</cx:pt>
          <cx:pt idx="54906">4</cx:pt>
          <cx:pt idx="54907">3</cx:pt>
          <cx:pt idx="54908">3</cx:pt>
          <cx:pt idx="54909">4</cx:pt>
          <cx:pt idx="54910">1</cx:pt>
          <cx:pt idx="54911">2</cx:pt>
          <cx:pt idx="54912">4</cx:pt>
          <cx:pt idx="54913">1</cx:pt>
          <cx:pt idx="54914">4</cx:pt>
          <cx:pt idx="54915">2</cx:pt>
          <cx:pt idx="54916">1</cx:pt>
          <cx:pt idx="54917">5</cx:pt>
          <cx:pt idx="54918">2</cx:pt>
          <cx:pt idx="54919">3</cx:pt>
          <cx:pt idx="54920">3</cx:pt>
          <cx:pt idx="54921">2</cx:pt>
          <cx:pt idx="54922">5</cx:pt>
          <cx:pt idx="54923">1</cx:pt>
          <cx:pt idx="54924">1</cx:pt>
          <cx:pt idx="54925">2</cx:pt>
          <cx:pt idx="54926">4</cx:pt>
          <cx:pt idx="54927">3</cx:pt>
          <cx:pt idx="54928">4</cx:pt>
          <cx:pt idx="54929">4</cx:pt>
          <cx:pt idx="54930">5</cx:pt>
          <cx:pt idx="54931">0</cx:pt>
          <cx:pt idx="54932">1</cx:pt>
          <cx:pt idx="54933">2</cx:pt>
          <cx:pt idx="54934">3</cx:pt>
          <cx:pt idx="54935">3</cx:pt>
          <cx:pt idx="54936">2</cx:pt>
          <cx:pt idx="54937">2</cx:pt>
          <cx:pt idx="54938">4</cx:pt>
          <cx:pt idx="54939">5</cx:pt>
          <cx:pt idx="54940">5</cx:pt>
          <cx:pt idx="54941">3</cx:pt>
          <cx:pt idx="54942">2</cx:pt>
          <cx:pt idx="54943">4</cx:pt>
          <cx:pt idx="54944">4</cx:pt>
          <cx:pt idx="54945">5</cx:pt>
          <cx:pt idx="54946">1</cx:pt>
          <cx:pt idx="54947">4</cx:pt>
          <cx:pt idx="54948">3</cx:pt>
          <cx:pt idx="54949">3</cx:pt>
          <cx:pt idx="54950">2</cx:pt>
          <cx:pt idx="54951">2</cx:pt>
          <cx:pt idx="54952">4</cx:pt>
          <cx:pt idx="54953">3</cx:pt>
          <cx:pt idx="54954">1</cx:pt>
          <cx:pt idx="54955">3</cx:pt>
          <cx:pt idx="54956">5</cx:pt>
          <cx:pt idx="54957">2</cx:pt>
          <cx:pt idx="54958">4</cx:pt>
          <cx:pt idx="54959">2</cx:pt>
          <cx:pt idx="54960">4</cx:pt>
          <cx:pt idx="54961">3</cx:pt>
          <cx:pt idx="54962">2</cx:pt>
          <cx:pt idx="54963">2</cx:pt>
          <cx:pt idx="54964">2</cx:pt>
          <cx:pt idx="54965">2</cx:pt>
          <cx:pt idx="54966">4</cx:pt>
          <cx:pt idx="54967">3</cx:pt>
          <cx:pt idx="54968">2</cx:pt>
          <cx:pt idx="54969">4</cx:pt>
          <cx:pt idx="54970">3</cx:pt>
          <cx:pt idx="54971">2</cx:pt>
          <cx:pt idx="54972">5</cx:pt>
          <cx:pt idx="54973">5</cx:pt>
          <cx:pt idx="54974">4</cx:pt>
          <cx:pt idx="54975">2</cx:pt>
          <cx:pt idx="54976">1</cx:pt>
          <cx:pt idx="54977">4</cx:pt>
          <cx:pt idx="54978">3</cx:pt>
          <cx:pt idx="54979">3</cx:pt>
          <cx:pt idx="54980">3</cx:pt>
          <cx:pt idx="54981">1</cx:pt>
          <cx:pt idx="54982">5</cx:pt>
          <cx:pt idx="54983">3</cx:pt>
          <cx:pt idx="54984">3</cx:pt>
          <cx:pt idx="54985">5</cx:pt>
          <cx:pt idx="54986">1</cx:pt>
          <cx:pt idx="54987">4</cx:pt>
          <cx:pt idx="54988">4</cx:pt>
          <cx:pt idx="54989">3</cx:pt>
          <cx:pt idx="54990">2</cx:pt>
          <cx:pt idx="54991">5</cx:pt>
          <cx:pt idx="54992">4</cx:pt>
          <cx:pt idx="54993">2</cx:pt>
          <cx:pt idx="54994">3</cx:pt>
          <cx:pt idx="54995">5</cx:pt>
          <cx:pt idx="54996">4</cx:pt>
          <cx:pt idx="54997">1</cx:pt>
          <cx:pt idx="54998">1</cx:pt>
          <cx:pt idx="54999">3</cx:pt>
          <cx:pt idx="55000">2</cx:pt>
          <cx:pt idx="55001">4</cx:pt>
          <cx:pt idx="55002">3</cx:pt>
          <cx:pt idx="55003">1</cx:pt>
          <cx:pt idx="55004">1</cx:pt>
          <cx:pt idx="55005">1</cx:pt>
          <cx:pt idx="55006">3</cx:pt>
          <cx:pt idx="55007">3</cx:pt>
          <cx:pt idx="55008">2</cx:pt>
          <cx:pt idx="55009">3</cx:pt>
          <cx:pt idx="55010">2</cx:pt>
          <cx:pt idx="55011">2</cx:pt>
          <cx:pt idx="55012">2</cx:pt>
          <cx:pt idx="55013">3</cx:pt>
          <cx:pt idx="55014">4</cx:pt>
          <cx:pt idx="55015">2</cx:pt>
          <cx:pt idx="55016">5</cx:pt>
          <cx:pt idx="55017">4</cx:pt>
          <cx:pt idx="55018">4</cx:pt>
          <cx:pt idx="55019">4</cx:pt>
          <cx:pt idx="55020">4</cx:pt>
          <cx:pt idx="55021">3</cx:pt>
          <cx:pt idx="55022">3</cx:pt>
          <cx:pt idx="55023">2</cx:pt>
          <cx:pt idx="55024">4</cx:pt>
          <cx:pt idx="55025">2</cx:pt>
          <cx:pt idx="55026">2</cx:pt>
          <cx:pt idx="55027">4</cx:pt>
          <cx:pt idx="55028">1</cx:pt>
          <cx:pt idx="55029">3</cx:pt>
          <cx:pt idx="55030">2</cx:pt>
          <cx:pt idx="55031">3</cx:pt>
          <cx:pt idx="55032">2</cx:pt>
          <cx:pt idx="55033">2</cx:pt>
          <cx:pt idx="55034">4</cx:pt>
          <cx:pt idx="55035">5</cx:pt>
          <cx:pt idx="55036">5</cx:pt>
          <cx:pt idx="55037">2</cx:pt>
          <cx:pt idx="55038">1</cx:pt>
          <cx:pt idx="55039">3</cx:pt>
          <cx:pt idx="55040">3</cx:pt>
          <cx:pt idx="55041">1</cx:pt>
          <cx:pt idx="55042">3</cx:pt>
          <cx:pt idx="55043">4</cx:pt>
          <cx:pt idx="55044">5</cx:pt>
          <cx:pt idx="55045">4</cx:pt>
          <cx:pt idx="55046">2</cx:pt>
          <cx:pt idx="55047">4</cx:pt>
          <cx:pt idx="55048">3</cx:pt>
          <cx:pt idx="55049">0</cx:pt>
          <cx:pt idx="55050">4</cx:pt>
          <cx:pt idx="55051">4</cx:pt>
          <cx:pt idx="55052">2</cx:pt>
          <cx:pt idx="55053">3</cx:pt>
          <cx:pt idx="55054">1</cx:pt>
          <cx:pt idx="55055">1</cx:pt>
          <cx:pt idx="55056">2</cx:pt>
          <cx:pt idx="55057">3</cx:pt>
          <cx:pt idx="55058">5</cx:pt>
          <cx:pt idx="55059">4</cx:pt>
          <cx:pt idx="55060">2</cx:pt>
          <cx:pt idx="55061">0</cx:pt>
          <cx:pt idx="55062">3</cx:pt>
          <cx:pt idx="55063">5</cx:pt>
          <cx:pt idx="55064">5</cx:pt>
          <cx:pt idx="55065">5</cx:pt>
          <cx:pt idx="55066">1</cx:pt>
          <cx:pt idx="55067">5</cx:pt>
          <cx:pt idx="55068">4</cx:pt>
          <cx:pt idx="55069">1</cx:pt>
          <cx:pt idx="55070">5</cx:pt>
          <cx:pt idx="55071">2</cx:pt>
          <cx:pt idx="55072">3</cx:pt>
          <cx:pt idx="55073">3</cx:pt>
          <cx:pt idx="55074">3</cx:pt>
          <cx:pt idx="55075">2</cx:pt>
          <cx:pt idx="55076">5</cx:pt>
          <cx:pt idx="55077">5</cx:pt>
          <cx:pt idx="55078">3</cx:pt>
          <cx:pt idx="55079">5</cx:pt>
          <cx:pt idx="55080">2</cx:pt>
          <cx:pt idx="55081">4</cx:pt>
          <cx:pt idx="55082">3</cx:pt>
          <cx:pt idx="55083">0</cx:pt>
          <cx:pt idx="55084">3</cx:pt>
          <cx:pt idx="55085">3</cx:pt>
          <cx:pt idx="55086">5</cx:pt>
          <cx:pt idx="55087">4</cx:pt>
          <cx:pt idx="55088">1</cx:pt>
          <cx:pt idx="55089">2</cx:pt>
          <cx:pt idx="55090">1</cx:pt>
          <cx:pt idx="55091">2</cx:pt>
          <cx:pt idx="55092">4</cx:pt>
          <cx:pt idx="55093">1</cx:pt>
          <cx:pt idx="55094">2</cx:pt>
          <cx:pt idx="55095">5</cx:pt>
          <cx:pt idx="55096">2</cx:pt>
          <cx:pt idx="55097">0</cx:pt>
          <cx:pt idx="55098">1</cx:pt>
          <cx:pt idx="55099">3</cx:pt>
          <cx:pt idx="55100">3</cx:pt>
          <cx:pt idx="55101">5</cx:pt>
          <cx:pt idx="55102">4</cx:pt>
          <cx:pt idx="55103">3</cx:pt>
          <cx:pt idx="55104">4</cx:pt>
          <cx:pt idx="55105">1</cx:pt>
          <cx:pt idx="55106">3</cx:pt>
          <cx:pt idx="55107">0</cx:pt>
          <cx:pt idx="55108">3</cx:pt>
          <cx:pt idx="55109">2</cx:pt>
          <cx:pt idx="55110">2</cx:pt>
          <cx:pt idx="55111">4</cx:pt>
          <cx:pt idx="55112">4</cx:pt>
          <cx:pt idx="55113">1</cx:pt>
          <cx:pt idx="55114">5</cx:pt>
          <cx:pt idx="55115">3</cx:pt>
          <cx:pt idx="55116">3</cx:pt>
          <cx:pt idx="55117">4</cx:pt>
          <cx:pt idx="55118">4</cx:pt>
          <cx:pt idx="55119">3</cx:pt>
          <cx:pt idx="55120">3</cx:pt>
          <cx:pt idx="55121">2</cx:pt>
          <cx:pt idx="55122">3</cx:pt>
          <cx:pt idx="55123">5</cx:pt>
          <cx:pt idx="55124">3</cx:pt>
          <cx:pt idx="55125">5</cx:pt>
          <cx:pt idx="55126">2</cx:pt>
          <cx:pt idx="55127">3</cx:pt>
          <cx:pt idx="55128">4</cx:pt>
          <cx:pt idx="55129">4</cx:pt>
          <cx:pt idx="55130">4</cx:pt>
          <cx:pt idx="55131">2</cx:pt>
          <cx:pt idx="55132">2</cx:pt>
          <cx:pt idx="55133">4</cx:pt>
          <cx:pt idx="55134">5</cx:pt>
          <cx:pt idx="55135">0</cx:pt>
          <cx:pt idx="55136">3</cx:pt>
          <cx:pt idx="55137">4</cx:pt>
          <cx:pt idx="55138">4</cx:pt>
          <cx:pt idx="55139">2</cx:pt>
          <cx:pt idx="55140">3</cx:pt>
          <cx:pt idx="55141">5</cx:pt>
          <cx:pt idx="55142">3</cx:pt>
          <cx:pt idx="55143">3</cx:pt>
          <cx:pt idx="55144">4</cx:pt>
          <cx:pt idx="55145">2</cx:pt>
          <cx:pt idx="55146">5</cx:pt>
          <cx:pt idx="55147">3</cx:pt>
          <cx:pt idx="55148">2</cx:pt>
          <cx:pt idx="55149">4</cx:pt>
          <cx:pt idx="55150">5</cx:pt>
          <cx:pt idx="55151">2</cx:pt>
          <cx:pt idx="55152">3</cx:pt>
          <cx:pt idx="55153">2</cx:pt>
          <cx:pt idx="55154">3</cx:pt>
          <cx:pt idx="55155">3</cx:pt>
          <cx:pt idx="55156">3</cx:pt>
          <cx:pt idx="55157">2</cx:pt>
          <cx:pt idx="55158">1</cx:pt>
          <cx:pt idx="55159">4</cx:pt>
          <cx:pt idx="55160">1</cx:pt>
          <cx:pt idx="55161">2</cx:pt>
          <cx:pt idx="55162">5</cx:pt>
          <cx:pt idx="55163">1</cx:pt>
          <cx:pt idx="55164">3</cx:pt>
          <cx:pt idx="55165">4</cx:pt>
          <cx:pt idx="55166">3</cx:pt>
          <cx:pt idx="55167">3</cx:pt>
          <cx:pt idx="55168">5</cx:pt>
          <cx:pt idx="55169">5</cx:pt>
          <cx:pt idx="55170">1</cx:pt>
          <cx:pt idx="55171">3</cx:pt>
          <cx:pt idx="55172">4</cx:pt>
          <cx:pt idx="55173">3</cx:pt>
          <cx:pt idx="55174">4</cx:pt>
          <cx:pt idx="55175">2</cx:pt>
          <cx:pt idx="55176">4</cx:pt>
          <cx:pt idx="55177">2</cx:pt>
          <cx:pt idx="55178">2</cx:pt>
          <cx:pt idx="55179">2</cx:pt>
          <cx:pt idx="55180">1</cx:pt>
          <cx:pt idx="55181">3</cx:pt>
          <cx:pt idx="55182">0</cx:pt>
          <cx:pt idx="55183">3</cx:pt>
          <cx:pt idx="55184">3</cx:pt>
          <cx:pt idx="55185">5</cx:pt>
          <cx:pt idx="55186">2</cx:pt>
          <cx:pt idx="55187">3</cx:pt>
          <cx:pt idx="55188">2</cx:pt>
          <cx:pt idx="55189">3</cx:pt>
          <cx:pt idx="55190">3</cx:pt>
          <cx:pt idx="55191">1</cx:pt>
          <cx:pt idx="55192">1</cx:pt>
          <cx:pt idx="55193">4</cx:pt>
          <cx:pt idx="55194">2</cx:pt>
          <cx:pt idx="55195">1</cx:pt>
          <cx:pt idx="55196">4</cx:pt>
          <cx:pt idx="55197">0</cx:pt>
          <cx:pt idx="55198">2</cx:pt>
          <cx:pt idx="55199">2</cx:pt>
          <cx:pt idx="55200">2</cx:pt>
          <cx:pt idx="55201">1</cx:pt>
          <cx:pt idx="55202">3</cx:pt>
          <cx:pt idx="55203">4</cx:pt>
          <cx:pt idx="55204">3</cx:pt>
          <cx:pt idx="55205">4</cx:pt>
          <cx:pt idx="55206">4</cx:pt>
          <cx:pt idx="55207">1</cx:pt>
          <cx:pt idx="55208">4</cx:pt>
          <cx:pt idx="55209">2</cx:pt>
          <cx:pt idx="55210">3</cx:pt>
          <cx:pt idx="55211">3</cx:pt>
          <cx:pt idx="55212">5</cx:pt>
          <cx:pt idx="55213">5</cx:pt>
          <cx:pt idx="55214">2</cx:pt>
          <cx:pt idx="55215">3</cx:pt>
          <cx:pt idx="55216">2</cx:pt>
          <cx:pt idx="55217">4</cx:pt>
          <cx:pt idx="55218">2</cx:pt>
          <cx:pt idx="55219">1</cx:pt>
          <cx:pt idx="55220">1</cx:pt>
          <cx:pt idx="55221">2</cx:pt>
          <cx:pt idx="55222">4</cx:pt>
          <cx:pt idx="55223">2</cx:pt>
          <cx:pt idx="55224">1</cx:pt>
          <cx:pt idx="55225">4</cx:pt>
          <cx:pt idx="55226">1</cx:pt>
          <cx:pt idx="55227">3</cx:pt>
          <cx:pt idx="55228">1</cx:pt>
          <cx:pt idx="55229">4</cx:pt>
          <cx:pt idx="55230">4</cx:pt>
          <cx:pt idx="55231">1</cx:pt>
          <cx:pt idx="55232">4</cx:pt>
          <cx:pt idx="55233">0</cx:pt>
          <cx:pt idx="55234">1</cx:pt>
          <cx:pt idx="55235">2</cx:pt>
          <cx:pt idx="55236">5</cx:pt>
          <cx:pt idx="55237">4</cx:pt>
          <cx:pt idx="55238">4</cx:pt>
          <cx:pt idx="55239">4</cx:pt>
          <cx:pt idx="55240">2</cx:pt>
          <cx:pt idx="55241">4</cx:pt>
          <cx:pt idx="55242">2</cx:pt>
          <cx:pt idx="55243">4</cx:pt>
          <cx:pt idx="55244">2</cx:pt>
          <cx:pt idx="55245">5</cx:pt>
          <cx:pt idx="55246">5</cx:pt>
          <cx:pt idx="55247">1</cx:pt>
          <cx:pt idx="55248">3</cx:pt>
          <cx:pt idx="55249">2</cx:pt>
          <cx:pt idx="55250">2</cx:pt>
          <cx:pt idx="55251">3</cx:pt>
          <cx:pt idx="55252">2</cx:pt>
          <cx:pt idx="55253">5</cx:pt>
          <cx:pt idx="55254">5</cx:pt>
          <cx:pt idx="55255">5</cx:pt>
          <cx:pt idx="55256">0</cx:pt>
          <cx:pt idx="55257">3</cx:pt>
          <cx:pt idx="55258">2</cx:pt>
          <cx:pt idx="55259">1</cx:pt>
          <cx:pt idx="55260">2</cx:pt>
          <cx:pt idx="55261">3</cx:pt>
          <cx:pt idx="55262">1</cx:pt>
          <cx:pt idx="55263">2</cx:pt>
          <cx:pt idx="55264">4</cx:pt>
          <cx:pt idx="55265">5</cx:pt>
          <cx:pt idx="55266">3</cx:pt>
          <cx:pt idx="55267">5</cx:pt>
          <cx:pt idx="55268">3</cx:pt>
          <cx:pt idx="55269">3</cx:pt>
          <cx:pt idx="55270">2</cx:pt>
          <cx:pt idx="55271">3</cx:pt>
          <cx:pt idx="55272">2</cx:pt>
          <cx:pt idx="55273">3</cx:pt>
          <cx:pt idx="55274">1</cx:pt>
          <cx:pt idx="55275">5</cx:pt>
          <cx:pt idx="55276">2</cx:pt>
          <cx:pt idx="55277">5</cx:pt>
          <cx:pt idx="55278">3</cx:pt>
          <cx:pt idx="55279">1</cx:pt>
          <cx:pt idx="55280">3</cx:pt>
          <cx:pt idx="55281">1</cx:pt>
          <cx:pt idx="55282">0</cx:pt>
          <cx:pt idx="55283">4</cx:pt>
          <cx:pt idx="55284">2</cx:pt>
          <cx:pt idx="55285">3</cx:pt>
          <cx:pt idx="55286">2</cx:pt>
          <cx:pt idx="55287">3</cx:pt>
          <cx:pt idx="55288">2</cx:pt>
          <cx:pt idx="55289">1</cx:pt>
          <cx:pt idx="55290">5</cx:pt>
          <cx:pt idx="55291">2</cx:pt>
          <cx:pt idx="55292">2</cx:pt>
          <cx:pt idx="55293">2</cx:pt>
          <cx:pt idx="55294">4</cx:pt>
          <cx:pt idx="55295">5</cx:pt>
          <cx:pt idx="55296">3</cx:pt>
          <cx:pt idx="55297">4</cx:pt>
          <cx:pt idx="55298">3</cx:pt>
          <cx:pt idx="55299">3</cx:pt>
          <cx:pt idx="55300">3</cx:pt>
          <cx:pt idx="55301">5</cx:pt>
          <cx:pt idx="55302">2</cx:pt>
          <cx:pt idx="55303">2</cx:pt>
          <cx:pt idx="55304">0</cx:pt>
          <cx:pt idx="55305">3</cx:pt>
          <cx:pt idx="55306">2</cx:pt>
          <cx:pt idx="55307">1</cx:pt>
          <cx:pt idx="55308">3</cx:pt>
          <cx:pt idx="55309">5</cx:pt>
          <cx:pt idx="55310">2</cx:pt>
          <cx:pt idx="55311">3</cx:pt>
          <cx:pt idx="55312">3</cx:pt>
          <cx:pt idx="55313">4</cx:pt>
          <cx:pt idx="55314">0</cx:pt>
          <cx:pt idx="55315">2</cx:pt>
          <cx:pt idx="55316">2</cx:pt>
          <cx:pt idx="55317">1</cx:pt>
          <cx:pt idx="55318">3</cx:pt>
          <cx:pt idx="55319">4</cx:pt>
          <cx:pt idx="55320">2</cx:pt>
          <cx:pt idx="55321">2</cx:pt>
          <cx:pt idx="55322">3</cx:pt>
          <cx:pt idx="55323">4</cx:pt>
          <cx:pt idx="55324">2</cx:pt>
          <cx:pt idx="55325">4</cx:pt>
          <cx:pt idx="55326">5</cx:pt>
          <cx:pt idx="55327">5</cx:pt>
          <cx:pt idx="55328">2</cx:pt>
          <cx:pt idx="55329">3</cx:pt>
          <cx:pt idx="55330">5</cx:pt>
          <cx:pt idx="55331">5</cx:pt>
          <cx:pt idx="55332">5</cx:pt>
          <cx:pt idx="55333">3</cx:pt>
          <cx:pt idx="55334">3</cx:pt>
          <cx:pt idx="55335">4</cx:pt>
          <cx:pt idx="55336">2</cx:pt>
          <cx:pt idx="55337">3</cx:pt>
          <cx:pt idx="55338">4</cx:pt>
          <cx:pt idx="55339">3</cx:pt>
          <cx:pt idx="55340">5</cx:pt>
          <cx:pt idx="55341">3</cx:pt>
          <cx:pt idx="55342">3</cx:pt>
          <cx:pt idx="55343">0</cx:pt>
          <cx:pt idx="55344">2</cx:pt>
          <cx:pt idx="55345">1</cx:pt>
          <cx:pt idx="55346">1</cx:pt>
          <cx:pt idx="55347">4</cx:pt>
          <cx:pt idx="55348">5</cx:pt>
          <cx:pt idx="55349">3</cx:pt>
          <cx:pt idx="55350">3</cx:pt>
          <cx:pt idx="55351">4</cx:pt>
          <cx:pt idx="55352">2</cx:pt>
          <cx:pt idx="55353">1</cx:pt>
          <cx:pt idx="55354">4</cx:pt>
          <cx:pt idx="55355">2</cx:pt>
          <cx:pt idx="55356">1</cx:pt>
          <cx:pt idx="55357">1</cx:pt>
          <cx:pt idx="55358">3</cx:pt>
          <cx:pt idx="55359">5</cx:pt>
          <cx:pt idx="55360">2</cx:pt>
          <cx:pt idx="55361">3</cx:pt>
          <cx:pt idx="55362">2</cx:pt>
          <cx:pt idx="55363">3</cx:pt>
          <cx:pt idx="55364">0</cx:pt>
          <cx:pt idx="55365">3</cx:pt>
          <cx:pt idx="55366">4</cx:pt>
          <cx:pt idx="55367">3</cx:pt>
          <cx:pt idx="55368">2</cx:pt>
          <cx:pt idx="55369">2</cx:pt>
          <cx:pt idx="55370">3</cx:pt>
          <cx:pt idx="55371">5</cx:pt>
          <cx:pt idx="55372">0</cx:pt>
          <cx:pt idx="55373">3</cx:pt>
          <cx:pt idx="55374">3</cx:pt>
          <cx:pt idx="55375">0</cx:pt>
          <cx:pt idx="55376">4</cx:pt>
          <cx:pt idx="55377">1</cx:pt>
          <cx:pt idx="55378">1</cx:pt>
          <cx:pt idx="55379">5</cx:pt>
          <cx:pt idx="55380">2</cx:pt>
          <cx:pt idx="55381">5</cx:pt>
          <cx:pt idx="55382">3</cx:pt>
          <cx:pt idx="55383">4</cx:pt>
          <cx:pt idx="55384">2</cx:pt>
          <cx:pt idx="55385">3</cx:pt>
          <cx:pt idx="55386">5</cx:pt>
          <cx:pt idx="55387">1</cx:pt>
          <cx:pt idx="55388">3</cx:pt>
          <cx:pt idx="55389">2</cx:pt>
          <cx:pt idx="55390">2</cx:pt>
          <cx:pt idx="55391">1</cx:pt>
          <cx:pt idx="55392">2</cx:pt>
          <cx:pt idx="55393">2</cx:pt>
          <cx:pt idx="55394">3</cx:pt>
          <cx:pt idx="55395">5</cx:pt>
          <cx:pt idx="55396">2</cx:pt>
          <cx:pt idx="55397">2</cx:pt>
          <cx:pt idx="55398">5</cx:pt>
          <cx:pt idx="55399">5</cx:pt>
          <cx:pt idx="55400">5</cx:pt>
          <cx:pt idx="55401">2</cx:pt>
          <cx:pt idx="55402">2</cx:pt>
          <cx:pt idx="55403">1</cx:pt>
          <cx:pt idx="55404">2</cx:pt>
          <cx:pt idx="55405">5</cx:pt>
          <cx:pt idx="55406">0</cx:pt>
          <cx:pt idx="55407">2</cx:pt>
          <cx:pt idx="55408">1</cx:pt>
          <cx:pt idx="55409">1</cx:pt>
          <cx:pt idx="55410">4</cx:pt>
          <cx:pt idx="55411">3</cx:pt>
          <cx:pt idx="55412">2</cx:pt>
          <cx:pt idx="55413">4</cx:pt>
          <cx:pt idx="55414">0</cx:pt>
          <cx:pt idx="55415">3</cx:pt>
          <cx:pt idx="55416">1</cx:pt>
          <cx:pt idx="55417">3</cx:pt>
          <cx:pt idx="55418">3</cx:pt>
          <cx:pt idx="55419">1</cx:pt>
          <cx:pt idx="55420">3</cx:pt>
          <cx:pt idx="55421">2</cx:pt>
          <cx:pt idx="55422">3</cx:pt>
          <cx:pt idx="55423">5</cx:pt>
          <cx:pt idx="55424">3</cx:pt>
          <cx:pt idx="55425">5</cx:pt>
          <cx:pt idx="55426">4</cx:pt>
          <cx:pt idx="55427">2</cx:pt>
          <cx:pt idx="55428">3</cx:pt>
          <cx:pt idx="55429">3</cx:pt>
          <cx:pt idx="55430">5</cx:pt>
          <cx:pt idx="55431">1</cx:pt>
          <cx:pt idx="55432">4</cx:pt>
          <cx:pt idx="55433">1</cx:pt>
          <cx:pt idx="55434">3</cx:pt>
          <cx:pt idx="55435">4</cx:pt>
          <cx:pt idx="55436">4</cx:pt>
          <cx:pt idx="55437">3</cx:pt>
          <cx:pt idx="55438">3</cx:pt>
          <cx:pt idx="55439">3</cx:pt>
          <cx:pt idx="55440">5</cx:pt>
          <cx:pt idx="55441">3</cx:pt>
          <cx:pt idx="55442">3</cx:pt>
          <cx:pt idx="55443">3</cx:pt>
          <cx:pt idx="55444">2</cx:pt>
          <cx:pt idx="55445">3</cx:pt>
          <cx:pt idx="55446">1</cx:pt>
          <cx:pt idx="55447">0</cx:pt>
          <cx:pt idx="55448">4</cx:pt>
          <cx:pt idx="55449">4</cx:pt>
          <cx:pt idx="55450">3</cx:pt>
          <cx:pt idx="55451">3</cx:pt>
          <cx:pt idx="55452">3</cx:pt>
          <cx:pt idx="55453">4</cx:pt>
          <cx:pt idx="55454">4</cx:pt>
          <cx:pt idx="55455">1</cx:pt>
          <cx:pt idx="55456">2</cx:pt>
          <cx:pt idx="55457">2</cx:pt>
          <cx:pt idx="55458">3</cx:pt>
          <cx:pt idx="55459">2</cx:pt>
          <cx:pt idx="55460">2</cx:pt>
          <cx:pt idx="55461">2</cx:pt>
          <cx:pt idx="55462">5</cx:pt>
          <cx:pt idx="55463">3</cx:pt>
          <cx:pt idx="55464">4</cx:pt>
          <cx:pt idx="55465">3</cx:pt>
          <cx:pt idx="55466">0</cx:pt>
          <cx:pt idx="55467">4</cx:pt>
          <cx:pt idx="55468">3</cx:pt>
          <cx:pt idx="55469">5</cx:pt>
          <cx:pt idx="55470">2</cx:pt>
          <cx:pt idx="55471">2</cx:pt>
          <cx:pt idx="55472">2</cx:pt>
          <cx:pt idx="55473">2</cx:pt>
          <cx:pt idx="55474">4</cx:pt>
          <cx:pt idx="55475">5</cx:pt>
          <cx:pt idx="55476">2</cx:pt>
          <cx:pt idx="55477">3</cx:pt>
          <cx:pt idx="55478">2</cx:pt>
          <cx:pt idx="55479">2</cx:pt>
          <cx:pt idx="55480">4</cx:pt>
          <cx:pt idx="55481">0</cx:pt>
          <cx:pt idx="55482">0</cx:pt>
          <cx:pt idx="55483">3</cx:pt>
          <cx:pt idx="55484">4</cx:pt>
          <cx:pt idx="55485">2</cx:pt>
          <cx:pt idx="55486">4</cx:pt>
          <cx:pt idx="55487">0</cx:pt>
          <cx:pt idx="55488">5</cx:pt>
          <cx:pt idx="55489">1</cx:pt>
          <cx:pt idx="55490">2</cx:pt>
          <cx:pt idx="55491">1</cx:pt>
          <cx:pt idx="55492">2</cx:pt>
          <cx:pt idx="55493">0</cx:pt>
          <cx:pt idx="55494">4</cx:pt>
          <cx:pt idx="55495">3</cx:pt>
          <cx:pt idx="55496">5</cx:pt>
          <cx:pt idx="55497">3</cx:pt>
          <cx:pt idx="55498">4</cx:pt>
          <cx:pt idx="55499">4</cx:pt>
          <cx:pt idx="55500">5</cx:pt>
          <cx:pt idx="55501">1</cx:pt>
          <cx:pt idx="55502">1</cx:pt>
          <cx:pt idx="55503">2</cx:pt>
          <cx:pt idx="55504">3</cx:pt>
          <cx:pt idx="55505">4</cx:pt>
          <cx:pt idx="55506">0</cx:pt>
          <cx:pt idx="55507">5</cx:pt>
          <cx:pt idx="55508">2</cx:pt>
          <cx:pt idx="55509">3</cx:pt>
          <cx:pt idx="55510">0</cx:pt>
          <cx:pt idx="55511">4</cx:pt>
          <cx:pt idx="55512">3</cx:pt>
          <cx:pt idx="55513">3</cx:pt>
          <cx:pt idx="55514">3</cx:pt>
          <cx:pt idx="55515">3</cx:pt>
          <cx:pt idx="55516">4</cx:pt>
          <cx:pt idx="55517">1</cx:pt>
          <cx:pt idx="55518">3</cx:pt>
          <cx:pt idx="55519">5</cx:pt>
          <cx:pt idx="55520">2</cx:pt>
          <cx:pt idx="55521">3</cx:pt>
          <cx:pt idx="55522">4</cx:pt>
          <cx:pt idx="55523">1</cx:pt>
          <cx:pt idx="55524">2</cx:pt>
          <cx:pt idx="55525">4</cx:pt>
          <cx:pt idx="55526">3</cx:pt>
          <cx:pt idx="55527">2</cx:pt>
          <cx:pt idx="55528">1</cx:pt>
          <cx:pt idx="55529">1</cx:pt>
          <cx:pt idx="55530">4</cx:pt>
          <cx:pt idx="55531">1</cx:pt>
          <cx:pt idx="55532">5</cx:pt>
          <cx:pt idx="55533">3</cx:pt>
          <cx:pt idx="55534">4</cx:pt>
          <cx:pt idx="55535">2</cx:pt>
          <cx:pt idx="55536">2</cx:pt>
          <cx:pt idx="55537">4</cx:pt>
          <cx:pt idx="55538">4</cx:pt>
          <cx:pt idx="55539">3</cx:pt>
          <cx:pt idx="55540">1</cx:pt>
          <cx:pt idx="55541">4</cx:pt>
          <cx:pt idx="55542">4</cx:pt>
          <cx:pt idx="55543">2</cx:pt>
          <cx:pt idx="55544">5</cx:pt>
          <cx:pt idx="55545">1</cx:pt>
          <cx:pt idx="55546">2</cx:pt>
          <cx:pt idx="55547">0</cx:pt>
          <cx:pt idx="55548">2</cx:pt>
          <cx:pt idx="55549">3</cx:pt>
          <cx:pt idx="55550">5</cx:pt>
          <cx:pt idx="55551">2</cx:pt>
          <cx:pt idx="55552">3</cx:pt>
          <cx:pt idx="55553">2</cx:pt>
          <cx:pt idx="55554">4</cx:pt>
          <cx:pt idx="55555">2</cx:pt>
          <cx:pt idx="55556">5</cx:pt>
          <cx:pt idx="55557">2</cx:pt>
          <cx:pt idx="55558">5</cx:pt>
          <cx:pt idx="55559">5</cx:pt>
          <cx:pt idx="55560">3</cx:pt>
          <cx:pt idx="55561">3</cx:pt>
          <cx:pt idx="55562">3</cx:pt>
          <cx:pt idx="55563">4</cx:pt>
          <cx:pt idx="55564">3</cx:pt>
          <cx:pt idx="55565">4</cx:pt>
          <cx:pt idx="55566">2</cx:pt>
          <cx:pt idx="55567">5</cx:pt>
          <cx:pt idx="55568">3</cx:pt>
          <cx:pt idx="55569">3</cx:pt>
          <cx:pt idx="55570">3</cx:pt>
          <cx:pt idx="55571">2</cx:pt>
          <cx:pt idx="55572">3</cx:pt>
          <cx:pt idx="55573">3</cx:pt>
          <cx:pt idx="55574">3</cx:pt>
          <cx:pt idx="55575">3</cx:pt>
          <cx:pt idx="55576">5</cx:pt>
          <cx:pt idx="55577">0</cx:pt>
          <cx:pt idx="55578">4</cx:pt>
          <cx:pt idx="55579">4</cx:pt>
          <cx:pt idx="55580">2</cx:pt>
          <cx:pt idx="55581">3</cx:pt>
          <cx:pt idx="55582">3</cx:pt>
          <cx:pt idx="55583">5</cx:pt>
          <cx:pt idx="55584">1</cx:pt>
          <cx:pt idx="55585">4</cx:pt>
          <cx:pt idx="55586">4</cx:pt>
          <cx:pt idx="55587">3</cx:pt>
          <cx:pt idx="55588">3</cx:pt>
          <cx:pt idx="55589">3</cx:pt>
          <cx:pt idx="55590">3</cx:pt>
          <cx:pt idx="55591">5</cx:pt>
          <cx:pt idx="55592">2</cx:pt>
          <cx:pt idx="55593">4</cx:pt>
          <cx:pt idx="55594">4</cx:pt>
          <cx:pt idx="55595">2</cx:pt>
          <cx:pt idx="55596">3</cx:pt>
          <cx:pt idx="55597">3</cx:pt>
          <cx:pt idx="55598">5</cx:pt>
          <cx:pt idx="55599">1</cx:pt>
          <cx:pt idx="55600">2</cx:pt>
          <cx:pt idx="55601">1</cx:pt>
          <cx:pt idx="55602">2</cx:pt>
          <cx:pt idx="55603">3</cx:pt>
          <cx:pt idx="55604">2</cx:pt>
          <cx:pt idx="55605">3</cx:pt>
          <cx:pt idx="55606">2</cx:pt>
          <cx:pt idx="55607">5</cx:pt>
          <cx:pt idx="55608">2</cx:pt>
          <cx:pt idx="55609">4</cx:pt>
          <cx:pt idx="55610">3</cx:pt>
          <cx:pt idx="55611">4</cx:pt>
          <cx:pt idx="55612">5</cx:pt>
          <cx:pt idx="55613">1</cx:pt>
          <cx:pt idx="55614">2</cx:pt>
          <cx:pt idx="55615">0</cx:pt>
          <cx:pt idx="55616">5</cx:pt>
          <cx:pt idx="55617">3</cx:pt>
          <cx:pt idx="55618">2</cx:pt>
          <cx:pt idx="55619">3</cx:pt>
          <cx:pt idx="55620">4</cx:pt>
          <cx:pt idx="55621">3</cx:pt>
          <cx:pt idx="55622">4</cx:pt>
          <cx:pt idx="55623">4</cx:pt>
          <cx:pt idx="55624">3</cx:pt>
          <cx:pt idx="55625">4</cx:pt>
          <cx:pt idx="55626">4</cx:pt>
          <cx:pt idx="55627">3</cx:pt>
          <cx:pt idx="55628">5</cx:pt>
          <cx:pt idx="55629">4</cx:pt>
          <cx:pt idx="55630">2</cx:pt>
          <cx:pt idx="55631">1</cx:pt>
          <cx:pt idx="55632">4</cx:pt>
          <cx:pt idx="55633">3</cx:pt>
          <cx:pt idx="55634">4</cx:pt>
          <cx:pt idx="55635">4</cx:pt>
          <cx:pt idx="55636">3</cx:pt>
          <cx:pt idx="55637">5</cx:pt>
          <cx:pt idx="55638">3</cx:pt>
          <cx:pt idx="55639">2</cx:pt>
          <cx:pt idx="55640">3</cx:pt>
          <cx:pt idx="55641">3</cx:pt>
          <cx:pt idx="55642">1</cx:pt>
          <cx:pt idx="55643">3</cx:pt>
          <cx:pt idx="55644">1</cx:pt>
          <cx:pt idx="55645">3</cx:pt>
          <cx:pt idx="55646">2</cx:pt>
          <cx:pt idx="55647">2</cx:pt>
          <cx:pt idx="55648">2</cx:pt>
          <cx:pt idx="55649">5</cx:pt>
          <cx:pt idx="55650">5</cx:pt>
          <cx:pt idx="55651">1</cx:pt>
          <cx:pt idx="55652">4</cx:pt>
          <cx:pt idx="55653">3</cx:pt>
          <cx:pt idx="55654">4</cx:pt>
          <cx:pt idx="55655">4</cx:pt>
          <cx:pt idx="55656">5</cx:pt>
          <cx:pt idx="55657">4</cx:pt>
          <cx:pt idx="55658">5</cx:pt>
          <cx:pt idx="55659">3</cx:pt>
          <cx:pt idx="55660">5</cx:pt>
          <cx:pt idx="55661">3</cx:pt>
          <cx:pt idx="55662">2</cx:pt>
          <cx:pt idx="55663">3</cx:pt>
          <cx:pt idx="55664">1</cx:pt>
          <cx:pt idx="55665">2</cx:pt>
          <cx:pt idx="55666">5</cx:pt>
          <cx:pt idx="55667">4</cx:pt>
          <cx:pt idx="55668">1</cx:pt>
          <cx:pt idx="55669">4</cx:pt>
          <cx:pt idx="55670">4</cx:pt>
          <cx:pt idx="55671">4</cx:pt>
          <cx:pt idx="55672">2</cx:pt>
          <cx:pt idx="55673">3</cx:pt>
          <cx:pt idx="55674">3</cx:pt>
          <cx:pt idx="55675">2</cx:pt>
          <cx:pt idx="55676">2</cx:pt>
          <cx:pt idx="55677">2</cx:pt>
          <cx:pt idx="55678">2</cx:pt>
          <cx:pt idx="55679">3</cx:pt>
          <cx:pt idx="55680">4</cx:pt>
          <cx:pt idx="55681">3</cx:pt>
          <cx:pt idx="55682">4</cx:pt>
          <cx:pt idx="55683">3</cx:pt>
          <cx:pt idx="55684">1</cx:pt>
          <cx:pt idx="55685">2</cx:pt>
          <cx:pt idx="55686">3</cx:pt>
          <cx:pt idx="55687">1</cx:pt>
          <cx:pt idx="55688">1</cx:pt>
          <cx:pt idx="55689">5</cx:pt>
          <cx:pt idx="55690">1</cx:pt>
          <cx:pt idx="55691">2</cx:pt>
          <cx:pt idx="55692">2</cx:pt>
          <cx:pt idx="55693">2</cx:pt>
          <cx:pt idx="55694">4</cx:pt>
          <cx:pt idx="55695">1</cx:pt>
          <cx:pt idx="55696">3</cx:pt>
          <cx:pt idx="55697">2</cx:pt>
          <cx:pt idx="55698">2</cx:pt>
          <cx:pt idx="55699">5</cx:pt>
          <cx:pt idx="55700">4</cx:pt>
          <cx:pt idx="55701">4</cx:pt>
          <cx:pt idx="55702">1</cx:pt>
          <cx:pt idx="55703">3</cx:pt>
          <cx:pt idx="55704">5</cx:pt>
          <cx:pt idx="55705">4</cx:pt>
          <cx:pt idx="55706">4</cx:pt>
          <cx:pt idx="55707">4</cx:pt>
          <cx:pt idx="55708">5</cx:pt>
          <cx:pt idx="55709">1</cx:pt>
          <cx:pt idx="55710">4</cx:pt>
          <cx:pt idx="55711">2</cx:pt>
          <cx:pt idx="55712">1</cx:pt>
          <cx:pt idx="55713">3</cx:pt>
          <cx:pt idx="55714">2</cx:pt>
          <cx:pt idx="55715">5</cx:pt>
          <cx:pt idx="55716">3</cx:pt>
          <cx:pt idx="55717">2</cx:pt>
          <cx:pt idx="55718">3</cx:pt>
          <cx:pt idx="55719">2</cx:pt>
          <cx:pt idx="55720">5</cx:pt>
          <cx:pt idx="55721">5</cx:pt>
          <cx:pt idx="55722">4</cx:pt>
          <cx:pt idx="55723">5</cx:pt>
          <cx:pt idx="55724">4</cx:pt>
          <cx:pt idx="55725">1</cx:pt>
          <cx:pt idx="55726">1</cx:pt>
          <cx:pt idx="55727">0</cx:pt>
          <cx:pt idx="55728">5</cx:pt>
          <cx:pt idx="55729">3</cx:pt>
          <cx:pt idx="55730">1</cx:pt>
          <cx:pt idx="55731">1</cx:pt>
          <cx:pt idx="55732">3</cx:pt>
          <cx:pt idx="55733">5</cx:pt>
          <cx:pt idx="55734">1</cx:pt>
          <cx:pt idx="55735">3</cx:pt>
          <cx:pt idx="55736">2</cx:pt>
          <cx:pt idx="55737">3</cx:pt>
          <cx:pt idx="55738">5</cx:pt>
          <cx:pt idx="55739">4</cx:pt>
          <cx:pt idx="55740">4</cx:pt>
          <cx:pt idx="55741">3</cx:pt>
          <cx:pt idx="55742">4</cx:pt>
          <cx:pt idx="55743">4</cx:pt>
          <cx:pt idx="55744">3</cx:pt>
          <cx:pt idx="55745">3</cx:pt>
          <cx:pt idx="55746">5</cx:pt>
          <cx:pt idx="55747">5</cx:pt>
          <cx:pt idx="55748">5</cx:pt>
          <cx:pt idx="55749">5</cx:pt>
          <cx:pt idx="55750">3</cx:pt>
          <cx:pt idx="55751">2</cx:pt>
          <cx:pt idx="55752">2</cx:pt>
          <cx:pt idx="55753">5</cx:pt>
          <cx:pt idx="55754">3</cx:pt>
          <cx:pt idx="55755">2</cx:pt>
          <cx:pt idx="55756">5</cx:pt>
          <cx:pt idx="55757">0</cx:pt>
          <cx:pt idx="55758">4</cx:pt>
          <cx:pt idx="55759">4</cx:pt>
          <cx:pt idx="55760">3</cx:pt>
          <cx:pt idx="55761">3</cx:pt>
          <cx:pt idx="55762">5</cx:pt>
          <cx:pt idx="55763">5</cx:pt>
          <cx:pt idx="55764">2</cx:pt>
          <cx:pt idx="55765">2</cx:pt>
          <cx:pt idx="55766">3</cx:pt>
          <cx:pt idx="55767">4</cx:pt>
          <cx:pt idx="55768">3</cx:pt>
          <cx:pt idx="55769">5</cx:pt>
          <cx:pt idx="55770">4</cx:pt>
          <cx:pt idx="55771">5</cx:pt>
          <cx:pt idx="55772">1</cx:pt>
          <cx:pt idx="55773">4</cx:pt>
          <cx:pt idx="55774">2</cx:pt>
          <cx:pt idx="55775">2</cx:pt>
          <cx:pt idx="55776">1</cx:pt>
          <cx:pt idx="55777">3</cx:pt>
          <cx:pt idx="55778">4</cx:pt>
          <cx:pt idx="55779">1</cx:pt>
          <cx:pt idx="55780">1</cx:pt>
          <cx:pt idx="55781">1</cx:pt>
          <cx:pt idx="55782">3</cx:pt>
          <cx:pt idx="55783">2</cx:pt>
          <cx:pt idx="55784">4</cx:pt>
          <cx:pt idx="55785">4</cx:pt>
          <cx:pt idx="55786">3</cx:pt>
          <cx:pt idx="55787">3</cx:pt>
          <cx:pt idx="55788">1</cx:pt>
          <cx:pt idx="55789">3</cx:pt>
          <cx:pt idx="55790">4</cx:pt>
          <cx:pt idx="55791">4</cx:pt>
          <cx:pt idx="55792">3</cx:pt>
          <cx:pt idx="55793">3</cx:pt>
          <cx:pt idx="55794">5</cx:pt>
          <cx:pt idx="55795">1</cx:pt>
          <cx:pt idx="55796">2</cx:pt>
          <cx:pt idx="55797">2</cx:pt>
          <cx:pt idx="55798">2</cx:pt>
          <cx:pt idx="55799">5</cx:pt>
          <cx:pt idx="55800">2</cx:pt>
          <cx:pt idx="55801">4</cx:pt>
          <cx:pt idx="55802">3</cx:pt>
          <cx:pt idx="55803">2</cx:pt>
          <cx:pt idx="55804">3</cx:pt>
          <cx:pt idx="55805">5</cx:pt>
          <cx:pt idx="55806">1</cx:pt>
          <cx:pt idx="55807">1</cx:pt>
          <cx:pt idx="55808">4</cx:pt>
          <cx:pt idx="55809">2</cx:pt>
          <cx:pt idx="55810">4</cx:pt>
          <cx:pt idx="55811">0</cx:pt>
          <cx:pt idx="55812">4</cx:pt>
          <cx:pt idx="55813">1</cx:pt>
          <cx:pt idx="55814">2</cx:pt>
          <cx:pt idx="55815">3</cx:pt>
          <cx:pt idx="55816">2</cx:pt>
          <cx:pt idx="55817">4</cx:pt>
          <cx:pt idx="55818">5</cx:pt>
          <cx:pt idx="55819">5</cx:pt>
          <cx:pt idx="55820">0</cx:pt>
          <cx:pt idx="55821">5</cx:pt>
          <cx:pt idx="55822">3</cx:pt>
          <cx:pt idx="55823">2</cx:pt>
          <cx:pt idx="55824">1</cx:pt>
          <cx:pt idx="55825">4</cx:pt>
          <cx:pt idx="55826">1</cx:pt>
          <cx:pt idx="55827">3</cx:pt>
          <cx:pt idx="55828">3</cx:pt>
          <cx:pt idx="55829">4</cx:pt>
          <cx:pt idx="55830">1</cx:pt>
          <cx:pt idx="55831">4</cx:pt>
          <cx:pt idx="55832">3</cx:pt>
          <cx:pt idx="55833">4</cx:pt>
          <cx:pt idx="55834">3</cx:pt>
          <cx:pt idx="55835">3</cx:pt>
          <cx:pt idx="55836">3</cx:pt>
          <cx:pt idx="55837">2</cx:pt>
          <cx:pt idx="55838">4</cx:pt>
          <cx:pt idx="55839">0</cx:pt>
          <cx:pt idx="55840">2</cx:pt>
          <cx:pt idx="55841">5</cx:pt>
          <cx:pt idx="55842">5</cx:pt>
          <cx:pt idx="55843">1</cx:pt>
          <cx:pt idx="55844">4</cx:pt>
          <cx:pt idx="55845">2</cx:pt>
          <cx:pt idx="55846">4</cx:pt>
          <cx:pt idx="55847">3</cx:pt>
          <cx:pt idx="55848">3</cx:pt>
          <cx:pt idx="55849">1</cx:pt>
          <cx:pt idx="55850">3</cx:pt>
          <cx:pt idx="55851">4</cx:pt>
          <cx:pt idx="55852">3</cx:pt>
          <cx:pt idx="55853">2</cx:pt>
          <cx:pt idx="55854">1</cx:pt>
          <cx:pt idx="55855">4</cx:pt>
          <cx:pt idx="55856">2</cx:pt>
          <cx:pt idx="55857">3</cx:pt>
          <cx:pt idx="55858">2</cx:pt>
          <cx:pt idx="55859">1</cx:pt>
          <cx:pt idx="55860">3</cx:pt>
          <cx:pt idx="55861">3</cx:pt>
          <cx:pt idx="55862">2</cx:pt>
          <cx:pt idx="55863">4</cx:pt>
          <cx:pt idx="55864">2</cx:pt>
          <cx:pt idx="55865">4</cx:pt>
          <cx:pt idx="55866">4</cx:pt>
          <cx:pt idx="55867">1</cx:pt>
          <cx:pt idx="55868">5</cx:pt>
          <cx:pt idx="55869">2</cx:pt>
          <cx:pt idx="55870">3</cx:pt>
          <cx:pt idx="55871">3</cx:pt>
          <cx:pt idx="55872">2</cx:pt>
          <cx:pt idx="55873">0</cx:pt>
          <cx:pt idx="55874">3</cx:pt>
          <cx:pt idx="55875">1</cx:pt>
          <cx:pt idx="55876">2</cx:pt>
          <cx:pt idx="55877">4</cx:pt>
          <cx:pt idx="55878">2</cx:pt>
          <cx:pt idx="55879">5</cx:pt>
          <cx:pt idx="55880">1</cx:pt>
          <cx:pt idx="55881">2</cx:pt>
          <cx:pt idx="55882">4</cx:pt>
          <cx:pt idx="55883">5</cx:pt>
          <cx:pt idx="55884">1</cx:pt>
          <cx:pt idx="55885">5</cx:pt>
          <cx:pt idx="55886">0</cx:pt>
          <cx:pt idx="55887">2</cx:pt>
          <cx:pt idx="55888">4</cx:pt>
          <cx:pt idx="55889">3</cx:pt>
          <cx:pt idx="55890">3</cx:pt>
          <cx:pt idx="55891">5</cx:pt>
          <cx:pt idx="55892">4</cx:pt>
          <cx:pt idx="55893">1</cx:pt>
          <cx:pt idx="55894">1</cx:pt>
          <cx:pt idx="55895">1</cx:pt>
          <cx:pt idx="55896">4</cx:pt>
          <cx:pt idx="55897">4</cx:pt>
          <cx:pt idx="55898">1</cx:pt>
          <cx:pt idx="55899">2</cx:pt>
          <cx:pt idx="55900">1</cx:pt>
          <cx:pt idx="55901">1</cx:pt>
          <cx:pt idx="55902">5</cx:pt>
          <cx:pt idx="55903">5</cx:pt>
          <cx:pt idx="55904">0</cx:pt>
          <cx:pt idx="55905">5</cx:pt>
          <cx:pt idx="55906">2</cx:pt>
          <cx:pt idx="55907">1</cx:pt>
          <cx:pt idx="55908">4</cx:pt>
          <cx:pt idx="55909">1</cx:pt>
          <cx:pt idx="55910">3</cx:pt>
          <cx:pt idx="55911">2</cx:pt>
          <cx:pt idx="55912">5</cx:pt>
          <cx:pt idx="55913">3</cx:pt>
          <cx:pt idx="55914">2</cx:pt>
          <cx:pt idx="55915">1</cx:pt>
          <cx:pt idx="55916">4</cx:pt>
          <cx:pt idx="55917">3</cx:pt>
          <cx:pt idx="55918">2</cx:pt>
          <cx:pt idx="55919">0</cx:pt>
          <cx:pt idx="55920">2</cx:pt>
          <cx:pt idx="55921">5</cx:pt>
          <cx:pt idx="55922">1</cx:pt>
          <cx:pt idx="55923">3</cx:pt>
          <cx:pt idx="55924">5</cx:pt>
          <cx:pt idx="55925">5</cx:pt>
          <cx:pt idx="55926">1</cx:pt>
          <cx:pt idx="55927">4</cx:pt>
          <cx:pt idx="55928">5</cx:pt>
          <cx:pt idx="55929">3</cx:pt>
          <cx:pt idx="55930">5</cx:pt>
          <cx:pt idx="55931">0</cx:pt>
          <cx:pt idx="55932">4</cx:pt>
          <cx:pt idx="55933">1</cx:pt>
          <cx:pt idx="55934">1</cx:pt>
          <cx:pt idx="55935">3</cx:pt>
          <cx:pt idx="55936">4</cx:pt>
          <cx:pt idx="55937">2</cx:pt>
          <cx:pt idx="55938">4</cx:pt>
          <cx:pt idx="55939">3</cx:pt>
          <cx:pt idx="55940">0</cx:pt>
          <cx:pt idx="55941">1</cx:pt>
          <cx:pt idx="55942">5</cx:pt>
          <cx:pt idx="55943">3</cx:pt>
          <cx:pt idx="55944">3</cx:pt>
          <cx:pt idx="55945">2</cx:pt>
          <cx:pt idx="55946">2</cx:pt>
          <cx:pt idx="55947">4</cx:pt>
          <cx:pt idx="55948">3</cx:pt>
          <cx:pt idx="55949">2</cx:pt>
          <cx:pt idx="55950">3</cx:pt>
          <cx:pt idx="55951">1</cx:pt>
          <cx:pt idx="55952">1</cx:pt>
          <cx:pt idx="55953">4</cx:pt>
          <cx:pt idx="55954">2</cx:pt>
          <cx:pt idx="55955">2</cx:pt>
          <cx:pt idx="55956">3</cx:pt>
          <cx:pt idx="55957">1</cx:pt>
          <cx:pt idx="55958">3</cx:pt>
          <cx:pt idx="55959">1</cx:pt>
          <cx:pt idx="55960">3</cx:pt>
          <cx:pt idx="55961">4</cx:pt>
          <cx:pt idx="55962">4</cx:pt>
          <cx:pt idx="55963">2</cx:pt>
          <cx:pt idx="55964">2</cx:pt>
          <cx:pt idx="55965">2</cx:pt>
          <cx:pt idx="55966">5</cx:pt>
          <cx:pt idx="55967">3</cx:pt>
          <cx:pt idx="55968">4</cx:pt>
          <cx:pt idx="55969">3</cx:pt>
          <cx:pt idx="55970">3</cx:pt>
          <cx:pt idx="55971">2</cx:pt>
          <cx:pt idx="55972">2</cx:pt>
          <cx:pt idx="55973">2</cx:pt>
          <cx:pt idx="55974">1</cx:pt>
          <cx:pt idx="55975">4</cx:pt>
          <cx:pt idx="55976">2</cx:pt>
          <cx:pt idx="55977">3</cx:pt>
          <cx:pt idx="55978">3</cx:pt>
          <cx:pt idx="55979">1</cx:pt>
          <cx:pt idx="55980">2</cx:pt>
          <cx:pt idx="55981">3</cx:pt>
          <cx:pt idx="55982">4</cx:pt>
          <cx:pt idx="55983">3</cx:pt>
          <cx:pt idx="55984">3</cx:pt>
          <cx:pt idx="55985">4</cx:pt>
          <cx:pt idx="55986">4</cx:pt>
          <cx:pt idx="55987">3</cx:pt>
          <cx:pt idx="55988">1</cx:pt>
          <cx:pt idx="55989">4</cx:pt>
          <cx:pt idx="55990">4</cx:pt>
          <cx:pt idx="55991">4</cx:pt>
          <cx:pt idx="55992">2</cx:pt>
          <cx:pt idx="55993">5</cx:pt>
          <cx:pt idx="55994">2</cx:pt>
          <cx:pt idx="55995">2</cx:pt>
          <cx:pt idx="55996">2</cx:pt>
          <cx:pt idx="55997">2</cx:pt>
          <cx:pt idx="55998">3</cx:pt>
          <cx:pt idx="55999">4</cx:pt>
          <cx:pt idx="56000">3</cx:pt>
          <cx:pt idx="56001">4</cx:pt>
          <cx:pt idx="56002">4</cx:pt>
          <cx:pt idx="56003">3</cx:pt>
          <cx:pt idx="56004">2</cx:pt>
          <cx:pt idx="56005">5</cx:pt>
          <cx:pt idx="56006">3</cx:pt>
          <cx:pt idx="56007">1</cx:pt>
          <cx:pt idx="56008">5</cx:pt>
          <cx:pt idx="56009">1</cx:pt>
          <cx:pt idx="56010">3</cx:pt>
          <cx:pt idx="56011">3</cx:pt>
          <cx:pt idx="56012">1</cx:pt>
          <cx:pt idx="56013">3</cx:pt>
          <cx:pt idx="56014">3</cx:pt>
          <cx:pt idx="56015">5</cx:pt>
          <cx:pt idx="56016">1</cx:pt>
          <cx:pt idx="56017">2</cx:pt>
          <cx:pt idx="56018">5</cx:pt>
          <cx:pt idx="56019">3</cx:pt>
          <cx:pt idx="56020">3</cx:pt>
          <cx:pt idx="56021">4</cx:pt>
          <cx:pt idx="56022">1</cx:pt>
          <cx:pt idx="56023">3</cx:pt>
          <cx:pt idx="56024">3</cx:pt>
          <cx:pt idx="56025">3</cx:pt>
          <cx:pt idx="56026">2</cx:pt>
          <cx:pt idx="56027">0</cx:pt>
          <cx:pt idx="56028">4</cx:pt>
          <cx:pt idx="56029">2</cx:pt>
          <cx:pt idx="56030">1</cx:pt>
          <cx:pt idx="56031">1</cx:pt>
          <cx:pt idx="56032">3</cx:pt>
          <cx:pt idx="56033">3</cx:pt>
          <cx:pt idx="56034">5</cx:pt>
          <cx:pt idx="56035">3</cx:pt>
          <cx:pt idx="56036">3</cx:pt>
          <cx:pt idx="56037">3</cx:pt>
          <cx:pt idx="56038">1</cx:pt>
          <cx:pt idx="56039">0</cx:pt>
          <cx:pt idx="56040">2</cx:pt>
          <cx:pt idx="56041">3</cx:pt>
          <cx:pt idx="56042">2</cx:pt>
          <cx:pt idx="56043">1</cx:pt>
          <cx:pt idx="56044">3</cx:pt>
          <cx:pt idx="56045">1</cx:pt>
          <cx:pt idx="56046">5</cx:pt>
          <cx:pt idx="56047">1</cx:pt>
          <cx:pt idx="56048">1</cx:pt>
          <cx:pt idx="56049">4</cx:pt>
          <cx:pt idx="56050">3</cx:pt>
          <cx:pt idx="56051">5</cx:pt>
          <cx:pt idx="56052">3</cx:pt>
          <cx:pt idx="56053">3</cx:pt>
          <cx:pt idx="56054">2</cx:pt>
          <cx:pt idx="56055">4</cx:pt>
          <cx:pt idx="56056">2</cx:pt>
          <cx:pt idx="56057">4</cx:pt>
          <cx:pt idx="56058">0</cx:pt>
          <cx:pt idx="56059">3</cx:pt>
          <cx:pt idx="56060">2</cx:pt>
          <cx:pt idx="56061">4</cx:pt>
          <cx:pt idx="56062">5</cx:pt>
          <cx:pt idx="56063">5</cx:pt>
          <cx:pt idx="56064">5</cx:pt>
          <cx:pt idx="56065">4</cx:pt>
          <cx:pt idx="56066">1</cx:pt>
          <cx:pt idx="56067">2</cx:pt>
          <cx:pt idx="56068">3</cx:pt>
          <cx:pt idx="56069">0</cx:pt>
          <cx:pt idx="56070">3</cx:pt>
          <cx:pt idx="56071">2</cx:pt>
          <cx:pt idx="56072">5</cx:pt>
          <cx:pt idx="56073">2</cx:pt>
          <cx:pt idx="56074">2</cx:pt>
          <cx:pt idx="56075">5</cx:pt>
          <cx:pt idx="56076">3</cx:pt>
          <cx:pt idx="56077">0</cx:pt>
          <cx:pt idx="56078">5</cx:pt>
          <cx:pt idx="56079">5</cx:pt>
          <cx:pt idx="56080">5</cx:pt>
          <cx:pt idx="56081">3</cx:pt>
          <cx:pt idx="56082">1</cx:pt>
          <cx:pt idx="56083">2</cx:pt>
          <cx:pt idx="56084">5</cx:pt>
          <cx:pt idx="56085">1</cx:pt>
          <cx:pt idx="56086">1</cx:pt>
          <cx:pt idx="56087">2</cx:pt>
          <cx:pt idx="56088">3</cx:pt>
          <cx:pt idx="56089">0</cx:pt>
          <cx:pt idx="56090">3</cx:pt>
          <cx:pt idx="56091">5</cx:pt>
          <cx:pt idx="56092">2</cx:pt>
          <cx:pt idx="56093">3</cx:pt>
          <cx:pt idx="56094">3</cx:pt>
          <cx:pt idx="56095">0</cx:pt>
          <cx:pt idx="56096">2</cx:pt>
          <cx:pt idx="56097">2</cx:pt>
          <cx:pt idx="56098">3</cx:pt>
          <cx:pt idx="56099">4</cx:pt>
          <cx:pt idx="56100">2</cx:pt>
          <cx:pt idx="56101">3</cx:pt>
          <cx:pt idx="56102">3</cx:pt>
          <cx:pt idx="56103">5</cx:pt>
          <cx:pt idx="56104">5</cx:pt>
          <cx:pt idx="56105">3</cx:pt>
          <cx:pt idx="56106">3</cx:pt>
          <cx:pt idx="56107">5</cx:pt>
          <cx:pt idx="56108">2</cx:pt>
          <cx:pt idx="56109">2</cx:pt>
          <cx:pt idx="56110">3</cx:pt>
          <cx:pt idx="56111">5</cx:pt>
          <cx:pt idx="56112">4</cx:pt>
          <cx:pt idx="56113">2</cx:pt>
          <cx:pt idx="56114">2</cx:pt>
          <cx:pt idx="56115">4</cx:pt>
          <cx:pt idx="56116">2</cx:pt>
          <cx:pt idx="56117">1</cx:pt>
          <cx:pt idx="56118">2</cx:pt>
          <cx:pt idx="56119">4</cx:pt>
          <cx:pt idx="56120">4</cx:pt>
          <cx:pt idx="56121">1</cx:pt>
          <cx:pt idx="56122">3</cx:pt>
          <cx:pt idx="56123">1</cx:pt>
          <cx:pt idx="56124">0</cx:pt>
          <cx:pt idx="56125">3</cx:pt>
          <cx:pt idx="56126">5</cx:pt>
          <cx:pt idx="56127">4</cx:pt>
          <cx:pt idx="56128">3</cx:pt>
          <cx:pt idx="56129">4</cx:pt>
          <cx:pt idx="56130">3</cx:pt>
          <cx:pt idx="56131">4</cx:pt>
          <cx:pt idx="56132">4</cx:pt>
          <cx:pt idx="56133">1</cx:pt>
          <cx:pt idx="56134">4</cx:pt>
          <cx:pt idx="56135">2</cx:pt>
          <cx:pt idx="56136">1</cx:pt>
          <cx:pt idx="56137">5</cx:pt>
          <cx:pt idx="56138">3</cx:pt>
          <cx:pt idx="56139">3</cx:pt>
          <cx:pt idx="56140">4</cx:pt>
          <cx:pt idx="56141">4</cx:pt>
          <cx:pt idx="56142">5</cx:pt>
          <cx:pt idx="56143">0</cx:pt>
          <cx:pt idx="56144">4</cx:pt>
          <cx:pt idx="56145">5</cx:pt>
          <cx:pt idx="56146">4</cx:pt>
          <cx:pt idx="56147">4</cx:pt>
          <cx:pt idx="56148">5</cx:pt>
          <cx:pt idx="56149">3</cx:pt>
          <cx:pt idx="56150">3</cx:pt>
          <cx:pt idx="56151">4</cx:pt>
          <cx:pt idx="56152">1</cx:pt>
          <cx:pt idx="56153">1</cx:pt>
          <cx:pt idx="56154">2</cx:pt>
          <cx:pt idx="56155">1</cx:pt>
          <cx:pt idx="56156">3</cx:pt>
          <cx:pt idx="56157">1</cx:pt>
          <cx:pt idx="56158">5</cx:pt>
          <cx:pt idx="56159">1</cx:pt>
          <cx:pt idx="56160">4</cx:pt>
          <cx:pt idx="56161">4</cx:pt>
          <cx:pt idx="56162">3</cx:pt>
          <cx:pt idx="56163">2</cx:pt>
          <cx:pt idx="56164">1</cx:pt>
          <cx:pt idx="56165">5</cx:pt>
          <cx:pt idx="56166">2</cx:pt>
          <cx:pt idx="56167">5</cx:pt>
          <cx:pt idx="56168">4</cx:pt>
          <cx:pt idx="56169">2</cx:pt>
          <cx:pt idx="56170">1</cx:pt>
          <cx:pt idx="56171">2</cx:pt>
          <cx:pt idx="56172">3</cx:pt>
          <cx:pt idx="56173">4</cx:pt>
          <cx:pt idx="56174">3</cx:pt>
          <cx:pt idx="56175">2</cx:pt>
          <cx:pt idx="56176">1</cx:pt>
          <cx:pt idx="56177">5</cx:pt>
          <cx:pt idx="56178">1</cx:pt>
          <cx:pt idx="56179">2</cx:pt>
          <cx:pt idx="56180">4</cx:pt>
          <cx:pt idx="56181">2</cx:pt>
          <cx:pt idx="56182">2</cx:pt>
          <cx:pt idx="56183">1</cx:pt>
          <cx:pt idx="56184">2</cx:pt>
          <cx:pt idx="56185">3</cx:pt>
          <cx:pt idx="56186">1</cx:pt>
          <cx:pt idx="56187">4</cx:pt>
          <cx:pt idx="56188">4</cx:pt>
          <cx:pt idx="56189">4</cx:pt>
          <cx:pt idx="56190">4</cx:pt>
          <cx:pt idx="56191">4</cx:pt>
          <cx:pt idx="56192">4</cx:pt>
          <cx:pt idx="56193">5</cx:pt>
          <cx:pt idx="56194">5</cx:pt>
          <cx:pt idx="56195">5</cx:pt>
          <cx:pt idx="56196">4</cx:pt>
          <cx:pt idx="56197">2</cx:pt>
          <cx:pt idx="56198">3</cx:pt>
          <cx:pt idx="56199">2</cx:pt>
          <cx:pt idx="56200">3</cx:pt>
          <cx:pt idx="56201">3</cx:pt>
          <cx:pt idx="56202">5</cx:pt>
          <cx:pt idx="56203">1</cx:pt>
          <cx:pt idx="56204">4</cx:pt>
          <cx:pt idx="56205">2</cx:pt>
          <cx:pt idx="56206">3</cx:pt>
          <cx:pt idx="56207">5</cx:pt>
          <cx:pt idx="56208">2</cx:pt>
          <cx:pt idx="56209">3</cx:pt>
          <cx:pt idx="56210">2</cx:pt>
          <cx:pt idx="56211">3</cx:pt>
          <cx:pt idx="56212">2</cx:pt>
          <cx:pt idx="56213">4</cx:pt>
          <cx:pt idx="56214">2</cx:pt>
          <cx:pt idx="56215">3</cx:pt>
          <cx:pt idx="56216">1</cx:pt>
          <cx:pt idx="56217">4</cx:pt>
          <cx:pt idx="56218">5</cx:pt>
          <cx:pt idx="56219">3</cx:pt>
          <cx:pt idx="56220">5</cx:pt>
          <cx:pt idx="56221">1</cx:pt>
          <cx:pt idx="56222">4</cx:pt>
          <cx:pt idx="56223">1</cx:pt>
          <cx:pt idx="56224">4</cx:pt>
          <cx:pt idx="56225">3</cx:pt>
          <cx:pt idx="56226">3</cx:pt>
          <cx:pt idx="56227">3</cx:pt>
          <cx:pt idx="56228">3</cx:pt>
          <cx:pt idx="56229">3</cx:pt>
          <cx:pt idx="56230">5</cx:pt>
          <cx:pt idx="56231">1</cx:pt>
          <cx:pt idx="56232">5</cx:pt>
          <cx:pt idx="56233">4</cx:pt>
          <cx:pt idx="56234">3</cx:pt>
          <cx:pt idx="56235">1</cx:pt>
          <cx:pt idx="56236">2</cx:pt>
          <cx:pt idx="56237">1</cx:pt>
          <cx:pt idx="56238">3</cx:pt>
          <cx:pt idx="56239">0</cx:pt>
          <cx:pt idx="56240">3</cx:pt>
          <cx:pt idx="56241">2</cx:pt>
          <cx:pt idx="56242">4</cx:pt>
          <cx:pt idx="56243">1</cx:pt>
          <cx:pt idx="56244">2</cx:pt>
          <cx:pt idx="56245">2</cx:pt>
          <cx:pt idx="56246">4</cx:pt>
          <cx:pt idx="56247">4</cx:pt>
          <cx:pt idx="56248">4</cx:pt>
          <cx:pt idx="56249">4</cx:pt>
          <cx:pt idx="56250">5</cx:pt>
          <cx:pt idx="56251">4</cx:pt>
          <cx:pt idx="56252">3</cx:pt>
          <cx:pt idx="56253">3</cx:pt>
          <cx:pt idx="56254">2</cx:pt>
          <cx:pt idx="56255">2</cx:pt>
          <cx:pt idx="56256">5</cx:pt>
          <cx:pt idx="56257">3</cx:pt>
          <cx:pt idx="56258">1</cx:pt>
          <cx:pt idx="56259">3</cx:pt>
          <cx:pt idx="56260">0</cx:pt>
          <cx:pt idx="56261">3</cx:pt>
          <cx:pt idx="56262">4</cx:pt>
          <cx:pt idx="56263">5</cx:pt>
          <cx:pt idx="56264">3</cx:pt>
          <cx:pt idx="56265">3</cx:pt>
          <cx:pt idx="56266">4</cx:pt>
          <cx:pt idx="56267">3</cx:pt>
          <cx:pt idx="56268">5</cx:pt>
          <cx:pt idx="56269">5</cx:pt>
          <cx:pt idx="56270">5</cx:pt>
          <cx:pt idx="56271">5</cx:pt>
          <cx:pt idx="56272">1</cx:pt>
          <cx:pt idx="56273">4</cx:pt>
          <cx:pt idx="56274">1</cx:pt>
          <cx:pt idx="56275">3</cx:pt>
          <cx:pt idx="56276">5</cx:pt>
          <cx:pt idx="56277">4</cx:pt>
          <cx:pt idx="56278">5</cx:pt>
          <cx:pt idx="56279">3</cx:pt>
          <cx:pt idx="56280">3</cx:pt>
          <cx:pt idx="56281">1</cx:pt>
          <cx:pt idx="56282">0</cx:pt>
          <cx:pt idx="56283">5</cx:pt>
          <cx:pt idx="56284">3</cx:pt>
          <cx:pt idx="56285">4</cx:pt>
          <cx:pt idx="56286">1</cx:pt>
          <cx:pt idx="56287">1</cx:pt>
          <cx:pt idx="56288">3</cx:pt>
          <cx:pt idx="56289">3</cx:pt>
          <cx:pt idx="56290">5</cx:pt>
          <cx:pt idx="56291">2</cx:pt>
          <cx:pt idx="56292">4</cx:pt>
          <cx:pt idx="56293">0</cx:pt>
          <cx:pt idx="56294">3</cx:pt>
          <cx:pt idx="56295">0</cx:pt>
          <cx:pt idx="56296">1</cx:pt>
          <cx:pt idx="56297">3</cx:pt>
          <cx:pt idx="56298">5</cx:pt>
          <cx:pt idx="56299">1</cx:pt>
          <cx:pt idx="56300">3</cx:pt>
          <cx:pt idx="56301">3</cx:pt>
          <cx:pt idx="56302">3</cx:pt>
          <cx:pt idx="56303">3</cx:pt>
          <cx:pt idx="56304">5</cx:pt>
          <cx:pt idx="56305">3</cx:pt>
          <cx:pt idx="56306">4</cx:pt>
          <cx:pt idx="56307">4</cx:pt>
          <cx:pt idx="56308">2</cx:pt>
          <cx:pt idx="56309">3</cx:pt>
          <cx:pt idx="56310">0</cx:pt>
          <cx:pt idx="56311">3</cx:pt>
          <cx:pt idx="56312">4</cx:pt>
          <cx:pt idx="56313">2</cx:pt>
          <cx:pt idx="56314">2</cx:pt>
          <cx:pt idx="56315">2</cx:pt>
          <cx:pt idx="56316">3</cx:pt>
          <cx:pt idx="56317">1</cx:pt>
          <cx:pt idx="56318">2</cx:pt>
          <cx:pt idx="56319">2</cx:pt>
          <cx:pt idx="56320">5</cx:pt>
          <cx:pt idx="56321">2</cx:pt>
          <cx:pt idx="56322">4</cx:pt>
          <cx:pt idx="56323">2</cx:pt>
          <cx:pt idx="56324">5</cx:pt>
          <cx:pt idx="56325">4</cx:pt>
          <cx:pt idx="56326">3</cx:pt>
          <cx:pt idx="56327">4</cx:pt>
          <cx:pt idx="56328">3</cx:pt>
          <cx:pt idx="56329">4</cx:pt>
          <cx:pt idx="56330">0</cx:pt>
          <cx:pt idx="56331">1</cx:pt>
          <cx:pt idx="56332">2</cx:pt>
          <cx:pt idx="56333">3</cx:pt>
          <cx:pt idx="56334">2</cx:pt>
          <cx:pt idx="56335">2</cx:pt>
          <cx:pt idx="56336">2</cx:pt>
          <cx:pt idx="56337">4</cx:pt>
          <cx:pt idx="56338">2</cx:pt>
          <cx:pt idx="56339">2</cx:pt>
          <cx:pt idx="56340">2</cx:pt>
          <cx:pt idx="56341">4</cx:pt>
          <cx:pt idx="56342">3</cx:pt>
          <cx:pt idx="56343">1</cx:pt>
          <cx:pt idx="56344">4</cx:pt>
          <cx:pt idx="56345">5</cx:pt>
          <cx:pt idx="56346">3</cx:pt>
          <cx:pt idx="56347">5</cx:pt>
          <cx:pt idx="56348">3</cx:pt>
          <cx:pt idx="56349">3</cx:pt>
          <cx:pt idx="56350">4</cx:pt>
          <cx:pt idx="56351">5</cx:pt>
          <cx:pt idx="56352">3</cx:pt>
          <cx:pt idx="56353">1</cx:pt>
          <cx:pt idx="56354">2</cx:pt>
          <cx:pt idx="56355">4</cx:pt>
          <cx:pt idx="56356">5</cx:pt>
          <cx:pt idx="56357">1</cx:pt>
          <cx:pt idx="56358">3</cx:pt>
          <cx:pt idx="56359">4</cx:pt>
          <cx:pt idx="56360">1</cx:pt>
          <cx:pt idx="56361">1</cx:pt>
          <cx:pt idx="56362">1</cx:pt>
          <cx:pt idx="56363">1</cx:pt>
          <cx:pt idx="56364">2</cx:pt>
          <cx:pt idx="56365">5</cx:pt>
          <cx:pt idx="56366">2</cx:pt>
          <cx:pt idx="56367">4</cx:pt>
          <cx:pt idx="56368">2</cx:pt>
          <cx:pt idx="56369">5</cx:pt>
          <cx:pt idx="56370">3</cx:pt>
          <cx:pt idx="56371">3</cx:pt>
          <cx:pt idx="56372">5</cx:pt>
          <cx:pt idx="56373">4</cx:pt>
          <cx:pt idx="56374">5</cx:pt>
          <cx:pt idx="56375">3</cx:pt>
          <cx:pt idx="56376">1</cx:pt>
          <cx:pt idx="56377">3</cx:pt>
          <cx:pt idx="56378">4</cx:pt>
          <cx:pt idx="56379">2</cx:pt>
          <cx:pt idx="56380">1</cx:pt>
          <cx:pt idx="56381">4</cx:pt>
          <cx:pt idx="56382">1</cx:pt>
          <cx:pt idx="56383">3</cx:pt>
          <cx:pt idx="56384">4</cx:pt>
          <cx:pt idx="56385">3</cx:pt>
          <cx:pt idx="56386">1</cx:pt>
          <cx:pt idx="56387">3</cx:pt>
          <cx:pt idx="56388">1</cx:pt>
          <cx:pt idx="56389">4</cx:pt>
          <cx:pt idx="56390">3</cx:pt>
          <cx:pt idx="56391">1</cx:pt>
          <cx:pt idx="56392">0</cx:pt>
          <cx:pt idx="56393">2</cx:pt>
          <cx:pt idx="56394">3</cx:pt>
          <cx:pt idx="56395">1</cx:pt>
          <cx:pt idx="56396">2</cx:pt>
          <cx:pt idx="56397">5</cx:pt>
          <cx:pt idx="56398">2</cx:pt>
          <cx:pt idx="56399">2</cx:pt>
          <cx:pt idx="56400">4</cx:pt>
          <cx:pt idx="56401">3</cx:pt>
          <cx:pt idx="56402">3</cx:pt>
          <cx:pt idx="56403">2</cx:pt>
          <cx:pt idx="56404">2</cx:pt>
          <cx:pt idx="56405">2</cx:pt>
          <cx:pt idx="56406">3</cx:pt>
          <cx:pt idx="56407">3</cx:pt>
          <cx:pt idx="56408">2</cx:pt>
          <cx:pt idx="56409">4</cx:pt>
          <cx:pt idx="56410">3</cx:pt>
          <cx:pt idx="56411">3</cx:pt>
          <cx:pt idx="56412">4</cx:pt>
          <cx:pt idx="56413">2</cx:pt>
          <cx:pt idx="56414">4</cx:pt>
          <cx:pt idx="56415">3</cx:pt>
          <cx:pt idx="56416">3</cx:pt>
          <cx:pt idx="56417">1</cx:pt>
          <cx:pt idx="56418">2</cx:pt>
          <cx:pt idx="56419">2</cx:pt>
          <cx:pt idx="56420">4</cx:pt>
          <cx:pt idx="56421">4</cx:pt>
          <cx:pt idx="56422">4</cx:pt>
          <cx:pt idx="56423">5</cx:pt>
          <cx:pt idx="56424">3</cx:pt>
          <cx:pt idx="56425">3</cx:pt>
          <cx:pt idx="56426">4</cx:pt>
          <cx:pt idx="56427">1</cx:pt>
          <cx:pt idx="56428">4</cx:pt>
          <cx:pt idx="56429">5</cx:pt>
          <cx:pt idx="56430">2</cx:pt>
          <cx:pt idx="56431">1</cx:pt>
          <cx:pt idx="56432">5</cx:pt>
          <cx:pt idx="56433">2</cx:pt>
          <cx:pt idx="56434">0</cx:pt>
          <cx:pt idx="56435">2</cx:pt>
          <cx:pt idx="56436">2</cx:pt>
          <cx:pt idx="56437">3</cx:pt>
          <cx:pt idx="56438">2</cx:pt>
          <cx:pt idx="56439">3</cx:pt>
          <cx:pt idx="56440">1</cx:pt>
          <cx:pt idx="56441">3</cx:pt>
          <cx:pt idx="56442">4</cx:pt>
          <cx:pt idx="56443">2</cx:pt>
          <cx:pt idx="56444">4</cx:pt>
          <cx:pt idx="56445">3</cx:pt>
          <cx:pt idx="56446">2</cx:pt>
          <cx:pt idx="56447">1</cx:pt>
          <cx:pt idx="56448">1</cx:pt>
          <cx:pt idx="56449">3</cx:pt>
          <cx:pt idx="56450">1</cx:pt>
          <cx:pt idx="56451">1</cx:pt>
          <cx:pt idx="56452">1</cx:pt>
          <cx:pt idx="56453">4</cx:pt>
          <cx:pt idx="56454">1</cx:pt>
          <cx:pt idx="56455">3</cx:pt>
          <cx:pt idx="56456">3</cx:pt>
          <cx:pt idx="56457">2</cx:pt>
          <cx:pt idx="56458">5</cx:pt>
          <cx:pt idx="56459">1</cx:pt>
          <cx:pt idx="56460">4</cx:pt>
          <cx:pt idx="56461">2</cx:pt>
          <cx:pt idx="56462">5</cx:pt>
          <cx:pt idx="56463">2</cx:pt>
          <cx:pt idx="56464">2</cx:pt>
          <cx:pt idx="56465">1</cx:pt>
          <cx:pt idx="56466">3</cx:pt>
          <cx:pt idx="56467">4</cx:pt>
          <cx:pt idx="56468">3</cx:pt>
          <cx:pt idx="56469">4</cx:pt>
          <cx:pt idx="56470">2</cx:pt>
          <cx:pt idx="56471">2</cx:pt>
          <cx:pt idx="56472">1</cx:pt>
          <cx:pt idx="56473">2</cx:pt>
          <cx:pt idx="56474">2</cx:pt>
          <cx:pt idx="56475">4</cx:pt>
          <cx:pt idx="56476">4</cx:pt>
          <cx:pt idx="56477">3</cx:pt>
          <cx:pt idx="56478">1</cx:pt>
          <cx:pt idx="56479">2</cx:pt>
          <cx:pt idx="56480">5</cx:pt>
          <cx:pt idx="56481">1</cx:pt>
          <cx:pt idx="56482">5</cx:pt>
          <cx:pt idx="56483">0</cx:pt>
          <cx:pt idx="56484">2</cx:pt>
          <cx:pt idx="56485">3</cx:pt>
          <cx:pt idx="56486">0</cx:pt>
          <cx:pt idx="56487">4</cx:pt>
          <cx:pt idx="56488">4</cx:pt>
          <cx:pt idx="56489">4</cx:pt>
          <cx:pt idx="56490">4</cx:pt>
          <cx:pt idx="56491">5</cx:pt>
          <cx:pt idx="56492">1</cx:pt>
          <cx:pt idx="56493">3</cx:pt>
          <cx:pt idx="56494">1</cx:pt>
          <cx:pt idx="56495">5</cx:pt>
          <cx:pt idx="56496">3</cx:pt>
          <cx:pt idx="56497">1</cx:pt>
          <cx:pt idx="56498">4</cx:pt>
          <cx:pt idx="56499">1</cx:pt>
          <cx:pt idx="56500">4</cx:pt>
          <cx:pt idx="56501">3</cx:pt>
          <cx:pt idx="56502">2</cx:pt>
          <cx:pt idx="56503">4</cx:pt>
          <cx:pt idx="56504">2</cx:pt>
          <cx:pt idx="56505">1</cx:pt>
          <cx:pt idx="56506">5</cx:pt>
          <cx:pt idx="56507">1</cx:pt>
          <cx:pt idx="56508">1</cx:pt>
          <cx:pt idx="56509">3</cx:pt>
          <cx:pt idx="56510">2</cx:pt>
          <cx:pt idx="56511">2</cx:pt>
          <cx:pt idx="56512">3</cx:pt>
          <cx:pt idx="56513">5</cx:pt>
          <cx:pt idx="56514">0</cx:pt>
          <cx:pt idx="56515">2</cx:pt>
          <cx:pt idx="56516">5</cx:pt>
          <cx:pt idx="56517">2</cx:pt>
          <cx:pt idx="56518">2</cx:pt>
          <cx:pt idx="56519">1</cx:pt>
          <cx:pt idx="56520">3</cx:pt>
          <cx:pt idx="56521">2</cx:pt>
          <cx:pt idx="56522">5</cx:pt>
          <cx:pt idx="56523">2</cx:pt>
          <cx:pt idx="56524">1</cx:pt>
          <cx:pt idx="56525">1</cx:pt>
          <cx:pt idx="56526">2</cx:pt>
          <cx:pt idx="56527">2</cx:pt>
          <cx:pt idx="56528">3</cx:pt>
          <cx:pt idx="56529">2</cx:pt>
          <cx:pt idx="56530">2</cx:pt>
          <cx:pt idx="56531">1</cx:pt>
          <cx:pt idx="56532">1</cx:pt>
          <cx:pt idx="56533">2</cx:pt>
          <cx:pt idx="56534">4</cx:pt>
          <cx:pt idx="56535">3</cx:pt>
          <cx:pt idx="56536">3</cx:pt>
          <cx:pt idx="56537">1</cx:pt>
          <cx:pt idx="56538">3</cx:pt>
          <cx:pt idx="56539">3</cx:pt>
          <cx:pt idx="56540">4</cx:pt>
          <cx:pt idx="56541">3</cx:pt>
          <cx:pt idx="56542">2</cx:pt>
          <cx:pt idx="56543">3</cx:pt>
          <cx:pt idx="56544">2</cx:pt>
          <cx:pt idx="56545">1</cx:pt>
          <cx:pt idx="56546">3</cx:pt>
          <cx:pt idx="56547">3</cx:pt>
          <cx:pt idx="56548">2</cx:pt>
          <cx:pt idx="56549">1</cx:pt>
          <cx:pt idx="56550">1</cx:pt>
          <cx:pt idx="56551">4</cx:pt>
          <cx:pt idx="56552">3</cx:pt>
          <cx:pt idx="56553">3</cx:pt>
          <cx:pt idx="56554">3</cx:pt>
          <cx:pt idx="56555">0</cx:pt>
          <cx:pt idx="56556">3</cx:pt>
          <cx:pt idx="56557">5</cx:pt>
          <cx:pt idx="56558">4</cx:pt>
          <cx:pt idx="56559">1</cx:pt>
          <cx:pt idx="56560">5</cx:pt>
          <cx:pt idx="56561">0</cx:pt>
          <cx:pt idx="56562">5</cx:pt>
          <cx:pt idx="56563">3</cx:pt>
          <cx:pt idx="56564">2</cx:pt>
          <cx:pt idx="56565">2</cx:pt>
          <cx:pt idx="56566">1</cx:pt>
          <cx:pt idx="56567">5</cx:pt>
          <cx:pt idx="56568">3</cx:pt>
          <cx:pt idx="56569">4</cx:pt>
          <cx:pt idx="56570">2</cx:pt>
          <cx:pt idx="56571">1</cx:pt>
          <cx:pt idx="56572">4</cx:pt>
          <cx:pt idx="56573">5</cx:pt>
          <cx:pt idx="56574">0</cx:pt>
          <cx:pt idx="56575">2</cx:pt>
          <cx:pt idx="56576">4</cx:pt>
          <cx:pt idx="56577">2</cx:pt>
          <cx:pt idx="56578">2</cx:pt>
          <cx:pt idx="56579">2</cx:pt>
          <cx:pt idx="56580">0</cx:pt>
          <cx:pt idx="56581">3</cx:pt>
          <cx:pt idx="56582">1</cx:pt>
          <cx:pt idx="56583">2</cx:pt>
          <cx:pt idx="56584">0</cx:pt>
          <cx:pt idx="56585">3</cx:pt>
          <cx:pt idx="56586">1</cx:pt>
          <cx:pt idx="56587">2</cx:pt>
          <cx:pt idx="56588">4</cx:pt>
          <cx:pt idx="56589">3</cx:pt>
          <cx:pt idx="56590">3</cx:pt>
          <cx:pt idx="56591">0</cx:pt>
          <cx:pt idx="56592">2</cx:pt>
          <cx:pt idx="56593">5</cx:pt>
          <cx:pt idx="56594">0</cx:pt>
          <cx:pt idx="56595">3</cx:pt>
          <cx:pt idx="56596">4</cx:pt>
          <cx:pt idx="56597">4</cx:pt>
          <cx:pt idx="56598">2</cx:pt>
          <cx:pt idx="56599">5</cx:pt>
          <cx:pt idx="56600">5</cx:pt>
          <cx:pt idx="56601">2</cx:pt>
          <cx:pt idx="56602">2</cx:pt>
          <cx:pt idx="56603">5</cx:pt>
          <cx:pt idx="56604">2</cx:pt>
          <cx:pt idx="56605">4</cx:pt>
          <cx:pt idx="56606">2</cx:pt>
          <cx:pt idx="56607">2</cx:pt>
          <cx:pt idx="56608">3</cx:pt>
          <cx:pt idx="56609">4</cx:pt>
          <cx:pt idx="56610">3</cx:pt>
          <cx:pt idx="56611">2</cx:pt>
          <cx:pt idx="56612">5</cx:pt>
          <cx:pt idx="56613">4</cx:pt>
          <cx:pt idx="56614">4</cx:pt>
          <cx:pt idx="56615">1</cx:pt>
          <cx:pt idx="56616">4</cx:pt>
          <cx:pt idx="56617">4</cx:pt>
          <cx:pt idx="56618">1</cx:pt>
          <cx:pt idx="56619">1</cx:pt>
          <cx:pt idx="56620">4</cx:pt>
          <cx:pt idx="56621">2</cx:pt>
          <cx:pt idx="56622">4</cx:pt>
          <cx:pt idx="56623">5</cx:pt>
          <cx:pt idx="56624">3</cx:pt>
          <cx:pt idx="56625">4</cx:pt>
          <cx:pt idx="56626">1</cx:pt>
          <cx:pt idx="56627">5</cx:pt>
          <cx:pt idx="56628">5</cx:pt>
          <cx:pt idx="56629">5</cx:pt>
          <cx:pt idx="56630">2</cx:pt>
          <cx:pt idx="56631">3</cx:pt>
          <cx:pt idx="56632">4</cx:pt>
          <cx:pt idx="56633">4</cx:pt>
          <cx:pt idx="56634">4</cx:pt>
          <cx:pt idx="56635">3</cx:pt>
          <cx:pt idx="56636">5</cx:pt>
          <cx:pt idx="56637">1</cx:pt>
          <cx:pt idx="56638">3</cx:pt>
          <cx:pt idx="56639">4</cx:pt>
          <cx:pt idx="56640">3</cx:pt>
          <cx:pt idx="56641">1</cx:pt>
          <cx:pt idx="56642">3</cx:pt>
          <cx:pt idx="56643">5</cx:pt>
          <cx:pt idx="56644">1</cx:pt>
          <cx:pt idx="56645">1</cx:pt>
          <cx:pt idx="56646">3</cx:pt>
          <cx:pt idx="56647">1</cx:pt>
          <cx:pt idx="56648">4</cx:pt>
          <cx:pt idx="56649">3</cx:pt>
          <cx:pt idx="56650">1</cx:pt>
          <cx:pt idx="56651">4</cx:pt>
          <cx:pt idx="56652">5</cx:pt>
          <cx:pt idx="56653">3</cx:pt>
          <cx:pt idx="56654">2</cx:pt>
          <cx:pt idx="56655">4</cx:pt>
          <cx:pt idx="56656">2</cx:pt>
          <cx:pt idx="56657">3</cx:pt>
          <cx:pt idx="56658">2</cx:pt>
          <cx:pt idx="56659">4</cx:pt>
          <cx:pt idx="56660">1</cx:pt>
          <cx:pt idx="56661">3</cx:pt>
          <cx:pt idx="56662">2</cx:pt>
          <cx:pt idx="56663">2</cx:pt>
          <cx:pt idx="56664">4</cx:pt>
          <cx:pt idx="56665">1</cx:pt>
          <cx:pt idx="56666">1</cx:pt>
          <cx:pt idx="56667">3</cx:pt>
          <cx:pt idx="56668">2</cx:pt>
          <cx:pt idx="56669">2</cx:pt>
          <cx:pt idx="56670">3</cx:pt>
          <cx:pt idx="56671">5</cx:pt>
          <cx:pt idx="56672">2</cx:pt>
          <cx:pt idx="56673">2</cx:pt>
          <cx:pt idx="56674">2</cx:pt>
          <cx:pt idx="56675">0</cx:pt>
          <cx:pt idx="56676">2</cx:pt>
          <cx:pt idx="56677">1</cx:pt>
          <cx:pt idx="56678">5</cx:pt>
          <cx:pt idx="56679">4</cx:pt>
          <cx:pt idx="56680">3</cx:pt>
          <cx:pt idx="56681">2</cx:pt>
          <cx:pt idx="56682">3</cx:pt>
          <cx:pt idx="56683">3</cx:pt>
          <cx:pt idx="56684">3</cx:pt>
          <cx:pt idx="56685">0</cx:pt>
          <cx:pt idx="56686">3</cx:pt>
          <cx:pt idx="56687">3</cx:pt>
          <cx:pt idx="56688">4</cx:pt>
          <cx:pt idx="56689">4</cx:pt>
          <cx:pt idx="56690">5</cx:pt>
          <cx:pt idx="56691">4</cx:pt>
          <cx:pt idx="56692">5</cx:pt>
          <cx:pt idx="56693">2</cx:pt>
          <cx:pt idx="56694">3</cx:pt>
          <cx:pt idx="56695">2</cx:pt>
          <cx:pt idx="56696">4</cx:pt>
          <cx:pt idx="56697">3</cx:pt>
          <cx:pt idx="56698">5</cx:pt>
          <cx:pt idx="56699">3</cx:pt>
          <cx:pt idx="56700">3</cx:pt>
          <cx:pt idx="56701">2</cx:pt>
          <cx:pt idx="56702">4</cx:pt>
          <cx:pt idx="56703">5</cx:pt>
          <cx:pt idx="56704">2</cx:pt>
          <cx:pt idx="56705">5</cx:pt>
          <cx:pt idx="56706">1</cx:pt>
          <cx:pt idx="56707">4</cx:pt>
          <cx:pt idx="56708">4</cx:pt>
          <cx:pt idx="56709">1</cx:pt>
          <cx:pt idx="56710">2</cx:pt>
          <cx:pt idx="56711">5</cx:pt>
          <cx:pt idx="56712">4</cx:pt>
          <cx:pt idx="56713">1</cx:pt>
          <cx:pt idx="56714">1</cx:pt>
          <cx:pt idx="56715">4</cx:pt>
          <cx:pt idx="56716">4</cx:pt>
          <cx:pt idx="56717">2</cx:pt>
          <cx:pt idx="56718">4</cx:pt>
          <cx:pt idx="56719">1</cx:pt>
          <cx:pt idx="56720">2</cx:pt>
          <cx:pt idx="56721">3</cx:pt>
          <cx:pt idx="56722">4</cx:pt>
          <cx:pt idx="56723">1</cx:pt>
          <cx:pt idx="56724">1</cx:pt>
          <cx:pt idx="56725">4</cx:pt>
          <cx:pt idx="56726">3</cx:pt>
          <cx:pt idx="56727">3</cx:pt>
          <cx:pt idx="56728">3</cx:pt>
          <cx:pt idx="56729">1</cx:pt>
          <cx:pt idx="56730">1</cx:pt>
          <cx:pt idx="56731">3</cx:pt>
          <cx:pt idx="56732">1</cx:pt>
          <cx:pt idx="56733">1</cx:pt>
          <cx:pt idx="56734">5</cx:pt>
          <cx:pt idx="56735">3</cx:pt>
          <cx:pt idx="56736">5</cx:pt>
          <cx:pt idx="56737">5</cx:pt>
          <cx:pt idx="56738">0</cx:pt>
          <cx:pt idx="56739">2</cx:pt>
          <cx:pt idx="56740">2</cx:pt>
          <cx:pt idx="56741">3</cx:pt>
          <cx:pt idx="56742">4</cx:pt>
          <cx:pt idx="56743">4</cx:pt>
          <cx:pt idx="56744">4</cx:pt>
          <cx:pt idx="56745">1</cx:pt>
          <cx:pt idx="56746">2</cx:pt>
          <cx:pt idx="56747">4</cx:pt>
          <cx:pt idx="56748">5</cx:pt>
          <cx:pt idx="56749">1</cx:pt>
          <cx:pt idx="56750">0</cx:pt>
          <cx:pt idx="56751">2</cx:pt>
          <cx:pt idx="56752">1</cx:pt>
          <cx:pt idx="56753">1</cx:pt>
          <cx:pt idx="56754">2</cx:pt>
          <cx:pt idx="56755">5</cx:pt>
          <cx:pt idx="56756">4</cx:pt>
          <cx:pt idx="56757">5</cx:pt>
          <cx:pt idx="56758">0</cx:pt>
          <cx:pt idx="56759">3</cx:pt>
          <cx:pt idx="56760">2</cx:pt>
          <cx:pt idx="56761">2</cx:pt>
          <cx:pt idx="56762">0</cx:pt>
          <cx:pt idx="56763">3</cx:pt>
          <cx:pt idx="56764">2</cx:pt>
          <cx:pt idx="56765">4</cx:pt>
          <cx:pt idx="56766">3</cx:pt>
          <cx:pt idx="56767">0</cx:pt>
          <cx:pt idx="56768">3</cx:pt>
          <cx:pt idx="56769">2</cx:pt>
          <cx:pt idx="56770">3</cx:pt>
          <cx:pt idx="56771">1</cx:pt>
          <cx:pt idx="56772">4</cx:pt>
          <cx:pt idx="56773">4</cx:pt>
          <cx:pt idx="56774">2</cx:pt>
          <cx:pt idx="56775">4</cx:pt>
          <cx:pt idx="56776">2</cx:pt>
          <cx:pt idx="56777">1</cx:pt>
          <cx:pt idx="56778">1</cx:pt>
          <cx:pt idx="56779">1</cx:pt>
          <cx:pt idx="56780">5</cx:pt>
          <cx:pt idx="56781">4</cx:pt>
          <cx:pt idx="56782">3</cx:pt>
          <cx:pt idx="56783">4</cx:pt>
          <cx:pt idx="56784">3</cx:pt>
          <cx:pt idx="56785">2</cx:pt>
          <cx:pt idx="56786">3</cx:pt>
          <cx:pt idx="56787">3</cx:pt>
          <cx:pt idx="56788">3</cx:pt>
          <cx:pt idx="56789">3</cx:pt>
          <cx:pt idx="56790">2</cx:pt>
          <cx:pt idx="56791">5</cx:pt>
          <cx:pt idx="56792">3</cx:pt>
          <cx:pt idx="56793">4</cx:pt>
          <cx:pt idx="56794">3</cx:pt>
          <cx:pt idx="56795">2</cx:pt>
          <cx:pt idx="56796">5</cx:pt>
          <cx:pt idx="56797">4</cx:pt>
          <cx:pt idx="56798">3</cx:pt>
          <cx:pt idx="56799">2</cx:pt>
          <cx:pt idx="56800">1</cx:pt>
          <cx:pt idx="56801">4</cx:pt>
          <cx:pt idx="56802">1</cx:pt>
          <cx:pt idx="56803">4</cx:pt>
          <cx:pt idx="56804">1</cx:pt>
          <cx:pt idx="56805">3</cx:pt>
          <cx:pt idx="56806">4</cx:pt>
          <cx:pt idx="56807">3</cx:pt>
          <cx:pt idx="56808">5</cx:pt>
          <cx:pt idx="56809">1</cx:pt>
          <cx:pt idx="56810">5</cx:pt>
          <cx:pt idx="56811">3</cx:pt>
          <cx:pt idx="56812">3</cx:pt>
          <cx:pt idx="56813">2</cx:pt>
          <cx:pt idx="56814">5</cx:pt>
          <cx:pt idx="56815">4</cx:pt>
          <cx:pt idx="56816">0</cx:pt>
          <cx:pt idx="56817">0</cx:pt>
          <cx:pt idx="56818">0</cx:pt>
          <cx:pt idx="56819">3</cx:pt>
          <cx:pt idx="56820">4</cx:pt>
          <cx:pt idx="56821">3</cx:pt>
          <cx:pt idx="56822">3</cx:pt>
          <cx:pt idx="56823">2</cx:pt>
          <cx:pt idx="56824">5</cx:pt>
          <cx:pt idx="56825">3</cx:pt>
          <cx:pt idx="56826">4</cx:pt>
          <cx:pt idx="56827">3</cx:pt>
          <cx:pt idx="56828">3</cx:pt>
          <cx:pt idx="56829">5</cx:pt>
          <cx:pt idx="56830">1</cx:pt>
          <cx:pt idx="56831">2</cx:pt>
          <cx:pt idx="56832">2</cx:pt>
          <cx:pt idx="56833">2</cx:pt>
          <cx:pt idx="56834">2</cx:pt>
          <cx:pt idx="56835">4</cx:pt>
          <cx:pt idx="56836">2</cx:pt>
          <cx:pt idx="56837">3</cx:pt>
          <cx:pt idx="56838">3</cx:pt>
          <cx:pt idx="56839">1</cx:pt>
          <cx:pt idx="56840">3</cx:pt>
          <cx:pt idx="56841">4</cx:pt>
          <cx:pt idx="56842">0</cx:pt>
          <cx:pt idx="56843">1</cx:pt>
          <cx:pt idx="56844">3</cx:pt>
          <cx:pt idx="56845">2</cx:pt>
          <cx:pt idx="56846">3</cx:pt>
          <cx:pt idx="56847">1</cx:pt>
          <cx:pt idx="56848">0</cx:pt>
          <cx:pt idx="56849">5</cx:pt>
          <cx:pt idx="56850">1</cx:pt>
          <cx:pt idx="56851">2</cx:pt>
          <cx:pt idx="56852">1</cx:pt>
          <cx:pt idx="56853">1</cx:pt>
          <cx:pt idx="56854">4</cx:pt>
          <cx:pt idx="56855">3</cx:pt>
          <cx:pt idx="56856">2</cx:pt>
          <cx:pt idx="56857">5</cx:pt>
          <cx:pt idx="56858">4</cx:pt>
          <cx:pt idx="56859">3</cx:pt>
          <cx:pt idx="56860">5</cx:pt>
          <cx:pt idx="56861">4</cx:pt>
          <cx:pt idx="56862">3</cx:pt>
          <cx:pt idx="56863">3</cx:pt>
          <cx:pt idx="56864">2</cx:pt>
          <cx:pt idx="56865">0</cx:pt>
          <cx:pt idx="56866">2</cx:pt>
          <cx:pt idx="56867">3</cx:pt>
          <cx:pt idx="56868">3</cx:pt>
          <cx:pt idx="56869">2</cx:pt>
          <cx:pt idx="56870">2</cx:pt>
          <cx:pt idx="56871">3</cx:pt>
          <cx:pt idx="56872">2</cx:pt>
          <cx:pt idx="56873">3</cx:pt>
          <cx:pt idx="56874">2</cx:pt>
          <cx:pt idx="56875">3</cx:pt>
          <cx:pt idx="56876">2</cx:pt>
          <cx:pt idx="56877">3</cx:pt>
          <cx:pt idx="56878">2</cx:pt>
          <cx:pt idx="56879">1</cx:pt>
          <cx:pt idx="56880">2</cx:pt>
          <cx:pt idx="56881">4</cx:pt>
          <cx:pt idx="56882">3</cx:pt>
          <cx:pt idx="56883">1</cx:pt>
          <cx:pt idx="56884">5</cx:pt>
          <cx:pt idx="56885">5</cx:pt>
          <cx:pt idx="56886">4</cx:pt>
          <cx:pt idx="56887">4</cx:pt>
          <cx:pt idx="56888">1</cx:pt>
          <cx:pt idx="56889">3</cx:pt>
          <cx:pt idx="56890">1</cx:pt>
          <cx:pt idx="56891">4</cx:pt>
          <cx:pt idx="56892">1</cx:pt>
          <cx:pt idx="56893">3</cx:pt>
          <cx:pt idx="56894">2</cx:pt>
          <cx:pt idx="56895">3</cx:pt>
          <cx:pt idx="56896">3</cx:pt>
          <cx:pt idx="56897">2</cx:pt>
          <cx:pt idx="56898">2</cx:pt>
          <cx:pt idx="56899">3</cx:pt>
          <cx:pt idx="56900">4</cx:pt>
          <cx:pt idx="56901">4</cx:pt>
          <cx:pt idx="56902">4</cx:pt>
          <cx:pt idx="56903">1</cx:pt>
          <cx:pt idx="56904">4</cx:pt>
          <cx:pt idx="56905">4</cx:pt>
          <cx:pt idx="56906">1</cx:pt>
          <cx:pt idx="56907">1</cx:pt>
          <cx:pt idx="56908">5</cx:pt>
          <cx:pt idx="56909">1</cx:pt>
          <cx:pt idx="56910">5</cx:pt>
          <cx:pt idx="56911">2</cx:pt>
          <cx:pt idx="56912">3</cx:pt>
          <cx:pt idx="56913">5</cx:pt>
          <cx:pt idx="56914">2</cx:pt>
          <cx:pt idx="56915">3</cx:pt>
          <cx:pt idx="56916">4</cx:pt>
          <cx:pt idx="56917">4</cx:pt>
          <cx:pt idx="56918">4</cx:pt>
          <cx:pt idx="56919">1</cx:pt>
          <cx:pt idx="56920">3</cx:pt>
          <cx:pt idx="56921">4</cx:pt>
          <cx:pt idx="56922">3</cx:pt>
          <cx:pt idx="56923">4</cx:pt>
          <cx:pt idx="56924">3</cx:pt>
          <cx:pt idx="56925">5</cx:pt>
          <cx:pt idx="56926">1</cx:pt>
          <cx:pt idx="56927">2</cx:pt>
          <cx:pt idx="56928">3</cx:pt>
          <cx:pt idx="56929">2</cx:pt>
          <cx:pt idx="56930">2</cx:pt>
          <cx:pt idx="56931">4</cx:pt>
          <cx:pt idx="56932">3</cx:pt>
          <cx:pt idx="56933">3</cx:pt>
          <cx:pt idx="56934">3</cx:pt>
          <cx:pt idx="56935">1</cx:pt>
          <cx:pt idx="56936">2</cx:pt>
          <cx:pt idx="56937">3</cx:pt>
          <cx:pt idx="56938">2</cx:pt>
          <cx:pt idx="56939">4</cx:pt>
          <cx:pt idx="56940">4</cx:pt>
          <cx:pt idx="56941">3</cx:pt>
          <cx:pt idx="56942">2</cx:pt>
          <cx:pt idx="56943">0</cx:pt>
          <cx:pt idx="56944">1</cx:pt>
          <cx:pt idx="56945">3</cx:pt>
          <cx:pt idx="56946">1</cx:pt>
          <cx:pt idx="56947">4</cx:pt>
          <cx:pt idx="56948">2</cx:pt>
          <cx:pt idx="56949">3</cx:pt>
          <cx:pt idx="56950">3</cx:pt>
          <cx:pt idx="56951">4</cx:pt>
          <cx:pt idx="56952">2</cx:pt>
          <cx:pt idx="56953">3</cx:pt>
          <cx:pt idx="56954">2</cx:pt>
          <cx:pt idx="56955">4</cx:pt>
          <cx:pt idx="56956">3</cx:pt>
          <cx:pt idx="56957">4</cx:pt>
          <cx:pt idx="56958">5</cx:pt>
          <cx:pt idx="56959">1</cx:pt>
          <cx:pt idx="56960">5</cx:pt>
          <cx:pt idx="56961">5</cx:pt>
          <cx:pt idx="56962">2</cx:pt>
          <cx:pt idx="56963">3</cx:pt>
          <cx:pt idx="56964">0</cx:pt>
          <cx:pt idx="56965">3</cx:pt>
          <cx:pt idx="56966">4</cx:pt>
          <cx:pt idx="56967">4</cx:pt>
          <cx:pt idx="56968">2</cx:pt>
          <cx:pt idx="56969">4</cx:pt>
          <cx:pt idx="56970">1</cx:pt>
          <cx:pt idx="56971">4</cx:pt>
          <cx:pt idx="56972">5</cx:pt>
          <cx:pt idx="56973">2</cx:pt>
          <cx:pt idx="56974">2</cx:pt>
          <cx:pt idx="56975">4</cx:pt>
          <cx:pt idx="56976">4</cx:pt>
          <cx:pt idx="56977">2</cx:pt>
          <cx:pt idx="56978">3</cx:pt>
          <cx:pt idx="56979">4</cx:pt>
          <cx:pt idx="56980">3</cx:pt>
          <cx:pt idx="56981">1</cx:pt>
          <cx:pt idx="56982">3</cx:pt>
          <cx:pt idx="56983">3</cx:pt>
          <cx:pt idx="56984">2</cx:pt>
          <cx:pt idx="56985">1</cx:pt>
          <cx:pt idx="56986">2</cx:pt>
          <cx:pt idx="56987">5</cx:pt>
          <cx:pt idx="56988">1</cx:pt>
          <cx:pt idx="56989">4</cx:pt>
          <cx:pt idx="56990">1</cx:pt>
          <cx:pt idx="56991">1</cx:pt>
          <cx:pt idx="56992">3</cx:pt>
          <cx:pt idx="56993">4</cx:pt>
          <cx:pt idx="56994">2</cx:pt>
          <cx:pt idx="56995">5</cx:pt>
          <cx:pt idx="56996">2</cx:pt>
          <cx:pt idx="56997">1</cx:pt>
          <cx:pt idx="56998">3</cx:pt>
          <cx:pt idx="56999">3</cx:pt>
          <cx:pt idx="57000">3</cx:pt>
          <cx:pt idx="57001">3</cx:pt>
          <cx:pt idx="57002">1</cx:pt>
          <cx:pt idx="57003">1</cx:pt>
          <cx:pt idx="57004">1</cx:pt>
          <cx:pt idx="57005">2</cx:pt>
          <cx:pt idx="57006">5</cx:pt>
          <cx:pt idx="57007">1</cx:pt>
          <cx:pt idx="57008">3</cx:pt>
          <cx:pt idx="57009">2</cx:pt>
          <cx:pt idx="57010">1</cx:pt>
          <cx:pt idx="57011">5</cx:pt>
          <cx:pt idx="57012">5</cx:pt>
          <cx:pt idx="57013">2</cx:pt>
          <cx:pt idx="57014">3</cx:pt>
          <cx:pt idx="57015">2</cx:pt>
          <cx:pt idx="57016">5</cx:pt>
          <cx:pt idx="57017">2</cx:pt>
          <cx:pt idx="57018">3</cx:pt>
          <cx:pt idx="57019">4</cx:pt>
          <cx:pt idx="57020">2</cx:pt>
          <cx:pt idx="57021">5</cx:pt>
          <cx:pt idx="57022">3</cx:pt>
          <cx:pt idx="57023">3</cx:pt>
          <cx:pt idx="57024">1</cx:pt>
          <cx:pt idx="57025">2</cx:pt>
          <cx:pt idx="57026">5</cx:pt>
          <cx:pt idx="57027">5</cx:pt>
          <cx:pt idx="57028">3</cx:pt>
          <cx:pt idx="57029">3</cx:pt>
          <cx:pt idx="57030">2</cx:pt>
          <cx:pt idx="57031">5</cx:pt>
          <cx:pt idx="57032">3</cx:pt>
          <cx:pt idx="57033">2</cx:pt>
          <cx:pt idx="57034">1</cx:pt>
          <cx:pt idx="57035">4</cx:pt>
          <cx:pt idx="57036">1</cx:pt>
          <cx:pt idx="57037">4</cx:pt>
          <cx:pt idx="57038">2</cx:pt>
          <cx:pt idx="57039">2</cx:pt>
          <cx:pt idx="57040">5</cx:pt>
          <cx:pt idx="57041">2</cx:pt>
          <cx:pt idx="57042">3</cx:pt>
          <cx:pt idx="57043">5</cx:pt>
          <cx:pt idx="57044">2</cx:pt>
          <cx:pt idx="57045">4</cx:pt>
          <cx:pt idx="57046">4</cx:pt>
          <cx:pt idx="57047">1</cx:pt>
          <cx:pt idx="57048">4</cx:pt>
          <cx:pt idx="57049">3</cx:pt>
          <cx:pt idx="57050">1</cx:pt>
          <cx:pt idx="57051">3</cx:pt>
          <cx:pt idx="57052">3</cx:pt>
          <cx:pt idx="57053">2</cx:pt>
          <cx:pt idx="57054">4</cx:pt>
          <cx:pt idx="57055">2</cx:pt>
          <cx:pt idx="57056">4</cx:pt>
          <cx:pt idx="57057">4</cx:pt>
          <cx:pt idx="57058">4</cx:pt>
          <cx:pt idx="57059">2</cx:pt>
          <cx:pt idx="57060">2</cx:pt>
          <cx:pt idx="57061">1</cx:pt>
          <cx:pt idx="57062">1</cx:pt>
          <cx:pt idx="57063">4</cx:pt>
          <cx:pt idx="57064">3</cx:pt>
          <cx:pt idx="57065">4</cx:pt>
          <cx:pt idx="57066">1</cx:pt>
          <cx:pt idx="57067">5</cx:pt>
          <cx:pt idx="57068">2</cx:pt>
          <cx:pt idx="57069">0</cx:pt>
          <cx:pt idx="57070">2</cx:pt>
          <cx:pt idx="57071">5</cx:pt>
          <cx:pt idx="57072">3</cx:pt>
          <cx:pt idx="57073">1</cx:pt>
          <cx:pt idx="57074">3</cx:pt>
          <cx:pt idx="57075">4</cx:pt>
          <cx:pt idx="57076">3</cx:pt>
          <cx:pt idx="57077">2</cx:pt>
          <cx:pt idx="57078">3</cx:pt>
          <cx:pt idx="57079">2</cx:pt>
          <cx:pt idx="57080">3</cx:pt>
          <cx:pt idx="57081">2</cx:pt>
          <cx:pt idx="57082">2</cx:pt>
          <cx:pt idx="57083">3</cx:pt>
          <cx:pt idx="57084">2</cx:pt>
          <cx:pt idx="57085">5</cx:pt>
          <cx:pt idx="57086">3</cx:pt>
          <cx:pt idx="57087">3</cx:pt>
          <cx:pt idx="57088">5</cx:pt>
          <cx:pt idx="57089">2</cx:pt>
          <cx:pt idx="57090">4</cx:pt>
          <cx:pt idx="57091">1</cx:pt>
          <cx:pt idx="57092">4</cx:pt>
          <cx:pt idx="57093">4</cx:pt>
          <cx:pt idx="57094">4</cx:pt>
          <cx:pt idx="57095">2</cx:pt>
          <cx:pt idx="57096">2</cx:pt>
          <cx:pt idx="57097">0</cx:pt>
          <cx:pt idx="57098">4</cx:pt>
          <cx:pt idx="57099">2</cx:pt>
          <cx:pt idx="57100">2</cx:pt>
          <cx:pt idx="57101">4</cx:pt>
          <cx:pt idx="57102">2</cx:pt>
          <cx:pt idx="57103">2</cx:pt>
          <cx:pt idx="57104">0</cx:pt>
          <cx:pt idx="57105">3</cx:pt>
          <cx:pt idx="57106">2</cx:pt>
          <cx:pt idx="57107">3</cx:pt>
          <cx:pt idx="57108">3</cx:pt>
          <cx:pt idx="57109">2</cx:pt>
          <cx:pt idx="57110">4</cx:pt>
          <cx:pt idx="57111">2</cx:pt>
          <cx:pt idx="57112">4</cx:pt>
          <cx:pt idx="57113">3</cx:pt>
          <cx:pt idx="57114">3</cx:pt>
          <cx:pt idx="57115">2</cx:pt>
          <cx:pt idx="57116">3</cx:pt>
          <cx:pt idx="57117">4</cx:pt>
          <cx:pt idx="57118">1</cx:pt>
          <cx:pt idx="57119">2</cx:pt>
          <cx:pt idx="57120">1</cx:pt>
          <cx:pt idx="57121">2</cx:pt>
          <cx:pt idx="57122">2</cx:pt>
          <cx:pt idx="57123">3</cx:pt>
          <cx:pt idx="57124">5</cx:pt>
          <cx:pt idx="57125">3</cx:pt>
          <cx:pt idx="57126">4</cx:pt>
          <cx:pt idx="57127">2</cx:pt>
          <cx:pt idx="57128">2</cx:pt>
          <cx:pt idx="57129">5</cx:pt>
          <cx:pt idx="57130">0</cx:pt>
          <cx:pt idx="57131">2</cx:pt>
          <cx:pt idx="57132">3</cx:pt>
          <cx:pt idx="57133">3</cx:pt>
          <cx:pt idx="57134">1</cx:pt>
          <cx:pt idx="57135">4</cx:pt>
          <cx:pt idx="57136">1</cx:pt>
          <cx:pt idx="57137">2</cx:pt>
          <cx:pt idx="57138">4</cx:pt>
          <cx:pt idx="57139">4</cx:pt>
          <cx:pt idx="57140">3</cx:pt>
          <cx:pt idx="57141">3</cx:pt>
          <cx:pt idx="57142">2</cx:pt>
          <cx:pt idx="57143">4</cx:pt>
          <cx:pt idx="57144">1</cx:pt>
          <cx:pt idx="57145">1</cx:pt>
          <cx:pt idx="57146">5</cx:pt>
          <cx:pt idx="57147">1</cx:pt>
          <cx:pt idx="57148">2</cx:pt>
          <cx:pt idx="57149">5</cx:pt>
          <cx:pt idx="57150">1</cx:pt>
          <cx:pt idx="57151">1</cx:pt>
          <cx:pt idx="57152">3</cx:pt>
          <cx:pt idx="57153">1</cx:pt>
          <cx:pt idx="57154">2</cx:pt>
          <cx:pt idx="57155">3</cx:pt>
          <cx:pt idx="57156">5</cx:pt>
          <cx:pt idx="57157">4</cx:pt>
          <cx:pt idx="57158">0</cx:pt>
          <cx:pt idx="57159">0</cx:pt>
          <cx:pt idx="57160">0</cx:pt>
          <cx:pt idx="57161">2</cx:pt>
          <cx:pt idx="57162">3</cx:pt>
          <cx:pt idx="57163">1</cx:pt>
          <cx:pt idx="57164">2</cx:pt>
          <cx:pt idx="57165">2</cx:pt>
          <cx:pt idx="57166">2</cx:pt>
          <cx:pt idx="57167">4</cx:pt>
          <cx:pt idx="57168">3</cx:pt>
          <cx:pt idx="57169">3</cx:pt>
          <cx:pt idx="57170">4</cx:pt>
          <cx:pt idx="57171">4</cx:pt>
          <cx:pt idx="57172">4</cx:pt>
          <cx:pt idx="57173">2</cx:pt>
          <cx:pt idx="57174">3</cx:pt>
          <cx:pt idx="57175">2</cx:pt>
          <cx:pt idx="57176">3</cx:pt>
          <cx:pt idx="57177">1</cx:pt>
          <cx:pt idx="57178">4</cx:pt>
          <cx:pt idx="57179">4</cx:pt>
          <cx:pt idx="57180">2</cx:pt>
          <cx:pt idx="57181">4</cx:pt>
          <cx:pt idx="57182">2</cx:pt>
          <cx:pt idx="57183">4</cx:pt>
          <cx:pt idx="57184">3</cx:pt>
          <cx:pt idx="57185">2</cx:pt>
          <cx:pt idx="57186">0</cx:pt>
          <cx:pt idx="57187">4</cx:pt>
          <cx:pt idx="57188">2</cx:pt>
          <cx:pt idx="57189">4</cx:pt>
          <cx:pt idx="57190">4</cx:pt>
          <cx:pt idx="57191">1</cx:pt>
          <cx:pt idx="57192">3</cx:pt>
          <cx:pt idx="57193">4</cx:pt>
          <cx:pt idx="57194">5</cx:pt>
          <cx:pt idx="57195">2</cx:pt>
          <cx:pt idx="57196">1</cx:pt>
          <cx:pt idx="57197">3</cx:pt>
          <cx:pt idx="57198">5</cx:pt>
          <cx:pt idx="57199">4</cx:pt>
          <cx:pt idx="57200">5</cx:pt>
          <cx:pt idx="57201">1</cx:pt>
          <cx:pt idx="57202">0</cx:pt>
          <cx:pt idx="57203">1</cx:pt>
          <cx:pt idx="57204">1</cx:pt>
          <cx:pt idx="57205">2</cx:pt>
          <cx:pt idx="57206">1</cx:pt>
          <cx:pt idx="57207">2</cx:pt>
          <cx:pt idx="57208">5</cx:pt>
          <cx:pt idx="57209">1</cx:pt>
          <cx:pt idx="57210">4</cx:pt>
          <cx:pt idx="57211">2</cx:pt>
          <cx:pt idx="57212">3</cx:pt>
          <cx:pt idx="57213">1</cx:pt>
          <cx:pt idx="57214">1</cx:pt>
          <cx:pt idx="57215">3</cx:pt>
          <cx:pt idx="57216">1</cx:pt>
          <cx:pt idx="57217">4</cx:pt>
          <cx:pt idx="57218">4</cx:pt>
          <cx:pt idx="57219">2</cx:pt>
          <cx:pt idx="57220">3</cx:pt>
          <cx:pt idx="57221">3</cx:pt>
          <cx:pt idx="57222">4</cx:pt>
          <cx:pt idx="57223">5</cx:pt>
          <cx:pt idx="57224">0</cx:pt>
          <cx:pt idx="57225">5</cx:pt>
          <cx:pt idx="57226">3</cx:pt>
          <cx:pt idx="57227">5</cx:pt>
          <cx:pt idx="57228">1</cx:pt>
          <cx:pt idx="57229">3</cx:pt>
          <cx:pt idx="57230">2</cx:pt>
          <cx:pt idx="57231">3</cx:pt>
          <cx:pt idx="57232">4</cx:pt>
          <cx:pt idx="57233">3</cx:pt>
          <cx:pt idx="57234">3</cx:pt>
          <cx:pt idx="57235">1</cx:pt>
          <cx:pt idx="57236">5</cx:pt>
          <cx:pt idx="57237">1</cx:pt>
          <cx:pt idx="57238">3</cx:pt>
          <cx:pt idx="57239">3</cx:pt>
          <cx:pt idx="57240">5</cx:pt>
          <cx:pt idx="57241">3</cx:pt>
          <cx:pt idx="57242">5</cx:pt>
          <cx:pt idx="57243">2</cx:pt>
          <cx:pt idx="57244">3</cx:pt>
          <cx:pt idx="57245">2</cx:pt>
          <cx:pt idx="57246">5</cx:pt>
          <cx:pt idx="57247">2</cx:pt>
          <cx:pt idx="57248">4</cx:pt>
          <cx:pt idx="57249">0</cx:pt>
          <cx:pt idx="57250">5</cx:pt>
          <cx:pt idx="57251">5</cx:pt>
          <cx:pt idx="57252">4</cx:pt>
          <cx:pt idx="57253">2</cx:pt>
          <cx:pt idx="57254">3</cx:pt>
          <cx:pt idx="57255">2</cx:pt>
          <cx:pt idx="57256">4</cx:pt>
          <cx:pt idx="57257">2</cx:pt>
          <cx:pt idx="57258">2</cx:pt>
          <cx:pt idx="57259">2</cx:pt>
          <cx:pt idx="57260">4</cx:pt>
          <cx:pt idx="57261">5</cx:pt>
          <cx:pt idx="57262">0</cx:pt>
          <cx:pt idx="57263">2</cx:pt>
          <cx:pt idx="57264">5</cx:pt>
          <cx:pt idx="57265">3</cx:pt>
          <cx:pt idx="57266">5</cx:pt>
          <cx:pt idx="57267">5</cx:pt>
          <cx:pt idx="57268">4</cx:pt>
          <cx:pt idx="57269">4</cx:pt>
          <cx:pt idx="57270">2</cx:pt>
          <cx:pt idx="57271">4</cx:pt>
          <cx:pt idx="57272">2</cx:pt>
          <cx:pt idx="57273">1</cx:pt>
          <cx:pt idx="57274">5</cx:pt>
          <cx:pt idx="57275">3</cx:pt>
          <cx:pt idx="57276">1</cx:pt>
          <cx:pt idx="57277">2</cx:pt>
          <cx:pt idx="57278">2</cx:pt>
          <cx:pt idx="57279">2</cx:pt>
          <cx:pt idx="57280">4</cx:pt>
          <cx:pt idx="57281">2</cx:pt>
          <cx:pt idx="57282">2</cx:pt>
          <cx:pt idx="57283">2</cx:pt>
          <cx:pt idx="57284">2</cx:pt>
          <cx:pt idx="57285">3</cx:pt>
          <cx:pt idx="57286">5</cx:pt>
          <cx:pt idx="57287">3</cx:pt>
          <cx:pt idx="57288">2</cx:pt>
          <cx:pt idx="57289">1</cx:pt>
          <cx:pt idx="57290">1</cx:pt>
          <cx:pt idx="57291">2</cx:pt>
          <cx:pt idx="57292">0</cx:pt>
          <cx:pt idx="57293">2</cx:pt>
          <cx:pt idx="57294">4</cx:pt>
          <cx:pt idx="57295">4</cx:pt>
          <cx:pt idx="57296">2</cx:pt>
          <cx:pt idx="57297">1</cx:pt>
          <cx:pt idx="57298">2</cx:pt>
          <cx:pt idx="57299">3</cx:pt>
          <cx:pt idx="57300">3</cx:pt>
          <cx:pt idx="57301">0</cx:pt>
          <cx:pt idx="57302">5</cx:pt>
          <cx:pt idx="57303">1</cx:pt>
          <cx:pt idx="57304">0</cx:pt>
          <cx:pt idx="57305">1</cx:pt>
          <cx:pt idx="57306">2</cx:pt>
          <cx:pt idx="57307">3</cx:pt>
          <cx:pt idx="57308">3</cx:pt>
          <cx:pt idx="57309">2</cx:pt>
          <cx:pt idx="57310">4</cx:pt>
          <cx:pt idx="57311">3</cx:pt>
          <cx:pt idx="57312">4</cx:pt>
          <cx:pt idx="57313">2</cx:pt>
          <cx:pt idx="57314">3</cx:pt>
          <cx:pt idx="57315">2</cx:pt>
          <cx:pt idx="57316">2</cx:pt>
          <cx:pt idx="57317">2</cx:pt>
          <cx:pt idx="57318">5</cx:pt>
          <cx:pt idx="57319">0</cx:pt>
          <cx:pt idx="57320">5</cx:pt>
          <cx:pt idx="57321">4</cx:pt>
          <cx:pt idx="57322">2</cx:pt>
          <cx:pt idx="57323">5</cx:pt>
          <cx:pt idx="57324">3</cx:pt>
          <cx:pt idx="57325">3</cx:pt>
          <cx:pt idx="57326">1</cx:pt>
          <cx:pt idx="57327">5</cx:pt>
          <cx:pt idx="57328">2</cx:pt>
          <cx:pt idx="57329">2</cx:pt>
          <cx:pt idx="57330">4</cx:pt>
          <cx:pt idx="57331">2</cx:pt>
          <cx:pt idx="57332">2</cx:pt>
          <cx:pt idx="57333">4</cx:pt>
          <cx:pt idx="57334">0</cx:pt>
          <cx:pt idx="57335">2</cx:pt>
          <cx:pt idx="57336">5</cx:pt>
          <cx:pt idx="57337">4</cx:pt>
          <cx:pt idx="57338">5</cx:pt>
          <cx:pt idx="57339">1</cx:pt>
          <cx:pt idx="57340">2</cx:pt>
          <cx:pt idx="57341">2</cx:pt>
          <cx:pt idx="57342">4</cx:pt>
          <cx:pt idx="57343">4</cx:pt>
          <cx:pt idx="57344">5</cx:pt>
          <cx:pt idx="57345">2</cx:pt>
          <cx:pt idx="57346">3</cx:pt>
          <cx:pt idx="57347">3</cx:pt>
          <cx:pt idx="57348">5</cx:pt>
          <cx:pt idx="57349">4</cx:pt>
          <cx:pt idx="57350">4</cx:pt>
          <cx:pt idx="57351">2</cx:pt>
          <cx:pt idx="57352">1</cx:pt>
          <cx:pt idx="57353">4</cx:pt>
          <cx:pt idx="57354">3</cx:pt>
          <cx:pt idx="57355">5</cx:pt>
          <cx:pt idx="57356">1</cx:pt>
          <cx:pt idx="57357">3</cx:pt>
          <cx:pt idx="57358">3</cx:pt>
          <cx:pt idx="57359">5</cx:pt>
          <cx:pt idx="57360">3</cx:pt>
          <cx:pt idx="57361">1</cx:pt>
          <cx:pt idx="57362">4</cx:pt>
          <cx:pt idx="57363">1</cx:pt>
          <cx:pt idx="57364">4</cx:pt>
          <cx:pt idx="57365">2</cx:pt>
          <cx:pt idx="57366">2</cx:pt>
          <cx:pt idx="57367">4</cx:pt>
          <cx:pt idx="57368">1</cx:pt>
          <cx:pt idx="57369">5</cx:pt>
          <cx:pt idx="57370">5</cx:pt>
          <cx:pt idx="57371">3</cx:pt>
          <cx:pt idx="57372">2</cx:pt>
          <cx:pt idx="57373">1</cx:pt>
          <cx:pt idx="57374">1</cx:pt>
          <cx:pt idx="57375">5</cx:pt>
          <cx:pt idx="57376">1</cx:pt>
          <cx:pt idx="57377">4</cx:pt>
          <cx:pt idx="57378">3</cx:pt>
          <cx:pt idx="57379">4</cx:pt>
          <cx:pt idx="57380">5</cx:pt>
          <cx:pt idx="57381">5</cx:pt>
          <cx:pt idx="57382">1</cx:pt>
          <cx:pt idx="57383">2</cx:pt>
          <cx:pt idx="57384">5</cx:pt>
          <cx:pt idx="57385">3</cx:pt>
          <cx:pt idx="57386">1</cx:pt>
          <cx:pt idx="57387">4</cx:pt>
          <cx:pt idx="57388">5</cx:pt>
          <cx:pt idx="57389">3</cx:pt>
          <cx:pt idx="57390">4</cx:pt>
          <cx:pt idx="57391">1</cx:pt>
          <cx:pt idx="57392">1</cx:pt>
          <cx:pt idx="57393">4</cx:pt>
          <cx:pt idx="57394">3</cx:pt>
          <cx:pt idx="57395">1</cx:pt>
          <cx:pt idx="57396">4</cx:pt>
          <cx:pt idx="57397">2</cx:pt>
          <cx:pt idx="57398">0</cx:pt>
          <cx:pt idx="57399">4</cx:pt>
          <cx:pt idx="57400">3</cx:pt>
          <cx:pt idx="57401">1</cx:pt>
          <cx:pt idx="57402">4</cx:pt>
          <cx:pt idx="57403">5</cx:pt>
          <cx:pt idx="57404">4</cx:pt>
          <cx:pt idx="57405">4</cx:pt>
          <cx:pt idx="57406">3</cx:pt>
          <cx:pt idx="57407">4</cx:pt>
          <cx:pt idx="57408">3</cx:pt>
          <cx:pt idx="57409">4</cx:pt>
          <cx:pt idx="57410">1</cx:pt>
          <cx:pt idx="57411">1</cx:pt>
          <cx:pt idx="57412">2</cx:pt>
          <cx:pt idx="57413">2</cx:pt>
          <cx:pt idx="57414">4</cx:pt>
          <cx:pt idx="57415">2</cx:pt>
          <cx:pt idx="57416">4</cx:pt>
          <cx:pt idx="57417">2</cx:pt>
          <cx:pt idx="57418">3</cx:pt>
          <cx:pt idx="57419">4</cx:pt>
          <cx:pt idx="57420">1</cx:pt>
          <cx:pt idx="57421">1</cx:pt>
          <cx:pt idx="57422">1</cx:pt>
          <cx:pt idx="57423">4</cx:pt>
          <cx:pt idx="57424">5</cx:pt>
          <cx:pt idx="57425">5</cx:pt>
          <cx:pt idx="57426">2</cx:pt>
          <cx:pt idx="57427">4</cx:pt>
          <cx:pt idx="57428">3</cx:pt>
          <cx:pt idx="57429">2</cx:pt>
          <cx:pt idx="57430">3</cx:pt>
          <cx:pt idx="57431">5</cx:pt>
          <cx:pt idx="57432">2</cx:pt>
          <cx:pt idx="57433">2</cx:pt>
          <cx:pt idx="57434">5</cx:pt>
          <cx:pt idx="57435">0</cx:pt>
          <cx:pt idx="57436">2</cx:pt>
          <cx:pt idx="57437">1</cx:pt>
          <cx:pt idx="57438">0</cx:pt>
          <cx:pt idx="57439">2</cx:pt>
          <cx:pt idx="57440">5</cx:pt>
          <cx:pt idx="57441">3</cx:pt>
          <cx:pt idx="57442">4</cx:pt>
          <cx:pt idx="57443">2</cx:pt>
          <cx:pt idx="57444">5</cx:pt>
          <cx:pt idx="57445">5</cx:pt>
          <cx:pt idx="57446">1</cx:pt>
          <cx:pt idx="57447">5</cx:pt>
          <cx:pt idx="57448">4</cx:pt>
          <cx:pt idx="57449">1</cx:pt>
          <cx:pt idx="57450">0</cx:pt>
          <cx:pt idx="57451">2</cx:pt>
          <cx:pt idx="57452">1</cx:pt>
          <cx:pt idx="57453">3</cx:pt>
          <cx:pt idx="57454">5</cx:pt>
          <cx:pt idx="57455">3</cx:pt>
          <cx:pt idx="57456">0</cx:pt>
          <cx:pt idx="57457">4</cx:pt>
          <cx:pt idx="57458">4</cx:pt>
          <cx:pt idx="57459">2</cx:pt>
          <cx:pt idx="57460">1</cx:pt>
          <cx:pt idx="57461">3</cx:pt>
          <cx:pt idx="57462">3</cx:pt>
          <cx:pt idx="57463">4</cx:pt>
          <cx:pt idx="57464">3</cx:pt>
          <cx:pt idx="57465">3</cx:pt>
          <cx:pt idx="57466">2</cx:pt>
          <cx:pt idx="57467">3</cx:pt>
          <cx:pt idx="57468">5</cx:pt>
          <cx:pt idx="57469">1</cx:pt>
          <cx:pt idx="57470">3</cx:pt>
          <cx:pt idx="57471">3</cx:pt>
          <cx:pt idx="57472">3</cx:pt>
          <cx:pt idx="57473">3</cx:pt>
          <cx:pt idx="57474">1</cx:pt>
          <cx:pt idx="57475">4</cx:pt>
          <cx:pt idx="57476">4</cx:pt>
          <cx:pt idx="57477">4</cx:pt>
          <cx:pt idx="57478">4</cx:pt>
          <cx:pt idx="57479">5</cx:pt>
          <cx:pt idx="57480">4</cx:pt>
          <cx:pt idx="57481">3</cx:pt>
          <cx:pt idx="57482">4</cx:pt>
          <cx:pt idx="57483">3</cx:pt>
          <cx:pt idx="57484">4</cx:pt>
          <cx:pt idx="57485">0</cx:pt>
          <cx:pt idx="57486">5</cx:pt>
          <cx:pt idx="57487">5</cx:pt>
          <cx:pt idx="57488">4</cx:pt>
          <cx:pt idx="57489">2</cx:pt>
          <cx:pt idx="57490">5</cx:pt>
          <cx:pt idx="57491">4</cx:pt>
          <cx:pt idx="57492">2</cx:pt>
          <cx:pt idx="57493">1</cx:pt>
          <cx:pt idx="57494">3</cx:pt>
          <cx:pt idx="57495">1</cx:pt>
          <cx:pt idx="57496">2</cx:pt>
          <cx:pt idx="57497">4</cx:pt>
          <cx:pt idx="57498">4</cx:pt>
          <cx:pt idx="57499">3</cx:pt>
          <cx:pt idx="57500">1</cx:pt>
          <cx:pt idx="57501">3</cx:pt>
          <cx:pt idx="57502">2</cx:pt>
          <cx:pt idx="57503">5</cx:pt>
          <cx:pt idx="57504">2</cx:pt>
          <cx:pt idx="57505">3</cx:pt>
          <cx:pt idx="57506">3</cx:pt>
          <cx:pt idx="57507">3</cx:pt>
          <cx:pt idx="57508">3</cx:pt>
          <cx:pt idx="57509">4</cx:pt>
          <cx:pt idx="57510">4</cx:pt>
          <cx:pt idx="57511">4</cx:pt>
          <cx:pt idx="57512">4</cx:pt>
          <cx:pt idx="57513">3</cx:pt>
          <cx:pt idx="57514">1</cx:pt>
          <cx:pt idx="57515">2</cx:pt>
          <cx:pt idx="57516">1</cx:pt>
          <cx:pt idx="57517">5</cx:pt>
          <cx:pt idx="57518">2</cx:pt>
          <cx:pt idx="57519">1</cx:pt>
          <cx:pt idx="57520">3</cx:pt>
          <cx:pt idx="57521">3</cx:pt>
          <cx:pt idx="57522">2</cx:pt>
          <cx:pt idx="57523">3</cx:pt>
          <cx:pt idx="57524">3</cx:pt>
          <cx:pt idx="57525">1</cx:pt>
          <cx:pt idx="57526">2</cx:pt>
          <cx:pt idx="57527">2</cx:pt>
          <cx:pt idx="57528">4</cx:pt>
          <cx:pt idx="57529">1</cx:pt>
          <cx:pt idx="57530">1</cx:pt>
          <cx:pt idx="57531">2</cx:pt>
          <cx:pt idx="57532">4</cx:pt>
          <cx:pt idx="57533">4</cx:pt>
          <cx:pt idx="57534">4</cx:pt>
          <cx:pt idx="57535">5</cx:pt>
          <cx:pt idx="57536">5</cx:pt>
          <cx:pt idx="57537">5</cx:pt>
          <cx:pt idx="57538">3</cx:pt>
          <cx:pt idx="57539">4</cx:pt>
          <cx:pt idx="57540">2</cx:pt>
          <cx:pt idx="57541">4</cx:pt>
          <cx:pt idx="57542">1</cx:pt>
          <cx:pt idx="57543">4</cx:pt>
          <cx:pt idx="57544">2</cx:pt>
          <cx:pt idx="57545">1</cx:pt>
          <cx:pt idx="57546">1</cx:pt>
          <cx:pt idx="57547">5</cx:pt>
          <cx:pt idx="57548">2</cx:pt>
          <cx:pt idx="57549">3</cx:pt>
          <cx:pt idx="57550">3</cx:pt>
          <cx:pt idx="57551">3</cx:pt>
          <cx:pt idx="57552">1</cx:pt>
          <cx:pt idx="57553">1</cx:pt>
          <cx:pt idx="57554">3</cx:pt>
          <cx:pt idx="57555">3</cx:pt>
          <cx:pt idx="57556">1</cx:pt>
          <cx:pt idx="57557">3</cx:pt>
          <cx:pt idx="57558">3</cx:pt>
          <cx:pt idx="57559">4</cx:pt>
          <cx:pt idx="57560">5</cx:pt>
          <cx:pt idx="57561">3</cx:pt>
          <cx:pt idx="57562">3</cx:pt>
          <cx:pt idx="57563">3</cx:pt>
          <cx:pt idx="57564">1</cx:pt>
          <cx:pt idx="57565">3</cx:pt>
          <cx:pt idx="57566">1</cx:pt>
          <cx:pt idx="57567">3</cx:pt>
          <cx:pt idx="57568">0</cx:pt>
          <cx:pt idx="57569">5</cx:pt>
          <cx:pt idx="57570">3</cx:pt>
          <cx:pt idx="57571">2</cx:pt>
          <cx:pt idx="57572">5</cx:pt>
          <cx:pt idx="57573">3</cx:pt>
          <cx:pt idx="57574">3</cx:pt>
          <cx:pt idx="57575">3</cx:pt>
          <cx:pt idx="57576">2</cx:pt>
          <cx:pt idx="57577">2</cx:pt>
          <cx:pt idx="57578">1</cx:pt>
          <cx:pt idx="57579">1</cx:pt>
          <cx:pt idx="57580">3</cx:pt>
          <cx:pt idx="57581">2</cx:pt>
          <cx:pt idx="57582">3</cx:pt>
          <cx:pt idx="57583">2</cx:pt>
          <cx:pt idx="57584">5</cx:pt>
          <cx:pt idx="57585">5</cx:pt>
          <cx:pt idx="57586">3</cx:pt>
          <cx:pt idx="57587">2</cx:pt>
          <cx:pt idx="57588">2</cx:pt>
          <cx:pt idx="57589">5</cx:pt>
          <cx:pt idx="57590">3</cx:pt>
          <cx:pt idx="57591">1</cx:pt>
          <cx:pt idx="57592">5</cx:pt>
          <cx:pt idx="57593">1</cx:pt>
          <cx:pt idx="57594">0</cx:pt>
          <cx:pt idx="57595">4</cx:pt>
          <cx:pt idx="57596">3</cx:pt>
          <cx:pt idx="57597">4</cx:pt>
          <cx:pt idx="57598">1</cx:pt>
          <cx:pt idx="57599">1</cx:pt>
          <cx:pt idx="57600">3</cx:pt>
          <cx:pt idx="57601">3</cx:pt>
          <cx:pt idx="57602">5</cx:pt>
          <cx:pt idx="57603">2</cx:pt>
          <cx:pt idx="57604">5</cx:pt>
          <cx:pt idx="57605">4</cx:pt>
          <cx:pt idx="57606">2</cx:pt>
          <cx:pt idx="57607">2</cx:pt>
          <cx:pt idx="57608">2</cx:pt>
          <cx:pt idx="57609">5</cx:pt>
          <cx:pt idx="57610">1</cx:pt>
          <cx:pt idx="57611">3</cx:pt>
          <cx:pt idx="57612">4</cx:pt>
          <cx:pt idx="57613">2</cx:pt>
          <cx:pt idx="57614">2</cx:pt>
          <cx:pt idx="57615">1</cx:pt>
          <cx:pt idx="57616">1</cx:pt>
          <cx:pt idx="57617">1</cx:pt>
          <cx:pt idx="57618">3</cx:pt>
          <cx:pt idx="57619">0</cx:pt>
          <cx:pt idx="57620">1</cx:pt>
          <cx:pt idx="57621">3</cx:pt>
          <cx:pt idx="57622">2</cx:pt>
          <cx:pt idx="57623">0</cx:pt>
          <cx:pt idx="57624">1</cx:pt>
          <cx:pt idx="57625">4</cx:pt>
          <cx:pt idx="57626">4</cx:pt>
          <cx:pt idx="57627">2</cx:pt>
          <cx:pt idx="57628">1</cx:pt>
          <cx:pt idx="57629">2</cx:pt>
          <cx:pt idx="57630">2</cx:pt>
          <cx:pt idx="57631">2</cx:pt>
          <cx:pt idx="57632">2</cx:pt>
          <cx:pt idx="57633">1</cx:pt>
          <cx:pt idx="57634">3</cx:pt>
          <cx:pt idx="57635">0</cx:pt>
          <cx:pt idx="57636">2</cx:pt>
          <cx:pt idx="57637">1</cx:pt>
          <cx:pt idx="57638">4</cx:pt>
          <cx:pt idx="57639">1</cx:pt>
          <cx:pt idx="57640">5</cx:pt>
          <cx:pt idx="57641">4</cx:pt>
          <cx:pt idx="57642">1</cx:pt>
          <cx:pt idx="57643">2</cx:pt>
          <cx:pt idx="57644">4</cx:pt>
          <cx:pt idx="57645">0</cx:pt>
          <cx:pt idx="57646">3</cx:pt>
          <cx:pt idx="57647">4</cx:pt>
          <cx:pt idx="57648">2</cx:pt>
          <cx:pt idx="57649">3</cx:pt>
          <cx:pt idx="57650">2</cx:pt>
          <cx:pt idx="57651">3</cx:pt>
          <cx:pt idx="57652">4</cx:pt>
          <cx:pt idx="57653">4</cx:pt>
          <cx:pt idx="57654">0</cx:pt>
          <cx:pt idx="57655">3</cx:pt>
          <cx:pt idx="57656">1</cx:pt>
          <cx:pt idx="57657">2</cx:pt>
          <cx:pt idx="57658">1</cx:pt>
          <cx:pt idx="57659">3</cx:pt>
          <cx:pt idx="57660">2</cx:pt>
          <cx:pt idx="57661">1</cx:pt>
          <cx:pt idx="57662">2</cx:pt>
          <cx:pt idx="57663">1</cx:pt>
          <cx:pt idx="57664">4</cx:pt>
          <cx:pt idx="57665">5</cx:pt>
          <cx:pt idx="57666">3</cx:pt>
          <cx:pt idx="57667">2</cx:pt>
          <cx:pt idx="57668">3</cx:pt>
          <cx:pt idx="57669">2</cx:pt>
          <cx:pt idx="57670">3</cx:pt>
          <cx:pt idx="57671">2</cx:pt>
          <cx:pt idx="57672">3</cx:pt>
          <cx:pt idx="57673">3</cx:pt>
          <cx:pt idx="57674">4</cx:pt>
          <cx:pt idx="57675">4</cx:pt>
          <cx:pt idx="57676">3</cx:pt>
          <cx:pt idx="57677">2</cx:pt>
          <cx:pt idx="57678">3</cx:pt>
          <cx:pt idx="57679">1</cx:pt>
          <cx:pt idx="57680">5</cx:pt>
          <cx:pt idx="57681">0</cx:pt>
          <cx:pt idx="57682">3</cx:pt>
          <cx:pt idx="57683">5</cx:pt>
          <cx:pt idx="57684">2</cx:pt>
          <cx:pt idx="57685">1</cx:pt>
          <cx:pt idx="57686">1</cx:pt>
          <cx:pt idx="57687">5</cx:pt>
          <cx:pt idx="57688">3</cx:pt>
          <cx:pt idx="57689">2</cx:pt>
          <cx:pt idx="57690">3</cx:pt>
          <cx:pt idx="57691">1</cx:pt>
          <cx:pt idx="57692">5</cx:pt>
          <cx:pt idx="57693">3</cx:pt>
          <cx:pt idx="57694">2</cx:pt>
          <cx:pt idx="57695">2</cx:pt>
          <cx:pt idx="57696">2</cx:pt>
          <cx:pt idx="57697">3</cx:pt>
          <cx:pt idx="57698">4</cx:pt>
          <cx:pt idx="57699">3</cx:pt>
          <cx:pt idx="57700">3</cx:pt>
          <cx:pt idx="57701">2</cx:pt>
          <cx:pt idx="57702">3</cx:pt>
          <cx:pt idx="57703">3</cx:pt>
          <cx:pt idx="57704">2</cx:pt>
          <cx:pt idx="57705">1</cx:pt>
          <cx:pt idx="57706">4</cx:pt>
          <cx:pt idx="57707">2</cx:pt>
          <cx:pt idx="57708">1</cx:pt>
          <cx:pt idx="57709">3</cx:pt>
          <cx:pt idx="57710">1</cx:pt>
          <cx:pt idx="57711">1</cx:pt>
          <cx:pt idx="57712">3</cx:pt>
          <cx:pt idx="57713">3</cx:pt>
          <cx:pt idx="57714">2</cx:pt>
          <cx:pt idx="57715">3</cx:pt>
          <cx:pt idx="57716">2</cx:pt>
          <cx:pt idx="57717">5</cx:pt>
          <cx:pt idx="57718">3</cx:pt>
          <cx:pt idx="57719">3</cx:pt>
          <cx:pt idx="57720">2</cx:pt>
          <cx:pt idx="57721">3</cx:pt>
          <cx:pt idx="57722">4</cx:pt>
          <cx:pt idx="57723">2</cx:pt>
          <cx:pt idx="57724">5</cx:pt>
          <cx:pt idx="57725">5</cx:pt>
          <cx:pt idx="57726">0</cx:pt>
          <cx:pt idx="57727">3</cx:pt>
          <cx:pt idx="57728">4</cx:pt>
          <cx:pt idx="57729">3</cx:pt>
          <cx:pt idx="57730">3</cx:pt>
          <cx:pt idx="57731">1</cx:pt>
          <cx:pt idx="57732">3</cx:pt>
          <cx:pt idx="57733">2</cx:pt>
          <cx:pt idx="57734">4</cx:pt>
          <cx:pt idx="57735">2</cx:pt>
          <cx:pt idx="57736">2</cx:pt>
          <cx:pt idx="57737">1</cx:pt>
          <cx:pt idx="57738">1</cx:pt>
          <cx:pt idx="57739">3</cx:pt>
          <cx:pt idx="57740">4</cx:pt>
          <cx:pt idx="57741">2</cx:pt>
          <cx:pt idx="57742">3</cx:pt>
          <cx:pt idx="57743">4</cx:pt>
          <cx:pt idx="57744">3</cx:pt>
          <cx:pt idx="57745">0</cx:pt>
          <cx:pt idx="57746">5</cx:pt>
          <cx:pt idx="57747">5</cx:pt>
          <cx:pt idx="57748">4</cx:pt>
          <cx:pt idx="57749">3</cx:pt>
          <cx:pt idx="57750">3</cx:pt>
          <cx:pt idx="57751">3</cx:pt>
          <cx:pt idx="57752">3</cx:pt>
          <cx:pt idx="57753">1</cx:pt>
          <cx:pt idx="57754">4</cx:pt>
          <cx:pt idx="57755">5</cx:pt>
          <cx:pt idx="57756">3</cx:pt>
          <cx:pt idx="57757">1</cx:pt>
          <cx:pt idx="57758">0</cx:pt>
          <cx:pt idx="57759">2</cx:pt>
          <cx:pt idx="57760">5</cx:pt>
          <cx:pt idx="57761">1</cx:pt>
          <cx:pt idx="57762">4</cx:pt>
          <cx:pt idx="57763">3</cx:pt>
          <cx:pt idx="57764">5</cx:pt>
          <cx:pt idx="57765">3</cx:pt>
          <cx:pt idx="57766">3</cx:pt>
          <cx:pt idx="57767">5</cx:pt>
          <cx:pt idx="57768">3</cx:pt>
          <cx:pt idx="57769">4</cx:pt>
          <cx:pt idx="57770">4</cx:pt>
          <cx:pt idx="57771">3</cx:pt>
          <cx:pt idx="57772">2</cx:pt>
          <cx:pt idx="57773">2</cx:pt>
          <cx:pt idx="57774">0</cx:pt>
          <cx:pt idx="57775">5</cx:pt>
          <cx:pt idx="57776">1</cx:pt>
          <cx:pt idx="57777">1</cx:pt>
          <cx:pt idx="57778">3</cx:pt>
          <cx:pt idx="57779">2</cx:pt>
          <cx:pt idx="57780">2</cx:pt>
          <cx:pt idx="57781">5</cx:pt>
          <cx:pt idx="57782">5</cx:pt>
          <cx:pt idx="57783">1</cx:pt>
          <cx:pt idx="57784">3</cx:pt>
          <cx:pt idx="57785">4</cx:pt>
          <cx:pt idx="57786">4</cx:pt>
          <cx:pt idx="57787">2</cx:pt>
          <cx:pt idx="57788">3</cx:pt>
          <cx:pt idx="57789">4</cx:pt>
          <cx:pt idx="57790">4</cx:pt>
          <cx:pt idx="57791">2</cx:pt>
          <cx:pt idx="57792">5</cx:pt>
          <cx:pt idx="57793">2</cx:pt>
          <cx:pt idx="57794">3</cx:pt>
          <cx:pt idx="57795">3</cx:pt>
          <cx:pt idx="57796">1</cx:pt>
          <cx:pt idx="57797">1</cx:pt>
          <cx:pt idx="57798">3</cx:pt>
          <cx:pt idx="57799">4</cx:pt>
          <cx:pt idx="57800">5</cx:pt>
          <cx:pt idx="57801">2</cx:pt>
          <cx:pt idx="57802">4</cx:pt>
          <cx:pt idx="57803">1</cx:pt>
          <cx:pt idx="57804">4</cx:pt>
          <cx:pt idx="57805">3</cx:pt>
          <cx:pt idx="57806">2</cx:pt>
          <cx:pt idx="57807">4</cx:pt>
          <cx:pt idx="57808">0</cx:pt>
          <cx:pt idx="57809">1</cx:pt>
          <cx:pt idx="57810">3</cx:pt>
          <cx:pt idx="57811">3</cx:pt>
          <cx:pt idx="57812">3</cx:pt>
          <cx:pt idx="57813">5</cx:pt>
          <cx:pt idx="57814">4</cx:pt>
          <cx:pt idx="57815">1</cx:pt>
          <cx:pt idx="57816">4</cx:pt>
          <cx:pt idx="57817">4</cx:pt>
          <cx:pt idx="57818">5</cx:pt>
          <cx:pt idx="57819">4</cx:pt>
          <cx:pt idx="57820">5</cx:pt>
          <cx:pt idx="57821">4</cx:pt>
          <cx:pt idx="57822">2</cx:pt>
          <cx:pt idx="57823">4</cx:pt>
          <cx:pt idx="57824">4</cx:pt>
          <cx:pt idx="57825">2</cx:pt>
          <cx:pt idx="57826">5</cx:pt>
          <cx:pt idx="57827">5</cx:pt>
          <cx:pt idx="57828">2</cx:pt>
          <cx:pt idx="57829">2</cx:pt>
          <cx:pt idx="57830">0</cx:pt>
          <cx:pt idx="57831">3</cx:pt>
          <cx:pt idx="57832">2</cx:pt>
          <cx:pt idx="57833">5</cx:pt>
          <cx:pt idx="57834">3</cx:pt>
          <cx:pt idx="57835">2</cx:pt>
          <cx:pt idx="57836">1</cx:pt>
          <cx:pt idx="57837">5</cx:pt>
          <cx:pt idx="57838">3</cx:pt>
          <cx:pt idx="57839">1</cx:pt>
          <cx:pt idx="57840">2</cx:pt>
          <cx:pt idx="57841">4</cx:pt>
          <cx:pt idx="57842">3</cx:pt>
          <cx:pt idx="57843">5</cx:pt>
          <cx:pt idx="57844">4</cx:pt>
          <cx:pt idx="57845">3</cx:pt>
          <cx:pt idx="57846">1</cx:pt>
          <cx:pt idx="57847">1</cx:pt>
          <cx:pt idx="57848">2</cx:pt>
          <cx:pt idx="57849">4</cx:pt>
          <cx:pt idx="57850">1</cx:pt>
          <cx:pt idx="57851">3</cx:pt>
          <cx:pt idx="57852">5</cx:pt>
          <cx:pt idx="57853">5</cx:pt>
          <cx:pt idx="57854">2</cx:pt>
          <cx:pt idx="57855">4</cx:pt>
          <cx:pt idx="57856">2</cx:pt>
          <cx:pt idx="57857">3</cx:pt>
          <cx:pt idx="57858">2</cx:pt>
          <cx:pt idx="57859">3</cx:pt>
          <cx:pt idx="57860">2</cx:pt>
          <cx:pt idx="57861">5</cx:pt>
          <cx:pt idx="57862">1</cx:pt>
          <cx:pt idx="57863">1</cx:pt>
          <cx:pt idx="57864">3</cx:pt>
          <cx:pt idx="57865">1</cx:pt>
          <cx:pt idx="57866">3</cx:pt>
          <cx:pt idx="57867">5</cx:pt>
          <cx:pt idx="57868">5</cx:pt>
          <cx:pt idx="57869">4</cx:pt>
          <cx:pt idx="57870">0</cx:pt>
          <cx:pt idx="57871">1</cx:pt>
          <cx:pt idx="57872">3</cx:pt>
          <cx:pt idx="57873">5</cx:pt>
          <cx:pt idx="57874">5</cx:pt>
          <cx:pt idx="57875">3</cx:pt>
          <cx:pt idx="57876">1</cx:pt>
          <cx:pt idx="57877">2</cx:pt>
          <cx:pt idx="57878">2</cx:pt>
          <cx:pt idx="57879">2</cx:pt>
          <cx:pt idx="57880">2</cx:pt>
          <cx:pt idx="57881">3</cx:pt>
          <cx:pt idx="57882">1</cx:pt>
          <cx:pt idx="57883">2</cx:pt>
          <cx:pt idx="57884">4</cx:pt>
          <cx:pt idx="57885">5</cx:pt>
          <cx:pt idx="57886">4</cx:pt>
          <cx:pt idx="57887">5</cx:pt>
          <cx:pt idx="57888">5</cx:pt>
          <cx:pt idx="57889">2</cx:pt>
          <cx:pt idx="57890">5</cx:pt>
          <cx:pt idx="57891">1</cx:pt>
          <cx:pt idx="57892">5</cx:pt>
          <cx:pt idx="57893">2</cx:pt>
          <cx:pt idx="57894">3</cx:pt>
          <cx:pt idx="57895">3</cx:pt>
          <cx:pt idx="57896">2</cx:pt>
          <cx:pt idx="57897">3</cx:pt>
          <cx:pt idx="57898">0</cx:pt>
          <cx:pt idx="57899">3</cx:pt>
          <cx:pt idx="57900">4</cx:pt>
          <cx:pt idx="57901">2</cx:pt>
          <cx:pt idx="57902">2</cx:pt>
          <cx:pt idx="57903">2</cx:pt>
          <cx:pt idx="57904">2</cx:pt>
          <cx:pt idx="57905">5</cx:pt>
          <cx:pt idx="57906">1</cx:pt>
          <cx:pt idx="57907">1</cx:pt>
          <cx:pt idx="57908">2</cx:pt>
          <cx:pt idx="57909">4</cx:pt>
          <cx:pt idx="57910">2</cx:pt>
          <cx:pt idx="57911">1</cx:pt>
          <cx:pt idx="57912">4</cx:pt>
          <cx:pt idx="57913">1</cx:pt>
          <cx:pt idx="57914">0</cx:pt>
          <cx:pt idx="57915">1</cx:pt>
          <cx:pt idx="57916">2</cx:pt>
          <cx:pt idx="57917">2</cx:pt>
          <cx:pt idx="57918">5</cx:pt>
          <cx:pt idx="57919">4</cx:pt>
          <cx:pt idx="57920">2</cx:pt>
          <cx:pt idx="57921">2</cx:pt>
          <cx:pt idx="57922">2</cx:pt>
          <cx:pt idx="57923">3</cx:pt>
          <cx:pt idx="57924">2</cx:pt>
          <cx:pt idx="57925">1</cx:pt>
          <cx:pt idx="57926">1</cx:pt>
          <cx:pt idx="57927">5</cx:pt>
          <cx:pt idx="57928">3</cx:pt>
          <cx:pt idx="57929">3</cx:pt>
          <cx:pt idx="57930">2</cx:pt>
          <cx:pt idx="57931">4</cx:pt>
          <cx:pt idx="57932">2</cx:pt>
          <cx:pt idx="57933">2</cx:pt>
          <cx:pt idx="57934">0</cx:pt>
          <cx:pt idx="57935">4</cx:pt>
          <cx:pt idx="57936">3</cx:pt>
          <cx:pt idx="57937">2</cx:pt>
          <cx:pt idx="57938">5</cx:pt>
          <cx:pt idx="57939">3</cx:pt>
          <cx:pt idx="57940">5</cx:pt>
          <cx:pt idx="57941">3</cx:pt>
          <cx:pt idx="57942">2</cx:pt>
          <cx:pt idx="57943">4</cx:pt>
          <cx:pt idx="57944">2</cx:pt>
          <cx:pt idx="57945">1</cx:pt>
          <cx:pt idx="57946">3</cx:pt>
          <cx:pt idx="57947">2</cx:pt>
          <cx:pt idx="57948">4</cx:pt>
          <cx:pt idx="57949">2</cx:pt>
          <cx:pt idx="57950">2</cx:pt>
          <cx:pt idx="57951">2</cx:pt>
          <cx:pt idx="57952">3</cx:pt>
          <cx:pt idx="57953">4</cx:pt>
          <cx:pt idx="57954">3</cx:pt>
          <cx:pt idx="57955">4</cx:pt>
          <cx:pt idx="57956">2</cx:pt>
          <cx:pt idx="57957">4</cx:pt>
          <cx:pt idx="57958">3</cx:pt>
          <cx:pt idx="57959">1</cx:pt>
          <cx:pt idx="57960">4</cx:pt>
          <cx:pt idx="57961">3</cx:pt>
          <cx:pt idx="57962">3</cx:pt>
          <cx:pt idx="57963">1</cx:pt>
          <cx:pt idx="57964">2</cx:pt>
          <cx:pt idx="57965">0</cx:pt>
          <cx:pt idx="57966">5</cx:pt>
          <cx:pt idx="57967">1</cx:pt>
          <cx:pt idx="57968">3</cx:pt>
          <cx:pt idx="57969">3</cx:pt>
          <cx:pt idx="57970">4</cx:pt>
          <cx:pt idx="57971">4</cx:pt>
          <cx:pt idx="57972">3</cx:pt>
          <cx:pt idx="57973">5</cx:pt>
          <cx:pt idx="57974">0</cx:pt>
          <cx:pt idx="57975">1</cx:pt>
          <cx:pt idx="57976">4</cx:pt>
          <cx:pt idx="57977">2</cx:pt>
          <cx:pt idx="57978">2</cx:pt>
          <cx:pt idx="57979">4</cx:pt>
          <cx:pt idx="57980">2</cx:pt>
          <cx:pt idx="57981">3</cx:pt>
          <cx:pt idx="57982">4</cx:pt>
          <cx:pt idx="57983">4</cx:pt>
          <cx:pt idx="57984">3</cx:pt>
          <cx:pt idx="57985">5</cx:pt>
          <cx:pt idx="57986">3</cx:pt>
          <cx:pt idx="57987">4</cx:pt>
          <cx:pt idx="57988">1</cx:pt>
          <cx:pt idx="57989">3</cx:pt>
          <cx:pt idx="57990">3</cx:pt>
          <cx:pt idx="57991">5</cx:pt>
          <cx:pt idx="57992">1</cx:pt>
          <cx:pt idx="57993">5</cx:pt>
          <cx:pt idx="57994">2</cx:pt>
          <cx:pt idx="57995">2</cx:pt>
          <cx:pt idx="57996">3</cx:pt>
          <cx:pt idx="57997">2</cx:pt>
          <cx:pt idx="57998">2</cx:pt>
          <cx:pt idx="57999">2</cx:pt>
          <cx:pt idx="58000">2</cx:pt>
          <cx:pt idx="58001">2</cx:pt>
          <cx:pt idx="58002">1</cx:pt>
          <cx:pt idx="58003">1</cx:pt>
          <cx:pt idx="58004">5</cx:pt>
          <cx:pt idx="58005">4</cx:pt>
          <cx:pt idx="58006">3</cx:pt>
          <cx:pt idx="58007">2</cx:pt>
          <cx:pt idx="58008">2</cx:pt>
          <cx:pt idx="58009">2</cx:pt>
          <cx:pt idx="58010">4</cx:pt>
          <cx:pt idx="58011">1</cx:pt>
          <cx:pt idx="58012">3</cx:pt>
          <cx:pt idx="58013">0</cx:pt>
          <cx:pt idx="58014">2</cx:pt>
          <cx:pt idx="58015">1</cx:pt>
          <cx:pt idx="58016">3</cx:pt>
          <cx:pt idx="58017">2</cx:pt>
          <cx:pt idx="58018">1</cx:pt>
          <cx:pt idx="58019">4</cx:pt>
          <cx:pt idx="58020">5</cx:pt>
          <cx:pt idx="58021">5</cx:pt>
          <cx:pt idx="58022">5</cx:pt>
          <cx:pt idx="58023">2</cx:pt>
          <cx:pt idx="58024">3</cx:pt>
          <cx:pt idx="58025">2</cx:pt>
          <cx:pt idx="58026">4</cx:pt>
          <cx:pt idx="58027">3</cx:pt>
          <cx:pt idx="58028">2</cx:pt>
          <cx:pt idx="58029">2</cx:pt>
          <cx:pt idx="58030">2</cx:pt>
          <cx:pt idx="58031">4</cx:pt>
          <cx:pt idx="58032">5</cx:pt>
          <cx:pt idx="58033">4</cx:pt>
          <cx:pt idx="58034">1</cx:pt>
          <cx:pt idx="58035">2</cx:pt>
          <cx:pt idx="58036">2</cx:pt>
          <cx:pt idx="58037">5</cx:pt>
          <cx:pt idx="58038">0</cx:pt>
          <cx:pt idx="58039">5</cx:pt>
          <cx:pt idx="58040">4</cx:pt>
          <cx:pt idx="58041">5</cx:pt>
          <cx:pt idx="58042">5</cx:pt>
          <cx:pt idx="58043">2</cx:pt>
          <cx:pt idx="58044">3</cx:pt>
          <cx:pt idx="58045">2</cx:pt>
          <cx:pt idx="58046">3</cx:pt>
          <cx:pt idx="58047">5</cx:pt>
          <cx:pt idx="58048">4</cx:pt>
          <cx:pt idx="58049">4</cx:pt>
          <cx:pt idx="58050">3</cx:pt>
          <cx:pt idx="58051">1</cx:pt>
          <cx:pt idx="58052">4</cx:pt>
          <cx:pt idx="58053">4</cx:pt>
          <cx:pt idx="58054">2</cx:pt>
          <cx:pt idx="58055">1</cx:pt>
          <cx:pt idx="58056">2</cx:pt>
          <cx:pt idx="58057">3</cx:pt>
          <cx:pt idx="58058">2</cx:pt>
          <cx:pt idx="58059">3</cx:pt>
          <cx:pt idx="58060">4</cx:pt>
          <cx:pt idx="58061">3</cx:pt>
          <cx:pt idx="58062">0</cx:pt>
          <cx:pt idx="58063">5</cx:pt>
          <cx:pt idx="58064">3</cx:pt>
          <cx:pt idx="58065">3</cx:pt>
          <cx:pt idx="58066">2</cx:pt>
          <cx:pt idx="58067">3</cx:pt>
          <cx:pt idx="58068">3</cx:pt>
          <cx:pt idx="58069">3</cx:pt>
          <cx:pt idx="58070">4</cx:pt>
          <cx:pt idx="58071">1</cx:pt>
          <cx:pt idx="58072">5</cx:pt>
          <cx:pt idx="58073">1</cx:pt>
          <cx:pt idx="58074">2</cx:pt>
          <cx:pt idx="58075">2</cx:pt>
          <cx:pt idx="58076">2</cx:pt>
          <cx:pt idx="58077">3</cx:pt>
          <cx:pt idx="58078">2</cx:pt>
          <cx:pt idx="58079">5</cx:pt>
          <cx:pt idx="58080">1</cx:pt>
          <cx:pt idx="58081">2</cx:pt>
          <cx:pt idx="58082">1</cx:pt>
          <cx:pt idx="58083">1</cx:pt>
          <cx:pt idx="58084">2</cx:pt>
          <cx:pt idx="58085">0</cx:pt>
          <cx:pt idx="58086">4</cx:pt>
          <cx:pt idx="58087">5</cx:pt>
          <cx:pt idx="58088">1</cx:pt>
          <cx:pt idx="58089">3</cx:pt>
          <cx:pt idx="58090">2</cx:pt>
          <cx:pt idx="58091">2</cx:pt>
          <cx:pt idx="58092">4</cx:pt>
          <cx:pt idx="58093">3</cx:pt>
          <cx:pt idx="58094">1</cx:pt>
          <cx:pt idx="58095">2</cx:pt>
          <cx:pt idx="58096">3</cx:pt>
          <cx:pt idx="58097">3</cx:pt>
          <cx:pt idx="58098">2</cx:pt>
          <cx:pt idx="58099">5</cx:pt>
          <cx:pt idx="58100">1</cx:pt>
          <cx:pt idx="58101">5</cx:pt>
          <cx:pt idx="58102">3</cx:pt>
          <cx:pt idx="58103">1</cx:pt>
          <cx:pt idx="58104">4</cx:pt>
          <cx:pt idx="58105">5</cx:pt>
          <cx:pt idx="58106">5</cx:pt>
          <cx:pt idx="58107">1</cx:pt>
          <cx:pt idx="58108">4</cx:pt>
          <cx:pt idx="58109">3</cx:pt>
          <cx:pt idx="58110">2</cx:pt>
          <cx:pt idx="58111">2</cx:pt>
          <cx:pt idx="58112">0</cx:pt>
          <cx:pt idx="58113">2</cx:pt>
          <cx:pt idx="58114">5</cx:pt>
          <cx:pt idx="58115">2</cx:pt>
          <cx:pt idx="58116">3</cx:pt>
          <cx:pt idx="58117">2</cx:pt>
          <cx:pt idx="58118">3</cx:pt>
          <cx:pt idx="58119">1</cx:pt>
          <cx:pt idx="58120">4</cx:pt>
          <cx:pt idx="58121">2</cx:pt>
          <cx:pt idx="58122">5</cx:pt>
          <cx:pt idx="58123">5</cx:pt>
          <cx:pt idx="58124">5</cx:pt>
          <cx:pt idx="58125">1</cx:pt>
          <cx:pt idx="58126">1</cx:pt>
          <cx:pt idx="58127">0</cx:pt>
          <cx:pt idx="58128">2</cx:pt>
          <cx:pt idx="58129">2</cx:pt>
          <cx:pt idx="58130">2</cx:pt>
          <cx:pt idx="58131">2</cx:pt>
          <cx:pt idx="58132">4</cx:pt>
          <cx:pt idx="58133">3</cx:pt>
          <cx:pt idx="58134">2</cx:pt>
          <cx:pt idx="58135">3</cx:pt>
          <cx:pt idx="58136">1</cx:pt>
          <cx:pt idx="58137">3</cx:pt>
          <cx:pt idx="58138">0</cx:pt>
          <cx:pt idx="58139">2</cx:pt>
          <cx:pt idx="58140">4</cx:pt>
          <cx:pt idx="58141">4</cx:pt>
          <cx:pt idx="58142">0</cx:pt>
          <cx:pt idx="58143">3</cx:pt>
          <cx:pt idx="58144">5</cx:pt>
          <cx:pt idx="58145">2</cx:pt>
          <cx:pt idx="58146">3</cx:pt>
          <cx:pt idx="58147">5</cx:pt>
          <cx:pt idx="58148">3</cx:pt>
          <cx:pt idx="58149">5</cx:pt>
          <cx:pt idx="58150">3</cx:pt>
          <cx:pt idx="58151">2</cx:pt>
          <cx:pt idx="58152">1</cx:pt>
          <cx:pt idx="58153">5</cx:pt>
          <cx:pt idx="58154">2</cx:pt>
          <cx:pt idx="58155">3</cx:pt>
          <cx:pt idx="58156">3</cx:pt>
          <cx:pt idx="58157">5</cx:pt>
          <cx:pt idx="58158">2</cx:pt>
          <cx:pt idx="58159">2</cx:pt>
          <cx:pt idx="58160">1</cx:pt>
          <cx:pt idx="58161">2</cx:pt>
          <cx:pt idx="58162">1</cx:pt>
          <cx:pt idx="58163">1</cx:pt>
          <cx:pt idx="58164">2</cx:pt>
          <cx:pt idx="58165">2</cx:pt>
          <cx:pt idx="58166">3</cx:pt>
          <cx:pt idx="58167">5</cx:pt>
          <cx:pt idx="58168">2</cx:pt>
          <cx:pt idx="58169">2</cx:pt>
          <cx:pt idx="58170">5</cx:pt>
          <cx:pt idx="58171">4</cx:pt>
          <cx:pt idx="58172">4</cx:pt>
          <cx:pt idx="58173">5</cx:pt>
          <cx:pt idx="58174">0</cx:pt>
          <cx:pt idx="58175">1</cx:pt>
          <cx:pt idx="58176">3</cx:pt>
          <cx:pt idx="58177">3</cx:pt>
          <cx:pt idx="58178">2</cx:pt>
          <cx:pt idx="58179">1</cx:pt>
          <cx:pt idx="58180">5</cx:pt>
          <cx:pt idx="58181">1</cx:pt>
          <cx:pt idx="58182">5</cx:pt>
          <cx:pt idx="58183">3</cx:pt>
          <cx:pt idx="58184">3</cx:pt>
          <cx:pt idx="58185">4</cx:pt>
          <cx:pt idx="58186">3</cx:pt>
          <cx:pt idx="58187">4</cx:pt>
          <cx:pt idx="58188">2</cx:pt>
          <cx:pt idx="58189">2</cx:pt>
          <cx:pt idx="58190">5</cx:pt>
          <cx:pt idx="58191">1</cx:pt>
          <cx:pt idx="58192">2</cx:pt>
          <cx:pt idx="58193">3</cx:pt>
          <cx:pt idx="58194">3</cx:pt>
          <cx:pt idx="58195">1</cx:pt>
          <cx:pt idx="58196">5</cx:pt>
          <cx:pt idx="58197">1</cx:pt>
          <cx:pt idx="58198">4</cx:pt>
          <cx:pt idx="58199">1</cx:pt>
          <cx:pt idx="58200">5</cx:pt>
          <cx:pt idx="58201">2</cx:pt>
          <cx:pt idx="58202">3</cx:pt>
          <cx:pt idx="58203">1</cx:pt>
          <cx:pt idx="58204">0</cx:pt>
          <cx:pt idx="58205">2</cx:pt>
          <cx:pt idx="58206">4</cx:pt>
          <cx:pt idx="58207">1</cx:pt>
          <cx:pt idx="58208">2</cx:pt>
          <cx:pt idx="58209">2</cx:pt>
          <cx:pt idx="58210">3</cx:pt>
          <cx:pt idx="58211">3</cx:pt>
          <cx:pt idx="58212">5</cx:pt>
          <cx:pt idx="58213">4</cx:pt>
          <cx:pt idx="58214">1</cx:pt>
          <cx:pt idx="58215">4</cx:pt>
          <cx:pt idx="58216">2</cx:pt>
          <cx:pt idx="58217">0</cx:pt>
          <cx:pt idx="58218">5</cx:pt>
          <cx:pt idx="58219">1</cx:pt>
          <cx:pt idx="58220">1</cx:pt>
          <cx:pt idx="58221">5</cx:pt>
          <cx:pt idx="58222">2</cx:pt>
          <cx:pt idx="58223">3</cx:pt>
          <cx:pt idx="58224">1</cx:pt>
          <cx:pt idx="58225">4</cx:pt>
          <cx:pt idx="58226">2</cx:pt>
          <cx:pt idx="58227">2</cx:pt>
          <cx:pt idx="58228">3</cx:pt>
          <cx:pt idx="58229">4</cx:pt>
          <cx:pt idx="58230">1</cx:pt>
          <cx:pt idx="58231">1</cx:pt>
          <cx:pt idx="58232">1</cx:pt>
          <cx:pt idx="58233">2</cx:pt>
          <cx:pt idx="58234">3</cx:pt>
          <cx:pt idx="58235">2</cx:pt>
          <cx:pt idx="58236">3</cx:pt>
          <cx:pt idx="58237">2</cx:pt>
          <cx:pt idx="58238">0</cx:pt>
          <cx:pt idx="58239">2</cx:pt>
          <cx:pt idx="58240">2</cx:pt>
          <cx:pt idx="58241">2</cx:pt>
          <cx:pt idx="58242">4</cx:pt>
          <cx:pt idx="58243">2</cx:pt>
          <cx:pt idx="58244">1</cx:pt>
          <cx:pt idx="58245">2</cx:pt>
          <cx:pt idx="58246">4</cx:pt>
          <cx:pt idx="58247">4</cx:pt>
          <cx:pt idx="58248">3</cx:pt>
          <cx:pt idx="58249">4</cx:pt>
          <cx:pt idx="58250">4</cx:pt>
          <cx:pt idx="58251">2</cx:pt>
          <cx:pt idx="58252">3</cx:pt>
          <cx:pt idx="58253">1</cx:pt>
          <cx:pt idx="58254">3</cx:pt>
          <cx:pt idx="58255">4</cx:pt>
          <cx:pt idx="58256">4</cx:pt>
          <cx:pt idx="58257">1</cx:pt>
          <cx:pt idx="58258">1</cx:pt>
          <cx:pt idx="58259">3</cx:pt>
          <cx:pt idx="58260">0</cx:pt>
          <cx:pt idx="58261">0</cx:pt>
          <cx:pt idx="58262">2</cx:pt>
          <cx:pt idx="58263">3</cx:pt>
          <cx:pt idx="58264">0</cx:pt>
          <cx:pt idx="58265">4</cx:pt>
          <cx:pt idx="58266">2</cx:pt>
          <cx:pt idx="58267">3</cx:pt>
          <cx:pt idx="58268">2</cx:pt>
          <cx:pt idx="58269">2</cx:pt>
          <cx:pt idx="58270">3</cx:pt>
          <cx:pt idx="58271">3</cx:pt>
          <cx:pt idx="58272">4</cx:pt>
          <cx:pt idx="58273">2</cx:pt>
          <cx:pt idx="58274">5</cx:pt>
          <cx:pt idx="58275">1</cx:pt>
          <cx:pt idx="58276">2</cx:pt>
          <cx:pt idx="58277">5</cx:pt>
          <cx:pt idx="58278">4</cx:pt>
          <cx:pt idx="58279">4</cx:pt>
          <cx:pt idx="58280">5</cx:pt>
          <cx:pt idx="58281">1</cx:pt>
          <cx:pt idx="58282">3</cx:pt>
          <cx:pt idx="58283">3</cx:pt>
          <cx:pt idx="58284">5</cx:pt>
          <cx:pt idx="58285">2</cx:pt>
          <cx:pt idx="58286">2</cx:pt>
          <cx:pt idx="58287">3</cx:pt>
          <cx:pt idx="58288">4</cx:pt>
          <cx:pt idx="58289">3</cx:pt>
          <cx:pt idx="58290">3</cx:pt>
          <cx:pt idx="58291">3</cx:pt>
          <cx:pt idx="58292">2</cx:pt>
          <cx:pt idx="58293">5</cx:pt>
          <cx:pt idx="58294">3</cx:pt>
          <cx:pt idx="58295">1</cx:pt>
          <cx:pt idx="58296">3</cx:pt>
          <cx:pt idx="58297">5</cx:pt>
          <cx:pt idx="58298">2</cx:pt>
          <cx:pt idx="58299">2</cx:pt>
          <cx:pt idx="58300">5</cx:pt>
          <cx:pt idx="58301">4</cx:pt>
          <cx:pt idx="58302">1</cx:pt>
          <cx:pt idx="58303">0</cx:pt>
          <cx:pt idx="58304">3</cx:pt>
          <cx:pt idx="58305">3</cx:pt>
          <cx:pt idx="58306">1</cx:pt>
          <cx:pt idx="58307">4</cx:pt>
          <cx:pt idx="58308">4</cx:pt>
          <cx:pt idx="58309">4</cx:pt>
          <cx:pt idx="58310">1</cx:pt>
          <cx:pt idx="58311">4</cx:pt>
          <cx:pt idx="58312">4</cx:pt>
          <cx:pt idx="58313">1</cx:pt>
          <cx:pt idx="58314">4</cx:pt>
          <cx:pt idx="58315">3</cx:pt>
          <cx:pt idx="58316">5</cx:pt>
          <cx:pt idx="58317">3</cx:pt>
          <cx:pt idx="58318">5</cx:pt>
          <cx:pt idx="58319">2</cx:pt>
          <cx:pt idx="58320">5</cx:pt>
          <cx:pt idx="58321">2</cx:pt>
          <cx:pt idx="58322">5</cx:pt>
          <cx:pt idx="58323">2</cx:pt>
          <cx:pt idx="58324">2</cx:pt>
          <cx:pt idx="58325">2</cx:pt>
          <cx:pt idx="58326">2</cx:pt>
          <cx:pt idx="58327">3</cx:pt>
          <cx:pt idx="58328">3</cx:pt>
          <cx:pt idx="58329">5</cx:pt>
          <cx:pt idx="58330">2</cx:pt>
          <cx:pt idx="58331">1</cx:pt>
          <cx:pt idx="58332">2</cx:pt>
          <cx:pt idx="58333">2</cx:pt>
          <cx:pt idx="58334">0</cx:pt>
          <cx:pt idx="58335">3</cx:pt>
          <cx:pt idx="58336">1</cx:pt>
          <cx:pt idx="58337">2</cx:pt>
          <cx:pt idx="58338">4</cx:pt>
          <cx:pt idx="58339">5</cx:pt>
          <cx:pt idx="58340">1</cx:pt>
          <cx:pt idx="58341">4</cx:pt>
          <cx:pt idx="58342">2</cx:pt>
          <cx:pt idx="58343">3</cx:pt>
          <cx:pt idx="58344">2</cx:pt>
          <cx:pt idx="58345">0</cx:pt>
          <cx:pt idx="58346">3</cx:pt>
          <cx:pt idx="58347">5</cx:pt>
          <cx:pt idx="58348">0</cx:pt>
          <cx:pt idx="58349">2</cx:pt>
          <cx:pt idx="58350">3</cx:pt>
          <cx:pt idx="58351">5</cx:pt>
          <cx:pt idx="58352">4</cx:pt>
          <cx:pt idx="58353">2</cx:pt>
          <cx:pt idx="58354">4</cx:pt>
          <cx:pt idx="58355">5</cx:pt>
          <cx:pt idx="58356">0</cx:pt>
          <cx:pt idx="58357">4</cx:pt>
          <cx:pt idx="58358">5</cx:pt>
          <cx:pt idx="58359">2</cx:pt>
          <cx:pt idx="58360">3</cx:pt>
          <cx:pt idx="58361">3</cx:pt>
          <cx:pt idx="58362">1</cx:pt>
          <cx:pt idx="58363">3</cx:pt>
          <cx:pt idx="58364">2</cx:pt>
          <cx:pt idx="58365">4</cx:pt>
          <cx:pt idx="58366">3</cx:pt>
          <cx:pt idx="58367">4</cx:pt>
          <cx:pt idx="58368">5</cx:pt>
          <cx:pt idx="58369">3</cx:pt>
          <cx:pt idx="58370">1</cx:pt>
          <cx:pt idx="58371">4</cx:pt>
          <cx:pt idx="58372">1</cx:pt>
          <cx:pt idx="58373">2</cx:pt>
          <cx:pt idx="58374">5</cx:pt>
          <cx:pt idx="58375">1</cx:pt>
          <cx:pt idx="58376">1</cx:pt>
          <cx:pt idx="58377">1</cx:pt>
          <cx:pt idx="58378">4</cx:pt>
          <cx:pt idx="58379">3</cx:pt>
          <cx:pt idx="58380">3</cx:pt>
          <cx:pt idx="58381">4</cx:pt>
          <cx:pt idx="58382">2</cx:pt>
          <cx:pt idx="58383">4</cx:pt>
          <cx:pt idx="58384">3</cx:pt>
          <cx:pt idx="58385">5</cx:pt>
          <cx:pt idx="58386">2</cx:pt>
          <cx:pt idx="58387">2</cx:pt>
          <cx:pt idx="58388">2</cx:pt>
          <cx:pt idx="58389">1</cx:pt>
          <cx:pt idx="58390">2</cx:pt>
          <cx:pt idx="58391">1</cx:pt>
          <cx:pt idx="58392">4</cx:pt>
          <cx:pt idx="58393">1</cx:pt>
          <cx:pt idx="58394">4</cx:pt>
          <cx:pt idx="58395">3</cx:pt>
          <cx:pt idx="58396">2</cx:pt>
          <cx:pt idx="58397">1</cx:pt>
          <cx:pt idx="58398">5</cx:pt>
          <cx:pt idx="58399">3</cx:pt>
          <cx:pt idx="58400">2</cx:pt>
          <cx:pt idx="58401">5</cx:pt>
          <cx:pt idx="58402">1</cx:pt>
          <cx:pt idx="58403">4</cx:pt>
          <cx:pt idx="58404">4</cx:pt>
          <cx:pt idx="58405">2</cx:pt>
          <cx:pt idx="58406">2</cx:pt>
          <cx:pt idx="58407">2</cx:pt>
          <cx:pt idx="58408">2</cx:pt>
          <cx:pt idx="58409">3</cx:pt>
          <cx:pt idx="58410">2</cx:pt>
          <cx:pt idx="58411">1</cx:pt>
          <cx:pt idx="58412">5</cx:pt>
          <cx:pt idx="58413">4</cx:pt>
          <cx:pt idx="58414">2</cx:pt>
          <cx:pt idx="58415">3</cx:pt>
          <cx:pt idx="58416">1</cx:pt>
          <cx:pt idx="58417">5</cx:pt>
          <cx:pt idx="58418">2</cx:pt>
          <cx:pt idx="58419">4</cx:pt>
          <cx:pt idx="58420">3</cx:pt>
          <cx:pt idx="58421">2</cx:pt>
          <cx:pt idx="58422">1</cx:pt>
          <cx:pt idx="58423">3</cx:pt>
          <cx:pt idx="58424">2</cx:pt>
          <cx:pt idx="58425">5</cx:pt>
          <cx:pt idx="58426">2</cx:pt>
          <cx:pt idx="58427">5</cx:pt>
          <cx:pt idx="58428">2</cx:pt>
          <cx:pt idx="58429">1</cx:pt>
          <cx:pt idx="58430">4</cx:pt>
          <cx:pt idx="58431">4</cx:pt>
          <cx:pt idx="58432">1</cx:pt>
          <cx:pt idx="58433">3</cx:pt>
          <cx:pt idx="58434">1</cx:pt>
          <cx:pt idx="58435">2</cx:pt>
          <cx:pt idx="58436">5</cx:pt>
          <cx:pt idx="58437">3</cx:pt>
          <cx:pt idx="58438">2</cx:pt>
          <cx:pt idx="58439">0</cx:pt>
          <cx:pt idx="58440">2</cx:pt>
          <cx:pt idx="58441">0</cx:pt>
          <cx:pt idx="58442">5</cx:pt>
          <cx:pt idx="58443">3</cx:pt>
          <cx:pt idx="58444">1</cx:pt>
          <cx:pt idx="58445">4</cx:pt>
          <cx:pt idx="58446">3</cx:pt>
          <cx:pt idx="58447">5</cx:pt>
          <cx:pt idx="58448">5</cx:pt>
          <cx:pt idx="58449">1</cx:pt>
          <cx:pt idx="58450">1</cx:pt>
          <cx:pt idx="58451">1</cx:pt>
          <cx:pt idx="58452">3</cx:pt>
          <cx:pt idx="58453">4</cx:pt>
          <cx:pt idx="58454">3</cx:pt>
          <cx:pt idx="58455">4</cx:pt>
          <cx:pt idx="58456">3</cx:pt>
          <cx:pt idx="58457">5</cx:pt>
          <cx:pt idx="58458">3</cx:pt>
          <cx:pt idx="58459">4</cx:pt>
          <cx:pt idx="58460">5</cx:pt>
          <cx:pt idx="58461">2</cx:pt>
          <cx:pt idx="58462">1</cx:pt>
          <cx:pt idx="58463">5</cx:pt>
          <cx:pt idx="58464">1</cx:pt>
          <cx:pt idx="58465">1</cx:pt>
          <cx:pt idx="58466">2</cx:pt>
          <cx:pt idx="58467">2</cx:pt>
          <cx:pt idx="58468">1</cx:pt>
          <cx:pt idx="58469">1</cx:pt>
          <cx:pt idx="58470">4</cx:pt>
          <cx:pt idx="58471">3</cx:pt>
          <cx:pt idx="58472">2</cx:pt>
          <cx:pt idx="58473">4</cx:pt>
          <cx:pt idx="58474">4</cx:pt>
          <cx:pt idx="58475">3</cx:pt>
          <cx:pt idx="58476">3</cx:pt>
          <cx:pt idx="58477">5</cx:pt>
          <cx:pt idx="58478">4</cx:pt>
          <cx:pt idx="58479">5</cx:pt>
          <cx:pt idx="58480">3</cx:pt>
          <cx:pt idx="58481">0</cx:pt>
          <cx:pt idx="58482">0</cx:pt>
          <cx:pt idx="58483">2</cx:pt>
          <cx:pt idx="58484">1</cx:pt>
          <cx:pt idx="58485">3</cx:pt>
          <cx:pt idx="58486">1</cx:pt>
          <cx:pt idx="58487">1</cx:pt>
          <cx:pt idx="58488">5</cx:pt>
          <cx:pt idx="58489">2</cx:pt>
          <cx:pt idx="58490">2</cx:pt>
          <cx:pt idx="58491">1</cx:pt>
          <cx:pt idx="58492">2</cx:pt>
          <cx:pt idx="58493">4</cx:pt>
          <cx:pt idx="58494">1</cx:pt>
          <cx:pt idx="58495">4</cx:pt>
          <cx:pt idx="58496">3</cx:pt>
          <cx:pt idx="58497">4</cx:pt>
          <cx:pt idx="58498">2</cx:pt>
          <cx:pt idx="58499">5</cx:pt>
          <cx:pt idx="58500">4</cx:pt>
          <cx:pt idx="58501">2</cx:pt>
          <cx:pt idx="58502">3</cx:pt>
          <cx:pt idx="58503">1</cx:pt>
          <cx:pt idx="58504">3</cx:pt>
          <cx:pt idx="58505">3</cx:pt>
          <cx:pt idx="58506">5</cx:pt>
          <cx:pt idx="58507">1</cx:pt>
          <cx:pt idx="58508">3</cx:pt>
          <cx:pt idx="58509">4</cx:pt>
          <cx:pt idx="58510">4</cx:pt>
          <cx:pt idx="58511">2</cx:pt>
          <cx:pt idx="58512">2</cx:pt>
          <cx:pt idx="58513">3</cx:pt>
          <cx:pt idx="58514">0</cx:pt>
          <cx:pt idx="58515">5</cx:pt>
          <cx:pt idx="58516">2</cx:pt>
          <cx:pt idx="58517">3</cx:pt>
          <cx:pt idx="58518">3</cx:pt>
          <cx:pt idx="58519">2</cx:pt>
          <cx:pt idx="58520">3</cx:pt>
          <cx:pt idx="58521">3</cx:pt>
          <cx:pt idx="58522">4</cx:pt>
          <cx:pt idx="58523">4</cx:pt>
          <cx:pt idx="58524">5</cx:pt>
          <cx:pt idx="58525">5</cx:pt>
          <cx:pt idx="58526">3</cx:pt>
          <cx:pt idx="58527">3</cx:pt>
          <cx:pt idx="58528">2</cx:pt>
          <cx:pt idx="58529">0</cx:pt>
          <cx:pt idx="58530">2</cx:pt>
          <cx:pt idx="58531">4</cx:pt>
          <cx:pt idx="58532">4</cx:pt>
          <cx:pt idx="58533">5</cx:pt>
          <cx:pt idx="58534">1</cx:pt>
          <cx:pt idx="58535">2</cx:pt>
          <cx:pt idx="58536">5</cx:pt>
          <cx:pt idx="58537">2</cx:pt>
          <cx:pt idx="58538">3</cx:pt>
          <cx:pt idx="58539">5</cx:pt>
          <cx:pt idx="58540">2</cx:pt>
          <cx:pt idx="58541">2</cx:pt>
          <cx:pt idx="58542">1</cx:pt>
          <cx:pt idx="58543">2</cx:pt>
          <cx:pt idx="58544">4</cx:pt>
          <cx:pt idx="58545">3</cx:pt>
          <cx:pt idx="58546">2</cx:pt>
          <cx:pt idx="58547">3</cx:pt>
          <cx:pt idx="58548">2</cx:pt>
          <cx:pt idx="58549">5</cx:pt>
          <cx:pt idx="58550">3</cx:pt>
          <cx:pt idx="58551">4</cx:pt>
          <cx:pt idx="58552">5</cx:pt>
          <cx:pt idx="58553">1</cx:pt>
          <cx:pt idx="58554">2</cx:pt>
          <cx:pt idx="58555">5</cx:pt>
          <cx:pt idx="58556">2</cx:pt>
          <cx:pt idx="58557">4</cx:pt>
          <cx:pt idx="58558">4</cx:pt>
          <cx:pt idx="58559">1</cx:pt>
          <cx:pt idx="58560">4</cx:pt>
          <cx:pt idx="58561">4</cx:pt>
          <cx:pt idx="58562">2</cx:pt>
          <cx:pt idx="58563">4</cx:pt>
          <cx:pt idx="58564">3</cx:pt>
          <cx:pt idx="58565">5</cx:pt>
          <cx:pt idx="58566">3</cx:pt>
          <cx:pt idx="58567">5</cx:pt>
          <cx:pt idx="58568">1</cx:pt>
          <cx:pt idx="58569">2</cx:pt>
          <cx:pt idx="58570">4</cx:pt>
          <cx:pt idx="58571">4</cx:pt>
          <cx:pt idx="58572">3</cx:pt>
          <cx:pt idx="58573">5</cx:pt>
          <cx:pt idx="58574">1</cx:pt>
          <cx:pt idx="58575">1</cx:pt>
          <cx:pt idx="58576">2</cx:pt>
          <cx:pt idx="58577">4</cx:pt>
          <cx:pt idx="58578">3</cx:pt>
          <cx:pt idx="58579">2</cx:pt>
          <cx:pt idx="58580">3</cx:pt>
          <cx:pt idx="58581">3</cx:pt>
          <cx:pt idx="58582">5</cx:pt>
          <cx:pt idx="58583">1</cx:pt>
          <cx:pt idx="58584">5</cx:pt>
          <cx:pt idx="58585">4</cx:pt>
          <cx:pt idx="58586">3</cx:pt>
          <cx:pt idx="58587">0</cx:pt>
          <cx:pt idx="58588">3</cx:pt>
          <cx:pt idx="58589">4</cx:pt>
          <cx:pt idx="58590">1</cx:pt>
          <cx:pt idx="58591">4</cx:pt>
          <cx:pt idx="58592">5</cx:pt>
          <cx:pt idx="58593">3</cx:pt>
          <cx:pt idx="58594">4</cx:pt>
          <cx:pt idx="58595">4</cx:pt>
          <cx:pt idx="58596">0</cx:pt>
          <cx:pt idx="58597">3</cx:pt>
          <cx:pt idx="58598">1</cx:pt>
          <cx:pt idx="58599">3</cx:pt>
          <cx:pt idx="58600">3</cx:pt>
          <cx:pt idx="58601">3</cx:pt>
          <cx:pt idx="58602">2</cx:pt>
          <cx:pt idx="58603">3</cx:pt>
          <cx:pt idx="58604">0</cx:pt>
          <cx:pt idx="58605">4</cx:pt>
          <cx:pt idx="58606">0</cx:pt>
          <cx:pt idx="58607">3</cx:pt>
          <cx:pt idx="58608">3</cx:pt>
          <cx:pt idx="58609">3</cx:pt>
          <cx:pt idx="58610">1</cx:pt>
          <cx:pt idx="58611">2</cx:pt>
          <cx:pt idx="58612">4</cx:pt>
          <cx:pt idx="58613">3</cx:pt>
          <cx:pt idx="58614">3</cx:pt>
          <cx:pt idx="58615">4</cx:pt>
          <cx:pt idx="58616">1</cx:pt>
          <cx:pt idx="58617">1</cx:pt>
          <cx:pt idx="58618">1</cx:pt>
          <cx:pt idx="58619">3</cx:pt>
          <cx:pt idx="58620">5</cx:pt>
          <cx:pt idx="58621">4</cx:pt>
          <cx:pt idx="58622">1</cx:pt>
          <cx:pt idx="58623">4</cx:pt>
          <cx:pt idx="58624">5</cx:pt>
          <cx:pt idx="58625">2</cx:pt>
          <cx:pt idx="58626">5</cx:pt>
          <cx:pt idx="58627">3</cx:pt>
          <cx:pt idx="58628">2</cx:pt>
          <cx:pt idx="58629">0</cx:pt>
          <cx:pt idx="58630">0</cx:pt>
          <cx:pt idx="58631">2</cx:pt>
          <cx:pt idx="58632">4</cx:pt>
          <cx:pt idx="58633">2</cx:pt>
          <cx:pt idx="58634">5</cx:pt>
          <cx:pt idx="58635">4</cx:pt>
          <cx:pt idx="58636">4</cx:pt>
          <cx:pt idx="58637">2</cx:pt>
          <cx:pt idx="58638">2</cx:pt>
          <cx:pt idx="58639">5</cx:pt>
          <cx:pt idx="58640">4</cx:pt>
          <cx:pt idx="58641">1</cx:pt>
          <cx:pt idx="58642">2</cx:pt>
          <cx:pt idx="58643">3</cx:pt>
          <cx:pt idx="58644">3</cx:pt>
          <cx:pt idx="58645">4</cx:pt>
          <cx:pt idx="58646">3</cx:pt>
          <cx:pt idx="58647">2</cx:pt>
          <cx:pt idx="58648">5</cx:pt>
          <cx:pt idx="58649">4</cx:pt>
          <cx:pt idx="58650">3</cx:pt>
          <cx:pt idx="58651">5</cx:pt>
          <cx:pt idx="58652">3</cx:pt>
          <cx:pt idx="58653">1</cx:pt>
          <cx:pt idx="58654">5</cx:pt>
          <cx:pt idx="58655">3</cx:pt>
          <cx:pt idx="58656">3</cx:pt>
          <cx:pt idx="58657">3</cx:pt>
          <cx:pt idx="58658">2</cx:pt>
          <cx:pt idx="58659">4</cx:pt>
          <cx:pt idx="58660">1</cx:pt>
          <cx:pt idx="58661">0</cx:pt>
          <cx:pt idx="58662">3</cx:pt>
          <cx:pt idx="58663">4</cx:pt>
          <cx:pt idx="58664">3</cx:pt>
          <cx:pt idx="58665">5</cx:pt>
          <cx:pt idx="58666">4</cx:pt>
          <cx:pt idx="58667">2</cx:pt>
          <cx:pt idx="58668">3</cx:pt>
          <cx:pt idx="58669">1</cx:pt>
          <cx:pt idx="58670">2</cx:pt>
          <cx:pt idx="58671">2</cx:pt>
          <cx:pt idx="58672">2</cx:pt>
          <cx:pt idx="58673">4</cx:pt>
          <cx:pt idx="58674">1</cx:pt>
          <cx:pt idx="58675">1</cx:pt>
          <cx:pt idx="58676">1</cx:pt>
          <cx:pt idx="58677">5</cx:pt>
          <cx:pt idx="58678">0</cx:pt>
          <cx:pt idx="58679">3</cx:pt>
          <cx:pt idx="58680">5</cx:pt>
          <cx:pt idx="58681">4</cx:pt>
          <cx:pt idx="58682">3</cx:pt>
          <cx:pt idx="58683">3</cx:pt>
          <cx:pt idx="58684">3</cx:pt>
          <cx:pt idx="58685">3</cx:pt>
          <cx:pt idx="58686">4</cx:pt>
          <cx:pt idx="58687">4</cx:pt>
          <cx:pt idx="58688">4</cx:pt>
          <cx:pt idx="58689">2</cx:pt>
          <cx:pt idx="58690">1</cx:pt>
          <cx:pt idx="58691">2</cx:pt>
          <cx:pt idx="58692">4</cx:pt>
          <cx:pt idx="58693">2</cx:pt>
          <cx:pt idx="58694">5</cx:pt>
          <cx:pt idx="58695">4</cx:pt>
          <cx:pt idx="58696">2</cx:pt>
          <cx:pt idx="58697">2</cx:pt>
          <cx:pt idx="58698">1</cx:pt>
          <cx:pt idx="58699">3</cx:pt>
          <cx:pt idx="58700">3</cx:pt>
          <cx:pt idx="58701">1</cx:pt>
          <cx:pt idx="58702">4</cx:pt>
          <cx:pt idx="58703">3</cx:pt>
          <cx:pt idx="58704">3</cx:pt>
          <cx:pt idx="58705">3</cx:pt>
          <cx:pt idx="58706">2</cx:pt>
          <cx:pt idx="58707">5</cx:pt>
          <cx:pt idx="58708">1</cx:pt>
          <cx:pt idx="58709">5</cx:pt>
          <cx:pt idx="58710">1</cx:pt>
          <cx:pt idx="58711">2</cx:pt>
          <cx:pt idx="58712">3</cx:pt>
          <cx:pt idx="58713">0</cx:pt>
          <cx:pt idx="58714">2</cx:pt>
          <cx:pt idx="58715">2</cx:pt>
          <cx:pt idx="58716">1</cx:pt>
          <cx:pt idx="58717">4</cx:pt>
          <cx:pt idx="58718">2</cx:pt>
          <cx:pt idx="58719">4</cx:pt>
          <cx:pt idx="58720">2</cx:pt>
          <cx:pt idx="58721">3</cx:pt>
          <cx:pt idx="58722">1</cx:pt>
          <cx:pt idx="58723">2</cx:pt>
          <cx:pt idx="58724">2</cx:pt>
          <cx:pt idx="58725">3</cx:pt>
          <cx:pt idx="58726">0</cx:pt>
          <cx:pt idx="58727">2</cx:pt>
          <cx:pt idx="58728">5</cx:pt>
          <cx:pt idx="58729">4</cx:pt>
          <cx:pt idx="58730">3</cx:pt>
          <cx:pt idx="58731">2</cx:pt>
          <cx:pt idx="58732">4</cx:pt>
          <cx:pt idx="58733">3</cx:pt>
          <cx:pt idx="58734">5</cx:pt>
          <cx:pt idx="58735">3</cx:pt>
          <cx:pt idx="58736">4</cx:pt>
          <cx:pt idx="58737">1</cx:pt>
          <cx:pt idx="58738">5</cx:pt>
          <cx:pt idx="58739">1</cx:pt>
          <cx:pt idx="58740">3</cx:pt>
          <cx:pt idx="58741">2</cx:pt>
          <cx:pt idx="58742">3</cx:pt>
          <cx:pt idx="58743">4</cx:pt>
          <cx:pt idx="58744">3</cx:pt>
          <cx:pt idx="58745">3</cx:pt>
          <cx:pt idx="58746">1</cx:pt>
          <cx:pt idx="58747">2</cx:pt>
          <cx:pt idx="58748">4</cx:pt>
          <cx:pt idx="58749">5</cx:pt>
          <cx:pt idx="58750">4</cx:pt>
          <cx:pt idx="58751">4</cx:pt>
          <cx:pt idx="58752">1</cx:pt>
          <cx:pt idx="58753">3</cx:pt>
          <cx:pt idx="58754">3</cx:pt>
          <cx:pt idx="58755">3</cx:pt>
          <cx:pt idx="58756">3</cx:pt>
          <cx:pt idx="58757">2</cx:pt>
          <cx:pt idx="58758">1</cx:pt>
          <cx:pt idx="58759">4</cx:pt>
          <cx:pt idx="58760">1</cx:pt>
          <cx:pt idx="58761">1</cx:pt>
          <cx:pt idx="58762">4</cx:pt>
          <cx:pt idx="58763">0</cx:pt>
          <cx:pt idx="58764">5</cx:pt>
          <cx:pt idx="58765">4</cx:pt>
          <cx:pt idx="58766">4</cx:pt>
          <cx:pt idx="58767">2</cx:pt>
          <cx:pt idx="58768">2</cx:pt>
          <cx:pt idx="58769">5</cx:pt>
          <cx:pt idx="58770">1</cx:pt>
          <cx:pt idx="58771">4</cx:pt>
          <cx:pt idx="58772">2</cx:pt>
          <cx:pt idx="58773">5</cx:pt>
          <cx:pt idx="58774">4</cx:pt>
          <cx:pt idx="58775">0</cx:pt>
          <cx:pt idx="58776">2</cx:pt>
          <cx:pt idx="58777">4</cx:pt>
          <cx:pt idx="58778">5</cx:pt>
          <cx:pt idx="58779">3</cx:pt>
          <cx:pt idx="58780">2</cx:pt>
          <cx:pt idx="58781">1</cx:pt>
          <cx:pt idx="58782">4</cx:pt>
          <cx:pt idx="58783">4</cx:pt>
          <cx:pt idx="58784">2</cx:pt>
          <cx:pt idx="58785">5</cx:pt>
          <cx:pt idx="58786">4</cx:pt>
          <cx:pt idx="58787">3</cx:pt>
          <cx:pt idx="58788">5</cx:pt>
          <cx:pt idx="58789">2</cx:pt>
          <cx:pt idx="58790">5</cx:pt>
          <cx:pt idx="58791">2</cx:pt>
          <cx:pt idx="58792">4</cx:pt>
          <cx:pt idx="58793">3</cx:pt>
          <cx:pt idx="58794">3</cx:pt>
          <cx:pt idx="58795">3</cx:pt>
          <cx:pt idx="58796">1</cx:pt>
          <cx:pt idx="58797">3</cx:pt>
          <cx:pt idx="58798">1</cx:pt>
          <cx:pt idx="58799">1</cx:pt>
          <cx:pt idx="58800">1</cx:pt>
          <cx:pt idx="58801">1</cx:pt>
          <cx:pt idx="58802">3</cx:pt>
          <cx:pt idx="58803">5</cx:pt>
          <cx:pt idx="58804">0</cx:pt>
          <cx:pt idx="58805">1</cx:pt>
          <cx:pt idx="58806">2</cx:pt>
          <cx:pt idx="58807">2</cx:pt>
          <cx:pt idx="58808">3</cx:pt>
          <cx:pt idx="58809">0</cx:pt>
          <cx:pt idx="58810">3</cx:pt>
          <cx:pt idx="58811">2</cx:pt>
          <cx:pt idx="58812">2</cx:pt>
          <cx:pt idx="58813">3</cx:pt>
          <cx:pt idx="58814">2</cx:pt>
          <cx:pt idx="58815">3</cx:pt>
          <cx:pt idx="58816">0</cx:pt>
          <cx:pt idx="58817">5</cx:pt>
          <cx:pt idx="58818">2</cx:pt>
          <cx:pt idx="58819">1</cx:pt>
          <cx:pt idx="58820">4</cx:pt>
          <cx:pt idx="58821">2</cx:pt>
          <cx:pt idx="58822">3</cx:pt>
          <cx:pt idx="58823">2</cx:pt>
          <cx:pt idx="58824">0</cx:pt>
          <cx:pt idx="58825">2</cx:pt>
          <cx:pt idx="58826">2</cx:pt>
          <cx:pt idx="58827">4</cx:pt>
          <cx:pt idx="58828">0</cx:pt>
          <cx:pt idx="58829">2</cx:pt>
          <cx:pt idx="58830">4</cx:pt>
          <cx:pt idx="58831">2</cx:pt>
          <cx:pt idx="58832">3</cx:pt>
          <cx:pt idx="58833">3</cx:pt>
          <cx:pt idx="58834">3</cx:pt>
          <cx:pt idx="58835">2</cx:pt>
          <cx:pt idx="58836">3</cx:pt>
          <cx:pt idx="58837">2</cx:pt>
          <cx:pt idx="58838">4</cx:pt>
          <cx:pt idx="58839">2</cx:pt>
          <cx:pt idx="58840">2</cx:pt>
          <cx:pt idx="58841">2</cx:pt>
          <cx:pt idx="58842">3</cx:pt>
          <cx:pt idx="58843">2</cx:pt>
          <cx:pt idx="58844">2</cx:pt>
          <cx:pt idx="58845">1</cx:pt>
          <cx:pt idx="58846">5</cx:pt>
          <cx:pt idx="58847">2</cx:pt>
          <cx:pt idx="58848">3</cx:pt>
          <cx:pt idx="58849">0</cx:pt>
          <cx:pt idx="58850">3</cx:pt>
          <cx:pt idx="58851">2</cx:pt>
          <cx:pt idx="58852">5</cx:pt>
          <cx:pt idx="58853">5</cx:pt>
          <cx:pt idx="58854">4</cx:pt>
          <cx:pt idx="58855">5</cx:pt>
          <cx:pt idx="58856">3</cx:pt>
          <cx:pt idx="58857">1</cx:pt>
          <cx:pt idx="58858">5</cx:pt>
          <cx:pt idx="58859">2</cx:pt>
          <cx:pt idx="58860">1</cx:pt>
          <cx:pt idx="58861">1</cx:pt>
          <cx:pt idx="58862">4</cx:pt>
          <cx:pt idx="58863">3</cx:pt>
          <cx:pt idx="58864">4</cx:pt>
          <cx:pt idx="58865">1</cx:pt>
          <cx:pt idx="58866">3</cx:pt>
          <cx:pt idx="58867">4</cx:pt>
          <cx:pt idx="58868">3</cx:pt>
          <cx:pt idx="58869">1</cx:pt>
          <cx:pt idx="58870">1</cx:pt>
          <cx:pt idx="58871">1</cx:pt>
          <cx:pt idx="58872">3</cx:pt>
          <cx:pt idx="58873">5</cx:pt>
          <cx:pt idx="58874">2</cx:pt>
          <cx:pt idx="58875">5</cx:pt>
          <cx:pt idx="58876">0</cx:pt>
          <cx:pt idx="58877">4</cx:pt>
          <cx:pt idx="58878">1</cx:pt>
          <cx:pt idx="58879">3</cx:pt>
          <cx:pt idx="58880">3</cx:pt>
          <cx:pt idx="58881">0</cx:pt>
          <cx:pt idx="58882">2</cx:pt>
          <cx:pt idx="58883">5</cx:pt>
          <cx:pt idx="58884">4</cx:pt>
          <cx:pt idx="58885">3</cx:pt>
          <cx:pt idx="58886">2</cx:pt>
          <cx:pt idx="58887">1</cx:pt>
          <cx:pt idx="58888">2</cx:pt>
          <cx:pt idx="58889">1</cx:pt>
          <cx:pt idx="58890">1</cx:pt>
          <cx:pt idx="58891">2</cx:pt>
          <cx:pt idx="58892">3</cx:pt>
          <cx:pt idx="58893">4</cx:pt>
          <cx:pt idx="58894">0</cx:pt>
          <cx:pt idx="58895">4</cx:pt>
          <cx:pt idx="58896">4</cx:pt>
          <cx:pt idx="58897">3</cx:pt>
          <cx:pt idx="58898">1</cx:pt>
          <cx:pt idx="58899">2</cx:pt>
          <cx:pt idx="58900">3</cx:pt>
          <cx:pt idx="58901">5</cx:pt>
          <cx:pt idx="58902">3</cx:pt>
          <cx:pt idx="58903">5</cx:pt>
          <cx:pt idx="58904">5</cx:pt>
          <cx:pt idx="58905">1</cx:pt>
          <cx:pt idx="58906">3</cx:pt>
          <cx:pt idx="58907">1</cx:pt>
          <cx:pt idx="58908">2</cx:pt>
          <cx:pt idx="58909">3</cx:pt>
          <cx:pt idx="58910">2</cx:pt>
          <cx:pt idx="58911">3</cx:pt>
          <cx:pt idx="58912">4</cx:pt>
          <cx:pt idx="58913">3</cx:pt>
          <cx:pt idx="58914">4</cx:pt>
          <cx:pt idx="58915">2</cx:pt>
          <cx:pt idx="58916">4</cx:pt>
          <cx:pt idx="58917">1</cx:pt>
          <cx:pt idx="58918">1</cx:pt>
          <cx:pt idx="58919">5</cx:pt>
          <cx:pt idx="58920">4</cx:pt>
          <cx:pt idx="58921">1</cx:pt>
          <cx:pt idx="58922">1</cx:pt>
          <cx:pt idx="58923">3</cx:pt>
          <cx:pt idx="58924">2</cx:pt>
          <cx:pt idx="58925">3</cx:pt>
          <cx:pt idx="58926">5</cx:pt>
          <cx:pt idx="58927">2</cx:pt>
          <cx:pt idx="58928">1</cx:pt>
          <cx:pt idx="58929">1</cx:pt>
          <cx:pt idx="58930">0</cx:pt>
          <cx:pt idx="58931">3</cx:pt>
          <cx:pt idx="58932">4</cx:pt>
          <cx:pt idx="58933">1</cx:pt>
          <cx:pt idx="58934">3</cx:pt>
          <cx:pt idx="58935">5</cx:pt>
          <cx:pt idx="58936">3</cx:pt>
          <cx:pt idx="58937">4</cx:pt>
          <cx:pt idx="58938">4</cx:pt>
          <cx:pt idx="58939">0</cx:pt>
          <cx:pt idx="58940">2</cx:pt>
          <cx:pt idx="58941">0</cx:pt>
          <cx:pt idx="58942">3</cx:pt>
          <cx:pt idx="58943">5</cx:pt>
          <cx:pt idx="58944">4</cx:pt>
          <cx:pt idx="58945">5</cx:pt>
          <cx:pt idx="58946">1</cx:pt>
          <cx:pt idx="58947">4</cx:pt>
          <cx:pt idx="58948">1</cx:pt>
          <cx:pt idx="58949">2</cx:pt>
          <cx:pt idx="58950">2</cx:pt>
          <cx:pt idx="58951">2</cx:pt>
          <cx:pt idx="58952">3</cx:pt>
          <cx:pt idx="58953">3</cx:pt>
          <cx:pt idx="58954">2</cx:pt>
          <cx:pt idx="58955">2</cx:pt>
          <cx:pt idx="58956">3</cx:pt>
          <cx:pt idx="58957">4</cx:pt>
          <cx:pt idx="58958">2</cx:pt>
          <cx:pt idx="58959">1</cx:pt>
          <cx:pt idx="58960">4</cx:pt>
          <cx:pt idx="58961">4</cx:pt>
          <cx:pt idx="58962">5</cx:pt>
          <cx:pt idx="58963">2</cx:pt>
          <cx:pt idx="58964">1</cx:pt>
          <cx:pt idx="58965">3</cx:pt>
          <cx:pt idx="58966">2</cx:pt>
          <cx:pt idx="58967">5</cx:pt>
          <cx:pt idx="58968">3</cx:pt>
          <cx:pt idx="58969">4</cx:pt>
          <cx:pt idx="58970">4</cx:pt>
          <cx:pt idx="58971">0</cx:pt>
          <cx:pt idx="58972">2</cx:pt>
          <cx:pt idx="58973">4</cx:pt>
          <cx:pt idx="58974">4</cx:pt>
          <cx:pt idx="58975">3</cx:pt>
          <cx:pt idx="58976">2</cx:pt>
          <cx:pt idx="58977">2</cx:pt>
          <cx:pt idx="58978">2</cx:pt>
          <cx:pt idx="58979">3</cx:pt>
          <cx:pt idx="58980">2</cx:pt>
          <cx:pt idx="58981">1</cx:pt>
          <cx:pt idx="58982">4</cx:pt>
          <cx:pt idx="58983">0</cx:pt>
          <cx:pt idx="58984">4</cx:pt>
          <cx:pt idx="58985">3</cx:pt>
          <cx:pt idx="58986">3</cx:pt>
          <cx:pt idx="58987">2</cx:pt>
          <cx:pt idx="58988">5</cx:pt>
          <cx:pt idx="58989">3</cx:pt>
          <cx:pt idx="58990">4</cx:pt>
          <cx:pt idx="58991">4</cx:pt>
          <cx:pt idx="58992">3</cx:pt>
          <cx:pt idx="58993">2</cx:pt>
          <cx:pt idx="58994">3</cx:pt>
          <cx:pt idx="58995">4</cx:pt>
          <cx:pt idx="58996">2</cx:pt>
          <cx:pt idx="58997">2</cx:pt>
          <cx:pt idx="58998">4</cx:pt>
          <cx:pt idx="58999">3</cx:pt>
          <cx:pt idx="59000">1</cx:pt>
          <cx:pt idx="59001">4</cx:pt>
          <cx:pt idx="59002">1</cx:pt>
          <cx:pt idx="59003">1</cx:pt>
          <cx:pt idx="59004">2</cx:pt>
          <cx:pt idx="59005">5</cx:pt>
          <cx:pt idx="59006">3</cx:pt>
          <cx:pt idx="59007">3</cx:pt>
          <cx:pt idx="59008">3</cx:pt>
          <cx:pt idx="59009">3</cx:pt>
          <cx:pt idx="59010">2</cx:pt>
          <cx:pt idx="59011">4</cx:pt>
          <cx:pt idx="59012">2</cx:pt>
          <cx:pt idx="59013">2</cx:pt>
          <cx:pt idx="59014">0</cx:pt>
          <cx:pt idx="59015">5</cx:pt>
          <cx:pt idx="59016">1</cx:pt>
          <cx:pt idx="59017">5</cx:pt>
          <cx:pt idx="59018">4</cx:pt>
          <cx:pt idx="59019">3</cx:pt>
          <cx:pt idx="59020">2</cx:pt>
          <cx:pt idx="59021">3</cx:pt>
          <cx:pt idx="59022">3</cx:pt>
          <cx:pt idx="59023">3</cx:pt>
          <cx:pt idx="59024">5</cx:pt>
          <cx:pt idx="59025">3</cx:pt>
          <cx:pt idx="59026">1</cx:pt>
          <cx:pt idx="59027">4</cx:pt>
          <cx:pt idx="59028">4</cx:pt>
          <cx:pt idx="59029">3</cx:pt>
          <cx:pt idx="59030">5</cx:pt>
          <cx:pt idx="59031">1</cx:pt>
          <cx:pt idx="59032">2</cx:pt>
          <cx:pt idx="59033">3</cx:pt>
          <cx:pt idx="59034">2</cx:pt>
          <cx:pt idx="59035">4</cx:pt>
          <cx:pt idx="59036">4</cx:pt>
          <cx:pt idx="59037">1</cx:pt>
          <cx:pt idx="59038">2</cx:pt>
          <cx:pt idx="59039">3</cx:pt>
          <cx:pt idx="59040">3</cx:pt>
          <cx:pt idx="59041">1</cx:pt>
          <cx:pt idx="59042">3</cx:pt>
          <cx:pt idx="59043">2</cx:pt>
          <cx:pt idx="59044">3</cx:pt>
          <cx:pt idx="59045">2</cx:pt>
          <cx:pt idx="59046">2</cx:pt>
          <cx:pt idx="59047">4</cx:pt>
          <cx:pt idx="59048">3</cx:pt>
          <cx:pt idx="59049">3</cx:pt>
          <cx:pt idx="59050">1</cx:pt>
          <cx:pt idx="59051">3</cx:pt>
          <cx:pt idx="59052">3</cx:pt>
          <cx:pt idx="59053">4</cx:pt>
          <cx:pt idx="59054">4</cx:pt>
          <cx:pt idx="59055">3</cx:pt>
          <cx:pt idx="59056">1</cx:pt>
          <cx:pt idx="59057">3</cx:pt>
          <cx:pt idx="59058">3</cx:pt>
          <cx:pt idx="59059">2</cx:pt>
          <cx:pt idx="59060">1</cx:pt>
          <cx:pt idx="59061">4</cx:pt>
          <cx:pt idx="59062">2</cx:pt>
          <cx:pt idx="59063">4</cx:pt>
          <cx:pt idx="59064">2</cx:pt>
          <cx:pt idx="59065">2</cx:pt>
          <cx:pt idx="59066">5</cx:pt>
          <cx:pt idx="59067">4</cx:pt>
          <cx:pt idx="59068">1</cx:pt>
          <cx:pt idx="59069">1</cx:pt>
          <cx:pt idx="59070">5</cx:pt>
          <cx:pt idx="59071">1</cx:pt>
          <cx:pt idx="59072">5</cx:pt>
          <cx:pt idx="59073">5</cx:pt>
          <cx:pt idx="59074">2</cx:pt>
          <cx:pt idx="59075">3</cx:pt>
          <cx:pt idx="59076">4</cx:pt>
          <cx:pt idx="59077">4</cx:pt>
          <cx:pt idx="59078">1</cx:pt>
          <cx:pt idx="59079">1</cx:pt>
          <cx:pt idx="59080">4</cx:pt>
          <cx:pt idx="59081">4</cx:pt>
          <cx:pt idx="59082">2</cx:pt>
          <cx:pt idx="59083">5</cx:pt>
          <cx:pt idx="59084">2</cx:pt>
          <cx:pt idx="59085">5</cx:pt>
          <cx:pt idx="59086">3</cx:pt>
          <cx:pt idx="59087">2</cx:pt>
          <cx:pt idx="59088">1</cx:pt>
          <cx:pt idx="59089">4</cx:pt>
          <cx:pt idx="59090">5</cx:pt>
          <cx:pt idx="59091">2</cx:pt>
          <cx:pt idx="59092">4</cx:pt>
          <cx:pt idx="59093">2</cx:pt>
          <cx:pt idx="59094">5</cx:pt>
          <cx:pt idx="59095">4</cx:pt>
          <cx:pt idx="59096">4</cx:pt>
          <cx:pt idx="59097">3</cx:pt>
          <cx:pt idx="59098">4</cx:pt>
          <cx:pt idx="59099">4</cx:pt>
          <cx:pt idx="59100">5</cx:pt>
          <cx:pt idx="59101">1</cx:pt>
          <cx:pt idx="59102">5</cx:pt>
          <cx:pt idx="59103">3</cx:pt>
          <cx:pt idx="59104">2</cx:pt>
          <cx:pt idx="59105">3</cx:pt>
          <cx:pt idx="59106">2</cx:pt>
          <cx:pt idx="59107">4</cx:pt>
          <cx:pt idx="59108">4</cx:pt>
          <cx:pt idx="59109">0</cx:pt>
          <cx:pt idx="59110">3</cx:pt>
          <cx:pt idx="59111">5</cx:pt>
          <cx:pt idx="59112">4</cx:pt>
          <cx:pt idx="59113">2</cx:pt>
          <cx:pt idx="59114">3</cx:pt>
          <cx:pt idx="59115">1</cx:pt>
          <cx:pt idx="59116">1</cx:pt>
          <cx:pt idx="59117">2</cx:pt>
          <cx:pt idx="59118">1</cx:pt>
          <cx:pt idx="59119">3</cx:pt>
          <cx:pt idx="59120">0</cx:pt>
          <cx:pt idx="59121">1</cx:pt>
          <cx:pt idx="59122">2</cx:pt>
          <cx:pt idx="59123">5</cx:pt>
          <cx:pt idx="59124">5</cx:pt>
          <cx:pt idx="59125">1</cx:pt>
          <cx:pt idx="59126">3</cx:pt>
          <cx:pt idx="59127">5</cx:pt>
          <cx:pt idx="59128">0</cx:pt>
          <cx:pt idx="59129">1</cx:pt>
          <cx:pt idx="59130">2</cx:pt>
          <cx:pt idx="59131">4</cx:pt>
          <cx:pt idx="59132">1</cx:pt>
          <cx:pt idx="59133">3</cx:pt>
          <cx:pt idx="59134">2</cx:pt>
          <cx:pt idx="59135">5</cx:pt>
          <cx:pt idx="59136">4</cx:pt>
          <cx:pt idx="59137">1</cx:pt>
          <cx:pt idx="59138">2</cx:pt>
          <cx:pt idx="59139">3</cx:pt>
          <cx:pt idx="59140">2</cx:pt>
          <cx:pt idx="59141">1</cx:pt>
          <cx:pt idx="59142">1</cx:pt>
          <cx:pt idx="59143">4</cx:pt>
          <cx:pt idx="59144">3</cx:pt>
          <cx:pt idx="59145">3</cx:pt>
          <cx:pt idx="59146">1</cx:pt>
          <cx:pt idx="59147">3</cx:pt>
          <cx:pt idx="59148">4</cx:pt>
          <cx:pt idx="59149">2</cx:pt>
          <cx:pt idx="59150">5</cx:pt>
          <cx:pt idx="59151">5</cx:pt>
          <cx:pt idx="59152">4</cx:pt>
          <cx:pt idx="59153">5</cx:pt>
          <cx:pt idx="59154">2</cx:pt>
          <cx:pt idx="59155">4</cx:pt>
          <cx:pt idx="59156">2</cx:pt>
          <cx:pt idx="59157">4</cx:pt>
          <cx:pt idx="59158">2</cx:pt>
          <cx:pt idx="59159">4</cx:pt>
          <cx:pt idx="59160">5</cx:pt>
          <cx:pt idx="59161">2</cx:pt>
          <cx:pt idx="59162">2</cx:pt>
          <cx:pt idx="59163">5</cx:pt>
          <cx:pt idx="59164">3</cx:pt>
          <cx:pt idx="59165">5</cx:pt>
          <cx:pt idx="59166">2</cx:pt>
          <cx:pt idx="59167">4</cx:pt>
          <cx:pt idx="59168">4</cx:pt>
          <cx:pt idx="59169">4</cx:pt>
          <cx:pt idx="59170">2</cx:pt>
          <cx:pt idx="59171">5</cx:pt>
          <cx:pt idx="59172">1</cx:pt>
          <cx:pt idx="59173">1</cx:pt>
          <cx:pt idx="59174">3</cx:pt>
          <cx:pt idx="59175">2</cx:pt>
          <cx:pt idx="59176">3</cx:pt>
          <cx:pt idx="59177">3</cx:pt>
          <cx:pt idx="59178">2</cx:pt>
          <cx:pt idx="59179">3</cx:pt>
          <cx:pt idx="59180">5</cx:pt>
          <cx:pt idx="59181">5</cx:pt>
          <cx:pt idx="59182">4</cx:pt>
          <cx:pt idx="59183">1</cx:pt>
          <cx:pt idx="59184">5</cx:pt>
          <cx:pt idx="59185">5</cx:pt>
          <cx:pt idx="59186">2</cx:pt>
          <cx:pt idx="59187">4</cx:pt>
          <cx:pt idx="59188">5</cx:pt>
          <cx:pt idx="59189">2</cx:pt>
          <cx:pt idx="59190">1</cx:pt>
          <cx:pt idx="59191">5</cx:pt>
          <cx:pt idx="59192">5</cx:pt>
          <cx:pt idx="59193">0</cx:pt>
          <cx:pt idx="59194">1</cx:pt>
          <cx:pt idx="59195">4</cx:pt>
          <cx:pt idx="59196">0</cx:pt>
          <cx:pt idx="59197">1</cx:pt>
          <cx:pt idx="59198">1</cx:pt>
          <cx:pt idx="59199">5</cx:pt>
          <cx:pt idx="59200">1</cx:pt>
          <cx:pt idx="59201">1</cx:pt>
          <cx:pt idx="59202">4</cx:pt>
          <cx:pt idx="59203">4</cx:pt>
          <cx:pt idx="59204">1</cx:pt>
          <cx:pt idx="59205">4</cx:pt>
          <cx:pt idx="59206">2</cx:pt>
          <cx:pt idx="59207">5</cx:pt>
          <cx:pt idx="59208">3</cx:pt>
          <cx:pt idx="59209">3</cx:pt>
          <cx:pt idx="59210">2</cx:pt>
          <cx:pt idx="59211">2</cx:pt>
          <cx:pt idx="59212">4</cx:pt>
          <cx:pt idx="59213">1</cx:pt>
          <cx:pt idx="59214">2</cx:pt>
          <cx:pt idx="59215">3</cx:pt>
          <cx:pt idx="59216">5</cx:pt>
          <cx:pt idx="59217">2</cx:pt>
          <cx:pt idx="59218">1</cx:pt>
          <cx:pt idx="59219">2</cx:pt>
          <cx:pt idx="59220">3</cx:pt>
          <cx:pt idx="59221">4</cx:pt>
          <cx:pt idx="59222">5</cx:pt>
          <cx:pt idx="59223">3</cx:pt>
          <cx:pt idx="59224">4</cx:pt>
          <cx:pt idx="59225">2</cx:pt>
          <cx:pt idx="59226">5</cx:pt>
          <cx:pt idx="59227">1</cx:pt>
          <cx:pt idx="59228">3</cx:pt>
          <cx:pt idx="59229">4</cx:pt>
          <cx:pt idx="59230">4</cx:pt>
          <cx:pt idx="59231">0</cx:pt>
          <cx:pt idx="59232">1</cx:pt>
          <cx:pt idx="59233">1</cx:pt>
          <cx:pt idx="59234">3</cx:pt>
          <cx:pt idx="59235">2</cx:pt>
          <cx:pt idx="59236">4</cx:pt>
          <cx:pt idx="59237">2</cx:pt>
          <cx:pt idx="59238">2</cx:pt>
          <cx:pt idx="59239">3</cx:pt>
          <cx:pt idx="59240">4</cx:pt>
          <cx:pt idx="59241">2</cx:pt>
          <cx:pt idx="59242">5</cx:pt>
          <cx:pt idx="59243">5</cx:pt>
          <cx:pt idx="59244">4</cx:pt>
          <cx:pt idx="59245">5</cx:pt>
          <cx:pt idx="59246">4</cx:pt>
          <cx:pt idx="59247">4</cx:pt>
          <cx:pt idx="59248">3</cx:pt>
          <cx:pt idx="59249">5</cx:pt>
          <cx:pt idx="59250">4</cx:pt>
          <cx:pt idx="59251">5</cx:pt>
          <cx:pt idx="59252">0</cx:pt>
          <cx:pt idx="59253">1</cx:pt>
          <cx:pt idx="59254">2</cx:pt>
          <cx:pt idx="59255">3</cx:pt>
          <cx:pt idx="59256">0</cx:pt>
          <cx:pt idx="59257">0</cx:pt>
          <cx:pt idx="59258">2</cx:pt>
          <cx:pt idx="59259">3</cx:pt>
          <cx:pt idx="59260">2</cx:pt>
          <cx:pt idx="59261">3</cx:pt>
          <cx:pt idx="59262">1</cx:pt>
          <cx:pt idx="59263">1</cx:pt>
          <cx:pt idx="59264">2</cx:pt>
          <cx:pt idx="59265">1</cx:pt>
          <cx:pt idx="59266">2</cx:pt>
          <cx:pt idx="59267">2</cx:pt>
          <cx:pt idx="59268">0</cx:pt>
          <cx:pt idx="59269">4</cx:pt>
          <cx:pt idx="59270">5</cx:pt>
          <cx:pt idx="59271">3</cx:pt>
          <cx:pt idx="59272">2</cx:pt>
          <cx:pt idx="59273">2</cx:pt>
          <cx:pt idx="59274">4</cx:pt>
          <cx:pt idx="59275">5</cx:pt>
          <cx:pt idx="59276">5</cx:pt>
          <cx:pt idx="59277">1</cx:pt>
          <cx:pt idx="59278">0</cx:pt>
          <cx:pt idx="59279">1</cx:pt>
          <cx:pt idx="59280">2</cx:pt>
          <cx:pt idx="59281">2</cx:pt>
          <cx:pt idx="59282">2</cx:pt>
          <cx:pt idx="59283">3</cx:pt>
          <cx:pt idx="59284">4</cx:pt>
          <cx:pt idx="59285">4</cx:pt>
          <cx:pt idx="59286">4</cx:pt>
          <cx:pt idx="59287">3</cx:pt>
          <cx:pt idx="59288">0</cx:pt>
          <cx:pt idx="59289">3</cx:pt>
          <cx:pt idx="59290">2</cx:pt>
          <cx:pt idx="59291">1</cx:pt>
          <cx:pt idx="59292">5</cx:pt>
          <cx:pt idx="59293">2</cx:pt>
          <cx:pt idx="59294">1</cx:pt>
          <cx:pt idx="59295">2</cx:pt>
          <cx:pt idx="59296">5</cx:pt>
          <cx:pt idx="59297">4</cx:pt>
          <cx:pt idx="59298">2</cx:pt>
          <cx:pt idx="59299">3</cx:pt>
          <cx:pt idx="59300">3</cx:pt>
          <cx:pt idx="59301">4</cx:pt>
          <cx:pt idx="59302">4</cx:pt>
          <cx:pt idx="59303">2</cx:pt>
          <cx:pt idx="59304">3</cx:pt>
          <cx:pt idx="59305">2</cx:pt>
          <cx:pt idx="59306">0</cx:pt>
          <cx:pt idx="59307">3</cx:pt>
          <cx:pt idx="59308">4</cx:pt>
          <cx:pt idx="59309">2</cx:pt>
          <cx:pt idx="59310">4</cx:pt>
          <cx:pt idx="59311">3</cx:pt>
          <cx:pt idx="59312">4</cx:pt>
          <cx:pt idx="59313">0</cx:pt>
          <cx:pt idx="59314">4</cx:pt>
          <cx:pt idx="59315">2</cx:pt>
          <cx:pt idx="59316">4</cx:pt>
          <cx:pt idx="59317">5</cx:pt>
          <cx:pt idx="59318">2</cx:pt>
          <cx:pt idx="59319">2</cx:pt>
          <cx:pt idx="59320">4</cx:pt>
          <cx:pt idx="59321">5</cx:pt>
          <cx:pt idx="59322">3</cx:pt>
          <cx:pt idx="59323">4</cx:pt>
          <cx:pt idx="59324">3</cx:pt>
          <cx:pt idx="59325">4</cx:pt>
          <cx:pt idx="59326">3</cx:pt>
          <cx:pt idx="59327">4</cx:pt>
          <cx:pt idx="59328">1</cx:pt>
          <cx:pt idx="59329">0</cx:pt>
          <cx:pt idx="59330">3</cx:pt>
          <cx:pt idx="59331">4</cx:pt>
          <cx:pt idx="59332">4</cx:pt>
          <cx:pt idx="59333">4</cx:pt>
          <cx:pt idx="59334">3</cx:pt>
          <cx:pt idx="59335">3</cx:pt>
          <cx:pt idx="59336">2</cx:pt>
          <cx:pt idx="59337">2</cx:pt>
          <cx:pt idx="59338">3</cx:pt>
          <cx:pt idx="59339">2</cx:pt>
          <cx:pt idx="59340">4</cx:pt>
          <cx:pt idx="59341">3</cx:pt>
          <cx:pt idx="59342">1</cx:pt>
          <cx:pt idx="59343">3</cx:pt>
          <cx:pt idx="59344">5</cx:pt>
          <cx:pt idx="59345">5</cx:pt>
          <cx:pt idx="59346">4</cx:pt>
          <cx:pt idx="59347">1</cx:pt>
          <cx:pt idx="59348">3</cx:pt>
          <cx:pt idx="59349">4</cx:pt>
          <cx:pt idx="59350">4</cx:pt>
          <cx:pt idx="59351">2</cx:pt>
          <cx:pt idx="59352">5</cx:pt>
          <cx:pt idx="59353">3</cx:pt>
          <cx:pt idx="59354">0</cx:pt>
          <cx:pt idx="59355">2</cx:pt>
          <cx:pt idx="59356">4</cx:pt>
          <cx:pt idx="59357">4</cx:pt>
          <cx:pt idx="59358">3</cx:pt>
          <cx:pt idx="59359">4</cx:pt>
          <cx:pt idx="59360">1</cx:pt>
          <cx:pt idx="59361">0</cx:pt>
          <cx:pt idx="59362">4</cx:pt>
          <cx:pt idx="59363">3</cx:pt>
          <cx:pt idx="59364">2</cx:pt>
          <cx:pt idx="59365">4</cx:pt>
          <cx:pt idx="59366">1</cx:pt>
          <cx:pt idx="59367">1</cx:pt>
          <cx:pt idx="59368">1</cx:pt>
          <cx:pt idx="59369">2</cx:pt>
          <cx:pt idx="59370">3</cx:pt>
          <cx:pt idx="59371">3</cx:pt>
          <cx:pt idx="59372">0</cx:pt>
          <cx:pt idx="59373">1</cx:pt>
          <cx:pt idx="59374">3</cx:pt>
          <cx:pt idx="59375">4</cx:pt>
          <cx:pt idx="59376">1</cx:pt>
          <cx:pt idx="59377">5</cx:pt>
          <cx:pt idx="59378">0</cx:pt>
          <cx:pt idx="59379">3</cx:pt>
          <cx:pt idx="59380">2</cx:pt>
          <cx:pt idx="59381">4</cx:pt>
          <cx:pt idx="59382">1</cx:pt>
          <cx:pt idx="59383">4</cx:pt>
          <cx:pt idx="59384">4</cx:pt>
          <cx:pt idx="59385">5</cx:pt>
          <cx:pt idx="59386">1</cx:pt>
          <cx:pt idx="59387">5</cx:pt>
          <cx:pt idx="59388">0</cx:pt>
          <cx:pt idx="59389">1</cx:pt>
          <cx:pt idx="59390">0</cx:pt>
          <cx:pt idx="59391">3</cx:pt>
          <cx:pt idx="59392">3</cx:pt>
          <cx:pt idx="59393">2</cx:pt>
          <cx:pt idx="59394">3</cx:pt>
          <cx:pt idx="59395">4</cx:pt>
          <cx:pt idx="59396">5</cx:pt>
          <cx:pt idx="59397">3</cx:pt>
          <cx:pt idx="59398">2</cx:pt>
          <cx:pt idx="59399">3</cx:pt>
          <cx:pt idx="59400">2</cx:pt>
          <cx:pt idx="59401">2</cx:pt>
          <cx:pt idx="59402">4</cx:pt>
          <cx:pt idx="59403">1</cx:pt>
          <cx:pt idx="59404">2</cx:pt>
          <cx:pt idx="59405">1</cx:pt>
          <cx:pt idx="59406">2</cx:pt>
          <cx:pt idx="59407">3</cx:pt>
          <cx:pt idx="59408">5</cx:pt>
          <cx:pt idx="59409">2</cx:pt>
          <cx:pt idx="59410">4</cx:pt>
          <cx:pt idx="59411">3</cx:pt>
          <cx:pt idx="59412">5</cx:pt>
          <cx:pt idx="59413">2</cx:pt>
          <cx:pt idx="59414">5</cx:pt>
          <cx:pt idx="59415">0</cx:pt>
          <cx:pt idx="59416">1</cx:pt>
          <cx:pt idx="59417">3</cx:pt>
          <cx:pt idx="59418">3</cx:pt>
          <cx:pt idx="59419">2</cx:pt>
          <cx:pt idx="59420">2</cx:pt>
          <cx:pt idx="59421">4</cx:pt>
          <cx:pt idx="59422">2</cx:pt>
          <cx:pt idx="59423">3</cx:pt>
          <cx:pt idx="59424">5</cx:pt>
          <cx:pt idx="59425">5</cx:pt>
          <cx:pt idx="59426">4</cx:pt>
          <cx:pt idx="59427">2</cx:pt>
          <cx:pt idx="59428">1</cx:pt>
          <cx:pt idx="59429">4</cx:pt>
          <cx:pt idx="59430">4</cx:pt>
          <cx:pt idx="59431">5</cx:pt>
          <cx:pt idx="59432">1</cx:pt>
          <cx:pt idx="59433">5</cx:pt>
          <cx:pt idx="59434">0</cx:pt>
          <cx:pt idx="59435">0</cx:pt>
          <cx:pt idx="59436">2</cx:pt>
          <cx:pt idx="59437">4</cx:pt>
          <cx:pt idx="59438">2</cx:pt>
          <cx:pt idx="59439">4</cx:pt>
          <cx:pt idx="59440">3</cx:pt>
          <cx:pt idx="59441">1</cx:pt>
          <cx:pt idx="59442">3</cx:pt>
          <cx:pt idx="59443">2</cx:pt>
          <cx:pt idx="59444">1</cx:pt>
          <cx:pt idx="59445">5</cx:pt>
          <cx:pt idx="59446">5</cx:pt>
          <cx:pt idx="59447">4</cx:pt>
          <cx:pt idx="59448">2</cx:pt>
          <cx:pt idx="59449">4</cx:pt>
          <cx:pt idx="59450">1</cx:pt>
          <cx:pt idx="59451">4</cx:pt>
          <cx:pt idx="59452">5</cx:pt>
          <cx:pt idx="59453">2</cx:pt>
          <cx:pt idx="59454">4</cx:pt>
          <cx:pt idx="59455">2</cx:pt>
          <cx:pt idx="59456">1</cx:pt>
          <cx:pt idx="59457">2</cx:pt>
          <cx:pt idx="59458">3</cx:pt>
          <cx:pt idx="59459">2</cx:pt>
          <cx:pt idx="59460">2</cx:pt>
          <cx:pt idx="59461">1</cx:pt>
          <cx:pt idx="59462">5</cx:pt>
          <cx:pt idx="59463">4</cx:pt>
          <cx:pt idx="59464">4</cx:pt>
          <cx:pt idx="59465">1</cx:pt>
          <cx:pt idx="59466">1</cx:pt>
          <cx:pt idx="59467">3</cx:pt>
          <cx:pt idx="59468">4</cx:pt>
          <cx:pt idx="59469">4</cx:pt>
          <cx:pt idx="59470">4</cx:pt>
          <cx:pt idx="59471">5</cx:pt>
          <cx:pt idx="59472">2</cx:pt>
          <cx:pt idx="59473">1</cx:pt>
          <cx:pt idx="59474">3</cx:pt>
          <cx:pt idx="59475">4</cx:pt>
          <cx:pt idx="59476">4</cx:pt>
          <cx:pt idx="59477">1</cx:pt>
          <cx:pt idx="59478">2</cx:pt>
          <cx:pt idx="59479">0</cx:pt>
          <cx:pt idx="59480">3</cx:pt>
          <cx:pt idx="59481">3</cx:pt>
          <cx:pt idx="59482">4</cx:pt>
          <cx:pt idx="59483">5</cx:pt>
          <cx:pt idx="59484">5</cx:pt>
          <cx:pt idx="59485">3</cx:pt>
          <cx:pt idx="59486">2</cx:pt>
          <cx:pt idx="59487">3</cx:pt>
          <cx:pt idx="59488">4</cx:pt>
          <cx:pt idx="59489">5</cx:pt>
          <cx:pt idx="59490">1</cx:pt>
          <cx:pt idx="59491">4</cx:pt>
          <cx:pt idx="59492">1</cx:pt>
          <cx:pt idx="59493">4</cx:pt>
          <cx:pt idx="59494">2</cx:pt>
          <cx:pt idx="59495">2</cx:pt>
          <cx:pt idx="59496">1</cx:pt>
          <cx:pt idx="59497">3</cx:pt>
          <cx:pt idx="59498">3</cx:pt>
          <cx:pt idx="59499">1</cx:pt>
          <cx:pt idx="59500">4</cx:pt>
          <cx:pt idx="59501">3</cx:pt>
          <cx:pt idx="59502">3</cx:pt>
          <cx:pt idx="59503">2</cx:pt>
          <cx:pt idx="59504">5</cx:pt>
          <cx:pt idx="59505">4</cx:pt>
          <cx:pt idx="59506">3</cx:pt>
          <cx:pt idx="59507">3</cx:pt>
          <cx:pt idx="59508">5</cx:pt>
          <cx:pt idx="59509">1</cx:pt>
          <cx:pt idx="59510">2</cx:pt>
          <cx:pt idx="59511">3</cx:pt>
          <cx:pt idx="59512">2</cx:pt>
          <cx:pt idx="59513">1</cx:pt>
          <cx:pt idx="59514">1</cx:pt>
          <cx:pt idx="59515">2</cx:pt>
          <cx:pt idx="59516">3</cx:pt>
          <cx:pt idx="59517">2</cx:pt>
          <cx:pt idx="59518">3</cx:pt>
          <cx:pt idx="59519">5</cx:pt>
          <cx:pt idx="59520">2</cx:pt>
          <cx:pt idx="59521">3</cx:pt>
          <cx:pt idx="59522">2</cx:pt>
          <cx:pt idx="59523">1</cx:pt>
          <cx:pt idx="59524">3</cx:pt>
          <cx:pt idx="59525">3</cx:pt>
          <cx:pt idx="59526">4</cx:pt>
          <cx:pt idx="59527">4</cx:pt>
          <cx:pt idx="59528">3</cx:pt>
          <cx:pt idx="59529">5</cx:pt>
          <cx:pt idx="59530">5</cx:pt>
          <cx:pt idx="59531">1</cx:pt>
          <cx:pt idx="59532">5</cx:pt>
          <cx:pt idx="59533">1</cx:pt>
          <cx:pt idx="59534">2</cx:pt>
          <cx:pt idx="59535">5</cx:pt>
          <cx:pt idx="59536">1</cx:pt>
          <cx:pt idx="59537">1</cx:pt>
          <cx:pt idx="59538">3</cx:pt>
          <cx:pt idx="59539">2</cx:pt>
          <cx:pt idx="59540">1</cx:pt>
          <cx:pt idx="59541">2</cx:pt>
          <cx:pt idx="59542">0</cx:pt>
          <cx:pt idx="59543">1</cx:pt>
          <cx:pt idx="59544">1</cx:pt>
          <cx:pt idx="59545">4</cx:pt>
          <cx:pt idx="59546">3</cx:pt>
          <cx:pt idx="59547">3</cx:pt>
          <cx:pt idx="59548">4</cx:pt>
          <cx:pt idx="59549">2</cx:pt>
          <cx:pt idx="59550">5</cx:pt>
          <cx:pt idx="59551">1</cx:pt>
          <cx:pt idx="59552">2</cx:pt>
          <cx:pt idx="59553">3</cx:pt>
          <cx:pt idx="59554">3</cx:pt>
          <cx:pt idx="59555">1</cx:pt>
          <cx:pt idx="59556">1</cx:pt>
          <cx:pt idx="59557">1</cx:pt>
          <cx:pt idx="59558">2</cx:pt>
          <cx:pt idx="59559">2</cx:pt>
          <cx:pt idx="59560">1</cx:pt>
          <cx:pt idx="59561">2</cx:pt>
          <cx:pt idx="59562">3</cx:pt>
          <cx:pt idx="59563">3</cx:pt>
          <cx:pt idx="59564">5</cx:pt>
          <cx:pt idx="59565">3</cx:pt>
          <cx:pt idx="59566">5</cx:pt>
          <cx:pt idx="59567">2</cx:pt>
          <cx:pt idx="59568">1</cx:pt>
          <cx:pt idx="59569">0</cx:pt>
          <cx:pt idx="59570">4</cx:pt>
          <cx:pt idx="59571">2</cx:pt>
          <cx:pt idx="59572">1</cx:pt>
          <cx:pt idx="59573">4</cx:pt>
          <cx:pt idx="59574">1</cx:pt>
          <cx:pt idx="59575">3</cx:pt>
          <cx:pt idx="59576">3</cx:pt>
          <cx:pt idx="59577">1</cx:pt>
          <cx:pt idx="59578">5</cx:pt>
          <cx:pt idx="59579">3</cx:pt>
          <cx:pt idx="59580">1</cx:pt>
          <cx:pt idx="59581">2</cx:pt>
          <cx:pt idx="59582">3</cx:pt>
          <cx:pt idx="59583">5</cx:pt>
          <cx:pt idx="59584">2</cx:pt>
          <cx:pt idx="59585">3</cx:pt>
          <cx:pt idx="59586">5</cx:pt>
          <cx:pt idx="59587">1</cx:pt>
          <cx:pt idx="59588">1</cx:pt>
          <cx:pt idx="59589">2</cx:pt>
          <cx:pt idx="59590">3</cx:pt>
          <cx:pt idx="59591">3</cx:pt>
          <cx:pt idx="59592">2</cx:pt>
          <cx:pt idx="59593">2</cx:pt>
          <cx:pt idx="59594">2</cx:pt>
          <cx:pt idx="59595">2</cx:pt>
          <cx:pt idx="59596">4</cx:pt>
          <cx:pt idx="59597">1</cx:pt>
          <cx:pt idx="59598">3</cx:pt>
          <cx:pt idx="59599">5</cx:pt>
          <cx:pt idx="59600">2</cx:pt>
          <cx:pt idx="59601">5</cx:pt>
          <cx:pt idx="59602">4</cx:pt>
          <cx:pt idx="59603">2</cx:pt>
          <cx:pt idx="59604">2</cx:pt>
          <cx:pt idx="59605">3</cx:pt>
          <cx:pt idx="59606">1</cx:pt>
          <cx:pt idx="59607">5</cx:pt>
          <cx:pt idx="59608">3</cx:pt>
          <cx:pt idx="59609">1</cx:pt>
          <cx:pt idx="59610">5</cx:pt>
          <cx:pt idx="59611">2</cx:pt>
          <cx:pt idx="59612">2</cx:pt>
          <cx:pt idx="59613">1</cx:pt>
          <cx:pt idx="59614">2</cx:pt>
          <cx:pt idx="59615">4</cx:pt>
          <cx:pt idx="59616">2</cx:pt>
          <cx:pt idx="59617">4</cx:pt>
          <cx:pt idx="59618">0</cx:pt>
          <cx:pt idx="59619">4</cx:pt>
          <cx:pt idx="59620">2</cx:pt>
          <cx:pt idx="59621">1</cx:pt>
          <cx:pt idx="59622">2</cx:pt>
          <cx:pt idx="59623">2</cx:pt>
          <cx:pt idx="59624">4</cx:pt>
          <cx:pt idx="59625">1</cx:pt>
          <cx:pt idx="59626">3</cx:pt>
          <cx:pt idx="59627">1</cx:pt>
          <cx:pt idx="59628">3</cx:pt>
          <cx:pt idx="59629">1</cx:pt>
          <cx:pt idx="59630">1</cx:pt>
          <cx:pt idx="59631">1</cx:pt>
          <cx:pt idx="59632">3</cx:pt>
          <cx:pt idx="59633">3</cx:pt>
          <cx:pt idx="59634">2</cx:pt>
          <cx:pt idx="59635">4</cx:pt>
          <cx:pt idx="59636">5</cx:pt>
          <cx:pt idx="59637">1</cx:pt>
          <cx:pt idx="59638">2</cx:pt>
          <cx:pt idx="59639">3</cx:pt>
          <cx:pt idx="59640">4</cx:pt>
          <cx:pt idx="59641">4</cx:pt>
          <cx:pt idx="59642">2</cx:pt>
          <cx:pt idx="59643">1</cx:pt>
          <cx:pt idx="59644">3</cx:pt>
          <cx:pt idx="59645">3</cx:pt>
          <cx:pt idx="59646">1</cx:pt>
          <cx:pt idx="59647">5</cx:pt>
          <cx:pt idx="59648">4</cx:pt>
          <cx:pt idx="59649">2</cx:pt>
          <cx:pt idx="59650">2</cx:pt>
          <cx:pt idx="59651">1</cx:pt>
          <cx:pt idx="59652">2</cx:pt>
          <cx:pt idx="59653">5</cx:pt>
          <cx:pt idx="59654">1</cx:pt>
          <cx:pt idx="59655">5</cx:pt>
          <cx:pt idx="59656">2</cx:pt>
          <cx:pt idx="59657">1</cx:pt>
          <cx:pt idx="59658">3</cx:pt>
          <cx:pt idx="59659">5</cx:pt>
          <cx:pt idx="59660">0</cx:pt>
          <cx:pt idx="59661">3</cx:pt>
          <cx:pt idx="59662">4</cx:pt>
          <cx:pt idx="59663">2</cx:pt>
          <cx:pt idx="59664">1</cx:pt>
          <cx:pt idx="59665">1</cx:pt>
          <cx:pt idx="59666">5</cx:pt>
          <cx:pt idx="59667">5</cx:pt>
          <cx:pt idx="59668">3</cx:pt>
          <cx:pt idx="59669">5</cx:pt>
          <cx:pt idx="59670">4</cx:pt>
          <cx:pt idx="59671">4</cx:pt>
          <cx:pt idx="59672">2</cx:pt>
          <cx:pt idx="59673">4</cx:pt>
          <cx:pt idx="59674">5</cx:pt>
          <cx:pt idx="59675">5</cx:pt>
          <cx:pt idx="59676">4</cx:pt>
          <cx:pt idx="59677">2</cx:pt>
          <cx:pt idx="59678">5</cx:pt>
          <cx:pt idx="59679">4</cx:pt>
          <cx:pt idx="59680">4</cx:pt>
          <cx:pt idx="59681">1</cx:pt>
          <cx:pt idx="59682">1</cx:pt>
          <cx:pt idx="59683">2</cx:pt>
          <cx:pt idx="59684">3</cx:pt>
          <cx:pt idx="59685">1</cx:pt>
          <cx:pt idx="59686">3</cx:pt>
          <cx:pt idx="59687">3</cx:pt>
          <cx:pt idx="59688">4</cx:pt>
          <cx:pt idx="59689">3</cx:pt>
          <cx:pt idx="59690">4</cx:pt>
          <cx:pt idx="59691">1</cx:pt>
          <cx:pt idx="59692">5</cx:pt>
          <cx:pt idx="59693">3</cx:pt>
          <cx:pt idx="59694">1</cx:pt>
          <cx:pt idx="59695">4</cx:pt>
          <cx:pt idx="59696">2</cx:pt>
          <cx:pt idx="59697">3</cx:pt>
          <cx:pt idx="59698">3</cx:pt>
          <cx:pt idx="59699">3</cx:pt>
          <cx:pt idx="59700">2</cx:pt>
          <cx:pt idx="59701">2</cx:pt>
          <cx:pt idx="59702">3</cx:pt>
          <cx:pt idx="59703">3</cx:pt>
          <cx:pt idx="59704">2</cx:pt>
          <cx:pt idx="59705">2</cx:pt>
          <cx:pt idx="59706">1</cx:pt>
          <cx:pt idx="59707">5</cx:pt>
          <cx:pt idx="59708">5</cx:pt>
          <cx:pt idx="59709">3</cx:pt>
          <cx:pt idx="59710">3</cx:pt>
          <cx:pt idx="59711">2</cx:pt>
          <cx:pt idx="59712">2</cx:pt>
          <cx:pt idx="59713">1</cx:pt>
          <cx:pt idx="59714">1</cx:pt>
          <cx:pt idx="59715">4</cx:pt>
          <cx:pt idx="59716">3</cx:pt>
          <cx:pt idx="59717">1</cx:pt>
          <cx:pt idx="59718">2</cx:pt>
          <cx:pt idx="59719">4</cx:pt>
          <cx:pt idx="59720">4</cx:pt>
          <cx:pt idx="59721">5</cx:pt>
          <cx:pt idx="59722">5</cx:pt>
          <cx:pt idx="59723">2</cx:pt>
          <cx:pt idx="59724">3</cx:pt>
          <cx:pt idx="59725">5</cx:pt>
          <cx:pt idx="59726">2</cx:pt>
          <cx:pt idx="59727">2</cx:pt>
          <cx:pt idx="59728">3</cx:pt>
          <cx:pt idx="59729">3</cx:pt>
          <cx:pt idx="59730">3</cx:pt>
          <cx:pt idx="59731">3</cx:pt>
          <cx:pt idx="59732">1</cx:pt>
          <cx:pt idx="59733">3</cx:pt>
          <cx:pt idx="59734">1</cx:pt>
          <cx:pt idx="59735">2</cx:pt>
          <cx:pt idx="59736">4</cx:pt>
          <cx:pt idx="59737">2</cx:pt>
          <cx:pt idx="59738">1</cx:pt>
          <cx:pt idx="59739">0</cx:pt>
          <cx:pt idx="59740">2</cx:pt>
          <cx:pt idx="59741">5</cx:pt>
          <cx:pt idx="59742">4</cx:pt>
          <cx:pt idx="59743">5</cx:pt>
          <cx:pt idx="59744">3</cx:pt>
          <cx:pt idx="59745">0</cx:pt>
          <cx:pt idx="59746">1</cx:pt>
          <cx:pt idx="59747">0</cx:pt>
          <cx:pt idx="59748">2</cx:pt>
          <cx:pt idx="59749">2</cx:pt>
          <cx:pt idx="59750">0</cx:pt>
          <cx:pt idx="59751">2</cx:pt>
          <cx:pt idx="59752">0</cx:pt>
          <cx:pt idx="59753">3</cx:pt>
          <cx:pt idx="59754">3</cx:pt>
          <cx:pt idx="59755">1</cx:pt>
          <cx:pt idx="59756">2</cx:pt>
          <cx:pt idx="59757">3</cx:pt>
          <cx:pt idx="59758">4</cx:pt>
          <cx:pt idx="59759">4</cx:pt>
          <cx:pt idx="59760">3</cx:pt>
          <cx:pt idx="59761">3</cx:pt>
          <cx:pt idx="59762">3</cx:pt>
          <cx:pt idx="59763">2</cx:pt>
          <cx:pt idx="59764">5</cx:pt>
          <cx:pt idx="59765">4</cx:pt>
          <cx:pt idx="59766">2</cx:pt>
          <cx:pt idx="59767">3</cx:pt>
          <cx:pt idx="59768">4</cx:pt>
          <cx:pt idx="59769">4</cx:pt>
          <cx:pt idx="59770">1</cx:pt>
          <cx:pt idx="59771">4</cx:pt>
          <cx:pt idx="59772">0</cx:pt>
          <cx:pt idx="59773">3</cx:pt>
          <cx:pt idx="59774">1</cx:pt>
          <cx:pt idx="59775">4</cx:pt>
          <cx:pt idx="59776">0</cx:pt>
          <cx:pt idx="59777">3</cx:pt>
          <cx:pt idx="59778">5</cx:pt>
          <cx:pt idx="59779">1</cx:pt>
          <cx:pt idx="59780">0</cx:pt>
          <cx:pt idx="59781">3</cx:pt>
          <cx:pt idx="59782">1</cx:pt>
          <cx:pt idx="59783">3</cx:pt>
          <cx:pt idx="59784">2</cx:pt>
          <cx:pt idx="59785">2</cx:pt>
          <cx:pt idx="59786">4</cx:pt>
          <cx:pt idx="59787">1</cx:pt>
          <cx:pt idx="59788">5</cx:pt>
          <cx:pt idx="59789">1</cx:pt>
          <cx:pt idx="59790">2</cx:pt>
          <cx:pt idx="59791">2</cx:pt>
          <cx:pt idx="59792">1</cx:pt>
          <cx:pt idx="59793">0</cx:pt>
          <cx:pt idx="59794">3</cx:pt>
          <cx:pt idx="59795">1</cx:pt>
          <cx:pt idx="59796">2</cx:pt>
          <cx:pt idx="59797">1</cx:pt>
          <cx:pt idx="59798">1</cx:pt>
          <cx:pt idx="59799">0</cx:pt>
          <cx:pt idx="59800">3</cx:pt>
          <cx:pt idx="59801">3</cx:pt>
          <cx:pt idx="59802">2</cx:pt>
          <cx:pt idx="59803">3</cx:pt>
          <cx:pt idx="59804">4</cx:pt>
          <cx:pt idx="59805">3</cx:pt>
          <cx:pt idx="59806">2</cx:pt>
          <cx:pt idx="59807">4</cx:pt>
          <cx:pt idx="59808">1</cx:pt>
          <cx:pt idx="59809">2</cx:pt>
          <cx:pt idx="59810">2</cx:pt>
          <cx:pt idx="59811">3</cx:pt>
          <cx:pt idx="59812">2</cx:pt>
          <cx:pt idx="59813">2</cx:pt>
          <cx:pt idx="59814">5</cx:pt>
          <cx:pt idx="59815">2</cx:pt>
          <cx:pt idx="59816">1</cx:pt>
          <cx:pt idx="59817">4</cx:pt>
          <cx:pt idx="59818">2</cx:pt>
          <cx:pt idx="59819">5</cx:pt>
          <cx:pt idx="59820">2</cx:pt>
          <cx:pt idx="59821">3</cx:pt>
          <cx:pt idx="59822">3</cx:pt>
          <cx:pt idx="59823">1</cx:pt>
          <cx:pt idx="59824">1</cx:pt>
          <cx:pt idx="59825">4</cx:pt>
          <cx:pt idx="59826">3</cx:pt>
          <cx:pt idx="59827">4</cx:pt>
          <cx:pt idx="59828">4</cx:pt>
          <cx:pt idx="59829">2</cx:pt>
          <cx:pt idx="59830">1</cx:pt>
          <cx:pt idx="59831">4</cx:pt>
          <cx:pt idx="59832">4</cx:pt>
          <cx:pt idx="59833">1</cx:pt>
          <cx:pt idx="59834">1</cx:pt>
          <cx:pt idx="59835">4</cx:pt>
          <cx:pt idx="59836">3</cx:pt>
          <cx:pt idx="59837">4</cx:pt>
          <cx:pt idx="59838">2</cx:pt>
          <cx:pt idx="59839">3</cx:pt>
          <cx:pt idx="59840">3</cx:pt>
          <cx:pt idx="59841">1</cx:pt>
          <cx:pt idx="59842">4</cx:pt>
          <cx:pt idx="59843">1</cx:pt>
          <cx:pt idx="59844">0</cx:pt>
          <cx:pt idx="59845">3</cx:pt>
          <cx:pt idx="59846">4</cx:pt>
          <cx:pt idx="59847">5</cx:pt>
          <cx:pt idx="59848">2</cx:pt>
          <cx:pt idx="59849">2</cx:pt>
          <cx:pt idx="59850">0</cx:pt>
          <cx:pt idx="59851">5</cx:pt>
          <cx:pt idx="59852">2</cx:pt>
          <cx:pt idx="59853">2</cx:pt>
          <cx:pt idx="59854">4</cx:pt>
          <cx:pt idx="59855">2</cx:pt>
          <cx:pt idx="59856">4</cx:pt>
          <cx:pt idx="59857">1</cx:pt>
          <cx:pt idx="59858">0</cx:pt>
          <cx:pt idx="59859">1</cx:pt>
          <cx:pt idx="59860">1</cx:pt>
          <cx:pt idx="59861">2</cx:pt>
          <cx:pt idx="59862">3</cx:pt>
          <cx:pt idx="59863">4</cx:pt>
          <cx:pt idx="59864">5</cx:pt>
          <cx:pt idx="59865">1</cx:pt>
          <cx:pt idx="59866">5</cx:pt>
          <cx:pt idx="59867">4</cx:pt>
          <cx:pt idx="59868">3</cx:pt>
          <cx:pt idx="59869">1</cx:pt>
          <cx:pt idx="59870">5</cx:pt>
          <cx:pt idx="59871">2</cx:pt>
          <cx:pt idx="59872">3</cx:pt>
          <cx:pt idx="59873">5</cx:pt>
          <cx:pt idx="59874">0</cx:pt>
          <cx:pt idx="59875">2</cx:pt>
          <cx:pt idx="59876">5</cx:pt>
          <cx:pt idx="59877">2</cx:pt>
          <cx:pt idx="59878">3</cx:pt>
          <cx:pt idx="59879">3</cx:pt>
          <cx:pt idx="59880">1</cx:pt>
          <cx:pt idx="59881">2</cx:pt>
          <cx:pt idx="59882">4</cx:pt>
          <cx:pt idx="59883">3</cx:pt>
          <cx:pt idx="59884">1</cx:pt>
          <cx:pt idx="59885">4</cx:pt>
          <cx:pt idx="59886">1</cx:pt>
          <cx:pt idx="59887">2</cx:pt>
          <cx:pt idx="59888">3</cx:pt>
          <cx:pt idx="59889">3</cx:pt>
          <cx:pt idx="59890">4</cx:pt>
          <cx:pt idx="59891">4</cx:pt>
          <cx:pt idx="59892">1</cx:pt>
          <cx:pt idx="59893">2</cx:pt>
          <cx:pt idx="59894">3</cx:pt>
          <cx:pt idx="59895">1</cx:pt>
          <cx:pt idx="59896">0</cx:pt>
          <cx:pt idx="59897">3</cx:pt>
          <cx:pt idx="59898">3</cx:pt>
          <cx:pt idx="59899">4</cx:pt>
          <cx:pt idx="59900">1</cx:pt>
          <cx:pt idx="59901">2</cx:pt>
          <cx:pt idx="59902">4</cx:pt>
          <cx:pt idx="59903">2</cx:pt>
          <cx:pt idx="59904">5</cx:pt>
          <cx:pt idx="59905">2</cx:pt>
          <cx:pt idx="59906">4</cx:pt>
          <cx:pt idx="59907">5</cx:pt>
          <cx:pt idx="59908">0</cx:pt>
          <cx:pt idx="59909">3</cx:pt>
          <cx:pt idx="59910">1</cx:pt>
          <cx:pt idx="59911">4</cx:pt>
          <cx:pt idx="59912">2</cx:pt>
          <cx:pt idx="59913">0</cx:pt>
          <cx:pt idx="59914">1</cx:pt>
          <cx:pt idx="59915">4</cx:pt>
          <cx:pt idx="59916">3</cx:pt>
          <cx:pt idx="59917">3</cx:pt>
          <cx:pt idx="59918">1</cx:pt>
          <cx:pt idx="59919">2</cx:pt>
          <cx:pt idx="59920">2</cx:pt>
          <cx:pt idx="59921">2</cx:pt>
          <cx:pt idx="59922">2</cx:pt>
          <cx:pt idx="59923">4</cx:pt>
          <cx:pt idx="59924">2</cx:pt>
          <cx:pt idx="59925">3</cx:pt>
          <cx:pt idx="59926">2</cx:pt>
          <cx:pt idx="59927">4</cx:pt>
          <cx:pt idx="59928">1</cx:pt>
          <cx:pt idx="59929">2</cx:pt>
          <cx:pt idx="59930">2</cx:pt>
          <cx:pt idx="59931">1</cx:pt>
          <cx:pt idx="59932">2</cx:pt>
          <cx:pt idx="59933">1</cx:pt>
          <cx:pt idx="59934">4</cx:pt>
          <cx:pt idx="59935">2</cx:pt>
          <cx:pt idx="59936">2</cx:pt>
          <cx:pt idx="59937">3</cx:pt>
          <cx:pt idx="59938">5</cx:pt>
          <cx:pt idx="59939">5</cx:pt>
          <cx:pt idx="59940">5</cx:pt>
          <cx:pt idx="59941">2</cx:pt>
          <cx:pt idx="59942">2</cx:pt>
          <cx:pt idx="59943">2</cx:pt>
          <cx:pt idx="59944">2</cx:pt>
          <cx:pt idx="59945">2</cx:pt>
          <cx:pt idx="59946">4</cx:pt>
          <cx:pt idx="59947">4</cx:pt>
          <cx:pt idx="59948">4</cx:pt>
          <cx:pt idx="59949">4</cx:pt>
          <cx:pt idx="59950">3</cx:pt>
          <cx:pt idx="59951">3</cx:pt>
          <cx:pt idx="59952">0</cx:pt>
          <cx:pt idx="59953">2</cx:pt>
          <cx:pt idx="59954">5</cx:pt>
          <cx:pt idx="59955">5</cx:pt>
          <cx:pt idx="59956">4</cx:pt>
          <cx:pt idx="59957">3</cx:pt>
          <cx:pt idx="59958">4</cx:pt>
          <cx:pt idx="59959">4</cx:pt>
          <cx:pt idx="59960">3</cx:pt>
          <cx:pt idx="59961">2</cx:pt>
          <cx:pt idx="59962">3</cx:pt>
          <cx:pt idx="59963">3</cx:pt>
          <cx:pt idx="59964">4</cx:pt>
          <cx:pt idx="59965">5</cx:pt>
          <cx:pt idx="59966">3</cx:pt>
          <cx:pt idx="59967">1</cx:pt>
          <cx:pt idx="59968">5</cx:pt>
          <cx:pt idx="59969">4</cx:pt>
          <cx:pt idx="59970">4</cx:pt>
          <cx:pt idx="59971">1</cx:pt>
          <cx:pt idx="59972">5</cx:pt>
          <cx:pt idx="59973">4</cx:pt>
          <cx:pt idx="59974">2</cx:pt>
          <cx:pt idx="59975">5</cx:pt>
          <cx:pt idx="59976">2</cx:pt>
          <cx:pt idx="59977">3</cx:pt>
          <cx:pt idx="59978">3</cx:pt>
          <cx:pt idx="59979">3</cx:pt>
          <cx:pt idx="59980">5</cx:pt>
          <cx:pt idx="59981">3</cx:pt>
          <cx:pt idx="59982">1</cx:pt>
          <cx:pt idx="59983">0</cx:pt>
          <cx:pt idx="59984">3</cx:pt>
          <cx:pt idx="59985">1</cx:pt>
          <cx:pt idx="59986">4</cx:pt>
          <cx:pt idx="59987">2</cx:pt>
          <cx:pt idx="59988">4</cx:pt>
          <cx:pt idx="59989">2</cx:pt>
          <cx:pt idx="59990">4</cx:pt>
          <cx:pt idx="59991">3</cx:pt>
          <cx:pt idx="59992">1</cx:pt>
          <cx:pt idx="59993">2</cx:pt>
          <cx:pt idx="59994">1</cx:pt>
          <cx:pt idx="59995">2</cx:pt>
          <cx:pt idx="59996">4</cx:pt>
          <cx:pt idx="59997">2</cx:pt>
          <cx:pt idx="59998">5</cx:pt>
          <cx:pt idx="59999">1</cx:pt>
          <cx:pt idx="60000">1</cx:pt>
          <cx:pt idx="60001">2</cx:pt>
          <cx:pt idx="60002">3</cx:pt>
          <cx:pt idx="60003">5</cx:pt>
          <cx:pt idx="60004">2</cx:pt>
          <cx:pt idx="60005">5</cx:pt>
          <cx:pt idx="60006">5</cx:pt>
          <cx:pt idx="60007">3</cx:pt>
          <cx:pt idx="60008">5</cx:pt>
          <cx:pt idx="60009">3</cx:pt>
          <cx:pt idx="60010">4</cx:pt>
          <cx:pt idx="60011">4</cx:pt>
          <cx:pt idx="60012">2</cx:pt>
          <cx:pt idx="60013">5</cx:pt>
          <cx:pt idx="60014">1</cx:pt>
          <cx:pt idx="60015">3</cx:pt>
          <cx:pt idx="60016">5</cx:pt>
          <cx:pt idx="60017">5</cx:pt>
          <cx:pt idx="60018">1</cx:pt>
          <cx:pt idx="60019">0</cx:pt>
          <cx:pt idx="60020">3</cx:pt>
          <cx:pt idx="60021">2</cx:pt>
          <cx:pt idx="60022">5</cx:pt>
          <cx:pt idx="60023">2</cx:pt>
          <cx:pt idx="60024">4</cx:pt>
          <cx:pt idx="60025">4</cx:pt>
          <cx:pt idx="60026">0</cx:pt>
          <cx:pt idx="60027">4</cx:pt>
          <cx:pt idx="60028">3</cx:pt>
          <cx:pt idx="60029">0</cx:pt>
          <cx:pt idx="60030">0</cx:pt>
          <cx:pt idx="60031">1</cx:pt>
          <cx:pt idx="60032">5</cx:pt>
          <cx:pt idx="60033">3</cx:pt>
          <cx:pt idx="60034">1</cx:pt>
          <cx:pt idx="60035">1</cx:pt>
          <cx:pt idx="60036">4</cx:pt>
          <cx:pt idx="60037">4</cx:pt>
          <cx:pt idx="60038">4</cx:pt>
          <cx:pt idx="60039">3</cx:pt>
          <cx:pt idx="60040">5</cx:pt>
          <cx:pt idx="60041">5</cx:pt>
          <cx:pt idx="60042">1</cx:pt>
          <cx:pt idx="60043">2</cx:pt>
          <cx:pt idx="60044">4</cx:pt>
          <cx:pt idx="60045">3</cx:pt>
          <cx:pt idx="60046">4</cx:pt>
          <cx:pt idx="60047">2</cx:pt>
          <cx:pt idx="60048">5</cx:pt>
          <cx:pt idx="60049">5</cx:pt>
          <cx:pt idx="60050">2</cx:pt>
          <cx:pt idx="60051">4</cx:pt>
          <cx:pt idx="60052">3</cx:pt>
          <cx:pt idx="60053">3</cx:pt>
          <cx:pt idx="60054">4</cx:pt>
          <cx:pt idx="60055">3</cx:pt>
          <cx:pt idx="60056">2</cx:pt>
          <cx:pt idx="60057">4</cx:pt>
          <cx:pt idx="60058">3</cx:pt>
          <cx:pt idx="60059">4</cx:pt>
          <cx:pt idx="60060">1</cx:pt>
          <cx:pt idx="60061">5</cx:pt>
          <cx:pt idx="60062">2</cx:pt>
          <cx:pt idx="60063">4</cx:pt>
          <cx:pt idx="60064">1</cx:pt>
          <cx:pt idx="60065">3</cx:pt>
          <cx:pt idx="60066">3</cx:pt>
          <cx:pt idx="60067">4</cx:pt>
          <cx:pt idx="60068">5</cx:pt>
          <cx:pt idx="60069">4</cx:pt>
          <cx:pt idx="60070">1</cx:pt>
          <cx:pt idx="60071">3</cx:pt>
          <cx:pt idx="60072">3</cx:pt>
          <cx:pt idx="60073">1</cx:pt>
          <cx:pt idx="60074">3</cx:pt>
          <cx:pt idx="60075">2</cx:pt>
          <cx:pt idx="60076">5</cx:pt>
          <cx:pt idx="60077">1</cx:pt>
          <cx:pt idx="60078">4</cx:pt>
          <cx:pt idx="60079">3</cx:pt>
          <cx:pt idx="60080">5</cx:pt>
          <cx:pt idx="60081">4</cx:pt>
          <cx:pt idx="60082">2</cx:pt>
          <cx:pt idx="60083">3</cx:pt>
          <cx:pt idx="60084">4</cx:pt>
          <cx:pt idx="60085">2</cx:pt>
          <cx:pt idx="60086">3</cx:pt>
          <cx:pt idx="60087">1</cx:pt>
          <cx:pt idx="60088">2</cx:pt>
          <cx:pt idx="60089">3</cx:pt>
          <cx:pt idx="60090">4</cx:pt>
          <cx:pt idx="60091">3</cx:pt>
          <cx:pt idx="60092">3</cx:pt>
          <cx:pt idx="60093">2</cx:pt>
          <cx:pt idx="60094">4</cx:pt>
          <cx:pt idx="60095">2</cx:pt>
          <cx:pt idx="60096">1</cx:pt>
          <cx:pt idx="60097">4</cx:pt>
          <cx:pt idx="60098">5</cx:pt>
          <cx:pt idx="60099">3</cx:pt>
          <cx:pt idx="60100">2</cx:pt>
          <cx:pt idx="60101">4</cx:pt>
          <cx:pt idx="60102">4</cx:pt>
          <cx:pt idx="60103">1</cx:pt>
          <cx:pt idx="60104">4</cx:pt>
          <cx:pt idx="60105">3</cx:pt>
          <cx:pt idx="60106">4</cx:pt>
          <cx:pt idx="60107">3</cx:pt>
          <cx:pt idx="60108">2</cx:pt>
          <cx:pt idx="60109">2</cx:pt>
          <cx:pt idx="60110">3</cx:pt>
          <cx:pt idx="60111">2</cx:pt>
          <cx:pt idx="60112">1</cx:pt>
          <cx:pt idx="60113">4</cx:pt>
          <cx:pt idx="60114">1</cx:pt>
          <cx:pt idx="60115">3</cx:pt>
          <cx:pt idx="60116">4</cx:pt>
          <cx:pt idx="60117">2</cx:pt>
          <cx:pt idx="60118">1</cx:pt>
          <cx:pt idx="60119">4</cx:pt>
          <cx:pt idx="60120">3</cx:pt>
          <cx:pt idx="60121">3</cx:pt>
          <cx:pt idx="60122">3</cx:pt>
          <cx:pt idx="60123">3</cx:pt>
          <cx:pt idx="60124">5</cx:pt>
          <cx:pt idx="60125">5</cx:pt>
          <cx:pt idx="60126">2</cx:pt>
          <cx:pt idx="60127">4</cx:pt>
          <cx:pt idx="60128">4</cx:pt>
          <cx:pt idx="60129">3</cx:pt>
          <cx:pt idx="60130">0</cx:pt>
          <cx:pt idx="60131">5</cx:pt>
          <cx:pt idx="60132">3</cx:pt>
          <cx:pt idx="60133">2</cx:pt>
          <cx:pt idx="60134">3</cx:pt>
          <cx:pt idx="60135">3</cx:pt>
          <cx:pt idx="60136">0</cx:pt>
          <cx:pt idx="60137">4</cx:pt>
          <cx:pt idx="60138">5</cx:pt>
          <cx:pt idx="60139">1</cx:pt>
          <cx:pt idx="60140">5</cx:pt>
          <cx:pt idx="60141">2</cx:pt>
          <cx:pt idx="60142">1</cx:pt>
          <cx:pt idx="60143">1</cx:pt>
          <cx:pt idx="60144">1</cx:pt>
          <cx:pt idx="60145">5</cx:pt>
          <cx:pt idx="60146">2</cx:pt>
          <cx:pt idx="60147">3</cx:pt>
          <cx:pt idx="60148">2</cx:pt>
          <cx:pt idx="60149">1</cx:pt>
          <cx:pt idx="60150">3</cx:pt>
          <cx:pt idx="60151">4</cx:pt>
          <cx:pt idx="60152">2</cx:pt>
          <cx:pt idx="60153">1</cx:pt>
          <cx:pt idx="60154">5</cx:pt>
          <cx:pt idx="60155">4</cx:pt>
          <cx:pt idx="60156">2</cx:pt>
          <cx:pt idx="60157">3</cx:pt>
          <cx:pt idx="60158">1</cx:pt>
          <cx:pt idx="60159">3</cx:pt>
          <cx:pt idx="60160">3</cx:pt>
          <cx:pt idx="60161">2</cx:pt>
          <cx:pt idx="60162">3</cx:pt>
          <cx:pt idx="60163">3</cx:pt>
          <cx:pt idx="60164">3</cx:pt>
          <cx:pt idx="60165">3</cx:pt>
          <cx:pt idx="60166">2</cx:pt>
          <cx:pt idx="60167">2</cx:pt>
          <cx:pt idx="60168">5</cx:pt>
          <cx:pt idx="60169">3</cx:pt>
          <cx:pt idx="60170">3</cx:pt>
          <cx:pt idx="60171">2</cx:pt>
          <cx:pt idx="60172">2</cx:pt>
          <cx:pt idx="60173">1</cx:pt>
          <cx:pt idx="60174">4</cx:pt>
          <cx:pt idx="60175">4</cx:pt>
          <cx:pt idx="60176">5</cx:pt>
          <cx:pt idx="60177">3</cx:pt>
          <cx:pt idx="60178">3</cx:pt>
          <cx:pt idx="60179">2</cx:pt>
          <cx:pt idx="60180">3</cx:pt>
          <cx:pt idx="60181">1</cx:pt>
          <cx:pt idx="60182">4</cx:pt>
          <cx:pt idx="60183">4</cx:pt>
          <cx:pt idx="60184">4</cx:pt>
          <cx:pt idx="60185">0</cx:pt>
          <cx:pt idx="60186">1</cx:pt>
          <cx:pt idx="60187">5</cx:pt>
          <cx:pt idx="60188">4</cx:pt>
          <cx:pt idx="60189">5</cx:pt>
          <cx:pt idx="60190">3</cx:pt>
          <cx:pt idx="60191">5</cx:pt>
          <cx:pt idx="60192">2</cx:pt>
          <cx:pt idx="60193">5</cx:pt>
          <cx:pt idx="60194">5</cx:pt>
          <cx:pt idx="60195">5</cx:pt>
          <cx:pt idx="60196">3</cx:pt>
          <cx:pt idx="60197">5</cx:pt>
          <cx:pt idx="60198">1</cx:pt>
          <cx:pt idx="60199">5</cx:pt>
          <cx:pt idx="60200">3</cx:pt>
          <cx:pt idx="60201">3</cx:pt>
          <cx:pt idx="60202">1</cx:pt>
          <cx:pt idx="60203">0</cx:pt>
          <cx:pt idx="60204">2</cx:pt>
          <cx:pt idx="60205">2</cx:pt>
          <cx:pt idx="60206">5</cx:pt>
          <cx:pt idx="60207">1</cx:pt>
          <cx:pt idx="60208">1</cx:pt>
          <cx:pt idx="60209">2</cx:pt>
          <cx:pt idx="60210">4</cx:pt>
          <cx:pt idx="60211">3</cx:pt>
          <cx:pt idx="60212">3</cx:pt>
          <cx:pt idx="60213">3</cx:pt>
          <cx:pt idx="60214">3</cx:pt>
          <cx:pt idx="60215">4</cx:pt>
          <cx:pt idx="60216">4</cx:pt>
          <cx:pt idx="60217">4</cx:pt>
          <cx:pt idx="60218">3</cx:pt>
          <cx:pt idx="60219">3</cx:pt>
          <cx:pt idx="60220">3</cx:pt>
          <cx:pt idx="60221">4</cx:pt>
          <cx:pt idx="60222">4</cx:pt>
          <cx:pt idx="60223">3</cx:pt>
          <cx:pt idx="60224">4</cx:pt>
          <cx:pt idx="60225">2</cx:pt>
          <cx:pt idx="60226">3</cx:pt>
          <cx:pt idx="60227">5</cx:pt>
          <cx:pt idx="60228">1</cx:pt>
          <cx:pt idx="60229">5</cx:pt>
          <cx:pt idx="60230">2</cx:pt>
          <cx:pt idx="60231">4</cx:pt>
          <cx:pt idx="60232">3</cx:pt>
          <cx:pt idx="60233">5</cx:pt>
          <cx:pt idx="60234">1</cx:pt>
          <cx:pt idx="60235">5</cx:pt>
          <cx:pt idx="60236">1</cx:pt>
          <cx:pt idx="60237">5</cx:pt>
          <cx:pt idx="60238">3</cx:pt>
          <cx:pt idx="60239">2</cx:pt>
          <cx:pt idx="60240">2</cx:pt>
          <cx:pt idx="60241">1</cx:pt>
          <cx:pt idx="60242">4</cx:pt>
          <cx:pt idx="60243">2</cx:pt>
          <cx:pt idx="60244">3</cx:pt>
          <cx:pt idx="60245">5</cx:pt>
          <cx:pt idx="60246">5</cx:pt>
          <cx:pt idx="60247">5</cx:pt>
          <cx:pt idx="60248">4</cx:pt>
          <cx:pt idx="60249">5</cx:pt>
          <cx:pt idx="60250">3</cx:pt>
          <cx:pt idx="60251">3</cx:pt>
          <cx:pt idx="60252">3</cx:pt>
          <cx:pt idx="60253">3</cx:pt>
          <cx:pt idx="60254">0</cx:pt>
          <cx:pt idx="60255">5</cx:pt>
          <cx:pt idx="60256">2</cx:pt>
          <cx:pt idx="60257">2</cx:pt>
          <cx:pt idx="60258">3</cx:pt>
          <cx:pt idx="60259">5</cx:pt>
          <cx:pt idx="60260">4</cx:pt>
          <cx:pt idx="60261">4</cx:pt>
          <cx:pt idx="60262">4</cx:pt>
          <cx:pt idx="60263">3</cx:pt>
          <cx:pt idx="60264">4</cx:pt>
          <cx:pt idx="60265">0</cx:pt>
          <cx:pt idx="60266">3</cx:pt>
          <cx:pt idx="60267">3</cx:pt>
          <cx:pt idx="60268">3</cx:pt>
          <cx:pt idx="60269">1</cx:pt>
          <cx:pt idx="60270">4</cx:pt>
          <cx:pt idx="60271">3</cx:pt>
          <cx:pt idx="60272">0</cx:pt>
          <cx:pt idx="60273">3</cx:pt>
          <cx:pt idx="60274">2</cx:pt>
          <cx:pt idx="60275">2</cx:pt>
          <cx:pt idx="60276">2</cx:pt>
          <cx:pt idx="60277">3</cx:pt>
          <cx:pt idx="60278">3</cx:pt>
          <cx:pt idx="60279">4</cx:pt>
          <cx:pt idx="60280">3</cx:pt>
          <cx:pt idx="60281">1</cx:pt>
          <cx:pt idx="60282">3</cx:pt>
          <cx:pt idx="60283">4</cx:pt>
          <cx:pt idx="60284">5</cx:pt>
          <cx:pt idx="60285">3</cx:pt>
          <cx:pt idx="60286">1</cx:pt>
          <cx:pt idx="60287">1</cx:pt>
          <cx:pt idx="60288">2</cx:pt>
          <cx:pt idx="60289">3</cx:pt>
          <cx:pt idx="60290">3</cx:pt>
          <cx:pt idx="60291">1</cx:pt>
          <cx:pt idx="60292">2</cx:pt>
          <cx:pt idx="60293">4</cx:pt>
          <cx:pt idx="60294">3</cx:pt>
          <cx:pt idx="60295">3</cx:pt>
          <cx:pt idx="60296">3</cx:pt>
          <cx:pt idx="60297">2</cx:pt>
          <cx:pt idx="60298">1</cx:pt>
          <cx:pt idx="60299">1</cx:pt>
          <cx:pt idx="60300">5</cx:pt>
          <cx:pt idx="60301">4</cx:pt>
          <cx:pt idx="60302">3</cx:pt>
          <cx:pt idx="60303">2</cx:pt>
          <cx:pt idx="60304">1</cx:pt>
          <cx:pt idx="60305">3</cx:pt>
          <cx:pt idx="60306">3</cx:pt>
          <cx:pt idx="60307">1</cx:pt>
          <cx:pt idx="60308">2</cx:pt>
          <cx:pt idx="60309">4</cx:pt>
          <cx:pt idx="60310">3</cx:pt>
          <cx:pt idx="60311">4</cx:pt>
          <cx:pt idx="60312">1</cx:pt>
          <cx:pt idx="60313">2</cx:pt>
          <cx:pt idx="60314">5</cx:pt>
          <cx:pt idx="60315">1</cx:pt>
          <cx:pt idx="60316">2</cx:pt>
          <cx:pt idx="60317">4</cx:pt>
          <cx:pt idx="60318">4</cx:pt>
          <cx:pt idx="60319">2</cx:pt>
          <cx:pt idx="60320">2</cx:pt>
          <cx:pt idx="60321">3</cx:pt>
          <cx:pt idx="60322">4</cx:pt>
          <cx:pt idx="60323">0</cx:pt>
          <cx:pt idx="60324">4</cx:pt>
          <cx:pt idx="60325">1</cx:pt>
          <cx:pt idx="60326">2</cx:pt>
          <cx:pt idx="60327">1</cx:pt>
          <cx:pt idx="60328">3</cx:pt>
          <cx:pt idx="60329">1</cx:pt>
          <cx:pt idx="60330">3</cx:pt>
          <cx:pt idx="60331">1</cx:pt>
          <cx:pt idx="60332">5</cx:pt>
          <cx:pt idx="60333">3</cx:pt>
          <cx:pt idx="60334">1</cx:pt>
          <cx:pt idx="60335">1</cx:pt>
          <cx:pt idx="60336">3</cx:pt>
          <cx:pt idx="60337">1</cx:pt>
          <cx:pt idx="60338">2</cx:pt>
          <cx:pt idx="60339">4</cx:pt>
          <cx:pt idx="60340">4</cx:pt>
          <cx:pt idx="60341">5</cx:pt>
          <cx:pt idx="60342">2</cx:pt>
          <cx:pt idx="60343">2</cx:pt>
          <cx:pt idx="60344">3</cx:pt>
          <cx:pt idx="60345">1</cx:pt>
          <cx:pt idx="60346">1</cx:pt>
          <cx:pt idx="60347">4</cx:pt>
          <cx:pt idx="60348">5</cx:pt>
          <cx:pt idx="60349">3</cx:pt>
          <cx:pt idx="60350">3</cx:pt>
          <cx:pt idx="60351">5</cx:pt>
          <cx:pt idx="60352">2</cx:pt>
          <cx:pt idx="60353">0</cx:pt>
          <cx:pt idx="60354">0</cx:pt>
          <cx:pt idx="60355">0</cx:pt>
          <cx:pt idx="60356">3</cx:pt>
          <cx:pt idx="60357">3</cx:pt>
          <cx:pt idx="60358">2</cx:pt>
          <cx:pt idx="60359">5</cx:pt>
          <cx:pt idx="60360">3</cx:pt>
          <cx:pt idx="60361">4</cx:pt>
          <cx:pt idx="60362">5</cx:pt>
          <cx:pt idx="60363">4</cx:pt>
          <cx:pt idx="60364">1</cx:pt>
          <cx:pt idx="60365">2</cx:pt>
          <cx:pt idx="60366">5</cx:pt>
          <cx:pt idx="60367">1</cx:pt>
          <cx:pt idx="60368">4</cx:pt>
          <cx:pt idx="60369">1</cx:pt>
          <cx:pt idx="60370">1</cx:pt>
          <cx:pt idx="60371">3</cx:pt>
          <cx:pt idx="60372">4</cx:pt>
          <cx:pt idx="60373">5</cx:pt>
          <cx:pt idx="60374">4</cx:pt>
          <cx:pt idx="60375">0</cx:pt>
          <cx:pt idx="60376">1</cx:pt>
          <cx:pt idx="60377">3</cx:pt>
          <cx:pt idx="60378">2</cx:pt>
          <cx:pt idx="60379">5</cx:pt>
          <cx:pt idx="60380">2</cx:pt>
          <cx:pt idx="60381">1</cx:pt>
          <cx:pt idx="60382">3</cx:pt>
          <cx:pt idx="60383">3</cx:pt>
          <cx:pt idx="60384">1</cx:pt>
          <cx:pt idx="60385">3</cx:pt>
          <cx:pt idx="60386">0</cx:pt>
          <cx:pt idx="60387">4</cx:pt>
          <cx:pt idx="60388">2</cx:pt>
          <cx:pt idx="60389">0</cx:pt>
          <cx:pt idx="60390">1</cx:pt>
          <cx:pt idx="60391">2</cx:pt>
          <cx:pt idx="60392">2</cx:pt>
          <cx:pt idx="60393">4</cx:pt>
          <cx:pt idx="60394">5</cx:pt>
          <cx:pt idx="60395">2</cx:pt>
          <cx:pt idx="60396">2</cx:pt>
          <cx:pt idx="60397">4</cx:pt>
          <cx:pt idx="60398">1</cx:pt>
          <cx:pt idx="60399">3</cx:pt>
          <cx:pt idx="60400">3</cx:pt>
          <cx:pt idx="60401">1</cx:pt>
          <cx:pt idx="60402">1</cx:pt>
          <cx:pt idx="60403">2</cx:pt>
          <cx:pt idx="60404">1</cx:pt>
          <cx:pt idx="60405">5</cx:pt>
          <cx:pt idx="60406">4</cx:pt>
          <cx:pt idx="60407">3</cx:pt>
          <cx:pt idx="60408">2</cx:pt>
          <cx:pt idx="60409">2</cx:pt>
          <cx:pt idx="60410">3</cx:pt>
          <cx:pt idx="60411">5</cx:pt>
          <cx:pt idx="60412">2</cx:pt>
          <cx:pt idx="60413">3</cx:pt>
          <cx:pt idx="60414">3</cx:pt>
          <cx:pt idx="60415">2</cx:pt>
          <cx:pt idx="60416">3</cx:pt>
          <cx:pt idx="60417">3</cx:pt>
          <cx:pt idx="60418">1</cx:pt>
          <cx:pt idx="60419">5</cx:pt>
          <cx:pt idx="60420">4</cx:pt>
          <cx:pt idx="60421">3</cx:pt>
          <cx:pt idx="60422">4</cx:pt>
          <cx:pt idx="60423">2</cx:pt>
          <cx:pt idx="60424">4</cx:pt>
          <cx:pt idx="60425">2</cx:pt>
          <cx:pt idx="60426">4</cx:pt>
          <cx:pt idx="60427">3</cx:pt>
          <cx:pt idx="60428">4</cx:pt>
          <cx:pt idx="60429">2</cx:pt>
          <cx:pt idx="60430">4</cx:pt>
          <cx:pt idx="60431">3</cx:pt>
          <cx:pt idx="60432">3</cx:pt>
          <cx:pt idx="60433">1</cx:pt>
          <cx:pt idx="60434">5</cx:pt>
          <cx:pt idx="60435">4</cx:pt>
          <cx:pt idx="60436">2</cx:pt>
          <cx:pt idx="60437">3</cx:pt>
          <cx:pt idx="60438">2</cx:pt>
          <cx:pt idx="60439">5</cx:pt>
          <cx:pt idx="60440">2</cx:pt>
          <cx:pt idx="60441">2</cx:pt>
          <cx:pt idx="60442">4</cx:pt>
          <cx:pt idx="60443">1</cx:pt>
          <cx:pt idx="60444">1</cx:pt>
          <cx:pt idx="60445">4</cx:pt>
          <cx:pt idx="60446">0</cx:pt>
          <cx:pt idx="60447">2</cx:pt>
          <cx:pt idx="60448">3</cx:pt>
          <cx:pt idx="60449">5</cx:pt>
          <cx:pt idx="60450">1</cx:pt>
          <cx:pt idx="60451">4</cx:pt>
          <cx:pt idx="60452">4</cx:pt>
          <cx:pt idx="60453">1</cx:pt>
          <cx:pt idx="60454">4</cx:pt>
          <cx:pt idx="60455">2</cx:pt>
          <cx:pt idx="60456">2</cx:pt>
          <cx:pt idx="60457">2</cx:pt>
          <cx:pt idx="60458">3</cx:pt>
          <cx:pt idx="60459">1</cx:pt>
          <cx:pt idx="60460">3</cx:pt>
          <cx:pt idx="60461">1</cx:pt>
          <cx:pt idx="60462">3</cx:pt>
          <cx:pt idx="60463">5</cx:pt>
          <cx:pt idx="60464">1</cx:pt>
          <cx:pt idx="60465">1</cx:pt>
          <cx:pt idx="60466">1</cx:pt>
          <cx:pt idx="60467">4</cx:pt>
          <cx:pt idx="60468">2</cx:pt>
          <cx:pt idx="60469">2</cx:pt>
          <cx:pt idx="60470">4</cx:pt>
          <cx:pt idx="60471">1</cx:pt>
          <cx:pt idx="60472">3</cx:pt>
          <cx:pt idx="60473">3</cx:pt>
          <cx:pt idx="60474">2</cx:pt>
          <cx:pt idx="60475">4</cx:pt>
          <cx:pt idx="60476">3</cx:pt>
          <cx:pt idx="60477">4</cx:pt>
          <cx:pt idx="60478">1</cx:pt>
          <cx:pt idx="60479">5</cx:pt>
          <cx:pt idx="60480">2</cx:pt>
          <cx:pt idx="60481">4</cx:pt>
          <cx:pt idx="60482">4</cx:pt>
          <cx:pt idx="60483">3</cx:pt>
          <cx:pt idx="60484">3</cx:pt>
          <cx:pt idx="60485">0</cx:pt>
          <cx:pt idx="60486">3</cx:pt>
          <cx:pt idx="60487">2</cx:pt>
          <cx:pt idx="60488">4</cx:pt>
          <cx:pt idx="60489">3</cx:pt>
          <cx:pt idx="60490">3</cx:pt>
          <cx:pt idx="60491">1</cx:pt>
          <cx:pt idx="60492">0</cx:pt>
          <cx:pt idx="60493">1</cx:pt>
          <cx:pt idx="60494">5</cx:pt>
          <cx:pt idx="60495">3</cx:pt>
          <cx:pt idx="60496">3</cx:pt>
          <cx:pt idx="60497">4</cx:pt>
          <cx:pt idx="60498">2</cx:pt>
          <cx:pt idx="60499">3</cx:pt>
          <cx:pt idx="60500">2</cx:pt>
          <cx:pt idx="60501">2</cx:pt>
          <cx:pt idx="60502">3</cx:pt>
          <cx:pt idx="60503">3</cx:pt>
          <cx:pt idx="60504">3</cx:pt>
          <cx:pt idx="60505">5</cx:pt>
          <cx:pt idx="60506">5</cx:pt>
          <cx:pt idx="60507">2</cx:pt>
          <cx:pt idx="60508">4</cx:pt>
          <cx:pt idx="60509">5</cx:pt>
          <cx:pt idx="60510">2</cx:pt>
          <cx:pt idx="60511">1</cx:pt>
          <cx:pt idx="60512">2</cx:pt>
          <cx:pt idx="60513">1</cx:pt>
          <cx:pt idx="60514">4</cx:pt>
          <cx:pt idx="60515">1</cx:pt>
          <cx:pt idx="60516">1</cx:pt>
          <cx:pt idx="60517">4</cx:pt>
          <cx:pt idx="60518">4</cx:pt>
          <cx:pt idx="60519">4</cx:pt>
          <cx:pt idx="60520">5</cx:pt>
          <cx:pt idx="60521">2</cx:pt>
          <cx:pt idx="60522">0</cx:pt>
          <cx:pt idx="60523">2</cx:pt>
          <cx:pt idx="60524">2</cx:pt>
          <cx:pt idx="60525">5</cx:pt>
          <cx:pt idx="60526">3</cx:pt>
          <cx:pt idx="60527">4</cx:pt>
          <cx:pt idx="60528">5</cx:pt>
          <cx:pt idx="60529">5</cx:pt>
          <cx:pt idx="60530">3</cx:pt>
          <cx:pt idx="60531">1</cx:pt>
          <cx:pt idx="60532">4</cx:pt>
          <cx:pt idx="60533">3</cx:pt>
          <cx:pt idx="60534">2</cx:pt>
          <cx:pt idx="60535">1</cx:pt>
          <cx:pt idx="60536">2</cx:pt>
          <cx:pt idx="60537">0</cx:pt>
          <cx:pt idx="60538">3</cx:pt>
          <cx:pt idx="60539">5</cx:pt>
          <cx:pt idx="60540">2</cx:pt>
          <cx:pt idx="60541">1</cx:pt>
          <cx:pt idx="60542">3</cx:pt>
          <cx:pt idx="60543">5</cx:pt>
          <cx:pt idx="60544">3</cx:pt>
          <cx:pt idx="60545">3</cx:pt>
          <cx:pt idx="60546">1</cx:pt>
          <cx:pt idx="60547">3</cx:pt>
          <cx:pt idx="60548">5</cx:pt>
          <cx:pt idx="60549">4</cx:pt>
          <cx:pt idx="60550">2</cx:pt>
          <cx:pt idx="60551">2</cx:pt>
          <cx:pt idx="60552">5</cx:pt>
          <cx:pt idx="60553">3</cx:pt>
          <cx:pt idx="60554">4</cx:pt>
          <cx:pt idx="60555">5</cx:pt>
          <cx:pt idx="60556">1</cx:pt>
          <cx:pt idx="60557">4</cx:pt>
          <cx:pt idx="60558">2</cx:pt>
          <cx:pt idx="60559">1</cx:pt>
          <cx:pt idx="60560">1</cx:pt>
          <cx:pt idx="60561">1</cx:pt>
          <cx:pt idx="60562">2</cx:pt>
          <cx:pt idx="60563">3</cx:pt>
          <cx:pt idx="60564">2</cx:pt>
          <cx:pt idx="60565">3</cx:pt>
          <cx:pt idx="60566">4</cx:pt>
          <cx:pt idx="60567">3</cx:pt>
          <cx:pt idx="60568">0</cx:pt>
          <cx:pt idx="60569">2</cx:pt>
          <cx:pt idx="60570">4</cx:pt>
          <cx:pt idx="60571">3</cx:pt>
          <cx:pt idx="60572">5</cx:pt>
          <cx:pt idx="60573">3</cx:pt>
          <cx:pt idx="60574">5</cx:pt>
          <cx:pt idx="60575">2</cx:pt>
          <cx:pt idx="60576">2</cx:pt>
          <cx:pt idx="60577">0</cx:pt>
          <cx:pt idx="60578">2</cx:pt>
          <cx:pt idx="60579">3</cx:pt>
          <cx:pt idx="60580">2</cx:pt>
          <cx:pt idx="60581">1</cx:pt>
          <cx:pt idx="60582">3</cx:pt>
          <cx:pt idx="60583">1</cx:pt>
          <cx:pt idx="60584">5</cx:pt>
          <cx:pt idx="60585">3</cx:pt>
          <cx:pt idx="60586">4</cx:pt>
          <cx:pt idx="60587">2</cx:pt>
          <cx:pt idx="60588">3</cx:pt>
          <cx:pt idx="60589">2</cx:pt>
          <cx:pt idx="60590">1</cx:pt>
          <cx:pt idx="60591">2</cx:pt>
          <cx:pt idx="60592">5</cx:pt>
          <cx:pt idx="60593">0</cx:pt>
          <cx:pt idx="60594">2</cx:pt>
          <cx:pt idx="60595">1</cx:pt>
          <cx:pt idx="60596">0</cx:pt>
          <cx:pt idx="60597">2</cx:pt>
          <cx:pt idx="60598">4</cx:pt>
          <cx:pt idx="60599">5</cx:pt>
          <cx:pt idx="60600">4</cx:pt>
          <cx:pt idx="60601">4</cx:pt>
          <cx:pt idx="60602">4</cx:pt>
          <cx:pt idx="60603">2</cx:pt>
          <cx:pt idx="60604">1</cx:pt>
          <cx:pt idx="60605">1</cx:pt>
          <cx:pt idx="60606">2</cx:pt>
          <cx:pt idx="60607">2</cx:pt>
          <cx:pt idx="60608">2</cx:pt>
          <cx:pt idx="60609">3</cx:pt>
          <cx:pt idx="60610">1</cx:pt>
          <cx:pt idx="60611">1</cx:pt>
          <cx:pt idx="60612">2</cx:pt>
          <cx:pt idx="60613">2</cx:pt>
          <cx:pt idx="60614">2</cx:pt>
          <cx:pt idx="60615">5</cx:pt>
          <cx:pt idx="60616">3</cx:pt>
          <cx:pt idx="60617">0</cx:pt>
          <cx:pt idx="60618">3</cx:pt>
          <cx:pt idx="60619">2</cx:pt>
          <cx:pt idx="60620">1</cx:pt>
          <cx:pt idx="60621">0</cx:pt>
          <cx:pt idx="60622">2</cx:pt>
          <cx:pt idx="60623">3</cx:pt>
          <cx:pt idx="60624">4</cx:pt>
          <cx:pt idx="60625">3</cx:pt>
          <cx:pt idx="60626">1</cx:pt>
          <cx:pt idx="60627">5</cx:pt>
          <cx:pt idx="60628">4</cx:pt>
          <cx:pt idx="60629">3</cx:pt>
          <cx:pt idx="60630">1</cx:pt>
          <cx:pt idx="60631">4</cx:pt>
          <cx:pt idx="60632">2</cx:pt>
          <cx:pt idx="60633">2</cx:pt>
          <cx:pt idx="60634">3</cx:pt>
          <cx:pt idx="60635">3</cx:pt>
          <cx:pt idx="60636">3</cx:pt>
          <cx:pt idx="60637">1</cx:pt>
          <cx:pt idx="60638">4</cx:pt>
          <cx:pt idx="60639">5</cx:pt>
          <cx:pt idx="60640">3</cx:pt>
          <cx:pt idx="60641">3</cx:pt>
          <cx:pt idx="60642">5</cx:pt>
          <cx:pt idx="60643">2</cx:pt>
          <cx:pt idx="60644">2</cx:pt>
          <cx:pt idx="60645">4</cx:pt>
          <cx:pt idx="60646">0</cx:pt>
          <cx:pt idx="60647">0</cx:pt>
          <cx:pt idx="60648">4</cx:pt>
          <cx:pt idx="60649">4</cx:pt>
          <cx:pt idx="60650">3</cx:pt>
          <cx:pt idx="60651">4</cx:pt>
          <cx:pt idx="60652">2</cx:pt>
          <cx:pt idx="60653">3</cx:pt>
          <cx:pt idx="60654">1</cx:pt>
          <cx:pt idx="60655">5</cx:pt>
          <cx:pt idx="60656">1</cx:pt>
          <cx:pt idx="60657">5</cx:pt>
          <cx:pt idx="60658">3</cx:pt>
          <cx:pt idx="60659">1</cx:pt>
          <cx:pt idx="60660">1</cx:pt>
          <cx:pt idx="60661">3</cx:pt>
          <cx:pt idx="60662">3</cx:pt>
          <cx:pt idx="60663">2</cx:pt>
          <cx:pt idx="60664">3</cx:pt>
          <cx:pt idx="60665">5</cx:pt>
          <cx:pt idx="60666">3</cx:pt>
          <cx:pt idx="60667">3</cx:pt>
          <cx:pt idx="60668">4</cx:pt>
          <cx:pt idx="60669">2</cx:pt>
          <cx:pt idx="60670">1</cx:pt>
          <cx:pt idx="60671">3</cx:pt>
          <cx:pt idx="60672">5</cx:pt>
          <cx:pt idx="60673">5</cx:pt>
          <cx:pt idx="60674">1</cx:pt>
          <cx:pt idx="60675">2</cx:pt>
          <cx:pt idx="60676">1</cx:pt>
          <cx:pt idx="60677">0</cx:pt>
          <cx:pt idx="60678">2</cx:pt>
          <cx:pt idx="60679">5</cx:pt>
          <cx:pt idx="60680">1</cx:pt>
          <cx:pt idx="60681">1</cx:pt>
          <cx:pt idx="60682">3</cx:pt>
          <cx:pt idx="60683">2</cx:pt>
          <cx:pt idx="60684">3</cx:pt>
          <cx:pt idx="60685">2</cx:pt>
          <cx:pt idx="60686">2</cx:pt>
          <cx:pt idx="60687">4</cx:pt>
          <cx:pt idx="60688">3</cx:pt>
          <cx:pt idx="60689">5</cx:pt>
          <cx:pt idx="60690">2</cx:pt>
          <cx:pt idx="60691">2</cx:pt>
          <cx:pt idx="60692">2</cx:pt>
          <cx:pt idx="60693">2</cx:pt>
          <cx:pt idx="60694">3</cx:pt>
          <cx:pt idx="60695">1</cx:pt>
          <cx:pt idx="60696">0</cx:pt>
          <cx:pt idx="60697">2</cx:pt>
          <cx:pt idx="60698">0</cx:pt>
          <cx:pt idx="60699">4</cx:pt>
          <cx:pt idx="60700">4</cx:pt>
          <cx:pt idx="60701">5</cx:pt>
          <cx:pt idx="60702">3</cx:pt>
          <cx:pt idx="60703">5</cx:pt>
          <cx:pt idx="60704">4</cx:pt>
          <cx:pt idx="60705">2</cx:pt>
          <cx:pt idx="60706">1</cx:pt>
          <cx:pt idx="60707">1</cx:pt>
          <cx:pt idx="60708">3</cx:pt>
          <cx:pt idx="60709">2</cx:pt>
          <cx:pt idx="60710">4</cx:pt>
          <cx:pt idx="60711">5</cx:pt>
          <cx:pt idx="60712">4</cx:pt>
          <cx:pt idx="60713">3</cx:pt>
          <cx:pt idx="60714">3</cx:pt>
          <cx:pt idx="60715">4</cx:pt>
          <cx:pt idx="60716">3</cx:pt>
          <cx:pt idx="60717">3</cx:pt>
          <cx:pt idx="60718">4</cx:pt>
          <cx:pt idx="60719">4</cx:pt>
          <cx:pt idx="60720">3</cx:pt>
          <cx:pt idx="60721">3</cx:pt>
          <cx:pt idx="60722">0</cx:pt>
          <cx:pt idx="60723">2</cx:pt>
          <cx:pt idx="60724">3</cx:pt>
          <cx:pt idx="60725">0</cx:pt>
          <cx:pt idx="60726">1</cx:pt>
          <cx:pt idx="60727">1</cx:pt>
          <cx:pt idx="60728">1</cx:pt>
          <cx:pt idx="60729">4</cx:pt>
          <cx:pt idx="60730">4</cx:pt>
          <cx:pt idx="60731">3</cx:pt>
          <cx:pt idx="60732">1</cx:pt>
          <cx:pt idx="60733">5</cx:pt>
          <cx:pt idx="60734">2</cx:pt>
          <cx:pt idx="60735">4</cx:pt>
          <cx:pt idx="60736">4</cx:pt>
          <cx:pt idx="60737">2</cx:pt>
          <cx:pt idx="60738">1</cx:pt>
          <cx:pt idx="60739">4</cx:pt>
          <cx:pt idx="60740">1</cx:pt>
          <cx:pt idx="60741">4</cx:pt>
          <cx:pt idx="60742">2</cx:pt>
          <cx:pt idx="60743">1</cx:pt>
          <cx:pt idx="60744">1</cx:pt>
          <cx:pt idx="60745">0</cx:pt>
          <cx:pt idx="60746">3</cx:pt>
          <cx:pt idx="60747">3</cx:pt>
          <cx:pt idx="60748">1</cx:pt>
          <cx:pt idx="60749">1</cx:pt>
          <cx:pt idx="60750">4</cx:pt>
          <cx:pt idx="60751">0</cx:pt>
          <cx:pt idx="60752">3</cx:pt>
          <cx:pt idx="60753">3</cx:pt>
          <cx:pt idx="60754">3</cx:pt>
          <cx:pt idx="60755">2</cx:pt>
          <cx:pt idx="60756">5</cx:pt>
          <cx:pt idx="60757">2</cx:pt>
          <cx:pt idx="60758">3</cx:pt>
          <cx:pt idx="60759">3</cx:pt>
          <cx:pt idx="60760">3</cx:pt>
          <cx:pt idx="60761">2</cx:pt>
          <cx:pt idx="60762">1</cx:pt>
          <cx:pt idx="60763">3</cx:pt>
          <cx:pt idx="60764">2</cx:pt>
          <cx:pt idx="60765">3</cx:pt>
          <cx:pt idx="60766">1</cx:pt>
          <cx:pt idx="60767">3</cx:pt>
          <cx:pt idx="60768">2</cx:pt>
          <cx:pt idx="60769">1</cx:pt>
          <cx:pt idx="60770">4</cx:pt>
          <cx:pt idx="60771">2</cx:pt>
          <cx:pt idx="60772">0</cx:pt>
          <cx:pt idx="60773">5</cx:pt>
          <cx:pt idx="60774">1</cx:pt>
          <cx:pt idx="60775">1</cx:pt>
          <cx:pt idx="60776">1</cx:pt>
          <cx:pt idx="60777">4</cx:pt>
          <cx:pt idx="60778">4</cx:pt>
          <cx:pt idx="60779">1</cx:pt>
          <cx:pt idx="60780">4</cx:pt>
          <cx:pt idx="60781">2</cx:pt>
          <cx:pt idx="60782">0</cx:pt>
          <cx:pt idx="60783">2</cx:pt>
          <cx:pt idx="60784">4</cx:pt>
          <cx:pt idx="60785">3</cx:pt>
          <cx:pt idx="60786">5</cx:pt>
          <cx:pt idx="60787">1</cx:pt>
          <cx:pt idx="60788">1</cx:pt>
          <cx:pt idx="60789">4</cx:pt>
          <cx:pt idx="60790">2</cx:pt>
          <cx:pt idx="60791">4</cx:pt>
          <cx:pt idx="60792">2</cx:pt>
          <cx:pt idx="60793">1</cx:pt>
          <cx:pt idx="60794">2</cx:pt>
          <cx:pt idx="60795">3</cx:pt>
          <cx:pt idx="60796">4</cx:pt>
          <cx:pt idx="60797">3</cx:pt>
          <cx:pt idx="60798">4</cx:pt>
          <cx:pt idx="60799">2</cx:pt>
          <cx:pt idx="60800">1</cx:pt>
          <cx:pt idx="60801">2</cx:pt>
          <cx:pt idx="60802">4</cx:pt>
          <cx:pt idx="60803">4</cx:pt>
          <cx:pt idx="60804">3</cx:pt>
          <cx:pt idx="60805">1</cx:pt>
          <cx:pt idx="60806">3</cx:pt>
          <cx:pt idx="60807">2</cx:pt>
          <cx:pt idx="60808">3</cx:pt>
          <cx:pt idx="60809">4</cx:pt>
          <cx:pt idx="60810">2</cx:pt>
          <cx:pt idx="60811">3</cx:pt>
          <cx:pt idx="60812">2</cx:pt>
          <cx:pt idx="60813">1</cx:pt>
          <cx:pt idx="60814">2</cx:pt>
          <cx:pt idx="60815">3</cx:pt>
          <cx:pt idx="60816">2</cx:pt>
          <cx:pt idx="60817">2</cx:pt>
          <cx:pt idx="60818">3</cx:pt>
          <cx:pt idx="60819">3</cx:pt>
          <cx:pt idx="60820">4</cx:pt>
          <cx:pt idx="60821">0</cx:pt>
          <cx:pt idx="60822">3</cx:pt>
          <cx:pt idx="60823">0</cx:pt>
          <cx:pt idx="60824">3</cx:pt>
          <cx:pt idx="60825">4</cx:pt>
          <cx:pt idx="60826">5</cx:pt>
          <cx:pt idx="60827">2</cx:pt>
          <cx:pt idx="60828">4</cx:pt>
          <cx:pt idx="60829">1</cx:pt>
          <cx:pt idx="60830">2</cx:pt>
          <cx:pt idx="60831">5</cx:pt>
          <cx:pt idx="60832">3</cx:pt>
          <cx:pt idx="60833">3</cx:pt>
          <cx:pt idx="60834">5</cx:pt>
          <cx:pt idx="60835">5</cx:pt>
          <cx:pt idx="60836">3</cx:pt>
          <cx:pt idx="60837">3</cx:pt>
          <cx:pt idx="60838">3</cx:pt>
          <cx:pt idx="60839">3</cx:pt>
          <cx:pt idx="60840">1</cx:pt>
          <cx:pt idx="60841">2</cx:pt>
          <cx:pt idx="60842">0</cx:pt>
          <cx:pt idx="60843">1</cx:pt>
          <cx:pt idx="60844">2</cx:pt>
          <cx:pt idx="60845">1</cx:pt>
          <cx:pt idx="60846">1</cx:pt>
          <cx:pt idx="60847">3</cx:pt>
          <cx:pt idx="60848">5</cx:pt>
          <cx:pt idx="60849">5</cx:pt>
          <cx:pt idx="60850">5</cx:pt>
          <cx:pt idx="60851">2</cx:pt>
          <cx:pt idx="60852">2</cx:pt>
          <cx:pt idx="60853">4</cx:pt>
          <cx:pt idx="60854">3</cx:pt>
          <cx:pt idx="60855">2</cx:pt>
          <cx:pt idx="60856">3</cx:pt>
          <cx:pt idx="60857">3</cx:pt>
          <cx:pt idx="60858">5</cx:pt>
          <cx:pt idx="60859">3</cx:pt>
          <cx:pt idx="60860">0</cx:pt>
          <cx:pt idx="60861">2</cx:pt>
          <cx:pt idx="60862">3</cx:pt>
          <cx:pt idx="60863">4</cx:pt>
          <cx:pt idx="60864">5</cx:pt>
          <cx:pt idx="60865">4</cx:pt>
          <cx:pt idx="60866">5</cx:pt>
          <cx:pt idx="60867">1</cx:pt>
          <cx:pt idx="60868">5</cx:pt>
          <cx:pt idx="60869">3</cx:pt>
          <cx:pt idx="60870">4</cx:pt>
          <cx:pt idx="60871">3</cx:pt>
          <cx:pt idx="60872">4</cx:pt>
          <cx:pt idx="60873">2</cx:pt>
          <cx:pt idx="60874">4</cx:pt>
          <cx:pt idx="60875">4</cx:pt>
          <cx:pt idx="60876">2</cx:pt>
          <cx:pt idx="60877">1</cx:pt>
          <cx:pt idx="60878">3</cx:pt>
          <cx:pt idx="60879">2</cx:pt>
          <cx:pt idx="60880">4</cx:pt>
          <cx:pt idx="60881">4</cx:pt>
          <cx:pt idx="60882">5</cx:pt>
          <cx:pt idx="60883">4</cx:pt>
          <cx:pt idx="60884">4</cx:pt>
          <cx:pt idx="60885">5</cx:pt>
          <cx:pt idx="60886">5</cx:pt>
          <cx:pt idx="60887">3</cx:pt>
          <cx:pt idx="60888">4</cx:pt>
          <cx:pt idx="60889">2</cx:pt>
          <cx:pt idx="60890">3</cx:pt>
          <cx:pt idx="60891">3</cx:pt>
          <cx:pt idx="60892">1</cx:pt>
          <cx:pt idx="60893">2</cx:pt>
          <cx:pt idx="60894">1</cx:pt>
          <cx:pt idx="60895">2</cx:pt>
          <cx:pt idx="60896">0</cx:pt>
          <cx:pt idx="60897">4</cx:pt>
          <cx:pt idx="60898">4</cx:pt>
          <cx:pt idx="60899">3</cx:pt>
          <cx:pt idx="60900">3</cx:pt>
          <cx:pt idx="60901">4</cx:pt>
          <cx:pt idx="60902">3</cx:pt>
          <cx:pt idx="60903">4</cx:pt>
          <cx:pt idx="60904">2</cx:pt>
          <cx:pt idx="60905">3</cx:pt>
          <cx:pt idx="60906">5</cx:pt>
          <cx:pt idx="60907">4</cx:pt>
          <cx:pt idx="60908">2</cx:pt>
          <cx:pt idx="60909">4</cx:pt>
          <cx:pt idx="60910">4</cx:pt>
          <cx:pt idx="60911">2</cx:pt>
          <cx:pt idx="60912">5</cx:pt>
          <cx:pt idx="60913">4</cx:pt>
          <cx:pt idx="60914">2</cx:pt>
          <cx:pt idx="60915">5</cx:pt>
          <cx:pt idx="60916">3</cx:pt>
          <cx:pt idx="60917">3</cx:pt>
          <cx:pt idx="60918">5</cx:pt>
          <cx:pt idx="60919">4</cx:pt>
          <cx:pt idx="60920">2</cx:pt>
          <cx:pt idx="60921">1</cx:pt>
          <cx:pt idx="60922">3</cx:pt>
          <cx:pt idx="60923">2</cx:pt>
          <cx:pt idx="60924">5</cx:pt>
          <cx:pt idx="60925">4</cx:pt>
          <cx:pt idx="60926">5</cx:pt>
          <cx:pt idx="60927">5</cx:pt>
          <cx:pt idx="60928">2</cx:pt>
          <cx:pt idx="60929">1</cx:pt>
          <cx:pt idx="60930">4</cx:pt>
          <cx:pt idx="60931">4</cx:pt>
          <cx:pt idx="60932">3</cx:pt>
          <cx:pt idx="60933">1</cx:pt>
          <cx:pt idx="60934">2</cx:pt>
          <cx:pt idx="60935">2</cx:pt>
          <cx:pt idx="60936">4</cx:pt>
          <cx:pt idx="60937">3</cx:pt>
          <cx:pt idx="60938">1</cx:pt>
          <cx:pt idx="60939">2</cx:pt>
          <cx:pt idx="60940">2</cx:pt>
          <cx:pt idx="60941">2</cx:pt>
          <cx:pt idx="60942">2</cx:pt>
          <cx:pt idx="60943">2</cx:pt>
          <cx:pt idx="60944">3</cx:pt>
          <cx:pt idx="60945">4</cx:pt>
          <cx:pt idx="60946">2</cx:pt>
          <cx:pt idx="60947">5</cx:pt>
          <cx:pt idx="60948">3</cx:pt>
          <cx:pt idx="60949">4</cx:pt>
          <cx:pt idx="60950">2</cx:pt>
          <cx:pt idx="60951">5</cx:pt>
          <cx:pt idx="60952">4</cx:pt>
          <cx:pt idx="60953">0</cx:pt>
          <cx:pt idx="60954">0</cx:pt>
          <cx:pt idx="60955">3</cx:pt>
          <cx:pt idx="60956">2</cx:pt>
          <cx:pt idx="60957">3</cx:pt>
          <cx:pt idx="60958">3</cx:pt>
          <cx:pt idx="60959">2</cx:pt>
          <cx:pt idx="60960">4</cx:pt>
          <cx:pt idx="60961">0</cx:pt>
          <cx:pt idx="60962">5</cx:pt>
          <cx:pt idx="60963">3</cx:pt>
          <cx:pt idx="60964">2</cx:pt>
          <cx:pt idx="60965">3</cx:pt>
          <cx:pt idx="60966">4</cx:pt>
          <cx:pt idx="60967">1</cx:pt>
          <cx:pt idx="60968">3</cx:pt>
          <cx:pt idx="60969">1</cx:pt>
          <cx:pt idx="60970">2</cx:pt>
          <cx:pt idx="60971">2</cx:pt>
          <cx:pt idx="60972">4</cx:pt>
          <cx:pt idx="60973">1</cx:pt>
          <cx:pt idx="60974">3</cx:pt>
          <cx:pt idx="60975">2</cx:pt>
          <cx:pt idx="60976">2</cx:pt>
          <cx:pt idx="60977">5</cx:pt>
          <cx:pt idx="60978">2</cx:pt>
          <cx:pt idx="60979">4</cx:pt>
          <cx:pt idx="60980">3</cx:pt>
          <cx:pt idx="60981">0</cx:pt>
          <cx:pt idx="60982">4</cx:pt>
          <cx:pt idx="60983">2</cx:pt>
          <cx:pt idx="60984">3</cx:pt>
          <cx:pt idx="60985">5</cx:pt>
          <cx:pt idx="60986">4</cx:pt>
          <cx:pt idx="60987">5</cx:pt>
          <cx:pt idx="60988">0</cx:pt>
          <cx:pt idx="60989">3</cx:pt>
          <cx:pt idx="60990">0</cx:pt>
          <cx:pt idx="60991">4</cx:pt>
          <cx:pt idx="60992">4</cx:pt>
          <cx:pt idx="60993">3</cx:pt>
          <cx:pt idx="60994">2</cx:pt>
          <cx:pt idx="60995">2</cx:pt>
          <cx:pt idx="60996">1</cx:pt>
          <cx:pt idx="60997">1</cx:pt>
          <cx:pt idx="60998">2</cx:pt>
          <cx:pt idx="60999">2</cx:pt>
          <cx:pt idx="61000">3</cx:pt>
          <cx:pt idx="61001">5</cx:pt>
          <cx:pt idx="61002">3</cx:pt>
          <cx:pt idx="61003">4</cx:pt>
          <cx:pt idx="61004">3</cx:pt>
          <cx:pt idx="61005">3</cx:pt>
          <cx:pt idx="61006">4</cx:pt>
          <cx:pt idx="61007">0</cx:pt>
          <cx:pt idx="61008">4</cx:pt>
          <cx:pt idx="61009">3</cx:pt>
          <cx:pt idx="61010">5</cx:pt>
          <cx:pt idx="61011">2</cx:pt>
          <cx:pt idx="61012">3</cx:pt>
          <cx:pt idx="61013">5</cx:pt>
          <cx:pt idx="61014">1</cx:pt>
          <cx:pt idx="61015">4</cx:pt>
          <cx:pt idx="61016">1</cx:pt>
          <cx:pt idx="61017">4</cx:pt>
          <cx:pt idx="61018">1</cx:pt>
          <cx:pt idx="61019">3</cx:pt>
          <cx:pt idx="61020">2</cx:pt>
          <cx:pt idx="61021">5</cx:pt>
          <cx:pt idx="61022">2</cx:pt>
          <cx:pt idx="61023">2</cx:pt>
          <cx:pt idx="61024">1</cx:pt>
          <cx:pt idx="61025">2</cx:pt>
          <cx:pt idx="61026">3</cx:pt>
          <cx:pt idx="61027">3</cx:pt>
          <cx:pt idx="61028">3</cx:pt>
          <cx:pt idx="61029">4</cx:pt>
          <cx:pt idx="61030">3</cx:pt>
          <cx:pt idx="61031">3</cx:pt>
          <cx:pt idx="61032">3</cx:pt>
          <cx:pt idx="61033">5</cx:pt>
          <cx:pt idx="61034">2</cx:pt>
          <cx:pt idx="61035">2</cx:pt>
          <cx:pt idx="61036">2</cx:pt>
          <cx:pt idx="61037">5</cx:pt>
          <cx:pt idx="61038">3</cx:pt>
          <cx:pt idx="61039">2</cx:pt>
          <cx:pt idx="61040">4</cx:pt>
          <cx:pt idx="61041">2</cx:pt>
          <cx:pt idx="61042">3</cx:pt>
          <cx:pt idx="61043">2</cx:pt>
          <cx:pt idx="61044">2</cx:pt>
          <cx:pt idx="61045">2</cx:pt>
          <cx:pt idx="61046">1</cx:pt>
          <cx:pt idx="61047">2</cx:pt>
          <cx:pt idx="61048">3</cx:pt>
          <cx:pt idx="61049">4</cx:pt>
          <cx:pt idx="61050">1</cx:pt>
          <cx:pt idx="61051">4</cx:pt>
          <cx:pt idx="61052">3</cx:pt>
          <cx:pt idx="61053">4</cx:pt>
          <cx:pt idx="61054">2</cx:pt>
          <cx:pt idx="61055">2</cx:pt>
          <cx:pt idx="61056">1</cx:pt>
          <cx:pt idx="61057">2</cx:pt>
          <cx:pt idx="61058">2</cx:pt>
          <cx:pt idx="61059">3</cx:pt>
          <cx:pt idx="61060">4</cx:pt>
          <cx:pt idx="61061">3</cx:pt>
          <cx:pt idx="61062">4</cx:pt>
          <cx:pt idx="61063">4</cx:pt>
          <cx:pt idx="61064">5</cx:pt>
          <cx:pt idx="61065">3</cx:pt>
          <cx:pt idx="61066">3</cx:pt>
          <cx:pt idx="61067">3</cx:pt>
          <cx:pt idx="61068">5</cx:pt>
          <cx:pt idx="61069">3</cx:pt>
          <cx:pt idx="61070">3</cx:pt>
          <cx:pt idx="61071">3</cx:pt>
          <cx:pt idx="61072">3</cx:pt>
          <cx:pt idx="61073">4</cx:pt>
          <cx:pt idx="61074">3</cx:pt>
          <cx:pt idx="61075">1</cx:pt>
          <cx:pt idx="61076">2</cx:pt>
          <cx:pt idx="61077">4</cx:pt>
          <cx:pt idx="61078">3</cx:pt>
          <cx:pt idx="61079">5</cx:pt>
          <cx:pt idx="61080">3</cx:pt>
          <cx:pt idx="61081">3</cx:pt>
          <cx:pt idx="61082">5</cx:pt>
          <cx:pt idx="61083">4</cx:pt>
          <cx:pt idx="61084">4</cx:pt>
          <cx:pt idx="61085">1</cx:pt>
          <cx:pt idx="61086">5</cx:pt>
          <cx:pt idx="61087">1</cx:pt>
          <cx:pt idx="61088">2</cx:pt>
          <cx:pt idx="61089">4</cx:pt>
          <cx:pt idx="61090">1</cx:pt>
          <cx:pt idx="61091">2</cx:pt>
          <cx:pt idx="61092">2</cx:pt>
          <cx:pt idx="61093">3</cx:pt>
          <cx:pt idx="61094">1</cx:pt>
          <cx:pt idx="61095">5</cx:pt>
          <cx:pt idx="61096">3</cx:pt>
          <cx:pt idx="61097">4</cx:pt>
          <cx:pt idx="61098">3</cx:pt>
          <cx:pt idx="61099">4</cx:pt>
          <cx:pt idx="61100">3</cx:pt>
          <cx:pt idx="61101">5</cx:pt>
          <cx:pt idx="61102">4</cx:pt>
          <cx:pt idx="61103">2</cx:pt>
          <cx:pt idx="61104">1</cx:pt>
          <cx:pt idx="61105">1</cx:pt>
          <cx:pt idx="61106">5</cx:pt>
          <cx:pt idx="61107">1</cx:pt>
          <cx:pt idx="61108">1</cx:pt>
          <cx:pt idx="61109">2</cx:pt>
          <cx:pt idx="61110">1</cx:pt>
          <cx:pt idx="61111">1</cx:pt>
          <cx:pt idx="61112">2</cx:pt>
          <cx:pt idx="61113">5</cx:pt>
          <cx:pt idx="61114">4</cx:pt>
          <cx:pt idx="61115">1</cx:pt>
          <cx:pt idx="61116">2</cx:pt>
          <cx:pt idx="61117">2</cx:pt>
          <cx:pt idx="61118">1</cx:pt>
          <cx:pt idx="61119">3</cx:pt>
          <cx:pt idx="61120">3</cx:pt>
          <cx:pt idx="61121">1</cx:pt>
          <cx:pt idx="61122">3</cx:pt>
          <cx:pt idx="61123">4</cx:pt>
          <cx:pt idx="61124">4</cx:pt>
          <cx:pt idx="61125">3</cx:pt>
          <cx:pt idx="61126">1</cx:pt>
          <cx:pt idx="61127">4</cx:pt>
          <cx:pt idx="61128">3</cx:pt>
          <cx:pt idx="61129">2</cx:pt>
          <cx:pt idx="61130">1</cx:pt>
          <cx:pt idx="61131">0</cx:pt>
          <cx:pt idx="61132">4</cx:pt>
          <cx:pt idx="61133">1</cx:pt>
          <cx:pt idx="61134">4</cx:pt>
          <cx:pt idx="61135">3</cx:pt>
          <cx:pt idx="61136">5</cx:pt>
          <cx:pt idx="61137">2</cx:pt>
          <cx:pt idx="61138">1</cx:pt>
          <cx:pt idx="61139">2</cx:pt>
          <cx:pt idx="61140">3</cx:pt>
          <cx:pt idx="61141">1</cx:pt>
          <cx:pt idx="61142">2</cx:pt>
          <cx:pt idx="61143">5</cx:pt>
          <cx:pt idx="61144">3</cx:pt>
          <cx:pt idx="61145">5</cx:pt>
          <cx:pt idx="61146">5</cx:pt>
          <cx:pt idx="61147">2</cx:pt>
          <cx:pt idx="61148">3</cx:pt>
          <cx:pt idx="61149">4</cx:pt>
          <cx:pt idx="61150">4</cx:pt>
          <cx:pt idx="61151">1</cx:pt>
          <cx:pt idx="61152">4</cx:pt>
          <cx:pt idx="61153">5</cx:pt>
          <cx:pt idx="61154">1</cx:pt>
          <cx:pt idx="61155">4</cx:pt>
          <cx:pt idx="61156">3</cx:pt>
          <cx:pt idx="61157">4</cx:pt>
          <cx:pt idx="61158">4</cx:pt>
          <cx:pt idx="61159">1</cx:pt>
          <cx:pt idx="61160">3</cx:pt>
          <cx:pt idx="61161">2</cx:pt>
          <cx:pt idx="61162">3</cx:pt>
          <cx:pt idx="61163">1</cx:pt>
          <cx:pt idx="61164">1</cx:pt>
          <cx:pt idx="61165">4</cx:pt>
          <cx:pt idx="61166">1</cx:pt>
          <cx:pt idx="61167">2</cx:pt>
          <cx:pt idx="61168">1</cx:pt>
          <cx:pt idx="61169">5</cx:pt>
          <cx:pt idx="61170">2</cx:pt>
          <cx:pt idx="61171">1</cx:pt>
          <cx:pt idx="61172">2</cx:pt>
          <cx:pt idx="61173">2</cx:pt>
          <cx:pt idx="61174">4</cx:pt>
          <cx:pt idx="61175">4</cx:pt>
          <cx:pt idx="61176">2</cx:pt>
          <cx:pt idx="61177">2</cx:pt>
          <cx:pt idx="61178">3</cx:pt>
          <cx:pt idx="61179">5</cx:pt>
          <cx:pt idx="61180">4</cx:pt>
          <cx:pt idx="61181">3</cx:pt>
          <cx:pt idx="61182">5</cx:pt>
          <cx:pt idx="61183">2</cx:pt>
          <cx:pt idx="61184">5</cx:pt>
          <cx:pt idx="61185">5</cx:pt>
          <cx:pt idx="61186">2</cx:pt>
          <cx:pt idx="61187">5</cx:pt>
          <cx:pt idx="61188">2</cx:pt>
          <cx:pt idx="61189">5</cx:pt>
          <cx:pt idx="61190">3</cx:pt>
          <cx:pt idx="61191">2</cx:pt>
          <cx:pt idx="61192">3</cx:pt>
          <cx:pt idx="61193">2</cx:pt>
          <cx:pt idx="61194">4</cx:pt>
          <cx:pt idx="61195">3</cx:pt>
          <cx:pt idx="61196">3</cx:pt>
          <cx:pt idx="61197">5</cx:pt>
          <cx:pt idx="61198">1</cx:pt>
          <cx:pt idx="61199">4</cx:pt>
          <cx:pt idx="61200">3</cx:pt>
          <cx:pt idx="61201">3</cx:pt>
          <cx:pt idx="61202">2</cx:pt>
          <cx:pt idx="61203">5</cx:pt>
          <cx:pt idx="61204">4</cx:pt>
          <cx:pt idx="61205">1</cx:pt>
          <cx:pt idx="61206">2</cx:pt>
          <cx:pt idx="61207">4</cx:pt>
          <cx:pt idx="61208">2</cx:pt>
          <cx:pt idx="61209">2</cx:pt>
          <cx:pt idx="61210">4</cx:pt>
          <cx:pt idx="61211">5</cx:pt>
          <cx:pt idx="61212">5</cx:pt>
          <cx:pt idx="61213">2</cx:pt>
          <cx:pt idx="61214">2</cx:pt>
          <cx:pt idx="61215">1</cx:pt>
          <cx:pt idx="61216">2</cx:pt>
          <cx:pt idx="61217">2</cx:pt>
          <cx:pt idx="61218">3</cx:pt>
          <cx:pt idx="61219">2</cx:pt>
          <cx:pt idx="61220">2</cx:pt>
          <cx:pt idx="61221">1</cx:pt>
          <cx:pt idx="61222">3</cx:pt>
          <cx:pt idx="61223">4</cx:pt>
          <cx:pt idx="61224">1</cx:pt>
          <cx:pt idx="61225">2</cx:pt>
          <cx:pt idx="61226">3</cx:pt>
          <cx:pt idx="61227">3</cx:pt>
          <cx:pt idx="61228">4</cx:pt>
          <cx:pt idx="61229">2</cx:pt>
          <cx:pt idx="61230">5</cx:pt>
          <cx:pt idx="61231">5</cx:pt>
          <cx:pt idx="61232">1</cx:pt>
          <cx:pt idx="61233">4</cx:pt>
          <cx:pt idx="61234">2</cx:pt>
          <cx:pt idx="61235">1</cx:pt>
          <cx:pt idx="61236">3</cx:pt>
          <cx:pt idx="61237">1</cx:pt>
          <cx:pt idx="61238">2</cx:pt>
          <cx:pt idx="61239">0</cx:pt>
          <cx:pt idx="61240">4</cx:pt>
          <cx:pt idx="61241">2</cx:pt>
          <cx:pt idx="61242">4</cx:pt>
          <cx:pt idx="61243">5</cx:pt>
          <cx:pt idx="61244">2</cx:pt>
          <cx:pt idx="61245">3</cx:pt>
          <cx:pt idx="61246">4</cx:pt>
          <cx:pt idx="61247">2</cx:pt>
          <cx:pt idx="61248">0</cx:pt>
          <cx:pt idx="61249">5</cx:pt>
          <cx:pt idx="61250">1</cx:pt>
          <cx:pt idx="61251">2</cx:pt>
          <cx:pt idx="61252">1</cx:pt>
          <cx:pt idx="61253">2</cx:pt>
          <cx:pt idx="61254">5</cx:pt>
          <cx:pt idx="61255">1</cx:pt>
          <cx:pt idx="61256">2</cx:pt>
          <cx:pt idx="61257">4</cx:pt>
          <cx:pt idx="61258">5</cx:pt>
          <cx:pt idx="61259">2</cx:pt>
          <cx:pt idx="61260">1</cx:pt>
          <cx:pt idx="61261">3</cx:pt>
          <cx:pt idx="61262">4</cx:pt>
          <cx:pt idx="61263">5</cx:pt>
          <cx:pt idx="61264">1</cx:pt>
          <cx:pt idx="61265">2</cx:pt>
          <cx:pt idx="61266">0</cx:pt>
          <cx:pt idx="61267">3</cx:pt>
          <cx:pt idx="61268">4</cx:pt>
          <cx:pt idx="61269">4</cx:pt>
          <cx:pt idx="61270">1</cx:pt>
          <cx:pt idx="61271">2</cx:pt>
          <cx:pt idx="61272">4</cx:pt>
          <cx:pt idx="61273">2</cx:pt>
          <cx:pt idx="61274">3</cx:pt>
          <cx:pt idx="61275">4</cx:pt>
          <cx:pt idx="61276">3</cx:pt>
          <cx:pt idx="61277">2</cx:pt>
          <cx:pt idx="61278">0</cx:pt>
          <cx:pt idx="61279">4</cx:pt>
          <cx:pt idx="61280">3</cx:pt>
          <cx:pt idx="61281">3</cx:pt>
          <cx:pt idx="61282">2</cx:pt>
          <cx:pt idx="61283">2</cx:pt>
          <cx:pt idx="61284">2</cx:pt>
          <cx:pt idx="61285">5</cx:pt>
          <cx:pt idx="61286">5</cx:pt>
          <cx:pt idx="61287">4</cx:pt>
          <cx:pt idx="61288">5</cx:pt>
          <cx:pt idx="61289">2</cx:pt>
          <cx:pt idx="61290">3</cx:pt>
          <cx:pt idx="61291">3</cx:pt>
          <cx:pt idx="61292">4</cx:pt>
          <cx:pt idx="61293">5</cx:pt>
          <cx:pt idx="61294">2</cx:pt>
          <cx:pt idx="61295">2</cx:pt>
          <cx:pt idx="61296">3</cx:pt>
          <cx:pt idx="61297">1</cx:pt>
          <cx:pt idx="61298">2</cx:pt>
          <cx:pt idx="61299">1</cx:pt>
          <cx:pt idx="61300">3</cx:pt>
          <cx:pt idx="61301">2</cx:pt>
          <cx:pt idx="61302">3</cx:pt>
          <cx:pt idx="61303">1</cx:pt>
          <cx:pt idx="61304">3</cx:pt>
          <cx:pt idx="61305">5</cx:pt>
          <cx:pt idx="61306">4</cx:pt>
          <cx:pt idx="61307">2</cx:pt>
          <cx:pt idx="61308">2</cx:pt>
          <cx:pt idx="61309">2</cx:pt>
          <cx:pt idx="61310">1</cx:pt>
          <cx:pt idx="61311">3</cx:pt>
          <cx:pt idx="61312">1</cx:pt>
          <cx:pt idx="61313">3</cx:pt>
          <cx:pt idx="61314">5</cx:pt>
          <cx:pt idx="61315">4</cx:pt>
          <cx:pt idx="61316">2</cx:pt>
          <cx:pt idx="61317">4</cx:pt>
          <cx:pt idx="61318">1</cx:pt>
          <cx:pt idx="61319">4</cx:pt>
          <cx:pt idx="61320">1</cx:pt>
          <cx:pt idx="61321">2</cx:pt>
          <cx:pt idx="61322">1</cx:pt>
          <cx:pt idx="61323">4</cx:pt>
          <cx:pt idx="61324">4</cx:pt>
          <cx:pt idx="61325">4</cx:pt>
          <cx:pt idx="61326">5</cx:pt>
          <cx:pt idx="61327">5</cx:pt>
          <cx:pt idx="61328">2</cx:pt>
          <cx:pt idx="61329">1</cx:pt>
          <cx:pt idx="61330">3</cx:pt>
          <cx:pt idx="61331">1</cx:pt>
          <cx:pt idx="61332">2</cx:pt>
          <cx:pt idx="61333">5</cx:pt>
          <cx:pt idx="61334">4</cx:pt>
          <cx:pt idx="61335">0</cx:pt>
          <cx:pt idx="61336">3</cx:pt>
          <cx:pt idx="61337">1</cx:pt>
          <cx:pt idx="61338">0</cx:pt>
          <cx:pt idx="61339">3</cx:pt>
          <cx:pt idx="61340">4</cx:pt>
          <cx:pt idx="61341">2</cx:pt>
          <cx:pt idx="61342">5</cx:pt>
          <cx:pt idx="61343">4</cx:pt>
          <cx:pt idx="61344">2</cx:pt>
          <cx:pt idx="61345">3</cx:pt>
          <cx:pt idx="61346">5</cx:pt>
          <cx:pt idx="61347">3</cx:pt>
          <cx:pt idx="61348">0</cx:pt>
          <cx:pt idx="61349">3</cx:pt>
          <cx:pt idx="61350">4</cx:pt>
          <cx:pt idx="61351">3</cx:pt>
          <cx:pt idx="61352">5</cx:pt>
          <cx:pt idx="61353">1</cx:pt>
          <cx:pt idx="61354">3</cx:pt>
          <cx:pt idx="61355">3</cx:pt>
          <cx:pt idx="61356">2</cx:pt>
          <cx:pt idx="61357">3</cx:pt>
          <cx:pt idx="61358">2</cx:pt>
          <cx:pt idx="61359">2</cx:pt>
          <cx:pt idx="61360">2</cx:pt>
          <cx:pt idx="61361">2</cx:pt>
          <cx:pt idx="61362">5</cx:pt>
          <cx:pt idx="61363">3</cx:pt>
          <cx:pt idx="61364">3</cx:pt>
          <cx:pt idx="61365">1</cx:pt>
          <cx:pt idx="61366">4</cx:pt>
          <cx:pt idx="61367">3</cx:pt>
          <cx:pt idx="61368">0</cx:pt>
          <cx:pt idx="61369">4</cx:pt>
          <cx:pt idx="61370">5</cx:pt>
          <cx:pt idx="61371">5</cx:pt>
          <cx:pt idx="61372">4</cx:pt>
          <cx:pt idx="61373">1</cx:pt>
          <cx:pt idx="61374">3</cx:pt>
          <cx:pt idx="61375">3</cx:pt>
          <cx:pt idx="61376">3</cx:pt>
          <cx:pt idx="61377">3</cx:pt>
          <cx:pt idx="61378">5</cx:pt>
          <cx:pt idx="61379">4</cx:pt>
          <cx:pt idx="61380">2</cx:pt>
          <cx:pt idx="61381">4</cx:pt>
          <cx:pt idx="61382">2</cx:pt>
          <cx:pt idx="61383">3</cx:pt>
          <cx:pt idx="61384">5</cx:pt>
          <cx:pt idx="61385">2</cx:pt>
          <cx:pt idx="61386">1</cx:pt>
          <cx:pt idx="61387">0</cx:pt>
          <cx:pt idx="61388">4</cx:pt>
          <cx:pt idx="61389">2</cx:pt>
          <cx:pt idx="61390">4</cx:pt>
          <cx:pt idx="61391">3</cx:pt>
          <cx:pt idx="61392">5</cx:pt>
          <cx:pt idx="61393">3</cx:pt>
          <cx:pt idx="61394">2</cx:pt>
          <cx:pt idx="61395">2</cx:pt>
          <cx:pt idx="61396">5</cx:pt>
          <cx:pt idx="61397">4</cx:pt>
          <cx:pt idx="61398">2</cx:pt>
          <cx:pt idx="61399">2</cx:pt>
          <cx:pt idx="61400">4</cx:pt>
          <cx:pt idx="61401">1</cx:pt>
          <cx:pt idx="61402">3</cx:pt>
          <cx:pt idx="61403">2</cx:pt>
          <cx:pt idx="61404">5</cx:pt>
          <cx:pt idx="61405">1</cx:pt>
          <cx:pt idx="61406">5</cx:pt>
          <cx:pt idx="61407">5</cx:pt>
          <cx:pt idx="61408">2</cx:pt>
          <cx:pt idx="61409">3</cx:pt>
          <cx:pt idx="61410">0</cx:pt>
          <cx:pt idx="61411">2</cx:pt>
          <cx:pt idx="61412">0</cx:pt>
          <cx:pt idx="61413">4</cx:pt>
          <cx:pt idx="61414">1</cx:pt>
          <cx:pt idx="61415">2</cx:pt>
          <cx:pt idx="61416">5</cx:pt>
          <cx:pt idx="61417">2</cx:pt>
          <cx:pt idx="61418">3</cx:pt>
          <cx:pt idx="61419">2</cx:pt>
          <cx:pt idx="61420">5</cx:pt>
          <cx:pt idx="61421">2</cx:pt>
          <cx:pt idx="61422">1</cx:pt>
          <cx:pt idx="61423">2</cx:pt>
          <cx:pt idx="61424">2</cx:pt>
          <cx:pt idx="61425">2</cx:pt>
          <cx:pt idx="61426">3</cx:pt>
          <cx:pt idx="61427">2</cx:pt>
          <cx:pt idx="61428">5</cx:pt>
          <cx:pt idx="61429">3</cx:pt>
          <cx:pt idx="61430">4</cx:pt>
          <cx:pt idx="61431">2</cx:pt>
          <cx:pt idx="61432">5</cx:pt>
          <cx:pt idx="61433">2</cx:pt>
          <cx:pt idx="61434">3</cx:pt>
          <cx:pt idx="61435">3</cx:pt>
          <cx:pt idx="61436">3</cx:pt>
          <cx:pt idx="61437">2</cx:pt>
          <cx:pt idx="61438">2</cx:pt>
          <cx:pt idx="61439">4</cx:pt>
          <cx:pt idx="61440">5</cx:pt>
          <cx:pt idx="61441">5</cx:pt>
          <cx:pt idx="61442">3</cx:pt>
          <cx:pt idx="61443">4</cx:pt>
          <cx:pt idx="61444">3</cx:pt>
          <cx:pt idx="61445">1</cx:pt>
          <cx:pt idx="61446">5</cx:pt>
          <cx:pt idx="61447">4</cx:pt>
          <cx:pt idx="61448">1</cx:pt>
          <cx:pt idx="61449">1</cx:pt>
          <cx:pt idx="61450">1</cx:pt>
          <cx:pt idx="61451">3</cx:pt>
          <cx:pt idx="61452">4</cx:pt>
          <cx:pt idx="61453">2</cx:pt>
          <cx:pt idx="61454">5</cx:pt>
          <cx:pt idx="61455">1</cx:pt>
          <cx:pt idx="61456">1</cx:pt>
          <cx:pt idx="61457">4</cx:pt>
          <cx:pt idx="61458">5</cx:pt>
          <cx:pt idx="61459">1</cx:pt>
          <cx:pt idx="61460">4</cx:pt>
          <cx:pt idx="61461">2</cx:pt>
          <cx:pt idx="61462">3</cx:pt>
          <cx:pt idx="61463">2</cx:pt>
          <cx:pt idx="61464">3</cx:pt>
          <cx:pt idx="61465">3</cx:pt>
          <cx:pt idx="61466">1</cx:pt>
          <cx:pt idx="61467">1</cx:pt>
          <cx:pt idx="61468">3</cx:pt>
          <cx:pt idx="61469">2</cx:pt>
          <cx:pt idx="61470">5</cx:pt>
          <cx:pt idx="61471">3</cx:pt>
          <cx:pt idx="61472">1</cx:pt>
          <cx:pt idx="61473">3</cx:pt>
          <cx:pt idx="61474">3</cx:pt>
          <cx:pt idx="61475">2</cx:pt>
          <cx:pt idx="61476">3</cx:pt>
          <cx:pt idx="61477">3</cx:pt>
          <cx:pt idx="61478">5</cx:pt>
          <cx:pt idx="61479">0</cx:pt>
          <cx:pt idx="61480">2</cx:pt>
          <cx:pt idx="61481">4</cx:pt>
          <cx:pt idx="61482">1</cx:pt>
          <cx:pt idx="61483">2</cx:pt>
          <cx:pt idx="61484">5</cx:pt>
          <cx:pt idx="61485">2</cx:pt>
          <cx:pt idx="61486">3</cx:pt>
          <cx:pt idx="61487">4</cx:pt>
          <cx:pt idx="61488">3</cx:pt>
          <cx:pt idx="61489">5</cx:pt>
          <cx:pt idx="61490">2</cx:pt>
          <cx:pt idx="61491">1</cx:pt>
          <cx:pt idx="61492">3</cx:pt>
          <cx:pt idx="61493">1</cx:pt>
          <cx:pt idx="61494">2</cx:pt>
          <cx:pt idx="61495">2</cx:pt>
          <cx:pt idx="61496">0</cx:pt>
          <cx:pt idx="61497">3</cx:pt>
          <cx:pt idx="61498">2</cx:pt>
          <cx:pt idx="61499">2</cx:pt>
          <cx:pt idx="61500">2</cx:pt>
          <cx:pt idx="61501">1</cx:pt>
          <cx:pt idx="61502">3</cx:pt>
          <cx:pt idx="61503">5</cx:pt>
          <cx:pt idx="61504">3</cx:pt>
          <cx:pt idx="61505">3</cx:pt>
          <cx:pt idx="61506">2</cx:pt>
          <cx:pt idx="61507">0</cx:pt>
          <cx:pt idx="61508">2</cx:pt>
          <cx:pt idx="61509">2</cx:pt>
          <cx:pt idx="61510">5</cx:pt>
          <cx:pt idx="61511">1</cx:pt>
          <cx:pt idx="61512">3</cx:pt>
          <cx:pt idx="61513">5</cx:pt>
          <cx:pt idx="61514">3</cx:pt>
          <cx:pt idx="61515">5</cx:pt>
          <cx:pt idx="61516">1</cx:pt>
          <cx:pt idx="61517">5</cx:pt>
          <cx:pt idx="61518">3</cx:pt>
          <cx:pt idx="61519">1</cx:pt>
          <cx:pt idx="61520">2</cx:pt>
          <cx:pt idx="61521">3</cx:pt>
          <cx:pt idx="61522">5</cx:pt>
          <cx:pt idx="61523">2</cx:pt>
          <cx:pt idx="61524">4</cx:pt>
          <cx:pt idx="61525">3</cx:pt>
          <cx:pt idx="61526">3</cx:pt>
          <cx:pt idx="61527">1</cx:pt>
          <cx:pt idx="61528">3</cx:pt>
          <cx:pt idx="61529">1</cx:pt>
          <cx:pt idx="61530">5</cx:pt>
          <cx:pt idx="61531">1</cx:pt>
          <cx:pt idx="61532">4</cx:pt>
          <cx:pt idx="61533">5</cx:pt>
          <cx:pt idx="61534">2</cx:pt>
          <cx:pt idx="61535">3</cx:pt>
          <cx:pt idx="61536">5</cx:pt>
          <cx:pt idx="61537">2</cx:pt>
          <cx:pt idx="61538">2</cx:pt>
          <cx:pt idx="61539">4</cx:pt>
          <cx:pt idx="61540">4</cx:pt>
          <cx:pt idx="61541">3</cx:pt>
          <cx:pt idx="61542">3</cx:pt>
          <cx:pt idx="61543">2</cx:pt>
          <cx:pt idx="61544">2</cx:pt>
          <cx:pt idx="61545">0</cx:pt>
          <cx:pt idx="61546">1</cx:pt>
          <cx:pt idx="61547">3</cx:pt>
          <cx:pt idx="61548">2</cx:pt>
          <cx:pt idx="61549">4</cx:pt>
          <cx:pt idx="61550">5</cx:pt>
          <cx:pt idx="61551">5</cx:pt>
          <cx:pt idx="61552">3</cx:pt>
          <cx:pt idx="61553">2</cx:pt>
          <cx:pt idx="61554">2</cx:pt>
          <cx:pt idx="61555">3</cx:pt>
          <cx:pt idx="61556">2</cx:pt>
          <cx:pt idx="61557">4</cx:pt>
          <cx:pt idx="61558">5</cx:pt>
          <cx:pt idx="61559">3</cx:pt>
          <cx:pt idx="61560">3</cx:pt>
          <cx:pt idx="61561">4</cx:pt>
          <cx:pt idx="61562">3</cx:pt>
          <cx:pt idx="61563">1</cx:pt>
          <cx:pt idx="61564">2</cx:pt>
          <cx:pt idx="61565">4</cx:pt>
          <cx:pt idx="61566">2</cx:pt>
          <cx:pt idx="61567">1</cx:pt>
          <cx:pt idx="61568">3</cx:pt>
          <cx:pt idx="61569">0</cx:pt>
          <cx:pt idx="61570">5</cx:pt>
          <cx:pt idx="61571">0</cx:pt>
          <cx:pt idx="61572">2</cx:pt>
          <cx:pt idx="61573">4</cx:pt>
          <cx:pt idx="61574">2</cx:pt>
          <cx:pt idx="61575">5</cx:pt>
          <cx:pt idx="61576">3</cx:pt>
          <cx:pt idx="61577">4</cx:pt>
          <cx:pt idx="61578">1</cx:pt>
          <cx:pt idx="61579">1</cx:pt>
          <cx:pt idx="61580">3</cx:pt>
          <cx:pt idx="61581">4</cx:pt>
          <cx:pt idx="61582">4</cx:pt>
          <cx:pt idx="61583">4</cx:pt>
          <cx:pt idx="61584">0</cx:pt>
          <cx:pt idx="61585">2</cx:pt>
          <cx:pt idx="61586">2</cx:pt>
          <cx:pt idx="61587">4</cx:pt>
          <cx:pt idx="61588">3</cx:pt>
          <cx:pt idx="61589">3</cx:pt>
          <cx:pt idx="61590">4</cx:pt>
          <cx:pt idx="61591">4</cx:pt>
          <cx:pt idx="61592">4</cx:pt>
          <cx:pt idx="61593">5</cx:pt>
          <cx:pt idx="61594">1</cx:pt>
          <cx:pt idx="61595">1</cx:pt>
          <cx:pt idx="61596">2</cx:pt>
          <cx:pt idx="61597">2</cx:pt>
          <cx:pt idx="61598">0</cx:pt>
          <cx:pt idx="61599">2</cx:pt>
          <cx:pt idx="61600">4</cx:pt>
          <cx:pt idx="61601">5</cx:pt>
          <cx:pt idx="61602">1</cx:pt>
          <cx:pt idx="61603">2</cx:pt>
          <cx:pt idx="61604">1</cx:pt>
          <cx:pt idx="61605">1</cx:pt>
          <cx:pt idx="61606">4</cx:pt>
          <cx:pt idx="61607">2</cx:pt>
          <cx:pt idx="61608">0</cx:pt>
          <cx:pt idx="61609">5</cx:pt>
          <cx:pt idx="61610">3</cx:pt>
          <cx:pt idx="61611">5</cx:pt>
          <cx:pt idx="61612">5</cx:pt>
          <cx:pt idx="61613">1</cx:pt>
          <cx:pt idx="61614">2</cx:pt>
          <cx:pt idx="61615">5</cx:pt>
          <cx:pt idx="61616">1</cx:pt>
          <cx:pt idx="61617">3</cx:pt>
          <cx:pt idx="61618">5</cx:pt>
          <cx:pt idx="61619">5</cx:pt>
          <cx:pt idx="61620">4</cx:pt>
          <cx:pt idx="61621">4</cx:pt>
          <cx:pt idx="61622">2</cx:pt>
          <cx:pt idx="61623">1</cx:pt>
          <cx:pt idx="61624">5</cx:pt>
          <cx:pt idx="61625">4</cx:pt>
          <cx:pt idx="61626">1</cx:pt>
          <cx:pt idx="61627">2</cx:pt>
          <cx:pt idx="61628">3</cx:pt>
          <cx:pt idx="61629">3</cx:pt>
          <cx:pt idx="61630">4</cx:pt>
          <cx:pt idx="61631">5</cx:pt>
          <cx:pt idx="61632">1</cx:pt>
          <cx:pt idx="61633">5</cx:pt>
          <cx:pt idx="61634">3</cx:pt>
          <cx:pt idx="61635">5</cx:pt>
          <cx:pt idx="61636">1</cx:pt>
          <cx:pt idx="61637">3</cx:pt>
          <cx:pt idx="61638">3</cx:pt>
          <cx:pt idx="61639">5</cx:pt>
          <cx:pt idx="61640">3</cx:pt>
          <cx:pt idx="61641">2</cx:pt>
          <cx:pt idx="61642">2</cx:pt>
          <cx:pt idx="61643">5</cx:pt>
          <cx:pt idx="61644">4</cx:pt>
          <cx:pt idx="61645">2</cx:pt>
          <cx:pt idx="61646">3</cx:pt>
          <cx:pt idx="61647">4</cx:pt>
          <cx:pt idx="61648">2</cx:pt>
          <cx:pt idx="61649">5</cx:pt>
          <cx:pt idx="61650">3</cx:pt>
          <cx:pt idx="61651">0</cx:pt>
          <cx:pt idx="61652">3</cx:pt>
          <cx:pt idx="61653">3</cx:pt>
          <cx:pt idx="61654">2</cx:pt>
          <cx:pt idx="61655">1</cx:pt>
          <cx:pt idx="61656">2</cx:pt>
          <cx:pt idx="61657">4</cx:pt>
          <cx:pt idx="61658">3</cx:pt>
          <cx:pt idx="61659">0</cx:pt>
          <cx:pt idx="61660">3</cx:pt>
          <cx:pt idx="61661">4</cx:pt>
          <cx:pt idx="61662">4</cx:pt>
          <cx:pt idx="61663">5</cx:pt>
          <cx:pt idx="61664">1</cx:pt>
          <cx:pt idx="61665">2</cx:pt>
          <cx:pt idx="61666">3</cx:pt>
          <cx:pt idx="61667">5</cx:pt>
          <cx:pt idx="61668">1</cx:pt>
          <cx:pt idx="61669">4</cx:pt>
          <cx:pt idx="61670">0</cx:pt>
          <cx:pt idx="61671">2</cx:pt>
          <cx:pt idx="61672">5</cx:pt>
          <cx:pt idx="61673">5</cx:pt>
          <cx:pt idx="61674">3</cx:pt>
          <cx:pt idx="61675">5</cx:pt>
          <cx:pt idx="61676">3</cx:pt>
          <cx:pt idx="61677">5</cx:pt>
          <cx:pt idx="61678">2</cx:pt>
          <cx:pt idx="61679">1</cx:pt>
          <cx:pt idx="61680">1</cx:pt>
          <cx:pt idx="61681">3</cx:pt>
          <cx:pt idx="61682">4</cx:pt>
          <cx:pt idx="61683">2</cx:pt>
          <cx:pt idx="61684">3</cx:pt>
          <cx:pt idx="61685">5</cx:pt>
          <cx:pt idx="61686">5</cx:pt>
          <cx:pt idx="61687">4</cx:pt>
          <cx:pt idx="61688">3</cx:pt>
          <cx:pt idx="61689">1</cx:pt>
          <cx:pt idx="61690">4</cx:pt>
          <cx:pt idx="61691">2</cx:pt>
          <cx:pt idx="61692">2</cx:pt>
          <cx:pt idx="61693">2</cx:pt>
          <cx:pt idx="61694">3</cx:pt>
          <cx:pt idx="61695">2</cx:pt>
          <cx:pt idx="61696">4</cx:pt>
          <cx:pt idx="61697">4</cx:pt>
          <cx:pt idx="61698">4</cx:pt>
          <cx:pt idx="61699">1</cx:pt>
          <cx:pt idx="61700">3</cx:pt>
          <cx:pt idx="61701">2</cx:pt>
          <cx:pt idx="61702">2</cx:pt>
          <cx:pt idx="61703">3</cx:pt>
          <cx:pt idx="61704">3</cx:pt>
          <cx:pt idx="61705">1</cx:pt>
          <cx:pt idx="61706">5</cx:pt>
          <cx:pt idx="61707">1</cx:pt>
          <cx:pt idx="61708">3</cx:pt>
          <cx:pt idx="61709">3</cx:pt>
          <cx:pt idx="61710">2</cx:pt>
          <cx:pt idx="61711">3</cx:pt>
          <cx:pt idx="61712">5</cx:pt>
          <cx:pt idx="61713">3</cx:pt>
          <cx:pt idx="61714">0</cx:pt>
          <cx:pt idx="61715">3</cx:pt>
          <cx:pt idx="61716">0</cx:pt>
          <cx:pt idx="61717">2</cx:pt>
          <cx:pt idx="61718">4</cx:pt>
          <cx:pt idx="61719">1</cx:pt>
          <cx:pt idx="61720">3</cx:pt>
          <cx:pt idx="61721">3</cx:pt>
          <cx:pt idx="61722">1</cx:pt>
          <cx:pt idx="61723">0</cx:pt>
          <cx:pt idx="61724">3</cx:pt>
          <cx:pt idx="61725">2</cx:pt>
          <cx:pt idx="61726">3</cx:pt>
          <cx:pt idx="61727">0</cx:pt>
          <cx:pt idx="61728">3</cx:pt>
          <cx:pt idx="61729">1</cx:pt>
          <cx:pt idx="61730">3</cx:pt>
          <cx:pt idx="61731">3</cx:pt>
          <cx:pt idx="61732">3</cx:pt>
          <cx:pt idx="61733">2</cx:pt>
          <cx:pt idx="61734">3</cx:pt>
          <cx:pt idx="61735">0</cx:pt>
          <cx:pt idx="61736">2</cx:pt>
          <cx:pt idx="61737">4</cx:pt>
          <cx:pt idx="61738">2</cx:pt>
          <cx:pt idx="61739">1</cx:pt>
          <cx:pt idx="61740">2</cx:pt>
          <cx:pt idx="61741">4</cx:pt>
          <cx:pt idx="61742">4</cx:pt>
          <cx:pt idx="61743">1</cx:pt>
          <cx:pt idx="61744">1</cx:pt>
          <cx:pt idx="61745">3</cx:pt>
          <cx:pt idx="61746">2</cx:pt>
          <cx:pt idx="61747">3</cx:pt>
          <cx:pt idx="61748">3</cx:pt>
          <cx:pt idx="61749">3</cx:pt>
          <cx:pt idx="61750">3</cx:pt>
          <cx:pt idx="61751">4</cx:pt>
          <cx:pt idx="61752">2</cx:pt>
          <cx:pt idx="61753">3</cx:pt>
          <cx:pt idx="61754">1</cx:pt>
          <cx:pt idx="61755">4</cx:pt>
          <cx:pt idx="61756">1</cx:pt>
          <cx:pt idx="61757">3</cx:pt>
          <cx:pt idx="61758">3</cx:pt>
          <cx:pt idx="61759">1</cx:pt>
          <cx:pt idx="61760">4</cx:pt>
          <cx:pt idx="61761">5</cx:pt>
          <cx:pt idx="61762">2</cx:pt>
          <cx:pt idx="61763">4</cx:pt>
          <cx:pt idx="61764">5</cx:pt>
          <cx:pt idx="61765">2</cx:pt>
          <cx:pt idx="61766">2</cx:pt>
          <cx:pt idx="61767">1</cx:pt>
          <cx:pt idx="61768">3</cx:pt>
          <cx:pt idx="61769">1</cx:pt>
          <cx:pt idx="61770">2</cx:pt>
          <cx:pt idx="61771">5</cx:pt>
          <cx:pt idx="61772">4</cx:pt>
          <cx:pt idx="61773">3</cx:pt>
          <cx:pt idx="61774">1</cx:pt>
          <cx:pt idx="61775">3</cx:pt>
          <cx:pt idx="61776">3</cx:pt>
          <cx:pt idx="61777">1</cx:pt>
          <cx:pt idx="61778">3</cx:pt>
          <cx:pt idx="61779">2</cx:pt>
          <cx:pt idx="61780">1</cx:pt>
          <cx:pt idx="61781">3</cx:pt>
          <cx:pt idx="61782">4</cx:pt>
          <cx:pt idx="61783">4</cx:pt>
          <cx:pt idx="61784">2</cx:pt>
          <cx:pt idx="61785">5</cx:pt>
          <cx:pt idx="61786">1</cx:pt>
          <cx:pt idx="61787">5</cx:pt>
          <cx:pt idx="61788">4</cx:pt>
          <cx:pt idx="61789">2</cx:pt>
          <cx:pt idx="61790">3</cx:pt>
          <cx:pt idx="61791">2</cx:pt>
          <cx:pt idx="61792">3</cx:pt>
          <cx:pt idx="61793">3</cx:pt>
          <cx:pt idx="61794">1</cx:pt>
          <cx:pt idx="61795">0</cx:pt>
          <cx:pt idx="61796">1</cx:pt>
          <cx:pt idx="61797">4</cx:pt>
          <cx:pt idx="61798">4</cx:pt>
          <cx:pt idx="61799">2</cx:pt>
          <cx:pt idx="61800">1</cx:pt>
          <cx:pt idx="61801">2</cx:pt>
          <cx:pt idx="61802">1</cx:pt>
          <cx:pt idx="61803">4</cx:pt>
          <cx:pt idx="61804">4</cx:pt>
          <cx:pt idx="61805">5</cx:pt>
          <cx:pt idx="61806">2</cx:pt>
          <cx:pt idx="61807">1</cx:pt>
          <cx:pt idx="61808">1</cx:pt>
          <cx:pt idx="61809">4</cx:pt>
          <cx:pt idx="61810">1</cx:pt>
          <cx:pt idx="61811">2</cx:pt>
          <cx:pt idx="61812">2</cx:pt>
          <cx:pt idx="61813">4</cx:pt>
          <cx:pt idx="61814">3</cx:pt>
          <cx:pt idx="61815">3</cx:pt>
          <cx:pt idx="61816">5</cx:pt>
          <cx:pt idx="61817">5</cx:pt>
          <cx:pt idx="61818">3</cx:pt>
          <cx:pt idx="61819">4</cx:pt>
          <cx:pt idx="61820">2</cx:pt>
          <cx:pt idx="61821">2</cx:pt>
          <cx:pt idx="61822">3</cx:pt>
          <cx:pt idx="61823">3</cx:pt>
          <cx:pt idx="61824">1</cx:pt>
          <cx:pt idx="61825">3</cx:pt>
          <cx:pt idx="61826">5</cx:pt>
          <cx:pt idx="61827">2</cx:pt>
          <cx:pt idx="61828">4</cx:pt>
          <cx:pt idx="61829">2</cx:pt>
          <cx:pt idx="61830">1</cx:pt>
          <cx:pt idx="61831">2</cx:pt>
          <cx:pt idx="61832">5</cx:pt>
          <cx:pt idx="61833">3</cx:pt>
          <cx:pt idx="61834">2</cx:pt>
          <cx:pt idx="61835">4</cx:pt>
          <cx:pt idx="61836">3</cx:pt>
          <cx:pt idx="61837">0</cx:pt>
          <cx:pt idx="61838">3</cx:pt>
          <cx:pt idx="61839">2</cx:pt>
          <cx:pt idx="61840">2</cx:pt>
          <cx:pt idx="61841">1</cx:pt>
          <cx:pt idx="61842">2</cx:pt>
          <cx:pt idx="61843">3</cx:pt>
          <cx:pt idx="61844">4</cx:pt>
          <cx:pt idx="61845">1</cx:pt>
          <cx:pt idx="61846">1</cx:pt>
          <cx:pt idx="61847">3</cx:pt>
          <cx:pt idx="61848">2</cx:pt>
          <cx:pt idx="61849">2</cx:pt>
          <cx:pt idx="61850">2</cx:pt>
          <cx:pt idx="61851">3</cx:pt>
          <cx:pt idx="61852">4</cx:pt>
          <cx:pt idx="61853">5</cx:pt>
          <cx:pt idx="61854">5</cx:pt>
          <cx:pt idx="61855">4</cx:pt>
          <cx:pt idx="61856">2</cx:pt>
          <cx:pt idx="61857">2</cx:pt>
          <cx:pt idx="61858">4</cx:pt>
          <cx:pt idx="61859">2</cx:pt>
          <cx:pt idx="61860">5</cx:pt>
          <cx:pt idx="61861">3</cx:pt>
          <cx:pt idx="61862">3</cx:pt>
          <cx:pt idx="61863">5</cx:pt>
          <cx:pt idx="61864">0</cx:pt>
          <cx:pt idx="61865">4</cx:pt>
          <cx:pt idx="61866">2</cx:pt>
          <cx:pt idx="61867">2</cx:pt>
          <cx:pt idx="61868">2</cx:pt>
          <cx:pt idx="61869">1</cx:pt>
          <cx:pt idx="61870">2</cx:pt>
          <cx:pt idx="61871">3</cx:pt>
          <cx:pt idx="61872">3</cx:pt>
          <cx:pt idx="61873">4</cx:pt>
          <cx:pt idx="61874">4</cx:pt>
          <cx:pt idx="61875">3</cx:pt>
          <cx:pt idx="61876">2</cx:pt>
          <cx:pt idx="61877">4</cx:pt>
          <cx:pt idx="61878">4</cx:pt>
          <cx:pt idx="61879">5</cx:pt>
          <cx:pt idx="61880">4</cx:pt>
          <cx:pt idx="61881">3</cx:pt>
          <cx:pt idx="61882">3</cx:pt>
          <cx:pt idx="61883">2</cx:pt>
          <cx:pt idx="61884">1</cx:pt>
          <cx:pt idx="61885">5</cx:pt>
          <cx:pt idx="61886">2</cx:pt>
          <cx:pt idx="61887">2</cx:pt>
          <cx:pt idx="61888">0</cx:pt>
          <cx:pt idx="61889">3</cx:pt>
          <cx:pt idx="61890">1</cx:pt>
          <cx:pt idx="61891">2</cx:pt>
          <cx:pt idx="61892">4</cx:pt>
          <cx:pt idx="61893">5</cx:pt>
          <cx:pt idx="61894">1</cx:pt>
          <cx:pt idx="61895">1</cx:pt>
          <cx:pt idx="61896">1</cx:pt>
          <cx:pt idx="61897">3</cx:pt>
          <cx:pt idx="61898">2</cx:pt>
          <cx:pt idx="61899">4</cx:pt>
          <cx:pt idx="61900">2</cx:pt>
          <cx:pt idx="61901">2</cx:pt>
          <cx:pt idx="61902">3</cx:pt>
          <cx:pt idx="61903">3</cx:pt>
          <cx:pt idx="61904">4</cx:pt>
          <cx:pt idx="61905">5</cx:pt>
          <cx:pt idx="61906">3</cx:pt>
          <cx:pt idx="61907">2</cx:pt>
          <cx:pt idx="61908">3</cx:pt>
          <cx:pt idx="61909">3</cx:pt>
          <cx:pt idx="61910">5</cx:pt>
          <cx:pt idx="61911">2</cx:pt>
          <cx:pt idx="61912">4</cx:pt>
          <cx:pt idx="61913">2</cx:pt>
          <cx:pt idx="61914">3</cx:pt>
          <cx:pt idx="61915">4</cx:pt>
          <cx:pt idx="61916">3</cx:pt>
          <cx:pt idx="61917">5</cx:pt>
          <cx:pt idx="61918">3</cx:pt>
          <cx:pt idx="61919">2</cx:pt>
          <cx:pt idx="61920">2</cx:pt>
          <cx:pt idx="61921">3</cx:pt>
          <cx:pt idx="61922">2</cx:pt>
          <cx:pt idx="61923">4</cx:pt>
          <cx:pt idx="61924">1</cx:pt>
          <cx:pt idx="61925">2</cx:pt>
          <cx:pt idx="61926">3</cx:pt>
          <cx:pt idx="61927">0</cx:pt>
          <cx:pt idx="61928">2</cx:pt>
          <cx:pt idx="61929">3</cx:pt>
          <cx:pt idx="61930">5</cx:pt>
          <cx:pt idx="61931">3</cx:pt>
          <cx:pt idx="61932">3</cx:pt>
          <cx:pt idx="61933">2</cx:pt>
          <cx:pt idx="61934">3</cx:pt>
          <cx:pt idx="61935">3</cx:pt>
          <cx:pt idx="61936">3</cx:pt>
          <cx:pt idx="61937">2</cx:pt>
          <cx:pt idx="61938">2</cx:pt>
          <cx:pt idx="61939">2</cx:pt>
          <cx:pt idx="61940">1</cx:pt>
          <cx:pt idx="61941">4</cx:pt>
          <cx:pt idx="61942">3</cx:pt>
          <cx:pt idx="61943">5</cx:pt>
          <cx:pt idx="61944">1</cx:pt>
          <cx:pt idx="61945">2</cx:pt>
          <cx:pt idx="61946">3</cx:pt>
          <cx:pt idx="61947">2</cx:pt>
          <cx:pt idx="61948">3</cx:pt>
          <cx:pt idx="61949">2</cx:pt>
          <cx:pt idx="61950">2</cx:pt>
          <cx:pt idx="61951">2</cx:pt>
          <cx:pt idx="61952">3</cx:pt>
          <cx:pt idx="61953">3</cx:pt>
          <cx:pt idx="61954">0</cx:pt>
          <cx:pt idx="61955">4</cx:pt>
          <cx:pt idx="61956">5</cx:pt>
          <cx:pt idx="61957">4</cx:pt>
          <cx:pt idx="61958">4</cx:pt>
          <cx:pt idx="61959">3</cx:pt>
          <cx:pt idx="61960">5</cx:pt>
          <cx:pt idx="61961">3</cx:pt>
          <cx:pt idx="61962">3</cx:pt>
          <cx:pt idx="61963">1</cx:pt>
          <cx:pt idx="61964">4</cx:pt>
          <cx:pt idx="61965">2</cx:pt>
          <cx:pt idx="61966">5</cx:pt>
          <cx:pt idx="61967">3</cx:pt>
          <cx:pt idx="61968">2</cx:pt>
          <cx:pt idx="61969">1</cx:pt>
          <cx:pt idx="61970">1</cx:pt>
          <cx:pt idx="61971">2</cx:pt>
          <cx:pt idx="61972">4</cx:pt>
          <cx:pt idx="61973">3</cx:pt>
          <cx:pt idx="61974">1</cx:pt>
          <cx:pt idx="61975">4</cx:pt>
          <cx:pt idx="61976">1</cx:pt>
          <cx:pt idx="61977">3</cx:pt>
          <cx:pt idx="61978">3</cx:pt>
          <cx:pt idx="61979">2</cx:pt>
          <cx:pt idx="61980">3</cx:pt>
          <cx:pt idx="61981">2</cx:pt>
          <cx:pt idx="61982">3</cx:pt>
          <cx:pt idx="61983">4</cx:pt>
          <cx:pt idx="61984">2</cx:pt>
          <cx:pt idx="61985">4</cx:pt>
          <cx:pt idx="61986">4</cx:pt>
          <cx:pt idx="61987">1</cx:pt>
          <cx:pt idx="61988">1</cx:pt>
          <cx:pt idx="61989">1</cx:pt>
          <cx:pt idx="61990">2</cx:pt>
          <cx:pt idx="61991">5</cx:pt>
          <cx:pt idx="61992">3</cx:pt>
          <cx:pt idx="61993">4</cx:pt>
          <cx:pt idx="61994">1</cx:pt>
          <cx:pt idx="61995">1</cx:pt>
          <cx:pt idx="61996">2</cx:pt>
          <cx:pt idx="61997">3</cx:pt>
          <cx:pt idx="61998">3</cx:pt>
          <cx:pt idx="61999">5</cx:pt>
          <cx:pt idx="62000">1</cx:pt>
          <cx:pt idx="62001">3</cx:pt>
          <cx:pt idx="62002">1</cx:pt>
          <cx:pt idx="62003">5</cx:pt>
          <cx:pt idx="62004">2</cx:pt>
          <cx:pt idx="62005">4</cx:pt>
          <cx:pt idx="62006">3</cx:pt>
          <cx:pt idx="62007">2</cx:pt>
          <cx:pt idx="62008">5</cx:pt>
          <cx:pt idx="62009">1</cx:pt>
          <cx:pt idx="62010">1</cx:pt>
          <cx:pt idx="62011">4</cx:pt>
          <cx:pt idx="62012">1</cx:pt>
          <cx:pt idx="62013">4</cx:pt>
          <cx:pt idx="62014">1</cx:pt>
          <cx:pt idx="62015">2</cx:pt>
          <cx:pt idx="62016">3</cx:pt>
          <cx:pt idx="62017">0</cx:pt>
          <cx:pt idx="62018">3</cx:pt>
          <cx:pt idx="62019">5</cx:pt>
          <cx:pt idx="62020">3</cx:pt>
          <cx:pt idx="62021">5</cx:pt>
          <cx:pt idx="62022">2</cx:pt>
          <cx:pt idx="62023">3</cx:pt>
          <cx:pt idx="62024">3</cx:pt>
          <cx:pt idx="62025">1</cx:pt>
          <cx:pt idx="62026">3</cx:pt>
          <cx:pt idx="62027">1</cx:pt>
          <cx:pt idx="62028">3</cx:pt>
          <cx:pt idx="62029">4</cx:pt>
          <cx:pt idx="62030">2</cx:pt>
          <cx:pt idx="62031">5</cx:pt>
          <cx:pt idx="62032">4</cx:pt>
          <cx:pt idx="62033">1</cx:pt>
          <cx:pt idx="62034">5</cx:pt>
          <cx:pt idx="62035">2</cx:pt>
          <cx:pt idx="62036">3</cx:pt>
          <cx:pt idx="62037">4</cx:pt>
          <cx:pt idx="62038">5</cx:pt>
          <cx:pt idx="62039">3</cx:pt>
          <cx:pt idx="62040">5</cx:pt>
          <cx:pt idx="62041">4</cx:pt>
          <cx:pt idx="62042">1</cx:pt>
          <cx:pt idx="62043">3</cx:pt>
          <cx:pt idx="62044">4</cx:pt>
          <cx:pt idx="62045">1</cx:pt>
          <cx:pt idx="62046">1</cx:pt>
          <cx:pt idx="62047">3</cx:pt>
          <cx:pt idx="62048">5</cx:pt>
          <cx:pt idx="62049">2</cx:pt>
          <cx:pt idx="62050">5</cx:pt>
          <cx:pt idx="62051">2</cx:pt>
          <cx:pt idx="62052">1</cx:pt>
          <cx:pt idx="62053">5</cx:pt>
          <cx:pt idx="62054">1</cx:pt>
          <cx:pt idx="62055">4</cx:pt>
          <cx:pt idx="62056">5</cx:pt>
          <cx:pt idx="62057">4</cx:pt>
          <cx:pt idx="62058">1</cx:pt>
          <cx:pt idx="62059">2</cx:pt>
          <cx:pt idx="62060">4</cx:pt>
          <cx:pt idx="62061">2</cx:pt>
          <cx:pt idx="62062">5</cx:pt>
          <cx:pt idx="62063">2</cx:pt>
          <cx:pt idx="62064">4</cx:pt>
          <cx:pt idx="62065">2</cx:pt>
          <cx:pt idx="62066">0</cx:pt>
          <cx:pt idx="62067">4</cx:pt>
          <cx:pt idx="62068">4</cx:pt>
          <cx:pt idx="62069">3</cx:pt>
          <cx:pt idx="62070">4</cx:pt>
          <cx:pt idx="62071">1</cx:pt>
          <cx:pt idx="62072">3</cx:pt>
          <cx:pt idx="62073">2</cx:pt>
          <cx:pt idx="62074">3</cx:pt>
          <cx:pt idx="62075">3</cx:pt>
          <cx:pt idx="62076">2</cx:pt>
          <cx:pt idx="62077">5</cx:pt>
          <cx:pt idx="62078">0</cx:pt>
          <cx:pt idx="62079">3</cx:pt>
          <cx:pt idx="62080">2</cx:pt>
          <cx:pt idx="62081">3</cx:pt>
          <cx:pt idx="62082">2</cx:pt>
          <cx:pt idx="62083">2</cx:pt>
          <cx:pt idx="62084">2</cx:pt>
          <cx:pt idx="62085">1</cx:pt>
          <cx:pt idx="62086">4</cx:pt>
          <cx:pt idx="62087">1</cx:pt>
          <cx:pt idx="62088">0</cx:pt>
          <cx:pt idx="62089">2</cx:pt>
          <cx:pt idx="62090">2</cx:pt>
          <cx:pt idx="62091">4</cx:pt>
          <cx:pt idx="62092">1</cx:pt>
          <cx:pt idx="62093">2</cx:pt>
          <cx:pt idx="62094">1</cx:pt>
          <cx:pt idx="62095">5</cx:pt>
          <cx:pt idx="62096">3</cx:pt>
          <cx:pt idx="62097">1</cx:pt>
          <cx:pt idx="62098">3</cx:pt>
          <cx:pt idx="62099">3</cx:pt>
          <cx:pt idx="62100">1</cx:pt>
          <cx:pt idx="62101">5</cx:pt>
          <cx:pt idx="62102">4</cx:pt>
          <cx:pt idx="62103">1</cx:pt>
          <cx:pt idx="62104">2</cx:pt>
          <cx:pt idx="62105">3</cx:pt>
          <cx:pt idx="62106">2</cx:pt>
          <cx:pt idx="62107">3</cx:pt>
          <cx:pt idx="62108">3</cx:pt>
          <cx:pt idx="62109">2</cx:pt>
          <cx:pt idx="62110">4</cx:pt>
          <cx:pt idx="62111">3</cx:pt>
          <cx:pt idx="62112">1</cx:pt>
          <cx:pt idx="62113">0</cx:pt>
          <cx:pt idx="62114">2</cx:pt>
          <cx:pt idx="62115">2</cx:pt>
          <cx:pt idx="62116">4</cx:pt>
          <cx:pt idx="62117">3</cx:pt>
          <cx:pt idx="62118">2</cx:pt>
          <cx:pt idx="62119">2</cx:pt>
          <cx:pt idx="62120">3</cx:pt>
          <cx:pt idx="62121">0</cx:pt>
          <cx:pt idx="62122">1</cx:pt>
          <cx:pt idx="62123">3</cx:pt>
          <cx:pt idx="62124">2</cx:pt>
          <cx:pt idx="62125">3</cx:pt>
          <cx:pt idx="62126">2</cx:pt>
          <cx:pt idx="62127">2</cx:pt>
          <cx:pt idx="62128">5</cx:pt>
          <cx:pt idx="62129">5</cx:pt>
          <cx:pt idx="62130">5</cx:pt>
          <cx:pt idx="62131">4</cx:pt>
          <cx:pt idx="62132">1</cx:pt>
          <cx:pt idx="62133">4</cx:pt>
          <cx:pt idx="62134">1</cx:pt>
          <cx:pt idx="62135">3</cx:pt>
          <cx:pt idx="62136">0</cx:pt>
          <cx:pt idx="62137">1</cx:pt>
          <cx:pt idx="62138">2</cx:pt>
          <cx:pt idx="62139">1</cx:pt>
          <cx:pt idx="62140">4</cx:pt>
          <cx:pt idx="62141">2</cx:pt>
          <cx:pt idx="62142">5</cx:pt>
          <cx:pt idx="62143">4</cx:pt>
          <cx:pt idx="62144">3</cx:pt>
          <cx:pt idx="62145">2</cx:pt>
          <cx:pt idx="62146">4</cx:pt>
          <cx:pt idx="62147">4</cx:pt>
          <cx:pt idx="62148">3</cx:pt>
          <cx:pt idx="62149">3</cx:pt>
          <cx:pt idx="62150">3</cx:pt>
          <cx:pt idx="62151">2</cx:pt>
          <cx:pt idx="62152">1</cx:pt>
          <cx:pt idx="62153">3</cx:pt>
          <cx:pt idx="62154">1</cx:pt>
          <cx:pt idx="62155">3</cx:pt>
          <cx:pt idx="62156">1</cx:pt>
          <cx:pt idx="62157">1</cx:pt>
          <cx:pt idx="62158">2</cx:pt>
          <cx:pt idx="62159">5</cx:pt>
          <cx:pt idx="62160">5</cx:pt>
          <cx:pt idx="62161">4</cx:pt>
          <cx:pt idx="62162">5</cx:pt>
          <cx:pt idx="62163">2</cx:pt>
          <cx:pt idx="62164">2</cx:pt>
          <cx:pt idx="62165">4</cx:pt>
          <cx:pt idx="62166">3</cx:pt>
          <cx:pt idx="62167">5</cx:pt>
          <cx:pt idx="62168">2</cx:pt>
          <cx:pt idx="62169">3</cx:pt>
          <cx:pt idx="62170">3</cx:pt>
          <cx:pt idx="62171">2</cx:pt>
          <cx:pt idx="62172">4</cx:pt>
          <cx:pt idx="62173">3</cx:pt>
          <cx:pt idx="62174">5</cx:pt>
          <cx:pt idx="62175">4</cx:pt>
          <cx:pt idx="62176">1</cx:pt>
          <cx:pt idx="62177">4</cx:pt>
          <cx:pt idx="62178">4</cx:pt>
          <cx:pt idx="62179">3</cx:pt>
          <cx:pt idx="62180">3</cx:pt>
          <cx:pt idx="62181">4</cx:pt>
          <cx:pt idx="62182">3</cx:pt>
          <cx:pt idx="62183">4</cx:pt>
          <cx:pt idx="62184">3</cx:pt>
          <cx:pt idx="62185">5</cx:pt>
          <cx:pt idx="62186">2</cx:pt>
          <cx:pt idx="62187">1</cx:pt>
          <cx:pt idx="62188">2</cx:pt>
          <cx:pt idx="62189">4</cx:pt>
          <cx:pt idx="62190">1</cx:pt>
          <cx:pt idx="62191">3</cx:pt>
          <cx:pt idx="62192">2</cx:pt>
          <cx:pt idx="62193">2</cx:pt>
          <cx:pt idx="62194">2</cx:pt>
          <cx:pt idx="62195">4</cx:pt>
          <cx:pt idx="62196">4</cx:pt>
          <cx:pt idx="62197">3</cx:pt>
          <cx:pt idx="62198">4</cx:pt>
          <cx:pt idx="62199">2</cx:pt>
          <cx:pt idx="62200">3</cx:pt>
          <cx:pt idx="62201">3</cx:pt>
          <cx:pt idx="62202">3</cx:pt>
          <cx:pt idx="62203">5</cx:pt>
          <cx:pt idx="62204">4</cx:pt>
          <cx:pt idx="62205">1</cx:pt>
          <cx:pt idx="62206">1</cx:pt>
          <cx:pt idx="62207">3</cx:pt>
          <cx:pt idx="62208">1</cx:pt>
          <cx:pt idx="62209">4</cx:pt>
          <cx:pt idx="62210">3</cx:pt>
          <cx:pt idx="62211">1</cx:pt>
          <cx:pt idx="62212">1</cx:pt>
          <cx:pt idx="62213">3</cx:pt>
          <cx:pt idx="62214">3</cx:pt>
          <cx:pt idx="62215">5</cx:pt>
          <cx:pt idx="62216">5</cx:pt>
          <cx:pt idx="62217">2</cx:pt>
          <cx:pt idx="62218">1</cx:pt>
          <cx:pt idx="62219">1</cx:pt>
          <cx:pt idx="62220">2</cx:pt>
          <cx:pt idx="62221">5</cx:pt>
          <cx:pt idx="62222">2</cx:pt>
          <cx:pt idx="62223">0</cx:pt>
          <cx:pt idx="62224">4</cx:pt>
          <cx:pt idx="62225">2</cx:pt>
          <cx:pt idx="62226">2</cx:pt>
          <cx:pt idx="62227">0</cx:pt>
          <cx:pt idx="62228">4</cx:pt>
          <cx:pt idx="62229">1</cx:pt>
          <cx:pt idx="62230">4</cx:pt>
          <cx:pt idx="62231">5</cx:pt>
          <cx:pt idx="62232">2</cx:pt>
          <cx:pt idx="62233">5</cx:pt>
          <cx:pt idx="62234">2</cx:pt>
          <cx:pt idx="62235">4</cx:pt>
          <cx:pt idx="62236">5</cx:pt>
          <cx:pt idx="62237">2</cx:pt>
          <cx:pt idx="62238">2</cx:pt>
          <cx:pt idx="62239">1</cx:pt>
          <cx:pt idx="62240">3</cx:pt>
          <cx:pt idx="62241">2</cx:pt>
          <cx:pt idx="62242">1</cx:pt>
          <cx:pt idx="62243">4</cx:pt>
          <cx:pt idx="62244">4</cx:pt>
          <cx:pt idx="62245">1</cx:pt>
          <cx:pt idx="62246">3</cx:pt>
          <cx:pt idx="62247">2</cx:pt>
          <cx:pt idx="62248">1</cx:pt>
          <cx:pt idx="62249">2</cx:pt>
          <cx:pt idx="62250">2</cx:pt>
          <cx:pt idx="62251">3</cx:pt>
          <cx:pt idx="62252">4</cx:pt>
          <cx:pt idx="62253">3</cx:pt>
          <cx:pt idx="62254">3</cx:pt>
          <cx:pt idx="62255">2</cx:pt>
          <cx:pt idx="62256">0</cx:pt>
          <cx:pt idx="62257">2</cx:pt>
          <cx:pt idx="62258">4</cx:pt>
          <cx:pt idx="62259">2</cx:pt>
          <cx:pt idx="62260">1</cx:pt>
          <cx:pt idx="62261">2</cx:pt>
          <cx:pt idx="62262">2</cx:pt>
          <cx:pt idx="62263">3</cx:pt>
          <cx:pt idx="62264">5</cx:pt>
          <cx:pt idx="62265">4</cx:pt>
          <cx:pt idx="62266">3</cx:pt>
          <cx:pt idx="62267">4</cx:pt>
          <cx:pt idx="62268">2</cx:pt>
          <cx:pt idx="62269">1</cx:pt>
          <cx:pt idx="62270">0</cx:pt>
          <cx:pt idx="62271">4</cx:pt>
          <cx:pt idx="62272">2</cx:pt>
          <cx:pt idx="62273">5</cx:pt>
          <cx:pt idx="62274">4</cx:pt>
          <cx:pt idx="62275">3</cx:pt>
          <cx:pt idx="62276">1</cx:pt>
          <cx:pt idx="62277">4</cx:pt>
          <cx:pt idx="62278">2</cx:pt>
          <cx:pt idx="62279">5</cx:pt>
          <cx:pt idx="62280">2</cx:pt>
          <cx:pt idx="62281">5</cx:pt>
          <cx:pt idx="62282">5</cx:pt>
          <cx:pt idx="62283">2</cx:pt>
          <cx:pt idx="62284">2</cx:pt>
          <cx:pt idx="62285">3</cx:pt>
          <cx:pt idx="62286">4</cx:pt>
          <cx:pt idx="62287">2</cx:pt>
          <cx:pt idx="62288">2</cx:pt>
          <cx:pt idx="62289">3</cx:pt>
          <cx:pt idx="62290">3</cx:pt>
          <cx:pt idx="62291">4</cx:pt>
          <cx:pt idx="62292">4</cx:pt>
          <cx:pt idx="62293">3</cx:pt>
          <cx:pt idx="62294">1</cx:pt>
          <cx:pt idx="62295">1</cx:pt>
          <cx:pt idx="62296">4</cx:pt>
          <cx:pt idx="62297">1</cx:pt>
          <cx:pt idx="62298">2</cx:pt>
          <cx:pt idx="62299">4</cx:pt>
          <cx:pt idx="62300">5</cx:pt>
          <cx:pt idx="62301">5</cx:pt>
          <cx:pt idx="62302">4</cx:pt>
          <cx:pt idx="62303">1</cx:pt>
          <cx:pt idx="62304">5</cx:pt>
          <cx:pt idx="62305">4</cx:pt>
          <cx:pt idx="62306">2</cx:pt>
          <cx:pt idx="62307">3</cx:pt>
          <cx:pt idx="62308">2</cx:pt>
          <cx:pt idx="62309">2</cx:pt>
          <cx:pt idx="62310">4</cx:pt>
          <cx:pt idx="62311">3</cx:pt>
          <cx:pt idx="62312">2</cx:pt>
          <cx:pt idx="62313">3</cx:pt>
          <cx:pt idx="62314">2</cx:pt>
          <cx:pt idx="62315">3</cx:pt>
          <cx:pt idx="62316">5</cx:pt>
          <cx:pt idx="62317">1</cx:pt>
          <cx:pt idx="62318">0</cx:pt>
          <cx:pt idx="62319">4</cx:pt>
          <cx:pt idx="62320">5</cx:pt>
          <cx:pt idx="62321">2</cx:pt>
          <cx:pt idx="62322">5</cx:pt>
          <cx:pt idx="62323">1</cx:pt>
          <cx:pt idx="62324">3</cx:pt>
          <cx:pt idx="62325">3</cx:pt>
          <cx:pt idx="62326">3</cx:pt>
          <cx:pt idx="62327">1</cx:pt>
          <cx:pt idx="62328">4</cx:pt>
          <cx:pt idx="62329">5</cx:pt>
          <cx:pt idx="62330">4</cx:pt>
          <cx:pt idx="62331">1</cx:pt>
          <cx:pt idx="62332">1</cx:pt>
          <cx:pt idx="62333">5</cx:pt>
          <cx:pt idx="62334">2</cx:pt>
          <cx:pt idx="62335">2</cx:pt>
          <cx:pt idx="62336">5</cx:pt>
          <cx:pt idx="62337">4</cx:pt>
          <cx:pt idx="62338">2</cx:pt>
          <cx:pt idx="62339">3</cx:pt>
          <cx:pt idx="62340">1</cx:pt>
          <cx:pt idx="62341">5</cx:pt>
          <cx:pt idx="62342">2</cx:pt>
          <cx:pt idx="62343">2</cx:pt>
          <cx:pt idx="62344">2</cx:pt>
          <cx:pt idx="62345">2</cx:pt>
          <cx:pt idx="62346">4</cx:pt>
          <cx:pt idx="62347">2</cx:pt>
          <cx:pt idx="62348">3</cx:pt>
          <cx:pt idx="62349">1</cx:pt>
          <cx:pt idx="62350">3</cx:pt>
          <cx:pt idx="62351">4</cx:pt>
          <cx:pt idx="62352">5</cx:pt>
          <cx:pt idx="62353">0</cx:pt>
          <cx:pt idx="62354">2</cx:pt>
          <cx:pt idx="62355">5</cx:pt>
          <cx:pt idx="62356">0</cx:pt>
          <cx:pt idx="62357">1</cx:pt>
          <cx:pt idx="62358">3</cx:pt>
          <cx:pt idx="62359">1</cx:pt>
          <cx:pt idx="62360">1</cx:pt>
          <cx:pt idx="62361">4</cx:pt>
          <cx:pt idx="62362">4</cx:pt>
          <cx:pt idx="62363">2</cx:pt>
          <cx:pt idx="62364">1</cx:pt>
          <cx:pt idx="62365">3</cx:pt>
          <cx:pt idx="62366">2</cx:pt>
          <cx:pt idx="62367">4</cx:pt>
          <cx:pt idx="62368">4</cx:pt>
          <cx:pt idx="62369">0</cx:pt>
          <cx:pt idx="62370">3</cx:pt>
          <cx:pt idx="62371">3</cx:pt>
          <cx:pt idx="62372">0</cx:pt>
          <cx:pt idx="62373">3</cx:pt>
          <cx:pt idx="62374">0</cx:pt>
          <cx:pt idx="62375">2</cx:pt>
          <cx:pt idx="62376">1</cx:pt>
          <cx:pt idx="62377">2</cx:pt>
          <cx:pt idx="62378">2</cx:pt>
          <cx:pt idx="62379">4</cx:pt>
          <cx:pt idx="62380">3</cx:pt>
          <cx:pt idx="62381">2</cx:pt>
          <cx:pt idx="62382">3</cx:pt>
          <cx:pt idx="62383">4</cx:pt>
          <cx:pt idx="62384">1</cx:pt>
          <cx:pt idx="62385">5</cx:pt>
          <cx:pt idx="62386">4</cx:pt>
          <cx:pt idx="62387">3</cx:pt>
          <cx:pt idx="62388">5</cx:pt>
          <cx:pt idx="62389">3</cx:pt>
          <cx:pt idx="62390">3</cx:pt>
          <cx:pt idx="62391">2</cx:pt>
          <cx:pt idx="62392">3</cx:pt>
          <cx:pt idx="62393">4</cx:pt>
          <cx:pt idx="62394">2</cx:pt>
          <cx:pt idx="62395">4</cx:pt>
          <cx:pt idx="62396">4</cx:pt>
          <cx:pt idx="62397">2</cx:pt>
          <cx:pt idx="62398">0</cx:pt>
          <cx:pt idx="62399">4</cx:pt>
          <cx:pt idx="62400">0</cx:pt>
          <cx:pt idx="62401">2</cx:pt>
          <cx:pt idx="62402">0</cx:pt>
          <cx:pt idx="62403">3</cx:pt>
          <cx:pt idx="62404">3</cx:pt>
          <cx:pt idx="62405">0</cx:pt>
          <cx:pt idx="62406">1</cx:pt>
          <cx:pt idx="62407">3</cx:pt>
          <cx:pt idx="62408">1</cx:pt>
          <cx:pt idx="62409">1</cx:pt>
          <cx:pt idx="62410">3</cx:pt>
          <cx:pt idx="62411">3</cx:pt>
          <cx:pt idx="62412">4</cx:pt>
          <cx:pt idx="62413">2</cx:pt>
          <cx:pt idx="62414">5</cx:pt>
          <cx:pt idx="62415">2</cx:pt>
          <cx:pt idx="62416">5</cx:pt>
          <cx:pt idx="62417">3</cx:pt>
          <cx:pt idx="62418">3</cx:pt>
          <cx:pt idx="62419">4</cx:pt>
          <cx:pt idx="62420">5</cx:pt>
          <cx:pt idx="62421">3</cx:pt>
          <cx:pt idx="62422">3</cx:pt>
          <cx:pt idx="62423">4</cx:pt>
          <cx:pt idx="62424">4</cx:pt>
          <cx:pt idx="62425">3</cx:pt>
          <cx:pt idx="62426">2</cx:pt>
          <cx:pt idx="62427">3</cx:pt>
          <cx:pt idx="62428">3</cx:pt>
          <cx:pt idx="62429">5</cx:pt>
          <cx:pt idx="62430">2</cx:pt>
          <cx:pt idx="62431">3</cx:pt>
          <cx:pt idx="62432">4</cx:pt>
          <cx:pt idx="62433">3</cx:pt>
          <cx:pt idx="62434">2</cx:pt>
          <cx:pt idx="62435">3</cx:pt>
          <cx:pt idx="62436">2</cx:pt>
          <cx:pt idx="62437">3</cx:pt>
          <cx:pt idx="62438">1</cx:pt>
          <cx:pt idx="62439">2</cx:pt>
          <cx:pt idx="62440">1</cx:pt>
          <cx:pt idx="62441">2</cx:pt>
          <cx:pt idx="62442">3</cx:pt>
          <cx:pt idx="62443">2</cx:pt>
          <cx:pt idx="62444">4</cx:pt>
          <cx:pt idx="62445">3</cx:pt>
          <cx:pt idx="62446">1</cx:pt>
          <cx:pt idx="62447">2</cx:pt>
          <cx:pt idx="62448">4</cx:pt>
          <cx:pt idx="62449">0</cx:pt>
          <cx:pt idx="62450">3</cx:pt>
          <cx:pt idx="62451">4</cx:pt>
          <cx:pt idx="62452">1</cx:pt>
          <cx:pt idx="62453">3</cx:pt>
          <cx:pt idx="62454">4</cx:pt>
          <cx:pt idx="62455">1</cx:pt>
          <cx:pt idx="62456">1</cx:pt>
          <cx:pt idx="62457">0</cx:pt>
          <cx:pt idx="62458">2</cx:pt>
          <cx:pt idx="62459">1</cx:pt>
          <cx:pt idx="62460">3</cx:pt>
          <cx:pt idx="62461">2</cx:pt>
          <cx:pt idx="62462">3</cx:pt>
          <cx:pt idx="62463">2</cx:pt>
          <cx:pt idx="62464">2</cx:pt>
          <cx:pt idx="62465">2</cx:pt>
          <cx:pt idx="62466">4</cx:pt>
          <cx:pt idx="62467">3</cx:pt>
          <cx:pt idx="62468">2</cx:pt>
          <cx:pt idx="62469">3</cx:pt>
          <cx:pt idx="62470">3</cx:pt>
          <cx:pt idx="62471">4</cx:pt>
          <cx:pt idx="62472">2</cx:pt>
          <cx:pt idx="62473">0</cx:pt>
          <cx:pt idx="62474">3</cx:pt>
          <cx:pt idx="62475">3</cx:pt>
          <cx:pt idx="62476">1</cx:pt>
          <cx:pt idx="62477">5</cx:pt>
          <cx:pt idx="62478">3</cx:pt>
          <cx:pt idx="62479">3</cx:pt>
          <cx:pt idx="62480">4</cx:pt>
          <cx:pt idx="62481">4</cx:pt>
          <cx:pt idx="62482">0</cx:pt>
          <cx:pt idx="62483">2</cx:pt>
          <cx:pt idx="62484">1</cx:pt>
          <cx:pt idx="62485">5</cx:pt>
          <cx:pt idx="62486">4</cx:pt>
          <cx:pt idx="62487">2</cx:pt>
          <cx:pt idx="62488">4</cx:pt>
          <cx:pt idx="62489">5</cx:pt>
          <cx:pt idx="62490">2</cx:pt>
          <cx:pt idx="62491">2</cx:pt>
          <cx:pt idx="62492">5</cx:pt>
          <cx:pt idx="62493">4</cx:pt>
          <cx:pt idx="62494">0</cx:pt>
          <cx:pt idx="62495">1</cx:pt>
          <cx:pt idx="62496">5</cx:pt>
          <cx:pt idx="62497">1</cx:pt>
          <cx:pt idx="62498">2</cx:pt>
          <cx:pt idx="62499">3</cx:pt>
          <cx:pt idx="62500">3</cx:pt>
          <cx:pt idx="62501">0</cx:pt>
          <cx:pt idx="62502">1</cx:pt>
          <cx:pt idx="62503">3</cx:pt>
          <cx:pt idx="62504">3</cx:pt>
          <cx:pt idx="62505">1</cx:pt>
          <cx:pt idx="62506">1</cx:pt>
          <cx:pt idx="62507">4</cx:pt>
          <cx:pt idx="62508">1</cx:pt>
          <cx:pt idx="62509">5</cx:pt>
          <cx:pt idx="62510">2</cx:pt>
          <cx:pt idx="62511">2</cx:pt>
          <cx:pt idx="62512">2</cx:pt>
          <cx:pt idx="62513">1</cx:pt>
          <cx:pt idx="62514">2</cx:pt>
          <cx:pt idx="62515">3</cx:pt>
          <cx:pt idx="62516">3</cx:pt>
          <cx:pt idx="62517">2</cx:pt>
          <cx:pt idx="62518">1</cx:pt>
          <cx:pt idx="62519">4</cx:pt>
          <cx:pt idx="62520">2</cx:pt>
          <cx:pt idx="62521">2</cx:pt>
          <cx:pt idx="62522">5</cx:pt>
          <cx:pt idx="62523">5</cx:pt>
          <cx:pt idx="62524">0</cx:pt>
          <cx:pt idx="62525">2</cx:pt>
          <cx:pt idx="62526">2</cx:pt>
          <cx:pt idx="62527">3</cx:pt>
          <cx:pt idx="62528">2</cx:pt>
          <cx:pt idx="62529">4</cx:pt>
          <cx:pt idx="62530">2</cx:pt>
          <cx:pt idx="62531">4</cx:pt>
          <cx:pt idx="62532">2</cx:pt>
          <cx:pt idx="62533">4</cx:pt>
          <cx:pt idx="62534">0</cx:pt>
          <cx:pt idx="62535">2</cx:pt>
          <cx:pt idx="62536">5</cx:pt>
          <cx:pt idx="62537">5</cx:pt>
          <cx:pt idx="62538">4</cx:pt>
          <cx:pt idx="62539">3</cx:pt>
          <cx:pt idx="62540">2</cx:pt>
          <cx:pt idx="62541">4</cx:pt>
          <cx:pt idx="62542">3</cx:pt>
          <cx:pt idx="62543">3</cx:pt>
          <cx:pt idx="62544">1</cx:pt>
          <cx:pt idx="62545">3</cx:pt>
          <cx:pt idx="62546">3</cx:pt>
          <cx:pt idx="62547">1</cx:pt>
          <cx:pt idx="62548">1</cx:pt>
          <cx:pt idx="62549">3</cx:pt>
          <cx:pt idx="62550">4</cx:pt>
          <cx:pt idx="62551">1</cx:pt>
          <cx:pt idx="62552">3</cx:pt>
          <cx:pt idx="62553">0</cx:pt>
          <cx:pt idx="62554">1</cx:pt>
          <cx:pt idx="62555">4</cx:pt>
          <cx:pt idx="62556">3</cx:pt>
          <cx:pt idx="62557">1</cx:pt>
          <cx:pt idx="62558">1</cx:pt>
          <cx:pt idx="62559">2</cx:pt>
          <cx:pt idx="62560">2</cx:pt>
          <cx:pt idx="62561">0</cx:pt>
          <cx:pt idx="62562">3</cx:pt>
          <cx:pt idx="62563">1</cx:pt>
          <cx:pt idx="62564">3</cx:pt>
          <cx:pt idx="62565">1</cx:pt>
          <cx:pt idx="62566">2</cx:pt>
          <cx:pt idx="62567">1</cx:pt>
          <cx:pt idx="62568">2</cx:pt>
          <cx:pt idx="62569">4</cx:pt>
          <cx:pt idx="62570">1</cx:pt>
          <cx:pt idx="62571">1</cx:pt>
          <cx:pt idx="62572">5</cx:pt>
          <cx:pt idx="62573">3</cx:pt>
          <cx:pt idx="62574">2</cx:pt>
          <cx:pt idx="62575">2</cx:pt>
          <cx:pt idx="62576">1</cx:pt>
          <cx:pt idx="62577">4</cx:pt>
          <cx:pt idx="62578">4</cx:pt>
          <cx:pt idx="62579">5</cx:pt>
          <cx:pt idx="62580">0</cx:pt>
          <cx:pt idx="62581">0</cx:pt>
          <cx:pt idx="62582">0</cx:pt>
          <cx:pt idx="62583">3</cx:pt>
          <cx:pt idx="62584">3</cx:pt>
          <cx:pt idx="62585">3</cx:pt>
          <cx:pt idx="62586">0</cx:pt>
          <cx:pt idx="62587">3</cx:pt>
          <cx:pt idx="62588">4</cx:pt>
          <cx:pt idx="62589">0</cx:pt>
          <cx:pt idx="62590">1</cx:pt>
          <cx:pt idx="62591">3</cx:pt>
          <cx:pt idx="62592">1</cx:pt>
          <cx:pt idx="62593">3</cx:pt>
          <cx:pt idx="62594">5</cx:pt>
          <cx:pt idx="62595">5</cx:pt>
          <cx:pt idx="62596">2</cx:pt>
          <cx:pt idx="62597">0</cx:pt>
          <cx:pt idx="62598">2</cx:pt>
          <cx:pt idx="62599">1</cx:pt>
          <cx:pt idx="62600">2</cx:pt>
          <cx:pt idx="62601">2</cx:pt>
          <cx:pt idx="62602">2</cx:pt>
          <cx:pt idx="62603">2</cx:pt>
          <cx:pt idx="62604">4</cx:pt>
          <cx:pt idx="62605">3</cx:pt>
          <cx:pt idx="62606">3</cx:pt>
          <cx:pt idx="62607">5</cx:pt>
          <cx:pt idx="62608">5</cx:pt>
          <cx:pt idx="62609">4</cx:pt>
          <cx:pt idx="62610">4</cx:pt>
          <cx:pt idx="62611">3</cx:pt>
          <cx:pt idx="62612">3</cx:pt>
          <cx:pt idx="62613">1</cx:pt>
          <cx:pt idx="62614">2</cx:pt>
          <cx:pt idx="62615">1</cx:pt>
          <cx:pt idx="62616">1</cx:pt>
          <cx:pt idx="62617">2</cx:pt>
          <cx:pt idx="62618">5</cx:pt>
          <cx:pt idx="62619">5</cx:pt>
          <cx:pt idx="62620">3</cx:pt>
          <cx:pt idx="62621">0</cx:pt>
          <cx:pt idx="62622">3</cx:pt>
          <cx:pt idx="62623">3</cx:pt>
          <cx:pt idx="62624">1</cx:pt>
          <cx:pt idx="62625">1</cx:pt>
          <cx:pt idx="62626">5</cx:pt>
          <cx:pt idx="62627">4</cx:pt>
          <cx:pt idx="62628">4</cx:pt>
          <cx:pt idx="62629">0</cx:pt>
          <cx:pt idx="62630">2</cx:pt>
          <cx:pt idx="62631">4</cx:pt>
          <cx:pt idx="62632">2</cx:pt>
          <cx:pt idx="62633">2</cx:pt>
          <cx:pt idx="62634">5</cx:pt>
          <cx:pt idx="62635">5</cx:pt>
          <cx:pt idx="62636">3</cx:pt>
          <cx:pt idx="62637">1</cx:pt>
          <cx:pt idx="62638">4</cx:pt>
          <cx:pt idx="62639">3</cx:pt>
          <cx:pt idx="62640">4</cx:pt>
          <cx:pt idx="62641">4</cx:pt>
          <cx:pt idx="62642">2</cx:pt>
          <cx:pt idx="62643">2</cx:pt>
          <cx:pt idx="62644">1</cx:pt>
          <cx:pt idx="62645">2</cx:pt>
          <cx:pt idx="62646">4</cx:pt>
          <cx:pt idx="62647">1</cx:pt>
          <cx:pt idx="62648">2</cx:pt>
          <cx:pt idx="62649">4</cx:pt>
          <cx:pt idx="62650">0</cx:pt>
          <cx:pt idx="62651">2</cx:pt>
          <cx:pt idx="62652">1</cx:pt>
          <cx:pt idx="62653">3</cx:pt>
          <cx:pt idx="62654">4</cx:pt>
          <cx:pt idx="62655">2</cx:pt>
          <cx:pt idx="62656">3</cx:pt>
          <cx:pt idx="62657">5</cx:pt>
          <cx:pt idx="62658">1</cx:pt>
          <cx:pt idx="62659">3</cx:pt>
          <cx:pt idx="62660">3</cx:pt>
          <cx:pt idx="62661">5</cx:pt>
          <cx:pt idx="62662">3</cx:pt>
          <cx:pt idx="62663">0</cx:pt>
          <cx:pt idx="62664">2</cx:pt>
          <cx:pt idx="62665">2</cx:pt>
          <cx:pt idx="62666">4</cx:pt>
          <cx:pt idx="62667">3</cx:pt>
          <cx:pt idx="62668">3</cx:pt>
          <cx:pt idx="62669">3</cx:pt>
          <cx:pt idx="62670">2</cx:pt>
          <cx:pt idx="62671">1</cx:pt>
          <cx:pt idx="62672">2</cx:pt>
          <cx:pt idx="62673">5</cx:pt>
          <cx:pt idx="62674">4</cx:pt>
          <cx:pt idx="62675">5</cx:pt>
          <cx:pt idx="62676">1</cx:pt>
          <cx:pt idx="62677">2</cx:pt>
          <cx:pt idx="62678">3</cx:pt>
          <cx:pt idx="62679">4</cx:pt>
          <cx:pt idx="62680">4</cx:pt>
          <cx:pt idx="62681">1</cx:pt>
          <cx:pt idx="62682">2</cx:pt>
          <cx:pt idx="62683">3</cx:pt>
          <cx:pt idx="62684">3</cx:pt>
          <cx:pt idx="62685">3</cx:pt>
          <cx:pt idx="62686">4</cx:pt>
          <cx:pt idx="62687">2</cx:pt>
          <cx:pt idx="62688">5</cx:pt>
          <cx:pt idx="62689">2</cx:pt>
          <cx:pt idx="62690">1</cx:pt>
          <cx:pt idx="62691">4</cx:pt>
          <cx:pt idx="62692">2</cx:pt>
          <cx:pt idx="62693">2</cx:pt>
          <cx:pt idx="62694">2</cx:pt>
          <cx:pt idx="62695">2</cx:pt>
          <cx:pt idx="62696">1</cx:pt>
          <cx:pt idx="62697">3</cx:pt>
          <cx:pt idx="62698">3</cx:pt>
          <cx:pt idx="62699">2</cx:pt>
          <cx:pt idx="62700">4</cx:pt>
          <cx:pt idx="62701">4</cx:pt>
          <cx:pt idx="62702">3</cx:pt>
          <cx:pt idx="62703">5</cx:pt>
          <cx:pt idx="62704">3</cx:pt>
          <cx:pt idx="62705">5</cx:pt>
          <cx:pt idx="62706">2</cx:pt>
          <cx:pt idx="62707">5</cx:pt>
          <cx:pt idx="62708">3</cx:pt>
          <cx:pt idx="62709">4</cx:pt>
          <cx:pt idx="62710">1</cx:pt>
          <cx:pt idx="62711">3</cx:pt>
          <cx:pt idx="62712">3</cx:pt>
          <cx:pt idx="62713">4</cx:pt>
          <cx:pt idx="62714">2</cx:pt>
          <cx:pt idx="62715">5</cx:pt>
          <cx:pt idx="62716">4</cx:pt>
          <cx:pt idx="62717">4</cx:pt>
          <cx:pt idx="62718">3</cx:pt>
          <cx:pt idx="62719">2</cx:pt>
          <cx:pt idx="62720">3</cx:pt>
          <cx:pt idx="62721">3</cx:pt>
          <cx:pt idx="62722">1</cx:pt>
          <cx:pt idx="62723">1</cx:pt>
          <cx:pt idx="62724">4</cx:pt>
          <cx:pt idx="62725">3</cx:pt>
          <cx:pt idx="62726">5</cx:pt>
          <cx:pt idx="62727">1</cx:pt>
          <cx:pt idx="62728">2</cx:pt>
          <cx:pt idx="62729">4</cx:pt>
          <cx:pt idx="62730">2</cx:pt>
          <cx:pt idx="62731">2</cx:pt>
          <cx:pt idx="62732">2</cx:pt>
          <cx:pt idx="62733">4</cx:pt>
          <cx:pt idx="62734">4</cx:pt>
          <cx:pt idx="62735">2</cx:pt>
          <cx:pt idx="62736">0</cx:pt>
          <cx:pt idx="62737">2</cx:pt>
          <cx:pt idx="62738">2</cx:pt>
          <cx:pt idx="62739">1</cx:pt>
          <cx:pt idx="62740">2</cx:pt>
          <cx:pt idx="62741">0</cx:pt>
          <cx:pt idx="62742">4</cx:pt>
          <cx:pt idx="62743">3</cx:pt>
          <cx:pt idx="62744">5</cx:pt>
          <cx:pt idx="62745">3</cx:pt>
          <cx:pt idx="62746">5</cx:pt>
          <cx:pt idx="62747">2</cx:pt>
          <cx:pt idx="62748">4</cx:pt>
          <cx:pt idx="62749">3</cx:pt>
          <cx:pt idx="62750">3</cx:pt>
          <cx:pt idx="62751">3</cx:pt>
          <cx:pt idx="62752">4</cx:pt>
          <cx:pt idx="62753">2</cx:pt>
          <cx:pt idx="62754">1</cx:pt>
          <cx:pt idx="62755">2</cx:pt>
          <cx:pt idx="62756">4</cx:pt>
          <cx:pt idx="62757">4</cx:pt>
          <cx:pt idx="62758">4</cx:pt>
          <cx:pt idx="62759">3</cx:pt>
          <cx:pt idx="62760">1</cx:pt>
          <cx:pt idx="62761">1</cx:pt>
          <cx:pt idx="62762">3</cx:pt>
          <cx:pt idx="62763">4</cx:pt>
          <cx:pt idx="62764">3</cx:pt>
          <cx:pt idx="62765">1</cx:pt>
          <cx:pt idx="62766">1</cx:pt>
          <cx:pt idx="62767">5</cx:pt>
          <cx:pt idx="62768">2</cx:pt>
          <cx:pt idx="62769">0</cx:pt>
          <cx:pt idx="62770">2</cx:pt>
          <cx:pt idx="62771">2</cx:pt>
          <cx:pt idx="62772">3</cx:pt>
          <cx:pt idx="62773">0</cx:pt>
          <cx:pt idx="62774">5</cx:pt>
          <cx:pt idx="62775">3</cx:pt>
          <cx:pt idx="62776">5</cx:pt>
          <cx:pt idx="62777">3</cx:pt>
          <cx:pt idx="62778">2</cx:pt>
          <cx:pt idx="62779">5</cx:pt>
          <cx:pt idx="62780">3</cx:pt>
          <cx:pt idx="62781">2</cx:pt>
          <cx:pt idx="62782">1</cx:pt>
          <cx:pt idx="62783">2</cx:pt>
          <cx:pt idx="62784">2</cx:pt>
          <cx:pt idx="62785">2</cx:pt>
          <cx:pt idx="62786">1</cx:pt>
          <cx:pt idx="62787">2</cx:pt>
          <cx:pt idx="62788">2</cx:pt>
          <cx:pt idx="62789">2</cx:pt>
          <cx:pt idx="62790">4</cx:pt>
          <cx:pt idx="62791">1</cx:pt>
          <cx:pt idx="62792">4</cx:pt>
          <cx:pt idx="62793">3</cx:pt>
          <cx:pt idx="62794">1</cx:pt>
          <cx:pt idx="62795">1</cx:pt>
          <cx:pt idx="62796">2</cx:pt>
          <cx:pt idx="62797">4</cx:pt>
          <cx:pt idx="62798">3</cx:pt>
          <cx:pt idx="62799">3</cx:pt>
          <cx:pt idx="62800">2</cx:pt>
          <cx:pt idx="62801">4</cx:pt>
          <cx:pt idx="62802">3</cx:pt>
          <cx:pt idx="62803">3</cx:pt>
          <cx:pt idx="62804">3</cx:pt>
          <cx:pt idx="62805">3</cx:pt>
          <cx:pt idx="62806">5</cx:pt>
          <cx:pt idx="62807">2</cx:pt>
          <cx:pt idx="62808">4</cx:pt>
          <cx:pt idx="62809">3</cx:pt>
          <cx:pt idx="62810">2</cx:pt>
          <cx:pt idx="62811">1</cx:pt>
          <cx:pt idx="62812">3</cx:pt>
          <cx:pt idx="62813">2</cx:pt>
          <cx:pt idx="62814">5</cx:pt>
          <cx:pt idx="62815">2</cx:pt>
          <cx:pt idx="62816">1</cx:pt>
          <cx:pt idx="62817">0</cx:pt>
          <cx:pt idx="62818">3</cx:pt>
          <cx:pt idx="62819">1</cx:pt>
          <cx:pt idx="62820">1</cx:pt>
          <cx:pt idx="62821">4</cx:pt>
          <cx:pt idx="62822">2</cx:pt>
          <cx:pt idx="62823">4</cx:pt>
          <cx:pt idx="62824">2</cx:pt>
          <cx:pt idx="62825">3</cx:pt>
          <cx:pt idx="62826">0</cx:pt>
          <cx:pt idx="62827">2</cx:pt>
          <cx:pt idx="62828">5</cx:pt>
          <cx:pt idx="62829">3</cx:pt>
          <cx:pt idx="62830">2</cx:pt>
          <cx:pt idx="62831">3</cx:pt>
          <cx:pt idx="62832">2</cx:pt>
          <cx:pt idx="62833">3</cx:pt>
          <cx:pt idx="62834">4</cx:pt>
          <cx:pt idx="62835">5</cx:pt>
          <cx:pt idx="62836">1</cx:pt>
          <cx:pt idx="62837">2</cx:pt>
          <cx:pt idx="62838">2</cx:pt>
          <cx:pt idx="62839">3</cx:pt>
          <cx:pt idx="62840">3</cx:pt>
          <cx:pt idx="62841">5</cx:pt>
          <cx:pt idx="62842">5</cx:pt>
          <cx:pt idx="62843">0</cx:pt>
          <cx:pt idx="62844">2</cx:pt>
          <cx:pt idx="62845">3</cx:pt>
          <cx:pt idx="62846">3</cx:pt>
          <cx:pt idx="62847">4</cx:pt>
          <cx:pt idx="62848">4</cx:pt>
          <cx:pt idx="62849">0</cx:pt>
          <cx:pt idx="62850">2</cx:pt>
          <cx:pt idx="62851">5</cx:pt>
          <cx:pt idx="62852">2</cx:pt>
          <cx:pt idx="62853">4</cx:pt>
          <cx:pt idx="62854">5</cx:pt>
          <cx:pt idx="62855">1</cx:pt>
          <cx:pt idx="62856">4</cx:pt>
          <cx:pt idx="62857">2</cx:pt>
          <cx:pt idx="62858">3</cx:pt>
          <cx:pt idx="62859">3</cx:pt>
          <cx:pt idx="62860">2</cx:pt>
          <cx:pt idx="62861">2</cx:pt>
          <cx:pt idx="62862">4</cx:pt>
          <cx:pt idx="62863">2</cx:pt>
          <cx:pt idx="62864">1</cx:pt>
          <cx:pt idx="62865">5</cx:pt>
          <cx:pt idx="62866">5</cx:pt>
          <cx:pt idx="62867">3</cx:pt>
          <cx:pt idx="62868">3</cx:pt>
          <cx:pt idx="62869">4</cx:pt>
          <cx:pt idx="62870">4</cx:pt>
          <cx:pt idx="62871">3</cx:pt>
          <cx:pt idx="62872">4</cx:pt>
          <cx:pt idx="62873">1</cx:pt>
          <cx:pt idx="62874">1</cx:pt>
          <cx:pt idx="62875">3</cx:pt>
          <cx:pt idx="62876">5</cx:pt>
          <cx:pt idx="62877">1</cx:pt>
          <cx:pt idx="62878">2</cx:pt>
          <cx:pt idx="62879">1</cx:pt>
          <cx:pt idx="62880">2</cx:pt>
          <cx:pt idx="62881">3</cx:pt>
          <cx:pt idx="62882">4</cx:pt>
          <cx:pt idx="62883">3</cx:pt>
          <cx:pt idx="62884">3</cx:pt>
          <cx:pt idx="62885">4</cx:pt>
          <cx:pt idx="62886">2</cx:pt>
          <cx:pt idx="62887">2</cx:pt>
          <cx:pt idx="62888">5</cx:pt>
          <cx:pt idx="62889">4</cx:pt>
          <cx:pt idx="62890">1</cx:pt>
          <cx:pt idx="62891">2</cx:pt>
          <cx:pt idx="62892">4</cx:pt>
          <cx:pt idx="62893">4</cx:pt>
          <cx:pt idx="62894">4</cx:pt>
          <cx:pt idx="62895">1</cx:pt>
          <cx:pt idx="62896">3</cx:pt>
          <cx:pt idx="62897">1</cx:pt>
          <cx:pt idx="62898">2</cx:pt>
          <cx:pt idx="62899">3</cx:pt>
          <cx:pt idx="62900">5</cx:pt>
          <cx:pt idx="62901">2</cx:pt>
          <cx:pt idx="62902">2</cx:pt>
          <cx:pt idx="62903">3</cx:pt>
          <cx:pt idx="62904">1</cx:pt>
          <cx:pt idx="62905">2</cx:pt>
          <cx:pt idx="62906">4</cx:pt>
          <cx:pt idx="62907">2</cx:pt>
          <cx:pt idx="62908">2</cx:pt>
          <cx:pt idx="62909">3</cx:pt>
          <cx:pt idx="62910">5</cx:pt>
          <cx:pt idx="62911">4</cx:pt>
          <cx:pt idx="62912">5</cx:pt>
          <cx:pt idx="62913">5</cx:pt>
          <cx:pt idx="62914">5</cx:pt>
          <cx:pt idx="62915">1</cx:pt>
          <cx:pt idx="62916">0</cx:pt>
          <cx:pt idx="62917">5</cx:pt>
          <cx:pt idx="62918">2</cx:pt>
          <cx:pt idx="62919">1</cx:pt>
          <cx:pt idx="62920">1</cx:pt>
          <cx:pt idx="62921">1</cx:pt>
          <cx:pt idx="62922">3</cx:pt>
          <cx:pt idx="62923">0</cx:pt>
          <cx:pt idx="62924">4</cx:pt>
          <cx:pt idx="62925">5</cx:pt>
          <cx:pt idx="62926">2</cx:pt>
          <cx:pt idx="62927">1</cx:pt>
          <cx:pt idx="62928">3</cx:pt>
          <cx:pt idx="62929">3</cx:pt>
          <cx:pt idx="62930">3</cx:pt>
          <cx:pt idx="62931">2</cx:pt>
          <cx:pt idx="62932">5</cx:pt>
          <cx:pt idx="62933">3</cx:pt>
          <cx:pt idx="62934">4</cx:pt>
          <cx:pt idx="62935">4</cx:pt>
          <cx:pt idx="62936">3</cx:pt>
          <cx:pt idx="62937">1</cx:pt>
          <cx:pt idx="62938">4</cx:pt>
          <cx:pt idx="62939">3</cx:pt>
          <cx:pt idx="62940">4</cx:pt>
          <cx:pt idx="62941">1</cx:pt>
          <cx:pt idx="62942">4</cx:pt>
          <cx:pt idx="62943">5</cx:pt>
          <cx:pt idx="62944">3</cx:pt>
          <cx:pt idx="62945">4</cx:pt>
          <cx:pt idx="62946">2</cx:pt>
          <cx:pt idx="62947">2</cx:pt>
          <cx:pt idx="62948">1</cx:pt>
          <cx:pt idx="62949">2</cx:pt>
          <cx:pt idx="62950">2</cx:pt>
          <cx:pt idx="62951">0</cx:pt>
          <cx:pt idx="62952">2</cx:pt>
          <cx:pt idx="62953">2</cx:pt>
          <cx:pt idx="62954">2</cx:pt>
          <cx:pt idx="62955">2</cx:pt>
          <cx:pt idx="62956">2</cx:pt>
          <cx:pt idx="62957">2</cx:pt>
          <cx:pt idx="62958">1</cx:pt>
          <cx:pt idx="62959">2</cx:pt>
          <cx:pt idx="62960">2</cx:pt>
          <cx:pt idx="62961">1</cx:pt>
          <cx:pt idx="62962">2</cx:pt>
          <cx:pt idx="62963">5</cx:pt>
          <cx:pt idx="62964">2</cx:pt>
          <cx:pt idx="62965">4</cx:pt>
          <cx:pt idx="62966">3</cx:pt>
          <cx:pt idx="62967">2</cx:pt>
          <cx:pt idx="62968">3</cx:pt>
          <cx:pt idx="62969">2</cx:pt>
          <cx:pt idx="62970">5</cx:pt>
          <cx:pt idx="62971">3</cx:pt>
          <cx:pt idx="62972">4</cx:pt>
          <cx:pt idx="62973">3</cx:pt>
          <cx:pt idx="62974">3</cx:pt>
          <cx:pt idx="62975">4</cx:pt>
          <cx:pt idx="62976">4</cx:pt>
          <cx:pt idx="62977">4</cx:pt>
          <cx:pt idx="62978">1</cx:pt>
          <cx:pt idx="62979">2</cx:pt>
          <cx:pt idx="62980">5</cx:pt>
          <cx:pt idx="62981">2</cx:pt>
          <cx:pt idx="62982">4</cx:pt>
          <cx:pt idx="62983">1</cx:pt>
          <cx:pt idx="62984">3</cx:pt>
          <cx:pt idx="62985">3</cx:pt>
          <cx:pt idx="62986">1</cx:pt>
          <cx:pt idx="62987">5</cx:pt>
          <cx:pt idx="62988">3</cx:pt>
          <cx:pt idx="62989">2</cx:pt>
          <cx:pt idx="62990">1</cx:pt>
          <cx:pt idx="62991">5</cx:pt>
          <cx:pt idx="62992">1</cx:pt>
          <cx:pt idx="62993">5</cx:pt>
          <cx:pt idx="62994">4</cx:pt>
          <cx:pt idx="62995">2</cx:pt>
          <cx:pt idx="62996">2</cx:pt>
          <cx:pt idx="62997">4</cx:pt>
          <cx:pt idx="62998">2</cx:pt>
          <cx:pt idx="62999">3</cx:pt>
          <cx:pt idx="63000">3</cx:pt>
          <cx:pt idx="63001">2</cx:pt>
          <cx:pt idx="63002">3</cx:pt>
          <cx:pt idx="63003">2</cx:pt>
          <cx:pt idx="63004">1</cx:pt>
          <cx:pt idx="63005">1</cx:pt>
          <cx:pt idx="63006">2</cx:pt>
          <cx:pt idx="63007">1</cx:pt>
          <cx:pt idx="63008">3</cx:pt>
          <cx:pt idx="63009">4</cx:pt>
          <cx:pt idx="63010">5</cx:pt>
          <cx:pt idx="63011">4</cx:pt>
          <cx:pt idx="63012">2</cx:pt>
          <cx:pt idx="63013">1</cx:pt>
          <cx:pt idx="63014">2</cx:pt>
          <cx:pt idx="63015">5</cx:pt>
          <cx:pt idx="63016">4</cx:pt>
          <cx:pt idx="63017">3</cx:pt>
          <cx:pt idx="63018">5</cx:pt>
          <cx:pt idx="63019">0</cx:pt>
          <cx:pt idx="63020">0</cx:pt>
          <cx:pt idx="63021">3</cx:pt>
          <cx:pt idx="63022">1</cx:pt>
          <cx:pt idx="63023">2</cx:pt>
          <cx:pt idx="63024">3</cx:pt>
          <cx:pt idx="63025">3</cx:pt>
          <cx:pt idx="63026">3</cx:pt>
          <cx:pt idx="63027">4</cx:pt>
          <cx:pt idx="63028">3</cx:pt>
          <cx:pt idx="63029">0</cx:pt>
          <cx:pt idx="63030">5</cx:pt>
          <cx:pt idx="63031">3</cx:pt>
          <cx:pt idx="63032">2</cx:pt>
          <cx:pt idx="63033">5</cx:pt>
          <cx:pt idx="63034">1</cx:pt>
          <cx:pt idx="63035">3</cx:pt>
          <cx:pt idx="63036">4</cx:pt>
          <cx:pt idx="63037">3</cx:pt>
          <cx:pt idx="63038">4</cx:pt>
          <cx:pt idx="63039">4</cx:pt>
          <cx:pt idx="63040">3</cx:pt>
          <cx:pt idx="63041">3</cx:pt>
          <cx:pt idx="63042">3</cx:pt>
          <cx:pt idx="63043">1</cx:pt>
          <cx:pt idx="63044">0</cx:pt>
          <cx:pt idx="63045">3</cx:pt>
          <cx:pt idx="63046">2</cx:pt>
          <cx:pt idx="63047">1</cx:pt>
          <cx:pt idx="63048">3</cx:pt>
          <cx:pt idx="63049">1</cx:pt>
          <cx:pt idx="63050">3</cx:pt>
          <cx:pt idx="63051">2</cx:pt>
          <cx:pt idx="63052">5</cx:pt>
          <cx:pt idx="63053">4</cx:pt>
          <cx:pt idx="63054">4</cx:pt>
          <cx:pt idx="63055">4</cx:pt>
          <cx:pt idx="63056">2</cx:pt>
          <cx:pt idx="63057">2</cx:pt>
          <cx:pt idx="63058">3</cx:pt>
          <cx:pt idx="63059">5</cx:pt>
          <cx:pt idx="63060">0</cx:pt>
          <cx:pt idx="63061">5</cx:pt>
          <cx:pt idx="63062">1</cx:pt>
          <cx:pt idx="63063">3</cx:pt>
          <cx:pt idx="63064">5</cx:pt>
          <cx:pt idx="63065">4</cx:pt>
          <cx:pt idx="63066">4</cx:pt>
          <cx:pt idx="63067">5</cx:pt>
          <cx:pt idx="63068">4</cx:pt>
          <cx:pt idx="63069">3</cx:pt>
          <cx:pt idx="63070">5</cx:pt>
          <cx:pt idx="63071">4</cx:pt>
          <cx:pt idx="63072">5</cx:pt>
          <cx:pt idx="63073">2</cx:pt>
          <cx:pt idx="63074">2</cx:pt>
          <cx:pt idx="63075">4</cx:pt>
          <cx:pt idx="63076">3</cx:pt>
          <cx:pt idx="63077">5</cx:pt>
          <cx:pt idx="63078">4</cx:pt>
          <cx:pt idx="63079">3</cx:pt>
          <cx:pt idx="63080">3</cx:pt>
          <cx:pt idx="63081">2</cx:pt>
          <cx:pt idx="63082">2</cx:pt>
          <cx:pt idx="63083">3</cx:pt>
          <cx:pt idx="63084">4</cx:pt>
          <cx:pt idx="63085">4</cx:pt>
          <cx:pt idx="63086">1</cx:pt>
          <cx:pt idx="63087">3</cx:pt>
          <cx:pt idx="63088">2</cx:pt>
          <cx:pt idx="63089">2</cx:pt>
          <cx:pt idx="63090">2</cx:pt>
          <cx:pt idx="63091">4</cx:pt>
          <cx:pt idx="63092">1</cx:pt>
          <cx:pt idx="63093">5</cx:pt>
          <cx:pt idx="63094">2</cx:pt>
          <cx:pt idx="63095">5</cx:pt>
          <cx:pt idx="63096">5</cx:pt>
          <cx:pt idx="63097">2</cx:pt>
          <cx:pt idx="63098">3</cx:pt>
          <cx:pt idx="63099">3</cx:pt>
          <cx:pt idx="63100">1</cx:pt>
          <cx:pt idx="63101">2</cx:pt>
          <cx:pt idx="63102">3</cx:pt>
          <cx:pt idx="63103">3</cx:pt>
          <cx:pt idx="63104">5</cx:pt>
          <cx:pt idx="63105">0</cx:pt>
          <cx:pt idx="63106">4</cx:pt>
          <cx:pt idx="63107">3</cx:pt>
          <cx:pt idx="63108">1</cx:pt>
          <cx:pt idx="63109">4</cx:pt>
          <cx:pt idx="63110">4</cx:pt>
          <cx:pt idx="63111">2</cx:pt>
          <cx:pt idx="63112">1</cx:pt>
          <cx:pt idx="63113">1</cx:pt>
          <cx:pt idx="63114">1</cx:pt>
          <cx:pt idx="63115">4</cx:pt>
          <cx:pt idx="63116">1</cx:pt>
          <cx:pt idx="63117">4</cx:pt>
          <cx:pt idx="63118">2</cx:pt>
          <cx:pt idx="63119">4</cx:pt>
          <cx:pt idx="63120">3</cx:pt>
          <cx:pt idx="63121">2</cx:pt>
          <cx:pt idx="63122">3</cx:pt>
          <cx:pt idx="63123">2</cx:pt>
          <cx:pt idx="63124">1</cx:pt>
          <cx:pt idx="63125">2</cx:pt>
          <cx:pt idx="63126">1</cx:pt>
          <cx:pt idx="63127">2</cx:pt>
          <cx:pt idx="63128">2</cx:pt>
          <cx:pt idx="63129">3</cx:pt>
          <cx:pt idx="63130">4</cx:pt>
          <cx:pt idx="63131">5</cx:pt>
          <cx:pt idx="63132">1</cx:pt>
          <cx:pt idx="63133">3</cx:pt>
          <cx:pt idx="63134">3</cx:pt>
          <cx:pt idx="63135">4</cx:pt>
          <cx:pt idx="63136">1</cx:pt>
          <cx:pt idx="63137">1</cx:pt>
          <cx:pt idx="63138">1</cx:pt>
          <cx:pt idx="63139">4</cx:pt>
          <cx:pt idx="63140">1</cx:pt>
          <cx:pt idx="63141">4</cx:pt>
          <cx:pt idx="63142">5</cx:pt>
          <cx:pt idx="63143">2</cx:pt>
          <cx:pt idx="63144">3</cx:pt>
          <cx:pt idx="63145">4</cx:pt>
          <cx:pt idx="63146">3</cx:pt>
          <cx:pt idx="63147">2</cx:pt>
          <cx:pt idx="63148">1</cx:pt>
          <cx:pt idx="63149">2</cx:pt>
          <cx:pt idx="63150">2</cx:pt>
          <cx:pt idx="63151">5</cx:pt>
          <cx:pt idx="63152">1</cx:pt>
          <cx:pt idx="63153">2</cx:pt>
          <cx:pt idx="63154">5</cx:pt>
          <cx:pt idx="63155">5</cx:pt>
          <cx:pt idx="63156">1</cx:pt>
          <cx:pt idx="63157">2</cx:pt>
          <cx:pt idx="63158">5</cx:pt>
          <cx:pt idx="63159">3</cx:pt>
          <cx:pt idx="63160">2</cx:pt>
          <cx:pt idx="63161">4</cx:pt>
          <cx:pt idx="63162">5</cx:pt>
          <cx:pt idx="63163">5</cx:pt>
          <cx:pt idx="63164">1</cx:pt>
          <cx:pt idx="63165">1</cx:pt>
          <cx:pt idx="63166">2</cx:pt>
          <cx:pt idx="63167">4</cx:pt>
          <cx:pt idx="63168">1</cx:pt>
          <cx:pt idx="63169">0</cx:pt>
          <cx:pt idx="63170">4</cx:pt>
          <cx:pt idx="63171">4</cx:pt>
          <cx:pt idx="63172">3</cx:pt>
          <cx:pt idx="63173">2</cx:pt>
          <cx:pt idx="63174">4</cx:pt>
          <cx:pt idx="63175">3</cx:pt>
          <cx:pt idx="63176">4</cx:pt>
          <cx:pt idx="63177">3</cx:pt>
          <cx:pt idx="63178">1</cx:pt>
          <cx:pt idx="63179">2</cx:pt>
          <cx:pt idx="63180">5</cx:pt>
          <cx:pt idx="63181">1</cx:pt>
          <cx:pt idx="63182">4</cx:pt>
          <cx:pt idx="63183">1</cx:pt>
          <cx:pt idx="63184">5</cx:pt>
          <cx:pt idx="63185">2</cx:pt>
          <cx:pt idx="63186">4</cx:pt>
          <cx:pt idx="63187">1</cx:pt>
          <cx:pt idx="63188">4</cx:pt>
          <cx:pt idx="63189">1</cx:pt>
          <cx:pt idx="63190">5</cx:pt>
          <cx:pt idx="63191">3</cx:pt>
          <cx:pt idx="63192">4</cx:pt>
          <cx:pt idx="63193">2</cx:pt>
          <cx:pt idx="63194">3</cx:pt>
          <cx:pt idx="63195">3</cx:pt>
          <cx:pt idx="63196">3</cx:pt>
          <cx:pt idx="63197">1</cx:pt>
          <cx:pt idx="63198">5</cx:pt>
          <cx:pt idx="63199">3</cx:pt>
          <cx:pt idx="63200">3</cx:pt>
          <cx:pt idx="63201">2</cx:pt>
          <cx:pt idx="63202">2</cx:pt>
          <cx:pt idx="63203">1</cx:pt>
          <cx:pt idx="63204">2</cx:pt>
          <cx:pt idx="63205">4</cx:pt>
          <cx:pt idx="63206">0</cx:pt>
          <cx:pt idx="63207">3</cx:pt>
          <cx:pt idx="63208">3</cx:pt>
          <cx:pt idx="63209">4</cx:pt>
          <cx:pt idx="63210">3</cx:pt>
          <cx:pt idx="63211">3</cx:pt>
          <cx:pt idx="63212">3</cx:pt>
          <cx:pt idx="63213">2</cx:pt>
          <cx:pt idx="63214">0</cx:pt>
          <cx:pt idx="63215">1</cx:pt>
          <cx:pt idx="63216">3</cx:pt>
          <cx:pt idx="63217">3</cx:pt>
          <cx:pt idx="63218">2</cx:pt>
          <cx:pt idx="63219">1</cx:pt>
          <cx:pt idx="63220">4</cx:pt>
          <cx:pt idx="63221">2</cx:pt>
          <cx:pt idx="63222">5</cx:pt>
          <cx:pt idx="63223">2</cx:pt>
          <cx:pt idx="63224">2</cx:pt>
          <cx:pt idx="63225">3</cx:pt>
          <cx:pt idx="63226">3</cx:pt>
          <cx:pt idx="63227">1</cx:pt>
          <cx:pt idx="63228">4</cx:pt>
          <cx:pt idx="63229">3</cx:pt>
          <cx:pt idx="63230">3</cx:pt>
          <cx:pt idx="63231">2</cx:pt>
          <cx:pt idx="63232">1</cx:pt>
          <cx:pt idx="63233">2</cx:pt>
          <cx:pt idx="63234">3</cx:pt>
          <cx:pt idx="63235">4</cx:pt>
          <cx:pt idx="63236">5</cx:pt>
          <cx:pt idx="63237">2</cx:pt>
          <cx:pt idx="63238">1</cx:pt>
          <cx:pt idx="63239">1</cx:pt>
          <cx:pt idx="63240">5</cx:pt>
          <cx:pt idx="63241">4</cx:pt>
          <cx:pt idx="63242">1</cx:pt>
          <cx:pt idx="63243">1</cx:pt>
          <cx:pt idx="63244">5</cx:pt>
          <cx:pt idx="63245">2</cx:pt>
          <cx:pt idx="63246">3</cx:pt>
          <cx:pt idx="63247">3</cx:pt>
          <cx:pt idx="63248">5</cx:pt>
          <cx:pt idx="63249">3</cx:pt>
          <cx:pt idx="63250">4</cx:pt>
          <cx:pt idx="63251">1</cx:pt>
          <cx:pt idx="63252">1</cx:pt>
          <cx:pt idx="63253">3</cx:pt>
          <cx:pt idx="63254">2</cx:pt>
          <cx:pt idx="63255">2</cx:pt>
          <cx:pt idx="63256">1</cx:pt>
          <cx:pt idx="63257">2</cx:pt>
          <cx:pt idx="63258">2</cx:pt>
          <cx:pt idx="63259">1</cx:pt>
          <cx:pt idx="63260">1</cx:pt>
          <cx:pt idx="63261">1</cx:pt>
          <cx:pt idx="63262">3</cx:pt>
          <cx:pt idx="63263">1</cx:pt>
          <cx:pt idx="63264">3</cx:pt>
          <cx:pt idx="63265">2</cx:pt>
          <cx:pt idx="63266">5</cx:pt>
          <cx:pt idx="63267">4</cx:pt>
          <cx:pt idx="63268">2</cx:pt>
          <cx:pt idx="63269">5</cx:pt>
          <cx:pt idx="63270">5</cx:pt>
          <cx:pt idx="63271">2</cx:pt>
          <cx:pt idx="63272">1</cx:pt>
          <cx:pt idx="63273">4</cx:pt>
          <cx:pt idx="63274">4</cx:pt>
          <cx:pt idx="63275">2</cx:pt>
          <cx:pt idx="63276">4</cx:pt>
          <cx:pt idx="63277">4</cx:pt>
          <cx:pt idx="63278">3</cx:pt>
          <cx:pt idx="63279">1</cx:pt>
          <cx:pt idx="63280">4</cx:pt>
          <cx:pt idx="63281">1</cx:pt>
          <cx:pt idx="63282">2</cx:pt>
          <cx:pt idx="63283">1</cx:pt>
          <cx:pt idx="63284">3</cx:pt>
          <cx:pt idx="63285">4</cx:pt>
          <cx:pt idx="63286">5</cx:pt>
          <cx:pt idx="63287">3</cx:pt>
          <cx:pt idx="63288">1</cx:pt>
          <cx:pt idx="63289">4</cx:pt>
          <cx:pt idx="63290">5</cx:pt>
          <cx:pt idx="63291">2</cx:pt>
          <cx:pt idx="63292">1</cx:pt>
          <cx:pt idx="63293">3</cx:pt>
          <cx:pt idx="63294">1</cx:pt>
          <cx:pt idx="63295">1</cx:pt>
          <cx:pt idx="63296">0</cx:pt>
          <cx:pt idx="63297">2</cx:pt>
          <cx:pt idx="63298">3</cx:pt>
          <cx:pt idx="63299">2</cx:pt>
          <cx:pt idx="63300">4</cx:pt>
          <cx:pt idx="63301">1</cx:pt>
          <cx:pt idx="63302">3</cx:pt>
          <cx:pt idx="63303">3</cx:pt>
          <cx:pt idx="63304">2</cx:pt>
          <cx:pt idx="63305">3</cx:pt>
          <cx:pt idx="63306">5</cx:pt>
          <cx:pt idx="63307">4</cx:pt>
          <cx:pt idx="63308">3</cx:pt>
          <cx:pt idx="63309">3</cx:pt>
          <cx:pt idx="63310">4</cx:pt>
          <cx:pt idx="63311">5</cx:pt>
          <cx:pt idx="63312">5</cx:pt>
          <cx:pt idx="63313">0</cx:pt>
          <cx:pt idx="63314">1</cx:pt>
          <cx:pt idx="63315">4</cx:pt>
          <cx:pt idx="63316">3</cx:pt>
          <cx:pt idx="63317">4</cx:pt>
          <cx:pt idx="63318">2</cx:pt>
          <cx:pt idx="63319">0</cx:pt>
          <cx:pt idx="63320">5</cx:pt>
          <cx:pt idx="63321">5</cx:pt>
          <cx:pt idx="63322">0</cx:pt>
          <cx:pt idx="63323">3</cx:pt>
          <cx:pt idx="63324">1</cx:pt>
          <cx:pt idx="63325">1</cx:pt>
          <cx:pt idx="63326">2</cx:pt>
          <cx:pt idx="63327">1</cx:pt>
          <cx:pt idx="63328">1</cx:pt>
          <cx:pt idx="63329">3</cx:pt>
          <cx:pt idx="63330">2</cx:pt>
          <cx:pt idx="63331">0</cx:pt>
          <cx:pt idx="63332">2</cx:pt>
          <cx:pt idx="63333">1</cx:pt>
          <cx:pt idx="63334">3</cx:pt>
          <cx:pt idx="63335">2</cx:pt>
          <cx:pt idx="63336">2</cx:pt>
          <cx:pt idx="63337">3</cx:pt>
          <cx:pt idx="63338">0</cx:pt>
          <cx:pt idx="63339">3</cx:pt>
          <cx:pt idx="63340">1</cx:pt>
          <cx:pt idx="63341">2</cx:pt>
          <cx:pt idx="63342">2</cx:pt>
          <cx:pt idx="63343">2</cx:pt>
          <cx:pt idx="63344">2</cx:pt>
          <cx:pt idx="63345">1</cx:pt>
          <cx:pt idx="63346">3</cx:pt>
          <cx:pt idx="63347">2</cx:pt>
          <cx:pt idx="63348">3</cx:pt>
          <cx:pt idx="63349">4</cx:pt>
          <cx:pt idx="63350">2</cx:pt>
          <cx:pt idx="63351">5</cx:pt>
          <cx:pt idx="63352">1</cx:pt>
          <cx:pt idx="63353">3</cx:pt>
          <cx:pt idx="63354">4</cx:pt>
          <cx:pt idx="63355">4</cx:pt>
          <cx:pt idx="63356">1</cx:pt>
          <cx:pt idx="63357">3</cx:pt>
          <cx:pt idx="63358">3</cx:pt>
          <cx:pt idx="63359">1</cx:pt>
          <cx:pt idx="63360">5</cx:pt>
          <cx:pt idx="63361">4</cx:pt>
          <cx:pt idx="63362">2</cx:pt>
          <cx:pt idx="63363">3</cx:pt>
          <cx:pt idx="63364">1</cx:pt>
          <cx:pt idx="63365">1</cx:pt>
          <cx:pt idx="63366">2</cx:pt>
          <cx:pt idx="63367">4</cx:pt>
          <cx:pt idx="63368">3</cx:pt>
          <cx:pt idx="63369">1</cx:pt>
          <cx:pt idx="63370">5</cx:pt>
          <cx:pt idx="63371">3</cx:pt>
          <cx:pt idx="63372">5</cx:pt>
          <cx:pt idx="63373">2</cx:pt>
          <cx:pt idx="63374">2</cx:pt>
          <cx:pt idx="63375">4</cx:pt>
          <cx:pt idx="63376">1</cx:pt>
          <cx:pt idx="63377">2</cx:pt>
          <cx:pt idx="63378">0</cx:pt>
          <cx:pt idx="63379">5</cx:pt>
          <cx:pt idx="63380">3</cx:pt>
          <cx:pt idx="63381">3</cx:pt>
          <cx:pt idx="63382">3</cx:pt>
          <cx:pt idx="63383">4</cx:pt>
          <cx:pt idx="63384">5</cx:pt>
          <cx:pt idx="63385">3</cx:pt>
          <cx:pt idx="63386">2</cx:pt>
          <cx:pt idx="63387">5</cx:pt>
          <cx:pt idx="63388">3</cx:pt>
          <cx:pt idx="63389">5</cx:pt>
          <cx:pt idx="63390">3</cx:pt>
          <cx:pt idx="63391">1</cx:pt>
          <cx:pt idx="63392">3</cx:pt>
          <cx:pt idx="63393">2</cx:pt>
          <cx:pt idx="63394">3</cx:pt>
          <cx:pt idx="63395">2</cx:pt>
          <cx:pt idx="63396">3</cx:pt>
          <cx:pt idx="63397">2</cx:pt>
          <cx:pt idx="63398">1</cx:pt>
          <cx:pt idx="63399">5</cx:pt>
          <cx:pt idx="63400">1</cx:pt>
          <cx:pt idx="63401">5</cx:pt>
          <cx:pt idx="63402">4</cx:pt>
          <cx:pt idx="63403">1</cx:pt>
          <cx:pt idx="63404">3</cx:pt>
          <cx:pt idx="63405">3</cx:pt>
          <cx:pt idx="63406">0</cx:pt>
          <cx:pt idx="63407">2</cx:pt>
          <cx:pt idx="63408">4</cx:pt>
          <cx:pt idx="63409">3</cx:pt>
          <cx:pt idx="63410">4</cx:pt>
          <cx:pt idx="63411">4</cx:pt>
          <cx:pt idx="63412">4</cx:pt>
          <cx:pt idx="63413">2</cx:pt>
          <cx:pt idx="63414">4</cx:pt>
          <cx:pt idx="63415">5</cx:pt>
          <cx:pt idx="63416">3</cx:pt>
          <cx:pt idx="63417">5</cx:pt>
          <cx:pt idx="63418">3</cx:pt>
          <cx:pt idx="63419">5</cx:pt>
          <cx:pt idx="63420">4</cx:pt>
          <cx:pt idx="63421">2</cx:pt>
          <cx:pt idx="63422">4</cx:pt>
          <cx:pt idx="63423">1</cx:pt>
          <cx:pt idx="63424">5</cx:pt>
          <cx:pt idx="63425">1</cx:pt>
          <cx:pt idx="63426">5</cx:pt>
          <cx:pt idx="63427">5</cx:pt>
          <cx:pt idx="63428">2</cx:pt>
          <cx:pt idx="63429">2</cx:pt>
          <cx:pt idx="63430">4</cx:pt>
          <cx:pt idx="63431">3</cx:pt>
          <cx:pt idx="63432">4</cx:pt>
          <cx:pt idx="63433">1</cx:pt>
          <cx:pt idx="63434">1</cx:pt>
          <cx:pt idx="63435">3</cx:pt>
          <cx:pt idx="63436">3</cx:pt>
          <cx:pt idx="63437">2</cx:pt>
          <cx:pt idx="63438">1</cx:pt>
          <cx:pt idx="63439">3</cx:pt>
          <cx:pt idx="63440">0</cx:pt>
          <cx:pt idx="63441">5</cx:pt>
          <cx:pt idx="63442">5</cx:pt>
          <cx:pt idx="63443">1</cx:pt>
          <cx:pt idx="63444">1</cx:pt>
          <cx:pt idx="63445">1</cx:pt>
          <cx:pt idx="63446">4</cx:pt>
          <cx:pt idx="63447">2</cx:pt>
          <cx:pt idx="63448">0</cx:pt>
          <cx:pt idx="63449">2</cx:pt>
          <cx:pt idx="63450">3</cx:pt>
          <cx:pt idx="63451">1</cx:pt>
          <cx:pt idx="63452">4</cx:pt>
          <cx:pt idx="63453">1</cx:pt>
          <cx:pt idx="63454">4</cx:pt>
          <cx:pt idx="63455">5</cx:pt>
          <cx:pt idx="63456">1</cx:pt>
          <cx:pt idx="63457">2</cx:pt>
          <cx:pt idx="63458">4</cx:pt>
          <cx:pt idx="63459">2</cx:pt>
          <cx:pt idx="63460">1</cx:pt>
          <cx:pt idx="63461">4</cx:pt>
          <cx:pt idx="63462">1</cx:pt>
          <cx:pt idx="63463">1</cx:pt>
          <cx:pt idx="63464">1</cx:pt>
          <cx:pt idx="63465">4</cx:pt>
          <cx:pt idx="63466">2</cx:pt>
          <cx:pt idx="63467">2</cx:pt>
          <cx:pt idx="63468">1</cx:pt>
          <cx:pt idx="63469">5</cx:pt>
          <cx:pt idx="63470">2</cx:pt>
          <cx:pt idx="63471">5</cx:pt>
          <cx:pt idx="63472">4</cx:pt>
          <cx:pt idx="63473">5</cx:pt>
          <cx:pt idx="63474">1</cx:pt>
          <cx:pt idx="63475">3</cx:pt>
          <cx:pt idx="63476">1</cx:pt>
          <cx:pt idx="63477">2</cx:pt>
          <cx:pt idx="63478">1</cx:pt>
          <cx:pt idx="63479">3</cx:pt>
          <cx:pt idx="63480">3</cx:pt>
          <cx:pt idx="63481">4</cx:pt>
          <cx:pt idx="63482">1</cx:pt>
          <cx:pt idx="63483">4</cx:pt>
          <cx:pt idx="63484">4</cx:pt>
          <cx:pt idx="63485">2</cx:pt>
          <cx:pt idx="63486">4</cx:pt>
          <cx:pt idx="63487">5</cx:pt>
          <cx:pt idx="63488">0</cx:pt>
          <cx:pt idx="63489">4</cx:pt>
          <cx:pt idx="63490">5</cx:pt>
          <cx:pt idx="63491">2</cx:pt>
          <cx:pt idx="63492">0</cx:pt>
          <cx:pt idx="63493">2</cx:pt>
          <cx:pt idx="63494">4</cx:pt>
          <cx:pt idx="63495">4</cx:pt>
          <cx:pt idx="63496">0</cx:pt>
          <cx:pt idx="63497">4</cx:pt>
          <cx:pt idx="63498">5</cx:pt>
          <cx:pt idx="63499">1</cx:pt>
          <cx:pt idx="63500">4</cx:pt>
          <cx:pt idx="63501">2</cx:pt>
          <cx:pt idx="63502">2</cx:pt>
          <cx:pt idx="63503">4</cx:pt>
          <cx:pt idx="63504">3</cx:pt>
          <cx:pt idx="63505">2</cx:pt>
          <cx:pt idx="63506">2</cx:pt>
          <cx:pt idx="63507">5</cx:pt>
          <cx:pt idx="63508">3</cx:pt>
          <cx:pt idx="63509">1</cx:pt>
          <cx:pt idx="63510">3</cx:pt>
          <cx:pt idx="63511">3</cx:pt>
          <cx:pt idx="63512">3</cx:pt>
          <cx:pt idx="63513">3</cx:pt>
          <cx:pt idx="63514">4</cx:pt>
          <cx:pt idx="63515">0</cx:pt>
          <cx:pt idx="63516">3</cx:pt>
          <cx:pt idx="63517">2</cx:pt>
          <cx:pt idx="63518">1</cx:pt>
          <cx:pt idx="63519">2</cx:pt>
          <cx:pt idx="63520">3</cx:pt>
          <cx:pt idx="63521">3</cx:pt>
          <cx:pt idx="63522">5</cx:pt>
          <cx:pt idx="63523">1</cx:pt>
          <cx:pt idx="63524">2</cx:pt>
          <cx:pt idx="63525">3</cx:pt>
          <cx:pt idx="63526">3</cx:pt>
          <cx:pt idx="63527">3</cx:pt>
          <cx:pt idx="63528">1</cx:pt>
          <cx:pt idx="63529">5</cx:pt>
          <cx:pt idx="63530">2</cx:pt>
          <cx:pt idx="63531">4</cx:pt>
          <cx:pt idx="63532">0</cx:pt>
          <cx:pt idx="63533">2</cx:pt>
          <cx:pt idx="63534">3</cx:pt>
          <cx:pt idx="63535">4</cx:pt>
          <cx:pt idx="63536">5</cx:pt>
          <cx:pt idx="63537">2</cx:pt>
          <cx:pt idx="63538">3</cx:pt>
          <cx:pt idx="63539">5</cx:pt>
          <cx:pt idx="63540">4</cx:pt>
          <cx:pt idx="63541">3</cx:pt>
          <cx:pt idx="63542">3</cx:pt>
          <cx:pt idx="63543">5</cx:pt>
          <cx:pt idx="63544">3</cx:pt>
          <cx:pt idx="63545">4</cx:pt>
          <cx:pt idx="63546">3</cx:pt>
          <cx:pt idx="63547">4</cx:pt>
          <cx:pt idx="63548">2</cx:pt>
          <cx:pt idx="63549">3</cx:pt>
          <cx:pt idx="63550">1</cx:pt>
          <cx:pt idx="63551">2</cx:pt>
          <cx:pt idx="63552">2</cx:pt>
          <cx:pt idx="63553">2</cx:pt>
          <cx:pt idx="63554">2</cx:pt>
          <cx:pt idx="63555">3</cx:pt>
          <cx:pt idx="63556">0</cx:pt>
          <cx:pt idx="63557">2</cx:pt>
          <cx:pt idx="63558">4</cx:pt>
          <cx:pt idx="63559">4</cx:pt>
          <cx:pt idx="63560">2</cx:pt>
          <cx:pt idx="63561">3</cx:pt>
          <cx:pt idx="63562">5</cx:pt>
          <cx:pt idx="63563">3</cx:pt>
          <cx:pt idx="63564">2</cx:pt>
          <cx:pt idx="63565">1</cx:pt>
          <cx:pt idx="63566">3</cx:pt>
          <cx:pt idx="63567">2</cx:pt>
          <cx:pt idx="63568">2</cx:pt>
          <cx:pt idx="63569">1</cx:pt>
          <cx:pt idx="63570">1</cx:pt>
          <cx:pt idx="63571">4</cx:pt>
          <cx:pt idx="63572">3</cx:pt>
          <cx:pt idx="63573">1</cx:pt>
          <cx:pt idx="63574">3</cx:pt>
          <cx:pt idx="63575">1</cx:pt>
          <cx:pt idx="63576">5</cx:pt>
          <cx:pt idx="63577">5</cx:pt>
          <cx:pt idx="63578">3</cx:pt>
          <cx:pt idx="63579">2</cx:pt>
          <cx:pt idx="63580">1</cx:pt>
          <cx:pt idx="63581">3</cx:pt>
          <cx:pt idx="63582">5</cx:pt>
          <cx:pt idx="63583">2</cx:pt>
          <cx:pt idx="63584">1</cx:pt>
          <cx:pt idx="63585">1</cx:pt>
          <cx:pt idx="63586">2</cx:pt>
          <cx:pt idx="63587">3</cx:pt>
          <cx:pt idx="63588">5</cx:pt>
          <cx:pt idx="63589">2</cx:pt>
          <cx:pt idx="63590">3</cx:pt>
          <cx:pt idx="63591">5</cx:pt>
          <cx:pt idx="63592">4</cx:pt>
          <cx:pt idx="63593">4</cx:pt>
          <cx:pt idx="63594">1</cx:pt>
          <cx:pt idx="63595">1</cx:pt>
          <cx:pt idx="63596">3</cx:pt>
          <cx:pt idx="63597">3</cx:pt>
          <cx:pt idx="63598">4</cx:pt>
          <cx:pt idx="63599">3</cx:pt>
          <cx:pt idx="63600">2</cx:pt>
          <cx:pt idx="63601">3</cx:pt>
          <cx:pt idx="63602">3</cx:pt>
          <cx:pt idx="63603">4</cx:pt>
          <cx:pt idx="63604">5</cx:pt>
          <cx:pt idx="63605">4</cx:pt>
          <cx:pt idx="63606">4</cx:pt>
          <cx:pt idx="63607">5</cx:pt>
          <cx:pt idx="63608">3</cx:pt>
          <cx:pt idx="63609">3</cx:pt>
          <cx:pt idx="63610">2</cx:pt>
          <cx:pt idx="63611">2</cx:pt>
          <cx:pt idx="63612">1</cx:pt>
          <cx:pt idx="63613">2</cx:pt>
          <cx:pt idx="63614">1</cx:pt>
          <cx:pt idx="63615">3</cx:pt>
          <cx:pt idx="63616">1</cx:pt>
          <cx:pt idx="63617">3</cx:pt>
          <cx:pt idx="63618">0</cx:pt>
          <cx:pt idx="63619">3</cx:pt>
          <cx:pt idx="63620">1</cx:pt>
          <cx:pt idx="63621">5</cx:pt>
          <cx:pt idx="63622">1</cx:pt>
          <cx:pt idx="63623">4</cx:pt>
          <cx:pt idx="63624">5</cx:pt>
          <cx:pt idx="63625">3</cx:pt>
          <cx:pt idx="63626">5</cx:pt>
          <cx:pt idx="63627">4</cx:pt>
          <cx:pt idx="63628">3</cx:pt>
          <cx:pt idx="63629">3</cx:pt>
          <cx:pt idx="63630">4</cx:pt>
          <cx:pt idx="63631">3</cx:pt>
          <cx:pt idx="63632">4</cx:pt>
          <cx:pt idx="63633">2</cx:pt>
          <cx:pt idx="63634">1</cx:pt>
          <cx:pt idx="63635">5</cx:pt>
          <cx:pt idx="63636">3</cx:pt>
          <cx:pt idx="63637">1</cx:pt>
          <cx:pt idx="63638">1</cx:pt>
          <cx:pt idx="63639">0</cx:pt>
          <cx:pt idx="63640">2</cx:pt>
          <cx:pt idx="63641">1</cx:pt>
          <cx:pt idx="63642">1</cx:pt>
          <cx:pt idx="63643">4</cx:pt>
          <cx:pt idx="63644">4</cx:pt>
          <cx:pt idx="63645">2</cx:pt>
          <cx:pt idx="63646">3</cx:pt>
          <cx:pt idx="63647">3</cx:pt>
          <cx:pt idx="63648">2</cx:pt>
          <cx:pt idx="63649">3</cx:pt>
          <cx:pt idx="63650">3</cx:pt>
          <cx:pt idx="63651">3</cx:pt>
          <cx:pt idx="63652">1</cx:pt>
          <cx:pt idx="63653">4</cx:pt>
          <cx:pt idx="63654">4</cx:pt>
          <cx:pt idx="63655">2</cx:pt>
          <cx:pt idx="63656">4</cx:pt>
          <cx:pt idx="63657">4</cx:pt>
          <cx:pt idx="63658">2</cx:pt>
          <cx:pt idx="63659">3</cx:pt>
          <cx:pt idx="63660">5</cx:pt>
          <cx:pt idx="63661">4</cx:pt>
          <cx:pt idx="63662">4</cx:pt>
          <cx:pt idx="63663">5</cx:pt>
          <cx:pt idx="63664">4</cx:pt>
          <cx:pt idx="63665">3</cx:pt>
          <cx:pt idx="63666">2</cx:pt>
          <cx:pt idx="63667">2</cx:pt>
          <cx:pt idx="63668">4</cx:pt>
          <cx:pt idx="63669">2</cx:pt>
          <cx:pt idx="63670">3</cx:pt>
          <cx:pt idx="63671">4</cx:pt>
          <cx:pt idx="63672">2</cx:pt>
          <cx:pt idx="63673">1</cx:pt>
          <cx:pt idx="63674">1</cx:pt>
          <cx:pt idx="63675">3</cx:pt>
          <cx:pt idx="63676">1</cx:pt>
          <cx:pt idx="63677">3</cx:pt>
          <cx:pt idx="63678">2</cx:pt>
          <cx:pt idx="63679">5</cx:pt>
          <cx:pt idx="63680">2</cx:pt>
          <cx:pt idx="63681">3</cx:pt>
          <cx:pt idx="63682">1</cx:pt>
          <cx:pt idx="63683">3</cx:pt>
          <cx:pt idx="63684">3</cx:pt>
          <cx:pt idx="63685">4</cx:pt>
          <cx:pt idx="63686">1</cx:pt>
          <cx:pt idx="63687">5</cx:pt>
          <cx:pt idx="63688">5</cx:pt>
          <cx:pt idx="63689">5</cx:pt>
          <cx:pt idx="63690">3</cx:pt>
          <cx:pt idx="63691">3</cx:pt>
          <cx:pt idx="63692">3</cx:pt>
          <cx:pt idx="63693">2</cx:pt>
          <cx:pt idx="63694">5</cx:pt>
          <cx:pt idx="63695">3</cx:pt>
          <cx:pt idx="63696">2</cx:pt>
          <cx:pt idx="63697">2</cx:pt>
          <cx:pt idx="63698">4</cx:pt>
          <cx:pt idx="63699">1</cx:pt>
          <cx:pt idx="63700">2</cx:pt>
          <cx:pt idx="63701">4</cx:pt>
          <cx:pt idx="63702">1</cx:pt>
          <cx:pt idx="63703">2</cx:pt>
          <cx:pt idx="63704">3</cx:pt>
          <cx:pt idx="63705">5</cx:pt>
          <cx:pt idx="63706">2</cx:pt>
          <cx:pt idx="63707">2</cx:pt>
          <cx:pt idx="63708">1</cx:pt>
          <cx:pt idx="63709">3</cx:pt>
          <cx:pt idx="63710">4</cx:pt>
          <cx:pt idx="63711">1</cx:pt>
          <cx:pt idx="63712">4</cx:pt>
          <cx:pt idx="63713">4</cx:pt>
          <cx:pt idx="63714">2</cx:pt>
          <cx:pt idx="63715">1</cx:pt>
          <cx:pt idx="63716">2</cx:pt>
          <cx:pt idx="63717">2</cx:pt>
          <cx:pt idx="63718">3</cx:pt>
          <cx:pt idx="63719">3</cx:pt>
          <cx:pt idx="63720">4</cx:pt>
          <cx:pt idx="63721">1</cx:pt>
          <cx:pt idx="63722">4</cx:pt>
          <cx:pt idx="63723">2</cx:pt>
          <cx:pt idx="63724">3</cx:pt>
          <cx:pt idx="63725">5</cx:pt>
          <cx:pt idx="63726">3</cx:pt>
          <cx:pt idx="63727">3</cx:pt>
          <cx:pt idx="63728">4</cx:pt>
          <cx:pt idx="63729">2</cx:pt>
          <cx:pt idx="63730">3</cx:pt>
          <cx:pt idx="63731">4</cx:pt>
          <cx:pt idx="63732">1</cx:pt>
          <cx:pt idx="63733">3</cx:pt>
          <cx:pt idx="63734">3</cx:pt>
          <cx:pt idx="63735">2</cx:pt>
          <cx:pt idx="63736">3</cx:pt>
          <cx:pt idx="63737">1</cx:pt>
          <cx:pt idx="63738">4</cx:pt>
          <cx:pt idx="63739">1</cx:pt>
          <cx:pt idx="63740">3</cx:pt>
          <cx:pt idx="63741">1</cx:pt>
          <cx:pt idx="63742">3</cx:pt>
          <cx:pt idx="63743">2</cx:pt>
          <cx:pt idx="63744">3</cx:pt>
          <cx:pt idx="63745">2</cx:pt>
          <cx:pt idx="63746">0</cx:pt>
          <cx:pt idx="63747">3</cx:pt>
          <cx:pt idx="63748">5</cx:pt>
          <cx:pt idx="63749">2</cx:pt>
          <cx:pt idx="63750">1</cx:pt>
          <cx:pt idx="63751">1</cx:pt>
          <cx:pt idx="63752">4</cx:pt>
          <cx:pt idx="63753">3</cx:pt>
          <cx:pt idx="63754">3</cx:pt>
          <cx:pt idx="63755">4</cx:pt>
          <cx:pt idx="63756">4</cx:pt>
          <cx:pt idx="63757">2</cx:pt>
          <cx:pt idx="63758">1</cx:pt>
          <cx:pt idx="63759">1</cx:pt>
          <cx:pt idx="63760">5</cx:pt>
          <cx:pt idx="63761">4</cx:pt>
          <cx:pt idx="63762">5</cx:pt>
          <cx:pt idx="63763">3</cx:pt>
          <cx:pt idx="63764">4</cx:pt>
          <cx:pt idx="63765">1</cx:pt>
          <cx:pt idx="63766">3</cx:pt>
          <cx:pt idx="63767">1</cx:pt>
          <cx:pt idx="63768">3</cx:pt>
          <cx:pt idx="63769">2</cx:pt>
          <cx:pt idx="63770">2</cx:pt>
          <cx:pt idx="63771">5</cx:pt>
          <cx:pt idx="63772">1</cx:pt>
          <cx:pt idx="63773">4</cx:pt>
          <cx:pt idx="63774">2</cx:pt>
          <cx:pt idx="63775">3</cx:pt>
          <cx:pt idx="63776">3</cx:pt>
          <cx:pt idx="63777">2</cx:pt>
          <cx:pt idx="63778">1</cx:pt>
          <cx:pt idx="63779">4</cx:pt>
          <cx:pt idx="63780">3</cx:pt>
          <cx:pt idx="63781">3</cx:pt>
          <cx:pt idx="63782">5</cx:pt>
          <cx:pt idx="63783">1</cx:pt>
          <cx:pt idx="63784">1</cx:pt>
          <cx:pt idx="63785">2</cx:pt>
          <cx:pt idx="63786">1</cx:pt>
          <cx:pt idx="63787">5</cx:pt>
          <cx:pt idx="63788">4</cx:pt>
          <cx:pt idx="63789">1</cx:pt>
          <cx:pt idx="63790">1</cx:pt>
          <cx:pt idx="63791">2</cx:pt>
          <cx:pt idx="63792">2</cx:pt>
          <cx:pt idx="63793">1</cx:pt>
          <cx:pt idx="63794">2</cx:pt>
          <cx:pt idx="63795">1</cx:pt>
          <cx:pt idx="63796">5</cx:pt>
          <cx:pt idx="63797">4</cx:pt>
          <cx:pt idx="63798">5</cx:pt>
          <cx:pt idx="63799">1</cx:pt>
          <cx:pt idx="63800">0</cx:pt>
          <cx:pt idx="63801">2</cx:pt>
          <cx:pt idx="63802">4</cx:pt>
          <cx:pt idx="63803">3</cx:pt>
          <cx:pt idx="63804">4</cx:pt>
          <cx:pt idx="63805">4</cx:pt>
          <cx:pt idx="63806">1</cx:pt>
          <cx:pt idx="63807">5</cx:pt>
          <cx:pt idx="63808">1</cx:pt>
          <cx:pt idx="63809">2</cx:pt>
          <cx:pt idx="63810">1</cx:pt>
          <cx:pt idx="63811">4</cx:pt>
          <cx:pt idx="63812">5</cx:pt>
          <cx:pt idx="63813">3</cx:pt>
          <cx:pt idx="63814">3</cx:pt>
          <cx:pt idx="63815">5</cx:pt>
          <cx:pt idx="63816">3</cx:pt>
          <cx:pt idx="63817">3</cx:pt>
          <cx:pt idx="63818">0</cx:pt>
          <cx:pt idx="63819">1</cx:pt>
          <cx:pt idx="63820">1</cx:pt>
          <cx:pt idx="63821">2</cx:pt>
          <cx:pt idx="63822">4</cx:pt>
          <cx:pt idx="63823">4</cx:pt>
          <cx:pt idx="63824">2</cx:pt>
          <cx:pt idx="63825">2</cx:pt>
          <cx:pt idx="63826">4</cx:pt>
          <cx:pt idx="63827">4</cx:pt>
          <cx:pt idx="63828">5</cx:pt>
          <cx:pt idx="63829">2</cx:pt>
          <cx:pt idx="63830">5</cx:pt>
          <cx:pt idx="63831">4</cx:pt>
          <cx:pt idx="63832">4</cx:pt>
          <cx:pt idx="63833">4</cx:pt>
          <cx:pt idx="63834">0</cx:pt>
          <cx:pt idx="63835">2</cx:pt>
          <cx:pt idx="63836">2</cx:pt>
          <cx:pt idx="63837">1</cx:pt>
          <cx:pt idx="63838">4</cx:pt>
          <cx:pt idx="63839">1</cx:pt>
          <cx:pt idx="63840">4</cx:pt>
          <cx:pt idx="63841">3</cx:pt>
          <cx:pt idx="63842">3</cx:pt>
          <cx:pt idx="63843">3</cx:pt>
          <cx:pt idx="63844">2</cx:pt>
          <cx:pt idx="63845">4</cx:pt>
          <cx:pt idx="63846">2</cx:pt>
          <cx:pt idx="63847">4</cx:pt>
          <cx:pt idx="63848">4</cx:pt>
          <cx:pt idx="63849">2</cx:pt>
          <cx:pt idx="63850">4</cx:pt>
          <cx:pt idx="63851">1</cx:pt>
          <cx:pt idx="63852">3</cx:pt>
          <cx:pt idx="63853">2</cx:pt>
          <cx:pt idx="63854">1</cx:pt>
          <cx:pt idx="63855">5</cx:pt>
          <cx:pt idx="63856">4</cx:pt>
          <cx:pt idx="63857">4</cx:pt>
          <cx:pt idx="63858">4</cx:pt>
          <cx:pt idx="63859">4</cx:pt>
          <cx:pt idx="63860">3</cx:pt>
          <cx:pt idx="63861">2</cx:pt>
          <cx:pt idx="63862">3</cx:pt>
          <cx:pt idx="63863">1</cx:pt>
          <cx:pt idx="63864">2</cx:pt>
          <cx:pt idx="63865">5</cx:pt>
          <cx:pt idx="63866">3</cx:pt>
          <cx:pt idx="63867">3</cx:pt>
          <cx:pt idx="63868">2</cx:pt>
          <cx:pt idx="63869">2</cx:pt>
          <cx:pt idx="63870">3</cx:pt>
          <cx:pt idx="63871">4</cx:pt>
          <cx:pt idx="63872">1</cx:pt>
          <cx:pt idx="63873">3</cx:pt>
          <cx:pt idx="63874">4</cx:pt>
          <cx:pt idx="63875">1</cx:pt>
          <cx:pt idx="63876">1</cx:pt>
          <cx:pt idx="63877">2</cx:pt>
          <cx:pt idx="63878">2</cx:pt>
          <cx:pt idx="63879">5</cx:pt>
          <cx:pt idx="63880">3</cx:pt>
          <cx:pt idx="63881">4</cx:pt>
          <cx:pt idx="63882">3</cx:pt>
          <cx:pt idx="63883">5</cx:pt>
          <cx:pt idx="63884">1</cx:pt>
          <cx:pt idx="63885">3</cx:pt>
          <cx:pt idx="63886">4</cx:pt>
          <cx:pt idx="63887">5</cx:pt>
          <cx:pt idx="63888">2</cx:pt>
          <cx:pt idx="63889">1</cx:pt>
          <cx:pt idx="63890">5</cx:pt>
          <cx:pt idx="63891">2</cx:pt>
          <cx:pt idx="63892">0</cx:pt>
          <cx:pt idx="63893">1</cx:pt>
          <cx:pt idx="63894">5</cx:pt>
          <cx:pt idx="63895">1</cx:pt>
          <cx:pt idx="63896">2</cx:pt>
          <cx:pt idx="63897">4</cx:pt>
          <cx:pt idx="63898">4</cx:pt>
          <cx:pt idx="63899">1</cx:pt>
          <cx:pt idx="63900">0</cx:pt>
          <cx:pt idx="63901">2</cx:pt>
          <cx:pt idx="63902">0</cx:pt>
          <cx:pt idx="63903">1</cx:pt>
          <cx:pt idx="63904">1</cx:pt>
          <cx:pt idx="63905">2</cx:pt>
          <cx:pt idx="63906">3</cx:pt>
          <cx:pt idx="63907">5</cx:pt>
          <cx:pt idx="63908">0</cx:pt>
          <cx:pt idx="63909">2</cx:pt>
          <cx:pt idx="63910">4</cx:pt>
          <cx:pt idx="63911">1</cx:pt>
          <cx:pt idx="63912">4</cx:pt>
          <cx:pt idx="63913">2</cx:pt>
          <cx:pt idx="63914">1</cx:pt>
          <cx:pt idx="63915">4</cx:pt>
          <cx:pt idx="63916">3</cx:pt>
          <cx:pt idx="63917">4</cx:pt>
          <cx:pt idx="63918">4</cx:pt>
          <cx:pt idx="63919">1</cx:pt>
          <cx:pt idx="63920">2</cx:pt>
          <cx:pt idx="63921">0</cx:pt>
          <cx:pt idx="63922">1</cx:pt>
          <cx:pt idx="63923">1</cx:pt>
          <cx:pt idx="63924">1</cx:pt>
          <cx:pt idx="63925">3</cx:pt>
          <cx:pt idx="63926">3</cx:pt>
          <cx:pt idx="63927">4</cx:pt>
          <cx:pt idx="63928">2</cx:pt>
          <cx:pt idx="63929">2</cx:pt>
          <cx:pt idx="63930">5</cx:pt>
          <cx:pt idx="63931">3</cx:pt>
          <cx:pt idx="63932">5</cx:pt>
          <cx:pt idx="63933">2</cx:pt>
          <cx:pt idx="63934">3</cx:pt>
          <cx:pt idx="63935">0</cx:pt>
          <cx:pt idx="63936">3</cx:pt>
          <cx:pt idx="63937">4</cx:pt>
          <cx:pt idx="63938">5</cx:pt>
          <cx:pt idx="63939">3</cx:pt>
          <cx:pt idx="63940">4</cx:pt>
          <cx:pt idx="63941">2</cx:pt>
          <cx:pt idx="63942">0</cx:pt>
          <cx:pt idx="63943">5</cx:pt>
          <cx:pt idx="63944">2</cx:pt>
          <cx:pt idx="63945">5</cx:pt>
          <cx:pt idx="63946">1</cx:pt>
          <cx:pt idx="63947">2</cx:pt>
          <cx:pt idx="63948">5</cx:pt>
          <cx:pt idx="63949">3</cx:pt>
          <cx:pt idx="63950">3</cx:pt>
          <cx:pt idx="63951">4</cx:pt>
          <cx:pt idx="63952">3</cx:pt>
          <cx:pt idx="63953">3</cx:pt>
          <cx:pt idx="63954">3</cx:pt>
          <cx:pt idx="63955">0</cx:pt>
          <cx:pt idx="63956">5</cx:pt>
          <cx:pt idx="63957">4</cx:pt>
          <cx:pt idx="63958">1</cx:pt>
          <cx:pt idx="63959">2</cx:pt>
          <cx:pt idx="63960">4</cx:pt>
          <cx:pt idx="63961">5</cx:pt>
          <cx:pt idx="63962">4</cx:pt>
          <cx:pt idx="63963">5</cx:pt>
          <cx:pt idx="63964">3</cx:pt>
          <cx:pt idx="63965">4</cx:pt>
          <cx:pt idx="63966">1</cx:pt>
          <cx:pt idx="63967">1</cx:pt>
          <cx:pt idx="63968">4</cx:pt>
          <cx:pt idx="63969">4</cx:pt>
          <cx:pt idx="63970">1</cx:pt>
          <cx:pt idx="63971">0</cx:pt>
          <cx:pt idx="63972">3</cx:pt>
          <cx:pt idx="63973">2</cx:pt>
          <cx:pt idx="63974">4</cx:pt>
          <cx:pt idx="63975">4</cx:pt>
          <cx:pt idx="63976">0</cx:pt>
          <cx:pt idx="63977">3</cx:pt>
          <cx:pt idx="63978">3</cx:pt>
          <cx:pt idx="63979">4</cx:pt>
          <cx:pt idx="63980">0</cx:pt>
          <cx:pt idx="63981">3</cx:pt>
          <cx:pt idx="63982">3</cx:pt>
          <cx:pt idx="63983">5</cx:pt>
          <cx:pt idx="63984">2</cx:pt>
          <cx:pt idx="63985">3</cx:pt>
          <cx:pt idx="63986">1</cx:pt>
          <cx:pt idx="63987">2</cx:pt>
          <cx:pt idx="63988">5</cx:pt>
          <cx:pt idx="63989">2</cx:pt>
          <cx:pt idx="63990">2</cx:pt>
          <cx:pt idx="63991">4</cx:pt>
          <cx:pt idx="63992">1</cx:pt>
          <cx:pt idx="63993">2</cx:pt>
          <cx:pt idx="63994">2</cx:pt>
          <cx:pt idx="63995">4</cx:pt>
          <cx:pt idx="63996">5</cx:pt>
          <cx:pt idx="63997">4</cx:pt>
          <cx:pt idx="63998">1</cx:pt>
          <cx:pt idx="63999">1</cx:pt>
          <cx:pt idx="64000">5</cx:pt>
          <cx:pt idx="64001">4</cx:pt>
          <cx:pt idx="64002">4</cx:pt>
          <cx:pt idx="64003">3</cx:pt>
          <cx:pt idx="64004">3</cx:pt>
          <cx:pt idx="64005">5</cx:pt>
          <cx:pt idx="64006">0</cx:pt>
          <cx:pt idx="64007">4</cx:pt>
          <cx:pt idx="64008">3</cx:pt>
          <cx:pt idx="64009">5</cx:pt>
          <cx:pt idx="64010">4</cx:pt>
          <cx:pt idx="64011">0</cx:pt>
          <cx:pt idx="64012">3</cx:pt>
          <cx:pt idx="64013">5</cx:pt>
          <cx:pt idx="64014">1</cx:pt>
          <cx:pt idx="64015">4</cx:pt>
          <cx:pt idx="64016">1</cx:pt>
          <cx:pt idx="64017">1</cx:pt>
          <cx:pt idx="64018">4</cx:pt>
          <cx:pt idx="64019">3</cx:pt>
          <cx:pt idx="64020">1</cx:pt>
          <cx:pt idx="64021">5</cx:pt>
          <cx:pt idx="64022">4</cx:pt>
          <cx:pt idx="64023">1</cx:pt>
          <cx:pt idx="64024">1</cx:pt>
          <cx:pt idx="64025">5</cx:pt>
          <cx:pt idx="64026">1</cx:pt>
          <cx:pt idx="64027">5</cx:pt>
          <cx:pt idx="64028">3</cx:pt>
          <cx:pt idx="64029">2</cx:pt>
          <cx:pt idx="64030">3</cx:pt>
          <cx:pt idx="64031">5</cx:pt>
          <cx:pt idx="64032">1</cx:pt>
          <cx:pt idx="64033">4</cx:pt>
          <cx:pt idx="64034">3</cx:pt>
          <cx:pt idx="64035">3</cx:pt>
          <cx:pt idx="64036">1</cx:pt>
          <cx:pt idx="64037">2</cx:pt>
          <cx:pt idx="64038">5</cx:pt>
          <cx:pt idx="64039">2</cx:pt>
          <cx:pt idx="64040">1</cx:pt>
          <cx:pt idx="64041">2</cx:pt>
          <cx:pt idx="64042">1</cx:pt>
          <cx:pt idx="64043">5</cx:pt>
          <cx:pt idx="64044">0</cx:pt>
          <cx:pt idx="64045">4</cx:pt>
          <cx:pt idx="64046">2</cx:pt>
          <cx:pt idx="64047">5</cx:pt>
          <cx:pt idx="64048">0</cx:pt>
          <cx:pt idx="64049">0</cx:pt>
          <cx:pt idx="64050">3</cx:pt>
          <cx:pt idx="64051">5</cx:pt>
          <cx:pt idx="64052">5</cx:pt>
          <cx:pt idx="64053">3</cx:pt>
          <cx:pt idx="64054">4</cx:pt>
          <cx:pt idx="64055">4</cx:pt>
          <cx:pt idx="64056">3</cx:pt>
          <cx:pt idx="64057">3</cx:pt>
          <cx:pt idx="64058">5</cx:pt>
          <cx:pt idx="64059">5</cx:pt>
          <cx:pt idx="64060">2</cx:pt>
          <cx:pt idx="64061">1</cx:pt>
          <cx:pt idx="64062">2</cx:pt>
          <cx:pt idx="64063">3</cx:pt>
          <cx:pt idx="64064">4</cx:pt>
          <cx:pt idx="64065">1</cx:pt>
          <cx:pt idx="64066">4</cx:pt>
          <cx:pt idx="64067">0</cx:pt>
          <cx:pt idx="64068">3</cx:pt>
          <cx:pt idx="64069">1</cx:pt>
          <cx:pt idx="64070">3</cx:pt>
          <cx:pt idx="64071">5</cx:pt>
          <cx:pt idx="64072">1</cx:pt>
          <cx:pt idx="64073">5</cx:pt>
          <cx:pt idx="64074">3</cx:pt>
          <cx:pt idx="64075">5</cx:pt>
          <cx:pt idx="64076">3</cx:pt>
          <cx:pt idx="64077">4</cx:pt>
          <cx:pt idx="64078">3</cx:pt>
          <cx:pt idx="64079">0</cx:pt>
          <cx:pt idx="64080">1</cx:pt>
          <cx:pt idx="64081">4</cx:pt>
          <cx:pt idx="64082">5</cx:pt>
          <cx:pt idx="64083">0</cx:pt>
          <cx:pt idx="64084">5</cx:pt>
          <cx:pt idx="64085">4</cx:pt>
          <cx:pt idx="64086">3</cx:pt>
          <cx:pt idx="64087">1</cx:pt>
          <cx:pt idx="64088">3</cx:pt>
          <cx:pt idx="64089">3</cx:pt>
          <cx:pt idx="64090">5</cx:pt>
          <cx:pt idx="64091">2</cx:pt>
          <cx:pt idx="64092">1</cx:pt>
          <cx:pt idx="64093">3</cx:pt>
          <cx:pt idx="64094">3</cx:pt>
          <cx:pt idx="64095">1</cx:pt>
          <cx:pt idx="64096">1</cx:pt>
          <cx:pt idx="64097">5</cx:pt>
          <cx:pt idx="64098">3</cx:pt>
          <cx:pt idx="64099">2</cx:pt>
          <cx:pt idx="64100">3</cx:pt>
          <cx:pt idx="64101">4</cx:pt>
          <cx:pt idx="64102">2</cx:pt>
          <cx:pt idx="64103">4</cx:pt>
          <cx:pt idx="64104">2</cx:pt>
          <cx:pt idx="64105">5</cx:pt>
          <cx:pt idx="64106">2</cx:pt>
          <cx:pt idx="64107">2</cx:pt>
          <cx:pt idx="64108">4</cx:pt>
          <cx:pt idx="64109">4</cx:pt>
          <cx:pt idx="64110">3</cx:pt>
          <cx:pt idx="64111">1</cx:pt>
          <cx:pt idx="64112">3</cx:pt>
          <cx:pt idx="64113">1</cx:pt>
          <cx:pt idx="64114">2</cx:pt>
          <cx:pt idx="64115">3</cx:pt>
          <cx:pt idx="64116">4</cx:pt>
          <cx:pt idx="64117">1</cx:pt>
          <cx:pt idx="64118">5</cx:pt>
          <cx:pt idx="64119">2</cx:pt>
          <cx:pt idx="64120">1</cx:pt>
          <cx:pt idx="64121">3</cx:pt>
          <cx:pt idx="64122">4</cx:pt>
          <cx:pt idx="64123">3</cx:pt>
          <cx:pt idx="64124">3</cx:pt>
          <cx:pt idx="64125">3</cx:pt>
          <cx:pt idx="64126">3</cx:pt>
          <cx:pt idx="64127">4</cx:pt>
          <cx:pt idx="64128">5</cx:pt>
          <cx:pt idx="64129">3</cx:pt>
          <cx:pt idx="64130">1</cx:pt>
          <cx:pt idx="64131">4</cx:pt>
          <cx:pt idx="64132">2</cx:pt>
          <cx:pt idx="64133">2</cx:pt>
          <cx:pt idx="64134">5</cx:pt>
          <cx:pt idx="64135">3</cx:pt>
          <cx:pt idx="64136">4</cx:pt>
          <cx:pt idx="64137">3</cx:pt>
          <cx:pt idx="64138">3</cx:pt>
          <cx:pt idx="64139">1</cx:pt>
          <cx:pt idx="64140">3</cx:pt>
          <cx:pt idx="64141">2</cx:pt>
          <cx:pt idx="64142">2</cx:pt>
          <cx:pt idx="64143">1</cx:pt>
          <cx:pt idx="64144">1</cx:pt>
          <cx:pt idx="64145">2</cx:pt>
          <cx:pt idx="64146">3</cx:pt>
          <cx:pt idx="64147">2</cx:pt>
          <cx:pt idx="64148">5</cx:pt>
          <cx:pt idx="64149">4</cx:pt>
          <cx:pt idx="64150">3</cx:pt>
          <cx:pt idx="64151">1</cx:pt>
          <cx:pt idx="64152">2</cx:pt>
          <cx:pt idx="64153">5</cx:pt>
          <cx:pt idx="64154">3</cx:pt>
          <cx:pt idx="64155">4</cx:pt>
          <cx:pt idx="64156">5</cx:pt>
          <cx:pt idx="64157">3</cx:pt>
          <cx:pt idx="64158">2</cx:pt>
          <cx:pt idx="64159">3</cx:pt>
          <cx:pt idx="64160">1</cx:pt>
          <cx:pt idx="64161">5</cx:pt>
          <cx:pt idx="64162">3</cx:pt>
          <cx:pt idx="64163">5</cx:pt>
          <cx:pt idx="64164">1</cx:pt>
          <cx:pt idx="64165">1</cx:pt>
          <cx:pt idx="64166">3</cx:pt>
          <cx:pt idx="64167">1</cx:pt>
          <cx:pt idx="64168">3</cx:pt>
          <cx:pt idx="64169">3</cx:pt>
          <cx:pt idx="64170">1</cx:pt>
          <cx:pt idx="64171">1</cx:pt>
          <cx:pt idx="64172">4</cx:pt>
          <cx:pt idx="64173">2</cx:pt>
          <cx:pt idx="64174">1</cx:pt>
          <cx:pt idx="64175">5</cx:pt>
          <cx:pt idx="64176">4</cx:pt>
          <cx:pt idx="64177">4</cx:pt>
          <cx:pt idx="64178">2</cx:pt>
          <cx:pt idx="64179">3</cx:pt>
          <cx:pt idx="64180">3</cx:pt>
          <cx:pt idx="64181">0</cx:pt>
          <cx:pt idx="64182">1</cx:pt>
          <cx:pt idx="64183">5</cx:pt>
          <cx:pt idx="64184">4</cx:pt>
          <cx:pt idx="64185">0</cx:pt>
          <cx:pt idx="64186">3</cx:pt>
          <cx:pt idx="64187">3</cx:pt>
          <cx:pt idx="64188">5</cx:pt>
          <cx:pt idx="64189">4</cx:pt>
          <cx:pt idx="64190">2</cx:pt>
          <cx:pt idx="64191">4</cx:pt>
          <cx:pt idx="64192">1</cx:pt>
          <cx:pt idx="64193">4</cx:pt>
          <cx:pt idx="64194">3</cx:pt>
          <cx:pt idx="64195">2</cx:pt>
          <cx:pt idx="64196">3</cx:pt>
          <cx:pt idx="64197">2</cx:pt>
          <cx:pt idx="64198">1</cx:pt>
          <cx:pt idx="64199">1</cx:pt>
          <cx:pt idx="64200">1</cx:pt>
          <cx:pt idx="64201">3</cx:pt>
          <cx:pt idx="64202">2</cx:pt>
          <cx:pt idx="64203">5</cx:pt>
          <cx:pt idx="64204">4</cx:pt>
          <cx:pt idx="64205">1</cx:pt>
          <cx:pt idx="64206">5</cx:pt>
          <cx:pt idx="64207">2</cx:pt>
          <cx:pt idx="64208">4</cx:pt>
          <cx:pt idx="64209">3</cx:pt>
          <cx:pt idx="64210">2</cx:pt>
          <cx:pt idx="64211">4</cx:pt>
          <cx:pt idx="64212">2</cx:pt>
          <cx:pt idx="64213">3</cx:pt>
          <cx:pt idx="64214">3</cx:pt>
          <cx:pt idx="64215">2</cx:pt>
          <cx:pt idx="64216">1</cx:pt>
          <cx:pt idx="64217">4</cx:pt>
          <cx:pt idx="64218">1</cx:pt>
          <cx:pt idx="64219">4</cx:pt>
          <cx:pt idx="64220">4</cx:pt>
          <cx:pt idx="64221">4</cx:pt>
          <cx:pt idx="64222">3</cx:pt>
          <cx:pt idx="64223">1</cx:pt>
          <cx:pt idx="64224">2</cx:pt>
          <cx:pt idx="64225">1</cx:pt>
          <cx:pt idx="64226">2</cx:pt>
          <cx:pt idx="64227">3</cx:pt>
          <cx:pt idx="64228">2</cx:pt>
          <cx:pt idx="64229">3</cx:pt>
          <cx:pt idx="64230">2</cx:pt>
          <cx:pt idx="64231">4</cx:pt>
          <cx:pt idx="64232">1</cx:pt>
          <cx:pt idx="64233">1</cx:pt>
          <cx:pt idx="64234">2</cx:pt>
          <cx:pt idx="64235">3</cx:pt>
          <cx:pt idx="64236">5</cx:pt>
          <cx:pt idx="64237">3</cx:pt>
          <cx:pt idx="64238">2</cx:pt>
          <cx:pt idx="64239">4</cx:pt>
          <cx:pt idx="64240">5</cx:pt>
          <cx:pt idx="64241">2</cx:pt>
          <cx:pt idx="64242">3</cx:pt>
          <cx:pt idx="64243">2</cx:pt>
          <cx:pt idx="64244">0</cx:pt>
          <cx:pt idx="64245">1</cx:pt>
          <cx:pt idx="64246">4</cx:pt>
          <cx:pt idx="64247">2</cx:pt>
          <cx:pt idx="64248">2</cx:pt>
          <cx:pt idx="64249">2</cx:pt>
          <cx:pt idx="64250">3</cx:pt>
          <cx:pt idx="64251">2</cx:pt>
          <cx:pt idx="64252">5</cx:pt>
          <cx:pt idx="64253">2</cx:pt>
          <cx:pt idx="64254">4</cx:pt>
          <cx:pt idx="64255">2</cx:pt>
          <cx:pt idx="64256">1</cx:pt>
          <cx:pt idx="64257">3</cx:pt>
          <cx:pt idx="64258">4</cx:pt>
          <cx:pt idx="64259">1</cx:pt>
          <cx:pt idx="64260">1</cx:pt>
          <cx:pt idx="64261">5</cx:pt>
          <cx:pt idx="64262">1</cx:pt>
          <cx:pt idx="64263">1</cx:pt>
          <cx:pt idx="64264">2</cx:pt>
          <cx:pt idx="64265">1</cx:pt>
          <cx:pt idx="64266">4</cx:pt>
          <cx:pt idx="64267">5</cx:pt>
          <cx:pt idx="64268">4</cx:pt>
          <cx:pt idx="64269">3</cx:pt>
          <cx:pt idx="64270">1</cx:pt>
          <cx:pt idx="64271">1</cx:pt>
          <cx:pt idx="64272">1</cx:pt>
          <cx:pt idx="64273">2</cx:pt>
          <cx:pt idx="64274">2</cx:pt>
          <cx:pt idx="64275">4</cx:pt>
          <cx:pt idx="64276">4</cx:pt>
          <cx:pt idx="64277">4</cx:pt>
          <cx:pt idx="64278">2</cx:pt>
          <cx:pt idx="64279">4</cx:pt>
          <cx:pt idx="64280">2</cx:pt>
          <cx:pt idx="64281">4</cx:pt>
          <cx:pt idx="64282">4</cx:pt>
          <cx:pt idx="64283">5</cx:pt>
          <cx:pt idx="64284">3</cx:pt>
          <cx:pt idx="64285">4</cx:pt>
          <cx:pt idx="64286">2</cx:pt>
          <cx:pt idx="64287">1</cx:pt>
          <cx:pt idx="64288">5</cx:pt>
          <cx:pt idx="64289">4</cx:pt>
          <cx:pt idx="64290">5</cx:pt>
          <cx:pt idx="64291">2</cx:pt>
          <cx:pt idx="64292">1</cx:pt>
          <cx:pt idx="64293">2</cx:pt>
          <cx:pt idx="64294">3</cx:pt>
          <cx:pt idx="64295">2</cx:pt>
          <cx:pt idx="64296">5</cx:pt>
          <cx:pt idx="64297">1</cx:pt>
          <cx:pt idx="64298">2</cx:pt>
          <cx:pt idx="64299">2</cx:pt>
          <cx:pt idx="64300">5</cx:pt>
          <cx:pt idx="64301">5</cx:pt>
          <cx:pt idx="64302">3</cx:pt>
          <cx:pt idx="64303">1</cx:pt>
          <cx:pt idx="64304">3</cx:pt>
          <cx:pt idx="64305">2</cx:pt>
          <cx:pt idx="64306">3</cx:pt>
          <cx:pt idx="64307">4</cx:pt>
          <cx:pt idx="64308">4</cx:pt>
          <cx:pt idx="64309">5</cx:pt>
          <cx:pt idx="64310">1</cx:pt>
          <cx:pt idx="64311">3</cx:pt>
          <cx:pt idx="64312">4</cx:pt>
          <cx:pt idx="64313">2</cx:pt>
          <cx:pt idx="64314">4</cx:pt>
          <cx:pt idx="64315">0</cx:pt>
          <cx:pt idx="64316">2</cx:pt>
          <cx:pt idx="64317">4</cx:pt>
          <cx:pt idx="64318">2</cx:pt>
          <cx:pt idx="64319">5</cx:pt>
          <cx:pt idx="64320">5</cx:pt>
          <cx:pt idx="64321">3</cx:pt>
          <cx:pt idx="64322">1</cx:pt>
          <cx:pt idx="64323">4</cx:pt>
          <cx:pt idx="64324">5</cx:pt>
          <cx:pt idx="64325">3</cx:pt>
          <cx:pt idx="64326">2</cx:pt>
          <cx:pt idx="64327">1</cx:pt>
          <cx:pt idx="64328">3</cx:pt>
          <cx:pt idx="64329">2</cx:pt>
          <cx:pt idx="64330">0</cx:pt>
          <cx:pt idx="64331">1</cx:pt>
          <cx:pt idx="64332">5</cx:pt>
          <cx:pt idx="64333">3</cx:pt>
          <cx:pt idx="64334">4</cx:pt>
          <cx:pt idx="64335">3</cx:pt>
          <cx:pt idx="64336">3</cx:pt>
          <cx:pt idx="64337">5</cx:pt>
          <cx:pt idx="64338">5</cx:pt>
          <cx:pt idx="64339">2</cx:pt>
          <cx:pt idx="64340">1</cx:pt>
          <cx:pt idx="64341">3</cx:pt>
          <cx:pt idx="64342">2</cx:pt>
          <cx:pt idx="64343">0</cx:pt>
          <cx:pt idx="64344">0</cx:pt>
          <cx:pt idx="64345">5</cx:pt>
          <cx:pt idx="64346">4</cx:pt>
          <cx:pt idx="64347">2</cx:pt>
          <cx:pt idx="64348">2</cx:pt>
          <cx:pt idx="64349">3</cx:pt>
          <cx:pt idx="64350">2</cx:pt>
          <cx:pt idx="64351">2</cx:pt>
          <cx:pt idx="64352">2</cx:pt>
          <cx:pt idx="64353">2</cx:pt>
          <cx:pt idx="64354">3</cx:pt>
          <cx:pt idx="64355">1</cx:pt>
          <cx:pt idx="64356">4</cx:pt>
          <cx:pt idx="64357">5</cx:pt>
          <cx:pt idx="64358">3</cx:pt>
          <cx:pt idx="64359">1</cx:pt>
          <cx:pt idx="64360">3</cx:pt>
          <cx:pt idx="64361">4</cx:pt>
          <cx:pt idx="64362">2</cx:pt>
          <cx:pt idx="64363">4</cx:pt>
          <cx:pt idx="64364">2</cx:pt>
          <cx:pt idx="64365">2</cx:pt>
          <cx:pt idx="64366">2</cx:pt>
          <cx:pt idx="64367">3</cx:pt>
          <cx:pt idx="64368">1</cx:pt>
          <cx:pt idx="64369">5</cx:pt>
          <cx:pt idx="64370">3</cx:pt>
          <cx:pt idx="64371">3</cx:pt>
          <cx:pt idx="64372">3</cx:pt>
          <cx:pt idx="64373">1</cx:pt>
          <cx:pt idx="64374">4</cx:pt>
          <cx:pt idx="64375">4</cx:pt>
          <cx:pt idx="64376">3</cx:pt>
          <cx:pt idx="64377">4</cx:pt>
          <cx:pt idx="64378">2</cx:pt>
          <cx:pt idx="64379">2</cx:pt>
          <cx:pt idx="64380">4</cx:pt>
          <cx:pt idx="64381">1</cx:pt>
          <cx:pt idx="64382">1</cx:pt>
          <cx:pt idx="64383">3</cx:pt>
          <cx:pt idx="64384">2</cx:pt>
          <cx:pt idx="64385">5</cx:pt>
          <cx:pt idx="64386">1</cx:pt>
          <cx:pt idx="64387">5</cx:pt>
          <cx:pt idx="64388">4</cx:pt>
          <cx:pt idx="64389">4</cx:pt>
          <cx:pt idx="64390">5</cx:pt>
          <cx:pt idx="64391">1</cx:pt>
          <cx:pt idx="64392">5</cx:pt>
          <cx:pt idx="64393">4</cx:pt>
          <cx:pt idx="64394">2</cx:pt>
          <cx:pt idx="64395">1</cx:pt>
          <cx:pt idx="64396">3</cx:pt>
          <cx:pt idx="64397">3</cx:pt>
          <cx:pt idx="64398">3</cx:pt>
          <cx:pt idx="64399">3</cx:pt>
          <cx:pt idx="64400">2</cx:pt>
          <cx:pt idx="64401">3</cx:pt>
          <cx:pt idx="64402">2</cx:pt>
          <cx:pt idx="64403">3</cx:pt>
          <cx:pt idx="64404">2</cx:pt>
          <cx:pt idx="64405">1</cx:pt>
          <cx:pt idx="64406">1</cx:pt>
          <cx:pt idx="64407">4</cx:pt>
          <cx:pt idx="64408">4</cx:pt>
          <cx:pt idx="64409">0</cx:pt>
          <cx:pt idx="64410">0</cx:pt>
          <cx:pt idx="64411">2</cx:pt>
          <cx:pt idx="64412">3</cx:pt>
          <cx:pt idx="64413">5</cx:pt>
          <cx:pt idx="64414">2</cx:pt>
          <cx:pt idx="64415">5</cx:pt>
          <cx:pt idx="64416">5</cx:pt>
          <cx:pt idx="64417">2</cx:pt>
          <cx:pt idx="64418">5</cx:pt>
          <cx:pt idx="64419">4</cx:pt>
          <cx:pt idx="64420">5</cx:pt>
          <cx:pt idx="64421">3</cx:pt>
          <cx:pt idx="64422">3</cx:pt>
          <cx:pt idx="64423">4</cx:pt>
          <cx:pt idx="64424">1</cx:pt>
          <cx:pt idx="64425">4</cx:pt>
          <cx:pt idx="64426">3</cx:pt>
          <cx:pt idx="64427">4</cx:pt>
          <cx:pt idx="64428">1</cx:pt>
          <cx:pt idx="64429">2</cx:pt>
          <cx:pt idx="64430">4</cx:pt>
          <cx:pt idx="64431">0</cx:pt>
          <cx:pt idx="64432">1</cx:pt>
          <cx:pt idx="64433">2</cx:pt>
          <cx:pt idx="64434">2</cx:pt>
          <cx:pt idx="64435">3</cx:pt>
          <cx:pt idx="64436">3</cx:pt>
          <cx:pt idx="64437">4</cx:pt>
          <cx:pt idx="64438">4</cx:pt>
          <cx:pt idx="64439">3</cx:pt>
          <cx:pt idx="64440">4</cx:pt>
          <cx:pt idx="64441">4</cx:pt>
          <cx:pt idx="64442">3</cx:pt>
          <cx:pt idx="64443">2</cx:pt>
          <cx:pt idx="64444">3</cx:pt>
          <cx:pt idx="64445">1</cx:pt>
          <cx:pt idx="64446">3</cx:pt>
          <cx:pt idx="64447">3</cx:pt>
          <cx:pt idx="64448">2</cx:pt>
          <cx:pt idx="64449">3</cx:pt>
          <cx:pt idx="64450">3</cx:pt>
          <cx:pt idx="64451">4</cx:pt>
          <cx:pt idx="64452">3</cx:pt>
          <cx:pt idx="64453">4</cx:pt>
          <cx:pt idx="64454">2</cx:pt>
          <cx:pt idx="64455">3</cx:pt>
          <cx:pt idx="64456">2</cx:pt>
          <cx:pt idx="64457">2</cx:pt>
          <cx:pt idx="64458">4</cx:pt>
          <cx:pt idx="64459">3</cx:pt>
          <cx:pt idx="64460">1</cx:pt>
          <cx:pt idx="64461">3</cx:pt>
          <cx:pt idx="64462">3</cx:pt>
          <cx:pt idx="64463">3</cx:pt>
          <cx:pt idx="64464">1</cx:pt>
          <cx:pt idx="64465">2</cx:pt>
          <cx:pt idx="64466">3</cx:pt>
          <cx:pt idx="64467">4</cx:pt>
          <cx:pt idx="64468">1</cx:pt>
          <cx:pt idx="64469">0</cx:pt>
          <cx:pt idx="64470">1</cx:pt>
          <cx:pt idx="64471">2</cx:pt>
          <cx:pt idx="64472">1</cx:pt>
          <cx:pt idx="64473">1</cx:pt>
          <cx:pt idx="64474">3</cx:pt>
          <cx:pt idx="64475">5</cx:pt>
          <cx:pt idx="64476">3</cx:pt>
          <cx:pt idx="64477">4</cx:pt>
          <cx:pt idx="64478">1</cx:pt>
          <cx:pt idx="64479">5</cx:pt>
          <cx:pt idx="64480">4</cx:pt>
          <cx:pt idx="64481">3</cx:pt>
          <cx:pt idx="64482">0</cx:pt>
          <cx:pt idx="64483">2</cx:pt>
          <cx:pt idx="64484">2</cx:pt>
          <cx:pt idx="64485">3</cx:pt>
          <cx:pt idx="64486">4</cx:pt>
          <cx:pt idx="64487">2</cx:pt>
          <cx:pt idx="64488">5</cx:pt>
          <cx:pt idx="64489">2</cx:pt>
          <cx:pt idx="64490">3</cx:pt>
          <cx:pt idx="64491">2</cx:pt>
          <cx:pt idx="64492">0</cx:pt>
          <cx:pt idx="64493">3</cx:pt>
          <cx:pt idx="64494">1</cx:pt>
          <cx:pt idx="64495">2</cx:pt>
          <cx:pt idx="64496">3</cx:pt>
          <cx:pt idx="64497">5</cx:pt>
          <cx:pt idx="64498">2</cx:pt>
          <cx:pt idx="64499">2</cx:pt>
          <cx:pt idx="64500">3</cx:pt>
          <cx:pt idx="64501">1</cx:pt>
          <cx:pt idx="64502">2</cx:pt>
          <cx:pt idx="64503">5</cx:pt>
          <cx:pt idx="64504">4</cx:pt>
          <cx:pt idx="64505">4</cx:pt>
          <cx:pt idx="64506">2</cx:pt>
          <cx:pt idx="64507">2</cx:pt>
          <cx:pt idx="64508">2</cx:pt>
          <cx:pt idx="64509">5</cx:pt>
          <cx:pt idx="64510">2</cx:pt>
          <cx:pt idx="64511">2</cx:pt>
          <cx:pt idx="64512">4</cx:pt>
          <cx:pt idx="64513">4</cx:pt>
          <cx:pt idx="64514">3</cx:pt>
          <cx:pt idx="64515">4</cx:pt>
          <cx:pt idx="64516">4</cx:pt>
          <cx:pt idx="64517">2</cx:pt>
          <cx:pt idx="64518">1</cx:pt>
          <cx:pt idx="64519">2</cx:pt>
          <cx:pt idx="64520">5</cx:pt>
          <cx:pt idx="64521">1</cx:pt>
          <cx:pt idx="64522">4</cx:pt>
          <cx:pt idx="64523">5</cx:pt>
          <cx:pt idx="64524">0</cx:pt>
          <cx:pt idx="64525">0</cx:pt>
          <cx:pt idx="64526">4</cx:pt>
          <cx:pt idx="64527">4</cx:pt>
          <cx:pt idx="64528">3</cx:pt>
          <cx:pt idx="64529">4</cx:pt>
          <cx:pt idx="64530">3</cx:pt>
          <cx:pt idx="64531">4</cx:pt>
          <cx:pt idx="64532">3</cx:pt>
          <cx:pt idx="64533">1</cx:pt>
          <cx:pt idx="64534">3</cx:pt>
          <cx:pt idx="64535">2</cx:pt>
          <cx:pt idx="64536">1</cx:pt>
          <cx:pt idx="64537">5</cx:pt>
          <cx:pt idx="64538">5</cx:pt>
          <cx:pt idx="64539">4</cx:pt>
          <cx:pt idx="64540">4</cx:pt>
          <cx:pt idx="64541">5</cx:pt>
          <cx:pt idx="64542">4</cx:pt>
          <cx:pt idx="64543">3</cx:pt>
          <cx:pt idx="64544">4</cx:pt>
          <cx:pt idx="64545">1</cx:pt>
          <cx:pt idx="64546">1</cx:pt>
          <cx:pt idx="64547">0</cx:pt>
          <cx:pt idx="64548">2</cx:pt>
          <cx:pt idx="64549">5</cx:pt>
          <cx:pt idx="64550">5</cx:pt>
          <cx:pt idx="64551">2</cx:pt>
          <cx:pt idx="64552">3</cx:pt>
          <cx:pt idx="64553">2</cx:pt>
          <cx:pt idx="64554">2</cx:pt>
          <cx:pt idx="64555">2</cx:pt>
          <cx:pt idx="64556">2</cx:pt>
          <cx:pt idx="64557">3</cx:pt>
          <cx:pt idx="64558">3</cx:pt>
          <cx:pt idx="64559">4</cx:pt>
          <cx:pt idx="64560">2</cx:pt>
          <cx:pt idx="64561">1</cx:pt>
          <cx:pt idx="64562">4</cx:pt>
          <cx:pt idx="64563">5</cx:pt>
          <cx:pt idx="64564">4</cx:pt>
          <cx:pt idx="64565">5</cx:pt>
          <cx:pt idx="64566">4</cx:pt>
          <cx:pt idx="64567">5</cx:pt>
          <cx:pt idx="64568">3</cx:pt>
          <cx:pt idx="64569">2</cx:pt>
          <cx:pt idx="64570">5</cx:pt>
          <cx:pt idx="64571">2</cx:pt>
          <cx:pt idx="64572">2</cx:pt>
          <cx:pt idx="64573">2</cx:pt>
          <cx:pt idx="64574">4</cx:pt>
          <cx:pt idx="64575">5</cx:pt>
          <cx:pt idx="64576">3</cx:pt>
          <cx:pt idx="64577">2</cx:pt>
          <cx:pt idx="64578">1</cx:pt>
          <cx:pt idx="64579">1</cx:pt>
          <cx:pt idx="64580">3</cx:pt>
          <cx:pt idx="64581">2</cx:pt>
          <cx:pt idx="64582">2</cx:pt>
          <cx:pt idx="64583">4</cx:pt>
          <cx:pt idx="64584">4</cx:pt>
          <cx:pt idx="64585">2</cx:pt>
          <cx:pt idx="64586">1</cx:pt>
          <cx:pt idx="64587">5</cx:pt>
          <cx:pt idx="64588">5</cx:pt>
          <cx:pt idx="64589">4</cx:pt>
          <cx:pt idx="64590">1</cx:pt>
          <cx:pt idx="64591">4</cx:pt>
          <cx:pt idx="64592">2</cx:pt>
          <cx:pt idx="64593">3</cx:pt>
          <cx:pt idx="64594">4</cx:pt>
          <cx:pt idx="64595">1</cx:pt>
          <cx:pt idx="64596">3</cx:pt>
          <cx:pt idx="64597">5</cx:pt>
          <cx:pt idx="64598">2</cx:pt>
          <cx:pt idx="64599">2</cx:pt>
          <cx:pt idx="64600">1</cx:pt>
          <cx:pt idx="64601">3</cx:pt>
          <cx:pt idx="64602">4</cx:pt>
          <cx:pt idx="64603">0</cx:pt>
          <cx:pt idx="64604">3</cx:pt>
          <cx:pt idx="64605">0</cx:pt>
          <cx:pt idx="64606">2</cx:pt>
          <cx:pt idx="64607">5</cx:pt>
          <cx:pt idx="64608">2</cx:pt>
          <cx:pt idx="64609">3</cx:pt>
          <cx:pt idx="64610">2</cx:pt>
          <cx:pt idx="64611">1</cx:pt>
          <cx:pt idx="64612">2</cx:pt>
          <cx:pt idx="64613">4</cx:pt>
          <cx:pt idx="64614">0</cx:pt>
          <cx:pt idx="64615">5</cx:pt>
          <cx:pt idx="64616">3</cx:pt>
          <cx:pt idx="64617">2</cx:pt>
          <cx:pt idx="64618">2</cx:pt>
          <cx:pt idx="64619">1</cx:pt>
          <cx:pt idx="64620">4</cx:pt>
          <cx:pt idx="64621">3</cx:pt>
          <cx:pt idx="64622">4</cx:pt>
          <cx:pt idx="64623">4</cx:pt>
          <cx:pt idx="64624">4</cx:pt>
          <cx:pt idx="64625">4</cx:pt>
          <cx:pt idx="64626">2</cx:pt>
          <cx:pt idx="64627">2</cx:pt>
          <cx:pt idx="64628">4</cx:pt>
          <cx:pt idx="64629">2</cx:pt>
          <cx:pt idx="64630">5</cx:pt>
          <cx:pt idx="64631">5</cx:pt>
          <cx:pt idx="64632">3</cx:pt>
          <cx:pt idx="64633">1</cx:pt>
          <cx:pt idx="64634">1</cx:pt>
          <cx:pt idx="64635">1</cx:pt>
          <cx:pt idx="64636">3</cx:pt>
          <cx:pt idx="64637">2</cx:pt>
          <cx:pt idx="64638">5</cx:pt>
          <cx:pt idx="64639">2</cx:pt>
          <cx:pt idx="64640">4</cx:pt>
          <cx:pt idx="64641">2</cx:pt>
          <cx:pt idx="64642">4</cx:pt>
          <cx:pt idx="64643">4</cx:pt>
          <cx:pt idx="64644">1</cx:pt>
          <cx:pt idx="64645">3</cx:pt>
          <cx:pt idx="64646">5</cx:pt>
          <cx:pt idx="64647">4</cx:pt>
          <cx:pt idx="64648">2</cx:pt>
          <cx:pt idx="64649">4</cx:pt>
          <cx:pt idx="64650">3</cx:pt>
          <cx:pt idx="64651">4</cx:pt>
          <cx:pt idx="64652">1</cx:pt>
          <cx:pt idx="64653">1</cx:pt>
          <cx:pt idx="64654">2</cx:pt>
          <cx:pt idx="64655">4</cx:pt>
          <cx:pt idx="64656">1</cx:pt>
          <cx:pt idx="64657">3</cx:pt>
          <cx:pt idx="64658">5</cx:pt>
          <cx:pt idx="64659">2</cx:pt>
          <cx:pt idx="64660">1</cx:pt>
          <cx:pt idx="64661">2</cx:pt>
          <cx:pt idx="64662">2</cx:pt>
          <cx:pt idx="64663">3</cx:pt>
          <cx:pt idx="64664">4</cx:pt>
          <cx:pt idx="64665">3</cx:pt>
          <cx:pt idx="64666">1</cx:pt>
          <cx:pt idx="64667">0</cx:pt>
          <cx:pt idx="64668">4</cx:pt>
          <cx:pt idx="64669">3</cx:pt>
          <cx:pt idx="64670">0</cx:pt>
          <cx:pt idx="64671">3</cx:pt>
          <cx:pt idx="64672">1</cx:pt>
          <cx:pt idx="64673">3</cx:pt>
          <cx:pt idx="64674">2</cx:pt>
          <cx:pt idx="64675">4</cx:pt>
          <cx:pt idx="64676">2</cx:pt>
          <cx:pt idx="64677">5</cx:pt>
          <cx:pt idx="64678">4</cx:pt>
          <cx:pt idx="64679">3</cx:pt>
          <cx:pt idx="64680">2</cx:pt>
          <cx:pt idx="64681">1</cx:pt>
          <cx:pt idx="64682">2</cx:pt>
          <cx:pt idx="64683">5</cx:pt>
          <cx:pt idx="64684">3</cx:pt>
          <cx:pt idx="64685">2</cx:pt>
          <cx:pt idx="64686">3</cx:pt>
          <cx:pt idx="64687">4</cx:pt>
          <cx:pt idx="64688">4</cx:pt>
          <cx:pt idx="64689">3</cx:pt>
          <cx:pt idx="64690">4</cx:pt>
          <cx:pt idx="64691">3</cx:pt>
          <cx:pt idx="64692">5</cx:pt>
          <cx:pt idx="64693">2</cx:pt>
          <cx:pt idx="64694">2</cx:pt>
          <cx:pt idx="64695">2</cx:pt>
          <cx:pt idx="64696">2</cx:pt>
          <cx:pt idx="64697">2</cx:pt>
          <cx:pt idx="64698">4</cx:pt>
          <cx:pt idx="64699">1</cx:pt>
          <cx:pt idx="64700">5</cx:pt>
          <cx:pt idx="64701">2</cx:pt>
          <cx:pt idx="64702">1</cx:pt>
          <cx:pt idx="64703">5</cx:pt>
          <cx:pt idx="64704">5</cx:pt>
          <cx:pt idx="64705">5</cx:pt>
          <cx:pt idx="64706">4</cx:pt>
          <cx:pt idx="64707">4</cx:pt>
          <cx:pt idx="64708">2</cx:pt>
          <cx:pt idx="64709">5</cx:pt>
          <cx:pt idx="64710">5</cx:pt>
          <cx:pt idx="64711">1</cx:pt>
          <cx:pt idx="64712">4</cx:pt>
          <cx:pt idx="64713">3</cx:pt>
          <cx:pt idx="64714">3</cx:pt>
          <cx:pt idx="64715">1</cx:pt>
          <cx:pt idx="64716">5</cx:pt>
          <cx:pt idx="64717">3</cx:pt>
          <cx:pt idx="64718">1</cx:pt>
          <cx:pt idx="64719">5</cx:pt>
          <cx:pt idx="64720">3</cx:pt>
          <cx:pt idx="64721">1</cx:pt>
          <cx:pt idx="64722">1</cx:pt>
          <cx:pt idx="64723">1</cx:pt>
          <cx:pt idx="64724">2</cx:pt>
          <cx:pt idx="64725">2</cx:pt>
          <cx:pt idx="64726">3</cx:pt>
          <cx:pt idx="64727">2</cx:pt>
          <cx:pt idx="64728">4</cx:pt>
          <cx:pt idx="64729">4</cx:pt>
          <cx:pt idx="64730">5</cx:pt>
          <cx:pt idx="64731">4</cx:pt>
          <cx:pt idx="64732">3</cx:pt>
          <cx:pt idx="64733">1</cx:pt>
          <cx:pt idx="64734">4</cx:pt>
          <cx:pt idx="64735">4</cx:pt>
          <cx:pt idx="64736">1</cx:pt>
          <cx:pt idx="64737">4</cx:pt>
          <cx:pt idx="64738">2</cx:pt>
          <cx:pt idx="64739">5</cx:pt>
          <cx:pt idx="64740">1</cx:pt>
          <cx:pt idx="64741">5</cx:pt>
          <cx:pt idx="64742">4</cx:pt>
          <cx:pt idx="64743">5</cx:pt>
          <cx:pt idx="64744">1</cx:pt>
          <cx:pt idx="64745">2</cx:pt>
          <cx:pt idx="64746">1</cx:pt>
          <cx:pt idx="64747">3</cx:pt>
          <cx:pt idx="64748">1</cx:pt>
          <cx:pt idx="64749">4</cx:pt>
          <cx:pt idx="64750">1</cx:pt>
          <cx:pt idx="64751">3</cx:pt>
          <cx:pt idx="64752">5</cx:pt>
          <cx:pt idx="64753">1</cx:pt>
          <cx:pt idx="64754">5</cx:pt>
          <cx:pt idx="64755">3</cx:pt>
          <cx:pt idx="64756">4</cx:pt>
          <cx:pt idx="64757">3</cx:pt>
          <cx:pt idx="64758">1</cx:pt>
          <cx:pt idx="64759">3</cx:pt>
          <cx:pt idx="64760">1</cx:pt>
          <cx:pt idx="64761">5</cx:pt>
          <cx:pt idx="64762">2</cx:pt>
          <cx:pt idx="64763">1</cx:pt>
          <cx:pt idx="64764">1</cx:pt>
          <cx:pt idx="64765">3</cx:pt>
          <cx:pt idx="64766">2</cx:pt>
          <cx:pt idx="64767">2</cx:pt>
          <cx:pt idx="64768">2</cx:pt>
          <cx:pt idx="64769">3</cx:pt>
          <cx:pt idx="64770">4</cx:pt>
          <cx:pt idx="64771">2</cx:pt>
          <cx:pt idx="64772">2</cx:pt>
          <cx:pt idx="64773">5</cx:pt>
          <cx:pt idx="64774">5</cx:pt>
          <cx:pt idx="64775">3</cx:pt>
          <cx:pt idx="64776">4</cx:pt>
          <cx:pt idx="64777">4</cx:pt>
          <cx:pt idx="64778">4</cx:pt>
          <cx:pt idx="64779">5</cx:pt>
          <cx:pt idx="64780">1</cx:pt>
          <cx:pt idx="64781">5</cx:pt>
          <cx:pt idx="64782">2</cx:pt>
          <cx:pt idx="64783">3</cx:pt>
          <cx:pt idx="64784">2</cx:pt>
          <cx:pt idx="64785">2</cx:pt>
          <cx:pt idx="64786">1</cx:pt>
          <cx:pt idx="64787">2</cx:pt>
          <cx:pt idx="64788">1</cx:pt>
          <cx:pt idx="64789">5</cx:pt>
          <cx:pt idx="64790">1</cx:pt>
          <cx:pt idx="64791">4</cx:pt>
          <cx:pt idx="64792">3</cx:pt>
          <cx:pt idx="64793">2</cx:pt>
          <cx:pt idx="64794">1</cx:pt>
          <cx:pt idx="64795">3</cx:pt>
          <cx:pt idx="64796">2</cx:pt>
          <cx:pt idx="64797">4</cx:pt>
          <cx:pt idx="64798">1</cx:pt>
          <cx:pt idx="64799">3</cx:pt>
          <cx:pt idx="64800">2</cx:pt>
          <cx:pt idx="64801">4</cx:pt>
          <cx:pt idx="64802">3</cx:pt>
          <cx:pt idx="64803">2</cx:pt>
          <cx:pt idx="64804">5</cx:pt>
          <cx:pt idx="64805">2</cx:pt>
          <cx:pt idx="64806">1</cx:pt>
          <cx:pt idx="64807">5</cx:pt>
          <cx:pt idx="64808">2</cx:pt>
          <cx:pt idx="64809">4</cx:pt>
          <cx:pt idx="64810">3</cx:pt>
          <cx:pt idx="64811">5</cx:pt>
          <cx:pt idx="64812">4</cx:pt>
          <cx:pt idx="64813">4</cx:pt>
          <cx:pt idx="64814">2</cx:pt>
          <cx:pt idx="64815">3</cx:pt>
          <cx:pt idx="64816">4</cx:pt>
          <cx:pt idx="64817">3</cx:pt>
          <cx:pt idx="64818">1</cx:pt>
          <cx:pt idx="64819">5</cx:pt>
          <cx:pt idx="64820">4</cx:pt>
          <cx:pt idx="64821">5</cx:pt>
          <cx:pt idx="64822">1</cx:pt>
          <cx:pt idx="64823">3</cx:pt>
          <cx:pt idx="64824">0</cx:pt>
          <cx:pt idx="64825">3</cx:pt>
          <cx:pt idx="64826">2</cx:pt>
          <cx:pt idx="64827">2</cx:pt>
          <cx:pt idx="64828">3</cx:pt>
          <cx:pt idx="64829">2</cx:pt>
          <cx:pt idx="64830">1</cx:pt>
          <cx:pt idx="64831">2</cx:pt>
          <cx:pt idx="64832">2</cx:pt>
          <cx:pt idx="64833">2</cx:pt>
          <cx:pt idx="64834">3</cx:pt>
          <cx:pt idx="64835">5</cx:pt>
          <cx:pt idx="64836">3</cx:pt>
          <cx:pt idx="64837">2</cx:pt>
          <cx:pt idx="64838">4</cx:pt>
          <cx:pt idx="64839">4</cx:pt>
          <cx:pt idx="64840">5</cx:pt>
          <cx:pt idx="64841">4</cx:pt>
          <cx:pt idx="64842">4</cx:pt>
          <cx:pt idx="64843">2</cx:pt>
          <cx:pt idx="64844">4</cx:pt>
          <cx:pt idx="64845">4</cx:pt>
          <cx:pt idx="64846">1</cx:pt>
          <cx:pt idx="64847">5</cx:pt>
          <cx:pt idx="64848">1</cx:pt>
          <cx:pt idx="64849">4</cx:pt>
          <cx:pt idx="64850">2</cx:pt>
          <cx:pt idx="64851">3</cx:pt>
          <cx:pt idx="64852">4</cx:pt>
          <cx:pt idx="64853">1</cx:pt>
          <cx:pt idx="64854">3</cx:pt>
          <cx:pt idx="64855">5</cx:pt>
          <cx:pt idx="64856">4</cx:pt>
          <cx:pt idx="64857">4</cx:pt>
          <cx:pt idx="64858">0</cx:pt>
          <cx:pt idx="64859">4</cx:pt>
          <cx:pt idx="64860">3</cx:pt>
          <cx:pt idx="64861">4</cx:pt>
          <cx:pt idx="64862">4</cx:pt>
          <cx:pt idx="64863">2</cx:pt>
          <cx:pt idx="64864">0</cx:pt>
          <cx:pt idx="64865">2</cx:pt>
          <cx:pt idx="64866">2</cx:pt>
          <cx:pt idx="64867">1</cx:pt>
          <cx:pt idx="64868">4</cx:pt>
          <cx:pt idx="64869">4</cx:pt>
          <cx:pt idx="64870">1</cx:pt>
          <cx:pt idx="64871">3</cx:pt>
          <cx:pt idx="64872">3</cx:pt>
          <cx:pt idx="64873">4</cx:pt>
          <cx:pt idx="64874">4</cx:pt>
          <cx:pt idx="64875">4</cx:pt>
          <cx:pt idx="64876">5</cx:pt>
          <cx:pt idx="64877">2</cx:pt>
          <cx:pt idx="64878">2</cx:pt>
          <cx:pt idx="64879">4</cx:pt>
          <cx:pt idx="64880">4</cx:pt>
          <cx:pt idx="64881">4</cx:pt>
          <cx:pt idx="64882">1</cx:pt>
          <cx:pt idx="64883">4</cx:pt>
          <cx:pt idx="64884">4</cx:pt>
          <cx:pt idx="64885">3</cx:pt>
          <cx:pt idx="64886">2</cx:pt>
          <cx:pt idx="64887">3</cx:pt>
          <cx:pt idx="64888">3</cx:pt>
          <cx:pt idx="64889">5</cx:pt>
          <cx:pt idx="64890">2</cx:pt>
          <cx:pt idx="64891">5</cx:pt>
          <cx:pt idx="64892">1</cx:pt>
          <cx:pt idx="64893">5</cx:pt>
          <cx:pt idx="64894">4</cx:pt>
          <cx:pt idx="64895">2</cx:pt>
          <cx:pt idx="64896">2</cx:pt>
          <cx:pt idx="64897">2</cx:pt>
          <cx:pt idx="64898">3</cx:pt>
          <cx:pt idx="64899">1</cx:pt>
          <cx:pt idx="64900">5</cx:pt>
          <cx:pt idx="64901">1</cx:pt>
          <cx:pt idx="64902">4</cx:pt>
          <cx:pt idx="64903">3</cx:pt>
          <cx:pt idx="64904">2</cx:pt>
          <cx:pt idx="64905">0</cx:pt>
          <cx:pt idx="64906">5</cx:pt>
          <cx:pt idx="64907">2</cx:pt>
          <cx:pt idx="64908">3</cx:pt>
          <cx:pt idx="64909">2</cx:pt>
          <cx:pt idx="64910">2</cx:pt>
          <cx:pt idx="64911">2</cx:pt>
          <cx:pt idx="64912">1</cx:pt>
          <cx:pt idx="64913">3</cx:pt>
          <cx:pt idx="64914">0</cx:pt>
          <cx:pt idx="64915">2</cx:pt>
          <cx:pt idx="64916">3</cx:pt>
          <cx:pt idx="64917">3</cx:pt>
          <cx:pt idx="64918">3</cx:pt>
          <cx:pt idx="64919">1</cx:pt>
          <cx:pt idx="64920">4</cx:pt>
          <cx:pt idx="64921">0</cx:pt>
          <cx:pt idx="64922">4</cx:pt>
          <cx:pt idx="64923">1</cx:pt>
          <cx:pt idx="64924">3</cx:pt>
          <cx:pt idx="64925">3</cx:pt>
          <cx:pt idx="64926">4</cx:pt>
          <cx:pt idx="64927">4</cx:pt>
          <cx:pt idx="64928">4</cx:pt>
          <cx:pt idx="64929">4</cx:pt>
          <cx:pt idx="64930">3</cx:pt>
          <cx:pt idx="64931">3</cx:pt>
          <cx:pt idx="64932">2</cx:pt>
          <cx:pt idx="64933">2</cx:pt>
          <cx:pt idx="64934">4</cx:pt>
          <cx:pt idx="64935">3</cx:pt>
          <cx:pt idx="64936">1</cx:pt>
          <cx:pt idx="64937">3</cx:pt>
          <cx:pt idx="64938">1</cx:pt>
          <cx:pt idx="64939">1</cx:pt>
          <cx:pt idx="64940">4</cx:pt>
          <cx:pt idx="64941">4</cx:pt>
          <cx:pt idx="64942">2</cx:pt>
          <cx:pt idx="64943">1</cx:pt>
          <cx:pt idx="64944">1</cx:pt>
          <cx:pt idx="64945">3</cx:pt>
          <cx:pt idx="64946">1</cx:pt>
          <cx:pt idx="64947">4</cx:pt>
          <cx:pt idx="64948">2</cx:pt>
          <cx:pt idx="64949">3</cx:pt>
          <cx:pt idx="64950">5</cx:pt>
          <cx:pt idx="64951">3</cx:pt>
          <cx:pt idx="64952">3</cx:pt>
          <cx:pt idx="64953">5</cx:pt>
          <cx:pt idx="64954">4</cx:pt>
          <cx:pt idx="64955">4</cx:pt>
          <cx:pt idx="64956">1</cx:pt>
          <cx:pt idx="64957">3</cx:pt>
          <cx:pt idx="64958">4</cx:pt>
          <cx:pt idx="64959">2</cx:pt>
          <cx:pt idx="64960">3</cx:pt>
          <cx:pt idx="64961">2</cx:pt>
          <cx:pt idx="64962">4</cx:pt>
          <cx:pt idx="64963">2</cx:pt>
          <cx:pt idx="64964">1</cx:pt>
          <cx:pt idx="64965">3</cx:pt>
          <cx:pt idx="64966">5</cx:pt>
          <cx:pt idx="64967">5</cx:pt>
          <cx:pt idx="64968">2</cx:pt>
          <cx:pt idx="64969">3</cx:pt>
          <cx:pt idx="64970">3</cx:pt>
          <cx:pt idx="64971">1</cx:pt>
          <cx:pt idx="64972">2</cx:pt>
          <cx:pt idx="64973">2</cx:pt>
          <cx:pt idx="64974">4</cx:pt>
          <cx:pt idx="64975">4</cx:pt>
          <cx:pt idx="64976">5</cx:pt>
          <cx:pt idx="64977">5</cx:pt>
          <cx:pt idx="64978">4</cx:pt>
          <cx:pt idx="64979">3</cx:pt>
          <cx:pt idx="64980">1</cx:pt>
          <cx:pt idx="64981">1</cx:pt>
          <cx:pt idx="64982">1</cx:pt>
          <cx:pt idx="64983">1</cx:pt>
          <cx:pt idx="64984">5</cx:pt>
          <cx:pt idx="64985">3</cx:pt>
          <cx:pt idx="64986">2</cx:pt>
          <cx:pt idx="64987">5</cx:pt>
          <cx:pt idx="64988">3</cx:pt>
          <cx:pt idx="64989">4</cx:pt>
          <cx:pt idx="64990">3</cx:pt>
          <cx:pt idx="64991">2</cx:pt>
          <cx:pt idx="64992">4</cx:pt>
          <cx:pt idx="64993">5</cx:pt>
          <cx:pt idx="64994">4</cx:pt>
          <cx:pt idx="64995">5</cx:pt>
          <cx:pt idx="64996">3</cx:pt>
          <cx:pt idx="64997">3</cx:pt>
          <cx:pt idx="64998">1</cx:pt>
          <cx:pt idx="64999">3</cx:pt>
          <cx:pt idx="65000">3</cx:pt>
          <cx:pt idx="65001">2</cx:pt>
          <cx:pt idx="65002">1</cx:pt>
          <cx:pt idx="65003">5</cx:pt>
          <cx:pt idx="65004">2</cx:pt>
          <cx:pt idx="65005">2</cx:pt>
          <cx:pt idx="65006">3</cx:pt>
          <cx:pt idx="65007">3</cx:pt>
          <cx:pt idx="65008">3</cx:pt>
          <cx:pt idx="65009">4</cx:pt>
          <cx:pt idx="65010">1</cx:pt>
          <cx:pt idx="65011">3</cx:pt>
          <cx:pt idx="65012">4</cx:pt>
          <cx:pt idx="65013">2</cx:pt>
          <cx:pt idx="65014">5</cx:pt>
          <cx:pt idx="65015">3</cx:pt>
          <cx:pt idx="65016">1</cx:pt>
          <cx:pt idx="65017">1</cx:pt>
          <cx:pt idx="65018">2</cx:pt>
          <cx:pt idx="65019">3</cx:pt>
          <cx:pt idx="65020">2</cx:pt>
          <cx:pt idx="65021">4</cx:pt>
          <cx:pt idx="65022">5</cx:pt>
          <cx:pt idx="65023">2</cx:pt>
          <cx:pt idx="65024">1</cx:pt>
          <cx:pt idx="65025">2</cx:pt>
          <cx:pt idx="65026">2</cx:pt>
          <cx:pt idx="65027">4</cx:pt>
          <cx:pt idx="65028">2</cx:pt>
          <cx:pt idx="65029">2</cx:pt>
          <cx:pt idx="65030">1</cx:pt>
          <cx:pt idx="65031">5</cx:pt>
          <cx:pt idx="65032">3</cx:pt>
          <cx:pt idx="65033">1</cx:pt>
          <cx:pt idx="65034">3</cx:pt>
          <cx:pt idx="65035">3</cx:pt>
          <cx:pt idx="65036">1</cx:pt>
          <cx:pt idx="65037">5</cx:pt>
          <cx:pt idx="65038">1</cx:pt>
          <cx:pt idx="65039">1</cx:pt>
          <cx:pt idx="65040">1</cx:pt>
          <cx:pt idx="65041">5</cx:pt>
          <cx:pt idx="65042">4</cx:pt>
          <cx:pt idx="65043">3</cx:pt>
          <cx:pt idx="65044">4</cx:pt>
          <cx:pt idx="65045">2</cx:pt>
          <cx:pt idx="65046">5</cx:pt>
          <cx:pt idx="65047">5</cx:pt>
          <cx:pt idx="65048">4</cx:pt>
          <cx:pt idx="65049">2</cx:pt>
          <cx:pt idx="65050">1</cx:pt>
          <cx:pt idx="65051">3</cx:pt>
          <cx:pt idx="65052">4</cx:pt>
          <cx:pt idx="65053">3</cx:pt>
          <cx:pt idx="65054">5</cx:pt>
          <cx:pt idx="65055">3</cx:pt>
          <cx:pt idx="65056">3</cx:pt>
          <cx:pt idx="65057">4</cx:pt>
          <cx:pt idx="65058">2</cx:pt>
          <cx:pt idx="65059">5</cx:pt>
          <cx:pt idx="65060">2</cx:pt>
          <cx:pt idx="65061">1</cx:pt>
          <cx:pt idx="65062">2</cx:pt>
          <cx:pt idx="65063">5</cx:pt>
          <cx:pt idx="65064">3</cx:pt>
          <cx:pt idx="65065">5</cx:pt>
          <cx:pt idx="65066">4</cx:pt>
          <cx:pt idx="65067">2</cx:pt>
          <cx:pt idx="65068">3</cx:pt>
          <cx:pt idx="65069">4</cx:pt>
          <cx:pt idx="65070">2</cx:pt>
          <cx:pt idx="65071">0</cx:pt>
          <cx:pt idx="65072">2</cx:pt>
          <cx:pt idx="65073">5</cx:pt>
          <cx:pt idx="65074">1</cx:pt>
          <cx:pt idx="65075">5</cx:pt>
          <cx:pt idx="65076">4</cx:pt>
          <cx:pt idx="65077">3</cx:pt>
          <cx:pt idx="65078">3</cx:pt>
          <cx:pt idx="65079">1</cx:pt>
          <cx:pt idx="65080">1</cx:pt>
          <cx:pt idx="65081">1</cx:pt>
          <cx:pt idx="65082">2</cx:pt>
          <cx:pt idx="65083">2</cx:pt>
          <cx:pt idx="65084">5</cx:pt>
          <cx:pt idx="65085">5</cx:pt>
          <cx:pt idx="65086">3</cx:pt>
          <cx:pt idx="65087">3</cx:pt>
          <cx:pt idx="65088">2</cx:pt>
          <cx:pt idx="65089">4</cx:pt>
          <cx:pt idx="65090">4</cx:pt>
          <cx:pt idx="65091">3</cx:pt>
          <cx:pt idx="65092">2</cx:pt>
          <cx:pt idx="65093">1</cx:pt>
          <cx:pt idx="65094">5</cx:pt>
          <cx:pt idx="65095">4</cx:pt>
          <cx:pt idx="65096">4</cx:pt>
          <cx:pt idx="65097">4</cx:pt>
          <cx:pt idx="65098">3</cx:pt>
          <cx:pt idx="65099">4</cx:pt>
          <cx:pt idx="65100">1</cx:pt>
          <cx:pt idx="65101">2</cx:pt>
          <cx:pt idx="65102">4</cx:pt>
          <cx:pt idx="65103">1</cx:pt>
          <cx:pt idx="65104">2</cx:pt>
          <cx:pt idx="65105">3</cx:pt>
          <cx:pt idx="65106">4</cx:pt>
          <cx:pt idx="65107">4</cx:pt>
          <cx:pt idx="65108">4</cx:pt>
          <cx:pt idx="65109">1</cx:pt>
          <cx:pt idx="65110">1</cx:pt>
          <cx:pt idx="65111">4</cx:pt>
          <cx:pt idx="65112">3</cx:pt>
          <cx:pt idx="65113">3</cx:pt>
          <cx:pt idx="65114">0</cx:pt>
          <cx:pt idx="65115">2</cx:pt>
          <cx:pt idx="65116">4</cx:pt>
          <cx:pt idx="65117">2</cx:pt>
          <cx:pt idx="65118">1</cx:pt>
          <cx:pt idx="65119">4</cx:pt>
          <cx:pt idx="65120">3</cx:pt>
          <cx:pt idx="65121">2</cx:pt>
          <cx:pt idx="65122">5</cx:pt>
          <cx:pt idx="65123">1</cx:pt>
          <cx:pt idx="65124">4</cx:pt>
          <cx:pt idx="65125">1</cx:pt>
          <cx:pt idx="65126">1</cx:pt>
          <cx:pt idx="65127">0</cx:pt>
          <cx:pt idx="65128">4</cx:pt>
          <cx:pt idx="65129">1</cx:pt>
          <cx:pt idx="65130">5</cx:pt>
          <cx:pt idx="65131">5</cx:pt>
          <cx:pt idx="65132">2</cx:pt>
          <cx:pt idx="65133">1</cx:pt>
          <cx:pt idx="65134">4</cx:pt>
          <cx:pt idx="65135">2</cx:pt>
          <cx:pt idx="65136">4</cx:pt>
          <cx:pt idx="65137">3</cx:pt>
          <cx:pt idx="65138">2</cx:pt>
          <cx:pt idx="65139">2</cx:pt>
          <cx:pt idx="65140">1</cx:pt>
          <cx:pt idx="65141">1</cx:pt>
          <cx:pt idx="65142">2</cx:pt>
          <cx:pt idx="65143">3</cx:pt>
          <cx:pt idx="65144">2</cx:pt>
          <cx:pt idx="65145">2</cx:pt>
          <cx:pt idx="65146">1</cx:pt>
          <cx:pt idx="65147">3</cx:pt>
          <cx:pt idx="65148">4</cx:pt>
          <cx:pt idx="65149">3</cx:pt>
          <cx:pt idx="65150">3</cx:pt>
          <cx:pt idx="65151">5</cx:pt>
          <cx:pt idx="65152">3</cx:pt>
          <cx:pt idx="65153">4</cx:pt>
          <cx:pt idx="65154">2</cx:pt>
          <cx:pt idx="65155">2</cx:pt>
          <cx:pt idx="65156">3</cx:pt>
          <cx:pt idx="65157">4</cx:pt>
          <cx:pt idx="65158">2</cx:pt>
          <cx:pt idx="65159">2</cx:pt>
          <cx:pt idx="65160">1</cx:pt>
          <cx:pt idx="65161">3</cx:pt>
          <cx:pt idx="65162">2</cx:pt>
          <cx:pt idx="65163">4</cx:pt>
          <cx:pt idx="65164">4</cx:pt>
          <cx:pt idx="65165">1</cx:pt>
          <cx:pt idx="65166">5</cx:pt>
          <cx:pt idx="65167">5</cx:pt>
          <cx:pt idx="65168">5</cx:pt>
          <cx:pt idx="65169">1</cx:pt>
          <cx:pt idx="65170">5</cx:pt>
          <cx:pt idx="65171">2</cx:pt>
          <cx:pt idx="65172">5</cx:pt>
          <cx:pt idx="65173">3</cx:pt>
          <cx:pt idx="65174">2</cx:pt>
          <cx:pt idx="65175">4</cx:pt>
          <cx:pt idx="65176">3</cx:pt>
          <cx:pt idx="65177">3</cx:pt>
          <cx:pt idx="65178">4</cx:pt>
          <cx:pt idx="65179">2</cx:pt>
          <cx:pt idx="65180">4</cx:pt>
          <cx:pt idx="65181">5</cx:pt>
          <cx:pt idx="65182">5</cx:pt>
          <cx:pt idx="65183">2</cx:pt>
          <cx:pt idx="65184">5</cx:pt>
          <cx:pt idx="65185">5</cx:pt>
          <cx:pt idx="65186">4</cx:pt>
          <cx:pt idx="65187">3</cx:pt>
          <cx:pt idx="65188">3</cx:pt>
          <cx:pt idx="65189">1</cx:pt>
          <cx:pt idx="65190">1</cx:pt>
          <cx:pt idx="65191">3</cx:pt>
          <cx:pt idx="65192">5</cx:pt>
          <cx:pt idx="65193">3</cx:pt>
          <cx:pt idx="65194">4</cx:pt>
          <cx:pt idx="65195">2</cx:pt>
          <cx:pt idx="65196">2</cx:pt>
          <cx:pt idx="65197">4</cx:pt>
          <cx:pt idx="65198">5</cx:pt>
          <cx:pt idx="65199">4</cx:pt>
          <cx:pt idx="65200">2</cx:pt>
          <cx:pt idx="65201">4</cx:pt>
          <cx:pt idx="65202">3</cx:pt>
          <cx:pt idx="65203">5</cx:pt>
          <cx:pt idx="65204">3</cx:pt>
          <cx:pt idx="65205">5</cx:pt>
          <cx:pt idx="65206">5</cx:pt>
          <cx:pt idx="65207">2</cx:pt>
          <cx:pt idx="65208">4</cx:pt>
          <cx:pt idx="65209">3</cx:pt>
          <cx:pt idx="65210">3</cx:pt>
          <cx:pt idx="65211">2</cx:pt>
          <cx:pt idx="65212">5</cx:pt>
          <cx:pt idx="65213">3</cx:pt>
          <cx:pt idx="65214">2</cx:pt>
          <cx:pt idx="65215">2</cx:pt>
          <cx:pt idx="65216">4</cx:pt>
          <cx:pt idx="65217">3</cx:pt>
          <cx:pt idx="65218">3</cx:pt>
          <cx:pt idx="65219">2</cx:pt>
          <cx:pt idx="65220">1</cx:pt>
          <cx:pt idx="65221">3</cx:pt>
          <cx:pt idx="65222">3</cx:pt>
          <cx:pt idx="65223">1</cx:pt>
          <cx:pt idx="65224">3</cx:pt>
          <cx:pt idx="65225">1</cx:pt>
          <cx:pt idx="65226">4</cx:pt>
          <cx:pt idx="65227">5</cx:pt>
          <cx:pt idx="65228">2</cx:pt>
          <cx:pt idx="65229">2</cx:pt>
          <cx:pt idx="65230">3</cx:pt>
          <cx:pt idx="65231">1</cx:pt>
          <cx:pt idx="65232">0</cx:pt>
          <cx:pt idx="65233">5</cx:pt>
          <cx:pt idx="65234">2</cx:pt>
          <cx:pt idx="65235">2</cx:pt>
          <cx:pt idx="65236">3</cx:pt>
          <cx:pt idx="65237">5</cx:pt>
          <cx:pt idx="65238">5</cx:pt>
          <cx:pt idx="65239">3</cx:pt>
          <cx:pt idx="65240">4</cx:pt>
          <cx:pt idx="65241">2</cx:pt>
          <cx:pt idx="65242">5</cx:pt>
          <cx:pt idx="65243">3</cx:pt>
          <cx:pt idx="65244">4</cx:pt>
          <cx:pt idx="65245">3</cx:pt>
          <cx:pt idx="65246">3</cx:pt>
          <cx:pt idx="65247">4</cx:pt>
          <cx:pt idx="65248">2</cx:pt>
          <cx:pt idx="65249">5</cx:pt>
          <cx:pt idx="65250">4</cx:pt>
          <cx:pt idx="65251">5</cx:pt>
          <cx:pt idx="65252">5</cx:pt>
          <cx:pt idx="65253">4</cx:pt>
          <cx:pt idx="65254">2</cx:pt>
          <cx:pt idx="65255">3</cx:pt>
          <cx:pt idx="65256">4</cx:pt>
          <cx:pt idx="65257">1</cx:pt>
          <cx:pt idx="65258">2</cx:pt>
          <cx:pt idx="65259">3</cx:pt>
          <cx:pt idx="65260">3</cx:pt>
          <cx:pt idx="65261">2</cx:pt>
          <cx:pt idx="65262">3</cx:pt>
          <cx:pt idx="65263">1</cx:pt>
          <cx:pt idx="65264">1</cx:pt>
          <cx:pt idx="65265">5</cx:pt>
          <cx:pt idx="65266">5</cx:pt>
          <cx:pt idx="65267">4</cx:pt>
          <cx:pt idx="65268">3</cx:pt>
          <cx:pt idx="65269">1</cx:pt>
          <cx:pt idx="65270">5</cx:pt>
          <cx:pt idx="65271">1</cx:pt>
          <cx:pt idx="65272">4</cx:pt>
          <cx:pt idx="65273">5</cx:pt>
          <cx:pt idx="65274">2</cx:pt>
          <cx:pt idx="65275">1</cx:pt>
          <cx:pt idx="65276">1</cx:pt>
          <cx:pt idx="65277">1</cx:pt>
          <cx:pt idx="65278">3</cx:pt>
          <cx:pt idx="65279">1</cx:pt>
          <cx:pt idx="65280">2</cx:pt>
          <cx:pt idx="65281">5</cx:pt>
          <cx:pt idx="65282">2</cx:pt>
          <cx:pt idx="65283">2</cx:pt>
          <cx:pt idx="65284">2</cx:pt>
          <cx:pt idx="65285">5</cx:pt>
          <cx:pt idx="65286">4</cx:pt>
          <cx:pt idx="65287">2</cx:pt>
          <cx:pt idx="65288">3</cx:pt>
          <cx:pt idx="65289">2</cx:pt>
          <cx:pt idx="65290">4</cx:pt>
          <cx:pt idx="65291">4</cx:pt>
          <cx:pt idx="65292">1</cx:pt>
          <cx:pt idx="65293">3</cx:pt>
          <cx:pt idx="65294">2</cx:pt>
          <cx:pt idx="65295">1</cx:pt>
          <cx:pt idx="65296">1</cx:pt>
          <cx:pt idx="65297">5</cx:pt>
          <cx:pt idx="65298">3</cx:pt>
          <cx:pt idx="65299">2</cx:pt>
          <cx:pt idx="65300">3</cx:pt>
          <cx:pt idx="65301">3</cx:pt>
          <cx:pt idx="65302">4</cx:pt>
          <cx:pt idx="65303">2</cx:pt>
          <cx:pt idx="65304">4</cx:pt>
          <cx:pt idx="65305">3</cx:pt>
          <cx:pt idx="65306">3</cx:pt>
          <cx:pt idx="65307">4</cx:pt>
          <cx:pt idx="65308">4</cx:pt>
          <cx:pt idx="65309">2</cx:pt>
          <cx:pt idx="65310">3</cx:pt>
          <cx:pt idx="65311">4</cx:pt>
          <cx:pt idx="65312">1</cx:pt>
          <cx:pt idx="65313">1</cx:pt>
          <cx:pt idx="65314">1</cx:pt>
          <cx:pt idx="65315">4</cx:pt>
          <cx:pt idx="65316">3</cx:pt>
          <cx:pt idx="65317">1</cx:pt>
          <cx:pt idx="65318">2</cx:pt>
          <cx:pt idx="65319">2</cx:pt>
          <cx:pt idx="65320">2</cx:pt>
          <cx:pt idx="65321">0</cx:pt>
          <cx:pt idx="65322">3</cx:pt>
          <cx:pt idx="65323">2</cx:pt>
          <cx:pt idx="65324">1</cx:pt>
          <cx:pt idx="65325">3</cx:pt>
          <cx:pt idx="65326">2</cx:pt>
          <cx:pt idx="65327">0</cx:pt>
          <cx:pt idx="65328">5</cx:pt>
          <cx:pt idx="65329">5</cx:pt>
          <cx:pt idx="65330">2</cx:pt>
          <cx:pt idx="65331">4</cx:pt>
          <cx:pt idx="65332">4</cx:pt>
          <cx:pt idx="65333">4</cx:pt>
          <cx:pt idx="65334">0</cx:pt>
          <cx:pt idx="65335">3</cx:pt>
          <cx:pt idx="65336">4</cx:pt>
          <cx:pt idx="65337">4</cx:pt>
          <cx:pt idx="65338">2</cx:pt>
          <cx:pt idx="65339">1</cx:pt>
          <cx:pt idx="65340">5</cx:pt>
          <cx:pt idx="65341">4</cx:pt>
          <cx:pt idx="65342">3</cx:pt>
          <cx:pt idx="65343">5</cx:pt>
          <cx:pt idx="65344">3</cx:pt>
          <cx:pt idx="65345">4</cx:pt>
          <cx:pt idx="65346">4</cx:pt>
          <cx:pt idx="65347">3</cx:pt>
          <cx:pt idx="65348">4</cx:pt>
          <cx:pt idx="65349">5</cx:pt>
          <cx:pt idx="65350">0</cx:pt>
          <cx:pt idx="65351">5</cx:pt>
          <cx:pt idx="65352">4</cx:pt>
          <cx:pt idx="65353">2</cx:pt>
          <cx:pt idx="65354">2</cx:pt>
          <cx:pt idx="65355">2</cx:pt>
          <cx:pt idx="65356">5</cx:pt>
          <cx:pt idx="65357">3</cx:pt>
          <cx:pt idx="65358">0</cx:pt>
          <cx:pt idx="65359">3</cx:pt>
          <cx:pt idx="65360">2</cx:pt>
          <cx:pt idx="65361">5</cx:pt>
          <cx:pt idx="65362">1</cx:pt>
          <cx:pt idx="65363">2</cx:pt>
          <cx:pt idx="65364">2</cx:pt>
          <cx:pt idx="65365">3</cx:pt>
          <cx:pt idx="65366">4</cx:pt>
          <cx:pt idx="65367">4</cx:pt>
          <cx:pt idx="65368">4</cx:pt>
          <cx:pt idx="65369">3</cx:pt>
          <cx:pt idx="65370">3</cx:pt>
          <cx:pt idx="65371">3</cx:pt>
          <cx:pt idx="65372">5</cx:pt>
          <cx:pt idx="65373">2</cx:pt>
          <cx:pt idx="65374">5</cx:pt>
          <cx:pt idx="65375">3</cx:pt>
          <cx:pt idx="65376">4</cx:pt>
          <cx:pt idx="65377">5</cx:pt>
          <cx:pt idx="65378">3</cx:pt>
          <cx:pt idx="65379">0</cx:pt>
          <cx:pt idx="65380">4</cx:pt>
          <cx:pt idx="65381">3</cx:pt>
          <cx:pt idx="65382">2</cx:pt>
          <cx:pt idx="65383">1</cx:pt>
          <cx:pt idx="65384">3</cx:pt>
          <cx:pt idx="65385">0</cx:pt>
          <cx:pt idx="65386">1</cx:pt>
          <cx:pt idx="65387">1</cx:pt>
          <cx:pt idx="65388">4</cx:pt>
          <cx:pt idx="65389">2</cx:pt>
          <cx:pt idx="65390">3</cx:pt>
          <cx:pt idx="65391">1</cx:pt>
          <cx:pt idx="65392">3</cx:pt>
          <cx:pt idx="65393">4</cx:pt>
          <cx:pt idx="65394">2</cx:pt>
          <cx:pt idx="65395">5</cx:pt>
          <cx:pt idx="65396">5</cx:pt>
          <cx:pt idx="65397">5</cx:pt>
          <cx:pt idx="65398">3</cx:pt>
          <cx:pt idx="65399">2</cx:pt>
          <cx:pt idx="65400">2</cx:pt>
          <cx:pt idx="65401">3</cx:pt>
          <cx:pt idx="65402">3</cx:pt>
          <cx:pt idx="65403">3</cx:pt>
          <cx:pt idx="65404">3</cx:pt>
          <cx:pt idx="65405">3</cx:pt>
          <cx:pt idx="65406">1</cx:pt>
          <cx:pt idx="65407">2</cx:pt>
          <cx:pt idx="65408">2</cx:pt>
          <cx:pt idx="65409">2</cx:pt>
          <cx:pt idx="65410">3</cx:pt>
          <cx:pt idx="65411">4</cx:pt>
          <cx:pt idx="65412">5</cx:pt>
          <cx:pt idx="65413">2</cx:pt>
          <cx:pt idx="65414">1</cx:pt>
          <cx:pt idx="65415">2</cx:pt>
          <cx:pt idx="65416">2</cx:pt>
          <cx:pt idx="65417">4</cx:pt>
          <cx:pt idx="65418">1</cx:pt>
          <cx:pt idx="65419">2</cx:pt>
          <cx:pt idx="65420">2</cx:pt>
          <cx:pt idx="65421">1</cx:pt>
          <cx:pt idx="65422">1</cx:pt>
          <cx:pt idx="65423">5</cx:pt>
          <cx:pt idx="65424">4</cx:pt>
          <cx:pt idx="65425">5</cx:pt>
          <cx:pt idx="65426">2</cx:pt>
          <cx:pt idx="65427">2</cx:pt>
          <cx:pt idx="65428">2</cx:pt>
          <cx:pt idx="65429">5</cx:pt>
          <cx:pt idx="65430">3</cx:pt>
          <cx:pt idx="65431">5</cx:pt>
          <cx:pt idx="65432">4</cx:pt>
          <cx:pt idx="65433">5</cx:pt>
          <cx:pt idx="65434">4</cx:pt>
          <cx:pt idx="65435">2</cx:pt>
          <cx:pt idx="65436">4</cx:pt>
          <cx:pt idx="65437">3</cx:pt>
          <cx:pt idx="65438">3</cx:pt>
          <cx:pt idx="65439">5</cx:pt>
          <cx:pt idx="65440">2</cx:pt>
          <cx:pt idx="65441">3</cx:pt>
          <cx:pt idx="65442">1</cx:pt>
          <cx:pt idx="65443">0</cx:pt>
          <cx:pt idx="65444">2</cx:pt>
          <cx:pt idx="65445">3</cx:pt>
          <cx:pt idx="65446">4</cx:pt>
          <cx:pt idx="65447">4</cx:pt>
          <cx:pt idx="65448">1</cx:pt>
          <cx:pt idx="65449">5</cx:pt>
          <cx:pt idx="65450">2</cx:pt>
          <cx:pt idx="65451">5</cx:pt>
          <cx:pt idx="65452">3</cx:pt>
          <cx:pt idx="65453">1</cx:pt>
          <cx:pt idx="65454">0</cx:pt>
          <cx:pt idx="65455">3</cx:pt>
          <cx:pt idx="65456">0</cx:pt>
          <cx:pt idx="65457">5</cx:pt>
          <cx:pt idx="65458">4</cx:pt>
          <cx:pt idx="65459">3</cx:pt>
          <cx:pt idx="65460">1</cx:pt>
          <cx:pt idx="65461">2</cx:pt>
          <cx:pt idx="65462">5</cx:pt>
          <cx:pt idx="65463">0</cx:pt>
          <cx:pt idx="65464">3</cx:pt>
          <cx:pt idx="65465">2</cx:pt>
          <cx:pt idx="65466">1</cx:pt>
          <cx:pt idx="65467">2</cx:pt>
          <cx:pt idx="65468">4</cx:pt>
          <cx:pt idx="65469">3</cx:pt>
          <cx:pt idx="65470">4</cx:pt>
          <cx:pt idx="65471">5</cx:pt>
          <cx:pt idx="65472">3</cx:pt>
          <cx:pt idx="65473">3</cx:pt>
          <cx:pt idx="65474">1</cx:pt>
          <cx:pt idx="65475">5</cx:pt>
          <cx:pt idx="65476">3</cx:pt>
          <cx:pt idx="65477">4</cx:pt>
          <cx:pt idx="65478">3</cx:pt>
          <cx:pt idx="65479">4</cx:pt>
          <cx:pt idx="65480">0</cx:pt>
          <cx:pt idx="65481">2</cx:pt>
          <cx:pt idx="65482">4</cx:pt>
          <cx:pt idx="65483">5</cx:pt>
          <cx:pt idx="65484">3</cx:pt>
          <cx:pt idx="65485">1</cx:pt>
          <cx:pt idx="65486">4</cx:pt>
          <cx:pt idx="65487">0</cx:pt>
          <cx:pt idx="65488">2</cx:pt>
          <cx:pt idx="65489">1</cx:pt>
          <cx:pt idx="65490">1</cx:pt>
          <cx:pt idx="65491">4</cx:pt>
          <cx:pt idx="65492">2</cx:pt>
          <cx:pt idx="65493">4</cx:pt>
          <cx:pt idx="65494">2</cx:pt>
          <cx:pt idx="65495">2</cx:pt>
          <cx:pt idx="65496">2</cx:pt>
          <cx:pt idx="65497">5</cx:pt>
          <cx:pt idx="65498">5</cx:pt>
          <cx:pt idx="65499">4</cx:pt>
          <cx:pt idx="65500">3</cx:pt>
          <cx:pt idx="65501">3</cx:pt>
          <cx:pt idx="65502">3</cx:pt>
          <cx:pt idx="65503">5</cx:pt>
          <cx:pt idx="65504">1</cx:pt>
          <cx:pt idx="65505">2</cx:pt>
          <cx:pt idx="65506">2</cx:pt>
          <cx:pt idx="65507">5</cx:pt>
          <cx:pt idx="65508">3</cx:pt>
          <cx:pt idx="65509">2</cx:pt>
          <cx:pt idx="65510">4</cx:pt>
          <cx:pt idx="65511">2</cx:pt>
          <cx:pt idx="65512">1</cx:pt>
          <cx:pt idx="65513">2</cx:pt>
          <cx:pt idx="65514">5</cx:pt>
          <cx:pt idx="65515">4</cx:pt>
          <cx:pt idx="65516">4</cx:pt>
          <cx:pt idx="65517">3</cx:pt>
          <cx:pt idx="65518">4</cx:pt>
          <cx:pt idx="65519">2</cx:pt>
          <cx:pt idx="65520">4</cx:pt>
          <cx:pt idx="65521">3</cx:pt>
          <cx:pt idx="65522">3</cx:pt>
          <cx:pt idx="65523">1</cx:pt>
          <cx:pt idx="65524">5</cx:pt>
          <cx:pt idx="65525">2</cx:pt>
          <cx:pt idx="65526">2</cx:pt>
          <cx:pt idx="65527">4</cx:pt>
          <cx:pt idx="65528">1</cx:pt>
          <cx:pt idx="65529">1</cx:pt>
          <cx:pt idx="65530">2</cx:pt>
          <cx:pt idx="65531">4</cx:pt>
          <cx:pt idx="65532">2</cx:pt>
          <cx:pt idx="65533">4</cx:pt>
          <cx:pt idx="65534">1</cx:pt>
          <cx:pt idx="65535">0</cx:pt>
          <cx:pt idx="65536">1</cx:pt>
          <cx:pt idx="65537">3</cx:pt>
          <cx:pt idx="65538">2</cx:pt>
          <cx:pt idx="65539">2</cx:pt>
          <cx:pt idx="65540">0</cx:pt>
          <cx:pt idx="65541">3</cx:pt>
          <cx:pt idx="65542">2</cx:pt>
          <cx:pt idx="65543">1</cx:pt>
          <cx:pt idx="65544">4</cx:pt>
          <cx:pt idx="65545">3</cx:pt>
          <cx:pt idx="65546">3</cx:pt>
          <cx:pt idx="65547">3</cx:pt>
          <cx:pt idx="65548">2</cx:pt>
          <cx:pt idx="65549">3</cx:pt>
          <cx:pt idx="65550">1</cx:pt>
          <cx:pt idx="65551">4</cx:pt>
          <cx:pt idx="65552">4</cx:pt>
          <cx:pt idx="65553">3</cx:pt>
          <cx:pt idx="65554">2</cx:pt>
          <cx:pt idx="65555">4</cx:pt>
          <cx:pt idx="65556">2</cx:pt>
          <cx:pt idx="65557">4</cx:pt>
          <cx:pt idx="65558">3</cx:pt>
          <cx:pt idx="65559">0</cx:pt>
          <cx:pt idx="65560">3</cx:pt>
          <cx:pt idx="65561">2</cx:pt>
          <cx:pt idx="65562">2</cx:pt>
          <cx:pt idx="65563">2</cx:pt>
          <cx:pt idx="65564">3</cx:pt>
          <cx:pt idx="65565">2</cx:pt>
          <cx:pt idx="65566">4</cx:pt>
          <cx:pt idx="65567">3</cx:pt>
          <cx:pt idx="65568">3</cx:pt>
          <cx:pt idx="65569">3</cx:pt>
          <cx:pt idx="65570">1</cx:pt>
          <cx:pt idx="65571">3</cx:pt>
          <cx:pt idx="65572">1</cx:pt>
          <cx:pt idx="65573">3</cx:pt>
          <cx:pt idx="65574">2</cx:pt>
          <cx:pt idx="65575">0</cx:pt>
          <cx:pt idx="65576">4</cx:pt>
          <cx:pt idx="65577">5</cx:pt>
          <cx:pt idx="65578">1</cx:pt>
          <cx:pt idx="65579">3</cx:pt>
          <cx:pt idx="65580">5</cx:pt>
          <cx:pt idx="65581">4</cx:pt>
          <cx:pt idx="65582">2</cx:pt>
          <cx:pt idx="65583">5</cx:pt>
          <cx:pt idx="65584">3</cx:pt>
          <cx:pt idx="65585">3</cx:pt>
          <cx:pt idx="65586">3</cx:pt>
          <cx:pt idx="65587">3</cx:pt>
          <cx:pt idx="65588">3</cx:pt>
          <cx:pt idx="65589">4</cx:pt>
          <cx:pt idx="65590">1</cx:pt>
          <cx:pt idx="65591">5</cx:pt>
          <cx:pt idx="65592">1</cx:pt>
          <cx:pt idx="65593">5</cx:pt>
          <cx:pt idx="65594">1</cx:pt>
          <cx:pt idx="65595">2</cx:pt>
          <cx:pt idx="65596">4</cx:pt>
          <cx:pt idx="65597">1</cx:pt>
          <cx:pt idx="65598">4</cx:pt>
          <cx:pt idx="65599">1</cx:pt>
          <cx:pt idx="65600">4</cx:pt>
          <cx:pt idx="65601">0</cx:pt>
          <cx:pt idx="65602">4</cx:pt>
          <cx:pt idx="65603">5</cx:pt>
          <cx:pt idx="65604">4</cx:pt>
          <cx:pt idx="65605">3</cx:pt>
          <cx:pt idx="65606">4</cx:pt>
          <cx:pt idx="65607">2</cx:pt>
          <cx:pt idx="65608">2</cx:pt>
          <cx:pt idx="65609">2</cx:pt>
          <cx:pt idx="65610">2</cx:pt>
          <cx:pt idx="65611">2</cx:pt>
          <cx:pt idx="65612">2</cx:pt>
          <cx:pt idx="65613">3</cx:pt>
          <cx:pt idx="65614">4</cx:pt>
          <cx:pt idx="65615">5</cx:pt>
          <cx:pt idx="65616">2</cx:pt>
          <cx:pt idx="65617">2</cx:pt>
          <cx:pt idx="65618">2</cx:pt>
          <cx:pt idx="65619">0</cx:pt>
          <cx:pt idx="65620">2</cx:pt>
          <cx:pt idx="65621">2</cx:pt>
          <cx:pt idx="65622">2</cx:pt>
          <cx:pt idx="65623">5</cx:pt>
          <cx:pt idx="65624">4</cx:pt>
          <cx:pt idx="65625">2</cx:pt>
          <cx:pt idx="65626">3</cx:pt>
          <cx:pt idx="65627">4</cx:pt>
          <cx:pt idx="65628">1</cx:pt>
          <cx:pt idx="65629">4</cx:pt>
          <cx:pt idx="65630">1</cx:pt>
          <cx:pt idx="65631">5</cx:pt>
          <cx:pt idx="65632">1</cx:pt>
          <cx:pt idx="65633">3</cx:pt>
          <cx:pt idx="65634">2</cx:pt>
          <cx:pt idx="65635">1</cx:pt>
          <cx:pt idx="65636">0</cx:pt>
          <cx:pt idx="65637">3</cx:pt>
          <cx:pt idx="65638">4</cx:pt>
          <cx:pt idx="65639">4</cx:pt>
          <cx:pt idx="65640">5</cx:pt>
          <cx:pt idx="65641">3</cx:pt>
          <cx:pt idx="65642">3</cx:pt>
          <cx:pt idx="65643">2</cx:pt>
          <cx:pt idx="65644">2</cx:pt>
          <cx:pt idx="65645">2</cx:pt>
          <cx:pt idx="65646">5</cx:pt>
          <cx:pt idx="65647">1</cx:pt>
          <cx:pt idx="65648">4</cx:pt>
          <cx:pt idx="65649">2</cx:pt>
          <cx:pt idx="65650">2</cx:pt>
          <cx:pt idx="65651">5</cx:pt>
          <cx:pt idx="65652">4</cx:pt>
          <cx:pt idx="65653">4</cx:pt>
          <cx:pt idx="65654">3</cx:pt>
          <cx:pt idx="65655">4</cx:pt>
          <cx:pt idx="65656">2</cx:pt>
          <cx:pt idx="65657">4</cx:pt>
          <cx:pt idx="65658">4</cx:pt>
          <cx:pt idx="65659">5</cx:pt>
          <cx:pt idx="65660">5</cx:pt>
          <cx:pt idx="65661">2</cx:pt>
          <cx:pt idx="65662">3</cx:pt>
          <cx:pt idx="65663">2</cx:pt>
          <cx:pt idx="65664">1</cx:pt>
          <cx:pt idx="65665">2</cx:pt>
          <cx:pt idx="65666">4</cx:pt>
          <cx:pt idx="65667">4</cx:pt>
          <cx:pt idx="65668">3</cx:pt>
          <cx:pt idx="65669">4</cx:pt>
          <cx:pt idx="65670">2</cx:pt>
          <cx:pt idx="65671">3</cx:pt>
          <cx:pt idx="65672">3</cx:pt>
          <cx:pt idx="65673">3</cx:pt>
          <cx:pt idx="65674">5</cx:pt>
          <cx:pt idx="65675">5</cx:pt>
          <cx:pt idx="65676">1</cx:pt>
          <cx:pt idx="65677">3</cx:pt>
          <cx:pt idx="65678">1</cx:pt>
          <cx:pt idx="65679">2</cx:pt>
          <cx:pt idx="65680">3</cx:pt>
          <cx:pt idx="65681">1</cx:pt>
          <cx:pt idx="65682">4</cx:pt>
          <cx:pt idx="65683">1</cx:pt>
          <cx:pt idx="65684">5</cx:pt>
          <cx:pt idx="65685">4</cx:pt>
          <cx:pt idx="65686">5</cx:pt>
          <cx:pt idx="65687">0</cx:pt>
          <cx:pt idx="65688">3</cx:pt>
          <cx:pt idx="65689">2</cx:pt>
          <cx:pt idx="65690">4</cx:pt>
          <cx:pt idx="65691">1</cx:pt>
          <cx:pt idx="65692">5</cx:pt>
          <cx:pt idx="65693">2</cx:pt>
          <cx:pt idx="65694">3</cx:pt>
          <cx:pt idx="65695">4</cx:pt>
          <cx:pt idx="65696">1</cx:pt>
          <cx:pt idx="65697">1</cx:pt>
          <cx:pt idx="65698">2</cx:pt>
          <cx:pt idx="65699">3</cx:pt>
          <cx:pt idx="65700">2</cx:pt>
          <cx:pt idx="65701">1</cx:pt>
          <cx:pt idx="65702">4</cx:pt>
          <cx:pt idx="65703">2</cx:pt>
          <cx:pt idx="65704">3</cx:pt>
          <cx:pt idx="65705">4</cx:pt>
          <cx:pt idx="65706">3</cx:pt>
          <cx:pt idx="65707">2</cx:pt>
          <cx:pt idx="65708">4</cx:pt>
          <cx:pt idx="65709">3</cx:pt>
          <cx:pt idx="65710">1</cx:pt>
          <cx:pt idx="65711">4</cx:pt>
          <cx:pt idx="65712">3</cx:pt>
          <cx:pt idx="65713">0</cx:pt>
          <cx:pt idx="65714">2</cx:pt>
          <cx:pt idx="65715">4</cx:pt>
          <cx:pt idx="65716">4</cx:pt>
          <cx:pt idx="65717">0</cx:pt>
          <cx:pt idx="65718">2</cx:pt>
          <cx:pt idx="65719">4</cx:pt>
          <cx:pt idx="65720">2</cx:pt>
          <cx:pt idx="65721">3</cx:pt>
          <cx:pt idx="65722">3</cx:pt>
          <cx:pt idx="65723">3</cx:pt>
          <cx:pt idx="65724">1</cx:pt>
          <cx:pt idx="65725">3</cx:pt>
          <cx:pt idx="65726">4</cx:pt>
          <cx:pt idx="65727">3</cx:pt>
          <cx:pt idx="65728">1</cx:pt>
          <cx:pt idx="65729">1</cx:pt>
          <cx:pt idx="65730">2</cx:pt>
          <cx:pt idx="65731">4</cx:pt>
          <cx:pt idx="65732">0</cx:pt>
          <cx:pt idx="65733">2</cx:pt>
          <cx:pt idx="65734">3</cx:pt>
          <cx:pt idx="65735">5</cx:pt>
          <cx:pt idx="65736">2</cx:pt>
          <cx:pt idx="65737">4</cx:pt>
          <cx:pt idx="65738">2</cx:pt>
          <cx:pt idx="65739">2</cx:pt>
          <cx:pt idx="65740">2</cx:pt>
          <cx:pt idx="65741">4</cx:pt>
          <cx:pt idx="65742">1</cx:pt>
          <cx:pt idx="65743">1</cx:pt>
          <cx:pt idx="65744">2</cx:pt>
          <cx:pt idx="65745">5</cx:pt>
          <cx:pt idx="65746">5</cx:pt>
          <cx:pt idx="65747">5</cx:pt>
          <cx:pt idx="65748">4</cx:pt>
          <cx:pt idx="65749">4</cx:pt>
          <cx:pt idx="65750">3</cx:pt>
          <cx:pt idx="65751">2</cx:pt>
          <cx:pt idx="65752">2</cx:pt>
          <cx:pt idx="65753">1</cx:pt>
          <cx:pt idx="65754">2</cx:pt>
          <cx:pt idx="65755">4</cx:pt>
          <cx:pt idx="65756">2</cx:pt>
          <cx:pt idx="65757">3</cx:pt>
          <cx:pt idx="65758">3</cx:pt>
          <cx:pt idx="65759">5</cx:pt>
          <cx:pt idx="65760">5</cx:pt>
          <cx:pt idx="65761">4</cx:pt>
          <cx:pt idx="65762">2</cx:pt>
          <cx:pt idx="65763">1</cx:pt>
          <cx:pt idx="65764">2</cx:pt>
          <cx:pt idx="65765">5</cx:pt>
          <cx:pt idx="65766">2</cx:pt>
          <cx:pt idx="65767">1</cx:pt>
          <cx:pt idx="65768">4</cx:pt>
          <cx:pt idx="65769">5</cx:pt>
          <cx:pt idx="65770">3</cx:pt>
          <cx:pt idx="65771">2</cx:pt>
          <cx:pt idx="65772">2</cx:pt>
          <cx:pt idx="65773">1</cx:pt>
          <cx:pt idx="65774">3</cx:pt>
          <cx:pt idx="65775">5</cx:pt>
          <cx:pt idx="65776">5</cx:pt>
          <cx:pt idx="65777">5</cx:pt>
          <cx:pt idx="65778">1</cx:pt>
          <cx:pt idx="65779">1</cx:pt>
          <cx:pt idx="65780">1</cx:pt>
          <cx:pt idx="65781">2</cx:pt>
          <cx:pt idx="65782">4</cx:pt>
          <cx:pt idx="65783">1</cx:pt>
          <cx:pt idx="65784">3</cx:pt>
          <cx:pt idx="65785">2</cx:pt>
          <cx:pt idx="65786">5</cx:pt>
          <cx:pt idx="65787">5</cx:pt>
          <cx:pt idx="65788">4</cx:pt>
          <cx:pt idx="65789">3</cx:pt>
          <cx:pt idx="65790">5</cx:pt>
          <cx:pt idx="65791">3</cx:pt>
          <cx:pt idx="65792">5</cx:pt>
          <cx:pt idx="65793">2</cx:pt>
          <cx:pt idx="65794">2</cx:pt>
          <cx:pt idx="65795">1</cx:pt>
          <cx:pt idx="65796">3</cx:pt>
          <cx:pt idx="65797">2</cx:pt>
          <cx:pt idx="65798">4</cx:pt>
          <cx:pt idx="65799">4</cx:pt>
          <cx:pt idx="65800">5</cx:pt>
          <cx:pt idx="65801">4</cx:pt>
          <cx:pt idx="65802">3</cx:pt>
          <cx:pt idx="65803">2</cx:pt>
          <cx:pt idx="65804">2</cx:pt>
          <cx:pt idx="65805">3</cx:pt>
          <cx:pt idx="65806">2</cx:pt>
          <cx:pt idx="65807">2</cx:pt>
          <cx:pt idx="65808">2</cx:pt>
          <cx:pt idx="65809">3</cx:pt>
          <cx:pt idx="65810">2</cx:pt>
          <cx:pt idx="65811">1</cx:pt>
          <cx:pt idx="65812">1</cx:pt>
          <cx:pt idx="65813">1</cx:pt>
          <cx:pt idx="65814">1</cx:pt>
          <cx:pt idx="65815">5</cx:pt>
          <cx:pt idx="65816">4</cx:pt>
          <cx:pt idx="65817">1</cx:pt>
          <cx:pt idx="65818">2</cx:pt>
          <cx:pt idx="65819">1</cx:pt>
          <cx:pt idx="65820">1</cx:pt>
          <cx:pt idx="65821">2</cx:pt>
          <cx:pt idx="65822">2</cx:pt>
          <cx:pt idx="65823">5</cx:pt>
          <cx:pt idx="65824">3</cx:pt>
          <cx:pt idx="65825">5</cx:pt>
          <cx:pt idx="65826">3</cx:pt>
          <cx:pt idx="65827">5</cx:pt>
          <cx:pt idx="65828">4</cx:pt>
          <cx:pt idx="65829">3</cx:pt>
          <cx:pt idx="65830">3</cx:pt>
          <cx:pt idx="65831">5</cx:pt>
          <cx:pt idx="65832">5</cx:pt>
          <cx:pt idx="65833">2</cx:pt>
          <cx:pt idx="65834">0</cx:pt>
          <cx:pt idx="65835">1</cx:pt>
          <cx:pt idx="65836">3</cx:pt>
          <cx:pt idx="65837">4</cx:pt>
          <cx:pt idx="65838">5</cx:pt>
          <cx:pt idx="65839">2</cx:pt>
          <cx:pt idx="65840">2</cx:pt>
          <cx:pt idx="65841">3</cx:pt>
          <cx:pt idx="65842">2</cx:pt>
          <cx:pt idx="65843">5</cx:pt>
          <cx:pt idx="65844">0</cx:pt>
          <cx:pt idx="65845">2</cx:pt>
          <cx:pt idx="65846">3</cx:pt>
          <cx:pt idx="65847">4</cx:pt>
          <cx:pt idx="65848">2</cx:pt>
          <cx:pt idx="65849">4</cx:pt>
          <cx:pt idx="65850">0</cx:pt>
          <cx:pt idx="65851">3</cx:pt>
          <cx:pt idx="65852">2</cx:pt>
          <cx:pt idx="65853">1</cx:pt>
          <cx:pt idx="65854">3</cx:pt>
          <cx:pt idx="65855">0</cx:pt>
          <cx:pt idx="65856">4</cx:pt>
          <cx:pt idx="65857">4</cx:pt>
          <cx:pt idx="65858">5</cx:pt>
          <cx:pt idx="65859">3</cx:pt>
          <cx:pt idx="65860">3</cx:pt>
          <cx:pt idx="65861">2</cx:pt>
          <cx:pt idx="65862">1</cx:pt>
          <cx:pt idx="65863">1</cx:pt>
          <cx:pt idx="65864">3</cx:pt>
          <cx:pt idx="65865">2</cx:pt>
          <cx:pt idx="65866">1</cx:pt>
          <cx:pt idx="65867">0</cx:pt>
          <cx:pt idx="65868">2</cx:pt>
          <cx:pt idx="65869">3</cx:pt>
          <cx:pt idx="65870">3</cx:pt>
          <cx:pt idx="65871">2</cx:pt>
          <cx:pt idx="65872">4</cx:pt>
          <cx:pt idx="65873">4</cx:pt>
          <cx:pt idx="65874">2</cx:pt>
          <cx:pt idx="65875">3</cx:pt>
          <cx:pt idx="65876">3</cx:pt>
          <cx:pt idx="65877">3</cx:pt>
          <cx:pt idx="65878">2</cx:pt>
          <cx:pt idx="65879">4</cx:pt>
          <cx:pt idx="65880">4</cx:pt>
          <cx:pt idx="65881">3</cx:pt>
          <cx:pt idx="65882">2</cx:pt>
          <cx:pt idx="65883">2</cx:pt>
          <cx:pt idx="65884">3</cx:pt>
          <cx:pt idx="65885">2</cx:pt>
          <cx:pt idx="65886">2</cx:pt>
          <cx:pt idx="65887">1</cx:pt>
          <cx:pt idx="65888">5</cx:pt>
          <cx:pt idx="65889">5</cx:pt>
          <cx:pt idx="65890">4</cx:pt>
          <cx:pt idx="65891">2</cx:pt>
          <cx:pt idx="65892">2</cx:pt>
          <cx:pt idx="65893">4</cx:pt>
          <cx:pt idx="65894">2</cx:pt>
          <cx:pt idx="65895">4</cx:pt>
          <cx:pt idx="65896">3</cx:pt>
          <cx:pt idx="65897">4</cx:pt>
          <cx:pt idx="65898">2</cx:pt>
          <cx:pt idx="65899">0</cx:pt>
          <cx:pt idx="65900">5</cx:pt>
          <cx:pt idx="65901">3</cx:pt>
          <cx:pt idx="65902">2</cx:pt>
          <cx:pt idx="65903">3</cx:pt>
          <cx:pt idx="65904">1</cx:pt>
          <cx:pt idx="65905">2</cx:pt>
          <cx:pt idx="65906">2</cx:pt>
          <cx:pt idx="65907">4</cx:pt>
          <cx:pt idx="65908">3</cx:pt>
          <cx:pt idx="65909">2</cx:pt>
          <cx:pt idx="65910">2</cx:pt>
          <cx:pt idx="65911">3</cx:pt>
          <cx:pt idx="65912">2</cx:pt>
          <cx:pt idx="65913">2</cx:pt>
          <cx:pt idx="65914">5</cx:pt>
          <cx:pt idx="65915">3</cx:pt>
          <cx:pt idx="65916">0</cx:pt>
          <cx:pt idx="65917">5</cx:pt>
          <cx:pt idx="65918">4</cx:pt>
          <cx:pt idx="65919">1</cx:pt>
          <cx:pt idx="65920">4</cx:pt>
          <cx:pt idx="65921">1</cx:pt>
          <cx:pt idx="65922">3</cx:pt>
          <cx:pt idx="65923">4</cx:pt>
          <cx:pt idx="65924">1</cx:pt>
          <cx:pt idx="65925">0</cx:pt>
          <cx:pt idx="65926">1</cx:pt>
          <cx:pt idx="65927">3</cx:pt>
          <cx:pt idx="65928">3</cx:pt>
          <cx:pt idx="65929">3</cx:pt>
          <cx:pt idx="65930">2</cx:pt>
          <cx:pt idx="65931">4</cx:pt>
          <cx:pt idx="65932">2</cx:pt>
          <cx:pt idx="65933">5</cx:pt>
          <cx:pt idx="65934">4</cx:pt>
          <cx:pt idx="65935">2</cx:pt>
          <cx:pt idx="65936">2</cx:pt>
          <cx:pt idx="65937">5</cx:pt>
          <cx:pt idx="65938">1</cx:pt>
          <cx:pt idx="65939">4</cx:pt>
          <cx:pt idx="65940">1</cx:pt>
          <cx:pt idx="65941">1</cx:pt>
          <cx:pt idx="65942">3</cx:pt>
          <cx:pt idx="65943">2</cx:pt>
          <cx:pt idx="65944">0</cx:pt>
          <cx:pt idx="65945">4</cx:pt>
          <cx:pt idx="65946">2</cx:pt>
          <cx:pt idx="65947">1</cx:pt>
          <cx:pt idx="65948">3</cx:pt>
          <cx:pt idx="65949">0</cx:pt>
          <cx:pt idx="65950">5</cx:pt>
          <cx:pt idx="65951">3</cx:pt>
          <cx:pt idx="65952">2</cx:pt>
          <cx:pt idx="65953">5</cx:pt>
          <cx:pt idx="65954">1</cx:pt>
          <cx:pt idx="65955">0</cx:pt>
          <cx:pt idx="65956">3</cx:pt>
          <cx:pt idx="65957">0</cx:pt>
          <cx:pt idx="65958">3</cx:pt>
          <cx:pt idx="65959">0</cx:pt>
          <cx:pt idx="65960">2</cx:pt>
          <cx:pt idx="65961">5</cx:pt>
          <cx:pt idx="65962">2</cx:pt>
          <cx:pt idx="65963">2</cx:pt>
          <cx:pt idx="65964">3</cx:pt>
          <cx:pt idx="65965">3</cx:pt>
          <cx:pt idx="65966">5</cx:pt>
          <cx:pt idx="65967">2</cx:pt>
          <cx:pt idx="65968">2</cx:pt>
          <cx:pt idx="65969">3</cx:pt>
          <cx:pt idx="65970">3</cx:pt>
          <cx:pt idx="65971">1</cx:pt>
          <cx:pt idx="65972">0</cx:pt>
          <cx:pt idx="65973">3</cx:pt>
          <cx:pt idx="65974">2</cx:pt>
          <cx:pt idx="65975">2</cx:pt>
          <cx:pt idx="65976">1</cx:pt>
          <cx:pt idx="65977">4</cx:pt>
          <cx:pt idx="65978">2</cx:pt>
          <cx:pt idx="65979">5</cx:pt>
          <cx:pt idx="65980">3</cx:pt>
          <cx:pt idx="65981">2</cx:pt>
          <cx:pt idx="65982">3</cx:pt>
          <cx:pt idx="65983">4</cx:pt>
          <cx:pt idx="65984">4</cx:pt>
          <cx:pt idx="65985">1</cx:pt>
          <cx:pt idx="65986">1</cx:pt>
          <cx:pt idx="65987">1</cx:pt>
          <cx:pt idx="65988">1</cx:pt>
          <cx:pt idx="65989">3</cx:pt>
          <cx:pt idx="65990">2</cx:pt>
          <cx:pt idx="65991">4</cx:pt>
          <cx:pt idx="65992">2</cx:pt>
          <cx:pt idx="65993">2</cx:pt>
          <cx:pt idx="65994">2</cx:pt>
          <cx:pt idx="65995">4</cx:pt>
          <cx:pt idx="65996">3</cx:pt>
          <cx:pt idx="65997">2</cx:pt>
          <cx:pt idx="65998">1</cx:pt>
          <cx:pt idx="65999">4</cx:pt>
          <cx:pt idx="66000">1</cx:pt>
          <cx:pt idx="66001">3</cx:pt>
          <cx:pt idx="66002">3</cx:pt>
          <cx:pt idx="66003">2</cx:pt>
          <cx:pt idx="66004">2</cx:pt>
          <cx:pt idx="66005">4</cx:pt>
          <cx:pt idx="66006">1</cx:pt>
          <cx:pt idx="66007">3</cx:pt>
          <cx:pt idx="66008">3</cx:pt>
          <cx:pt idx="66009">2</cx:pt>
          <cx:pt idx="66010">5</cx:pt>
          <cx:pt idx="66011">2</cx:pt>
          <cx:pt idx="66012">2</cx:pt>
          <cx:pt idx="66013">5</cx:pt>
          <cx:pt idx="66014">2</cx:pt>
          <cx:pt idx="66015">1</cx:pt>
          <cx:pt idx="66016">3</cx:pt>
          <cx:pt idx="66017">5</cx:pt>
          <cx:pt idx="66018">3</cx:pt>
          <cx:pt idx="66019">4</cx:pt>
          <cx:pt idx="66020">4</cx:pt>
          <cx:pt idx="66021">4</cx:pt>
          <cx:pt idx="66022">1</cx:pt>
          <cx:pt idx="66023">2</cx:pt>
          <cx:pt idx="66024">2</cx:pt>
          <cx:pt idx="66025">2</cx:pt>
          <cx:pt idx="66026">2</cx:pt>
          <cx:pt idx="66027">2</cx:pt>
          <cx:pt idx="66028">4</cx:pt>
          <cx:pt idx="66029">2</cx:pt>
          <cx:pt idx="66030">3</cx:pt>
          <cx:pt idx="66031">1</cx:pt>
          <cx:pt idx="66032">3</cx:pt>
          <cx:pt idx="66033">4</cx:pt>
          <cx:pt idx="66034">1</cx:pt>
          <cx:pt idx="66035">1</cx:pt>
          <cx:pt idx="66036">2</cx:pt>
          <cx:pt idx="66037">3</cx:pt>
          <cx:pt idx="66038">3</cx:pt>
          <cx:pt idx="66039">4</cx:pt>
          <cx:pt idx="66040">4</cx:pt>
          <cx:pt idx="66041">3</cx:pt>
          <cx:pt idx="66042">2</cx:pt>
          <cx:pt idx="66043">3</cx:pt>
          <cx:pt idx="66044">4</cx:pt>
          <cx:pt idx="66045">1</cx:pt>
          <cx:pt idx="66046">3</cx:pt>
          <cx:pt idx="66047">1</cx:pt>
          <cx:pt idx="66048">3</cx:pt>
          <cx:pt idx="66049">4</cx:pt>
          <cx:pt idx="66050">1</cx:pt>
          <cx:pt idx="66051">5</cx:pt>
          <cx:pt idx="66052">0</cx:pt>
          <cx:pt idx="66053">1</cx:pt>
          <cx:pt idx="66054">3</cx:pt>
          <cx:pt idx="66055">3</cx:pt>
          <cx:pt idx="66056">2</cx:pt>
          <cx:pt idx="66057">1</cx:pt>
          <cx:pt idx="66058">3</cx:pt>
          <cx:pt idx="66059">2</cx:pt>
          <cx:pt idx="66060">4</cx:pt>
          <cx:pt idx="66061">1</cx:pt>
          <cx:pt idx="66062">3</cx:pt>
          <cx:pt idx="66063">3</cx:pt>
          <cx:pt idx="66064">1</cx:pt>
          <cx:pt idx="66065">4</cx:pt>
          <cx:pt idx="66066">4</cx:pt>
          <cx:pt idx="66067">3</cx:pt>
          <cx:pt idx="66068">3</cx:pt>
          <cx:pt idx="66069">2</cx:pt>
          <cx:pt idx="66070">2</cx:pt>
          <cx:pt idx="66071">4</cx:pt>
          <cx:pt idx="66072">4</cx:pt>
          <cx:pt idx="66073">3</cx:pt>
          <cx:pt idx="66074">3</cx:pt>
          <cx:pt idx="66075">5</cx:pt>
          <cx:pt idx="66076">2</cx:pt>
          <cx:pt idx="66077">2</cx:pt>
          <cx:pt idx="66078">2</cx:pt>
          <cx:pt idx="66079">4</cx:pt>
          <cx:pt idx="66080">2</cx:pt>
          <cx:pt idx="66081">3</cx:pt>
          <cx:pt idx="66082">1</cx:pt>
          <cx:pt idx="66083">2</cx:pt>
          <cx:pt idx="66084">2</cx:pt>
          <cx:pt idx="66085">2</cx:pt>
          <cx:pt idx="66086">3</cx:pt>
          <cx:pt idx="66087">4</cx:pt>
          <cx:pt idx="66088">4</cx:pt>
          <cx:pt idx="66089">2</cx:pt>
          <cx:pt idx="66090">4</cx:pt>
          <cx:pt idx="66091">4</cx:pt>
          <cx:pt idx="66092">4</cx:pt>
          <cx:pt idx="66093">3</cx:pt>
          <cx:pt idx="66094">2</cx:pt>
          <cx:pt idx="66095">5</cx:pt>
          <cx:pt idx="66096">3</cx:pt>
          <cx:pt idx="66097">3</cx:pt>
          <cx:pt idx="66098">4</cx:pt>
          <cx:pt idx="66099">1</cx:pt>
          <cx:pt idx="66100">1</cx:pt>
          <cx:pt idx="66101">2</cx:pt>
          <cx:pt idx="66102">2</cx:pt>
          <cx:pt idx="66103">1</cx:pt>
          <cx:pt idx="66104">2</cx:pt>
          <cx:pt idx="66105">2</cx:pt>
          <cx:pt idx="66106">2</cx:pt>
          <cx:pt idx="66107">0</cx:pt>
          <cx:pt idx="66108">2</cx:pt>
          <cx:pt idx="66109">1</cx:pt>
          <cx:pt idx="66110">3</cx:pt>
          <cx:pt idx="66111">1</cx:pt>
          <cx:pt idx="66112">5</cx:pt>
          <cx:pt idx="66113">1</cx:pt>
          <cx:pt idx="66114">1</cx:pt>
          <cx:pt idx="66115">2</cx:pt>
          <cx:pt idx="66116">3</cx:pt>
          <cx:pt idx="66117">5</cx:pt>
          <cx:pt idx="66118">4</cx:pt>
          <cx:pt idx="66119">1</cx:pt>
          <cx:pt idx="66120">3</cx:pt>
          <cx:pt idx="66121">3</cx:pt>
          <cx:pt idx="66122">4</cx:pt>
          <cx:pt idx="66123">2</cx:pt>
          <cx:pt idx="66124">2</cx:pt>
          <cx:pt idx="66125">4</cx:pt>
          <cx:pt idx="66126">4</cx:pt>
          <cx:pt idx="66127">1</cx:pt>
          <cx:pt idx="66128">5</cx:pt>
          <cx:pt idx="66129">4</cx:pt>
          <cx:pt idx="66130">5</cx:pt>
          <cx:pt idx="66131">2</cx:pt>
          <cx:pt idx="66132">4</cx:pt>
          <cx:pt idx="66133">4</cx:pt>
          <cx:pt idx="66134">3</cx:pt>
          <cx:pt idx="66135">1</cx:pt>
          <cx:pt idx="66136">4</cx:pt>
          <cx:pt idx="66137">2</cx:pt>
          <cx:pt idx="66138">4</cx:pt>
          <cx:pt idx="66139">3</cx:pt>
          <cx:pt idx="66140">5</cx:pt>
          <cx:pt idx="66141">5</cx:pt>
          <cx:pt idx="66142">3</cx:pt>
          <cx:pt idx="66143">4</cx:pt>
          <cx:pt idx="66144">1</cx:pt>
          <cx:pt idx="66145">3</cx:pt>
          <cx:pt idx="66146">3</cx:pt>
          <cx:pt idx="66147">2</cx:pt>
          <cx:pt idx="66148">5</cx:pt>
          <cx:pt idx="66149">5</cx:pt>
          <cx:pt idx="66150">4</cx:pt>
          <cx:pt idx="66151">2</cx:pt>
          <cx:pt idx="66152">2</cx:pt>
          <cx:pt idx="66153">5</cx:pt>
          <cx:pt idx="66154">5</cx:pt>
          <cx:pt idx="66155">3</cx:pt>
          <cx:pt idx="66156">2</cx:pt>
          <cx:pt idx="66157">2</cx:pt>
          <cx:pt idx="66158">4</cx:pt>
          <cx:pt idx="66159">4</cx:pt>
          <cx:pt idx="66160">0</cx:pt>
          <cx:pt idx="66161">4</cx:pt>
          <cx:pt idx="66162">2</cx:pt>
          <cx:pt idx="66163">5</cx:pt>
          <cx:pt idx="66164">2</cx:pt>
          <cx:pt idx="66165">4</cx:pt>
          <cx:pt idx="66166">3</cx:pt>
          <cx:pt idx="66167">3</cx:pt>
          <cx:pt idx="66168">2</cx:pt>
          <cx:pt idx="66169">5</cx:pt>
          <cx:pt idx="66170">4</cx:pt>
          <cx:pt idx="66171">4</cx:pt>
          <cx:pt idx="66172">2</cx:pt>
          <cx:pt idx="66173">3</cx:pt>
          <cx:pt idx="66174">4</cx:pt>
          <cx:pt idx="66175">0</cx:pt>
          <cx:pt idx="66176">3</cx:pt>
          <cx:pt idx="66177">2</cx:pt>
          <cx:pt idx="66178">2</cx:pt>
          <cx:pt idx="66179">0</cx:pt>
          <cx:pt idx="66180">2</cx:pt>
          <cx:pt idx="66181">1</cx:pt>
          <cx:pt idx="66182">3</cx:pt>
          <cx:pt idx="66183">4</cx:pt>
          <cx:pt idx="66184">2</cx:pt>
          <cx:pt idx="66185">4</cx:pt>
          <cx:pt idx="66186">4</cx:pt>
          <cx:pt idx="66187">4</cx:pt>
          <cx:pt idx="66188">3</cx:pt>
          <cx:pt idx="66189">4</cx:pt>
          <cx:pt idx="66190">3</cx:pt>
          <cx:pt idx="66191">4</cx:pt>
          <cx:pt idx="66192">2</cx:pt>
          <cx:pt idx="66193">2</cx:pt>
          <cx:pt idx="66194">0</cx:pt>
          <cx:pt idx="66195">5</cx:pt>
          <cx:pt idx="66196">1</cx:pt>
          <cx:pt idx="66197">2</cx:pt>
          <cx:pt idx="66198">2</cx:pt>
          <cx:pt idx="66199">1</cx:pt>
          <cx:pt idx="66200">5</cx:pt>
          <cx:pt idx="66201">1</cx:pt>
          <cx:pt idx="66202">4</cx:pt>
          <cx:pt idx="66203">4</cx:pt>
          <cx:pt idx="66204">4</cx:pt>
          <cx:pt idx="66205">5</cx:pt>
          <cx:pt idx="66206">5</cx:pt>
          <cx:pt idx="66207">3</cx:pt>
          <cx:pt idx="66208">2</cx:pt>
          <cx:pt idx="66209">1</cx:pt>
          <cx:pt idx="66210">4</cx:pt>
          <cx:pt idx="66211">3</cx:pt>
          <cx:pt idx="66212">4</cx:pt>
          <cx:pt idx="66213">4</cx:pt>
          <cx:pt idx="66214">3</cx:pt>
          <cx:pt idx="66215">1</cx:pt>
          <cx:pt idx="66216">3</cx:pt>
          <cx:pt idx="66217">0</cx:pt>
          <cx:pt idx="66218">2</cx:pt>
          <cx:pt idx="66219">4</cx:pt>
          <cx:pt idx="66220">2</cx:pt>
          <cx:pt idx="66221">3</cx:pt>
          <cx:pt idx="66222">2</cx:pt>
          <cx:pt idx="66223">2</cx:pt>
          <cx:pt idx="66224">2</cx:pt>
          <cx:pt idx="66225">1</cx:pt>
          <cx:pt idx="66226">0</cx:pt>
          <cx:pt idx="66227">3</cx:pt>
          <cx:pt idx="66228">3</cx:pt>
          <cx:pt idx="66229">0</cx:pt>
          <cx:pt idx="66230">2</cx:pt>
          <cx:pt idx="66231">1</cx:pt>
          <cx:pt idx="66232">2</cx:pt>
          <cx:pt idx="66233">1</cx:pt>
          <cx:pt idx="66234">5</cx:pt>
          <cx:pt idx="66235">1</cx:pt>
          <cx:pt idx="66236">4</cx:pt>
          <cx:pt idx="66237">2</cx:pt>
          <cx:pt idx="66238">3</cx:pt>
          <cx:pt idx="66239">3</cx:pt>
          <cx:pt idx="66240">3</cx:pt>
          <cx:pt idx="66241">1</cx:pt>
          <cx:pt idx="66242">4</cx:pt>
          <cx:pt idx="66243">3</cx:pt>
          <cx:pt idx="66244">2</cx:pt>
          <cx:pt idx="66245">1</cx:pt>
          <cx:pt idx="66246">1</cx:pt>
          <cx:pt idx="66247">3</cx:pt>
          <cx:pt idx="66248">4</cx:pt>
          <cx:pt idx="66249">5</cx:pt>
          <cx:pt idx="66250">5</cx:pt>
          <cx:pt idx="66251">1</cx:pt>
          <cx:pt idx="66252">5</cx:pt>
          <cx:pt idx="66253">1</cx:pt>
          <cx:pt idx="66254">2</cx:pt>
          <cx:pt idx="66255">5</cx:pt>
          <cx:pt idx="66256">5</cx:pt>
          <cx:pt idx="66257">4</cx:pt>
          <cx:pt idx="66258">2</cx:pt>
          <cx:pt idx="66259">2</cx:pt>
          <cx:pt idx="66260">2</cx:pt>
          <cx:pt idx="66261">2</cx:pt>
          <cx:pt idx="66262">2</cx:pt>
          <cx:pt idx="66263">2</cx:pt>
          <cx:pt idx="66264">3</cx:pt>
          <cx:pt idx="66265">2</cx:pt>
          <cx:pt idx="66266">2</cx:pt>
          <cx:pt idx="66267">2</cx:pt>
          <cx:pt idx="66268">1</cx:pt>
          <cx:pt idx="66269">4</cx:pt>
          <cx:pt idx="66270">2</cx:pt>
          <cx:pt idx="66271">2</cx:pt>
          <cx:pt idx="66272">2</cx:pt>
          <cx:pt idx="66273">3</cx:pt>
          <cx:pt idx="66274">1</cx:pt>
          <cx:pt idx="66275">1</cx:pt>
          <cx:pt idx="66276">3</cx:pt>
          <cx:pt idx="66277">0</cx:pt>
          <cx:pt idx="66278">1</cx:pt>
          <cx:pt idx="66279">2</cx:pt>
          <cx:pt idx="66280">3</cx:pt>
          <cx:pt idx="66281">4</cx:pt>
          <cx:pt idx="66282">4</cx:pt>
          <cx:pt idx="66283">1</cx:pt>
          <cx:pt idx="66284">2</cx:pt>
          <cx:pt idx="66285">1</cx:pt>
          <cx:pt idx="66286">3</cx:pt>
          <cx:pt idx="66287">3</cx:pt>
          <cx:pt idx="66288">3</cx:pt>
          <cx:pt idx="66289">0</cx:pt>
          <cx:pt idx="66290">3</cx:pt>
          <cx:pt idx="66291">2</cx:pt>
          <cx:pt idx="66292">4</cx:pt>
          <cx:pt idx="66293">5</cx:pt>
          <cx:pt idx="66294">3</cx:pt>
          <cx:pt idx="66295">3</cx:pt>
          <cx:pt idx="66296">5</cx:pt>
          <cx:pt idx="66297">3</cx:pt>
          <cx:pt idx="66298">2</cx:pt>
          <cx:pt idx="66299">4</cx:pt>
          <cx:pt idx="66300">3</cx:pt>
          <cx:pt idx="66301">2</cx:pt>
          <cx:pt idx="66302">2</cx:pt>
          <cx:pt idx="66303">5</cx:pt>
          <cx:pt idx="66304">1</cx:pt>
          <cx:pt idx="66305">5</cx:pt>
          <cx:pt idx="66306">3</cx:pt>
          <cx:pt idx="66307">5</cx:pt>
          <cx:pt idx="66308">1</cx:pt>
          <cx:pt idx="66309">4</cx:pt>
          <cx:pt idx="66310">3</cx:pt>
          <cx:pt idx="66311">4</cx:pt>
          <cx:pt idx="66312">5</cx:pt>
          <cx:pt idx="66313">1</cx:pt>
          <cx:pt idx="66314">2</cx:pt>
          <cx:pt idx="66315">2</cx:pt>
          <cx:pt idx="66316">1</cx:pt>
          <cx:pt idx="66317">1</cx:pt>
          <cx:pt idx="66318">2</cx:pt>
          <cx:pt idx="66319">2</cx:pt>
          <cx:pt idx="66320">4</cx:pt>
          <cx:pt idx="66321">3</cx:pt>
          <cx:pt idx="66322">1</cx:pt>
          <cx:pt idx="66323">1</cx:pt>
          <cx:pt idx="66324">1</cx:pt>
          <cx:pt idx="66325">2</cx:pt>
          <cx:pt idx="66326">5</cx:pt>
          <cx:pt idx="66327">5</cx:pt>
          <cx:pt idx="66328">5</cx:pt>
          <cx:pt idx="66329">2</cx:pt>
          <cx:pt idx="66330">4</cx:pt>
          <cx:pt idx="66331">4</cx:pt>
          <cx:pt idx="66332">4</cx:pt>
          <cx:pt idx="66333">3</cx:pt>
          <cx:pt idx="66334">4</cx:pt>
          <cx:pt idx="66335">3</cx:pt>
          <cx:pt idx="66336">2</cx:pt>
          <cx:pt idx="66337">5</cx:pt>
          <cx:pt idx="66338">5</cx:pt>
          <cx:pt idx="66339">3</cx:pt>
          <cx:pt idx="66340">2</cx:pt>
          <cx:pt idx="66341">1</cx:pt>
          <cx:pt idx="66342">4</cx:pt>
          <cx:pt idx="66343">1</cx:pt>
          <cx:pt idx="66344">5</cx:pt>
          <cx:pt idx="66345">3</cx:pt>
          <cx:pt idx="66346">4</cx:pt>
          <cx:pt idx="66347">1</cx:pt>
          <cx:pt idx="66348">3</cx:pt>
          <cx:pt idx="66349">3</cx:pt>
          <cx:pt idx="66350">3</cx:pt>
          <cx:pt idx="66351">4</cx:pt>
          <cx:pt idx="66352">2</cx:pt>
          <cx:pt idx="66353">4</cx:pt>
          <cx:pt idx="66354">5</cx:pt>
          <cx:pt idx="66355">4</cx:pt>
          <cx:pt idx="66356">3</cx:pt>
          <cx:pt idx="66357">4</cx:pt>
          <cx:pt idx="66358">2</cx:pt>
          <cx:pt idx="66359">3</cx:pt>
          <cx:pt idx="66360">4</cx:pt>
          <cx:pt idx="66361">3</cx:pt>
          <cx:pt idx="66362">2</cx:pt>
          <cx:pt idx="66363">2</cx:pt>
          <cx:pt idx="66364">5</cx:pt>
          <cx:pt idx="66365">2</cx:pt>
          <cx:pt idx="66366">5</cx:pt>
          <cx:pt idx="66367">1</cx:pt>
          <cx:pt idx="66368">4</cx:pt>
          <cx:pt idx="66369">4</cx:pt>
          <cx:pt idx="66370">1</cx:pt>
          <cx:pt idx="66371">5</cx:pt>
          <cx:pt idx="66372">2</cx:pt>
          <cx:pt idx="66373">2</cx:pt>
          <cx:pt idx="66374">2</cx:pt>
          <cx:pt idx="66375">5</cx:pt>
          <cx:pt idx="66376">2</cx:pt>
          <cx:pt idx="66377">1</cx:pt>
          <cx:pt idx="66378">3</cx:pt>
          <cx:pt idx="66379">1</cx:pt>
          <cx:pt idx="66380">4</cx:pt>
          <cx:pt idx="66381">2</cx:pt>
          <cx:pt idx="66382">0</cx:pt>
          <cx:pt idx="66383">5</cx:pt>
          <cx:pt idx="66384">1</cx:pt>
          <cx:pt idx="66385">3</cx:pt>
          <cx:pt idx="66386">2</cx:pt>
          <cx:pt idx="66387">2</cx:pt>
          <cx:pt idx="66388">2</cx:pt>
          <cx:pt idx="66389">3</cx:pt>
          <cx:pt idx="66390">0</cx:pt>
          <cx:pt idx="66391">0</cx:pt>
          <cx:pt idx="66392">3</cx:pt>
          <cx:pt idx="66393">2</cx:pt>
          <cx:pt idx="66394">3</cx:pt>
          <cx:pt idx="66395">2</cx:pt>
          <cx:pt idx="66396">0</cx:pt>
          <cx:pt idx="66397">2</cx:pt>
          <cx:pt idx="66398">3</cx:pt>
          <cx:pt idx="66399">3</cx:pt>
          <cx:pt idx="66400">2</cx:pt>
          <cx:pt idx="66401">0</cx:pt>
          <cx:pt idx="66402">1</cx:pt>
          <cx:pt idx="66403">3</cx:pt>
          <cx:pt idx="66404">3</cx:pt>
          <cx:pt idx="66405">3</cx:pt>
          <cx:pt idx="66406">3</cx:pt>
          <cx:pt idx="66407">3</cx:pt>
          <cx:pt idx="66408">5</cx:pt>
          <cx:pt idx="66409">1</cx:pt>
          <cx:pt idx="66410">5</cx:pt>
          <cx:pt idx="66411">0</cx:pt>
          <cx:pt idx="66412">4</cx:pt>
          <cx:pt idx="66413">1</cx:pt>
          <cx:pt idx="66414">5</cx:pt>
          <cx:pt idx="66415">0</cx:pt>
          <cx:pt idx="66416">2</cx:pt>
          <cx:pt idx="66417">1</cx:pt>
          <cx:pt idx="66418">4</cx:pt>
          <cx:pt idx="66419">1</cx:pt>
          <cx:pt idx="66420">4</cx:pt>
          <cx:pt idx="66421">2</cx:pt>
          <cx:pt idx="66422">5</cx:pt>
          <cx:pt idx="66423">3</cx:pt>
          <cx:pt idx="66424">2</cx:pt>
          <cx:pt idx="66425">1</cx:pt>
          <cx:pt idx="66426">3</cx:pt>
          <cx:pt idx="66427">2</cx:pt>
          <cx:pt idx="66428">3</cx:pt>
          <cx:pt idx="66429">1</cx:pt>
          <cx:pt idx="66430">5</cx:pt>
          <cx:pt idx="66431">2</cx:pt>
          <cx:pt idx="66432">3</cx:pt>
          <cx:pt idx="66433">4</cx:pt>
          <cx:pt idx="66434">3</cx:pt>
          <cx:pt idx="66435">2</cx:pt>
          <cx:pt idx="66436">4</cx:pt>
          <cx:pt idx="66437">1</cx:pt>
          <cx:pt idx="66438">1</cx:pt>
          <cx:pt idx="66439">3</cx:pt>
          <cx:pt idx="66440">2</cx:pt>
          <cx:pt idx="66441">5</cx:pt>
          <cx:pt idx="66442">4</cx:pt>
          <cx:pt idx="66443">3</cx:pt>
          <cx:pt idx="66444">5</cx:pt>
          <cx:pt idx="66445">3</cx:pt>
          <cx:pt idx="66446">4</cx:pt>
          <cx:pt idx="66447">3</cx:pt>
          <cx:pt idx="66448">4</cx:pt>
          <cx:pt idx="66449">3</cx:pt>
          <cx:pt idx="66450">2</cx:pt>
          <cx:pt idx="66451">3</cx:pt>
          <cx:pt idx="66452">4</cx:pt>
          <cx:pt idx="66453">2</cx:pt>
          <cx:pt idx="66454">2</cx:pt>
          <cx:pt idx="66455">2</cx:pt>
          <cx:pt idx="66456">2</cx:pt>
          <cx:pt idx="66457">2</cx:pt>
          <cx:pt idx="66458">5</cx:pt>
          <cx:pt idx="66459">0</cx:pt>
          <cx:pt idx="66460">3</cx:pt>
          <cx:pt idx="66461">2</cx:pt>
          <cx:pt idx="66462">3</cx:pt>
          <cx:pt idx="66463">4</cx:pt>
          <cx:pt idx="66464">1</cx:pt>
          <cx:pt idx="66465">5</cx:pt>
          <cx:pt idx="66466">3</cx:pt>
          <cx:pt idx="66467">2</cx:pt>
          <cx:pt idx="66468">3</cx:pt>
          <cx:pt idx="66469">1</cx:pt>
          <cx:pt idx="66470">5</cx:pt>
          <cx:pt idx="66471">4</cx:pt>
          <cx:pt idx="66472">3</cx:pt>
          <cx:pt idx="66473">3</cx:pt>
          <cx:pt idx="66474">4</cx:pt>
          <cx:pt idx="66475">1</cx:pt>
          <cx:pt idx="66476">4</cx:pt>
          <cx:pt idx="66477">4</cx:pt>
          <cx:pt idx="66478">4</cx:pt>
          <cx:pt idx="66479">5</cx:pt>
          <cx:pt idx="66480">4</cx:pt>
          <cx:pt idx="66481">1</cx:pt>
          <cx:pt idx="66482">3</cx:pt>
          <cx:pt idx="66483">4</cx:pt>
          <cx:pt idx="66484">3</cx:pt>
          <cx:pt idx="66485">3</cx:pt>
          <cx:pt idx="66486">2</cx:pt>
          <cx:pt idx="66487">5</cx:pt>
          <cx:pt idx="66488">2</cx:pt>
          <cx:pt idx="66489">1</cx:pt>
          <cx:pt idx="66490">2</cx:pt>
          <cx:pt idx="66491">2</cx:pt>
          <cx:pt idx="66492">4</cx:pt>
          <cx:pt idx="66493">5</cx:pt>
          <cx:pt idx="66494">3</cx:pt>
          <cx:pt idx="66495">2</cx:pt>
          <cx:pt idx="66496">2</cx:pt>
          <cx:pt idx="66497">3</cx:pt>
          <cx:pt idx="66498">4</cx:pt>
          <cx:pt idx="66499">4</cx:pt>
          <cx:pt idx="66500">3</cx:pt>
          <cx:pt idx="66501">4</cx:pt>
          <cx:pt idx="66502">1</cx:pt>
          <cx:pt idx="66503">4</cx:pt>
          <cx:pt idx="66504">4</cx:pt>
          <cx:pt idx="66505">2</cx:pt>
          <cx:pt idx="66506">4</cx:pt>
          <cx:pt idx="66507">4</cx:pt>
          <cx:pt idx="66508">2</cx:pt>
          <cx:pt idx="66509">2</cx:pt>
          <cx:pt idx="66510">3</cx:pt>
          <cx:pt idx="66511">0</cx:pt>
          <cx:pt idx="66512">4</cx:pt>
          <cx:pt idx="66513">4</cx:pt>
          <cx:pt idx="66514">4</cx:pt>
          <cx:pt idx="66515">3</cx:pt>
          <cx:pt idx="66516">2</cx:pt>
          <cx:pt idx="66517">2</cx:pt>
          <cx:pt idx="66518">3</cx:pt>
          <cx:pt idx="66519">2</cx:pt>
          <cx:pt idx="66520">3</cx:pt>
          <cx:pt idx="66521">4</cx:pt>
          <cx:pt idx="66522">1</cx:pt>
          <cx:pt idx="66523">1</cx:pt>
          <cx:pt idx="66524">5</cx:pt>
          <cx:pt idx="66525">4</cx:pt>
          <cx:pt idx="66526">3</cx:pt>
          <cx:pt idx="66527">4</cx:pt>
          <cx:pt idx="66528">1</cx:pt>
          <cx:pt idx="66529">3</cx:pt>
          <cx:pt idx="66530">0</cx:pt>
          <cx:pt idx="66531">2</cx:pt>
          <cx:pt idx="66532">4</cx:pt>
          <cx:pt idx="66533">2</cx:pt>
          <cx:pt idx="66534">5</cx:pt>
          <cx:pt idx="66535">1</cx:pt>
          <cx:pt idx="66536">4</cx:pt>
          <cx:pt idx="66537">5</cx:pt>
          <cx:pt idx="66538">5</cx:pt>
          <cx:pt idx="66539">3</cx:pt>
          <cx:pt idx="66540">2</cx:pt>
          <cx:pt idx="66541">1</cx:pt>
          <cx:pt idx="66542">3</cx:pt>
          <cx:pt idx="66543">3</cx:pt>
          <cx:pt idx="66544">4</cx:pt>
          <cx:pt idx="66545">5</cx:pt>
          <cx:pt idx="66546">3</cx:pt>
          <cx:pt idx="66547">0</cx:pt>
          <cx:pt idx="66548">3</cx:pt>
          <cx:pt idx="66549">2</cx:pt>
          <cx:pt idx="66550">1</cx:pt>
          <cx:pt idx="66551">1</cx:pt>
          <cx:pt idx="66552">0</cx:pt>
          <cx:pt idx="66553">4</cx:pt>
          <cx:pt idx="66554">3</cx:pt>
          <cx:pt idx="66555">5</cx:pt>
          <cx:pt idx="66556">3</cx:pt>
          <cx:pt idx="66557">3</cx:pt>
          <cx:pt idx="66558">5</cx:pt>
          <cx:pt idx="66559">3</cx:pt>
          <cx:pt idx="66560">4</cx:pt>
          <cx:pt idx="66561">1</cx:pt>
          <cx:pt idx="66562">5</cx:pt>
          <cx:pt idx="66563">0</cx:pt>
          <cx:pt idx="66564">1</cx:pt>
          <cx:pt idx="66565">2</cx:pt>
          <cx:pt idx="66566">3</cx:pt>
          <cx:pt idx="66567">2</cx:pt>
          <cx:pt idx="66568">4</cx:pt>
          <cx:pt idx="66569">1</cx:pt>
          <cx:pt idx="66570">5</cx:pt>
          <cx:pt idx="66571">5</cx:pt>
          <cx:pt idx="66572">5</cx:pt>
          <cx:pt idx="66573">3</cx:pt>
          <cx:pt idx="66574">2</cx:pt>
          <cx:pt idx="66575">4</cx:pt>
          <cx:pt idx="66576">1</cx:pt>
          <cx:pt idx="66577">2</cx:pt>
          <cx:pt idx="66578">1</cx:pt>
          <cx:pt idx="66579">2</cx:pt>
          <cx:pt idx="66580">2</cx:pt>
          <cx:pt idx="66581">2</cx:pt>
          <cx:pt idx="66582">1</cx:pt>
          <cx:pt idx="66583">4</cx:pt>
          <cx:pt idx="66584">1</cx:pt>
          <cx:pt idx="66585">3</cx:pt>
          <cx:pt idx="66586">1</cx:pt>
          <cx:pt idx="66587">1</cx:pt>
          <cx:pt idx="66588">5</cx:pt>
          <cx:pt idx="66589">3</cx:pt>
          <cx:pt idx="66590">1</cx:pt>
          <cx:pt idx="66591">3</cx:pt>
          <cx:pt idx="66592">5</cx:pt>
          <cx:pt idx="66593">3</cx:pt>
          <cx:pt idx="66594">4</cx:pt>
          <cx:pt idx="66595">4</cx:pt>
          <cx:pt idx="66596">4</cx:pt>
          <cx:pt idx="66597">5</cx:pt>
          <cx:pt idx="66598">1</cx:pt>
          <cx:pt idx="66599">1</cx:pt>
          <cx:pt idx="66600">5</cx:pt>
          <cx:pt idx="66601">3</cx:pt>
          <cx:pt idx="66602">1</cx:pt>
          <cx:pt idx="66603">4</cx:pt>
          <cx:pt idx="66604">2</cx:pt>
          <cx:pt idx="66605">3</cx:pt>
          <cx:pt idx="66606">3</cx:pt>
          <cx:pt idx="66607">4</cx:pt>
          <cx:pt idx="66608">3</cx:pt>
          <cx:pt idx="66609">4</cx:pt>
          <cx:pt idx="66610">1</cx:pt>
          <cx:pt idx="66611">2</cx:pt>
          <cx:pt idx="66612">1</cx:pt>
          <cx:pt idx="66613">3</cx:pt>
          <cx:pt idx="66614">3</cx:pt>
          <cx:pt idx="66615">2</cx:pt>
          <cx:pt idx="66616">1</cx:pt>
          <cx:pt idx="66617">2</cx:pt>
          <cx:pt idx="66618">4</cx:pt>
          <cx:pt idx="66619">1</cx:pt>
          <cx:pt idx="66620">3</cx:pt>
          <cx:pt idx="66621">3</cx:pt>
          <cx:pt idx="66622">3</cx:pt>
          <cx:pt idx="66623">2</cx:pt>
          <cx:pt idx="66624">4</cx:pt>
          <cx:pt idx="66625">3</cx:pt>
          <cx:pt idx="66626">2</cx:pt>
          <cx:pt idx="66627">2</cx:pt>
          <cx:pt idx="66628">3</cx:pt>
          <cx:pt idx="66629">5</cx:pt>
          <cx:pt idx="66630">2</cx:pt>
          <cx:pt idx="66631">2</cx:pt>
          <cx:pt idx="66632">3</cx:pt>
          <cx:pt idx="66633">1</cx:pt>
          <cx:pt idx="66634">2</cx:pt>
          <cx:pt idx="66635">0</cx:pt>
          <cx:pt idx="66636">1</cx:pt>
          <cx:pt idx="66637">2</cx:pt>
          <cx:pt idx="66638">5</cx:pt>
          <cx:pt idx="66639">3</cx:pt>
          <cx:pt idx="66640">4</cx:pt>
          <cx:pt idx="66641">4</cx:pt>
          <cx:pt idx="66642">3</cx:pt>
          <cx:pt idx="66643">0</cx:pt>
          <cx:pt idx="66644">4</cx:pt>
          <cx:pt idx="66645">1</cx:pt>
          <cx:pt idx="66646">4</cx:pt>
          <cx:pt idx="66647">3</cx:pt>
          <cx:pt idx="66648">5</cx:pt>
          <cx:pt idx="66649">4</cx:pt>
          <cx:pt idx="66650">3</cx:pt>
          <cx:pt idx="66651">3</cx:pt>
          <cx:pt idx="66652">2</cx:pt>
          <cx:pt idx="66653">4</cx:pt>
          <cx:pt idx="66654">3</cx:pt>
          <cx:pt idx="66655">1</cx:pt>
          <cx:pt idx="66656">2</cx:pt>
          <cx:pt idx="66657">2</cx:pt>
          <cx:pt idx="66658">4</cx:pt>
          <cx:pt idx="66659">3</cx:pt>
          <cx:pt idx="66660">3</cx:pt>
          <cx:pt idx="66661">4</cx:pt>
          <cx:pt idx="66662">3</cx:pt>
          <cx:pt idx="66663">3</cx:pt>
          <cx:pt idx="66664">4</cx:pt>
          <cx:pt idx="66665">0</cx:pt>
          <cx:pt idx="66666">1</cx:pt>
          <cx:pt idx="66667">4</cx:pt>
          <cx:pt idx="66668">4</cx:pt>
          <cx:pt idx="66669">2</cx:pt>
          <cx:pt idx="66670">4</cx:pt>
          <cx:pt idx="66671">5</cx:pt>
          <cx:pt idx="66672">4</cx:pt>
          <cx:pt idx="66673">2</cx:pt>
          <cx:pt idx="66674">2</cx:pt>
          <cx:pt idx="66675">1</cx:pt>
          <cx:pt idx="66676">3</cx:pt>
          <cx:pt idx="66677">4</cx:pt>
          <cx:pt idx="66678">4</cx:pt>
          <cx:pt idx="66679">0</cx:pt>
          <cx:pt idx="66680">4</cx:pt>
          <cx:pt idx="66681">2</cx:pt>
          <cx:pt idx="66682">0</cx:pt>
          <cx:pt idx="66683">3</cx:pt>
          <cx:pt idx="66684">4</cx:pt>
          <cx:pt idx="66685">2</cx:pt>
          <cx:pt idx="66686">2</cx:pt>
          <cx:pt idx="66687">1</cx:pt>
          <cx:pt idx="66688">5</cx:pt>
          <cx:pt idx="66689">4</cx:pt>
          <cx:pt idx="66690">3</cx:pt>
          <cx:pt idx="66691">3</cx:pt>
          <cx:pt idx="66692">5</cx:pt>
          <cx:pt idx="66693">5</cx:pt>
          <cx:pt idx="66694">2</cx:pt>
          <cx:pt idx="66695">3</cx:pt>
          <cx:pt idx="66696">2</cx:pt>
          <cx:pt idx="66697">3</cx:pt>
          <cx:pt idx="66698">1</cx:pt>
          <cx:pt idx="66699">5</cx:pt>
          <cx:pt idx="66700">2</cx:pt>
          <cx:pt idx="66701">3</cx:pt>
          <cx:pt idx="66702">1</cx:pt>
          <cx:pt idx="66703">1</cx:pt>
          <cx:pt idx="66704">2</cx:pt>
          <cx:pt idx="66705">1</cx:pt>
          <cx:pt idx="66706">2</cx:pt>
          <cx:pt idx="66707">0</cx:pt>
          <cx:pt idx="66708">2</cx:pt>
          <cx:pt idx="66709">4</cx:pt>
          <cx:pt idx="66710">3</cx:pt>
          <cx:pt idx="66711">1</cx:pt>
          <cx:pt idx="66712">2</cx:pt>
          <cx:pt idx="66713">2</cx:pt>
          <cx:pt idx="66714">4</cx:pt>
          <cx:pt idx="66715">5</cx:pt>
          <cx:pt idx="66716">1</cx:pt>
          <cx:pt idx="66717">2</cx:pt>
          <cx:pt idx="66718">5</cx:pt>
          <cx:pt idx="66719">4</cx:pt>
          <cx:pt idx="66720">4</cx:pt>
          <cx:pt idx="66721">2</cx:pt>
          <cx:pt idx="66722">4</cx:pt>
          <cx:pt idx="66723">2</cx:pt>
          <cx:pt idx="66724">5</cx:pt>
          <cx:pt idx="66725">3</cx:pt>
          <cx:pt idx="66726">4</cx:pt>
          <cx:pt idx="66727">5</cx:pt>
          <cx:pt idx="66728">4</cx:pt>
          <cx:pt idx="66729">3</cx:pt>
          <cx:pt idx="66730">4</cx:pt>
          <cx:pt idx="66731">4</cx:pt>
          <cx:pt idx="66732">2</cx:pt>
          <cx:pt idx="66733">3</cx:pt>
          <cx:pt idx="66734">4</cx:pt>
          <cx:pt idx="66735">3</cx:pt>
          <cx:pt idx="66736">3</cx:pt>
          <cx:pt idx="66737">3</cx:pt>
          <cx:pt idx="66738">3</cx:pt>
          <cx:pt idx="66739">2</cx:pt>
          <cx:pt idx="66740">1</cx:pt>
          <cx:pt idx="66741">2</cx:pt>
          <cx:pt idx="66742">2</cx:pt>
          <cx:pt idx="66743">2</cx:pt>
          <cx:pt idx="66744">4</cx:pt>
          <cx:pt idx="66745">4</cx:pt>
          <cx:pt idx="66746">3</cx:pt>
          <cx:pt idx="66747">1</cx:pt>
          <cx:pt idx="66748">0</cx:pt>
          <cx:pt idx="66749">4</cx:pt>
          <cx:pt idx="66750">2</cx:pt>
          <cx:pt idx="66751">3</cx:pt>
          <cx:pt idx="66752">3</cx:pt>
          <cx:pt idx="66753">5</cx:pt>
          <cx:pt idx="66754">3</cx:pt>
          <cx:pt idx="66755">3</cx:pt>
          <cx:pt idx="66756">4</cx:pt>
          <cx:pt idx="66757">3</cx:pt>
          <cx:pt idx="66758">4</cx:pt>
          <cx:pt idx="66759">4</cx:pt>
          <cx:pt idx="66760">2</cx:pt>
          <cx:pt idx="66761">4</cx:pt>
          <cx:pt idx="66762">3</cx:pt>
          <cx:pt idx="66763">0</cx:pt>
          <cx:pt idx="66764">4</cx:pt>
          <cx:pt idx="66765">3</cx:pt>
          <cx:pt idx="66766">2</cx:pt>
          <cx:pt idx="66767">3</cx:pt>
          <cx:pt idx="66768">5</cx:pt>
          <cx:pt idx="66769">2</cx:pt>
          <cx:pt idx="66770">5</cx:pt>
          <cx:pt idx="66771">1</cx:pt>
          <cx:pt idx="66772">3</cx:pt>
          <cx:pt idx="66773">1</cx:pt>
          <cx:pt idx="66774">2</cx:pt>
          <cx:pt idx="66775">1</cx:pt>
          <cx:pt idx="66776">4</cx:pt>
          <cx:pt idx="66777">2</cx:pt>
          <cx:pt idx="66778">3</cx:pt>
          <cx:pt idx="66779">1</cx:pt>
          <cx:pt idx="66780">3</cx:pt>
          <cx:pt idx="66781">1</cx:pt>
          <cx:pt idx="66782">4</cx:pt>
          <cx:pt idx="66783">2</cx:pt>
          <cx:pt idx="66784">2</cx:pt>
          <cx:pt idx="66785">2</cx:pt>
          <cx:pt idx="66786">4</cx:pt>
          <cx:pt idx="66787">3</cx:pt>
          <cx:pt idx="66788">1</cx:pt>
          <cx:pt idx="66789">3</cx:pt>
          <cx:pt idx="66790">2</cx:pt>
          <cx:pt idx="66791">2</cx:pt>
          <cx:pt idx="66792">4</cx:pt>
          <cx:pt idx="66793">3</cx:pt>
          <cx:pt idx="66794">5</cx:pt>
          <cx:pt idx="66795">1</cx:pt>
          <cx:pt idx="66796">4</cx:pt>
          <cx:pt idx="66797">4</cx:pt>
          <cx:pt idx="66798">5</cx:pt>
          <cx:pt idx="66799">1</cx:pt>
          <cx:pt idx="66800">3</cx:pt>
          <cx:pt idx="66801">5</cx:pt>
          <cx:pt idx="66802">0</cx:pt>
          <cx:pt idx="66803">4</cx:pt>
          <cx:pt idx="66804">4</cx:pt>
          <cx:pt idx="66805">2</cx:pt>
          <cx:pt idx="66806">2</cx:pt>
          <cx:pt idx="66807">1</cx:pt>
          <cx:pt idx="66808">2</cx:pt>
          <cx:pt idx="66809">1</cx:pt>
          <cx:pt idx="66810">1</cx:pt>
          <cx:pt idx="66811">4</cx:pt>
          <cx:pt idx="66812">4</cx:pt>
          <cx:pt idx="66813">2</cx:pt>
          <cx:pt idx="66814">5</cx:pt>
          <cx:pt idx="66815">4</cx:pt>
          <cx:pt idx="66816">1</cx:pt>
          <cx:pt idx="66817">2</cx:pt>
          <cx:pt idx="66818">1</cx:pt>
          <cx:pt idx="66819">5</cx:pt>
          <cx:pt idx="66820">2</cx:pt>
          <cx:pt idx="66821">4</cx:pt>
          <cx:pt idx="66822">1</cx:pt>
          <cx:pt idx="66823">3</cx:pt>
          <cx:pt idx="66824">4</cx:pt>
          <cx:pt idx="66825">2</cx:pt>
          <cx:pt idx="66826">0</cx:pt>
          <cx:pt idx="66827">3</cx:pt>
          <cx:pt idx="66828">3</cx:pt>
          <cx:pt idx="66829">5</cx:pt>
          <cx:pt idx="66830">2</cx:pt>
          <cx:pt idx="66831">3</cx:pt>
          <cx:pt idx="66832">2</cx:pt>
          <cx:pt idx="66833">1</cx:pt>
          <cx:pt idx="66834">0</cx:pt>
          <cx:pt idx="66835">1</cx:pt>
          <cx:pt idx="66836">1</cx:pt>
          <cx:pt idx="66837">3</cx:pt>
          <cx:pt idx="66838">5</cx:pt>
          <cx:pt idx="66839">2</cx:pt>
          <cx:pt idx="66840">1</cx:pt>
          <cx:pt idx="66841">4</cx:pt>
          <cx:pt idx="66842">3</cx:pt>
          <cx:pt idx="66843">2</cx:pt>
          <cx:pt idx="66844">3</cx:pt>
          <cx:pt idx="66845">1</cx:pt>
          <cx:pt idx="66846">4</cx:pt>
          <cx:pt idx="66847">2</cx:pt>
          <cx:pt idx="66848">3</cx:pt>
          <cx:pt idx="66849">3</cx:pt>
          <cx:pt idx="66850">5</cx:pt>
          <cx:pt idx="66851">2</cx:pt>
          <cx:pt idx="66852">2</cx:pt>
          <cx:pt idx="66853">2</cx:pt>
          <cx:pt idx="66854">4</cx:pt>
          <cx:pt idx="66855">2</cx:pt>
          <cx:pt idx="66856">0</cx:pt>
          <cx:pt idx="66857">3</cx:pt>
          <cx:pt idx="66858">4</cx:pt>
          <cx:pt idx="66859">0</cx:pt>
          <cx:pt idx="66860">1</cx:pt>
          <cx:pt idx="66861">0</cx:pt>
          <cx:pt idx="66862">4</cx:pt>
          <cx:pt idx="66863">5</cx:pt>
          <cx:pt idx="66864">5</cx:pt>
          <cx:pt idx="66865">3</cx:pt>
          <cx:pt idx="66866">2</cx:pt>
          <cx:pt idx="66867">4</cx:pt>
          <cx:pt idx="66868">3</cx:pt>
          <cx:pt idx="66869">1</cx:pt>
          <cx:pt idx="66870">2</cx:pt>
          <cx:pt idx="66871">5</cx:pt>
          <cx:pt idx="66872">3</cx:pt>
          <cx:pt idx="66873">2</cx:pt>
          <cx:pt idx="66874">3</cx:pt>
          <cx:pt idx="66875">2</cx:pt>
          <cx:pt idx="66876">1</cx:pt>
          <cx:pt idx="66877">2</cx:pt>
          <cx:pt idx="66878">5</cx:pt>
          <cx:pt idx="66879">2</cx:pt>
          <cx:pt idx="66880">3</cx:pt>
          <cx:pt idx="66881">3</cx:pt>
          <cx:pt idx="66882">3</cx:pt>
          <cx:pt idx="66883">1</cx:pt>
          <cx:pt idx="66884">0</cx:pt>
          <cx:pt idx="66885">4</cx:pt>
          <cx:pt idx="66886">2</cx:pt>
          <cx:pt idx="66887">3</cx:pt>
          <cx:pt idx="66888">3</cx:pt>
          <cx:pt idx="66889">4</cx:pt>
          <cx:pt idx="66890">1</cx:pt>
          <cx:pt idx="66891">4</cx:pt>
          <cx:pt idx="66892">2</cx:pt>
          <cx:pt idx="66893">1</cx:pt>
          <cx:pt idx="66894">2</cx:pt>
          <cx:pt idx="66895">2</cx:pt>
          <cx:pt idx="66896">0</cx:pt>
          <cx:pt idx="66897">3</cx:pt>
          <cx:pt idx="66898">2</cx:pt>
          <cx:pt idx="66899">3</cx:pt>
          <cx:pt idx="66900">3</cx:pt>
          <cx:pt idx="66901">4</cx:pt>
          <cx:pt idx="66902">5</cx:pt>
          <cx:pt idx="66903">3</cx:pt>
          <cx:pt idx="66904">3</cx:pt>
          <cx:pt idx="66905">4</cx:pt>
          <cx:pt idx="66906">3</cx:pt>
          <cx:pt idx="66907">1</cx:pt>
          <cx:pt idx="66908">3</cx:pt>
          <cx:pt idx="66909">3</cx:pt>
          <cx:pt idx="66910">0</cx:pt>
          <cx:pt idx="66911">1</cx:pt>
          <cx:pt idx="66912">4</cx:pt>
          <cx:pt idx="66913">4</cx:pt>
          <cx:pt idx="66914">4</cx:pt>
          <cx:pt idx="66915">3</cx:pt>
          <cx:pt idx="66916">2</cx:pt>
          <cx:pt idx="66917">0</cx:pt>
          <cx:pt idx="66918">3</cx:pt>
          <cx:pt idx="66919">3</cx:pt>
          <cx:pt idx="66920">4</cx:pt>
          <cx:pt idx="66921">1</cx:pt>
          <cx:pt idx="66922">3</cx:pt>
          <cx:pt idx="66923">4</cx:pt>
          <cx:pt idx="66924">2</cx:pt>
          <cx:pt idx="66925">3</cx:pt>
          <cx:pt idx="66926">1</cx:pt>
          <cx:pt idx="66927">4</cx:pt>
          <cx:pt idx="66928">3</cx:pt>
          <cx:pt idx="66929">2</cx:pt>
          <cx:pt idx="66930">0</cx:pt>
          <cx:pt idx="66931">4</cx:pt>
          <cx:pt idx="66932">3</cx:pt>
          <cx:pt idx="66933">3</cx:pt>
          <cx:pt idx="66934">2</cx:pt>
          <cx:pt idx="66935">1</cx:pt>
          <cx:pt idx="66936">3</cx:pt>
          <cx:pt idx="66937">1</cx:pt>
          <cx:pt idx="66938">4</cx:pt>
          <cx:pt idx="66939">1</cx:pt>
          <cx:pt idx="66940">3</cx:pt>
          <cx:pt idx="66941">2</cx:pt>
          <cx:pt idx="66942">5</cx:pt>
          <cx:pt idx="66943">1</cx:pt>
          <cx:pt idx="66944">3</cx:pt>
          <cx:pt idx="66945">1</cx:pt>
          <cx:pt idx="66946">5</cx:pt>
          <cx:pt idx="66947">3</cx:pt>
          <cx:pt idx="66948">3</cx:pt>
          <cx:pt idx="66949">1</cx:pt>
          <cx:pt idx="66950">3</cx:pt>
          <cx:pt idx="66951">3</cx:pt>
          <cx:pt idx="66952">4</cx:pt>
          <cx:pt idx="66953">3</cx:pt>
          <cx:pt idx="66954">4</cx:pt>
          <cx:pt idx="66955">5</cx:pt>
          <cx:pt idx="66956">3</cx:pt>
          <cx:pt idx="66957">3</cx:pt>
          <cx:pt idx="66958">3</cx:pt>
          <cx:pt idx="66959">4</cx:pt>
          <cx:pt idx="66960">4</cx:pt>
          <cx:pt idx="66961">4</cx:pt>
          <cx:pt idx="66962">4</cx:pt>
          <cx:pt idx="66963">2</cx:pt>
          <cx:pt idx="66964">1</cx:pt>
          <cx:pt idx="66965">1</cx:pt>
          <cx:pt idx="66966">4</cx:pt>
          <cx:pt idx="66967">5</cx:pt>
          <cx:pt idx="66968">2</cx:pt>
          <cx:pt idx="66969">1</cx:pt>
          <cx:pt idx="66970">2</cx:pt>
          <cx:pt idx="66971">0</cx:pt>
          <cx:pt idx="66972">2</cx:pt>
          <cx:pt idx="66973">0</cx:pt>
          <cx:pt idx="66974">3</cx:pt>
          <cx:pt idx="66975">2</cx:pt>
          <cx:pt idx="66976">4</cx:pt>
          <cx:pt idx="66977">5</cx:pt>
          <cx:pt idx="66978">5</cx:pt>
          <cx:pt idx="66979">4</cx:pt>
          <cx:pt idx="66980">4</cx:pt>
          <cx:pt idx="66981">1</cx:pt>
          <cx:pt idx="66982">3</cx:pt>
          <cx:pt idx="66983">2</cx:pt>
          <cx:pt idx="66984">3</cx:pt>
          <cx:pt idx="66985">2</cx:pt>
          <cx:pt idx="66986">3</cx:pt>
          <cx:pt idx="66987">5</cx:pt>
          <cx:pt idx="66988">2</cx:pt>
          <cx:pt idx="66989">1</cx:pt>
          <cx:pt idx="66990">5</cx:pt>
          <cx:pt idx="66991">4</cx:pt>
          <cx:pt idx="66992">4</cx:pt>
          <cx:pt idx="66993">3</cx:pt>
          <cx:pt idx="66994">1</cx:pt>
          <cx:pt idx="66995">3</cx:pt>
          <cx:pt idx="66996">1</cx:pt>
          <cx:pt idx="66997">1</cx:pt>
          <cx:pt idx="66998">3</cx:pt>
          <cx:pt idx="66999">4</cx:pt>
          <cx:pt idx="67000">3</cx:pt>
          <cx:pt idx="67001">4</cx:pt>
          <cx:pt idx="67002">2</cx:pt>
          <cx:pt idx="67003">5</cx:pt>
          <cx:pt idx="67004">3</cx:pt>
          <cx:pt idx="67005">2</cx:pt>
          <cx:pt idx="67006">3</cx:pt>
          <cx:pt idx="67007">1</cx:pt>
          <cx:pt idx="67008">2</cx:pt>
          <cx:pt idx="67009">2</cx:pt>
          <cx:pt idx="67010">1</cx:pt>
          <cx:pt idx="67011">2</cx:pt>
          <cx:pt idx="67012">2</cx:pt>
          <cx:pt idx="67013">5</cx:pt>
          <cx:pt idx="67014">5</cx:pt>
          <cx:pt idx="67015">2</cx:pt>
          <cx:pt idx="67016">2</cx:pt>
          <cx:pt idx="67017">5</cx:pt>
          <cx:pt idx="67018">3</cx:pt>
          <cx:pt idx="67019">5</cx:pt>
          <cx:pt idx="67020">4</cx:pt>
          <cx:pt idx="67021">2</cx:pt>
          <cx:pt idx="67022">1</cx:pt>
          <cx:pt idx="67023">1</cx:pt>
          <cx:pt idx="67024">3</cx:pt>
          <cx:pt idx="67025">4</cx:pt>
          <cx:pt idx="67026">1</cx:pt>
          <cx:pt idx="67027">2</cx:pt>
          <cx:pt idx="67028">2</cx:pt>
          <cx:pt idx="67029">0</cx:pt>
          <cx:pt idx="67030">5</cx:pt>
          <cx:pt idx="67031">5</cx:pt>
          <cx:pt idx="67032">1</cx:pt>
          <cx:pt idx="67033">0</cx:pt>
          <cx:pt idx="67034">3</cx:pt>
          <cx:pt idx="67035">3</cx:pt>
          <cx:pt idx="67036">2</cx:pt>
          <cx:pt idx="67037">1</cx:pt>
          <cx:pt idx="67038">3</cx:pt>
          <cx:pt idx="67039">0</cx:pt>
          <cx:pt idx="67040">1</cx:pt>
          <cx:pt idx="67041">3</cx:pt>
          <cx:pt idx="67042">2</cx:pt>
          <cx:pt idx="67043">1</cx:pt>
          <cx:pt idx="67044">3</cx:pt>
          <cx:pt idx="67045">4</cx:pt>
          <cx:pt idx="67046">3</cx:pt>
          <cx:pt idx="67047">3</cx:pt>
          <cx:pt idx="67048">2</cx:pt>
          <cx:pt idx="67049">5</cx:pt>
          <cx:pt idx="67050">3</cx:pt>
          <cx:pt idx="67051">4</cx:pt>
          <cx:pt idx="67052">2</cx:pt>
          <cx:pt idx="67053">4</cx:pt>
          <cx:pt idx="67054">0</cx:pt>
          <cx:pt idx="67055">4</cx:pt>
          <cx:pt idx="67056">3</cx:pt>
          <cx:pt idx="67057">4</cx:pt>
          <cx:pt idx="67058">3</cx:pt>
          <cx:pt idx="67059">3</cx:pt>
          <cx:pt idx="67060">5</cx:pt>
          <cx:pt idx="67061">5</cx:pt>
          <cx:pt idx="67062">4</cx:pt>
          <cx:pt idx="67063">5</cx:pt>
          <cx:pt idx="67064">1</cx:pt>
          <cx:pt idx="67065">2</cx:pt>
          <cx:pt idx="67066">5</cx:pt>
          <cx:pt idx="67067">1</cx:pt>
          <cx:pt idx="67068">5</cx:pt>
          <cx:pt idx="67069">1</cx:pt>
          <cx:pt idx="67070">5</cx:pt>
          <cx:pt idx="67071">3</cx:pt>
          <cx:pt idx="67072">1</cx:pt>
          <cx:pt idx="67073">1</cx:pt>
          <cx:pt idx="67074">4</cx:pt>
          <cx:pt idx="67075">2</cx:pt>
          <cx:pt idx="67076">3</cx:pt>
          <cx:pt idx="67077">2</cx:pt>
          <cx:pt idx="67078">1</cx:pt>
          <cx:pt idx="67079">5</cx:pt>
          <cx:pt idx="67080">3</cx:pt>
          <cx:pt idx="67081">2</cx:pt>
          <cx:pt idx="67082">2</cx:pt>
          <cx:pt idx="67083">3</cx:pt>
          <cx:pt idx="67084">3</cx:pt>
          <cx:pt idx="67085">1</cx:pt>
          <cx:pt idx="67086">4</cx:pt>
          <cx:pt idx="67087">1</cx:pt>
          <cx:pt idx="67088">3</cx:pt>
          <cx:pt idx="67089">4</cx:pt>
          <cx:pt idx="67090">0</cx:pt>
          <cx:pt idx="67091">3</cx:pt>
          <cx:pt idx="67092">5</cx:pt>
          <cx:pt idx="67093">4</cx:pt>
          <cx:pt idx="67094">4</cx:pt>
          <cx:pt idx="67095">1</cx:pt>
          <cx:pt idx="67096">2</cx:pt>
          <cx:pt idx="67097">2</cx:pt>
          <cx:pt idx="67098">2</cx:pt>
          <cx:pt idx="67099">1</cx:pt>
          <cx:pt idx="67100">4</cx:pt>
          <cx:pt idx="67101">3</cx:pt>
          <cx:pt idx="67102">2</cx:pt>
          <cx:pt idx="67103">2</cx:pt>
          <cx:pt idx="67104">0</cx:pt>
          <cx:pt idx="67105">5</cx:pt>
          <cx:pt idx="67106">5</cx:pt>
          <cx:pt idx="67107">4</cx:pt>
          <cx:pt idx="67108">5</cx:pt>
          <cx:pt idx="67109">4</cx:pt>
          <cx:pt idx="67110">5</cx:pt>
          <cx:pt idx="67111">5</cx:pt>
          <cx:pt idx="67112">3</cx:pt>
          <cx:pt idx="67113">2</cx:pt>
          <cx:pt idx="67114">1</cx:pt>
          <cx:pt idx="67115">1</cx:pt>
          <cx:pt idx="67116">5</cx:pt>
          <cx:pt idx="67117">1</cx:pt>
          <cx:pt idx="67118">4</cx:pt>
          <cx:pt idx="67119">4</cx:pt>
          <cx:pt idx="67120">2</cx:pt>
          <cx:pt idx="67121">3</cx:pt>
          <cx:pt idx="67122">5</cx:pt>
          <cx:pt idx="67123">2</cx:pt>
          <cx:pt idx="67124">3</cx:pt>
          <cx:pt idx="67125">3</cx:pt>
          <cx:pt idx="67126">4</cx:pt>
          <cx:pt idx="67127">3</cx:pt>
          <cx:pt idx="67128">1</cx:pt>
          <cx:pt idx="67129">3</cx:pt>
          <cx:pt idx="67130">5</cx:pt>
          <cx:pt idx="67131">2</cx:pt>
          <cx:pt idx="67132">4</cx:pt>
          <cx:pt idx="67133">3</cx:pt>
          <cx:pt idx="67134">3</cx:pt>
          <cx:pt idx="67135">2</cx:pt>
          <cx:pt idx="67136">3</cx:pt>
          <cx:pt idx="67137">1</cx:pt>
          <cx:pt idx="67138">1</cx:pt>
          <cx:pt idx="67139">1</cx:pt>
          <cx:pt idx="67140">2</cx:pt>
          <cx:pt idx="67141">2</cx:pt>
          <cx:pt idx="67142">2</cx:pt>
          <cx:pt idx="67143">1</cx:pt>
          <cx:pt idx="67144">1</cx:pt>
          <cx:pt idx="67145">3</cx:pt>
          <cx:pt idx="67146">5</cx:pt>
          <cx:pt idx="67147">1</cx:pt>
          <cx:pt idx="67148">4</cx:pt>
          <cx:pt idx="67149">2</cx:pt>
          <cx:pt idx="67150">3</cx:pt>
          <cx:pt idx="67151">2</cx:pt>
          <cx:pt idx="67152">2</cx:pt>
          <cx:pt idx="67153">5</cx:pt>
          <cx:pt idx="67154">1</cx:pt>
          <cx:pt idx="67155">4</cx:pt>
          <cx:pt idx="67156">4</cx:pt>
          <cx:pt idx="67157">3</cx:pt>
          <cx:pt idx="67158">1</cx:pt>
          <cx:pt idx="67159">5</cx:pt>
          <cx:pt idx="67160">3</cx:pt>
          <cx:pt idx="67161">1</cx:pt>
          <cx:pt idx="67162">3</cx:pt>
          <cx:pt idx="67163">3</cx:pt>
          <cx:pt idx="67164">5</cx:pt>
          <cx:pt idx="67165">1</cx:pt>
          <cx:pt idx="67166">4</cx:pt>
          <cx:pt idx="67167">4</cx:pt>
          <cx:pt idx="67168">4</cx:pt>
          <cx:pt idx="67169">4</cx:pt>
          <cx:pt idx="67170">4</cx:pt>
          <cx:pt idx="67171">2</cx:pt>
          <cx:pt idx="67172">4</cx:pt>
          <cx:pt idx="67173">2</cx:pt>
          <cx:pt idx="67174">2</cx:pt>
          <cx:pt idx="67175">3</cx:pt>
          <cx:pt idx="67176">3</cx:pt>
          <cx:pt idx="67177">5</cx:pt>
          <cx:pt idx="67178">3</cx:pt>
          <cx:pt idx="67179">3</cx:pt>
          <cx:pt idx="67180">3</cx:pt>
          <cx:pt idx="67181">2</cx:pt>
          <cx:pt idx="67182">5</cx:pt>
          <cx:pt idx="67183">5</cx:pt>
          <cx:pt idx="67184">2</cx:pt>
          <cx:pt idx="67185">3</cx:pt>
          <cx:pt idx="67186">3</cx:pt>
          <cx:pt idx="67187">0</cx:pt>
          <cx:pt idx="67188">3</cx:pt>
          <cx:pt idx="67189">3</cx:pt>
          <cx:pt idx="67190">3</cx:pt>
          <cx:pt idx="67191">1</cx:pt>
          <cx:pt idx="67192">5</cx:pt>
          <cx:pt idx="67193">5</cx:pt>
          <cx:pt idx="67194">3</cx:pt>
          <cx:pt idx="67195">3</cx:pt>
          <cx:pt idx="67196">3</cx:pt>
          <cx:pt idx="67197">2</cx:pt>
          <cx:pt idx="67198">1</cx:pt>
          <cx:pt idx="67199">2</cx:pt>
          <cx:pt idx="67200">3</cx:pt>
          <cx:pt idx="67201">3</cx:pt>
          <cx:pt idx="67202">2</cx:pt>
          <cx:pt idx="67203">1</cx:pt>
          <cx:pt idx="67204">3</cx:pt>
          <cx:pt idx="67205">3</cx:pt>
          <cx:pt idx="67206">4</cx:pt>
          <cx:pt idx="67207">5</cx:pt>
          <cx:pt idx="67208">1</cx:pt>
          <cx:pt idx="67209">3</cx:pt>
          <cx:pt idx="67210">2</cx:pt>
          <cx:pt idx="67211">1</cx:pt>
          <cx:pt idx="67212">2</cx:pt>
          <cx:pt idx="67213">2</cx:pt>
          <cx:pt idx="67214">2</cx:pt>
          <cx:pt idx="67215">2</cx:pt>
          <cx:pt idx="67216">1</cx:pt>
          <cx:pt idx="67217">4</cx:pt>
          <cx:pt idx="67218">1</cx:pt>
          <cx:pt idx="67219">3</cx:pt>
          <cx:pt idx="67220">4</cx:pt>
          <cx:pt idx="67221">1</cx:pt>
          <cx:pt idx="67222">3</cx:pt>
          <cx:pt idx="67223">4</cx:pt>
          <cx:pt idx="67224">4</cx:pt>
          <cx:pt idx="67225">3</cx:pt>
          <cx:pt idx="67226">5</cx:pt>
          <cx:pt idx="67227">2</cx:pt>
          <cx:pt idx="67228">2</cx:pt>
          <cx:pt idx="67229">3</cx:pt>
          <cx:pt idx="67230">5</cx:pt>
          <cx:pt idx="67231">1</cx:pt>
          <cx:pt idx="67232">4</cx:pt>
          <cx:pt idx="67233">3</cx:pt>
          <cx:pt idx="67234">4</cx:pt>
          <cx:pt idx="67235">5</cx:pt>
          <cx:pt idx="67236">0</cx:pt>
          <cx:pt idx="67237">3</cx:pt>
          <cx:pt idx="67238">1</cx:pt>
          <cx:pt idx="67239">1</cx:pt>
          <cx:pt idx="67240">3</cx:pt>
          <cx:pt idx="67241">1</cx:pt>
          <cx:pt idx="67242">5</cx:pt>
          <cx:pt idx="67243">5</cx:pt>
          <cx:pt idx="67244">4</cx:pt>
          <cx:pt idx="67245">3</cx:pt>
          <cx:pt idx="67246">5</cx:pt>
          <cx:pt idx="67247">2</cx:pt>
          <cx:pt idx="67248">2</cx:pt>
          <cx:pt idx="67249">3</cx:pt>
          <cx:pt idx="67250">2</cx:pt>
          <cx:pt idx="67251">4</cx:pt>
          <cx:pt idx="67252">2</cx:pt>
          <cx:pt idx="67253">5</cx:pt>
          <cx:pt idx="67254">5</cx:pt>
          <cx:pt idx="67255">4</cx:pt>
          <cx:pt idx="67256">3</cx:pt>
          <cx:pt idx="67257">3</cx:pt>
          <cx:pt idx="67258">2</cx:pt>
          <cx:pt idx="67259">5</cx:pt>
          <cx:pt idx="67260">4</cx:pt>
          <cx:pt idx="67261">4</cx:pt>
          <cx:pt idx="67262">2</cx:pt>
          <cx:pt idx="67263">1</cx:pt>
          <cx:pt idx="67264">1</cx:pt>
          <cx:pt idx="67265">2</cx:pt>
          <cx:pt idx="67266">1</cx:pt>
          <cx:pt idx="67267">4</cx:pt>
          <cx:pt idx="67268">1</cx:pt>
          <cx:pt idx="67269">2</cx:pt>
          <cx:pt idx="67270">4</cx:pt>
          <cx:pt idx="67271">3</cx:pt>
          <cx:pt idx="67272">4</cx:pt>
          <cx:pt idx="67273">3</cx:pt>
          <cx:pt idx="67274">2</cx:pt>
          <cx:pt idx="67275">2</cx:pt>
          <cx:pt idx="67276">4</cx:pt>
          <cx:pt idx="67277">3</cx:pt>
          <cx:pt idx="67278">5</cx:pt>
          <cx:pt idx="67279">2</cx:pt>
          <cx:pt idx="67280">1</cx:pt>
          <cx:pt idx="67281">1</cx:pt>
          <cx:pt idx="67282">5</cx:pt>
          <cx:pt idx="67283">2</cx:pt>
          <cx:pt idx="67284">2</cx:pt>
          <cx:pt idx="67285">2</cx:pt>
          <cx:pt idx="67286">5</cx:pt>
          <cx:pt idx="67287">3</cx:pt>
          <cx:pt idx="67288">1</cx:pt>
          <cx:pt idx="67289">4</cx:pt>
          <cx:pt idx="67290">0</cx:pt>
          <cx:pt idx="67291">3</cx:pt>
          <cx:pt idx="67292">5</cx:pt>
          <cx:pt idx="67293">1</cx:pt>
          <cx:pt idx="67294">3</cx:pt>
          <cx:pt idx="67295">4</cx:pt>
          <cx:pt idx="67296">1</cx:pt>
          <cx:pt idx="67297">3</cx:pt>
          <cx:pt idx="67298">3</cx:pt>
          <cx:pt idx="67299">3</cx:pt>
          <cx:pt idx="67300">3</cx:pt>
          <cx:pt idx="67301">3</cx:pt>
          <cx:pt idx="67302">5</cx:pt>
          <cx:pt idx="67303">4</cx:pt>
          <cx:pt idx="67304">2</cx:pt>
          <cx:pt idx="67305">5</cx:pt>
          <cx:pt idx="67306">0</cx:pt>
          <cx:pt idx="67307">4</cx:pt>
          <cx:pt idx="67308">2</cx:pt>
          <cx:pt idx="67309">5</cx:pt>
          <cx:pt idx="67310">3</cx:pt>
          <cx:pt idx="67311">2</cx:pt>
          <cx:pt idx="67312">2</cx:pt>
          <cx:pt idx="67313">5</cx:pt>
          <cx:pt idx="67314">4</cx:pt>
          <cx:pt idx="67315">4</cx:pt>
          <cx:pt idx="67316">3</cx:pt>
          <cx:pt idx="67317">2</cx:pt>
          <cx:pt idx="67318">1</cx:pt>
          <cx:pt idx="67319">3</cx:pt>
          <cx:pt idx="67320">3</cx:pt>
          <cx:pt idx="67321">3</cx:pt>
          <cx:pt idx="67322">5</cx:pt>
          <cx:pt idx="67323">4</cx:pt>
          <cx:pt idx="67324">3</cx:pt>
          <cx:pt idx="67325">3</cx:pt>
          <cx:pt idx="67326">4</cx:pt>
          <cx:pt idx="67327">3</cx:pt>
          <cx:pt idx="67328">4</cx:pt>
          <cx:pt idx="67329">2</cx:pt>
          <cx:pt idx="67330">3</cx:pt>
          <cx:pt idx="67331">4</cx:pt>
          <cx:pt idx="67332">3</cx:pt>
          <cx:pt idx="67333">5</cx:pt>
          <cx:pt idx="67334">4</cx:pt>
          <cx:pt idx="67335">3</cx:pt>
          <cx:pt idx="67336">4</cx:pt>
          <cx:pt idx="67337">1</cx:pt>
          <cx:pt idx="67338">4</cx:pt>
          <cx:pt idx="67339">0</cx:pt>
          <cx:pt idx="67340">2</cx:pt>
          <cx:pt idx="67341">3</cx:pt>
          <cx:pt idx="67342">3</cx:pt>
          <cx:pt idx="67343">2</cx:pt>
          <cx:pt idx="67344">3</cx:pt>
          <cx:pt idx="67345">2</cx:pt>
          <cx:pt idx="67346">5</cx:pt>
          <cx:pt idx="67347">5</cx:pt>
          <cx:pt idx="67348">5</cx:pt>
          <cx:pt idx="67349">3</cx:pt>
          <cx:pt idx="67350">3</cx:pt>
          <cx:pt idx="67351">2</cx:pt>
          <cx:pt idx="67352">4</cx:pt>
          <cx:pt idx="67353">3</cx:pt>
          <cx:pt idx="67354">4</cx:pt>
          <cx:pt idx="67355">4</cx:pt>
          <cx:pt idx="67356">1</cx:pt>
          <cx:pt idx="67357">2</cx:pt>
          <cx:pt idx="67358">2</cx:pt>
          <cx:pt idx="67359">5</cx:pt>
          <cx:pt idx="67360">2</cx:pt>
          <cx:pt idx="67361">2</cx:pt>
          <cx:pt idx="67362">1</cx:pt>
          <cx:pt idx="67363">2</cx:pt>
          <cx:pt idx="67364">2</cx:pt>
          <cx:pt idx="67365">3</cx:pt>
          <cx:pt idx="67366">2</cx:pt>
          <cx:pt idx="67367">1</cx:pt>
          <cx:pt idx="67368">5</cx:pt>
          <cx:pt idx="67369">1</cx:pt>
          <cx:pt idx="67370">2</cx:pt>
          <cx:pt idx="67371">2</cx:pt>
          <cx:pt idx="67372">2</cx:pt>
          <cx:pt idx="67373">2</cx:pt>
          <cx:pt idx="67374">1</cx:pt>
          <cx:pt idx="67375">1</cx:pt>
          <cx:pt idx="67376">2</cx:pt>
          <cx:pt idx="67377">3</cx:pt>
          <cx:pt idx="67378">3</cx:pt>
          <cx:pt idx="67379">1</cx:pt>
          <cx:pt idx="67380">1</cx:pt>
          <cx:pt idx="67381">0</cx:pt>
          <cx:pt idx="67382">3</cx:pt>
          <cx:pt idx="67383">4</cx:pt>
          <cx:pt idx="67384">2</cx:pt>
          <cx:pt idx="67385">4</cx:pt>
          <cx:pt idx="67386">1</cx:pt>
          <cx:pt idx="67387">3</cx:pt>
          <cx:pt idx="67388">2</cx:pt>
          <cx:pt idx="67389">4</cx:pt>
          <cx:pt idx="67390">3</cx:pt>
          <cx:pt idx="67391">1</cx:pt>
          <cx:pt idx="67392">3</cx:pt>
          <cx:pt idx="67393">5</cx:pt>
          <cx:pt idx="67394">3</cx:pt>
          <cx:pt idx="67395">3</cx:pt>
          <cx:pt idx="67396">5</cx:pt>
          <cx:pt idx="67397">0</cx:pt>
          <cx:pt idx="67398">2</cx:pt>
          <cx:pt idx="67399">2</cx:pt>
          <cx:pt idx="67400">5</cx:pt>
          <cx:pt idx="67401">3</cx:pt>
          <cx:pt idx="67402">4</cx:pt>
          <cx:pt idx="67403">4</cx:pt>
          <cx:pt idx="67404">2</cx:pt>
          <cx:pt idx="67405">1</cx:pt>
          <cx:pt idx="67406">1</cx:pt>
          <cx:pt idx="67407">3</cx:pt>
          <cx:pt idx="67408">5</cx:pt>
          <cx:pt idx="67409">0</cx:pt>
          <cx:pt idx="67410">1</cx:pt>
          <cx:pt idx="67411">3</cx:pt>
          <cx:pt idx="67412">2</cx:pt>
          <cx:pt idx="67413">1</cx:pt>
          <cx:pt idx="67414">3</cx:pt>
          <cx:pt idx="67415">3</cx:pt>
          <cx:pt idx="67416">3</cx:pt>
          <cx:pt idx="67417">4</cx:pt>
          <cx:pt idx="67418">5</cx:pt>
          <cx:pt idx="67419">2</cx:pt>
          <cx:pt idx="67420">5</cx:pt>
          <cx:pt idx="67421">4</cx:pt>
          <cx:pt idx="67422">2</cx:pt>
          <cx:pt idx="67423">5</cx:pt>
          <cx:pt idx="67424">3</cx:pt>
          <cx:pt idx="67425">2</cx:pt>
          <cx:pt idx="67426">2</cx:pt>
          <cx:pt idx="67427">5</cx:pt>
          <cx:pt idx="67428">1</cx:pt>
          <cx:pt idx="67429">5</cx:pt>
          <cx:pt idx="67430">4</cx:pt>
          <cx:pt idx="67431">5</cx:pt>
          <cx:pt idx="67432">2</cx:pt>
          <cx:pt idx="67433">5</cx:pt>
          <cx:pt idx="67434">5</cx:pt>
          <cx:pt idx="67435">5</cx:pt>
          <cx:pt idx="67436">2</cx:pt>
          <cx:pt idx="67437">1</cx:pt>
          <cx:pt idx="67438">1</cx:pt>
          <cx:pt idx="67439">4</cx:pt>
          <cx:pt idx="67440">1</cx:pt>
          <cx:pt idx="67441">4</cx:pt>
          <cx:pt idx="67442">4</cx:pt>
          <cx:pt idx="67443">5</cx:pt>
          <cx:pt idx="67444">1</cx:pt>
          <cx:pt idx="67445">3</cx:pt>
          <cx:pt idx="67446">3</cx:pt>
          <cx:pt idx="67447">5</cx:pt>
          <cx:pt idx="67448">5</cx:pt>
          <cx:pt idx="67449">0</cx:pt>
          <cx:pt idx="67450">1</cx:pt>
          <cx:pt idx="67451">5</cx:pt>
          <cx:pt idx="67452">1</cx:pt>
          <cx:pt idx="67453">5</cx:pt>
          <cx:pt idx="67454">0</cx:pt>
          <cx:pt idx="67455">2</cx:pt>
          <cx:pt idx="67456">1</cx:pt>
          <cx:pt idx="67457">2</cx:pt>
          <cx:pt idx="67458">2</cx:pt>
          <cx:pt idx="67459">3</cx:pt>
          <cx:pt idx="67460">0</cx:pt>
          <cx:pt idx="67461">5</cx:pt>
          <cx:pt idx="67462">5</cx:pt>
          <cx:pt idx="67463">3</cx:pt>
          <cx:pt idx="67464">3</cx:pt>
          <cx:pt idx="67465">2</cx:pt>
          <cx:pt idx="67466">4</cx:pt>
          <cx:pt idx="67467">4</cx:pt>
          <cx:pt idx="67468">1</cx:pt>
          <cx:pt idx="67469">2</cx:pt>
          <cx:pt idx="67470">3</cx:pt>
          <cx:pt idx="67471">2</cx:pt>
          <cx:pt idx="67472">4</cx:pt>
          <cx:pt idx="67473">1</cx:pt>
          <cx:pt idx="67474">2</cx:pt>
          <cx:pt idx="67475">3</cx:pt>
          <cx:pt idx="67476">5</cx:pt>
          <cx:pt idx="67477">4</cx:pt>
          <cx:pt idx="67478">2</cx:pt>
          <cx:pt idx="67479">4</cx:pt>
          <cx:pt idx="67480">3</cx:pt>
          <cx:pt idx="67481">5</cx:pt>
          <cx:pt idx="67482">1</cx:pt>
          <cx:pt idx="67483">1</cx:pt>
          <cx:pt idx="67484">4</cx:pt>
          <cx:pt idx="67485">5</cx:pt>
          <cx:pt idx="67486">2</cx:pt>
          <cx:pt idx="67487">3</cx:pt>
          <cx:pt idx="67488">0</cx:pt>
          <cx:pt idx="67489">5</cx:pt>
          <cx:pt idx="67490">2</cx:pt>
          <cx:pt idx="67491">4</cx:pt>
          <cx:pt idx="67492">1</cx:pt>
          <cx:pt idx="67493">3</cx:pt>
          <cx:pt idx="67494">3</cx:pt>
          <cx:pt idx="67495">1</cx:pt>
          <cx:pt idx="67496">5</cx:pt>
          <cx:pt idx="67497">0</cx:pt>
          <cx:pt idx="67498">3</cx:pt>
          <cx:pt idx="67499">1</cx:pt>
          <cx:pt idx="67500">2</cx:pt>
          <cx:pt idx="67501">4</cx:pt>
          <cx:pt idx="67502">5</cx:pt>
          <cx:pt idx="67503">5</cx:pt>
          <cx:pt idx="67504">3</cx:pt>
          <cx:pt idx="67505">3</cx:pt>
          <cx:pt idx="67506">3</cx:pt>
          <cx:pt idx="67507">1</cx:pt>
          <cx:pt idx="67508">5</cx:pt>
          <cx:pt idx="67509">4</cx:pt>
          <cx:pt idx="67510">4</cx:pt>
          <cx:pt idx="67511">4</cx:pt>
          <cx:pt idx="67512">3</cx:pt>
          <cx:pt idx="67513">1</cx:pt>
          <cx:pt idx="67514">3</cx:pt>
          <cx:pt idx="67515">3</cx:pt>
          <cx:pt idx="67516">2</cx:pt>
          <cx:pt idx="67517">4</cx:pt>
          <cx:pt idx="67518">5</cx:pt>
          <cx:pt idx="67519">4</cx:pt>
          <cx:pt idx="67520">3</cx:pt>
          <cx:pt idx="67521">2</cx:pt>
          <cx:pt idx="67522">3</cx:pt>
          <cx:pt idx="67523">3</cx:pt>
          <cx:pt idx="67524">3</cx:pt>
          <cx:pt idx="67525">2</cx:pt>
          <cx:pt idx="67526">3</cx:pt>
          <cx:pt idx="67527">4</cx:pt>
          <cx:pt idx="67528">1</cx:pt>
          <cx:pt idx="67529">3</cx:pt>
          <cx:pt idx="67530">4</cx:pt>
          <cx:pt idx="67531">2</cx:pt>
          <cx:pt idx="67532">3</cx:pt>
          <cx:pt idx="67533">5</cx:pt>
          <cx:pt idx="67534">2</cx:pt>
          <cx:pt idx="67535">4</cx:pt>
          <cx:pt idx="67536">0</cx:pt>
          <cx:pt idx="67537">2</cx:pt>
          <cx:pt idx="67538">3</cx:pt>
          <cx:pt idx="67539">2</cx:pt>
          <cx:pt idx="67540">2</cx:pt>
          <cx:pt idx="67541">5</cx:pt>
          <cx:pt idx="67542">1</cx:pt>
          <cx:pt idx="67543">2</cx:pt>
          <cx:pt idx="67544">4</cx:pt>
          <cx:pt idx="67545">3</cx:pt>
          <cx:pt idx="67546">3</cx:pt>
          <cx:pt idx="67547">4</cx:pt>
          <cx:pt idx="67548">3</cx:pt>
          <cx:pt idx="67549">3</cx:pt>
          <cx:pt idx="67550">2</cx:pt>
          <cx:pt idx="67551">1</cx:pt>
          <cx:pt idx="67552">2</cx:pt>
          <cx:pt idx="67553">3</cx:pt>
          <cx:pt idx="67554">1</cx:pt>
          <cx:pt idx="67555">3</cx:pt>
          <cx:pt idx="67556">4</cx:pt>
          <cx:pt idx="67557">2</cx:pt>
          <cx:pt idx="67558">3</cx:pt>
          <cx:pt idx="67559">3</cx:pt>
          <cx:pt idx="67560">2</cx:pt>
          <cx:pt idx="67561">1</cx:pt>
          <cx:pt idx="67562">4</cx:pt>
          <cx:pt idx="67563">2</cx:pt>
          <cx:pt idx="67564">2</cx:pt>
          <cx:pt idx="67565">2</cx:pt>
          <cx:pt idx="67566">5</cx:pt>
          <cx:pt idx="67567">4</cx:pt>
          <cx:pt idx="67568">2</cx:pt>
          <cx:pt idx="67569">4</cx:pt>
          <cx:pt idx="67570">4</cx:pt>
          <cx:pt idx="67571">2</cx:pt>
          <cx:pt idx="67572">5</cx:pt>
          <cx:pt idx="67573">2</cx:pt>
          <cx:pt idx="67574">1</cx:pt>
          <cx:pt idx="67575">4</cx:pt>
          <cx:pt idx="67576">1</cx:pt>
          <cx:pt idx="67577">2</cx:pt>
          <cx:pt idx="67578">1</cx:pt>
          <cx:pt idx="67579">1</cx:pt>
          <cx:pt idx="67580">3</cx:pt>
          <cx:pt idx="67581">2</cx:pt>
          <cx:pt idx="67582">2</cx:pt>
          <cx:pt idx="67583">4</cx:pt>
          <cx:pt idx="67584">3</cx:pt>
          <cx:pt idx="67585">3</cx:pt>
          <cx:pt idx="67586">3</cx:pt>
          <cx:pt idx="67587">2</cx:pt>
          <cx:pt idx="67588">5</cx:pt>
          <cx:pt idx="67589">2</cx:pt>
          <cx:pt idx="67590">2</cx:pt>
          <cx:pt idx="67591">4</cx:pt>
          <cx:pt idx="67592">3</cx:pt>
          <cx:pt idx="67593">4</cx:pt>
          <cx:pt idx="67594">2</cx:pt>
          <cx:pt idx="67595">2</cx:pt>
          <cx:pt idx="67596">4</cx:pt>
          <cx:pt idx="67597">3</cx:pt>
          <cx:pt idx="67598">3</cx:pt>
          <cx:pt idx="67599">4</cx:pt>
          <cx:pt idx="67600">2</cx:pt>
          <cx:pt idx="67601">2</cx:pt>
          <cx:pt idx="67602">4</cx:pt>
          <cx:pt idx="67603">4</cx:pt>
          <cx:pt idx="67604">5</cx:pt>
          <cx:pt idx="67605">4</cx:pt>
          <cx:pt idx="67606">1</cx:pt>
          <cx:pt idx="67607">4</cx:pt>
          <cx:pt idx="67608">4</cx:pt>
          <cx:pt idx="67609">4</cx:pt>
          <cx:pt idx="67610">2</cx:pt>
          <cx:pt idx="67611">1</cx:pt>
          <cx:pt idx="67612">2</cx:pt>
          <cx:pt idx="67613">5</cx:pt>
          <cx:pt idx="67614">2</cx:pt>
          <cx:pt idx="67615">1</cx:pt>
          <cx:pt idx="67616">3</cx:pt>
          <cx:pt idx="67617">4</cx:pt>
          <cx:pt idx="67618">2</cx:pt>
          <cx:pt idx="67619">1</cx:pt>
          <cx:pt idx="67620">1</cx:pt>
          <cx:pt idx="67621">1</cx:pt>
          <cx:pt idx="67622">4</cx:pt>
          <cx:pt idx="67623">0</cx:pt>
          <cx:pt idx="67624">0</cx:pt>
          <cx:pt idx="67625">3</cx:pt>
          <cx:pt idx="67626">4</cx:pt>
          <cx:pt idx="67627">1</cx:pt>
          <cx:pt idx="67628">2</cx:pt>
          <cx:pt idx="67629">2</cx:pt>
          <cx:pt idx="67630">3</cx:pt>
          <cx:pt idx="67631">5</cx:pt>
          <cx:pt idx="67632">2</cx:pt>
          <cx:pt idx="67633">1</cx:pt>
          <cx:pt idx="67634">4</cx:pt>
          <cx:pt idx="67635">2</cx:pt>
          <cx:pt idx="67636">1</cx:pt>
          <cx:pt idx="67637">5</cx:pt>
          <cx:pt idx="67638">3</cx:pt>
          <cx:pt idx="67639">4</cx:pt>
          <cx:pt idx="67640">0</cx:pt>
          <cx:pt idx="67641">1</cx:pt>
          <cx:pt idx="67642">2</cx:pt>
          <cx:pt idx="67643">3</cx:pt>
          <cx:pt idx="67644">3</cx:pt>
          <cx:pt idx="67645">3</cx:pt>
          <cx:pt idx="67646">1</cx:pt>
          <cx:pt idx="67647">4</cx:pt>
          <cx:pt idx="67648">3</cx:pt>
          <cx:pt idx="67649">3</cx:pt>
          <cx:pt idx="67650">4</cx:pt>
          <cx:pt idx="67651">3</cx:pt>
          <cx:pt idx="67652">4</cx:pt>
          <cx:pt idx="67653">3</cx:pt>
          <cx:pt idx="67654">5</cx:pt>
          <cx:pt idx="67655">4</cx:pt>
          <cx:pt idx="67656">1</cx:pt>
          <cx:pt idx="67657">1</cx:pt>
          <cx:pt idx="67658">3</cx:pt>
          <cx:pt idx="67659">1</cx:pt>
          <cx:pt idx="67660">0</cx:pt>
          <cx:pt idx="67661">3</cx:pt>
          <cx:pt idx="67662">5</cx:pt>
          <cx:pt idx="67663">4</cx:pt>
          <cx:pt idx="67664">1</cx:pt>
          <cx:pt idx="67665">2</cx:pt>
          <cx:pt idx="67666">3</cx:pt>
          <cx:pt idx="67667">4</cx:pt>
          <cx:pt idx="67668">4</cx:pt>
          <cx:pt idx="67669">3</cx:pt>
          <cx:pt idx="67670">1</cx:pt>
          <cx:pt idx="67671">1</cx:pt>
          <cx:pt idx="67672">3</cx:pt>
          <cx:pt idx="67673">1</cx:pt>
          <cx:pt idx="67674">4</cx:pt>
          <cx:pt idx="67675">0</cx:pt>
          <cx:pt idx="67676">1</cx:pt>
          <cx:pt idx="67677">4</cx:pt>
          <cx:pt idx="67678">2</cx:pt>
          <cx:pt idx="67679">5</cx:pt>
          <cx:pt idx="67680">1</cx:pt>
          <cx:pt idx="67681">3</cx:pt>
          <cx:pt idx="67682">4</cx:pt>
          <cx:pt idx="67683">4</cx:pt>
          <cx:pt idx="67684">1</cx:pt>
          <cx:pt idx="67685">4</cx:pt>
          <cx:pt idx="67686">4</cx:pt>
          <cx:pt idx="67687">2</cx:pt>
          <cx:pt idx="67688">4</cx:pt>
          <cx:pt idx="67689">2</cx:pt>
          <cx:pt idx="67690">2</cx:pt>
          <cx:pt idx="67691">1</cx:pt>
          <cx:pt idx="67692">3</cx:pt>
          <cx:pt idx="67693">5</cx:pt>
          <cx:pt idx="67694">2</cx:pt>
          <cx:pt idx="67695">2</cx:pt>
          <cx:pt idx="67696">5</cx:pt>
          <cx:pt idx="67697">3</cx:pt>
          <cx:pt idx="67698">5</cx:pt>
          <cx:pt idx="67699">4</cx:pt>
          <cx:pt idx="67700">1</cx:pt>
          <cx:pt idx="67701">2</cx:pt>
          <cx:pt idx="67702">1</cx:pt>
          <cx:pt idx="67703">4</cx:pt>
          <cx:pt idx="67704">2</cx:pt>
          <cx:pt idx="67705">3</cx:pt>
          <cx:pt idx="67706">5</cx:pt>
          <cx:pt idx="67707">3</cx:pt>
          <cx:pt idx="67708">2</cx:pt>
          <cx:pt idx="67709">2</cx:pt>
          <cx:pt idx="67710">2</cx:pt>
          <cx:pt idx="67711">1</cx:pt>
          <cx:pt idx="67712">4</cx:pt>
          <cx:pt idx="67713">1</cx:pt>
          <cx:pt idx="67714">3</cx:pt>
          <cx:pt idx="67715">2</cx:pt>
          <cx:pt idx="67716">5</cx:pt>
          <cx:pt idx="67717">5</cx:pt>
          <cx:pt idx="67718">3</cx:pt>
          <cx:pt idx="67719">5</cx:pt>
          <cx:pt idx="67720">3</cx:pt>
          <cx:pt idx="67721">2</cx:pt>
          <cx:pt idx="67722">3</cx:pt>
          <cx:pt idx="67723">5</cx:pt>
          <cx:pt idx="67724">1</cx:pt>
          <cx:pt idx="67725">3</cx:pt>
          <cx:pt idx="67726">4</cx:pt>
          <cx:pt idx="67727">2</cx:pt>
          <cx:pt idx="67728">2</cx:pt>
          <cx:pt idx="67729">4</cx:pt>
          <cx:pt idx="67730">3</cx:pt>
          <cx:pt idx="67731">2</cx:pt>
          <cx:pt idx="67732">5</cx:pt>
          <cx:pt idx="67733">0</cx:pt>
          <cx:pt idx="67734">1</cx:pt>
          <cx:pt idx="67735">4</cx:pt>
          <cx:pt idx="67736">4</cx:pt>
          <cx:pt idx="67737">3</cx:pt>
          <cx:pt idx="67738">1</cx:pt>
          <cx:pt idx="67739">5</cx:pt>
          <cx:pt idx="67740">3</cx:pt>
          <cx:pt idx="67741">3</cx:pt>
          <cx:pt idx="67742">5</cx:pt>
          <cx:pt idx="67743">2</cx:pt>
          <cx:pt idx="67744">5</cx:pt>
          <cx:pt idx="67745">5</cx:pt>
          <cx:pt idx="67746">2</cx:pt>
          <cx:pt idx="67747">1</cx:pt>
          <cx:pt idx="67748">1</cx:pt>
          <cx:pt idx="67749">3</cx:pt>
          <cx:pt idx="67750">3</cx:pt>
          <cx:pt idx="67751">0</cx:pt>
          <cx:pt idx="67752">4</cx:pt>
          <cx:pt idx="67753">2</cx:pt>
          <cx:pt idx="67754">4</cx:pt>
          <cx:pt idx="67755">1</cx:pt>
          <cx:pt idx="67756">1</cx:pt>
          <cx:pt idx="67757">1</cx:pt>
          <cx:pt idx="67758">2</cx:pt>
          <cx:pt idx="67759">2</cx:pt>
          <cx:pt idx="67760">0</cx:pt>
          <cx:pt idx="67761">1</cx:pt>
          <cx:pt idx="67762">1</cx:pt>
          <cx:pt idx="67763">4</cx:pt>
          <cx:pt idx="67764">1</cx:pt>
          <cx:pt idx="67765">5</cx:pt>
          <cx:pt idx="67766">1</cx:pt>
          <cx:pt idx="67767">5</cx:pt>
          <cx:pt idx="67768">4</cx:pt>
          <cx:pt idx="67769">3</cx:pt>
          <cx:pt idx="67770">2</cx:pt>
          <cx:pt idx="67771">1</cx:pt>
          <cx:pt idx="67772">4</cx:pt>
          <cx:pt idx="67773">3</cx:pt>
          <cx:pt idx="67774">5</cx:pt>
          <cx:pt idx="67775">1</cx:pt>
          <cx:pt idx="67776">2</cx:pt>
          <cx:pt idx="67777">1</cx:pt>
          <cx:pt idx="67778">5</cx:pt>
          <cx:pt idx="67779">1</cx:pt>
          <cx:pt idx="67780">4</cx:pt>
          <cx:pt idx="67781">5</cx:pt>
          <cx:pt idx="67782">3</cx:pt>
          <cx:pt idx="67783">4</cx:pt>
          <cx:pt idx="67784">1</cx:pt>
          <cx:pt idx="67785">3</cx:pt>
          <cx:pt idx="67786">1</cx:pt>
          <cx:pt idx="67787">4</cx:pt>
          <cx:pt idx="67788">3</cx:pt>
          <cx:pt idx="67789">3</cx:pt>
          <cx:pt idx="67790">0</cx:pt>
          <cx:pt idx="67791">3</cx:pt>
          <cx:pt idx="67792">2</cx:pt>
          <cx:pt idx="67793">1</cx:pt>
          <cx:pt idx="67794">2</cx:pt>
          <cx:pt idx="67795">2</cx:pt>
          <cx:pt idx="67796">2</cx:pt>
          <cx:pt idx="67797">0</cx:pt>
          <cx:pt idx="67798">5</cx:pt>
          <cx:pt idx="67799">3</cx:pt>
          <cx:pt idx="67800">3</cx:pt>
          <cx:pt idx="67801">2</cx:pt>
          <cx:pt idx="67802">4</cx:pt>
          <cx:pt idx="67803">1</cx:pt>
          <cx:pt idx="67804">1</cx:pt>
          <cx:pt idx="67805">2</cx:pt>
          <cx:pt idx="67806">4</cx:pt>
          <cx:pt idx="67807">3</cx:pt>
          <cx:pt idx="67808">4</cx:pt>
          <cx:pt idx="67809">4</cx:pt>
          <cx:pt idx="67810">3</cx:pt>
          <cx:pt idx="67811">2</cx:pt>
          <cx:pt idx="67812">1</cx:pt>
          <cx:pt idx="67813">0</cx:pt>
          <cx:pt idx="67814">3</cx:pt>
          <cx:pt idx="67815">1</cx:pt>
          <cx:pt idx="67816">3</cx:pt>
          <cx:pt idx="67817">2</cx:pt>
          <cx:pt idx="67818">3</cx:pt>
          <cx:pt idx="67819">3</cx:pt>
          <cx:pt idx="67820">4</cx:pt>
          <cx:pt idx="67821">3</cx:pt>
          <cx:pt idx="67822">2</cx:pt>
          <cx:pt idx="67823">1</cx:pt>
          <cx:pt idx="67824">4</cx:pt>
          <cx:pt idx="67825">2</cx:pt>
          <cx:pt idx="67826">3</cx:pt>
          <cx:pt idx="67827">1</cx:pt>
          <cx:pt idx="67828">5</cx:pt>
          <cx:pt idx="67829">3</cx:pt>
          <cx:pt idx="67830">2</cx:pt>
          <cx:pt idx="67831">1</cx:pt>
          <cx:pt idx="67832">4</cx:pt>
          <cx:pt idx="67833">4</cx:pt>
          <cx:pt idx="67834">2</cx:pt>
          <cx:pt idx="67835">5</cx:pt>
          <cx:pt idx="67836">3</cx:pt>
          <cx:pt idx="67837">2</cx:pt>
          <cx:pt idx="67838">4</cx:pt>
          <cx:pt idx="67839">4</cx:pt>
          <cx:pt idx="67840">1</cx:pt>
          <cx:pt idx="67841">2</cx:pt>
          <cx:pt idx="67842">5</cx:pt>
          <cx:pt idx="67843">1</cx:pt>
          <cx:pt idx="67844">4</cx:pt>
          <cx:pt idx="67845">4</cx:pt>
          <cx:pt idx="67846">0</cx:pt>
          <cx:pt idx="67847">3</cx:pt>
          <cx:pt idx="67848">3</cx:pt>
          <cx:pt idx="67849">3</cx:pt>
          <cx:pt idx="67850">2</cx:pt>
          <cx:pt idx="67851">2</cx:pt>
          <cx:pt idx="67852">3</cx:pt>
          <cx:pt idx="67853">4</cx:pt>
          <cx:pt idx="67854">4</cx:pt>
          <cx:pt idx="67855">4</cx:pt>
          <cx:pt idx="67856">3</cx:pt>
          <cx:pt idx="67857">2</cx:pt>
          <cx:pt idx="67858">0</cx:pt>
          <cx:pt idx="67859">4</cx:pt>
          <cx:pt idx="67860">2</cx:pt>
          <cx:pt idx="67861">1</cx:pt>
          <cx:pt idx="67862">3</cx:pt>
          <cx:pt idx="67863">3</cx:pt>
          <cx:pt idx="67864">3</cx:pt>
          <cx:pt idx="67865">2</cx:pt>
          <cx:pt idx="67866">3</cx:pt>
          <cx:pt idx="67867">1</cx:pt>
          <cx:pt idx="67868">0</cx:pt>
          <cx:pt idx="67869">4</cx:pt>
          <cx:pt idx="67870">4</cx:pt>
          <cx:pt idx="67871">1</cx:pt>
          <cx:pt idx="67872">1</cx:pt>
          <cx:pt idx="67873">4</cx:pt>
          <cx:pt idx="67874">1</cx:pt>
          <cx:pt idx="67875">2</cx:pt>
          <cx:pt idx="67876">1</cx:pt>
          <cx:pt idx="67877">2</cx:pt>
          <cx:pt idx="67878">5</cx:pt>
          <cx:pt idx="67879">1</cx:pt>
          <cx:pt idx="67880">4</cx:pt>
          <cx:pt idx="67881">4</cx:pt>
          <cx:pt idx="67882">3</cx:pt>
          <cx:pt idx="67883">5</cx:pt>
          <cx:pt idx="67884">4</cx:pt>
          <cx:pt idx="67885">5</cx:pt>
          <cx:pt idx="67886">2</cx:pt>
          <cx:pt idx="67887">5</cx:pt>
          <cx:pt idx="67888">4</cx:pt>
          <cx:pt idx="67889">5</cx:pt>
          <cx:pt idx="67890">4</cx:pt>
          <cx:pt idx="67891">4</cx:pt>
          <cx:pt idx="67892">2</cx:pt>
          <cx:pt idx="67893">2</cx:pt>
          <cx:pt idx="67894">2</cx:pt>
          <cx:pt idx="67895">3</cx:pt>
          <cx:pt idx="67896">2</cx:pt>
          <cx:pt idx="67897">1</cx:pt>
          <cx:pt idx="67898">0</cx:pt>
          <cx:pt idx="67899">3</cx:pt>
          <cx:pt idx="67900">2</cx:pt>
          <cx:pt idx="67901">2</cx:pt>
          <cx:pt idx="67902">2</cx:pt>
          <cx:pt idx="67903">2</cx:pt>
          <cx:pt idx="67904">3</cx:pt>
          <cx:pt idx="67905">1</cx:pt>
          <cx:pt idx="67906">3</cx:pt>
          <cx:pt idx="67907">4</cx:pt>
          <cx:pt idx="67908">3</cx:pt>
          <cx:pt idx="67909">3</cx:pt>
          <cx:pt idx="67910">3</cx:pt>
          <cx:pt idx="67911">0</cx:pt>
          <cx:pt idx="67912">2</cx:pt>
          <cx:pt idx="67913">3</cx:pt>
          <cx:pt idx="67914">3</cx:pt>
          <cx:pt idx="67915">5</cx:pt>
          <cx:pt idx="67916">0</cx:pt>
          <cx:pt idx="67917">1</cx:pt>
          <cx:pt idx="67918">2</cx:pt>
          <cx:pt idx="67919">1</cx:pt>
          <cx:pt idx="67920">1</cx:pt>
          <cx:pt idx="67921">2</cx:pt>
          <cx:pt idx="67922">3</cx:pt>
          <cx:pt idx="67923">2</cx:pt>
          <cx:pt idx="67924">4</cx:pt>
          <cx:pt idx="67925">2</cx:pt>
          <cx:pt idx="67926">0</cx:pt>
          <cx:pt idx="67927">5</cx:pt>
          <cx:pt idx="67928">3</cx:pt>
          <cx:pt idx="67929">5</cx:pt>
          <cx:pt idx="67930">2</cx:pt>
          <cx:pt idx="67931">4</cx:pt>
          <cx:pt idx="67932">3</cx:pt>
          <cx:pt idx="67933">1</cx:pt>
          <cx:pt idx="67934">2</cx:pt>
          <cx:pt idx="67935">2</cx:pt>
          <cx:pt idx="67936">5</cx:pt>
          <cx:pt idx="67937">0</cx:pt>
          <cx:pt idx="67938">3</cx:pt>
          <cx:pt idx="67939">5</cx:pt>
          <cx:pt idx="67940">3</cx:pt>
          <cx:pt idx="67941">4</cx:pt>
          <cx:pt idx="67942">4</cx:pt>
          <cx:pt idx="67943">1</cx:pt>
          <cx:pt idx="67944">1</cx:pt>
          <cx:pt idx="67945">2</cx:pt>
          <cx:pt idx="67946">3</cx:pt>
          <cx:pt idx="67947">4</cx:pt>
          <cx:pt idx="67948">1</cx:pt>
          <cx:pt idx="67949">4</cx:pt>
          <cx:pt idx="67950">3</cx:pt>
          <cx:pt idx="67951">3</cx:pt>
          <cx:pt idx="67952">4</cx:pt>
          <cx:pt idx="67953">3</cx:pt>
          <cx:pt idx="67954">3</cx:pt>
          <cx:pt idx="67955">3</cx:pt>
          <cx:pt idx="67956">2</cx:pt>
          <cx:pt idx="67957">2</cx:pt>
          <cx:pt idx="67958">4</cx:pt>
          <cx:pt idx="67959">5</cx:pt>
          <cx:pt idx="67960">2</cx:pt>
          <cx:pt idx="67961">2</cx:pt>
          <cx:pt idx="67962">3</cx:pt>
          <cx:pt idx="67963">2</cx:pt>
          <cx:pt idx="67964">3</cx:pt>
          <cx:pt idx="67965">2</cx:pt>
          <cx:pt idx="67966">2</cx:pt>
          <cx:pt idx="67967">4</cx:pt>
          <cx:pt idx="67968">3</cx:pt>
          <cx:pt idx="67969">0</cx:pt>
          <cx:pt idx="67970">4</cx:pt>
          <cx:pt idx="67971">5</cx:pt>
          <cx:pt idx="67972">3</cx:pt>
          <cx:pt idx="67973">1</cx:pt>
          <cx:pt idx="67974">3</cx:pt>
          <cx:pt idx="67975">3</cx:pt>
          <cx:pt idx="67976">4</cx:pt>
          <cx:pt idx="67977">4</cx:pt>
          <cx:pt idx="67978">4</cx:pt>
          <cx:pt idx="67979">5</cx:pt>
          <cx:pt idx="67980">1</cx:pt>
          <cx:pt idx="67981">2</cx:pt>
          <cx:pt idx="67982">3</cx:pt>
          <cx:pt idx="67983">3</cx:pt>
          <cx:pt idx="67984">5</cx:pt>
          <cx:pt idx="67985">5</cx:pt>
          <cx:pt idx="67986">2</cx:pt>
          <cx:pt idx="67987">4</cx:pt>
          <cx:pt idx="67988">3</cx:pt>
          <cx:pt idx="67989">2</cx:pt>
          <cx:pt idx="67990">3</cx:pt>
          <cx:pt idx="67991">1</cx:pt>
          <cx:pt idx="67992">2</cx:pt>
          <cx:pt idx="67993">1</cx:pt>
          <cx:pt idx="67994">1</cx:pt>
          <cx:pt idx="67995">5</cx:pt>
          <cx:pt idx="67996">4</cx:pt>
          <cx:pt idx="67997">4</cx:pt>
          <cx:pt idx="67998">1</cx:pt>
          <cx:pt idx="67999">4</cx:pt>
          <cx:pt idx="68000">2</cx:pt>
          <cx:pt idx="68001">4</cx:pt>
          <cx:pt idx="68002">5</cx:pt>
          <cx:pt idx="68003">3</cx:pt>
          <cx:pt idx="68004">3</cx:pt>
          <cx:pt idx="68005">2</cx:pt>
          <cx:pt idx="68006">3</cx:pt>
          <cx:pt idx="68007">5</cx:pt>
          <cx:pt idx="68008">1</cx:pt>
          <cx:pt idx="68009">2</cx:pt>
          <cx:pt idx="68010">5</cx:pt>
          <cx:pt idx="68011">2</cx:pt>
          <cx:pt idx="68012">2</cx:pt>
          <cx:pt idx="68013">2</cx:pt>
          <cx:pt idx="68014">0</cx:pt>
          <cx:pt idx="68015">3</cx:pt>
          <cx:pt idx="68016">2</cx:pt>
          <cx:pt idx="68017">0</cx:pt>
          <cx:pt idx="68018">2</cx:pt>
          <cx:pt idx="68019">2</cx:pt>
          <cx:pt idx="68020">1</cx:pt>
          <cx:pt idx="68021">5</cx:pt>
          <cx:pt idx="68022">3</cx:pt>
          <cx:pt idx="68023">3</cx:pt>
          <cx:pt idx="68024">5</cx:pt>
          <cx:pt idx="68025">5</cx:pt>
          <cx:pt idx="68026">4</cx:pt>
          <cx:pt idx="68027">2</cx:pt>
          <cx:pt idx="68028">5</cx:pt>
          <cx:pt idx="68029">2</cx:pt>
          <cx:pt idx="68030">1</cx:pt>
          <cx:pt idx="68031">1</cx:pt>
          <cx:pt idx="68032">4</cx:pt>
          <cx:pt idx="68033">0</cx:pt>
          <cx:pt idx="68034">1</cx:pt>
          <cx:pt idx="68035">4</cx:pt>
          <cx:pt idx="68036">5</cx:pt>
          <cx:pt idx="68037">1</cx:pt>
          <cx:pt idx="68038">5</cx:pt>
          <cx:pt idx="68039">2</cx:pt>
          <cx:pt idx="68040">4</cx:pt>
          <cx:pt idx="68041">3</cx:pt>
          <cx:pt idx="68042">1</cx:pt>
          <cx:pt idx="68043">3</cx:pt>
          <cx:pt idx="68044">2</cx:pt>
          <cx:pt idx="68045">3</cx:pt>
          <cx:pt idx="68046">5</cx:pt>
          <cx:pt idx="68047">2</cx:pt>
          <cx:pt idx="68048">3</cx:pt>
          <cx:pt idx="68049">5</cx:pt>
          <cx:pt idx="68050">5</cx:pt>
          <cx:pt idx="68051">2</cx:pt>
          <cx:pt idx="68052">4</cx:pt>
          <cx:pt idx="68053">2</cx:pt>
          <cx:pt idx="68054">1</cx:pt>
          <cx:pt idx="68055">3</cx:pt>
          <cx:pt idx="68056">2</cx:pt>
          <cx:pt idx="68057">4</cx:pt>
          <cx:pt idx="68058">5</cx:pt>
          <cx:pt idx="68059">3</cx:pt>
          <cx:pt idx="68060">5</cx:pt>
          <cx:pt idx="68061">5</cx:pt>
          <cx:pt idx="68062">1</cx:pt>
          <cx:pt idx="68063">2</cx:pt>
          <cx:pt idx="68064">3</cx:pt>
          <cx:pt idx="68065">1</cx:pt>
          <cx:pt idx="68066">5</cx:pt>
          <cx:pt idx="68067">4</cx:pt>
          <cx:pt idx="68068">3</cx:pt>
          <cx:pt idx="68069">1</cx:pt>
          <cx:pt idx="68070">5</cx:pt>
          <cx:pt idx="68071">3</cx:pt>
          <cx:pt idx="68072">1</cx:pt>
          <cx:pt idx="68073">3</cx:pt>
          <cx:pt idx="68074">3</cx:pt>
          <cx:pt idx="68075">5</cx:pt>
          <cx:pt idx="68076">3</cx:pt>
          <cx:pt idx="68077">4</cx:pt>
          <cx:pt idx="68078">3</cx:pt>
          <cx:pt idx="68079">3</cx:pt>
          <cx:pt idx="68080">3</cx:pt>
          <cx:pt idx="68081">3</cx:pt>
          <cx:pt idx="68082">3</cx:pt>
          <cx:pt idx="68083">2</cx:pt>
          <cx:pt idx="68084">3</cx:pt>
          <cx:pt idx="68085">1</cx:pt>
          <cx:pt idx="68086">1</cx:pt>
          <cx:pt idx="68087">1</cx:pt>
          <cx:pt idx="68088">3</cx:pt>
          <cx:pt idx="68089">2</cx:pt>
          <cx:pt idx="68090">3</cx:pt>
          <cx:pt idx="68091">2</cx:pt>
          <cx:pt idx="68092">4</cx:pt>
          <cx:pt idx="68093">1</cx:pt>
          <cx:pt idx="68094">1</cx:pt>
          <cx:pt idx="68095">1</cx:pt>
          <cx:pt idx="68096">4</cx:pt>
          <cx:pt idx="68097">3</cx:pt>
          <cx:pt idx="68098">4</cx:pt>
          <cx:pt idx="68099">2</cx:pt>
          <cx:pt idx="68100">1</cx:pt>
          <cx:pt idx="68101">2</cx:pt>
          <cx:pt idx="68102">4</cx:pt>
          <cx:pt idx="68103">2</cx:pt>
          <cx:pt idx="68104">2</cx:pt>
          <cx:pt idx="68105">1</cx:pt>
          <cx:pt idx="68106">1</cx:pt>
          <cx:pt idx="68107">1</cx:pt>
          <cx:pt idx="68108">3</cx:pt>
          <cx:pt idx="68109">5</cx:pt>
          <cx:pt idx="68110">3</cx:pt>
          <cx:pt idx="68111">5</cx:pt>
          <cx:pt idx="68112">2</cx:pt>
          <cx:pt idx="68113">2</cx:pt>
          <cx:pt idx="68114">4</cx:pt>
          <cx:pt idx="68115">3</cx:pt>
          <cx:pt idx="68116">3</cx:pt>
          <cx:pt idx="68117">4</cx:pt>
          <cx:pt idx="68118">2</cx:pt>
          <cx:pt idx="68119">3</cx:pt>
          <cx:pt idx="68120">3</cx:pt>
          <cx:pt idx="68121">4</cx:pt>
          <cx:pt idx="68122">4</cx:pt>
          <cx:pt idx="68123">3</cx:pt>
          <cx:pt idx="68124">2</cx:pt>
          <cx:pt idx="68125">2</cx:pt>
          <cx:pt idx="68126">4</cx:pt>
          <cx:pt idx="68127">2</cx:pt>
          <cx:pt idx="68128">3</cx:pt>
          <cx:pt idx="68129">3</cx:pt>
          <cx:pt idx="68130">3</cx:pt>
          <cx:pt idx="68131">1</cx:pt>
          <cx:pt idx="68132">3</cx:pt>
          <cx:pt idx="68133">3</cx:pt>
          <cx:pt idx="68134">3</cx:pt>
          <cx:pt idx="68135">2</cx:pt>
          <cx:pt idx="68136">1</cx:pt>
          <cx:pt idx="68137">2</cx:pt>
          <cx:pt idx="68138">2</cx:pt>
          <cx:pt idx="68139">2</cx:pt>
          <cx:pt idx="68140">4</cx:pt>
          <cx:pt idx="68141">2</cx:pt>
          <cx:pt idx="68142">3</cx:pt>
          <cx:pt idx="68143">1</cx:pt>
          <cx:pt idx="68144">4</cx:pt>
          <cx:pt idx="68145">2</cx:pt>
          <cx:pt idx="68146">2</cx:pt>
          <cx:pt idx="68147">4</cx:pt>
          <cx:pt idx="68148">4</cx:pt>
          <cx:pt idx="68149">4</cx:pt>
          <cx:pt idx="68150">1</cx:pt>
          <cx:pt idx="68151">5</cx:pt>
          <cx:pt idx="68152">1</cx:pt>
          <cx:pt idx="68153">3</cx:pt>
          <cx:pt idx="68154">2</cx:pt>
          <cx:pt idx="68155">5</cx:pt>
          <cx:pt idx="68156">3</cx:pt>
          <cx:pt idx="68157">0</cx:pt>
          <cx:pt idx="68158">1</cx:pt>
          <cx:pt idx="68159">3</cx:pt>
          <cx:pt idx="68160">1</cx:pt>
          <cx:pt idx="68161">4</cx:pt>
          <cx:pt idx="68162">2</cx:pt>
          <cx:pt idx="68163">2</cx:pt>
          <cx:pt idx="68164">4</cx:pt>
          <cx:pt idx="68165">4</cx:pt>
          <cx:pt idx="68166">1</cx:pt>
          <cx:pt idx="68167">5</cx:pt>
          <cx:pt idx="68168">1</cx:pt>
          <cx:pt idx="68169">2</cx:pt>
          <cx:pt idx="68170">5</cx:pt>
          <cx:pt idx="68171">5</cx:pt>
          <cx:pt idx="68172">1</cx:pt>
          <cx:pt idx="68173">1</cx:pt>
          <cx:pt idx="68174">3</cx:pt>
          <cx:pt idx="68175">5</cx:pt>
          <cx:pt idx="68176">5</cx:pt>
          <cx:pt idx="68177">3</cx:pt>
          <cx:pt idx="68178">3</cx:pt>
          <cx:pt idx="68179">5</cx:pt>
          <cx:pt idx="68180">2</cx:pt>
          <cx:pt idx="68181">3</cx:pt>
          <cx:pt idx="68182">2</cx:pt>
          <cx:pt idx="68183">4</cx:pt>
          <cx:pt idx="68184">4</cx:pt>
          <cx:pt idx="68185">2</cx:pt>
          <cx:pt idx="68186">2</cx:pt>
          <cx:pt idx="68187">2</cx:pt>
          <cx:pt idx="68188">2</cx:pt>
          <cx:pt idx="68189">0</cx:pt>
          <cx:pt idx="68190">4</cx:pt>
          <cx:pt idx="68191">1</cx:pt>
          <cx:pt idx="68192">0</cx:pt>
          <cx:pt idx="68193">2</cx:pt>
          <cx:pt idx="68194">4</cx:pt>
          <cx:pt idx="68195">1</cx:pt>
          <cx:pt idx="68196">3</cx:pt>
          <cx:pt idx="68197">2</cx:pt>
          <cx:pt idx="68198">5</cx:pt>
          <cx:pt idx="68199">3</cx:pt>
          <cx:pt idx="68200">4</cx:pt>
          <cx:pt idx="68201">1</cx:pt>
          <cx:pt idx="68202">4</cx:pt>
          <cx:pt idx="68203">5</cx:pt>
          <cx:pt idx="68204">1</cx:pt>
          <cx:pt idx="68205">1</cx:pt>
          <cx:pt idx="68206">3</cx:pt>
          <cx:pt idx="68207">2</cx:pt>
          <cx:pt idx="68208">4</cx:pt>
          <cx:pt idx="68209">3</cx:pt>
          <cx:pt idx="68210">4</cx:pt>
          <cx:pt idx="68211">3</cx:pt>
          <cx:pt idx="68212">2</cx:pt>
          <cx:pt idx="68213">2</cx:pt>
          <cx:pt idx="68214">4</cx:pt>
          <cx:pt idx="68215">1</cx:pt>
          <cx:pt idx="68216">2</cx:pt>
          <cx:pt idx="68217">3</cx:pt>
          <cx:pt idx="68218">3</cx:pt>
          <cx:pt idx="68219">5</cx:pt>
          <cx:pt idx="68220">3</cx:pt>
          <cx:pt idx="68221">2</cx:pt>
          <cx:pt idx="68222">4</cx:pt>
          <cx:pt idx="68223">2</cx:pt>
          <cx:pt idx="68224">3</cx:pt>
          <cx:pt idx="68225">2</cx:pt>
          <cx:pt idx="68226">0</cx:pt>
          <cx:pt idx="68227">4</cx:pt>
          <cx:pt idx="68228">2</cx:pt>
          <cx:pt idx="68229">4</cx:pt>
          <cx:pt idx="68230">4</cx:pt>
          <cx:pt idx="68231">5</cx:pt>
          <cx:pt idx="68232">2</cx:pt>
          <cx:pt idx="68233">2</cx:pt>
          <cx:pt idx="68234">5</cx:pt>
          <cx:pt idx="68235">4</cx:pt>
          <cx:pt idx="68236">2</cx:pt>
          <cx:pt idx="68237">3</cx:pt>
          <cx:pt idx="68238">3</cx:pt>
          <cx:pt idx="68239">2</cx:pt>
          <cx:pt idx="68240">4</cx:pt>
          <cx:pt idx="68241">2</cx:pt>
          <cx:pt idx="68242">1</cx:pt>
          <cx:pt idx="68243">2</cx:pt>
          <cx:pt idx="68244">3</cx:pt>
          <cx:pt idx="68245">5</cx:pt>
          <cx:pt idx="68246">2</cx:pt>
          <cx:pt idx="68247">5</cx:pt>
          <cx:pt idx="68248">1</cx:pt>
          <cx:pt idx="68249">1</cx:pt>
          <cx:pt idx="68250">2</cx:pt>
          <cx:pt idx="68251">4</cx:pt>
          <cx:pt idx="68252">2</cx:pt>
          <cx:pt idx="68253">2</cx:pt>
          <cx:pt idx="68254">5</cx:pt>
          <cx:pt idx="68255">5</cx:pt>
          <cx:pt idx="68256">3</cx:pt>
          <cx:pt idx="68257">4</cx:pt>
          <cx:pt idx="68258">1</cx:pt>
          <cx:pt idx="68259">5</cx:pt>
          <cx:pt idx="68260">1</cx:pt>
          <cx:pt idx="68261">1</cx:pt>
          <cx:pt idx="68262">1</cx:pt>
          <cx:pt idx="68263">4</cx:pt>
          <cx:pt idx="68264">3</cx:pt>
          <cx:pt idx="68265">1</cx:pt>
          <cx:pt idx="68266">1</cx:pt>
          <cx:pt idx="68267">2</cx:pt>
          <cx:pt idx="68268">3</cx:pt>
          <cx:pt idx="68269">2</cx:pt>
          <cx:pt idx="68270">4</cx:pt>
          <cx:pt idx="68271">1</cx:pt>
          <cx:pt idx="68272">3</cx:pt>
          <cx:pt idx="68273">5</cx:pt>
          <cx:pt idx="68274">1</cx:pt>
          <cx:pt idx="68275">3</cx:pt>
          <cx:pt idx="68276">1</cx:pt>
          <cx:pt idx="68277">3</cx:pt>
          <cx:pt idx="68278">5</cx:pt>
          <cx:pt idx="68279">3</cx:pt>
          <cx:pt idx="68280">4</cx:pt>
          <cx:pt idx="68281">5</cx:pt>
          <cx:pt idx="68282">2</cx:pt>
          <cx:pt idx="68283">3</cx:pt>
          <cx:pt idx="68284">2</cx:pt>
          <cx:pt idx="68285">4</cx:pt>
          <cx:pt idx="68286">4</cx:pt>
          <cx:pt idx="68287">2</cx:pt>
          <cx:pt idx="68288">1</cx:pt>
          <cx:pt idx="68289">3</cx:pt>
          <cx:pt idx="68290">1</cx:pt>
          <cx:pt idx="68291">2</cx:pt>
          <cx:pt idx="68292">1</cx:pt>
          <cx:pt idx="68293">3</cx:pt>
          <cx:pt idx="68294">1</cx:pt>
          <cx:pt idx="68295">1</cx:pt>
          <cx:pt idx="68296">2</cx:pt>
          <cx:pt idx="68297">4</cx:pt>
          <cx:pt idx="68298">2</cx:pt>
          <cx:pt idx="68299">4</cx:pt>
          <cx:pt idx="68300">3</cx:pt>
          <cx:pt idx="68301">1</cx:pt>
          <cx:pt idx="68302">2</cx:pt>
          <cx:pt idx="68303">4</cx:pt>
          <cx:pt idx="68304">2</cx:pt>
          <cx:pt idx="68305">4</cx:pt>
          <cx:pt idx="68306">1</cx:pt>
          <cx:pt idx="68307">5</cx:pt>
          <cx:pt idx="68308">3</cx:pt>
          <cx:pt idx="68309">3</cx:pt>
          <cx:pt idx="68310">3</cx:pt>
          <cx:pt idx="68311">4</cx:pt>
          <cx:pt idx="68312">4</cx:pt>
          <cx:pt idx="68313">4</cx:pt>
          <cx:pt idx="68314">3</cx:pt>
          <cx:pt idx="68315">4</cx:pt>
          <cx:pt idx="68316">4</cx:pt>
          <cx:pt idx="68317">4</cx:pt>
          <cx:pt idx="68318">1</cx:pt>
          <cx:pt idx="68319">3</cx:pt>
          <cx:pt idx="68320">3</cx:pt>
          <cx:pt idx="68321">2</cx:pt>
          <cx:pt idx="68322">4</cx:pt>
          <cx:pt idx="68323">0</cx:pt>
          <cx:pt idx="68324">4</cx:pt>
          <cx:pt idx="68325">3</cx:pt>
          <cx:pt idx="68326">3</cx:pt>
          <cx:pt idx="68327">4</cx:pt>
          <cx:pt idx="68328">4</cx:pt>
          <cx:pt idx="68329">2</cx:pt>
          <cx:pt idx="68330">3</cx:pt>
          <cx:pt idx="68331">3</cx:pt>
          <cx:pt idx="68332">2</cx:pt>
          <cx:pt idx="68333">0</cx:pt>
          <cx:pt idx="68334">1</cx:pt>
          <cx:pt idx="68335">3</cx:pt>
          <cx:pt idx="68336">1</cx:pt>
          <cx:pt idx="68337">2</cx:pt>
          <cx:pt idx="68338">3</cx:pt>
          <cx:pt idx="68339">4</cx:pt>
          <cx:pt idx="68340">2</cx:pt>
          <cx:pt idx="68341">2</cx:pt>
          <cx:pt idx="68342">5</cx:pt>
          <cx:pt idx="68343">0</cx:pt>
          <cx:pt idx="68344">2</cx:pt>
          <cx:pt idx="68345">2</cx:pt>
          <cx:pt idx="68346">3</cx:pt>
          <cx:pt idx="68347">2</cx:pt>
          <cx:pt idx="68348">5</cx:pt>
          <cx:pt idx="68349">4</cx:pt>
          <cx:pt idx="68350">5</cx:pt>
          <cx:pt idx="68351">1</cx:pt>
          <cx:pt idx="68352">2</cx:pt>
          <cx:pt idx="68353">2</cx:pt>
          <cx:pt idx="68354">3</cx:pt>
          <cx:pt idx="68355">2</cx:pt>
          <cx:pt idx="68356">2</cx:pt>
          <cx:pt idx="68357">1</cx:pt>
          <cx:pt idx="68358">3</cx:pt>
          <cx:pt idx="68359">5</cx:pt>
          <cx:pt idx="68360">5</cx:pt>
          <cx:pt idx="68361">2</cx:pt>
          <cx:pt idx="68362">3</cx:pt>
          <cx:pt idx="68363">2</cx:pt>
          <cx:pt idx="68364">1</cx:pt>
          <cx:pt idx="68365">0</cx:pt>
          <cx:pt idx="68366">4</cx:pt>
          <cx:pt idx="68367">5</cx:pt>
          <cx:pt idx="68368">3</cx:pt>
          <cx:pt idx="68369">4</cx:pt>
          <cx:pt idx="68370">5</cx:pt>
          <cx:pt idx="68371">0</cx:pt>
          <cx:pt idx="68372">2</cx:pt>
          <cx:pt idx="68373">2</cx:pt>
          <cx:pt idx="68374">5</cx:pt>
          <cx:pt idx="68375">4</cx:pt>
          <cx:pt idx="68376">2</cx:pt>
          <cx:pt idx="68377">3</cx:pt>
          <cx:pt idx="68378">4</cx:pt>
          <cx:pt idx="68379">2</cx:pt>
          <cx:pt idx="68380">5</cx:pt>
          <cx:pt idx="68381">4</cx:pt>
          <cx:pt idx="68382">1</cx:pt>
          <cx:pt idx="68383">2</cx:pt>
          <cx:pt idx="68384">4</cx:pt>
          <cx:pt idx="68385">4</cx:pt>
          <cx:pt idx="68386">3</cx:pt>
          <cx:pt idx="68387">2</cx:pt>
          <cx:pt idx="68388">3</cx:pt>
          <cx:pt idx="68389">2</cx:pt>
          <cx:pt idx="68390">3</cx:pt>
          <cx:pt idx="68391">2</cx:pt>
          <cx:pt idx="68392">1</cx:pt>
          <cx:pt idx="68393">0</cx:pt>
          <cx:pt idx="68394">2</cx:pt>
          <cx:pt idx="68395">2</cx:pt>
          <cx:pt idx="68396">1</cx:pt>
          <cx:pt idx="68397">1</cx:pt>
          <cx:pt idx="68398">3</cx:pt>
          <cx:pt idx="68399">3</cx:pt>
          <cx:pt idx="68400">2</cx:pt>
          <cx:pt idx="68401">3</cx:pt>
          <cx:pt idx="68402">4</cx:pt>
          <cx:pt idx="68403">5</cx:pt>
          <cx:pt idx="68404">3</cx:pt>
          <cx:pt idx="68405">5</cx:pt>
          <cx:pt idx="68406">2</cx:pt>
          <cx:pt idx="68407">3</cx:pt>
          <cx:pt idx="68408">3</cx:pt>
          <cx:pt idx="68409">0</cx:pt>
          <cx:pt idx="68410">5</cx:pt>
          <cx:pt idx="68411">3</cx:pt>
          <cx:pt idx="68412">4</cx:pt>
          <cx:pt idx="68413">2</cx:pt>
          <cx:pt idx="68414">1</cx:pt>
          <cx:pt idx="68415">3</cx:pt>
          <cx:pt idx="68416">5</cx:pt>
          <cx:pt idx="68417">2</cx:pt>
          <cx:pt idx="68418">5</cx:pt>
          <cx:pt idx="68419">1</cx:pt>
          <cx:pt idx="68420">4</cx:pt>
          <cx:pt idx="68421">3</cx:pt>
          <cx:pt idx="68422">2</cx:pt>
          <cx:pt idx="68423">2</cx:pt>
          <cx:pt idx="68424">1</cx:pt>
          <cx:pt idx="68425">4</cx:pt>
          <cx:pt idx="68426">3</cx:pt>
          <cx:pt idx="68427">3</cx:pt>
          <cx:pt idx="68428">5</cx:pt>
          <cx:pt idx="68429">4</cx:pt>
          <cx:pt idx="68430">2</cx:pt>
          <cx:pt idx="68431">2</cx:pt>
          <cx:pt idx="68432">3</cx:pt>
          <cx:pt idx="68433">2</cx:pt>
          <cx:pt idx="68434">1</cx:pt>
          <cx:pt idx="68435">3</cx:pt>
          <cx:pt idx="68436">3</cx:pt>
          <cx:pt idx="68437">4</cx:pt>
          <cx:pt idx="68438">2</cx:pt>
          <cx:pt idx="68439">3</cx:pt>
          <cx:pt idx="68440">4</cx:pt>
          <cx:pt idx="68441">2</cx:pt>
          <cx:pt idx="68442">2</cx:pt>
          <cx:pt idx="68443">3</cx:pt>
          <cx:pt idx="68444">1</cx:pt>
          <cx:pt idx="68445">5</cx:pt>
          <cx:pt idx="68446">3</cx:pt>
          <cx:pt idx="68447">3</cx:pt>
          <cx:pt idx="68448">0</cx:pt>
          <cx:pt idx="68449">4</cx:pt>
          <cx:pt idx="68450">2</cx:pt>
          <cx:pt idx="68451">4</cx:pt>
          <cx:pt idx="68452">2</cx:pt>
          <cx:pt idx="68453">3</cx:pt>
          <cx:pt idx="68454">3</cx:pt>
          <cx:pt idx="68455">4</cx:pt>
          <cx:pt idx="68456">5</cx:pt>
          <cx:pt idx="68457">0</cx:pt>
          <cx:pt idx="68458">1</cx:pt>
          <cx:pt idx="68459">5</cx:pt>
          <cx:pt idx="68460">1</cx:pt>
          <cx:pt idx="68461">2</cx:pt>
          <cx:pt idx="68462">2</cx:pt>
          <cx:pt idx="68463">3</cx:pt>
          <cx:pt idx="68464">3</cx:pt>
          <cx:pt idx="68465">4</cx:pt>
          <cx:pt idx="68466">1</cx:pt>
          <cx:pt idx="68467">2</cx:pt>
          <cx:pt idx="68468">2</cx:pt>
          <cx:pt idx="68469">4</cx:pt>
          <cx:pt idx="68470">4</cx:pt>
          <cx:pt idx="68471">2</cx:pt>
          <cx:pt idx="68472">0</cx:pt>
          <cx:pt idx="68473">3</cx:pt>
          <cx:pt idx="68474">4</cx:pt>
          <cx:pt idx="68475">5</cx:pt>
          <cx:pt idx="68476">1</cx:pt>
          <cx:pt idx="68477">4</cx:pt>
          <cx:pt idx="68478">4</cx:pt>
          <cx:pt idx="68479">5</cx:pt>
          <cx:pt idx="68480">1</cx:pt>
          <cx:pt idx="68481">2</cx:pt>
          <cx:pt idx="68482">3</cx:pt>
          <cx:pt idx="68483">4</cx:pt>
          <cx:pt idx="68484">4</cx:pt>
          <cx:pt idx="68485">2</cx:pt>
          <cx:pt idx="68486">2</cx:pt>
          <cx:pt idx="68487">3</cx:pt>
          <cx:pt idx="68488">1</cx:pt>
          <cx:pt idx="68489">5</cx:pt>
          <cx:pt idx="68490">2</cx:pt>
          <cx:pt idx="68491">2</cx:pt>
          <cx:pt idx="68492">3</cx:pt>
          <cx:pt idx="68493">4</cx:pt>
          <cx:pt idx="68494">4</cx:pt>
          <cx:pt idx="68495">1</cx:pt>
          <cx:pt idx="68496">3</cx:pt>
          <cx:pt idx="68497">2</cx:pt>
          <cx:pt idx="68498">2</cx:pt>
          <cx:pt idx="68499">2</cx:pt>
          <cx:pt idx="68500">4</cx:pt>
          <cx:pt idx="68501">1</cx:pt>
          <cx:pt idx="68502">1</cx:pt>
          <cx:pt idx="68503">1</cx:pt>
          <cx:pt idx="68504">3</cx:pt>
          <cx:pt idx="68505">5</cx:pt>
          <cx:pt idx="68506">1</cx:pt>
          <cx:pt idx="68507">2</cx:pt>
          <cx:pt idx="68508">5</cx:pt>
          <cx:pt idx="68509">5</cx:pt>
          <cx:pt idx="68510">1</cx:pt>
          <cx:pt idx="68511">1</cx:pt>
          <cx:pt idx="68512">2</cx:pt>
          <cx:pt idx="68513">3</cx:pt>
          <cx:pt idx="68514">4</cx:pt>
          <cx:pt idx="68515">3</cx:pt>
          <cx:pt idx="68516">1</cx:pt>
          <cx:pt idx="68517">3</cx:pt>
          <cx:pt idx="68518">1</cx:pt>
          <cx:pt idx="68519">3</cx:pt>
          <cx:pt idx="68520">4</cx:pt>
          <cx:pt idx="68521">5</cx:pt>
          <cx:pt idx="68522">4</cx:pt>
          <cx:pt idx="68523">3</cx:pt>
          <cx:pt idx="68524">1</cx:pt>
          <cx:pt idx="68525">3</cx:pt>
          <cx:pt idx="68526">4</cx:pt>
          <cx:pt idx="68527">5</cx:pt>
          <cx:pt idx="68528">2</cx:pt>
          <cx:pt idx="68529">3</cx:pt>
          <cx:pt idx="68530">4</cx:pt>
          <cx:pt idx="68531">2</cx:pt>
          <cx:pt idx="68532">0</cx:pt>
          <cx:pt idx="68533">1</cx:pt>
          <cx:pt idx="68534">4</cx:pt>
          <cx:pt idx="68535">5</cx:pt>
          <cx:pt idx="68536">3</cx:pt>
          <cx:pt idx="68537">1</cx:pt>
          <cx:pt idx="68538">3</cx:pt>
          <cx:pt idx="68539">1</cx:pt>
          <cx:pt idx="68540">2</cx:pt>
          <cx:pt idx="68541">3</cx:pt>
          <cx:pt idx="68542">1</cx:pt>
          <cx:pt idx="68543">2</cx:pt>
          <cx:pt idx="68544">1</cx:pt>
          <cx:pt idx="68545">2</cx:pt>
          <cx:pt idx="68546">2</cx:pt>
          <cx:pt idx="68547">4</cx:pt>
          <cx:pt idx="68548">1</cx:pt>
          <cx:pt idx="68549">0</cx:pt>
          <cx:pt idx="68550">1</cx:pt>
          <cx:pt idx="68551">3</cx:pt>
          <cx:pt idx="68552">5</cx:pt>
          <cx:pt idx="68553">1</cx:pt>
          <cx:pt idx="68554">3</cx:pt>
          <cx:pt idx="68555">3</cx:pt>
          <cx:pt idx="68556">3</cx:pt>
          <cx:pt idx="68557">3</cx:pt>
          <cx:pt idx="68558">4</cx:pt>
          <cx:pt idx="68559">3</cx:pt>
          <cx:pt idx="68560">3</cx:pt>
          <cx:pt idx="68561">3</cx:pt>
          <cx:pt idx="68562">2</cx:pt>
          <cx:pt idx="68563">2</cx:pt>
          <cx:pt idx="68564">3</cx:pt>
          <cx:pt idx="68565">3</cx:pt>
          <cx:pt idx="68566">1</cx:pt>
          <cx:pt idx="68567">3</cx:pt>
          <cx:pt idx="68568">2</cx:pt>
          <cx:pt idx="68569">3</cx:pt>
          <cx:pt idx="68570">5</cx:pt>
          <cx:pt idx="68571">4</cx:pt>
          <cx:pt idx="68572">2</cx:pt>
          <cx:pt idx="68573">4</cx:pt>
          <cx:pt idx="68574">4</cx:pt>
          <cx:pt idx="68575">0</cx:pt>
          <cx:pt idx="68576">3</cx:pt>
          <cx:pt idx="68577">3</cx:pt>
          <cx:pt idx="68578">3</cx:pt>
          <cx:pt idx="68579">5</cx:pt>
          <cx:pt idx="68580">2</cx:pt>
          <cx:pt idx="68581">0</cx:pt>
          <cx:pt idx="68582">2</cx:pt>
          <cx:pt idx="68583">4</cx:pt>
          <cx:pt idx="68584">2</cx:pt>
          <cx:pt idx="68585">1</cx:pt>
          <cx:pt idx="68586">2</cx:pt>
          <cx:pt idx="68587">3</cx:pt>
          <cx:pt idx="68588">4</cx:pt>
          <cx:pt idx="68589">4</cx:pt>
          <cx:pt idx="68590">4</cx:pt>
          <cx:pt idx="68591">4</cx:pt>
          <cx:pt idx="68592">4</cx:pt>
          <cx:pt idx="68593">2</cx:pt>
          <cx:pt idx="68594">1</cx:pt>
          <cx:pt idx="68595">4</cx:pt>
          <cx:pt idx="68596">4</cx:pt>
          <cx:pt idx="68597">4</cx:pt>
          <cx:pt idx="68598">5</cx:pt>
          <cx:pt idx="68599">5</cx:pt>
          <cx:pt idx="68600">2</cx:pt>
          <cx:pt idx="68601">4</cx:pt>
          <cx:pt idx="68602">3</cx:pt>
          <cx:pt idx="68603">2</cx:pt>
          <cx:pt idx="68604">2</cx:pt>
          <cx:pt idx="68605">0</cx:pt>
          <cx:pt idx="68606">3</cx:pt>
          <cx:pt idx="68607">4</cx:pt>
          <cx:pt idx="68608">5</cx:pt>
          <cx:pt idx="68609">4</cx:pt>
          <cx:pt idx="68610">4</cx:pt>
          <cx:pt idx="68611">2</cx:pt>
          <cx:pt idx="68612">4</cx:pt>
          <cx:pt idx="68613">2</cx:pt>
          <cx:pt idx="68614">4</cx:pt>
          <cx:pt idx="68615">2</cx:pt>
          <cx:pt idx="68616">2</cx:pt>
          <cx:pt idx="68617">4</cx:pt>
          <cx:pt idx="68618">2</cx:pt>
          <cx:pt idx="68619">2</cx:pt>
          <cx:pt idx="68620">4</cx:pt>
          <cx:pt idx="68621">4</cx:pt>
          <cx:pt idx="68622">4</cx:pt>
          <cx:pt idx="68623">4</cx:pt>
          <cx:pt idx="68624">1</cx:pt>
          <cx:pt idx="68625">5</cx:pt>
          <cx:pt idx="68626">3</cx:pt>
          <cx:pt idx="68627">2</cx:pt>
          <cx:pt idx="68628">3</cx:pt>
          <cx:pt idx="68629">3</cx:pt>
          <cx:pt idx="68630">5</cx:pt>
          <cx:pt idx="68631">1</cx:pt>
          <cx:pt idx="68632">2</cx:pt>
          <cx:pt idx="68633">3</cx:pt>
          <cx:pt idx="68634">2</cx:pt>
          <cx:pt idx="68635">2</cx:pt>
          <cx:pt idx="68636">4</cx:pt>
          <cx:pt idx="68637">5</cx:pt>
          <cx:pt idx="68638">4</cx:pt>
          <cx:pt idx="68639">1</cx:pt>
          <cx:pt idx="68640">3</cx:pt>
          <cx:pt idx="68641">2</cx:pt>
          <cx:pt idx="68642">4</cx:pt>
          <cx:pt idx="68643">2</cx:pt>
          <cx:pt idx="68644">1</cx:pt>
          <cx:pt idx="68645">2</cx:pt>
          <cx:pt idx="68646">2</cx:pt>
          <cx:pt idx="68647">2</cx:pt>
          <cx:pt idx="68648">2</cx:pt>
          <cx:pt idx="68649">4</cx:pt>
          <cx:pt idx="68650">2</cx:pt>
          <cx:pt idx="68651">2</cx:pt>
          <cx:pt idx="68652">1</cx:pt>
          <cx:pt idx="68653">3</cx:pt>
          <cx:pt idx="68654">1</cx:pt>
          <cx:pt idx="68655">1</cx:pt>
          <cx:pt idx="68656">2</cx:pt>
          <cx:pt idx="68657">1</cx:pt>
          <cx:pt idx="68658">2</cx:pt>
          <cx:pt idx="68659">4</cx:pt>
          <cx:pt idx="68660">3</cx:pt>
          <cx:pt idx="68661">0</cx:pt>
          <cx:pt idx="68662">4</cx:pt>
          <cx:pt idx="68663">2</cx:pt>
          <cx:pt idx="68664">0</cx:pt>
          <cx:pt idx="68665">4</cx:pt>
          <cx:pt idx="68666">1</cx:pt>
          <cx:pt idx="68667">2</cx:pt>
          <cx:pt idx="68668">4</cx:pt>
          <cx:pt idx="68669">3</cx:pt>
          <cx:pt idx="68670">3</cx:pt>
          <cx:pt idx="68671">4</cx:pt>
          <cx:pt idx="68672">4</cx:pt>
          <cx:pt idx="68673">4</cx:pt>
          <cx:pt idx="68674">2</cx:pt>
          <cx:pt idx="68675">2</cx:pt>
          <cx:pt idx="68676">5</cx:pt>
          <cx:pt idx="68677">2</cx:pt>
          <cx:pt idx="68678">5</cx:pt>
          <cx:pt idx="68679">1</cx:pt>
          <cx:pt idx="68680">4</cx:pt>
          <cx:pt idx="68681">4</cx:pt>
          <cx:pt idx="68682">4</cx:pt>
          <cx:pt idx="68683">2</cx:pt>
          <cx:pt idx="68684">2</cx:pt>
          <cx:pt idx="68685">1</cx:pt>
          <cx:pt idx="68686">2</cx:pt>
          <cx:pt idx="68687">4</cx:pt>
          <cx:pt idx="68688">0</cx:pt>
          <cx:pt idx="68689">3</cx:pt>
          <cx:pt idx="68690">5</cx:pt>
          <cx:pt idx="68691">3</cx:pt>
          <cx:pt idx="68692">5</cx:pt>
          <cx:pt idx="68693">2</cx:pt>
          <cx:pt idx="68694">0</cx:pt>
          <cx:pt idx="68695">4</cx:pt>
          <cx:pt idx="68696">1</cx:pt>
          <cx:pt idx="68697">5</cx:pt>
          <cx:pt idx="68698">5</cx:pt>
          <cx:pt idx="68699">2</cx:pt>
          <cx:pt idx="68700">1</cx:pt>
          <cx:pt idx="68701">4</cx:pt>
          <cx:pt idx="68702">3</cx:pt>
          <cx:pt idx="68703">3</cx:pt>
          <cx:pt idx="68704">1</cx:pt>
          <cx:pt idx="68705">1</cx:pt>
          <cx:pt idx="68706">1</cx:pt>
          <cx:pt idx="68707">4</cx:pt>
          <cx:pt idx="68708">5</cx:pt>
          <cx:pt idx="68709">1</cx:pt>
          <cx:pt idx="68710">1</cx:pt>
          <cx:pt idx="68711">3</cx:pt>
          <cx:pt idx="68712">5</cx:pt>
          <cx:pt idx="68713">3</cx:pt>
          <cx:pt idx="68714">3</cx:pt>
          <cx:pt idx="68715">4</cx:pt>
          <cx:pt idx="68716">5</cx:pt>
          <cx:pt idx="68717">2</cx:pt>
          <cx:pt idx="68718">4</cx:pt>
          <cx:pt idx="68719">2</cx:pt>
          <cx:pt idx="68720">2</cx:pt>
          <cx:pt idx="68721">3</cx:pt>
          <cx:pt idx="68722">5</cx:pt>
          <cx:pt idx="68723">5</cx:pt>
          <cx:pt idx="68724">2</cx:pt>
          <cx:pt idx="68725">4</cx:pt>
          <cx:pt idx="68726">5</cx:pt>
          <cx:pt idx="68727">0</cx:pt>
          <cx:pt idx="68728">2</cx:pt>
          <cx:pt idx="68729">2</cx:pt>
          <cx:pt idx="68730">0</cx:pt>
          <cx:pt idx="68731">1</cx:pt>
          <cx:pt idx="68732">3</cx:pt>
          <cx:pt idx="68733">2</cx:pt>
          <cx:pt idx="68734">3</cx:pt>
          <cx:pt idx="68735">4</cx:pt>
          <cx:pt idx="68736">5</cx:pt>
          <cx:pt idx="68737">3</cx:pt>
          <cx:pt idx="68738">1</cx:pt>
          <cx:pt idx="68739">1</cx:pt>
          <cx:pt idx="68740">4</cx:pt>
          <cx:pt idx="68741">4</cx:pt>
          <cx:pt idx="68742">3</cx:pt>
          <cx:pt idx="68743">0</cx:pt>
          <cx:pt idx="68744">2</cx:pt>
          <cx:pt idx="68745">3</cx:pt>
          <cx:pt idx="68746">5</cx:pt>
          <cx:pt idx="68747">2</cx:pt>
          <cx:pt idx="68748">3</cx:pt>
          <cx:pt idx="68749">1</cx:pt>
          <cx:pt idx="68750">3</cx:pt>
          <cx:pt idx="68751">2</cx:pt>
          <cx:pt idx="68752">4</cx:pt>
          <cx:pt idx="68753">3</cx:pt>
          <cx:pt idx="68754">1</cx:pt>
          <cx:pt idx="68755">5</cx:pt>
          <cx:pt idx="68756">1</cx:pt>
          <cx:pt idx="68757">1</cx:pt>
          <cx:pt idx="68758">2</cx:pt>
          <cx:pt idx="68759">1</cx:pt>
          <cx:pt idx="68760">1</cx:pt>
          <cx:pt idx="68761">3</cx:pt>
          <cx:pt idx="68762">2</cx:pt>
          <cx:pt idx="68763">1</cx:pt>
          <cx:pt idx="68764">5</cx:pt>
          <cx:pt idx="68765">2</cx:pt>
          <cx:pt idx="68766">1</cx:pt>
          <cx:pt idx="68767">2</cx:pt>
          <cx:pt idx="68768">1</cx:pt>
          <cx:pt idx="68769">3</cx:pt>
          <cx:pt idx="68770">5</cx:pt>
          <cx:pt idx="68771">2</cx:pt>
          <cx:pt idx="68772">4</cx:pt>
          <cx:pt idx="68773">3</cx:pt>
          <cx:pt idx="68774">5</cx:pt>
          <cx:pt idx="68775">3</cx:pt>
          <cx:pt idx="68776">2</cx:pt>
          <cx:pt idx="68777">1</cx:pt>
          <cx:pt idx="68778">4</cx:pt>
          <cx:pt idx="68779">5</cx:pt>
          <cx:pt idx="68780">0</cx:pt>
          <cx:pt idx="68781">4</cx:pt>
          <cx:pt idx="68782">3</cx:pt>
          <cx:pt idx="68783">3</cx:pt>
          <cx:pt idx="68784">2</cx:pt>
          <cx:pt idx="68785">2</cx:pt>
          <cx:pt idx="68786">3</cx:pt>
          <cx:pt idx="68787">4</cx:pt>
          <cx:pt idx="68788">5</cx:pt>
          <cx:pt idx="68789">3</cx:pt>
          <cx:pt idx="68790">1</cx:pt>
          <cx:pt idx="68791">4</cx:pt>
          <cx:pt idx="68792">5</cx:pt>
          <cx:pt idx="68793">1</cx:pt>
          <cx:pt idx="68794">5</cx:pt>
          <cx:pt idx="68795">4</cx:pt>
          <cx:pt idx="68796">5</cx:pt>
          <cx:pt idx="68797">4</cx:pt>
          <cx:pt idx="68798">1</cx:pt>
          <cx:pt idx="68799">3</cx:pt>
          <cx:pt idx="68800">2</cx:pt>
          <cx:pt idx="68801">3</cx:pt>
          <cx:pt idx="68802">4</cx:pt>
          <cx:pt idx="68803">5</cx:pt>
          <cx:pt idx="68804">4</cx:pt>
          <cx:pt idx="68805">5</cx:pt>
          <cx:pt idx="68806">4</cx:pt>
          <cx:pt idx="68807">2</cx:pt>
          <cx:pt idx="68808">5</cx:pt>
          <cx:pt idx="68809">1</cx:pt>
          <cx:pt idx="68810">3</cx:pt>
          <cx:pt idx="68811">1</cx:pt>
          <cx:pt idx="68812">4</cx:pt>
          <cx:pt idx="68813">2</cx:pt>
          <cx:pt idx="68814">2</cx:pt>
          <cx:pt idx="68815">3</cx:pt>
          <cx:pt idx="68816">5</cx:pt>
          <cx:pt idx="68817">2</cx:pt>
          <cx:pt idx="68818">5</cx:pt>
          <cx:pt idx="68819">5</cx:pt>
          <cx:pt idx="68820">2</cx:pt>
          <cx:pt idx="68821">4</cx:pt>
          <cx:pt idx="68822">4</cx:pt>
          <cx:pt idx="68823">4</cx:pt>
          <cx:pt idx="68824">3</cx:pt>
          <cx:pt idx="68825">0</cx:pt>
          <cx:pt idx="68826">2</cx:pt>
          <cx:pt idx="68827">1</cx:pt>
          <cx:pt idx="68828">1</cx:pt>
          <cx:pt idx="68829">2</cx:pt>
          <cx:pt idx="68830">4</cx:pt>
          <cx:pt idx="68831">4</cx:pt>
          <cx:pt idx="68832">4</cx:pt>
          <cx:pt idx="68833">1</cx:pt>
          <cx:pt idx="68834">1</cx:pt>
          <cx:pt idx="68835">4</cx:pt>
          <cx:pt idx="68836">5</cx:pt>
          <cx:pt idx="68837">4</cx:pt>
          <cx:pt idx="68838">4</cx:pt>
          <cx:pt idx="68839">1</cx:pt>
          <cx:pt idx="68840">5</cx:pt>
          <cx:pt idx="68841">2</cx:pt>
          <cx:pt idx="68842">3</cx:pt>
          <cx:pt idx="68843">4</cx:pt>
          <cx:pt idx="68844">3</cx:pt>
          <cx:pt idx="68845">4</cx:pt>
          <cx:pt idx="68846">1</cx:pt>
          <cx:pt idx="68847">5</cx:pt>
          <cx:pt idx="68848">4</cx:pt>
          <cx:pt idx="68849">0</cx:pt>
          <cx:pt idx="68850">3</cx:pt>
          <cx:pt idx="68851">2</cx:pt>
          <cx:pt idx="68852">1</cx:pt>
          <cx:pt idx="68853">3</cx:pt>
          <cx:pt idx="68854">5</cx:pt>
          <cx:pt idx="68855">3</cx:pt>
          <cx:pt idx="68856">2</cx:pt>
          <cx:pt idx="68857">4</cx:pt>
          <cx:pt idx="68858">2</cx:pt>
          <cx:pt idx="68859">2</cx:pt>
          <cx:pt idx="68860">2</cx:pt>
          <cx:pt idx="68861">3</cx:pt>
          <cx:pt idx="68862">2</cx:pt>
          <cx:pt idx="68863">4</cx:pt>
          <cx:pt idx="68864">2</cx:pt>
          <cx:pt idx="68865">2</cx:pt>
          <cx:pt idx="68866">1</cx:pt>
          <cx:pt idx="68867">4</cx:pt>
          <cx:pt idx="68868">3</cx:pt>
          <cx:pt idx="68869">4</cx:pt>
          <cx:pt idx="68870">3</cx:pt>
          <cx:pt idx="68871">3</cx:pt>
          <cx:pt idx="68872">3</cx:pt>
          <cx:pt idx="68873">4</cx:pt>
          <cx:pt idx="68874">3</cx:pt>
          <cx:pt idx="68875">5</cx:pt>
          <cx:pt idx="68876">2</cx:pt>
          <cx:pt idx="68877">3</cx:pt>
          <cx:pt idx="68878">1</cx:pt>
          <cx:pt idx="68879">1</cx:pt>
          <cx:pt idx="68880">4</cx:pt>
          <cx:pt idx="68881">5</cx:pt>
          <cx:pt idx="68882">2</cx:pt>
          <cx:pt idx="68883">0</cx:pt>
          <cx:pt idx="68884">4</cx:pt>
          <cx:pt idx="68885">1</cx:pt>
          <cx:pt idx="68886">2</cx:pt>
          <cx:pt idx="68887">2</cx:pt>
          <cx:pt idx="68888">0</cx:pt>
          <cx:pt idx="68889">4</cx:pt>
          <cx:pt idx="68890">5</cx:pt>
          <cx:pt idx="68891">1</cx:pt>
          <cx:pt idx="68892">5</cx:pt>
          <cx:pt idx="68893">4</cx:pt>
          <cx:pt idx="68894">2</cx:pt>
          <cx:pt idx="68895">4</cx:pt>
          <cx:pt idx="68896">4</cx:pt>
          <cx:pt idx="68897">2</cx:pt>
          <cx:pt idx="68898">3</cx:pt>
          <cx:pt idx="68899">4</cx:pt>
          <cx:pt idx="68900">3</cx:pt>
          <cx:pt idx="68901">1</cx:pt>
          <cx:pt idx="68902">2</cx:pt>
          <cx:pt idx="68903">5</cx:pt>
          <cx:pt idx="68904">3</cx:pt>
          <cx:pt idx="68905">4</cx:pt>
          <cx:pt idx="68906">3</cx:pt>
          <cx:pt idx="68907">2</cx:pt>
          <cx:pt idx="68908">3</cx:pt>
          <cx:pt idx="68909">1</cx:pt>
          <cx:pt idx="68910">3</cx:pt>
          <cx:pt idx="68911">2</cx:pt>
          <cx:pt idx="68912">5</cx:pt>
          <cx:pt idx="68913">3</cx:pt>
          <cx:pt idx="68914">3</cx:pt>
          <cx:pt idx="68915">1</cx:pt>
          <cx:pt idx="68916">2</cx:pt>
          <cx:pt idx="68917">1</cx:pt>
          <cx:pt idx="68918">3</cx:pt>
          <cx:pt idx="68919">4</cx:pt>
          <cx:pt idx="68920">4</cx:pt>
          <cx:pt idx="68921">1</cx:pt>
          <cx:pt idx="68922">5</cx:pt>
          <cx:pt idx="68923">5</cx:pt>
          <cx:pt idx="68924">2</cx:pt>
          <cx:pt idx="68925">4</cx:pt>
          <cx:pt idx="68926">3</cx:pt>
          <cx:pt idx="68927">0</cx:pt>
          <cx:pt idx="68928">2</cx:pt>
          <cx:pt idx="68929">5</cx:pt>
          <cx:pt idx="68930">4</cx:pt>
          <cx:pt idx="68931">3</cx:pt>
          <cx:pt idx="68932">2</cx:pt>
          <cx:pt idx="68933">5</cx:pt>
          <cx:pt idx="68934">4</cx:pt>
          <cx:pt idx="68935">3</cx:pt>
          <cx:pt idx="68936">5</cx:pt>
          <cx:pt idx="68937">5</cx:pt>
          <cx:pt idx="68938">3</cx:pt>
          <cx:pt idx="68939">5</cx:pt>
          <cx:pt idx="68940">2</cx:pt>
          <cx:pt idx="68941">5</cx:pt>
          <cx:pt idx="68942">4</cx:pt>
          <cx:pt idx="68943">2</cx:pt>
          <cx:pt idx="68944">3</cx:pt>
          <cx:pt idx="68945">5</cx:pt>
          <cx:pt idx="68946">4</cx:pt>
          <cx:pt idx="68947">1</cx:pt>
          <cx:pt idx="68948">2</cx:pt>
          <cx:pt idx="68949">3</cx:pt>
          <cx:pt idx="68950">3</cx:pt>
          <cx:pt idx="68951">4</cx:pt>
          <cx:pt idx="68952">2</cx:pt>
          <cx:pt idx="68953">4</cx:pt>
          <cx:pt idx="68954">1</cx:pt>
          <cx:pt idx="68955">4</cx:pt>
          <cx:pt idx="68956">3</cx:pt>
          <cx:pt idx="68957">2</cx:pt>
          <cx:pt idx="68958">3</cx:pt>
          <cx:pt idx="68959">2</cx:pt>
          <cx:pt idx="68960">5</cx:pt>
          <cx:pt idx="68961">3</cx:pt>
          <cx:pt idx="68962">0</cx:pt>
          <cx:pt idx="68963">3</cx:pt>
          <cx:pt idx="68964">3</cx:pt>
          <cx:pt idx="68965">2</cx:pt>
          <cx:pt idx="68966">2</cx:pt>
          <cx:pt idx="68967">4</cx:pt>
          <cx:pt idx="68968">3</cx:pt>
          <cx:pt idx="68969">4</cx:pt>
          <cx:pt idx="68970">4</cx:pt>
          <cx:pt idx="68971">4</cx:pt>
          <cx:pt idx="68972">3</cx:pt>
          <cx:pt idx="68973">4</cx:pt>
          <cx:pt idx="68974">2</cx:pt>
          <cx:pt idx="68975">4</cx:pt>
          <cx:pt idx="68976">3</cx:pt>
          <cx:pt idx="68977">2</cx:pt>
          <cx:pt idx="68978">3</cx:pt>
          <cx:pt idx="68979">3</cx:pt>
          <cx:pt idx="68980">1</cx:pt>
          <cx:pt idx="68981">2</cx:pt>
          <cx:pt idx="68982">4</cx:pt>
          <cx:pt idx="68983">2</cx:pt>
          <cx:pt idx="68984">4</cx:pt>
          <cx:pt idx="68985">4</cx:pt>
          <cx:pt idx="68986">3</cx:pt>
          <cx:pt idx="68987">5</cx:pt>
          <cx:pt idx="68988">2</cx:pt>
          <cx:pt idx="68989">4</cx:pt>
          <cx:pt idx="68990">1</cx:pt>
          <cx:pt idx="68991">1</cx:pt>
          <cx:pt idx="68992">5</cx:pt>
          <cx:pt idx="68993">2</cx:pt>
          <cx:pt idx="68994">2</cx:pt>
          <cx:pt idx="68995">5</cx:pt>
          <cx:pt idx="68996">5</cx:pt>
          <cx:pt idx="68997">3</cx:pt>
          <cx:pt idx="68998">5</cx:pt>
          <cx:pt idx="68999">1</cx:pt>
          <cx:pt idx="69000">2</cx:pt>
          <cx:pt idx="69001">5</cx:pt>
          <cx:pt idx="69002">1</cx:pt>
          <cx:pt idx="69003">4</cx:pt>
          <cx:pt idx="69004">1</cx:pt>
          <cx:pt idx="69005">2</cx:pt>
          <cx:pt idx="69006">5</cx:pt>
          <cx:pt idx="69007">2</cx:pt>
          <cx:pt idx="69008">0</cx:pt>
          <cx:pt idx="69009">4</cx:pt>
          <cx:pt idx="69010">5</cx:pt>
          <cx:pt idx="69011">3</cx:pt>
          <cx:pt idx="69012">3</cx:pt>
          <cx:pt idx="69013">1</cx:pt>
          <cx:pt idx="69014">4</cx:pt>
          <cx:pt idx="69015">3</cx:pt>
          <cx:pt idx="69016">4</cx:pt>
          <cx:pt idx="69017">5</cx:pt>
          <cx:pt idx="69018">1</cx:pt>
          <cx:pt idx="69019">0</cx:pt>
          <cx:pt idx="69020">4</cx:pt>
          <cx:pt idx="69021">4</cx:pt>
          <cx:pt idx="69022">3</cx:pt>
          <cx:pt idx="69023">4</cx:pt>
          <cx:pt idx="69024">3</cx:pt>
          <cx:pt idx="69025">2</cx:pt>
          <cx:pt idx="69026">2</cx:pt>
          <cx:pt idx="69027">2</cx:pt>
          <cx:pt idx="69028">3</cx:pt>
          <cx:pt idx="69029">5</cx:pt>
          <cx:pt idx="69030">2</cx:pt>
          <cx:pt idx="69031">3</cx:pt>
          <cx:pt idx="69032">1</cx:pt>
          <cx:pt idx="69033">3</cx:pt>
          <cx:pt idx="69034">2</cx:pt>
          <cx:pt idx="69035">0</cx:pt>
          <cx:pt idx="69036">2</cx:pt>
          <cx:pt idx="69037">4</cx:pt>
          <cx:pt idx="69038">3</cx:pt>
          <cx:pt idx="69039">1</cx:pt>
          <cx:pt idx="69040">3</cx:pt>
          <cx:pt idx="69041">1</cx:pt>
          <cx:pt idx="69042">5</cx:pt>
          <cx:pt idx="69043">1</cx:pt>
          <cx:pt idx="69044">2</cx:pt>
          <cx:pt idx="69045">3</cx:pt>
          <cx:pt idx="69046">1</cx:pt>
          <cx:pt idx="69047">2</cx:pt>
          <cx:pt idx="69048">2</cx:pt>
          <cx:pt idx="69049">5</cx:pt>
          <cx:pt idx="69050">0</cx:pt>
          <cx:pt idx="69051">4</cx:pt>
          <cx:pt idx="69052">4</cx:pt>
          <cx:pt idx="69053">0</cx:pt>
          <cx:pt idx="69054">4</cx:pt>
          <cx:pt idx="69055">2</cx:pt>
          <cx:pt idx="69056">1</cx:pt>
          <cx:pt idx="69057">2</cx:pt>
          <cx:pt idx="69058">1</cx:pt>
          <cx:pt idx="69059">1</cx:pt>
          <cx:pt idx="69060">2</cx:pt>
          <cx:pt idx="69061">1</cx:pt>
          <cx:pt idx="69062">2</cx:pt>
          <cx:pt idx="69063">3</cx:pt>
          <cx:pt idx="69064">5</cx:pt>
          <cx:pt idx="69065">5</cx:pt>
          <cx:pt idx="69066">1</cx:pt>
          <cx:pt idx="69067">1</cx:pt>
          <cx:pt idx="69068">3</cx:pt>
          <cx:pt idx="69069">3</cx:pt>
          <cx:pt idx="69070">3</cx:pt>
          <cx:pt idx="69071">5</cx:pt>
          <cx:pt idx="69072">3</cx:pt>
          <cx:pt idx="69073">5</cx:pt>
          <cx:pt idx="69074">2</cx:pt>
          <cx:pt idx="69075">3</cx:pt>
          <cx:pt idx="69076">1</cx:pt>
          <cx:pt idx="69077">1</cx:pt>
          <cx:pt idx="69078">3</cx:pt>
          <cx:pt idx="69079">3</cx:pt>
          <cx:pt idx="69080">1</cx:pt>
          <cx:pt idx="69081">0</cx:pt>
          <cx:pt idx="69082">5</cx:pt>
          <cx:pt idx="69083">3</cx:pt>
          <cx:pt idx="69084">2</cx:pt>
          <cx:pt idx="69085">3</cx:pt>
          <cx:pt idx="69086">3</cx:pt>
          <cx:pt idx="69087">3</cx:pt>
          <cx:pt idx="69088">3</cx:pt>
          <cx:pt idx="69089">4</cx:pt>
          <cx:pt idx="69090">1</cx:pt>
          <cx:pt idx="69091">0</cx:pt>
          <cx:pt idx="69092">5</cx:pt>
          <cx:pt idx="69093">2</cx:pt>
          <cx:pt idx="69094">4</cx:pt>
          <cx:pt idx="69095">0</cx:pt>
          <cx:pt idx="69096">5</cx:pt>
          <cx:pt idx="69097">1</cx:pt>
          <cx:pt idx="69098">0</cx:pt>
          <cx:pt idx="69099">3</cx:pt>
          <cx:pt idx="69100">1</cx:pt>
          <cx:pt idx="69101">3</cx:pt>
          <cx:pt idx="69102">1</cx:pt>
          <cx:pt idx="69103">5</cx:pt>
          <cx:pt idx="69104">4</cx:pt>
          <cx:pt idx="69105">2</cx:pt>
          <cx:pt idx="69106">2</cx:pt>
          <cx:pt idx="69107">4</cx:pt>
          <cx:pt idx="69108">5</cx:pt>
          <cx:pt idx="69109">0</cx:pt>
          <cx:pt idx="69110">2</cx:pt>
          <cx:pt idx="69111">5</cx:pt>
          <cx:pt idx="69112">2</cx:pt>
          <cx:pt idx="69113">4</cx:pt>
          <cx:pt idx="69114">5</cx:pt>
          <cx:pt idx="69115">1</cx:pt>
          <cx:pt idx="69116">2</cx:pt>
          <cx:pt idx="69117">3</cx:pt>
          <cx:pt idx="69118">4</cx:pt>
          <cx:pt idx="69119">4</cx:pt>
          <cx:pt idx="69120">1</cx:pt>
          <cx:pt idx="69121">2</cx:pt>
          <cx:pt idx="69122">1</cx:pt>
          <cx:pt idx="69123">2</cx:pt>
          <cx:pt idx="69124">0</cx:pt>
          <cx:pt idx="69125">2</cx:pt>
          <cx:pt idx="69126">5</cx:pt>
          <cx:pt idx="69127">1</cx:pt>
          <cx:pt idx="69128">1</cx:pt>
          <cx:pt idx="69129">0</cx:pt>
          <cx:pt idx="69130">3</cx:pt>
          <cx:pt idx="69131">5</cx:pt>
          <cx:pt idx="69132">1</cx:pt>
          <cx:pt idx="69133">1</cx:pt>
          <cx:pt idx="69134">0</cx:pt>
          <cx:pt idx="69135">1</cx:pt>
          <cx:pt idx="69136">4</cx:pt>
          <cx:pt idx="69137">1</cx:pt>
          <cx:pt idx="69138">4</cx:pt>
          <cx:pt idx="69139">0</cx:pt>
          <cx:pt idx="69140">3</cx:pt>
          <cx:pt idx="69141">3</cx:pt>
          <cx:pt idx="69142">3</cx:pt>
          <cx:pt idx="69143">1</cx:pt>
          <cx:pt idx="69144">0</cx:pt>
          <cx:pt idx="69145">3</cx:pt>
          <cx:pt idx="69146">1</cx:pt>
          <cx:pt idx="69147">3</cx:pt>
          <cx:pt idx="69148">1</cx:pt>
          <cx:pt idx="69149">3</cx:pt>
          <cx:pt idx="69150">3</cx:pt>
          <cx:pt idx="69151">4</cx:pt>
          <cx:pt idx="69152">2</cx:pt>
          <cx:pt idx="69153">4</cx:pt>
          <cx:pt idx="69154">1</cx:pt>
          <cx:pt idx="69155">4</cx:pt>
          <cx:pt idx="69156">3</cx:pt>
          <cx:pt idx="69157">4</cx:pt>
          <cx:pt idx="69158">2</cx:pt>
          <cx:pt idx="69159">3</cx:pt>
          <cx:pt idx="69160">2</cx:pt>
          <cx:pt idx="69161">5</cx:pt>
          <cx:pt idx="69162">3</cx:pt>
          <cx:pt idx="69163">5</cx:pt>
          <cx:pt idx="69164">3</cx:pt>
          <cx:pt idx="69165">4</cx:pt>
          <cx:pt idx="69166">2</cx:pt>
          <cx:pt idx="69167">3</cx:pt>
          <cx:pt idx="69168">2</cx:pt>
          <cx:pt idx="69169">3</cx:pt>
          <cx:pt idx="69170">0</cx:pt>
          <cx:pt idx="69171">3</cx:pt>
          <cx:pt idx="69172">3</cx:pt>
          <cx:pt idx="69173">3</cx:pt>
          <cx:pt idx="69174">1</cx:pt>
          <cx:pt idx="69175">3</cx:pt>
          <cx:pt idx="69176">0</cx:pt>
          <cx:pt idx="69177">2</cx:pt>
          <cx:pt idx="69178">5</cx:pt>
          <cx:pt idx="69179">5</cx:pt>
          <cx:pt idx="69180">3</cx:pt>
          <cx:pt idx="69181">3</cx:pt>
          <cx:pt idx="69182">1</cx:pt>
          <cx:pt idx="69183">3</cx:pt>
          <cx:pt idx="69184">2</cx:pt>
          <cx:pt idx="69185">5</cx:pt>
          <cx:pt idx="69186">4</cx:pt>
          <cx:pt idx="69187">3</cx:pt>
          <cx:pt idx="69188">3</cx:pt>
          <cx:pt idx="69189">5</cx:pt>
          <cx:pt idx="69190">3</cx:pt>
          <cx:pt idx="69191">3</cx:pt>
          <cx:pt idx="69192">1</cx:pt>
          <cx:pt idx="69193">3</cx:pt>
          <cx:pt idx="69194">2</cx:pt>
          <cx:pt idx="69195">2</cx:pt>
          <cx:pt idx="69196">2</cx:pt>
          <cx:pt idx="69197">0</cx:pt>
          <cx:pt idx="69198">4</cx:pt>
          <cx:pt idx="69199">3</cx:pt>
          <cx:pt idx="69200">3</cx:pt>
          <cx:pt idx="69201">1</cx:pt>
          <cx:pt idx="69202">0</cx:pt>
          <cx:pt idx="69203">1</cx:pt>
          <cx:pt idx="69204">5</cx:pt>
          <cx:pt idx="69205">5</cx:pt>
          <cx:pt idx="69206">3</cx:pt>
          <cx:pt idx="69207">4</cx:pt>
          <cx:pt idx="69208">1</cx:pt>
          <cx:pt idx="69209">5</cx:pt>
          <cx:pt idx="69210">5</cx:pt>
          <cx:pt idx="69211">3</cx:pt>
          <cx:pt idx="69212">2</cx:pt>
          <cx:pt idx="69213">1</cx:pt>
          <cx:pt idx="69214">1</cx:pt>
          <cx:pt idx="69215">5</cx:pt>
          <cx:pt idx="69216">4</cx:pt>
          <cx:pt idx="69217">2</cx:pt>
          <cx:pt idx="69218">2</cx:pt>
          <cx:pt idx="69219">5</cx:pt>
          <cx:pt idx="69220">2</cx:pt>
          <cx:pt idx="69221">4</cx:pt>
          <cx:pt idx="69222">4</cx:pt>
          <cx:pt idx="69223">3</cx:pt>
          <cx:pt idx="69224">3</cx:pt>
          <cx:pt idx="69225">4</cx:pt>
          <cx:pt idx="69226">1</cx:pt>
          <cx:pt idx="69227">5</cx:pt>
          <cx:pt idx="69228">3</cx:pt>
          <cx:pt idx="69229">1</cx:pt>
          <cx:pt idx="69230">3</cx:pt>
          <cx:pt idx="69231">3</cx:pt>
          <cx:pt idx="69232">4</cx:pt>
          <cx:pt idx="69233">1</cx:pt>
          <cx:pt idx="69234">1</cx:pt>
          <cx:pt idx="69235">2</cx:pt>
          <cx:pt idx="69236">2</cx:pt>
          <cx:pt idx="69237">2</cx:pt>
          <cx:pt idx="69238">5</cx:pt>
          <cx:pt idx="69239">5</cx:pt>
          <cx:pt idx="69240">3</cx:pt>
          <cx:pt idx="69241">5</cx:pt>
          <cx:pt idx="69242">5</cx:pt>
          <cx:pt idx="69243">2</cx:pt>
          <cx:pt idx="69244">4</cx:pt>
          <cx:pt idx="69245">1</cx:pt>
          <cx:pt idx="69246">3</cx:pt>
          <cx:pt idx="69247">4</cx:pt>
          <cx:pt idx="69248">4</cx:pt>
          <cx:pt idx="69249">5</cx:pt>
          <cx:pt idx="69250">2</cx:pt>
          <cx:pt idx="69251">2</cx:pt>
          <cx:pt idx="69252">4</cx:pt>
          <cx:pt idx="69253">0</cx:pt>
          <cx:pt idx="69254">3</cx:pt>
          <cx:pt idx="69255">4</cx:pt>
          <cx:pt idx="69256">3</cx:pt>
          <cx:pt idx="69257">4</cx:pt>
          <cx:pt idx="69258">2</cx:pt>
          <cx:pt idx="69259">4</cx:pt>
          <cx:pt idx="69260">3</cx:pt>
          <cx:pt idx="69261">3</cx:pt>
          <cx:pt idx="69262">4</cx:pt>
          <cx:pt idx="69263">3</cx:pt>
          <cx:pt idx="69264">3</cx:pt>
          <cx:pt idx="69265">5</cx:pt>
          <cx:pt idx="69266">4</cx:pt>
          <cx:pt idx="69267">2</cx:pt>
          <cx:pt idx="69268">4</cx:pt>
          <cx:pt idx="69269">5</cx:pt>
          <cx:pt idx="69270">5</cx:pt>
          <cx:pt idx="69271">2</cx:pt>
          <cx:pt idx="69272">3</cx:pt>
          <cx:pt idx="69273">4</cx:pt>
          <cx:pt idx="69274">3</cx:pt>
          <cx:pt idx="69275">2</cx:pt>
          <cx:pt idx="69276">2</cx:pt>
          <cx:pt idx="69277">5</cx:pt>
          <cx:pt idx="69278">4</cx:pt>
          <cx:pt idx="69279">3</cx:pt>
          <cx:pt idx="69280">1</cx:pt>
          <cx:pt idx="69281">2</cx:pt>
          <cx:pt idx="69282">1</cx:pt>
          <cx:pt idx="69283">5</cx:pt>
          <cx:pt idx="69284">5</cx:pt>
          <cx:pt idx="69285">3</cx:pt>
          <cx:pt idx="69286">1</cx:pt>
          <cx:pt idx="69287">1</cx:pt>
          <cx:pt idx="69288">1</cx:pt>
          <cx:pt idx="69289">5</cx:pt>
          <cx:pt idx="69290">3</cx:pt>
          <cx:pt idx="69291">3</cx:pt>
          <cx:pt idx="69292">4</cx:pt>
          <cx:pt idx="69293">4</cx:pt>
          <cx:pt idx="69294">2</cx:pt>
          <cx:pt idx="69295">3</cx:pt>
          <cx:pt idx="69296">1</cx:pt>
          <cx:pt idx="69297">2</cx:pt>
          <cx:pt idx="69298">5</cx:pt>
          <cx:pt idx="69299">1</cx:pt>
          <cx:pt idx="69300">2</cx:pt>
          <cx:pt idx="69301">3</cx:pt>
          <cx:pt idx="69302">1</cx:pt>
          <cx:pt idx="69303">2</cx:pt>
          <cx:pt idx="69304">5</cx:pt>
          <cx:pt idx="69305">3</cx:pt>
          <cx:pt idx="69306">4</cx:pt>
          <cx:pt idx="69307">3</cx:pt>
          <cx:pt idx="69308">0</cx:pt>
          <cx:pt idx="69309">3</cx:pt>
          <cx:pt idx="69310">3</cx:pt>
          <cx:pt idx="69311">3</cx:pt>
          <cx:pt idx="69312">5</cx:pt>
          <cx:pt idx="69313">5</cx:pt>
          <cx:pt idx="69314">5</cx:pt>
          <cx:pt idx="69315">2</cx:pt>
          <cx:pt idx="69316">2</cx:pt>
          <cx:pt idx="69317">1</cx:pt>
          <cx:pt idx="69318">3</cx:pt>
          <cx:pt idx="69319">1</cx:pt>
          <cx:pt idx="69320">2</cx:pt>
          <cx:pt idx="69321">5</cx:pt>
          <cx:pt idx="69322">5</cx:pt>
          <cx:pt idx="69323">5</cx:pt>
          <cx:pt idx="69324">2</cx:pt>
          <cx:pt idx="69325">4</cx:pt>
          <cx:pt idx="69326">5</cx:pt>
          <cx:pt idx="69327">3</cx:pt>
          <cx:pt idx="69328">4</cx:pt>
          <cx:pt idx="69329">3</cx:pt>
          <cx:pt idx="69330">2</cx:pt>
          <cx:pt idx="69331">2</cx:pt>
          <cx:pt idx="69332">4</cx:pt>
          <cx:pt idx="69333">1</cx:pt>
          <cx:pt idx="69334">4</cx:pt>
          <cx:pt idx="69335">2</cx:pt>
          <cx:pt idx="69336">2</cx:pt>
          <cx:pt idx="69337">5</cx:pt>
          <cx:pt idx="69338">4</cx:pt>
          <cx:pt idx="69339">3</cx:pt>
          <cx:pt idx="69340">3</cx:pt>
          <cx:pt idx="69341">3</cx:pt>
          <cx:pt idx="69342">0</cx:pt>
          <cx:pt idx="69343">4</cx:pt>
          <cx:pt idx="69344">1</cx:pt>
          <cx:pt idx="69345">5</cx:pt>
          <cx:pt idx="69346">2</cx:pt>
          <cx:pt idx="69347">3</cx:pt>
          <cx:pt idx="69348">4</cx:pt>
          <cx:pt idx="69349">1</cx:pt>
          <cx:pt idx="69350">4</cx:pt>
          <cx:pt idx="69351">0</cx:pt>
          <cx:pt idx="69352">1</cx:pt>
          <cx:pt idx="69353">1</cx:pt>
          <cx:pt idx="69354">2</cx:pt>
          <cx:pt idx="69355">5</cx:pt>
          <cx:pt idx="69356">3</cx:pt>
          <cx:pt idx="69357">5</cx:pt>
          <cx:pt idx="69358">2</cx:pt>
          <cx:pt idx="69359">3</cx:pt>
          <cx:pt idx="69360">1</cx:pt>
          <cx:pt idx="69361">3</cx:pt>
          <cx:pt idx="69362">3</cx:pt>
          <cx:pt idx="69363">0</cx:pt>
          <cx:pt idx="69364">4</cx:pt>
          <cx:pt idx="69365">3</cx:pt>
          <cx:pt idx="69366">3</cx:pt>
          <cx:pt idx="69367">1</cx:pt>
          <cx:pt idx="69368">2</cx:pt>
          <cx:pt idx="69369">3</cx:pt>
          <cx:pt idx="69370">3</cx:pt>
          <cx:pt idx="69371">4</cx:pt>
          <cx:pt idx="69372">2</cx:pt>
          <cx:pt idx="69373">1</cx:pt>
          <cx:pt idx="69374">1</cx:pt>
          <cx:pt idx="69375">2</cx:pt>
          <cx:pt idx="69376">2</cx:pt>
          <cx:pt idx="69377">5</cx:pt>
          <cx:pt idx="69378">3</cx:pt>
          <cx:pt idx="69379">1</cx:pt>
          <cx:pt idx="69380">2</cx:pt>
          <cx:pt idx="69381">3</cx:pt>
          <cx:pt idx="69382">1</cx:pt>
          <cx:pt idx="69383">3</cx:pt>
          <cx:pt idx="69384">2</cx:pt>
          <cx:pt idx="69385">1</cx:pt>
          <cx:pt idx="69386">2</cx:pt>
          <cx:pt idx="69387">4</cx:pt>
          <cx:pt idx="69388">2</cx:pt>
          <cx:pt idx="69389">3</cx:pt>
          <cx:pt idx="69390">3</cx:pt>
          <cx:pt idx="69391">0</cx:pt>
          <cx:pt idx="69392">4</cx:pt>
          <cx:pt idx="69393">3</cx:pt>
          <cx:pt idx="69394">5</cx:pt>
          <cx:pt idx="69395">2</cx:pt>
          <cx:pt idx="69396">1</cx:pt>
          <cx:pt idx="69397">3</cx:pt>
          <cx:pt idx="69398">5</cx:pt>
          <cx:pt idx="69399">1</cx:pt>
          <cx:pt idx="69400">3</cx:pt>
          <cx:pt idx="69401">2</cx:pt>
          <cx:pt idx="69402">3</cx:pt>
          <cx:pt idx="69403">2</cx:pt>
          <cx:pt idx="69404">3</cx:pt>
          <cx:pt idx="69405">1</cx:pt>
          <cx:pt idx="69406">4</cx:pt>
          <cx:pt idx="69407">3</cx:pt>
          <cx:pt idx="69408">2</cx:pt>
          <cx:pt idx="69409">4</cx:pt>
          <cx:pt idx="69410">2</cx:pt>
          <cx:pt idx="69411">4</cx:pt>
          <cx:pt idx="69412">2</cx:pt>
          <cx:pt idx="69413">3</cx:pt>
          <cx:pt idx="69414">2</cx:pt>
          <cx:pt idx="69415">3</cx:pt>
          <cx:pt idx="69416">3</cx:pt>
          <cx:pt idx="69417">2</cx:pt>
          <cx:pt idx="69418">3</cx:pt>
          <cx:pt idx="69419">2</cx:pt>
          <cx:pt idx="69420">3</cx:pt>
          <cx:pt idx="69421">4</cx:pt>
          <cx:pt idx="69422">1</cx:pt>
          <cx:pt idx="69423">0</cx:pt>
          <cx:pt idx="69424">5</cx:pt>
          <cx:pt idx="69425">1</cx:pt>
          <cx:pt idx="69426">1</cx:pt>
          <cx:pt idx="69427">2</cx:pt>
          <cx:pt idx="69428">5</cx:pt>
          <cx:pt idx="69429">1</cx:pt>
          <cx:pt idx="69430">4</cx:pt>
          <cx:pt idx="69431">1</cx:pt>
          <cx:pt idx="69432">4</cx:pt>
          <cx:pt idx="69433">2</cx:pt>
          <cx:pt idx="69434">1</cx:pt>
          <cx:pt idx="69435">2</cx:pt>
          <cx:pt idx="69436">1</cx:pt>
          <cx:pt idx="69437">0</cx:pt>
          <cx:pt idx="69438">3</cx:pt>
          <cx:pt idx="69439">5</cx:pt>
          <cx:pt idx="69440">2</cx:pt>
          <cx:pt idx="69441">4</cx:pt>
          <cx:pt idx="69442">1</cx:pt>
          <cx:pt idx="69443">1</cx:pt>
          <cx:pt idx="69444">4</cx:pt>
          <cx:pt idx="69445">2</cx:pt>
          <cx:pt idx="69446">3</cx:pt>
          <cx:pt idx="69447">1</cx:pt>
          <cx:pt idx="69448">1</cx:pt>
          <cx:pt idx="69449">2</cx:pt>
          <cx:pt idx="69450">2</cx:pt>
          <cx:pt idx="69451">4</cx:pt>
          <cx:pt idx="69452">4</cx:pt>
          <cx:pt idx="69453">3</cx:pt>
          <cx:pt idx="69454">3</cx:pt>
          <cx:pt idx="69455">1</cx:pt>
          <cx:pt idx="69456">1</cx:pt>
          <cx:pt idx="69457">2</cx:pt>
          <cx:pt idx="69458">3</cx:pt>
          <cx:pt idx="69459">4</cx:pt>
          <cx:pt idx="69460">3</cx:pt>
          <cx:pt idx="69461">3</cx:pt>
          <cx:pt idx="69462">5</cx:pt>
          <cx:pt idx="69463">4</cx:pt>
          <cx:pt idx="69464">4</cx:pt>
          <cx:pt idx="69465">4</cx:pt>
          <cx:pt idx="69466">1</cx:pt>
          <cx:pt idx="69467">4</cx:pt>
          <cx:pt idx="69468">1</cx:pt>
          <cx:pt idx="69469">2</cx:pt>
          <cx:pt idx="69470">4</cx:pt>
          <cx:pt idx="69471">2</cx:pt>
          <cx:pt idx="69472">3</cx:pt>
          <cx:pt idx="69473">2</cx:pt>
          <cx:pt idx="69474">4</cx:pt>
          <cx:pt idx="69475">0</cx:pt>
          <cx:pt idx="69476">4</cx:pt>
          <cx:pt idx="69477">3</cx:pt>
          <cx:pt idx="69478">3</cx:pt>
          <cx:pt idx="69479">4</cx:pt>
          <cx:pt idx="69480">2</cx:pt>
          <cx:pt idx="69481">5</cx:pt>
          <cx:pt idx="69482">4</cx:pt>
          <cx:pt idx="69483">2</cx:pt>
          <cx:pt idx="69484">1</cx:pt>
          <cx:pt idx="69485">5</cx:pt>
          <cx:pt idx="69486">4</cx:pt>
          <cx:pt idx="69487">4</cx:pt>
          <cx:pt idx="69488">2</cx:pt>
          <cx:pt idx="69489">4</cx:pt>
          <cx:pt idx="69490">2</cx:pt>
          <cx:pt idx="69491">4</cx:pt>
          <cx:pt idx="69492">4</cx:pt>
          <cx:pt idx="69493">5</cx:pt>
          <cx:pt idx="69494">2</cx:pt>
          <cx:pt idx="69495">2</cx:pt>
          <cx:pt idx="69496">1</cx:pt>
          <cx:pt idx="69497">1</cx:pt>
          <cx:pt idx="69498">2</cx:pt>
          <cx:pt idx="69499">2</cx:pt>
          <cx:pt idx="69500">1</cx:pt>
          <cx:pt idx="69501">5</cx:pt>
          <cx:pt idx="69502">3</cx:pt>
          <cx:pt idx="69503">5</cx:pt>
          <cx:pt idx="69504">4</cx:pt>
          <cx:pt idx="69505">2</cx:pt>
          <cx:pt idx="69506">5</cx:pt>
          <cx:pt idx="69507">1</cx:pt>
          <cx:pt idx="69508">3</cx:pt>
          <cx:pt idx="69509">1</cx:pt>
          <cx:pt idx="69510">3</cx:pt>
          <cx:pt idx="69511">3</cx:pt>
          <cx:pt idx="69512">4</cx:pt>
          <cx:pt idx="69513">5</cx:pt>
          <cx:pt idx="69514">2</cx:pt>
          <cx:pt idx="69515">4</cx:pt>
          <cx:pt idx="69516">3</cx:pt>
          <cx:pt idx="69517">2</cx:pt>
          <cx:pt idx="69518">4</cx:pt>
          <cx:pt idx="69519">2</cx:pt>
          <cx:pt idx="69520">3</cx:pt>
          <cx:pt idx="69521">2</cx:pt>
          <cx:pt idx="69522">0</cx:pt>
          <cx:pt idx="69523">1</cx:pt>
          <cx:pt idx="69524">1</cx:pt>
          <cx:pt idx="69525">4</cx:pt>
          <cx:pt idx="69526">2</cx:pt>
          <cx:pt idx="69527">2</cx:pt>
          <cx:pt idx="69528">3</cx:pt>
          <cx:pt idx="69529">2</cx:pt>
          <cx:pt idx="69530">5</cx:pt>
          <cx:pt idx="69531">0</cx:pt>
          <cx:pt idx="69532">3</cx:pt>
          <cx:pt idx="69533">4</cx:pt>
          <cx:pt idx="69534">2</cx:pt>
          <cx:pt idx="69535">3</cx:pt>
          <cx:pt idx="69536">4</cx:pt>
          <cx:pt idx="69537">3</cx:pt>
          <cx:pt idx="69538">4</cx:pt>
          <cx:pt idx="69539">5</cx:pt>
          <cx:pt idx="69540">2</cx:pt>
          <cx:pt idx="69541">2</cx:pt>
          <cx:pt idx="69542">1</cx:pt>
          <cx:pt idx="69543">2</cx:pt>
          <cx:pt idx="69544">4</cx:pt>
          <cx:pt idx="69545">4</cx:pt>
          <cx:pt idx="69546">2</cx:pt>
          <cx:pt idx="69547">2</cx:pt>
          <cx:pt idx="69548">4</cx:pt>
          <cx:pt idx="69549">4</cx:pt>
          <cx:pt idx="69550">3</cx:pt>
          <cx:pt idx="69551">2</cx:pt>
          <cx:pt idx="69552">4</cx:pt>
          <cx:pt idx="69553">3</cx:pt>
          <cx:pt idx="69554">5</cx:pt>
          <cx:pt idx="69555">3</cx:pt>
          <cx:pt idx="69556">3</cx:pt>
          <cx:pt idx="69557">2</cx:pt>
          <cx:pt idx="69558">5</cx:pt>
          <cx:pt idx="69559">4</cx:pt>
          <cx:pt idx="69560">1</cx:pt>
          <cx:pt idx="69561">4</cx:pt>
          <cx:pt idx="69562">3</cx:pt>
          <cx:pt idx="69563">2</cx:pt>
          <cx:pt idx="69564">0</cx:pt>
          <cx:pt idx="69565">3</cx:pt>
          <cx:pt idx="69566">5</cx:pt>
          <cx:pt idx="69567">5</cx:pt>
          <cx:pt idx="69568">3</cx:pt>
          <cx:pt idx="69569">1</cx:pt>
          <cx:pt idx="69570">1</cx:pt>
          <cx:pt idx="69571">5</cx:pt>
          <cx:pt idx="69572">1</cx:pt>
          <cx:pt idx="69573">3</cx:pt>
          <cx:pt idx="69574">3</cx:pt>
          <cx:pt idx="69575">1</cx:pt>
          <cx:pt idx="69576">3</cx:pt>
          <cx:pt idx="69577">3</cx:pt>
          <cx:pt idx="69578">4</cx:pt>
          <cx:pt idx="69579">2</cx:pt>
          <cx:pt idx="69580">1</cx:pt>
          <cx:pt idx="69581">3</cx:pt>
          <cx:pt idx="69582">3</cx:pt>
          <cx:pt idx="69583">5</cx:pt>
          <cx:pt idx="69584">1</cx:pt>
          <cx:pt idx="69585">2</cx:pt>
          <cx:pt idx="69586">4</cx:pt>
          <cx:pt idx="69587">1</cx:pt>
          <cx:pt idx="69588">5</cx:pt>
          <cx:pt idx="69589">5</cx:pt>
          <cx:pt idx="69590">2</cx:pt>
          <cx:pt idx="69591">1</cx:pt>
          <cx:pt idx="69592">1</cx:pt>
          <cx:pt idx="69593">4</cx:pt>
          <cx:pt idx="69594">2</cx:pt>
          <cx:pt idx="69595">2</cx:pt>
          <cx:pt idx="69596">1</cx:pt>
          <cx:pt idx="69597">4</cx:pt>
          <cx:pt idx="69598">2</cx:pt>
          <cx:pt idx="69599">0</cx:pt>
          <cx:pt idx="69600">3</cx:pt>
          <cx:pt idx="69601">3</cx:pt>
          <cx:pt idx="69602">1</cx:pt>
          <cx:pt idx="69603">2</cx:pt>
          <cx:pt idx="69604">3</cx:pt>
          <cx:pt idx="69605">5</cx:pt>
          <cx:pt idx="69606">2</cx:pt>
          <cx:pt idx="69607">4</cx:pt>
          <cx:pt idx="69608">5</cx:pt>
          <cx:pt idx="69609">3</cx:pt>
          <cx:pt idx="69610">1</cx:pt>
          <cx:pt idx="69611">1</cx:pt>
          <cx:pt idx="69612">1</cx:pt>
          <cx:pt idx="69613">2</cx:pt>
          <cx:pt idx="69614">2</cx:pt>
          <cx:pt idx="69615">1</cx:pt>
          <cx:pt idx="69616">1</cx:pt>
          <cx:pt idx="69617">2</cx:pt>
          <cx:pt idx="69618">5</cx:pt>
          <cx:pt idx="69619">2</cx:pt>
          <cx:pt idx="69620">5</cx:pt>
          <cx:pt idx="69621">5</cx:pt>
          <cx:pt idx="69622">3</cx:pt>
          <cx:pt idx="69623">3</cx:pt>
          <cx:pt idx="69624">1</cx:pt>
          <cx:pt idx="69625">3</cx:pt>
          <cx:pt idx="69626">3</cx:pt>
          <cx:pt idx="69627">3</cx:pt>
          <cx:pt idx="69628">3</cx:pt>
          <cx:pt idx="69629">1</cx:pt>
          <cx:pt idx="69630">4</cx:pt>
          <cx:pt idx="69631">3</cx:pt>
          <cx:pt idx="69632">4</cx:pt>
          <cx:pt idx="69633">2</cx:pt>
          <cx:pt idx="69634">5</cx:pt>
          <cx:pt idx="69635">2</cx:pt>
          <cx:pt idx="69636">3</cx:pt>
          <cx:pt idx="69637">4</cx:pt>
          <cx:pt idx="69638">5</cx:pt>
          <cx:pt idx="69639">0</cx:pt>
          <cx:pt idx="69640">4</cx:pt>
          <cx:pt idx="69641">3</cx:pt>
          <cx:pt idx="69642">2</cx:pt>
          <cx:pt idx="69643">2</cx:pt>
          <cx:pt idx="69644">5</cx:pt>
          <cx:pt idx="69645">3</cx:pt>
          <cx:pt idx="69646">5</cx:pt>
          <cx:pt idx="69647">4</cx:pt>
          <cx:pt idx="69648">3</cx:pt>
          <cx:pt idx="69649">5</cx:pt>
          <cx:pt idx="69650">2</cx:pt>
          <cx:pt idx="69651">1</cx:pt>
          <cx:pt idx="69652">2</cx:pt>
          <cx:pt idx="69653">3</cx:pt>
          <cx:pt idx="69654">3</cx:pt>
          <cx:pt idx="69655">3</cx:pt>
          <cx:pt idx="69656">4</cx:pt>
          <cx:pt idx="69657">1</cx:pt>
          <cx:pt idx="69658">4</cx:pt>
          <cx:pt idx="69659">2</cx:pt>
          <cx:pt idx="69660">3</cx:pt>
          <cx:pt idx="69661">2</cx:pt>
          <cx:pt idx="69662">4</cx:pt>
          <cx:pt idx="69663">3</cx:pt>
          <cx:pt idx="69664">5</cx:pt>
          <cx:pt idx="69665">0</cx:pt>
          <cx:pt idx="69666">1</cx:pt>
          <cx:pt idx="69667">3</cx:pt>
          <cx:pt idx="69668">2</cx:pt>
          <cx:pt idx="69669">2</cx:pt>
          <cx:pt idx="69670">2</cx:pt>
          <cx:pt idx="69671">4</cx:pt>
          <cx:pt idx="69672">2</cx:pt>
          <cx:pt idx="69673">1</cx:pt>
          <cx:pt idx="69674">3</cx:pt>
          <cx:pt idx="69675">1</cx:pt>
          <cx:pt idx="69676">1</cx:pt>
          <cx:pt idx="69677">3</cx:pt>
          <cx:pt idx="69678">4</cx:pt>
          <cx:pt idx="69679">5</cx:pt>
          <cx:pt idx="69680">4</cx:pt>
          <cx:pt idx="69681">2</cx:pt>
          <cx:pt idx="69682">3</cx:pt>
          <cx:pt idx="69683">4</cx:pt>
          <cx:pt idx="69684">3</cx:pt>
          <cx:pt idx="69685">2</cx:pt>
          <cx:pt idx="69686">3</cx:pt>
          <cx:pt idx="69687">1</cx:pt>
          <cx:pt idx="69688">4</cx:pt>
          <cx:pt idx="69689">3</cx:pt>
          <cx:pt idx="69690">4</cx:pt>
          <cx:pt idx="69691">1</cx:pt>
          <cx:pt idx="69692">3</cx:pt>
          <cx:pt idx="69693">4</cx:pt>
          <cx:pt idx="69694">4</cx:pt>
          <cx:pt idx="69695">2</cx:pt>
          <cx:pt idx="69696">5</cx:pt>
          <cx:pt idx="69697">5</cx:pt>
          <cx:pt idx="69698">2</cx:pt>
          <cx:pt idx="69699">3</cx:pt>
          <cx:pt idx="69700">3</cx:pt>
          <cx:pt idx="69701">5</cx:pt>
          <cx:pt idx="69702">3</cx:pt>
          <cx:pt idx="69703">3</cx:pt>
          <cx:pt idx="69704">1</cx:pt>
          <cx:pt idx="69705">3</cx:pt>
          <cx:pt idx="69706">0</cx:pt>
          <cx:pt idx="69707">1</cx:pt>
          <cx:pt idx="69708">1</cx:pt>
          <cx:pt idx="69709">1</cx:pt>
          <cx:pt idx="69710">5</cx:pt>
          <cx:pt idx="69711">4</cx:pt>
          <cx:pt idx="69712">4</cx:pt>
          <cx:pt idx="69713">5</cx:pt>
          <cx:pt idx="69714">5</cx:pt>
          <cx:pt idx="69715">2</cx:pt>
          <cx:pt idx="69716">2</cx:pt>
          <cx:pt idx="69717">3</cx:pt>
          <cx:pt idx="69718">1</cx:pt>
          <cx:pt idx="69719">4</cx:pt>
          <cx:pt idx="69720">3</cx:pt>
          <cx:pt idx="69721">4</cx:pt>
          <cx:pt idx="69722">1</cx:pt>
          <cx:pt idx="69723">1</cx:pt>
          <cx:pt idx="69724">2</cx:pt>
          <cx:pt idx="69725">1</cx:pt>
          <cx:pt idx="69726">2</cx:pt>
          <cx:pt idx="69727">3</cx:pt>
          <cx:pt idx="69728">0</cx:pt>
          <cx:pt idx="69729">5</cx:pt>
          <cx:pt idx="69730">1</cx:pt>
          <cx:pt idx="69731">2</cx:pt>
          <cx:pt idx="69732">4</cx:pt>
          <cx:pt idx="69733">3</cx:pt>
          <cx:pt idx="69734">3</cx:pt>
          <cx:pt idx="69735">1</cx:pt>
          <cx:pt idx="69736">4</cx:pt>
          <cx:pt idx="69737">3</cx:pt>
          <cx:pt idx="69738">5</cx:pt>
          <cx:pt idx="69739">1</cx:pt>
          <cx:pt idx="69740">3</cx:pt>
          <cx:pt idx="69741">4</cx:pt>
          <cx:pt idx="69742">3</cx:pt>
          <cx:pt idx="69743">4</cx:pt>
          <cx:pt idx="69744">3</cx:pt>
          <cx:pt idx="69745">4</cx:pt>
          <cx:pt idx="69746">4</cx:pt>
          <cx:pt idx="69747">3</cx:pt>
          <cx:pt idx="69748">1</cx:pt>
          <cx:pt idx="69749">4</cx:pt>
          <cx:pt idx="69750">1</cx:pt>
          <cx:pt idx="69751">3</cx:pt>
          <cx:pt idx="69752">0</cx:pt>
          <cx:pt idx="69753">3</cx:pt>
          <cx:pt idx="69754">5</cx:pt>
          <cx:pt idx="69755">4</cx:pt>
          <cx:pt idx="69756">4</cx:pt>
          <cx:pt idx="69757">2</cx:pt>
          <cx:pt idx="69758">2</cx:pt>
          <cx:pt idx="69759">3</cx:pt>
          <cx:pt idx="69760">3</cx:pt>
          <cx:pt idx="69761">2</cx:pt>
          <cx:pt idx="69762">1</cx:pt>
          <cx:pt idx="69763">3</cx:pt>
          <cx:pt idx="69764">4</cx:pt>
          <cx:pt idx="69765">1</cx:pt>
          <cx:pt idx="69766">2</cx:pt>
          <cx:pt idx="69767">2</cx:pt>
          <cx:pt idx="69768">5</cx:pt>
          <cx:pt idx="69769">3</cx:pt>
          <cx:pt idx="69770">5</cx:pt>
          <cx:pt idx="69771">2</cx:pt>
          <cx:pt idx="69772">1</cx:pt>
          <cx:pt idx="69773">2</cx:pt>
          <cx:pt idx="69774">5</cx:pt>
          <cx:pt idx="69775">4</cx:pt>
          <cx:pt idx="69776">2</cx:pt>
          <cx:pt idx="69777">4</cx:pt>
          <cx:pt idx="69778">3</cx:pt>
          <cx:pt idx="69779">5</cx:pt>
          <cx:pt idx="69780">3</cx:pt>
          <cx:pt idx="69781">2</cx:pt>
          <cx:pt idx="69782">3</cx:pt>
          <cx:pt idx="69783">0</cx:pt>
          <cx:pt idx="69784">5</cx:pt>
          <cx:pt idx="69785">2</cx:pt>
          <cx:pt idx="69786">2</cx:pt>
          <cx:pt idx="69787">1</cx:pt>
          <cx:pt idx="69788">5</cx:pt>
          <cx:pt idx="69789">3</cx:pt>
          <cx:pt idx="69790">4</cx:pt>
          <cx:pt idx="69791">2</cx:pt>
          <cx:pt idx="69792">4</cx:pt>
          <cx:pt idx="69793">2</cx:pt>
          <cx:pt idx="69794">4</cx:pt>
          <cx:pt idx="69795">2</cx:pt>
          <cx:pt idx="69796">4</cx:pt>
          <cx:pt idx="69797">3</cx:pt>
          <cx:pt idx="69798">1</cx:pt>
          <cx:pt idx="69799">3</cx:pt>
          <cx:pt idx="69800">2</cx:pt>
          <cx:pt idx="69801">1</cx:pt>
          <cx:pt idx="69802">1</cx:pt>
          <cx:pt idx="69803">2</cx:pt>
          <cx:pt idx="69804">3</cx:pt>
          <cx:pt idx="69805">5</cx:pt>
          <cx:pt idx="69806">5</cx:pt>
          <cx:pt idx="69807">4</cx:pt>
          <cx:pt idx="69808">4</cx:pt>
          <cx:pt idx="69809">3</cx:pt>
          <cx:pt idx="69810">4</cx:pt>
          <cx:pt idx="69811">3</cx:pt>
          <cx:pt idx="69812">4</cx:pt>
          <cx:pt idx="69813">3</cx:pt>
          <cx:pt idx="69814">4</cx:pt>
          <cx:pt idx="69815">4</cx:pt>
          <cx:pt idx="69816">3</cx:pt>
          <cx:pt idx="69817">4</cx:pt>
          <cx:pt idx="69818">3</cx:pt>
          <cx:pt idx="69819">2</cx:pt>
          <cx:pt idx="69820">1</cx:pt>
          <cx:pt idx="69821">1</cx:pt>
          <cx:pt idx="69822">5</cx:pt>
          <cx:pt idx="69823">2</cx:pt>
          <cx:pt idx="69824">5</cx:pt>
          <cx:pt idx="69825">2</cx:pt>
          <cx:pt idx="69826">3</cx:pt>
          <cx:pt idx="69827">5</cx:pt>
          <cx:pt idx="69828">1</cx:pt>
          <cx:pt idx="69829">4</cx:pt>
          <cx:pt idx="69830">3</cx:pt>
          <cx:pt idx="69831">2</cx:pt>
          <cx:pt idx="69832">3</cx:pt>
          <cx:pt idx="69833">5</cx:pt>
          <cx:pt idx="69834">2</cx:pt>
          <cx:pt idx="69835">2</cx:pt>
          <cx:pt idx="69836">2</cx:pt>
          <cx:pt idx="69837">5</cx:pt>
          <cx:pt idx="69838">4</cx:pt>
          <cx:pt idx="69839">2</cx:pt>
          <cx:pt idx="69840">1</cx:pt>
          <cx:pt idx="69841">1</cx:pt>
          <cx:pt idx="69842">1</cx:pt>
          <cx:pt idx="69843">1</cx:pt>
          <cx:pt idx="69844">5</cx:pt>
          <cx:pt idx="69845">5</cx:pt>
          <cx:pt idx="69846">5</cx:pt>
          <cx:pt idx="69847">2</cx:pt>
          <cx:pt idx="69848">3</cx:pt>
          <cx:pt idx="69849">2</cx:pt>
          <cx:pt idx="69850">3</cx:pt>
          <cx:pt idx="69851">1</cx:pt>
          <cx:pt idx="69852">4</cx:pt>
          <cx:pt idx="69853">5</cx:pt>
          <cx:pt idx="69854">4</cx:pt>
          <cx:pt idx="69855">4</cx:pt>
          <cx:pt idx="69856">3</cx:pt>
          <cx:pt idx="69857">3</cx:pt>
          <cx:pt idx="69858">5</cx:pt>
          <cx:pt idx="69859">2</cx:pt>
          <cx:pt idx="69860">3</cx:pt>
          <cx:pt idx="69861">2</cx:pt>
          <cx:pt idx="69862">3</cx:pt>
          <cx:pt idx="69863">4</cx:pt>
          <cx:pt idx="69864">4</cx:pt>
          <cx:pt idx="69865">3</cx:pt>
          <cx:pt idx="69866">1</cx:pt>
          <cx:pt idx="69867">1</cx:pt>
          <cx:pt idx="69868">5</cx:pt>
          <cx:pt idx="69869">5</cx:pt>
          <cx:pt idx="69870">2</cx:pt>
          <cx:pt idx="69871">1</cx:pt>
          <cx:pt idx="69872">5</cx:pt>
          <cx:pt idx="69873">4</cx:pt>
          <cx:pt idx="69874">3</cx:pt>
          <cx:pt idx="69875">4</cx:pt>
          <cx:pt idx="69876">5</cx:pt>
          <cx:pt idx="69877">2</cx:pt>
          <cx:pt idx="69878">3</cx:pt>
          <cx:pt idx="69879">4</cx:pt>
          <cx:pt idx="69880">1</cx:pt>
          <cx:pt idx="69881">0</cx:pt>
          <cx:pt idx="69882">1</cx:pt>
          <cx:pt idx="69883">5</cx:pt>
          <cx:pt idx="69884">3</cx:pt>
          <cx:pt idx="69885">2</cx:pt>
          <cx:pt idx="69886">3</cx:pt>
          <cx:pt idx="69887">1</cx:pt>
          <cx:pt idx="69888">2</cx:pt>
          <cx:pt idx="69889">3</cx:pt>
          <cx:pt idx="69890">5</cx:pt>
          <cx:pt idx="69891">2</cx:pt>
          <cx:pt idx="69892">3</cx:pt>
          <cx:pt idx="69893">2</cx:pt>
          <cx:pt idx="69894">2</cx:pt>
          <cx:pt idx="69895">3</cx:pt>
          <cx:pt idx="69896">5</cx:pt>
          <cx:pt idx="69897">4</cx:pt>
          <cx:pt idx="69898">1</cx:pt>
          <cx:pt idx="69899">3</cx:pt>
          <cx:pt idx="69900">4</cx:pt>
          <cx:pt idx="69901">2</cx:pt>
          <cx:pt idx="69902">2</cx:pt>
          <cx:pt idx="69903">2</cx:pt>
          <cx:pt idx="69904">2</cx:pt>
          <cx:pt idx="69905">3</cx:pt>
          <cx:pt idx="69906">5</cx:pt>
          <cx:pt idx="69907">3</cx:pt>
          <cx:pt idx="69908">1</cx:pt>
          <cx:pt idx="69909">2</cx:pt>
          <cx:pt idx="69910">4</cx:pt>
          <cx:pt idx="69911">4</cx:pt>
          <cx:pt idx="69912">2</cx:pt>
          <cx:pt idx="69913">1</cx:pt>
          <cx:pt idx="69914">3</cx:pt>
          <cx:pt idx="69915">4</cx:pt>
          <cx:pt idx="69916">3</cx:pt>
          <cx:pt idx="69917">5</cx:pt>
          <cx:pt idx="69918">1</cx:pt>
          <cx:pt idx="69919">4</cx:pt>
          <cx:pt idx="69920">3</cx:pt>
          <cx:pt idx="69921">1</cx:pt>
          <cx:pt idx="69922">4</cx:pt>
          <cx:pt idx="69923">4</cx:pt>
          <cx:pt idx="69924">5</cx:pt>
          <cx:pt idx="69925">2</cx:pt>
          <cx:pt idx="69926">3</cx:pt>
          <cx:pt idx="69927">4</cx:pt>
          <cx:pt idx="69928">3</cx:pt>
          <cx:pt idx="69929">2</cx:pt>
          <cx:pt idx="69930">3</cx:pt>
          <cx:pt idx="69931">1</cx:pt>
          <cx:pt idx="69932">4</cx:pt>
          <cx:pt idx="69933">4</cx:pt>
          <cx:pt idx="69934">4</cx:pt>
          <cx:pt idx="69935">5</cx:pt>
          <cx:pt idx="69936">3</cx:pt>
          <cx:pt idx="69937">1</cx:pt>
          <cx:pt idx="69938">2</cx:pt>
          <cx:pt idx="69939">2</cx:pt>
          <cx:pt idx="69940">3</cx:pt>
          <cx:pt idx="69941">2</cx:pt>
          <cx:pt idx="69942">2</cx:pt>
          <cx:pt idx="69943">5</cx:pt>
          <cx:pt idx="69944">3</cx:pt>
          <cx:pt idx="69945">2</cx:pt>
          <cx:pt idx="69946">2</cx:pt>
          <cx:pt idx="69947">2</cx:pt>
          <cx:pt idx="69948">5</cx:pt>
          <cx:pt idx="69949">4</cx:pt>
          <cx:pt idx="69950">4</cx:pt>
          <cx:pt idx="69951">3</cx:pt>
          <cx:pt idx="69952">3</cx:pt>
          <cx:pt idx="69953">3</cx:pt>
          <cx:pt idx="69954">2</cx:pt>
          <cx:pt idx="69955">2</cx:pt>
          <cx:pt idx="69956">4</cx:pt>
          <cx:pt idx="69957">2</cx:pt>
          <cx:pt idx="69958">2</cx:pt>
          <cx:pt idx="69959">1</cx:pt>
          <cx:pt idx="69960">3</cx:pt>
          <cx:pt idx="69961">3</cx:pt>
          <cx:pt idx="69962">3</cx:pt>
          <cx:pt idx="69963">3</cx:pt>
          <cx:pt idx="69964">4</cx:pt>
          <cx:pt idx="69965">3</cx:pt>
          <cx:pt idx="69966">5</cx:pt>
          <cx:pt idx="69967">5</cx:pt>
          <cx:pt idx="69968">4</cx:pt>
          <cx:pt idx="69969">5</cx:pt>
          <cx:pt idx="69970">5</cx:pt>
          <cx:pt idx="69971">1</cx:pt>
          <cx:pt idx="69972">5</cx:pt>
          <cx:pt idx="69973">4</cx:pt>
          <cx:pt idx="69974">2</cx:pt>
          <cx:pt idx="69975">3</cx:pt>
          <cx:pt idx="69976">1</cx:pt>
          <cx:pt idx="69977">1</cx:pt>
          <cx:pt idx="69978">5</cx:pt>
          <cx:pt idx="69979">2</cx:pt>
          <cx:pt idx="69980">3</cx:pt>
          <cx:pt idx="69981">0</cx:pt>
          <cx:pt idx="69982">1</cx:pt>
          <cx:pt idx="69983">5</cx:pt>
          <cx:pt idx="69984">2</cx:pt>
          <cx:pt idx="69985">3</cx:pt>
          <cx:pt idx="69986">4</cx:pt>
          <cx:pt idx="69987">1</cx:pt>
          <cx:pt idx="69988">3</cx:pt>
          <cx:pt idx="69989">3</cx:pt>
          <cx:pt idx="69990">5</cx:pt>
          <cx:pt idx="69991">2</cx:pt>
          <cx:pt idx="69992">1</cx:pt>
          <cx:pt idx="69993">0</cx:pt>
          <cx:pt idx="69994">2</cx:pt>
          <cx:pt idx="69995">2</cx:pt>
          <cx:pt idx="69996">1</cx:pt>
          <cx:pt idx="69997">2</cx:pt>
          <cx:pt idx="69998">1</cx:pt>
          <cx:pt idx="69999">3</cx:pt>
          <cx:pt idx="70000">3</cx:pt>
          <cx:pt idx="70001">2</cx:pt>
          <cx:pt idx="70002">4</cx:pt>
          <cx:pt idx="70003">1</cx:pt>
          <cx:pt idx="70004">4</cx:pt>
          <cx:pt idx="70005">5</cx:pt>
          <cx:pt idx="70006">4</cx:pt>
          <cx:pt idx="70007">1</cx:pt>
          <cx:pt idx="70008">4</cx:pt>
          <cx:pt idx="70009">2</cx:pt>
          <cx:pt idx="70010">1</cx:pt>
          <cx:pt idx="70011">3</cx:pt>
          <cx:pt idx="70012">4</cx:pt>
          <cx:pt idx="70013">3</cx:pt>
          <cx:pt idx="70014">5</cx:pt>
          <cx:pt idx="70015">1</cx:pt>
          <cx:pt idx="70016">3</cx:pt>
          <cx:pt idx="70017">1</cx:pt>
          <cx:pt idx="70018">2</cx:pt>
          <cx:pt idx="70019">3</cx:pt>
          <cx:pt idx="70020">3</cx:pt>
          <cx:pt idx="70021">2</cx:pt>
          <cx:pt idx="70022">1</cx:pt>
          <cx:pt idx="70023">3</cx:pt>
          <cx:pt idx="70024">0</cx:pt>
          <cx:pt idx="70025">0</cx:pt>
          <cx:pt idx="70026">3</cx:pt>
          <cx:pt idx="70027">1</cx:pt>
          <cx:pt idx="70028">1</cx:pt>
          <cx:pt idx="70029">4</cx:pt>
          <cx:pt idx="70030">1</cx:pt>
          <cx:pt idx="70031">3</cx:pt>
          <cx:pt idx="70032">1</cx:pt>
          <cx:pt idx="70033">5</cx:pt>
          <cx:pt idx="70034">4</cx:pt>
          <cx:pt idx="70035">1</cx:pt>
          <cx:pt idx="70036">1</cx:pt>
          <cx:pt idx="70037">4</cx:pt>
          <cx:pt idx="70038">1</cx:pt>
          <cx:pt idx="70039">1</cx:pt>
          <cx:pt idx="70040">2</cx:pt>
          <cx:pt idx="70041">2</cx:pt>
          <cx:pt idx="70042">1</cx:pt>
          <cx:pt idx="70043">4</cx:pt>
          <cx:pt idx="70044">5</cx:pt>
          <cx:pt idx="70045">3</cx:pt>
          <cx:pt idx="70046">1</cx:pt>
          <cx:pt idx="70047">0</cx:pt>
          <cx:pt idx="70048">3</cx:pt>
          <cx:pt idx="70049">3</cx:pt>
          <cx:pt idx="70050">3</cx:pt>
          <cx:pt idx="70051">4</cx:pt>
          <cx:pt idx="70052">5</cx:pt>
          <cx:pt idx="70053">1</cx:pt>
          <cx:pt idx="70054">3</cx:pt>
          <cx:pt idx="70055">2</cx:pt>
          <cx:pt idx="70056">5</cx:pt>
          <cx:pt idx="70057">3</cx:pt>
          <cx:pt idx="70058">3</cx:pt>
          <cx:pt idx="70059">3</cx:pt>
          <cx:pt idx="70060">2</cx:pt>
          <cx:pt idx="70061">3</cx:pt>
          <cx:pt idx="70062">1</cx:pt>
          <cx:pt idx="70063">2</cx:pt>
          <cx:pt idx="70064">0</cx:pt>
          <cx:pt idx="70065">3</cx:pt>
          <cx:pt idx="70066">2</cx:pt>
          <cx:pt idx="70067">4</cx:pt>
          <cx:pt idx="70068">1</cx:pt>
          <cx:pt idx="70069">0</cx:pt>
          <cx:pt idx="70070">4</cx:pt>
          <cx:pt idx="70071">3</cx:pt>
          <cx:pt idx="70072">4</cx:pt>
          <cx:pt idx="70073">4</cx:pt>
          <cx:pt idx="70074">2</cx:pt>
          <cx:pt idx="70075">3</cx:pt>
          <cx:pt idx="70076">4</cx:pt>
          <cx:pt idx="70077">2</cx:pt>
          <cx:pt idx="70078">1</cx:pt>
          <cx:pt idx="70079">4</cx:pt>
          <cx:pt idx="70080">3</cx:pt>
          <cx:pt idx="70081">2</cx:pt>
          <cx:pt idx="70082">4</cx:pt>
          <cx:pt idx="70083">3</cx:pt>
          <cx:pt idx="70084">3</cx:pt>
          <cx:pt idx="70085">5</cx:pt>
          <cx:pt idx="70086">4</cx:pt>
          <cx:pt idx="70087">3</cx:pt>
          <cx:pt idx="70088">2</cx:pt>
          <cx:pt idx="70089">3</cx:pt>
          <cx:pt idx="70090">1</cx:pt>
          <cx:pt idx="70091">2</cx:pt>
          <cx:pt idx="70092">3</cx:pt>
          <cx:pt idx="70093">0</cx:pt>
          <cx:pt idx="70094">5</cx:pt>
          <cx:pt idx="70095">3</cx:pt>
          <cx:pt idx="70096">2</cx:pt>
          <cx:pt idx="70097">2</cx:pt>
          <cx:pt idx="70098">4</cx:pt>
          <cx:pt idx="70099">1</cx:pt>
          <cx:pt idx="70100">1</cx:pt>
          <cx:pt idx="70101">3</cx:pt>
          <cx:pt idx="70102">5</cx:pt>
          <cx:pt idx="70103">3</cx:pt>
          <cx:pt idx="70104">2</cx:pt>
          <cx:pt idx="70105">4</cx:pt>
          <cx:pt idx="70106">1</cx:pt>
          <cx:pt idx="70107">0</cx:pt>
          <cx:pt idx="70108">4</cx:pt>
          <cx:pt idx="70109">4</cx:pt>
          <cx:pt idx="70110">3</cx:pt>
          <cx:pt idx="70111">2</cx:pt>
          <cx:pt idx="70112">2</cx:pt>
          <cx:pt idx="70113">2</cx:pt>
          <cx:pt idx="70114">2</cx:pt>
          <cx:pt idx="70115">4</cx:pt>
          <cx:pt idx="70116">2</cx:pt>
          <cx:pt idx="70117">2</cx:pt>
          <cx:pt idx="70118">1</cx:pt>
          <cx:pt idx="70119">3</cx:pt>
          <cx:pt idx="70120">3</cx:pt>
          <cx:pt idx="70121">0</cx:pt>
          <cx:pt idx="70122">2</cx:pt>
          <cx:pt idx="70123">2</cx:pt>
          <cx:pt idx="70124">1</cx:pt>
          <cx:pt idx="70125">4</cx:pt>
          <cx:pt idx="70126">4</cx:pt>
          <cx:pt idx="70127">2</cx:pt>
          <cx:pt idx="70128">5</cx:pt>
          <cx:pt idx="70129">2</cx:pt>
          <cx:pt idx="70130">1</cx:pt>
          <cx:pt idx="70131">1</cx:pt>
          <cx:pt idx="70132">2</cx:pt>
          <cx:pt idx="70133">2</cx:pt>
          <cx:pt idx="70134">5</cx:pt>
          <cx:pt idx="70135">5</cx:pt>
          <cx:pt idx="70136">4</cx:pt>
          <cx:pt idx="70137">3</cx:pt>
          <cx:pt idx="70138">4</cx:pt>
          <cx:pt idx="70139">4</cx:pt>
          <cx:pt idx="70140">2</cx:pt>
          <cx:pt idx="70141">2</cx:pt>
          <cx:pt idx="70142">4</cx:pt>
          <cx:pt idx="70143">3</cx:pt>
          <cx:pt idx="70144">5</cx:pt>
          <cx:pt idx="70145">2</cx:pt>
          <cx:pt idx="70146">3</cx:pt>
          <cx:pt idx="70147">4</cx:pt>
          <cx:pt idx="70148">0</cx:pt>
          <cx:pt idx="70149">4</cx:pt>
          <cx:pt idx="70150">4</cx:pt>
          <cx:pt idx="70151">1</cx:pt>
          <cx:pt idx="70152">0</cx:pt>
          <cx:pt idx="70153">3</cx:pt>
          <cx:pt idx="70154">3</cx:pt>
          <cx:pt idx="70155">5</cx:pt>
          <cx:pt idx="70156">5</cx:pt>
          <cx:pt idx="70157">4</cx:pt>
          <cx:pt idx="70158">3</cx:pt>
          <cx:pt idx="70159">4</cx:pt>
          <cx:pt idx="70160">1</cx:pt>
          <cx:pt idx="70161">3</cx:pt>
          <cx:pt idx="70162">1</cx:pt>
          <cx:pt idx="70163">5</cx:pt>
          <cx:pt idx="70164">3</cx:pt>
          <cx:pt idx="70165">1</cx:pt>
          <cx:pt idx="70166">4</cx:pt>
          <cx:pt idx="70167">4</cx:pt>
          <cx:pt idx="70168">2</cx:pt>
          <cx:pt idx="70169">3</cx:pt>
          <cx:pt idx="70170">3</cx:pt>
          <cx:pt idx="70171">1</cx:pt>
          <cx:pt idx="70172">4</cx:pt>
          <cx:pt idx="70173">1</cx:pt>
          <cx:pt idx="70174">2</cx:pt>
          <cx:pt idx="70175">4</cx:pt>
          <cx:pt idx="70176">5</cx:pt>
          <cx:pt idx="70177">1</cx:pt>
          <cx:pt idx="70178">2</cx:pt>
          <cx:pt idx="70179">2</cx:pt>
          <cx:pt idx="70180">1</cx:pt>
          <cx:pt idx="70181">2</cx:pt>
          <cx:pt idx="70182">5</cx:pt>
          <cx:pt idx="70183">4</cx:pt>
          <cx:pt idx="70184">3</cx:pt>
          <cx:pt idx="70185">4</cx:pt>
          <cx:pt idx="70186">3</cx:pt>
          <cx:pt idx="70187">1</cx:pt>
          <cx:pt idx="70188">2</cx:pt>
          <cx:pt idx="70189">4</cx:pt>
          <cx:pt idx="70190">3</cx:pt>
          <cx:pt idx="70191">1</cx:pt>
          <cx:pt idx="70192">3</cx:pt>
          <cx:pt idx="70193">3</cx:pt>
          <cx:pt idx="70194">4</cx:pt>
          <cx:pt idx="70195">1</cx:pt>
          <cx:pt idx="70196">1</cx:pt>
          <cx:pt idx="70197">4</cx:pt>
          <cx:pt idx="70198">3</cx:pt>
          <cx:pt idx="70199">2</cx:pt>
          <cx:pt idx="70200">4</cx:pt>
          <cx:pt idx="70201">2</cx:pt>
          <cx:pt idx="70202">2</cx:pt>
          <cx:pt idx="70203">2</cx:pt>
          <cx:pt idx="70204">5</cx:pt>
          <cx:pt idx="70205">3</cx:pt>
          <cx:pt idx="70206">1</cx:pt>
          <cx:pt idx="70207">2</cx:pt>
          <cx:pt idx="70208">4</cx:pt>
          <cx:pt idx="70209">3</cx:pt>
          <cx:pt idx="70210">3</cx:pt>
          <cx:pt idx="70211">3</cx:pt>
          <cx:pt idx="70212">2</cx:pt>
          <cx:pt idx="70213">3</cx:pt>
          <cx:pt idx="70214">3</cx:pt>
          <cx:pt idx="70215">2</cx:pt>
          <cx:pt idx="70216">2</cx:pt>
          <cx:pt idx="70217">4</cx:pt>
          <cx:pt idx="70218">4</cx:pt>
          <cx:pt idx="70219">3</cx:pt>
          <cx:pt idx="70220">0</cx:pt>
          <cx:pt idx="70221">2</cx:pt>
          <cx:pt idx="70222">2</cx:pt>
          <cx:pt idx="70223">2</cx:pt>
          <cx:pt idx="70224">4</cx:pt>
          <cx:pt idx="70225">3</cx:pt>
          <cx:pt idx="70226">4</cx:pt>
          <cx:pt idx="70227">5</cx:pt>
          <cx:pt idx="70228">4</cx:pt>
          <cx:pt idx="70229">2</cx:pt>
          <cx:pt idx="70230">0</cx:pt>
          <cx:pt idx="70231">3</cx:pt>
          <cx:pt idx="70232">1</cx:pt>
          <cx:pt idx="70233">5</cx:pt>
          <cx:pt idx="70234">0</cx:pt>
          <cx:pt idx="70235">2</cx:pt>
          <cx:pt idx="70236">2</cx:pt>
          <cx:pt idx="70237">4</cx:pt>
          <cx:pt idx="70238">3</cx:pt>
          <cx:pt idx="70239">5</cx:pt>
          <cx:pt idx="70240">4</cx:pt>
          <cx:pt idx="70241">3</cx:pt>
          <cx:pt idx="70242">4</cx:pt>
          <cx:pt idx="70243">4</cx:pt>
          <cx:pt idx="70244">2</cx:pt>
          <cx:pt idx="70245">3</cx:pt>
          <cx:pt idx="70246">4</cx:pt>
          <cx:pt idx="70247">2</cx:pt>
          <cx:pt idx="70248">4</cx:pt>
          <cx:pt idx="70249">5</cx:pt>
          <cx:pt idx="70250">1</cx:pt>
          <cx:pt idx="70251">2</cx:pt>
          <cx:pt idx="70252">2</cx:pt>
          <cx:pt idx="70253">5</cx:pt>
          <cx:pt idx="70254">4</cx:pt>
          <cx:pt idx="70255">5</cx:pt>
          <cx:pt idx="70256">4</cx:pt>
          <cx:pt idx="70257">3</cx:pt>
          <cx:pt idx="70258">2</cx:pt>
          <cx:pt idx="70259">3</cx:pt>
          <cx:pt idx="70260">2</cx:pt>
          <cx:pt idx="70261">5</cx:pt>
          <cx:pt idx="70262">1</cx:pt>
          <cx:pt idx="70263">3</cx:pt>
          <cx:pt idx="70264">4</cx:pt>
          <cx:pt idx="70265">5</cx:pt>
          <cx:pt idx="70266">4</cx:pt>
          <cx:pt idx="70267">3</cx:pt>
          <cx:pt idx="70268">3</cx:pt>
          <cx:pt idx="70269">0</cx:pt>
          <cx:pt idx="70270">3</cx:pt>
          <cx:pt idx="70271">4</cx:pt>
          <cx:pt idx="70272">5</cx:pt>
          <cx:pt idx="70273">4</cx:pt>
          <cx:pt idx="70274">1</cx:pt>
          <cx:pt idx="70275">3</cx:pt>
          <cx:pt idx="70276">3</cx:pt>
          <cx:pt idx="70277">2</cx:pt>
          <cx:pt idx="70278">0</cx:pt>
          <cx:pt idx="70279">2</cx:pt>
          <cx:pt idx="70280">4</cx:pt>
          <cx:pt idx="70281">5</cx:pt>
          <cx:pt idx="70282">5</cx:pt>
          <cx:pt idx="70283">1</cx:pt>
          <cx:pt idx="70284">2</cx:pt>
          <cx:pt idx="70285">0</cx:pt>
          <cx:pt idx="70286">0</cx:pt>
          <cx:pt idx="70287">2</cx:pt>
          <cx:pt idx="70288">3</cx:pt>
          <cx:pt idx="70289">2</cx:pt>
          <cx:pt idx="70290">5</cx:pt>
          <cx:pt idx="70291">1</cx:pt>
          <cx:pt idx="70292">2</cx:pt>
          <cx:pt idx="70293">2</cx:pt>
          <cx:pt idx="70294">3</cx:pt>
          <cx:pt idx="70295">2</cx:pt>
          <cx:pt idx="70296">1</cx:pt>
          <cx:pt idx="70297">3</cx:pt>
          <cx:pt idx="70298">3</cx:pt>
          <cx:pt idx="70299">5</cx:pt>
          <cx:pt idx="70300">4</cx:pt>
          <cx:pt idx="70301">2</cx:pt>
          <cx:pt idx="70302">5</cx:pt>
          <cx:pt idx="70303">1</cx:pt>
          <cx:pt idx="70304">2</cx:pt>
          <cx:pt idx="70305">5</cx:pt>
          <cx:pt idx="70306">1</cx:pt>
          <cx:pt idx="70307">2</cx:pt>
          <cx:pt idx="70308">2</cx:pt>
          <cx:pt idx="70309">3</cx:pt>
          <cx:pt idx="70310">3</cx:pt>
          <cx:pt idx="70311">2</cx:pt>
          <cx:pt idx="70312">2</cx:pt>
          <cx:pt idx="70313">4</cx:pt>
          <cx:pt idx="70314">2</cx:pt>
          <cx:pt idx="70315">5</cx:pt>
          <cx:pt idx="70316">3</cx:pt>
          <cx:pt idx="70317">2</cx:pt>
          <cx:pt idx="70318">4</cx:pt>
          <cx:pt idx="70319">5</cx:pt>
          <cx:pt idx="70320">4</cx:pt>
          <cx:pt idx="70321">5</cx:pt>
          <cx:pt idx="70322">5</cx:pt>
          <cx:pt idx="70323">2</cx:pt>
          <cx:pt idx="70324">4</cx:pt>
          <cx:pt idx="70325">2</cx:pt>
          <cx:pt idx="70326">2</cx:pt>
          <cx:pt idx="70327">5</cx:pt>
          <cx:pt idx="70328">3</cx:pt>
          <cx:pt idx="70329">4</cx:pt>
          <cx:pt idx="70330">2</cx:pt>
          <cx:pt idx="70331">3</cx:pt>
          <cx:pt idx="70332">4</cx:pt>
          <cx:pt idx="70333">2</cx:pt>
          <cx:pt idx="70334">5</cx:pt>
          <cx:pt idx="70335">5</cx:pt>
          <cx:pt idx="70336">3</cx:pt>
          <cx:pt idx="70337">3</cx:pt>
          <cx:pt idx="70338">2</cx:pt>
          <cx:pt idx="70339">0</cx:pt>
          <cx:pt idx="70340">1</cx:pt>
          <cx:pt idx="70341">2</cx:pt>
          <cx:pt idx="70342">3</cx:pt>
          <cx:pt idx="70343">3</cx:pt>
          <cx:pt idx="70344">3</cx:pt>
          <cx:pt idx="70345">5</cx:pt>
          <cx:pt idx="70346">3</cx:pt>
          <cx:pt idx="70347">2</cx:pt>
          <cx:pt idx="70348">4</cx:pt>
          <cx:pt idx="70349">5</cx:pt>
          <cx:pt idx="70350">2</cx:pt>
          <cx:pt idx="70351">2</cx:pt>
          <cx:pt idx="70352">4</cx:pt>
          <cx:pt idx="70353">5</cx:pt>
          <cx:pt idx="70354">5</cx:pt>
          <cx:pt idx="70355">2</cx:pt>
          <cx:pt idx="70356">4</cx:pt>
          <cx:pt idx="70357">3</cx:pt>
          <cx:pt idx="70358">2</cx:pt>
          <cx:pt idx="70359">5</cx:pt>
          <cx:pt idx="70360">4</cx:pt>
          <cx:pt idx="70361">5</cx:pt>
          <cx:pt idx="70362">2</cx:pt>
          <cx:pt idx="70363">2</cx:pt>
          <cx:pt idx="70364">3</cx:pt>
          <cx:pt idx="70365">3</cx:pt>
          <cx:pt idx="70366">3</cx:pt>
          <cx:pt idx="70367">1</cx:pt>
          <cx:pt idx="70368">4</cx:pt>
          <cx:pt idx="70369">4</cx:pt>
          <cx:pt idx="70370">2</cx:pt>
          <cx:pt idx="70371">4</cx:pt>
          <cx:pt idx="70372">4</cx:pt>
          <cx:pt idx="70373">1</cx:pt>
          <cx:pt idx="70374">1</cx:pt>
          <cx:pt idx="70375">3</cx:pt>
          <cx:pt idx="70376">4</cx:pt>
          <cx:pt idx="70377">3</cx:pt>
          <cx:pt idx="70378">4</cx:pt>
          <cx:pt idx="70379">1</cx:pt>
          <cx:pt idx="70380">4</cx:pt>
          <cx:pt idx="70381">4</cx:pt>
          <cx:pt idx="70382">4</cx:pt>
          <cx:pt idx="70383">3</cx:pt>
          <cx:pt idx="70384">4</cx:pt>
          <cx:pt idx="70385">0</cx:pt>
          <cx:pt idx="70386">3</cx:pt>
          <cx:pt idx="70387">3</cx:pt>
          <cx:pt idx="70388">3</cx:pt>
          <cx:pt idx="70389">3</cx:pt>
          <cx:pt idx="70390">2</cx:pt>
          <cx:pt idx="70391">2</cx:pt>
          <cx:pt idx="70392">3</cx:pt>
          <cx:pt idx="70393">5</cx:pt>
          <cx:pt idx="70394">3</cx:pt>
          <cx:pt idx="70395">1</cx:pt>
          <cx:pt idx="70396">1</cx:pt>
          <cx:pt idx="70397">5</cx:pt>
          <cx:pt idx="70398">3</cx:pt>
          <cx:pt idx="70399">3</cx:pt>
          <cx:pt idx="70400">3</cx:pt>
          <cx:pt idx="70401">0</cx:pt>
          <cx:pt idx="70402">3</cx:pt>
          <cx:pt idx="70403">4</cx:pt>
          <cx:pt idx="70404">4</cx:pt>
          <cx:pt idx="70405">1</cx:pt>
          <cx:pt idx="70406">1</cx:pt>
          <cx:pt idx="70407">1</cx:pt>
          <cx:pt idx="70408">5</cx:pt>
          <cx:pt idx="70409">1</cx:pt>
          <cx:pt idx="70410">0</cx:pt>
          <cx:pt idx="70411">1</cx:pt>
          <cx:pt idx="70412">3</cx:pt>
          <cx:pt idx="70413">1</cx:pt>
          <cx:pt idx="70414">3</cx:pt>
          <cx:pt idx="70415">5</cx:pt>
          <cx:pt idx="70416">5</cx:pt>
          <cx:pt idx="70417">3</cx:pt>
          <cx:pt idx="70418">1</cx:pt>
          <cx:pt idx="70419">2</cx:pt>
          <cx:pt idx="70420">5</cx:pt>
          <cx:pt idx="70421">2</cx:pt>
          <cx:pt idx="70422">3</cx:pt>
          <cx:pt idx="70423">0</cx:pt>
          <cx:pt idx="70424">4</cx:pt>
          <cx:pt idx="70425">2</cx:pt>
          <cx:pt idx="70426">5</cx:pt>
          <cx:pt idx="70427">3</cx:pt>
          <cx:pt idx="70428">2</cx:pt>
          <cx:pt idx="70429">2</cx:pt>
          <cx:pt idx="70430">5</cx:pt>
          <cx:pt idx="70431">3</cx:pt>
          <cx:pt idx="70432">1</cx:pt>
          <cx:pt idx="70433">1</cx:pt>
          <cx:pt idx="70434">2</cx:pt>
          <cx:pt idx="70435">2</cx:pt>
          <cx:pt idx="70436">4</cx:pt>
          <cx:pt idx="70437">5</cx:pt>
          <cx:pt idx="70438">4</cx:pt>
          <cx:pt idx="70439">4</cx:pt>
          <cx:pt idx="70440">1</cx:pt>
          <cx:pt idx="70441">3</cx:pt>
          <cx:pt idx="70442">2</cx:pt>
          <cx:pt idx="70443">1</cx:pt>
          <cx:pt idx="70444">1</cx:pt>
          <cx:pt idx="70445">4</cx:pt>
          <cx:pt idx="70446">4</cx:pt>
          <cx:pt idx="70447">1</cx:pt>
          <cx:pt idx="70448">3</cx:pt>
          <cx:pt idx="70449">2</cx:pt>
          <cx:pt idx="70450">0</cx:pt>
          <cx:pt idx="70451">2</cx:pt>
          <cx:pt idx="70452">5</cx:pt>
          <cx:pt idx="70453">1</cx:pt>
          <cx:pt idx="70454">2</cx:pt>
          <cx:pt idx="70455">4</cx:pt>
          <cx:pt idx="70456">5</cx:pt>
          <cx:pt idx="70457">5</cx:pt>
          <cx:pt idx="70458">3</cx:pt>
          <cx:pt idx="70459">2</cx:pt>
          <cx:pt idx="70460">1</cx:pt>
          <cx:pt idx="70461">4</cx:pt>
          <cx:pt idx="70462">3</cx:pt>
          <cx:pt idx="70463">3</cx:pt>
          <cx:pt idx="70464">2</cx:pt>
          <cx:pt idx="70465">3</cx:pt>
          <cx:pt idx="70466">0</cx:pt>
          <cx:pt idx="70467">1</cx:pt>
          <cx:pt idx="70468">2</cx:pt>
          <cx:pt idx="70469">3</cx:pt>
          <cx:pt idx="70470">2</cx:pt>
          <cx:pt idx="70471">3</cx:pt>
          <cx:pt idx="70472">3</cx:pt>
          <cx:pt idx="70473">4</cx:pt>
          <cx:pt idx="70474">3</cx:pt>
          <cx:pt idx="70475">0</cx:pt>
          <cx:pt idx="70476">2</cx:pt>
          <cx:pt idx="70477">2</cx:pt>
          <cx:pt idx="70478">5</cx:pt>
          <cx:pt idx="70479">3</cx:pt>
          <cx:pt idx="70480">2</cx:pt>
          <cx:pt idx="70481">2</cx:pt>
          <cx:pt idx="70482">2</cx:pt>
          <cx:pt idx="70483">4</cx:pt>
          <cx:pt idx="70484">2</cx:pt>
          <cx:pt idx="70485">2</cx:pt>
          <cx:pt idx="70486">3</cx:pt>
          <cx:pt idx="70487">5</cx:pt>
          <cx:pt idx="70488">3</cx:pt>
          <cx:pt idx="70489">2</cx:pt>
          <cx:pt idx="70490">4</cx:pt>
          <cx:pt idx="70491">3</cx:pt>
          <cx:pt idx="70492">5</cx:pt>
          <cx:pt idx="70493">4</cx:pt>
          <cx:pt idx="70494">1</cx:pt>
          <cx:pt idx="70495">1</cx:pt>
          <cx:pt idx="70496">5</cx:pt>
          <cx:pt idx="70497">2</cx:pt>
          <cx:pt idx="70498">2</cx:pt>
          <cx:pt idx="70499">1</cx:pt>
          <cx:pt idx="70500">4</cx:pt>
          <cx:pt idx="70501">2</cx:pt>
          <cx:pt idx="70502">0</cx:pt>
          <cx:pt idx="70503">3</cx:pt>
          <cx:pt idx="70504">1</cx:pt>
          <cx:pt idx="70505">2</cx:pt>
          <cx:pt idx="70506">3</cx:pt>
          <cx:pt idx="70507">3</cx:pt>
          <cx:pt idx="70508">3</cx:pt>
          <cx:pt idx="70509">0</cx:pt>
          <cx:pt idx="70510">3</cx:pt>
          <cx:pt idx="70511">3</cx:pt>
          <cx:pt idx="70512">4</cx:pt>
          <cx:pt idx="70513">5</cx:pt>
          <cx:pt idx="70514">2</cx:pt>
          <cx:pt idx="70515">3</cx:pt>
          <cx:pt idx="70516">3</cx:pt>
          <cx:pt idx="70517">3</cx:pt>
          <cx:pt idx="70518">4</cx:pt>
          <cx:pt idx="70519">4</cx:pt>
          <cx:pt idx="70520">5</cx:pt>
          <cx:pt idx="70521">1</cx:pt>
          <cx:pt idx="70522">3</cx:pt>
          <cx:pt idx="70523">2</cx:pt>
          <cx:pt idx="70524">3</cx:pt>
          <cx:pt idx="70525">3</cx:pt>
          <cx:pt idx="70526">3</cx:pt>
          <cx:pt idx="70527">2</cx:pt>
          <cx:pt idx="70528">2</cx:pt>
          <cx:pt idx="70529">3</cx:pt>
          <cx:pt idx="70530">5</cx:pt>
          <cx:pt idx="70531">3</cx:pt>
          <cx:pt idx="70532">3</cx:pt>
          <cx:pt idx="70533">1</cx:pt>
          <cx:pt idx="70534">2</cx:pt>
          <cx:pt idx="70535">5</cx:pt>
          <cx:pt idx="70536">1</cx:pt>
          <cx:pt idx="70537">2</cx:pt>
          <cx:pt idx="70538">2</cx:pt>
          <cx:pt idx="70539">2</cx:pt>
          <cx:pt idx="70540">5</cx:pt>
          <cx:pt idx="70541">3</cx:pt>
          <cx:pt idx="70542">4</cx:pt>
          <cx:pt idx="70543">2</cx:pt>
          <cx:pt idx="70544">2</cx:pt>
          <cx:pt idx="70545">4</cx:pt>
          <cx:pt idx="70546">5</cx:pt>
          <cx:pt idx="70547">3</cx:pt>
          <cx:pt idx="70548">2</cx:pt>
          <cx:pt idx="70549">1</cx:pt>
          <cx:pt idx="70550">5</cx:pt>
          <cx:pt idx="70551">2</cx:pt>
          <cx:pt idx="70552">5</cx:pt>
          <cx:pt idx="70553">0</cx:pt>
          <cx:pt idx="70554">3</cx:pt>
          <cx:pt idx="70555">3</cx:pt>
          <cx:pt idx="70556">3</cx:pt>
          <cx:pt idx="70557">2</cx:pt>
          <cx:pt idx="70558">5</cx:pt>
          <cx:pt idx="70559">4</cx:pt>
          <cx:pt idx="70560">4</cx:pt>
          <cx:pt idx="70561">3</cx:pt>
          <cx:pt idx="70562">2</cx:pt>
          <cx:pt idx="70563">3</cx:pt>
          <cx:pt idx="70564">4</cx:pt>
          <cx:pt idx="70565">4</cx:pt>
          <cx:pt idx="70566">2</cx:pt>
          <cx:pt idx="70567">5</cx:pt>
          <cx:pt idx="70568">2</cx:pt>
          <cx:pt idx="70569">3</cx:pt>
          <cx:pt idx="70570">3</cx:pt>
          <cx:pt idx="70571">2</cx:pt>
          <cx:pt idx="70572">4</cx:pt>
          <cx:pt idx="70573">5</cx:pt>
          <cx:pt idx="70574">3</cx:pt>
          <cx:pt idx="70575">4</cx:pt>
          <cx:pt idx="70576">4</cx:pt>
          <cx:pt idx="70577">1</cx:pt>
          <cx:pt idx="70578">4</cx:pt>
          <cx:pt idx="70579">3</cx:pt>
          <cx:pt idx="70580">0</cx:pt>
          <cx:pt idx="70581">3</cx:pt>
          <cx:pt idx="70582">1</cx:pt>
          <cx:pt idx="70583">2</cx:pt>
          <cx:pt idx="70584">3</cx:pt>
          <cx:pt idx="70585">1</cx:pt>
          <cx:pt idx="70586">1</cx:pt>
          <cx:pt idx="70587">4</cx:pt>
          <cx:pt idx="70588">4</cx:pt>
          <cx:pt idx="70589">5</cx:pt>
          <cx:pt idx="70590">2</cx:pt>
          <cx:pt idx="70591">3</cx:pt>
          <cx:pt idx="70592">1</cx:pt>
          <cx:pt idx="70593">5</cx:pt>
          <cx:pt idx="70594">2</cx:pt>
          <cx:pt idx="70595">5</cx:pt>
          <cx:pt idx="70596">2</cx:pt>
          <cx:pt idx="70597">2</cx:pt>
          <cx:pt idx="70598">3</cx:pt>
          <cx:pt idx="70599">2</cx:pt>
          <cx:pt idx="70600">2</cx:pt>
          <cx:pt idx="70601">3</cx:pt>
          <cx:pt idx="70602">4</cx:pt>
          <cx:pt idx="70603">5</cx:pt>
          <cx:pt idx="70604">3</cx:pt>
          <cx:pt idx="70605">1</cx:pt>
          <cx:pt idx="70606">4</cx:pt>
          <cx:pt idx="70607">5</cx:pt>
          <cx:pt idx="70608">5</cx:pt>
          <cx:pt idx="70609">2</cx:pt>
          <cx:pt idx="70610">0</cx:pt>
          <cx:pt idx="70611">5</cx:pt>
          <cx:pt idx="70612">4</cx:pt>
          <cx:pt idx="70613">1</cx:pt>
          <cx:pt idx="70614">1</cx:pt>
          <cx:pt idx="70615">1</cx:pt>
          <cx:pt idx="70616">3</cx:pt>
          <cx:pt idx="70617">3</cx:pt>
          <cx:pt idx="70618">3</cx:pt>
          <cx:pt idx="70619">1</cx:pt>
          <cx:pt idx="70620">1</cx:pt>
          <cx:pt idx="70621">5</cx:pt>
          <cx:pt idx="70622">2</cx:pt>
          <cx:pt idx="70623">1</cx:pt>
          <cx:pt idx="70624">3</cx:pt>
          <cx:pt idx="70625">2</cx:pt>
          <cx:pt idx="70626">3</cx:pt>
          <cx:pt idx="70627">1</cx:pt>
          <cx:pt idx="70628">1</cx:pt>
          <cx:pt idx="70629">3</cx:pt>
          <cx:pt idx="70630">4</cx:pt>
          <cx:pt idx="70631">3</cx:pt>
          <cx:pt idx="70632">4</cx:pt>
          <cx:pt idx="70633">0</cx:pt>
          <cx:pt idx="70634">3</cx:pt>
          <cx:pt idx="70635">2</cx:pt>
          <cx:pt idx="70636">3</cx:pt>
          <cx:pt idx="70637">5</cx:pt>
          <cx:pt idx="70638">0</cx:pt>
          <cx:pt idx="70639">3</cx:pt>
          <cx:pt idx="70640">3</cx:pt>
          <cx:pt idx="70641">3</cx:pt>
          <cx:pt idx="70642">0</cx:pt>
          <cx:pt idx="70643">5</cx:pt>
          <cx:pt idx="70644">5</cx:pt>
          <cx:pt idx="70645">2</cx:pt>
          <cx:pt idx="70646">1</cx:pt>
          <cx:pt idx="70647">4</cx:pt>
          <cx:pt idx="70648">2</cx:pt>
          <cx:pt idx="70649">4</cx:pt>
          <cx:pt idx="70650">4</cx:pt>
          <cx:pt idx="70651">3</cx:pt>
          <cx:pt idx="70652">4</cx:pt>
          <cx:pt idx="70653">4</cx:pt>
          <cx:pt idx="70654">1</cx:pt>
          <cx:pt idx="70655">4</cx:pt>
          <cx:pt idx="70656">5</cx:pt>
          <cx:pt idx="70657">2</cx:pt>
          <cx:pt idx="70658">3</cx:pt>
          <cx:pt idx="70659">2</cx:pt>
          <cx:pt idx="70660">1</cx:pt>
          <cx:pt idx="70661">5</cx:pt>
          <cx:pt idx="70662">4</cx:pt>
          <cx:pt idx="70663">1</cx:pt>
          <cx:pt idx="70664">3</cx:pt>
          <cx:pt idx="70665">4</cx:pt>
          <cx:pt idx="70666">4</cx:pt>
          <cx:pt idx="70667">3</cx:pt>
          <cx:pt idx="70668">5</cx:pt>
          <cx:pt idx="70669">1</cx:pt>
          <cx:pt idx="70670">2</cx:pt>
          <cx:pt idx="70671">3</cx:pt>
          <cx:pt idx="70672">3</cx:pt>
          <cx:pt idx="70673">1</cx:pt>
          <cx:pt idx="70674">5</cx:pt>
          <cx:pt idx="70675">4</cx:pt>
          <cx:pt idx="70676">1</cx:pt>
          <cx:pt idx="70677">3</cx:pt>
          <cx:pt idx="70678">1</cx:pt>
          <cx:pt idx="70679">2</cx:pt>
          <cx:pt idx="70680">4</cx:pt>
          <cx:pt idx="70681">4</cx:pt>
          <cx:pt idx="70682">2</cx:pt>
          <cx:pt idx="70683">0</cx:pt>
          <cx:pt idx="70684">1</cx:pt>
          <cx:pt idx="70685">5</cx:pt>
          <cx:pt idx="70686">1</cx:pt>
          <cx:pt idx="70687">3</cx:pt>
          <cx:pt idx="70688">5</cx:pt>
          <cx:pt idx="70689">4</cx:pt>
          <cx:pt idx="70690">3</cx:pt>
          <cx:pt idx="70691">0</cx:pt>
          <cx:pt idx="70692">4</cx:pt>
          <cx:pt idx="70693">5</cx:pt>
          <cx:pt idx="70694">2</cx:pt>
          <cx:pt idx="70695">3</cx:pt>
          <cx:pt idx="70696">5</cx:pt>
          <cx:pt idx="70697">0</cx:pt>
          <cx:pt idx="70698">3</cx:pt>
          <cx:pt idx="70699">5</cx:pt>
          <cx:pt idx="70700">1</cx:pt>
          <cx:pt idx="70701">1</cx:pt>
          <cx:pt idx="70702">3</cx:pt>
          <cx:pt idx="70703">2</cx:pt>
          <cx:pt idx="70704">1</cx:pt>
          <cx:pt idx="70705">3</cx:pt>
          <cx:pt idx="70706">1</cx:pt>
          <cx:pt idx="70707">0</cx:pt>
          <cx:pt idx="70708">2</cx:pt>
          <cx:pt idx="70709">4</cx:pt>
          <cx:pt idx="70710">3</cx:pt>
          <cx:pt idx="70711">3</cx:pt>
          <cx:pt idx="70712">1</cx:pt>
          <cx:pt idx="70713">3</cx:pt>
          <cx:pt idx="70714">3</cx:pt>
          <cx:pt idx="70715">1</cx:pt>
          <cx:pt idx="70716">1</cx:pt>
          <cx:pt idx="70717">3</cx:pt>
          <cx:pt idx="70718">2</cx:pt>
          <cx:pt idx="70719">2</cx:pt>
          <cx:pt idx="70720">3</cx:pt>
          <cx:pt idx="70721">4</cx:pt>
          <cx:pt idx="70722">1</cx:pt>
          <cx:pt idx="70723">5</cx:pt>
          <cx:pt idx="70724">0</cx:pt>
          <cx:pt idx="70725">2</cx:pt>
          <cx:pt idx="70726">1</cx:pt>
          <cx:pt idx="70727">1</cx:pt>
          <cx:pt idx="70728">4</cx:pt>
          <cx:pt idx="70729">4</cx:pt>
          <cx:pt idx="70730">2</cx:pt>
          <cx:pt idx="70731">5</cx:pt>
          <cx:pt idx="70732">2</cx:pt>
          <cx:pt idx="70733">3</cx:pt>
          <cx:pt idx="70734">2</cx:pt>
          <cx:pt idx="70735">5</cx:pt>
          <cx:pt idx="70736">2</cx:pt>
          <cx:pt idx="70737">5</cx:pt>
          <cx:pt idx="70738">2</cx:pt>
          <cx:pt idx="70739">5</cx:pt>
          <cx:pt idx="70740">3</cx:pt>
          <cx:pt idx="70741">2</cx:pt>
          <cx:pt idx="70742">2</cx:pt>
          <cx:pt idx="70743">2</cx:pt>
          <cx:pt idx="70744">3</cx:pt>
          <cx:pt idx="70745">1</cx:pt>
          <cx:pt idx="70746">2</cx:pt>
          <cx:pt idx="70747">2</cx:pt>
          <cx:pt idx="70748">1</cx:pt>
          <cx:pt idx="70749">2</cx:pt>
          <cx:pt idx="70750">0</cx:pt>
          <cx:pt idx="70751">5</cx:pt>
          <cx:pt idx="70752">3</cx:pt>
          <cx:pt idx="70753">2</cx:pt>
          <cx:pt idx="70754">4</cx:pt>
          <cx:pt idx="70755">4</cx:pt>
          <cx:pt idx="70756">1</cx:pt>
          <cx:pt idx="70757">2</cx:pt>
          <cx:pt idx="70758">0</cx:pt>
          <cx:pt idx="70759">1</cx:pt>
          <cx:pt idx="70760">2</cx:pt>
          <cx:pt idx="70761">3</cx:pt>
          <cx:pt idx="70762">4</cx:pt>
          <cx:pt idx="70763">1</cx:pt>
          <cx:pt idx="70764">5</cx:pt>
          <cx:pt idx="70765">3</cx:pt>
          <cx:pt idx="70766">3</cx:pt>
          <cx:pt idx="70767">4</cx:pt>
          <cx:pt idx="70768">3</cx:pt>
          <cx:pt idx="70769">5</cx:pt>
          <cx:pt idx="70770">3</cx:pt>
          <cx:pt idx="70771">4</cx:pt>
          <cx:pt idx="70772">2</cx:pt>
          <cx:pt idx="70773">2</cx:pt>
          <cx:pt idx="70774">5</cx:pt>
          <cx:pt idx="70775">2</cx:pt>
          <cx:pt idx="70776">4</cx:pt>
          <cx:pt idx="70777">3</cx:pt>
          <cx:pt idx="70778">3</cx:pt>
          <cx:pt idx="70779">4</cx:pt>
          <cx:pt idx="70780">4</cx:pt>
          <cx:pt idx="70781">4</cx:pt>
          <cx:pt idx="70782">1</cx:pt>
          <cx:pt idx="70783">4</cx:pt>
          <cx:pt idx="70784">1</cx:pt>
          <cx:pt idx="70785">1</cx:pt>
          <cx:pt idx="70786">4</cx:pt>
          <cx:pt idx="70787">2</cx:pt>
          <cx:pt idx="70788">1</cx:pt>
          <cx:pt idx="70789">4</cx:pt>
          <cx:pt idx="70790">2</cx:pt>
          <cx:pt idx="70791">4</cx:pt>
          <cx:pt idx="70792">1</cx:pt>
          <cx:pt idx="70793">4</cx:pt>
          <cx:pt idx="70794">4</cx:pt>
          <cx:pt idx="70795">5</cx:pt>
          <cx:pt idx="70796">2</cx:pt>
          <cx:pt idx="70797">3</cx:pt>
          <cx:pt idx="70798">3</cx:pt>
          <cx:pt idx="70799">4</cx:pt>
          <cx:pt idx="70800">1</cx:pt>
          <cx:pt idx="70801">4</cx:pt>
          <cx:pt idx="70802">2</cx:pt>
          <cx:pt idx="70803">3</cx:pt>
          <cx:pt idx="70804">1</cx:pt>
          <cx:pt idx="70805">2</cx:pt>
          <cx:pt idx="70806">2</cx:pt>
          <cx:pt idx="70807">3</cx:pt>
          <cx:pt idx="70808">5</cx:pt>
          <cx:pt idx="70809">5</cx:pt>
          <cx:pt idx="70810">2</cx:pt>
          <cx:pt idx="70811">1</cx:pt>
          <cx:pt idx="70812">5</cx:pt>
          <cx:pt idx="70813">1</cx:pt>
          <cx:pt idx="70814">4</cx:pt>
          <cx:pt idx="70815">5</cx:pt>
          <cx:pt idx="70816">4</cx:pt>
          <cx:pt idx="70817">4</cx:pt>
          <cx:pt idx="70818">3</cx:pt>
          <cx:pt idx="70819">4</cx:pt>
          <cx:pt idx="70820">4</cx:pt>
          <cx:pt idx="70821">2</cx:pt>
          <cx:pt idx="70822">2</cx:pt>
          <cx:pt idx="70823">2</cx:pt>
          <cx:pt idx="70824">5</cx:pt>
          <cx:pt idx="70825">5</cx:pt>
          <cx:pt idx="70826">1</cx:pt>
          <cx:pt idx="70827">5</cx:pt>
          <cx:pt idx="70828">5</cx:pt>
          <cx:pt idx="70829">2</cx:pt>
          <cx:pt idx="70830">5</cx:pt>
          <cx:pt idx="70831">3</cx:pt>
          <cx:pt idx="70832">2</cx:pt>
          <cx:pt idx="70833">0</cx:pt>
          <cx:pt idx="70834">1</cx:pt>
          <cx:pt idx="70835">2</cx:pt>
          <cx:pt idx="70836">0</cx:pt>
          <cx:pt idx="70837">4</cx:pt>
          <cx:pt idx="70838">4</cx:pt>
          <cx:pt idx="70839">2</cx:pt>
          <cx:pt idx="70840">2</cx:pt>
          <cx:pt idx="70841">5</cx:pt>
          <cx:pt idx="70842">1</cx:pt>
          <cx:pt idx="70843">2</cx:pt>
          <cx:pt idx="70844">4</cx:pt>
          <cx:pt idx="70845">2</cx:pt>
          <cx:pt idx="70846">4</cx:pt>
          <cx:pt idx="70847">3</cx:pt>
          <cx:pt idx="70848">2</cx:pt>
          <cx:pt idx="70849">4</cx:pt>
          <cx:pt idx="70850">5</cx:pt>
          <cx:pt idx="70851">3</cx:pt>
          <cx:pt idx="70852">2</cx:pt>
          <cx:pt idx="70853">4</cx:pt>
          <cx:pt idx="70854">2</cx:pt>
          <cx:pt idx="70855">1</cx:pt>
          <cx:pt idx="70856">3</cx:pt>
          <cx:pt idx="70857">2</cx:pt>
          <cx:pt idx="70858">4</cx:pt>
          <cx:pt idx="70859">5</cx:pt>
          <cx:pt idx="70860">4</cx:pt>
          <cx:pt idx="70861">2</cx:pt>
          <cx:pt idx="70862">3</cx:pt>
          <cx:pt idx="70863">5</cx:pt>
          <cx:pt idx="70864">2</cx:pt>
          <cx:pt idx="70865">1</cx:pt>
          <cx:pt idx="70866">2</cx:pt>
          <cx:pt idx="70867">3</cx:pt>
          <cx:pt idx="70868">2</cx:pt>
          <cx:pt idx="70869">4</cx:pt>
          <cx:pt idx="70870">2</cx:pt>
          <cx:pt idx="70871">0</cx:pt>
          <cx:pt idx="70872">3</cx:pt>
          <cx:pt idx="70873">2</cx:pt>
          <cx:pt idx="70874">2</cx:pt>
          <cx:pt idx="70875">1</cx:pt>
          <cx:pt idx="70876">2</cx:pt>
          <cx:pt idx="70877">1</cx:pt>
          <cx:pt idx="70878">0</cx:pt>
          <cx:pt idx="70879">2</cx:pt>
          <cx:pt idx="70880">4</cx:pt>
          <cx:pt idx="70881">3</cx:pt>
          <cx:pt idx="70882">4</cx:pt>
          <cx:pt idx="70883">1</cx:pt>
          <cx:pt idx="70884">4</cx:pt>
          <cx:pt idx="70885">4</cx:pt>
          <cx:pt idx="70886">2</cx:pt>
          <cx:pt idx="70887">2</cx:pt>
          <cx:pt idx="70888">3</cx:pt>
          <cx:pt idx="70889">5</cx:pt>
          <cx:pt idx="70890">4</cx:pt>
          <cx:pt idx="70891">2</cx:pt>
          <cx:pt idx="70892">2</cx:pt>
          <cx:pt idx="70893">1</cx:pt>
          <cx:pt idx="70894">4</cx:pt>
          <cx:pt idx="70895">2</cx:pt>
          <cx:pt idx="70896">2</cx:pt>
          <cx:pt idx="70897">5</cx:pt>
          <cx:pt idx="70898">2</cx:pt>
          <cx:pt idx="70899">2</cx:pt>
          <cx:pt idx="70900">3</cx:pt>
          <cx:pt idx="70901">1</cx:pt>
          <cx:pt idx="70902">2</cx:pt>
          <cx:pt idx="70903">1</cx:pt>
          <cx:pt idx="70904">5</cx:pt>
          <cx:pt idx="70905">3</cx:pt>
          <cx:pt idx="70906">4</cx:pt>
          <cx:pt idx="70907">3</cx:pt>
          <cx:pt idx="70908">2</cx:pt>
          <cx:pt idx="70909">3</cx:pt>
          <cx:pt idx="70910">2</cx:pt>
          <cx:pt idx="70911">1</cx:pt>
          <cx:pt idx="70912">1</cx:pt>
          <cx:pt idx="70913">2</cx:pt>
          <cx:pt idx="70914">5</cx:pt>
          <cx:pt idx="70915">1</cx:pt>
          <cx:pt idx="70916">4</cx:pt>
          <cx:pt idx="70917">3</cx:pt>
          <cx:pt idx="70918">4</cx:pt>
          <cx:pt idx="70919">2</cx:pt>
          <cx:pt idx="70920">0</cx:pt>
          <cx:pt idx="70921">3</cx:pt>
          <cx:pt idx="70922">2</cx:pt>
          <cx:pt idx="70923">2</cx:pt>
          <cx:pt idx="70924">4</cx:pt>
          <cx:pt idx="70925">1</cx:pt>
          <cx:pt idx="70926">5</cx:pt>
          <cx:pt idx="70927">4</cx:pt>
          <cx:pt idx="70928">4</cx:pt>
          <cx:pt idx="70929">4</cx:pt>
          <cx:pt idx="70930">3</cx:pt>
          <cx:pt idx="70931">5</cx:pt>
          <cx:pt idx="70932">5</cx:pt>
          <cx:pt idx="70933">5</cx:pt>
          <cx:pt idx="70934">5</cx:pt>
          <cx:pt idx="70935">3</cx:pt>
          <cx:pt idx="70936">3</cx:pt>
          <cx:pt idx="70937">1</cx:pt>
          <cx:pt idx="70938">3</cx:pt>
          <cx:pt idx="70939">3</cx:pt>
          <cx:pt idx="70940">4</cx:pt>
          <cx:pt idx="70941">5</cx:pt>
          <cx:pt idx="70942">3</cx:pt>
          <cx:pt idx="70943">3</cx:pt>
          <cx:pt idx="70944">4</cx:pt>
          <cx:pt idx="70945">2</cx:pt>
          <cx:pt idx="70946">4</cx:pt>
          <cx:pt idx="70947">3</cx:pt>
          <cx:pt idx="70948">1</cx:pt>
          <cx:pt idx="70949">3</cx:pt>
          <cx:pt idx="70950">2</cx:pt>
          <cx:pt idx="70951">0</cx:pt>
          <cx:pt idx="70952">1</cx:pt>
          <cx:pt idx="70953">4</cx:pt>
          <cx:pt idx="70954">3</cx:pt>
          <cx:pt idx="70955">3</cx:pt>
          <cx:pt idx="70956">3</cx:pt>
          <cx:pt idx="70957">3</cx:pt>
          <cx:pt idx="70958">1</cx:pt>
          <cx:pt idx="70959">2</cx:pt>
          <cx:pt idx="70960">0</cx:pt>
          <cx:pt idx="70961">2</cx:pt>
          <cx:pt idx="70962">5</cx:pt>
          <cx:pt idx="70963">2</cx:pt>
          <cx:pt idx="70964">2</cx:pt>
          <cx:pt idx="70965">4</cx:pt>
          <cx:pt idx="70966">3</cx:pt>
          <cx:pt idx="70967">2</cx:pt>
          <cx:pt idx="70968">5</cx:pt>
          <cx:pt idx="70969">2</cx:pt>
          <cx:pt idx="70970">5</cx:pt>
          <cx:pt idx="70971">1</cx:pt>
          <cx:pt idx="70972">1</cx:pt>
          <cx:pt idx="70973">4</cx:pt>
          <cx:pt idx="70974">4</cx:pt>
          <cx:pt idx="70975">1</cx:pt>
          <cx:pt idx="70976">2</cx:pt>
          <cx:pt idx="70977">3</cx:pt>
          <cx:pt idx="70978">1</cx:pt>
          <cx:pt idx="70979">5</cx:pt>
          <cx:pt idx="70980">4</cx:pt>
          <cx:pt idx="70981">0</cx:pt>
          <cx:pt idx="70982">2</cx:pt>
          <cx:pt idx="70983">4</cx:pt>
          <cx:pt idx="70984">1</cx:pt>
          <cx:pt idx="70985">4</cx:pt>
          <cx:pt idx="70986">3</cx:pt>
          <cx:pt idx="70987">2</cx:pt>
          <cx:pt idx="70988">4</cx:pt>
          <cx:pt idx="70989">3</cx:pt>
          <cx:pt idx="70990">1</cx:pt>
          <cx:pt idx="70991">4</cx:pt>
          <cx:pt idx="70992">2</cx:pt>
          <cx:pt idx="70993">2</cx:pt>
          <cx:pt idx="70994">3</cx:pt>
          <cx:pt idx="70995">4</cx:pt>
          <cx:pt idx="70996">2</cx:pt>
          <cx:pt idx="70997">5</cx:pt>
          <cx:pt idx="70998">5</cx:pt>
          <cx:pt idx="70999">3</cx:pt>
          <cx:pt idx="71000">0</cx:pt>
          <cx:pt idx="71001">5</cx:pt>
          <cx:pt idx="71002">3</cx:pt>
          <cx:pt idx="71003">5</cx:pt>
          <cx:pt idx="71004">0</cx:pt>
          <cx:pt idx="71005">5</cx:pt>
          <cx:pt idx="71006">5</cx:pt>
          <cx:pt idx="71007">3</cx:pt>
          <cx:pt idx="71008">5</cx:pt>
          <cx:pt idx="71009">4</cx:pt>
          <cx:pt idx="71010">2</cx:pt>
          <cx:pt idx="71011">2</cx:pt>
          <cx:pt idx="71012">1</cx:pt>
          <cx:pt idx="71013">4</cx:pt>
          <cx:pt idx="71014">3</cx:pt>
          <cx:pt idx="71015">3</cx:pt>
          <cx:pt idx="71016">2</cx:pt>
          <cx:pt idx="71017">2</cx:pt>
          <cx:pt idx="71018">2</cx:pt>
          <cx:pt idx="71019">2</cx:pt>
          <cx:pt idx="71020">4</cx:pt>
          <cx:pt idx="71021">4</cx:pt>
          <cx:pt idx="71022">2</cx:pt>
          <cx:pt idx="71023">4</cx:pt>
          <cx:pt idx="71024">1</cx:pt>
          <cx:pt idx="71025">3</cx:pt>
          <cx:pt idx="71026">2</cx:pt>
          <cx:pt idx="71027">5</cx:pt>
          <cx:pt idx="71028">0</cx:pt>
          <cx:pt idx="71029">2</cx:pt>
          <cx:pt idx="71030">1</cx:pt>
          <cx:pt idx="71031">2</cx:pt>
          <cx:pt idx="71032">5</cx:pt>
          <cx:pt idx="71033">2</cx:pt>
          <cx:pt idx="71034">0</cx:pt>
          <cx:pt idx="71035">3</cx:pt>
          <cx:pt idx="71036">3</cx:pt>
          <cx:pt idx="71037">1</cx:pt>
          <cx:pt idx="71038">2</cx:pt>
          <cx:pt idx="71039">5</cx:pt>
          <cx:pt idx="71040">1</cx:pt>
          <cx:pt idx="71041">5</cx:pt>
          <cx:pt idx="71042">3</cx:pt>
          <cx:pt idx="71043">3</cx:pt>
          <cx:pt idx="71044">1</cx:pt>
          <cx:pt idx="71045">4</cx:pt>
          <cx:pt idx="71046">3</cx:pt>
          <cx:pt idx="71047">5</cx:pt>
          <cx:pt idx="71048">5</cx:pt>
          <cx:pt idx="71049">1</cx:pt>
          <cx:pt idx="71050">4</cx:pt>
          <cx:pt idx="71051">4</cx:pt>
          <cx:pt idx="71052">5</cx:pt>
          <cx:pt idx="71053">3</cx:pt>
          <cx:pt idx="71054">0</cx:pt>
          <cx:pt idx="71055">4</cx:pt>
          <cx:pt idx="71056">3</cx:pt>
          <cx:pt idx="71057">3</cx:pt>
          <cx:pt idx="71058">2</cx:pt>
          <cx:pt idx="71059">2</cx:pt>
          <cx:pt idx="71060">0</cx:pt>
          <cx:pt idx="71061">4</cx:pt>
          <cx:pt idx="71062">2</cx:pt>
          <cx:pt idx="71063">4</cx:pt>
          <cx:pt idx="71064">0</cx:pt>
          <cx:pt idx="71065">3</cx:pt>
          <cx:pt idx="71066">4</cx:pt>
          <cx:pt idx="71067">3</cx:pt>
          <cx:pt idx="71068">5</cx:pt>
          <cx:pt idx="71069">2</cx:pt>
          <cx:pt idx="71070">5</cx:pt>
          <cx:pt idx="71071">1</cx:pt>
          <cx:pt idx="71072">4</cx:pt>
          <cx:pt idx="71073">4</cx:pt>
          <cx:pt idx="71074">2</cx:pt>
          <cx:pt idx="71075">2</cx:pt>
          <cx:pt idx="71076">2</cx:pt>
          <cx:pt idx="71077">3</cx:pt>
          <cx:pt idx="71078">1</cx:pt>
          <cx:pt idx="71079">2</cx:pt>
          <cx:pt idx="71080">3</cx:pt>
          <cx:pt idx="71081">3</cx:pt>
          <cx:pt idx="71082">4</cx:pt>
          <cx:pt idx="71083">4</cx:pt>
          <cx:pt idx="71084">1</cx:pt>
          <cx:pt idx="71085">4</cx:pt>
          <cx:pt idx="71086">2</cx:pt>
          <cx:pt idx="71087">4</cx:pt>
          <cx:pt idx="71088">3</cx:pt>
          <cx:pt idx="71089">3</cx:pt>
          <cx:pt idx="71090">2</cx:pt>
          <cx:pt idx="71091">1</cx:pt>
          <cx:pt idx="71092">4</cx:pt>
          <cx:pt idx="71093">5</cx:pt>
          <cx:pt idx="71094">5</cx:pt>
          <cx:pt idx="71095">2</cx:pt>
          <cx:pt idx="71096">5</cx:pt>
          <cx:pt idx="71097">3</cx:pt>
          <cx:pt idx="71098">2</cx:pt>
          <cx:pt idx="71099">5</cx:pt>
          <cx:pt idx="71100">5</cx:pt>
          <cx:pt idx="71101">5</cx:pt>
          <cx:pt idx="71102">0</cx:pt>
          <cx:pt idx="71103">5</cx:pt>
          <cx:pt idx="71104">5</cx:pt>
          <cx:pt idx="71105">4</cx:pt>
          <cx:pt idx="71106">5</cx:pt>
          <cx:pt idx="71107">3</cx:pt>
          <cx:pt idx="71108">2</cx:pt>
          <cx:pt idx="71109">2</cx:pt>
          <cx:pt idx="71110">5</cx:pt>
          <cx:pt idx="71111">4</cx:pt>
          <cx:pt idx="71112">3</cx:pt>
          <cx:pt idx="71113">4</cx:pt>
          <cx:pt idx="71114">1</cx:pt>
          <cx:pt idx="71115">5</cx:pt>
          <cx:pt idx="71116">3</cx:pt>
          <cx:pt idx="71117">4</cx:pt>
          <cx:pt idx="71118">1</cx:pt>
          <cx:pt idx="71119">2</cx:pt>
          <cx:pt idx="71120">1</cx:pt>
          <cx:pt idx="71121">0</cx:pt>
          <cx:pt idx="71122">3</cx:pt>
          <cx:pt idx="71123">4</cx:pt>
          <cx:pt idx="71124">2</cx:pt>
          <cx:pt idx="71125">4</cx:pt>
          <cx:pt idx="71126">3</cx:pt>
          <cx:pt idx="71127">4</cx:pt>
          <cx:pt idx="71128">1</cx:pt>
          <cx:pt idx="71129">2</cx:pt>
          <cx:pt idx="71130">4</cx:pt>
          <cx:pt idx="71131">5</cx:pt>
          <cx:pt idx="71132">5</cx:pt>
          <cx:pt idx="71133">1</cx:pt>
          <cx:pt idx="71134">1</cx:pt>
          <cx:pt idx="71135">5</cx:pt>
          <cx:pt idx="71136">5</cx:pt>
          <cx:pt idx="71137">0</cx:pt>
          <cx:pt idx="71138">3</cx:pt>
          <cx:pt idx="71139">4</cx:pt>
          <cx:pt idx="71140">1</cx:pt>
          <cx:pt idx="71141">3</cx:pt>
          <cx:pt idx="71142">5</cx:pt>
          <cx:pt idx="71143">2</cx:pt>
          <cx:pt idx="71144">5</cx:pt>
          <cx:pt idx="71145">4</cx:pt>
          <cx:pt idx="71146">4</cx:pt>
          <cx:pt idx="71147">1</cx:pt>
          <cx:pt idx="71148">4</cx:pt>
          <cx:pt idx="71149">4</cx:pt>
          <cx:pt idx="71150">2</cx:pt>
          <cx:pt idx="71151">5</cx:pt>
          <cx:pt idx="71152">2</cx:pt>
          <cx:pt idx="71153">1</cx:pt>
          <cx:pt idx="71154">5</cx:pt>
          <cx:pt idx="71155">2</cx:pt>
          <cx:pt idx="71156">3</cx:pt>
          <cx:pt idx="71157">3</cx:pt>
          <cx:pt idx="71158">1</cx:pt>
          <cx:pt idx="71159">0</cx:pt>
          <cx:pt idx="71160">3</cx:pt>
          <cx:pt idx="71161">4</cx:pt>
          <cx:pt idx="71162">3</cx:pt>
          <cx:pt idx="71163">2</cx:pt>
          <cx:pt idx="71164">3</cx:pt>
          <cx:pt idx="71165">2</cx:pt>
          <cx:pt idx="71166">4</cx:pt>
          <cx:pt idx="71167">2</cx:pt>
          <cx:pt idx="71168">0</cx:pt>
          <cx:pt idx="71169">2</cx:pt>
          <cx:pt idx="71170">3</cx:pt>
          <cx:pt idx="71171">4</cx:pt>
          <cx:pt idx="71172">3</cx:pt>
          <cx:pt idx="71173">2</cx:pt>
          <cx:pt idx="71174">4</cx:pt>
          <cx:pt idx="71175">3</cx:pt>
          <cx:pt idx="71176">3</cx:pt>
          <cx:pt idx="71177">0</cx:pt>
          <cx:pt idx="71178">5</cx:pt>
          <cx:pt idx="71179">2</cx:pt>
          <cx:pt idx="71180">4</cx:pt>
          <cx:pt idx="71181">4</cx:pt>
          <cx:pt idx="71182">1</cx:pt>
          <cx:pt idx="71183">0</cx:pt>
          <cx:pt idx="71184">4</cx:pt>
          <cx:pt idx="71185">1</cx:pt>
          <cx:pt idx="71186">2</cx:pt>
          <cx:pt idx="71187">3</cx:pt>
          <cx:pt idx="71188">0</cx:pt>
          <cx:pt idx="71189">2</cx:pt>
          <cx:pt idx="71190">4</cx:pt>
          <cx:pt idx="71191">3</cx:pt>
          <cx:pt idx="71192">2</cx:pt>
          <cx:pt idx="71193">3</cx:pt>
          <cx:pt idx="71194">5</cx:pt>
          <cx:pt idx="71195">3</cx:pt>
          <cx:pt idx="71196">4</cx:pt>
          <cx:pt idx="71197">3</cx:pt>
          <cx:pt idx="71198">4</cx:pt>
          <cx:pt idx="71199">2</cx:pt>
          <cx:pt idx="71200">5</cx:pt>
          <cx:pt idx="71201">0</cx:pt>
          <cx:pt idx="71202">3</cx:pt>
          <cx:pt idx="71203">2</cx:pt>
          <cx:pt idx="71204">2</cx:pt>
          <cx:pt idx="71205">2</cx:pt>
          <cx:pt idx="71206">5</cx:pt>
          <cx:pt idx="71207">1</cx:pt>
          <cx:pt idx="71208">0</cx:pt>
          <cx:pt idx="71209">5</cx:pt>
          <cx:pt idx="71210">4</cx:pt>
          <cx:pt idx="71211">5</cx:pt>
          <cx:pt idx="71212">3</cx:pt>
          <cx:pt idx="71213">4</cx:pt>
          <cx:pt idx="71214">2</cx:pt>
          <cx:pt idx="71215">3</cx:pt>
          <cx:pt idx="71216">3</cx:pt>
          <cx:pt idx="71217">1</cx:pt>
          <cx:pt idx="71218">3</cx:pt>
          <cx:pt idx="71219">2</cx:pt>
          <cx:pt idx="71220">0</cx:pt>
          <cx:pt idx="71221">3</cx:pt>
          <cx:pt idx="71222">3</cx:pt>
          <cx:pt idx="71223">1</cx:pt>
          <cx:pt idx="71224">5</cx:pt>
          <cx:pt idx="71225">4</cx:pt>
          <cx:pt idx="71226">1</cx:pt>
          <cx:pt idx="71227">4</cx:pt>
          <cx:pt idx="71228">4</cx:pt>
          <cx:pt idx="71229">2</cx:pt>
          <cx:pt idx="71230">2</cx:pt>
          <cx:pt idx="71231">4</cx:pt>
          <cx:pt idx="71232">2</cx:pt>
          <cx:pt idx="71233">3</cx:pt>
          <cx:pt idx="71234">1</cx:pt>
          <cx:pt idx="71235">5</cx:pt>
          <cx:pt idx="71236">3</cx:pt>
          <cx:pt idx="71237">5</cx:pt>
          <cx:pt idx="71238">1</cx:pt>
          <cx:pt idx="71239">5</cx:pt>
          <cx:pt idx="71240">5</cx:pt>
          <cx:pt idx="71241">2</cx:pt>
          <cx:pt idx="71242">3</cx:pt>
          <cx:pt idx="71243">4</cx:pt>
          <cx:pt idx="71244">3</cx:pt>
          <cx:pt idx="71245">0</cx:pt>
          <cx:pt idx="71246">1</cx:pt>
          <cx:pt idx="71247">5</cx:pt>
          <cx:pt idx="71248">2</cx:pt>
          <cx:pt idx="71249">3</cx:pt>
          <cx:pt idx="71250">3</cx:pt>
          <cx:pt idx="71251">3</cx:pt>
          <cx:pt idx="71252">3</cx:pt>
          <cx:pt idx="71253">4</cx:pt>
          <cx:pt idx="71254">4</cx:pt>
          <cx:pt idx="71255">1</cx:pt>
          <cx:pt idx="71256">3</cx:pt>
          <cx:pt idx="71257">5</cx:pt>
          <cx:pt idx="71258">1</cx:pt>
          <cx:pt idx="71259">1</cx:pt>
          <cx:pt idx="71260">4</cx:pt>
          <cx:pt idx="71261">1</cx:pt>
          <cx:pt idx="71262">5</cx:pt>
          <cx:pt idx="71263">4</cx:pt>
          <cx:pt idx="71264">2</cx:pt>
          <cx:pt idx="71265">4</cx:pt>
          <cx:pt idx="71266">3</cx:pt>
          <cx:pt idx="71267">2</cx:pt>
          <cx:pt idx="71268">4</cx:pt>
          <cx:pt idx="71269">2</cx:pt>
          <cx:pt idx="71270">2</cx:pt>
          <cx:pt idx="71271">5</cx:pt>
          <cx:pt idx="71272">1</cx:pt>
          <cx:pt idx="71273">3</cx:pt>
          <cx:pt idx="71274">0</cx:pt>
          <cx:pt idx="71275">3</cx:pt>
          <cx:pt idx="71276">3</cx:pt>
          <cx:pt idx="71277">4</cx:pt>
          <cx:pt idx="71278">3</cx:pt>
          <cx:pt idx="71279">4</cx:pt>
          <cx:pt idx="71280">4</cx:pt>
          <cx:pt idx="71281">2</cx:pt>
          <cx:pt idx="71282">2</cx:pt>
          <cx:pt idx="71283">3</cx:pt>
          <cx:pt idx="71284">1</cx:pt>
          <cx:pt idx="71285">2</cx:pt>
          <cx:pt idx="71286">4</cx:pt>
          <cx:pt idx="71287">2</cx:pt>
          <cx:pt idx="71288">4</cx:pt>
          <cx:pt idx="71289">3</cx:pt>
          <cx:pt idx="71290">0</cx:pt>
          <cx:pt idx="71291">1</cx:pt>
          <cx:pt idx="71292">5</cx:pt>
          <cx:pt idx="71293">2</cx:pt>
          <cx:pt idx="71294">3</cx:pt>
          <cx:pt idx="71295">3</cx:pt>
          <cx:pt idx="71296">5</cx:pt>
          <cx:pt idx="71297">4</cx:pt>
          <cx:pt idx="71298">1</cx:pt>
          <cx:pt idx="71299">1</cx:pt>
          <cx:pt idx="71300">1</cx:pt>
          <cx:pt idx="71301">4</cx:pt>
          <cx:pt idx="71302">3</cx:pt>
          <cx:pt idx="71303">3</cx:pt>
          <cx:pt idx="71304">2</cx:pt>
          <cx:pt idx="71305">5</cx:pt>
          <cx:pt idx="71306">1</cx:pt>
          <cx:pt idx="71307">3</cx:pt>
          <cx:pt idx="71308">5</cx:pt>
          <cx:pt idx="71309">4</cx:pt>
          <cx:pt idx="71310">3</cx:pt>
          <cx:pt idx="71311">2</cx:pt>
          <cx:pt idx="71312">3</cx:pt>
          <cx:pt idx="71313">5</cx:pt>
          <cx:pt idx="71314">1</cx:pt>
          <cx:pt idx="71315">4</cx:pt>
          <cx:pt idx="71316">3</cx:pt>
          <cx:pt idx="71317">0</cx:pt>
          <cx:pt idx="71318">4</cx:pt>
          <cx:pt idx="71319">1</cx:pt>
          <cx:pt idx="71320">3</cx:pt>
          <cx:pt idx="71321">3</cx:pt>
          <cx:pt idx="71322">1</cx:pt>
          <cx:pt idx="71323">2</cx:pt>
          <cx:pt idx="71324">2</cx:pt>
          <cx:pt idx="71325">2</cx:pt>
          <cx:pt idx="71326">3</cx:pt>
          <cx:pt idx="71327">2</cx:pt>
          <cx:pt idx="71328">3</cx:pt>
          <cx:pt idx="71329">0</cx:pt>
          <cx:pt idx="71330">1</cx:pt>
          <cx:pt idx="71331">1</cx:pt>
          <cx:pt idx="71332">3</cx:pt>
          <cx:pt idx="71333">5</cx:pt>
          <cx:pt idx="71334">2</cx:pt>
          <cx:pt idx="71335">2</cx:pt>
          <cx:pt idx="71336">1</cx:pt>
          <cx:pt idx="71337">5</cx:pt>
          <cx:pt idx="71338">4</cx:pt>
          <cx:pt idx="71339">4</cx:pt>
          <cx:pt idx="71340">1</cx:pt>
          <cx:pt idx="71341">3</cx:pt>
          <cx:pt idx="71342">4</cx:pt>
          <cx:pt idx="71343">3</cx:pt>
          <cx:pt idx="71344">2</cx:pt>
          <cx:pt idx="71345">1</cx:pt>
          <cx:pt idx="71346">3</cx:pt>
          <cx:pt idx="71347">4</cx:pt>
          <cx:pt idx="71348">3</cx:pt>
          <cx:pt idx="71349">2</cx:pt>
          <cx:pt idx="71350">3</cx:pt>
          <cx:pt idx="71351">2</cx:pt>
          <cx:pt idx="71352">5</cx:pt>
          <cx:pt idx="71353">2</cx:pt>
          <cx:pt idx="71354">2</cx:pt>
          <cx:pt idx="71355">3</cx:pt>
          <cx:pt idx="71356">4</cx:pt>
          <cx:pt idx="71357">5</cx:pt>
          <cx:pt idx="71358">2</cx:pt>
          <cx:pt idx="71359">2</cx:pt>
          <cx:pt idx="71360">2</cx:pt>
          <cx:pt idx="71361">4</cx:pt>
          <cx:pt idx="71362">1</cx:pt>
          <cx:pt idx="71363">3</cx:pt>
          <cx:pt idx="71364">2</cx:pt>
          <cx:pt idx="71365">5</cx:pt>
          <cx:pt idx="71366">3</cx:pt>
          <cx:pt idx="71367">4</cx:pt>
          <cx:pt idx="71368">1</cx:pt>
          <cx:pt idx="71369">1</cx:pt>
          <cx:pt idx="71370">3</cx:pt>
          <cx:pt idx="71371">3</cx:pt>
          <cx:pt idx="71372">4</cx:pt>
          <cx:pt idx="71373">3</cx:pt>
          <cx:pt idx="71374">4</cx:pt>
          <cx:pt idx="71375">2</cx:pt>
          <cx:pt idx="71376">5</cx:pt>
          <cx:pt idx="71377">4</cx:pt>
          <cx:pt idx="71378">3</cx:pt>
          <cx:pt idx="71379">4</cx:pt>
          <cx:pt idx="71380">3</cx:pt>
          <cx:pt idx="71381">3</cx:pt>
          <cx:pt idx="71382">3</cx:pt>
          <cx:pt idx="71383">2</cx:pt>
          <cx:pt idx="71384">3</cx:pt>
          <cx:pt idx="71385">2</cx:pt>
          <cx:pt idx="71386">4</cx:pt>
          <cx:pt idx="71387">2</cx:pt>
          <cx:pt idx="71388">2</cx:pt>
          <cx:pt idx="71389">2</cx:pt>
          <cx:pt idx="71390">4</cx:pt>
          <cx:pt idx="71391">4</cx:pt>
          <cx:pt idx="71392">2</cx:pt>
          <cx:pt idx="71393">5</cx:pt>
          <cx:pt idx="71394">2</cx:pt>
          <cx:pt idx="71395">4</cx:pt>
          <cx:pt idx="71396">3</cx:pt>
          <cx:pt idx="71397">5</cx:pt>
          <cx:pt idx="71398">1</cx:pt>
          <cx:pt idx="71399">2</cx:pt>
          <cx:pt idx="71400">1</cx:pt>
          <cx:pt idx="71401">1</cx:pt>
          <cx:pt idx="71402">3</cx:pt>
          <cx:pt idx="71403">1</cx:pt>
          <cx:pt idx="71404">4</cx:pt>
          <cx:pt idx="71405">4</cx:pt>
          <cx:pt idx="71406">2</cx:pt>
          <cx:pt idx="71407">1</cx:pt>
          <cx:pt idx="71408">2</cx:pt>
          <cx:pt idx="71409">4</cx:pt>
          <cx:pt idx="71410">3</cx:pt>
          <cx:pt idx="71411">4</cx:pt>
          <cx:pt idx="71412">1</cx:pt>
          <cx:pt idx="71413">1</cx:pt>
          <cx:pt idx="71414">3</cx:pt>
          <cx:pt idx="71415">5</cx:pt>
          <cx:pt idx="71416">2</cx:pt>
          <cx:pt idx="71417">2</cx:pt>
          <cx:pt idx="71418">2</cx:pt>
          <cx:pt idx="71419">3</cx:pt>
          <cx:pt idx="71420">2</cx:pt>
          <cx:pt idx="71421">2</cx:pt>
          <cx:pt idx="71422">1</cx:pt>
          <cx:pt idx="71423">2</cx:pt>
          <cx:pt idx="71424">4</cx:pt>
          <cx:pt idx="71425">4</cx:pt>
          <cx:pt idx="71426">5</cx:pt>
          <cx:pt idx="71427">3</cx:pt>
          <cx:pt idx="71428">3</cx:pt>
          <cx:pt idx="71429">3</cx:pt>
          <cx:pt idx="71430">3</cx:pt>
          <cx:pt idx="71431">0</cx:pt>
          <cx:pt idx="71432">2</cx:pt>
          <cx:pt idx="71433">1</cx:pt>
          <cx:pt idx="71434">3</cx:pt>
          <cx:pt idx="71435">5</cx:pt>
          <cx:pt idx="71436">3</cx:pt>
          <cx:pt idx="71437">3</cx:pt>
          <cx:pt idx="71438">1</cx:pt>
          <cx:pt idx="71439">3</cx:pt>
          <cx:pt idx="71440">1</cx:pt>
          <cx:pt idx="71441">5</cx:pt>
          <cx:pt idx="71442">3</cx:pt>
          <cx:pt idx="71443">4</cx:pt>
          <cx:pt idx="71444">3</cx:pt>
          <cx:pt idx="71445">3</cx:pt>
          <cx:pt idx="71446">2</cx:pt>
          <cx:pt idx="71447">5</cx:pt>
          <cx:pt idx="71448">1</cx:pt>
          <cx:pt idx="71449">1</cx:pt>
          <cx:pt idx="71450">2</cx:pt>
          <cx:pt idx="71451">4</cx:pt>
          <cx:pt idx="71452">1</cx:pt>
          <cx:pt idx="71453">1</cx:pt>
          <cx:pt idx="71454">5</cx:pt>
          <cx:pt idx="71455">2</cx:pt>
          <cx:pt idx="71456">5</cx:pt>
          <cx:pt idx="71457">4</cx:pt>
          <cx:pt idx="71458">3</cx:pt>
          <cx:pt idx="71459">0</cx:pt>
          <cx:pt idx="71460">1</cx:pt>
          <cx:pt idx="71461">2</cx:pt>
          <cx:pt idx="71462">1</cx:pt>
          <cx:pt idx="71463">3</cx:pt>
          <cx:pt idx="71464">3</cx:pt>
          <cx:pt idx="71465">2</cx:pt>
          <cx:pt idx="71466">1</cx:pt>
          <cx:pt idx="71467">1</cx:pt>
          <cx:pt idx="71468">3</cx:pt>
          <cx:pt idx="71469">5</cx:pt>
          <cx:pt idx="71470">3</cx:pt>
          <cx:pt idx="71471">4</cx:pt>
          <cx:pt idx="71472">4</cx:pt>
          <cx:pt idx="71473">2</cx:pt>
          <cx:pt idx="71474">1</cx:pt>
          <cx:pt idx="71475">2</cx:pt>
          <cx:pt idx="71476">4</cx:pt>
          <cx:pt idx="71477">4</cx:pt>
          <cx:pt idx="71478">5</cx:pt>
          <cx:pt idx="71479">1</cx:pt>
          <cx:pt idx="71480">2</cx:pt>
          <cx:pt idx="71481">0</cx:pt>
          <cx:pt idx="71482">2</cx:pt>
          <cx:pt idx="71483">3</cx:pt>
          <cx:pt idx="71484">5</cx:pt>
          <cx:pt idx="71485">2</cx:pt>
          <cx:pt idx="71486">1</cx:pt>
          <cx:pt idx="71487">1</cx:pt>
          <cx:pt idx="71488">2</cx:pt>
          <cx:pt idx="71489">1</cx:pt>
          <cx:pt idx="71490">3</cx:pt>
          <cx:pt idx="71491">5</cx:pt>
          <cx:pt idx="71492">4</cx:pt>
          <cx:pt idx="71493">1</cx:pt>
          <cx:pt idx="71494">4</cx:pt>
          <cx:pt idx="71495">2</cx:pt>
          <cx:pt idx="71496">1</cx:pt>
          <cx:pt idx="71497">0</cx:pt>
          <cx:pt idx="71498">3</cx:pt>
          <cx:pt idx="71499">3</cx:pt>
          <cx:pt idx="71500">2</cx:pt>
          <cx:pt idx="71501">4</cx:pt>
          <cx:pt idx="71502">1</cx:pt>
          <cx:pt idx="71503">2</cx:pt>
          <cx:pt idx="71504">4</cx:pt>
          <cx:pt idx="71505">3</cx:pt>
          <cx:pt idx="71506">4</cx:pt>
          <cx:pt idx="71507">2</cx:pt>
          <cx:pt idx="71508">4</cx:pt>
          <cx:pt idx="71509">3</cx:pt>
          <cx:pt idx="71510">1</cx:pt>
          <cx:pt idx="71511">5</cx:pt>
          <cx:pt idx="71512">2</cx:pt>
          <cx:pt idx="71513">4</cx:pt>
          <cx:pt idx="71514">2</cx:pt>
          <cx:pt idx="71515">1</cx:pt>
          <cx:pt idx="71516">3</cx:pt>
          <cx:pt idx="71517">2</cx:pt>
          <cx:pt idx="71518">3</cx:pt>
          <cx:pt idx="71519">1</cx:pt>
          <cx:pt idx="71520">2</cx:pt>
          <cx:pt idx="71521">2</cx:pt>
          <cx:pt idx="71522">3</cx:pt>
          <cx:pt idx="71523">5</cx:pt>
          <cx:pt idx="71524">3</cx:pt>
          <cx:pt idx="71525">3</cx:pt>
          <cx:pt idx="71526">2</cx:pt>
          <cx:pt idx="71527">3</cx:pt>
          <cx:pt idx="71528">3</cx:pt>
          <cx:pt idx="71529">4</cx:pt>
          <cx:pt idx="71530">0</cx:pt>
          <cx:pt idx="71531">4</cx:pt>
          <cx:pt idx="71532">4</cx:pt>
          <cx:pt idx="71533">4</cx:pt>
          <cx:pt idx="71534">4</cx:pt>
          <cx:pt idx="71535">4</cx:pt>
          <cx:pt idx="71536">3</cx:pt>
          <cx:pt idx="71537">1</cx:pt>
          <cx:pt idx="71538">2</cx:pt>
          <cx:pt idx="71539">2</cx:pt>
          <cx:pt idx="71540">3</cx:pt>
          <cx:pt idx="71541">4</cx:pt>
          <cx:pt idx="71542">3</cx:pt>
          <cx:pt idx="71543">3</cx:pt>
          <cx:pt idx="71544">2</cx:pt>
          <cx:pt idx="71545">2</cx:pt>
          <cx:pt idx="71546">1</cx:pt>
          <cx:pt idx="71547">5</cx:pt>
          <cx:pt idx="71548">5</cx:pt>
          <cx:pt idx="71549">3</cx:pt>
          <cx:pt idx="71550">4</cx:pt>
          <cx:pt idx="71551">4</cx:pt>
          <cx:pt idx="71552">3</cx:pt>
          <cx:pt idx="71553">2</cx:pt>
          <cx:pt idx="71554">4</cx:pt>
          <cx:pt idx="71555">2</cx:pt>
          <cx:pt idx="71556">5</cx:pt>
          <cx:pt idx="71557">3</cx:pt>
          <cx:pt idx="71558">3</cx:pt>
          <cx:pt idx="71559">2</cx:pt>
          <cx:pt idx="71560">1</cx:pt>
          <cx:pt idx="71561">1</cx:pt>
          <cx:pt idx="71562">1</cx:pt>
          <cx:pt idx="71563">3</cx:pt>
          <cx:pt idx="71564">3</cx:pt>
          <cx:pt idx="71565">3</cx:pt>
          <cx:pt idx="71566">3</cx:pt>
          <cx:pt idx="71567">3</cx:pt>
          <cx:pt idx="71568">2</cx:pt>
          <cx:pt idx="71569">5</cx:pt>
          <cx:pt idx="71570">1</cx:pt>
          <cx:pt idx="71571">5</cx:pt>
          <cx:pt idx="71572">0</cx:pt>
          <cx:pt idx="71573">3</cx:pt>
          <cx:pt idx="71574">3</cx:pt>
          <cx:pt idx="71575">4</cx:pt>
          <cx:pt idx="71576">0</cx:pt>
          <cx:pt idx="71577">2</cx:pt>
          <cx:pt idx="71578">3</cx:pt>
          <cx:pt idx="71579">2</cx:pt>
          <cx:pt idx="71580">2</cx:pt>
          <cx:pt idx="71581">4</cx:pt>
          <cx:pt idx="71582">1</cx:pt>
          <cx:pt idx="71583">5</cx:pt>
          <cx:pt idx="71584">2</cx:pt>
          <cx:pt idx="71585">4</cx:pt>
          <cx:pt idx="71586">4</cx:pt>
          <cx:pt idx="71587">2</cx:pt>
          <cx:pt idx="71588">1</cx:pt>
          <cx:pt idx="71589">5</cx:pt>
          <cx:pt idx="71590">4</cx:pt>
          <cx:pt idx="71591">3</cx:pt>
          <cx:pt idx="71592">2</cx:pt>
          <cx:pt idx="71593">4</cx:pt>
          <cx:pt idx="71594">3</cx:pt>
          <cx:pt idx="71595">1</cx:pt>
          <cx:pt idx="71596">2</cx:pt>
          <cx:pt idx="71597">1</cx:pt>
          <cx:pt idx="71598">2</cx:pt>
          <cx:pt idx="71599">3</cx:pt>
          <cx:pt idx="71600">1</cx:pt>
          <cx:pt idx="71601">2</cx:pt>
          <cx:pt idx="71602">0</cx:pt>
          <cx:pt idx="71603">2</cx:pt>
          <cx:pt idx="71604">2</cx:pt>
          <cx:pt idx="71605">2</cx:pt>
          <cx:pt idx="71606">4</cx:pt>
          <cx:pt idx="71607">1</cx:pt>
          <cx:pt idx="71608">1</cx:pt>
          <cx:pt idx="71609">2</cx:pt>
          <cx:pt idx="71610">1</cx:pt>
          <cx:pt idx="71611">5</cx:pt>
          <cx:pt idx="71612">3</cx:pt>
          <cx:pt idx="71613">3</cx:pt>
          <cx:pt idx="71614">4</cx:pt>
          <cx:pt idx="71615">1</cx:pt>
          <cx:pt idx="71616">2</cx:pt>
          <cx:pt idx="71617">3</cx:pt>
          <cx:pt idx="71618">4</cx:pt>
          <cx:pt idx="71619">2</cx:pt>
          <cx:pt idx="71620">2</cx:pt>
          <cx:pt idx="71621">4</cx:pt>
          <cx:pt idx="71622">1</cx:pt>
          <cx:pt idx="71623">1</cx:pt>
          <cx:pt idx="71624">2</cx:pt>
          <cx:pt idx="71625">3</cx:pt>
          <cx:pt idx="71626">2</cx:pt>
          <cx:pt idx="71627">2</cx:pt>
          <cx:pt idx="71628">4</cx:pt>
          <cx:pt idx="71629">3</cx:pt>
          <cx:pt idx="71630">3</cx:pt>
          <cx:pt idx="71631">4</cx:pt>
          <cx:pt idx="71632">4</cx:pt>
          <cx:pt idx="71633">2</cx:pt>
          <cx:pt idx="71634">1</cx:pt>
          <cx:pt idx="71635">2</cx:pt>
          <cx:pt idx="71636">4</cx:pt>
          <cx:pt idx="71637">4</cx:pt>
          <cx:pt idx="71638">1</cx:pt>
          <cx:pt idx="71639">2</cx:pt>
          <cx:pt idx="71640">5</cx:pt>
          <cx:pt idx="71641">2</cx:pt>
          <cx:pt idx="71642">1</cx:pt>
          <cx:pt idx="71643">1</cx:pt>
          <cx:pt idx="71644">5</cx:pt>
          <cx:pt idx="71645">4</cx:pt>
          <cx:pt idx="71646">1</cx:pt>
          <cx:pt idx="71647">5</cx:pt>
          <cx:pt idx="71648">3</cx:pt>
          <cx:pt idx="71649">4</cx:pt>
          <cx:pt idx="71650">2</cx:pt>
          <cx:pt idx="71651">4</cx:pt>
          <cx:pt idx="71652">4</cx:pt>
          <cx:pt idx="71653">3</cx:pt>
          <cx:pt idx="71654">4</cx:pt>
          <cx:pt idx="71655">2</cx:pt>
          <cx:pt idx="71656">0</cx:pt>
          <cx:pt idx="71657">3</cx:pt>
          <cx:pt idx="71658">3</cx:pt>
          <cx:pt idx="71659">4</cx:pt>
          <cx:pt idx="71660">3</cx:pt>
          <cx:pt idx="71661">1</cx:pt>
          <cx:pt idx="71662">3</cx:pt>
          <cx:pt idx="71663">1</cx:pt>
          <cx:pt idx="71664">1</cx:pt>
          <cx:pt idx="71665">1</cx:pt>
          <cx:pt idx="71666">2</cx:pt>
          <cx:pt idx="71667">4</cx:pt>
          <cx:pt idx="71668">1</cx:pt>
          <cx:pt idx="71669">5</cx:pt>
          <cx:pt idx="71670">2</cx:pt>
          <cx:pt idx="71671">0</cx:pt>
          <cx:pt idx="71672">3</cx:pt>
          <cx:pt idx="71673">5</cx:pt>
          <cx:pt idx="71674">3</cx:pt>
          <cx:pt idx="71675">3</cx:pt>
          <cx:pt idx="71676">3</cx:pt>
          <cx:pt idx="71677">2</cx:pt>
          <cx:pt idx="71678">3</cx:pt>
          <cx:pt idx="71679">5</cx:pt>
          <cx:pt idx="71680">2</cx:pt>
          <cx:pt idx="71681">3</cx:pt>
          <cx:pt idx="71682">2</cx:pt>
          <cx:pt idx="71683">2</cx:pt>
          <cx:pt idx="71684">3</cx:pt>
          <cx:pt idx="71685">3</cx:pt>
          <cx:pt idx="71686">1</cx:pt>
          <cx:pt idx="71687">2</cx:pt>
          <cx:pt idx="71688">4</cx:pt>
          <cx:pt idx="71689">2</cx:pt>
          <cx:pt idx="71690">5</cx:pt>
          <cx:pt idx="71691">4</cx:pt>
          <cx:pt idx="71692">0</cx:pt>
          <cx:pt idx="71693">3</cx:pt>
          <cx:pt idx="71694">2</cx:pt>
          <cx:pt idx="71695">3</cx:pt>
          <cx:pt idx="71696">3</cx:pt>
          <cx:pt idx="71697">2</cx:pt>
          <cx:pt idx="71698">3</cx:pt>
          <cx:pt idx="71699">1</cx:pt>
          <cx:pt idx="71700">3</cx:pt>
          <cx:pt idx="71701">4</cx:pt>
          <cx:pt idx="71702">5</cx:pt>
          <cx:pt idx="71703">2</cx:pt>
          <cx:pt idx="71704">1</cx:pt>
          <cx:pt idx="71705">1</cx:pt>
          <cx:pt idx="71706">2</cx:pt>
          <cx:pt idx="71707">4</cx:pt>
          <cx:pt idx="71708">5</cx:pt>
          <cx:pt idx="71709">3</cx:pt>
          <cx:pt idx="71710">3</cx:pt>
          <cx:pt idx="71711">3</cx:pt>
          <cx:pt idx="71712">4</cx:pt>
          <cx:pt idx="71713">2</cx:pt>
          <cx:pt idx="71714">4</cx:pt>
          <cx:pt idx="71715">3</cx:pt>
          <cx:pt idx="71716">3</cx:pt>
          <cx:pt idx="71717">3</cx:pt>
          <cx:pt idx="71718">3</cx:pt>
          <cx:pt idx="71719">3</cx:pt>
          <cx:pt idx="71720">1</cx:pt>
          <cx:pt idx="71721">4</cx:pt>
          <cx:pt idx="71722">3</cx:pt>
          <cx:pt idx="71723">5</cx:pt>
          <cx:pt idx="71724">1</cx:pt>
          <cx:pt idx="71725">3</cx:pt>
          <cx:pt idx="71726">4</cx:pt>
          <cx:pt idx="71727">5</cx:pt>
          <cx:pt idx="71728">3</cx:pt>
          <cx:pt idx="71729">3</cx:pt>
          <cx:pt idx="71730">4</cx:pt>
          <cx:pt idx="71731">3</cx:pt>
          <cx:pt idx="71732">4</cx:pt>
          <cx:pt idx="71733">1</cx:pt>
          <cx:pt idx="71734">1</cx:pt>
          <cx:pt idx="71735">4</cx:pt>
          <cx:pt idx="71736">1</cx:pt>
          <cx:pt idx="71737">2</cx:pt>
          <cx:pt idx="71738">1</cx:pt>
          <cx:pt idx="71739">1</cx:pt>
          <cx:pt idx="71740">4</cx:pt>
          <cx:pt idx="71741">2</cx:pt>
          <cx:pt idx="71742">5</cx:pt>
          <cx:pt idx="71743">2</cx:pt>
          <cx:pt idx="71744">5</cx:pt>
          <cx:pt idx="71745">0</cx:pt>
          <cx:pt idx="71746">2</cx:pt>
          <cx:pt idx="71747">2</cx:pt>
          <cx:pt idx="71748">3</cx:pt>
          <cx:pt idx="71749">4</cx:pt>
          <cx:pt idx="71750">2</cx:pt>
          <cx:pt idx="71751">5</cx:pt>
          <cx:pt idx="71752">5</cx:pt>
          <cx:pt idx="71753">3</cx:pt>
          <cx:pt idx="71754">2</cx:pt>
          <cx:pt idx="71755">1</cx:pt>
          <cx:pt idx="71756">4</cx:pt>
          <cx:pt idx="71757">5</cx:pt>
          <cx:pt idx="71758">4</cx:pt>
          <cx:pt idx="71759">2</cx:pt>
          <cx:pt idx="71760">4</cx:pt>
          <cx:pt idx="71761">1</cx:pt>
          <cx:pt idx="71762">4</cx:pt>
          <cx:pt idx="71763">2</cx:pt>
          <cx:pt idx="71764">3</cx:pt>
          <cx:pt idx="71765">3</cx:pt>
          <cx:pt idx="71766">2</cx:pt>
          <cx:pt idx="71767">1</cx:pt>
          <cx:pt idx="71768">1</cx:pt>
          <cx:pt idx="71769">3</cx:pt>
          <cx:pt idx="71770">2</cx:pt>
          <cx:pt idx="71771">2</cx:pt>
          <cx:pt idx="71772">4</cx:pt>
          <cx:pt idx="71773">1</cx:pt>
          <cx:pt idx="71774">2</cx:pt>
          <cx:pt idx="71775">3</cx:pt>
          <cx:pt idx="71776">1</cx:pt>
          <cx:pt idx="71777">2</cx:pt>
          <cx:pt idx="71778">3</cx:pt>
          <cx:pt idx="71779">3</cx:pt>
          <cx:pt idx="71780">1</cx:pt>
          <cx:pt idx="71781">1</cx:pt>
          <cx:pt idx="71782">4</cx:pt>
          <cx:pt idx="71783">1</cx:pt>
          <cx:pt idx="71784">2</cx:pt>
          <cx:pt idx="71785">1</cx:pt>
          <cx:pt idx="71786">4</cx:pt>
          <cx:pt idx="71787">2</cx:pt>
          <cx:pt idx="71788">4</cx:pt>
          <cx:pt idx="71789">4</cx:pt>
          <cx:pt idx="71790">3</cx:pt>
          <cx:pt idx="71791">3</cx:pt>
          <cx:pt idx="71792">3</cx:pt>
          <cx:pt idx="71793">3</cx:pt>
          <cx:pt idx="71794">0</cx:pt>
          <cx:pt idx="71795">1</cx:pt>
          <cx:pt idx="71796">3</cx:pt>
          <cx:pt idx="71797">2</cx:pt>
          <cx:pt idx="71798">1</cx:pt>
          <cx:pt idx="71799">3</cx:pt>
          <cx:pt idx="71800">2</cx:pt>
          <cx:pt idx="71801">4</cx:pt>
          <cx:pt idx="71802">5</cx:pt>
          <cx:pt idx="71803">1</cx:pt>
          <cx:pt idx="71804">4</cx:pt>
          <cx:pt idx="71805">0</cx:pt>
          <cx:pt idx="71806">2</cx:pt>
          <cx:pt idx="71807">4</cx:pt>
          <cx:pt idx="71808">4</cx:pt>
          <cx:pt idx="71809">2</cx:pt>
          <cx:pt idx="71810">4</cx:pt>
          <cx:pt idx="71811">2</cx:pt>
          <cx:pt idx="71812">2</cx:pt>
          <cx:pt idx="71813">4</cx:pt>
          <cx:pt idx="71814">2</cx:pt>
          <cx:pt idx="71815">3</cx:pt>
          <cx:pt idx="71816">5</cx:pt>
          <cx:pt idx="71817">2</cx:pt>
          <cx:pt idx="71818">2</cx:pt>
          <cx:pt idx="71819">2</cx:pt>
          <cx:pt idx="71820">3</cx:pt>
          <cx:pt idx="71821">4</cx:pt>
          <cx:pt idx="71822">4</cx:pt>
          <cx:pt idx="71823">3</cx:pt>
          <cx:pt idx="71824">4</cx:pt>
          <cx:pt idx="71825">3</cx:pt>
          <cx:pt idx="71826">5</cx:pt>
          <cx:pt idx="71827">1</cx:pt>
          <cx:pt idx="71828">3</cx:pt>
          <cx:pt idx="71829">4</cx:pt>
          <cx:pt idx="71830">4</cx:pt>
          <cx:pt idx="71831">2</cx:pt>
          <cx:pt idx="71832">3</cx:pt>
          <cx:pt idx="71833">3</cx:pt>
          <cx:pt idx="71834">2</cx:pt>
          <cx:pt idx="71835">2</cx:pt>
          <cx:pt idx="71836">3</cx:pt>
          <cx:pt idx="71837">3</cx:pt>
          <cx:pt idx="71838">4</cx:pt>
          <cx:pt idx="71839">3</cx:pt>
          <cx:pt idx="71840">3</cx:pt>
          <cx:pt idx="71841">3</cx:pt>
          <cx:pt idx="71842">4</cx:pt>
          <cx:pt idx="71843">4</cx:pt>
          <cx:pt idx="71844">1</cx:pt>
          <cx:pt idx="71845">4</cx:pt>
          <cx:pt idx="71846">2</cx:pt>
          <cx:pt idx="71847">1</cx:pt>
          <cx:pt idx="71848">1</cx:pt>
          <cx:pt idx="71849">3</cx:pt>
          <cx:pt idx="71850">3</cx:pt>
          <cx:pt idx="71851">3</cx:pt>
          <cx:pt idx="71852">2</cx:pt>
          <cx:pt idx="71853">2</cx:pt>
          <cx:pt idx="71854">1</cx:pt>
          <cx:pt idx="71855">1</cx:pt>
          <cx:pt idx="71856">4</cx:pt>
          <cx:pt idx="71857">2</cx:pt>
          <cx:pt idx="71858">0</cx:pt>
          <cx:pt idx="71859">2</cx:pt>
          <cx:pt idx="71860">2</cx:pt>
          <cx:pt idx="71861">2</cx:pt>
          <cx:pt idx="71862">0</cx:pt>
          <cx:pt idx="71863">2</cx:pt>
          <cx:pt idx="71864">5</cx:pt>
          <cx:pt idx="71865">3</cx:pt>
          <cx:pt idx="71866">1</cx:pt>
          <cx:pt idx="71867">3</cx:pt>
          <cx:pt idx="71868">3</cx:pt>
          <cx:pt idx="71869">1</cx:pt>
          <cx:pt idx="71870">2</cx:pt>
          <cx:pt idx="71871">5</cx:pt>
          <cx:pt idx="71872">2</cx:pt>
          <cx:pt idx="71873">4</cx:pt>
          <cx:pt idx="71874">4</cx:pt>
          <cx:pt idx="71875">4</cx:pt>
          <cx:pt idx="71876">3</cx:pt>
          <cx:pt idx="71877">1</cx:pt>
          <cx:pt idx="71878">2</cx:pt>
          <cx:pt idx="71879">2</cx:pt>
          <cx:pt idx="71880">2</cx:pt>
          <cx:pt idx="71881">4</cx:pt>
          <cx:pt idx="71882">2</cx:pt>
          <cx:pt idx="71883">4</cx:pt>
          <cx:pt idx="71884">4</cx:pt>
          <cx:pt idx="71885">1</cx:pt>
          <cx:pt idx="71886">3</cx:pt>
          <cx:pt idx="71887">1</cx:pt>
          <cx:pt idx="71888">2</cx:pt>
          <cx:pt idx="71889">3</cx:pt>
          <cx:pt idx="71890">3</cx:pt>
          <cx:pt idx="71891">3</cx:pt>
          <cx:pt idx="71892">3</cx:pt>
          <cx:pt idx="71893">1</cx:pt>
          <cx:pt idx="71894">2</cx:pt>
          <cx:pt idx="71895">4</cx:pt>
          <cx:pt idx="71896">2</cx:pt>
          <cx:pt idx="71897">2</cx:pt>
          <cx:pt idx="71898">1</cx:pt>
          <cx:pt idx="71899">3</cx:pt>
          <cx:pt idx="71900">4</cx:pt>
          <cx:pt idx="71901">3</cx:pt>
          <cx:pt idx="71902">2</cx:pt>
          <cx:pt idx="71903">5</cx:pt>
          <cx:pt idx="71904">2</cx:pt>
          <cx:pt idx="71905">0</cx:pt>
          <cx:pt idx="71906">3</cx:pt>
          <cx:pt idx="71907">1</cx:pt>
          <cx:pt idx="71908">4</cx:pt>
          <cx:pt idx="71909">1</cx:pt>
          <cx:pt idx="71910">1</cx:pt>
          <cx:pt idx="71911">2</cx:pt>
          <cx:pt idx="71912">5</cx:pt>
          <cx:pt idx="71913">4</cx:pt>
          <cx:pt idx="71914">1</cx:pt>
          <cx:pt idx="71915">0</cx:pt>
          <cx:pt idx="71916">1</cx:pt>
          <cx:pt idx="71917">1</cx:pt>
          <cx:pt idx="71918">5</cx:pt>
          <cx:pt idx="71919">2</cx:pt>
          <cx:pt idx="71920">3</cx:pt>
          <cx:pt idx="71921">2</cx:pt>
          <cx:pt idx="71922">1</cx:pt>
          <cx:pt idx="71923">1</cx:pt>
          <cx:pt idx="71924">1</cx:pt>
          <cx:pt idx="71925">3</cx:pt>
          <cx:pt idx="71926">3</cx:pt>
          <cx:pt idx="71927">0</cx:pt>
          <cx:pt idx="71928">2</cx:pt>
          <cx:pt idx="71929">1</cx:pt>
          <cx:pt idx="71930">3</cx:pt>
          <cx:pt idx="71931">4</cx:pt>
          <cx:pt idx="71932">0</cx:pt>
          <cx:pt idx="71933">2</cx:pt>
          <cx:pt idx="71934">3</cx:pt>
          <cx:pt idx="71935">2</cx:pt>
          <cx:pt idx="71936">3</cx:pt>
          <cx:pt idx="71937">2</cx:pt>
          <cx:pt idx="71938">1</cx:pt>
          <cx:pt idx="71939">2</cx:pt>
          <cx:pt idx="71940">2</cx:pt>
          <cx:pt idx="71941">5</cx:pt>
          <cx:pt idx="71942">4</cx:pt>
          <cx:pt idx="71943">4</cx:pt>
          <cx:pt idx="71944">5</cx:pt>
          <cx:pt idx="71945">1</cx:pt>
          <cx:pt idx="71946">4</cx:pt>
          <cx:pt idx="71947">1</cx:pt>
          <cx:pt idx="71948">2</cx:pt>
          <cx:pt idx="71949">2</cx:pt>
          <cx:pt idx="71950">3</cx:pt>
          <cx:pt idx="71951">2</cx:pt>
          <cx:pt idx="71952">4</cx:pt>
          <cx:pt idx="71953">3</cx:pt>
          <cx:pt idx="71954">4</cx:pt>
          <cx:pt idx="71955">3</cx:pt>
          <cx:pt idx="71956">0</cx:pt>
          <cx:pt idx="71957">1</cx:pt>
          <cx:pt idx="71958">3</cx:pt>
          <cx:pt idx="71959">2</cx:pt>
          <cx:pt idx="71960">3</cx:pt>
          <cx:pt idx="71961">1</cx:pt>
          <cx:pt idx="71962">2</cx:pt>
          <cx:pt idx="71963">5</cx:pt>
          <cx:pt idx="71964">0</cx:pt>
          <cx:pt idx="71965">3</cx:pt>
          <cx:pt idx="71966">5</cx:pt>
          <cx:pt idx="71967">1</cx:pt>
          <cx:pt idx="71968">4</cx:pt>
          <cx:pt idx="71969">5</cx:pt>
          <cx:pt idx="71970">2</cx:pt>
          <cx:pt idx="71971">3</cx:pt>
          <cx:pt idx="71972">3</cx:pt>
          <cx:pt idx="71973">2</cx:pt>
          <cx:pt idx="71974">2</cx:pt>
          <cx:pt idx="71975">2</cx:pt>
          <cx:pt idx="71976">2</cx:pt>
          <cx:pt idx="71977">3</cx:pt>
          <cx:pt idx="71978">2</cx:pt>
          <cx:pt idx="71979">1</cx:pt>
          <cx:pt idx="71980">4</cx:pt>
          <cx:pt idx="71981">3</cx:pt>
          <cx:pt idx="71982">1</cx:pt>
          <cx:pt idx="71983">3</cx:pt>
          <cx:pt idx="71984">3</cx:pt>
          <cx:pt idx="71985">4</cx:pt>
          <cx:pt idx="71986">1</cx:pt>
          <cx:pt idx="71987">4</cx:pt>
          <cx:pt idx="71988">5</cx:pt>
          <cx:pt idx="71989">1</cx:pt>
          <cx:pt idx="71990">3</cx:pt>
          <cx:pt idx="71991">3</cx:pt>
          <cx:pt idx="71992">2</cx:pt>
          <cx:pt idx="71993">4</cx:pt>
          <cx:pt idx="71994">0</cx:pt>
          <cx:pt idx="71995">3</cx:pt>
          <cx:pt idx="71996">1</cx:pt>
          <cx:pt idx="71997">3</cx:pt>
          <cx:pt idx="71998">1</cx:pt>
          <cx:pt idx="71999">5</cx:pt>
          <cx:pt idx="72000">1</cx:pt>
          <cx:pt idx="72001">5</cx:pt>
          <cx:pt idx="72002">2</cx:pt>
          <cx:pt idx="72003">1</cx:pt>
          <cx:pt idx="72004">5</cx:pt>
          <cx:pt idx="72005">3</cx:pt>
          <cx:pt idx="72006">5</cx:pt>
          <cx:pt idx="72007">3</cx:pt>
          <cx:pt idx="72008">2</cx:pt>
          <cx:pt idx="72009">3</cx:pt>
          <cx:pt idx="72010">2</cx:pt>
          <cx:pt idx="72011">1</cx:pt>
          <cx:pt idx="72012">4</cx:pt>
          <cx:pt idx="72013">0</cx:pt>
          <cx:pt idx="72014">2</cx:pt>
          <cx:pt idx="72015">1</cx:pt>
          <cx:pt idx="72016">2</cx:pt>
          <cx:pt idx="72017">2</cx:pt>
          <cx:pt idx="72018">1</cx:pt>
          <cx:pt idx="72019">4</cx:pt>
          <cx:pt idx="72020">2</cx:pt>
          <cx:pt idx="72021">5</cx:pt>
          <cx:pt idx="72022">4</cx:pt>
          <cx:pt idx="72023">2</cx:pt>
          <cx:pt idx="72024">3</cx:pt>
          <cx:pt idx="72025">1</cx:pt>
          <cx:pt idx="72026">2</cx:pt>
          <cx:pt idx="72027">2</cx:pt>
          <cx:pt idx="72028">2</cx:pt>
          <cx:pt idx="72029">5</cx:pt>
          <cx:pt idx="72030">0</cx:pt>
          <cx:pt idx="72031">1</cx:pt>
          <cx:pt idx="72032">1</cx:pt>
          <cx:pt idx="72033">1</cx:pt>
          <cx:pt idx="72034">4</cx:pt>
          <cx:pt idx="72035">3</cx:pt>
          <cx:pt idx="72036">5</cx:pt>
          <cx:pt idx="72037">1</cx:pt>
          <cx:pt idx="72038">2</cx:pt>
          <cx:pt idx="72039">2</cx:pt>
          <cx:pt idx="72040">4</cx:pt>
          <cx:pt idx="72041">5</cx:pt>
          <cx:pt idx="72042">0</cx:pt>
          <cx:pt idx="72043">2</cx:pt>
          <cx:pt idx="72044">2</cx:pt>
          <cx:pt idx="72045">5</cx:pt>
          <cx:pt idx="72046">1</cx:pt>
          <cx:pt idx="72047">1</cx:pt>
          <cx:pt idx="72048">2</cx:pt>
          <cx:pt idx="72049">4</cx:pt>
          <cx:pt idx="72050">2</cx:pt>
          <cx:pt idx="72051">4</cx:pt>
          <cx:pt idx="72052">5</cx:pt>
          <cx:pt idx="72053">1</cx:pt>
          <cx:pt idx="72054">4</cx:pt>
          <cx:pt idx="72055">2</cx:pt>
          <cx:pt idx="72056">1</cx:pt>
          <cx:pt idx="72057">4</cx:pt>
          <cx:pt idx="72058">3</cx:pt>
          <cx:pt idx="72059">3</cx:pt>
          <cx:pt idx="72060">3</cx:pt>
          <cx:pt idx="72061">5</cx:pt>
          <cx:pt idx="72062">5</cx:pt>
          <cx:pt idx="72063">3</cx:pt>
          <cx:pt idx="72064">2</cx:pt>
          <cx:pt idx="72065">2</cx:pt>
          <cx:pt idx="72066">3</cx:pt>
          <cx:pt idx="72067">3</cx:pt>
          <cx:pt idx="72068">2</cx:pt>
          <cx:pt idx="72069">2</cx:pt>
          <cx:pt idx="72070">3</cx:pt>
          <cx:pt idx="72071">4</cx:pt>
          <cx:pt idx="72072">2</cx:pt>
          <cx:pt idx="72073">3</cx:pt>
          <cx:pt idx="72074">3</cx:pt>
          <cx:pt idx="72075">3</cx:pt>
          <cx:pt idx="72076">3</cx:pt>
          <cx:pt idx="72077">3</cx:pt>
          <cx:pt idx="72078">2</cx:pt>
          <cx:pt idx="72079">4</cx:pt>
          <cx:pt idx="72080">5</cx:pt>
          <cx:pt idx="72081">4</cx:pt>
          <cx:pt idx="72082">1</cx:pt>
          <cx:pt idx="72083">3</cx:pt>
          <cx:pt idx="72084">3</cx:pt>
          <cx:pt idx="72085">3</cx:pt>
          <cx:pt idx="72086">2</cx:pt>
          <cx:pt idx="72087">5</cx:pt>
          <cx:pt idx="72088">2</cx:pt>
          <cx:pt idx="72089">3</cx:pt>
          <cx:pt idx="72090">4</cx:pt>
          <cx:pt idx="72091">2</cx:pt>
          <cx:pt idx="72092">3</cx:pt>
          <cx:pt idx="72093">1</cx:pt>
          <cx:pt idx="72094">5</cx:pt>
          <cx:pt idx="72095">2</cx:pt>
          <cx:pt idx="72096">3</cx:pt>
          <cx:pt idx="72097">5</cx:pt>
          <cx:pt idx="72098">1</cx:pt>
          <cx:pt idx="72099">5</cx:pt>
          <cx:pt idx="72100">3</cx:pt>
          <cx:pt idx="72101">1</cx:pt>
          <cx:pt idx="72102">4</cx:pt>
          <cx:pt idx="72103">3</cx:pt>
          <cx:pt idx="72104">2</cx:pt>
          <cx:pt idx="72105">0</cx:pt>
          <cx:pt idx="72106">1</cx:pt>
          <cx:pt idx="72107">2</cx:pt>
          <cx:pt idx="72108">2</cx:pt>
          <cx:pt idx="72109">2</cx:pt>
          <cx:pt idx="72110">4</cx:pt>
          <cx:pt idx="72111">5</cx:pt>
          <cx:pt idx="72112">4</cx:pt>
          <cx:pt idx="72113">3</cx:pt>
          <cx:pt idx="72114">5</cx:pt>
          <cx:pt idx="72115">2</cx:pt>
          <cx:pt idx="72116">3</cx:pt>
          <cx:pt idx="72117">4</cx:pt>
          <cx:pt idx="72118">1</cx:pt>
          <cx:pt idx="72119">3</cx:pt>
          <cx:pt idx="72120">2</cx:pt>
          <cx:pt idx="72121">4</cx:pt>
          <cx:pt idx="72122">2</cx:pt>
          <cx:pt idx="72123">3</cx:pt>
          <cx:pt idx="72124">4</cx:pt>
          <cx:pt idx="72125">1</cx:pt>
          <cx:pt idx="72126">4</cx:pt>
          <cx:pt idx="72127">1</cx:pt>
          <cx:pt idx="72128">3</cx:pt>
          <cx:pt idx="72129">3</cx:pt>
          <cx:pt idx="72130">0</cx:pt>
          <cx:pt idx="72131">1</cx:pt>
          <cx:pt idx="72132">4</cx:pt>
          <cx:pt idx="72133">3</cx:pt>
          <cx:pt idx="72134">5</cx:pt>
          <cx:pt idx="72135">3</cx:pt>
          <cx:pt idx="72136">2</cx:pt>
          <cx:pt idx="72137">5</cx:pt>
          <cx:pt idx="72138">5</cx:pt>
          <cx:pt idx="72139">4</cx:pt>
          <cx:pt idx="72140">4</cx:pt>
          <cx:pt idx="72141">2</cx:pt>
          <cx:pt idx="72142">3</cx:pt>
          <cx:pt idx="72143">4</cx:pt>
          <cx:pt idx="72144">3</cx:pt>
          <cx:pt idx="72145">1</cx:pt>
          <cx:pt idx="72146">2</cx:pt>
          <cx:pt idx="72147">2</cx:pt>
          <cx:pt idx="72148">2</cx:pt>
          <cx:pt idx="72149">2</cx:pt>
          <cx:pt idx="72150">5</cx:pt>
          <cx:pt idx="72151">1</cx:pt>
          <cx:pt idx="72152">2</cx:pt>
          <cx:pt idx="72153">2</cx:pt>
          <cx:pt idx="72154">4</cx:pt>
          <cx:pt idx="72155">3</cx:pt>
          <cx:pt idx="72156">3</cx:pt>
          <cx:pt idx="72157">2</cx:pt>
          <cx:pt idx="72158">4</cx:pt>
          <cx:pt idx="72159">5</cx:pt>
          <cx:pt idx="72160">4</cx:pt>
          <cx:pt idx="72161">3</cx:pt>
          <cx:pt idx="72162">0</cx:pt>
          <cx:pt idx="72163">4</cx:pt>
          <cx:pt idx="72164">1</cx:pt>
          <cx:pt idx="72165">2</cx:pt>
          <cx:pt idx="72166">2</cx:pt>
          <cx:pt idx="72167">3</cx:pt>
          <cx:pt idx="72168">3</cx:pt>
          <cx:pt idx="72169">1</cx:pt>
          <cx:pt idx="72170">2</cx:pt>
          <cx:pt idx="72171">1</cx:pt>
          <cx:pt idx="72172">2</cx:pt>
          <cx:pt idx="72173">3</cx:pt>
          <cx:pt idx="72174">4</cx:pt>
          <cx:pt idx="72175">4</cx:pt>
          <cx:pt idx="72176">4</cx:pt>
          <cx:pt idx="72177">1</cx:pt>
          <cx:pt idx="72178">2</cx:pt>
          <cx:pt idx="72179">5</cx:pt>
          <cx:pt idx="72180">3</cx:pt>
          <cx:pt idx="72181">2</cx:pt>
          <cx:pt idx="72182">3</cx:pt>
          <cx:pt idx="72183">2</cx:pt>
          <cx:pt idx="72184">5</cx:pt>
          <cx:pt idx="72185">3</cx:pt>
          <cx:pt idx="72186">4</cx:pt>
          <cx:pt idx="72187">1</cx:pt>
          <cx:pt idx="72188">5</cx:pt>
          <cx:pt idx="72189">1</cx:pt>
          <cx:pt idx="72190">2</cx:pt>
          <cx:pt idx="72191">3</cx:pt>
          <cx:pt idx="72192">1</cx:pt>
          <cx:pt idx="72193">3</cx:pt>
          <cx:pt idx="72194">4</cx:pt>
          <cx:pt idx="72195">3</cx:pt>
          <cx:pt idx="72196">1</cx:pt>
          <cx:pt idx="72197">1</cx:pt>
          <cx:pt idx="72198">2</cx:pt>
          <cx:pt idx="72199">4</cx:pt>
          <cx:pt idx="72200">2</cx:pt>
          <cx:pt idx="72201">3</cx:pt>
          <cx:pt idx="72202">2</cx:pt>
          <cx:pt idx="72203">2</cx:pt>
          <cx:pt idx="72204">1</cx:pt>
          <cx:pt idx="72205">4</cx:pt>
          <cx:pt idx="72206">1</cx:pt>
          <cx:pt idx="72207">3</cx:pt>
          <cx:pt idx="72208">2</cx:pt>
          <cx:pt idx="72209">2</cx:pt>
          <cx:pt idx="72210">4</cx:pt>
          <cx:pt idx="72211">4</cx:pt>
          <cx:pt idx="72212">2</cx:pt>
          <cx:pt idx="72213">1</cx:pt>
          <cx:pt idx="72214">5</cx:pt>
          <cx:pt idx="72215">2</cx:pt>
          <cx:pt idx="72216">5</cx:pt>
          <cx:pt idx="72217">4</cx:pt>
          <cx:pt idx="72218">1</cx:pt>
          <cx:pt idx="72219">2</cx:pt>
          <cx:pt idx="72220">2</cx:pt>
          <cx:pt idx="72221">4</cx:pt>
          <cx:pt idx="72222">4</cx:pt>
          <cx:pt idx="72223">3</cx:pt>
          <cx:pt idx="72224">2</cx:pt>
          <cx:pt idx="72225">4</cx:pt>
          <cx:pt idx="72226">1</cx:pt>
          <cx:pt idx="72227">1</cx:pt>
          <cx:pt idx="72228">5</cx:pt>
          <cx:pt idx="72229">3</cx:pt>
          <cx:pt idx="72230">3</cx:pt>
          <cx:pt idx="72231">5</cx:pt>
          <cx:pt idx="72232">4</cx:pt>
          <cx:pt idx="72233">0</cx:pt>
          <cx:pt idx="72234">2</cx:pt>
          <cx:pt idx="72235">1</cx:pt>
          <cx:pt idx="72236">4</cx:pt>
          <cx:pt idx="72237">3</cx:pt>
          <cx:pt idx="72238">3</cx:pt>
          <cx:pt idx="72239">4</cx:pt>
          <cx:pt idx="72240">0</cx:pt>
          <cx:pt idx="72241">1</cx:pt>
          <cx:pt idx="72242">3</cx:pt>
          <cx:pt idx="72243">3</cx:pt>
          <cx:pt idx="72244">1</cx:pt>
          <cx:pt idx="72245">3</cx:pt>
          <cx:pt idx="72246">4</cx:pt>
          <cx:pt idx="72247">2</cx:pt>
          <cx:pt idx="72248">4</cx:pt>
          <cx:pt idx="72249">3</cx:pt>
          <cx:pt idx="72250">4</cx:pt>
          <cx:pt idx="72251">5</cx:pt>
          <cx:pt idx="72252">1</cx:pt>
          <cx:pt idx="72253">2</cx:pt>
          <cx:pt idx="72254">4</cx:pt>
          <cx:pt idx="72255">2</cx:pt>
          <cx:pt idx="72256">4</cx:pt>
          <cx:pt idx="72257">3</cx:pt>
          <cx:pt idx="72258">2</cx:pt>
          <cx:pt idx="72259">1</cx:pt>
          <cx:pt idx="72260">3</cx:pt>
          <cx:pt idx="72261">3</cx:pt>
          <cx:pt idx="72262">0</cx:pt>
          <cx:pt idx="72263">2</cx:pt>
          <cx:pt idx="72264">4</cx:pt>
          <cx:pt idx="72265">2</cx:pt>
          <cx:pt idx="72266">4</cx:pt>
          <cx:pt idx="72267">5</cx:pt>
          <cx:pt idx="72268">4</cx:pt>
          <cx:pt idx="72269">5</cx:pt>
          <cx:pt idx="72270">4</cx:pt>
          <cx:pt idx="72271">5</cx:pt>
          <cx:pt idx="72272">3</cx:pt>
          <cx:pt idx="72273">3</cx:pt>
          <cx:pt idx="72274">2</cx:pt>
          <cx:pt idx="72275">3</cx:pt>
          <cx:pt idx="72276">3</cx:pt>
          <cx:pt idx="72277">2</cx:pt>
          <cx:pt idx="72278">4</cx:pt>
          <cx:pt idx="72279">3</cx:pt>
          <cx:pt idx="72280">3</cx:pt>
          <cx:pt idx="72281">3</cx:pt>
          <cx:pt idx="72282">1</cx:pt>
          <cx:pt idx="72283">2</cx:pt>
          <cx:pt idx="72284">5</cx:pt>
          <cx:pt idx="72285">3</cx:pt>
          <cx:pt idx="72286">0</cx:pt>
          <cx:pt idx="72287">4</cx:pt>
          <cx:pt idx="72288">3</cx:pt>
          <cx:pt idx="72289">4</cx:pt>
          <cx:pt idx="72290">2</cx:pt>
          <cx:pt idx="72291">4</cx:pt>
          <cx:pt idx="72292">3</cx:pt>
          <cx:pt idx="72293">5</cx:pt>
          <cx:pt idx="72294">3</cx:pt>
          <cx:pt idx="72295">4</cx:pt>
          <cx:pt idx="72296">3</cx:pt>
          <cx:pt idx="72297">3</cx:pt>
          <cx:pt idx="72298">3</cx:pt>
          <cx:pt idx="72299">3</cx:pt>
          <cx:pt idx="72300">1</cx:pt>
          <cx:pt idx="72301">3</cx:pt>
          <cx:pt idx="72302">2</cx:pt>
          <cx:pt idx="72303">0</cx:pt>
          <cx:pt idx="72304">4</cx:pt>
          <cx:pt idx="72305">4</cx:pt>
          <cx:pt idx="72306">4</cx:pt>
          <cx:pt idx="72307">4</cx:pt>
          <cx:pt idx="72308">1</cx:pt>
          <cx:pt idx="72309">2</cx:pt>
          <cx:pt idx="72310">4</cx:pt>
          <cx:pt idx="72311">2</cx:pt>
          <cx:pt idx="72312">3</cx:pt>
          <cx:pt idx="72313">5</cx:pt>
          <cx:pt idx="72314">3</cx:pt>
          <cx:pt idx="72315">3</cx:pt>
          <cx:pt idx="72316">4</cx:pt>
          <cx:pt idx="72317">4</cx:pt>
          <cx:pt idx="72318">1</cx:pt>
          <cx:pt idx="72319">3</cx:pt>
          <cx:pt idx="72320">3</cx:pt>
          <cx:pt idx="72321">1</cx:pt>
          <cx:pt idx="72322">4</cx:pt>
          <cx:pt idx="72323">3</cx:pt>
          <cx:pt idx="72324">2</cx:pt>
          <cx:pt idx="72325">1</cx:pt>
          <cx:pt idx="72326">4</cx:pt>
          <cx:pt idx="72327">5</cx:pt>
          <cx:pt idx="72328">2</cx:pt>
          <cx:pt idx="72329">5</cx:pt>
          <cx:pt idx="72330">4</cx:pt>
          <cx:pt idx="72331">2</cx:pt>
          <cx:pt idx="72332">0</cx:pt>
          <cx:pt idx="72333">4</cx:pt>
          <cx:pt idx="72334">1</cx:pt>
          <cx:pt idx="72335">2</cx:pt>
          <cx:pt idx="72336">2</cx:pt>
          <cx:pt idx="72337">5</cx:pt>
          <cx:pt idx="72338">3</cx:pt>
          <cx:pt idx="72339">5</cx:pt>
          <cx:pt idx="72340">2</cx:pt>
          <cx:pt idx="72341">4</cx:pt>
          <cx:pt idx="72342">3</cx:pt>
          <cx:pt idx="72343">5</cx:pt>
          <cx:pt idx="72344">1</cx:pt>
          <cx:pt idx="72345">3</cx:pt>
          <cx:pt idx="72346">3</cx:pt>
          <cx:pt idx="72347">2</cx:pt>
          <cx:pt idx="72348">3</cx:pt>
          <cx:pt idx="72349">1</cx:pt>
          <cx:pt idx="72350">2</cx:pt>
          <cx:pt idx="72351">1</cx:pt>
          <cx:pt idx="72352">3</cx:pt>
          <cx:pt idx="72353">3</cx:pt>
          <cx:pt idx="72354">2</cx:pt>
          <cx:pt idx="72355">4</cx:pt>
          <cx:pt idx="72356">4</cx:pt>
          <cx:pt idx="72357">4</cx:pt>
          <cx:pt idx="72358">4</cx:pt>
          <cx:pt idx="72359">2</cx:pt>
          <cx:pt idx="72360">2</cx:pt>
          <cx:pt idx="72361">3</cx:pt>
          <cx:pt idx="72362">2</cx:pt>
          <cx:pt idx="72363">3</cx:pt>
          <cx:pt idx="72364">3</cx:pt>
          <cx:pt idx="72365">4</cx:pt>
          <cx:pt idx="72366">4</cx:pt>
          <cx:pt idx="72367">2</cx:pt>
          <cx:pt idx="72368">1</cx:pt>
          <cx:pt idx="72369">4</cx:pt>
          <cx:pt idx="72370">5</cx:pt>
          <cx:pt idx="72371">2</cx:pt>
          <cx:pt idx="72372">4</cx:pt>
          <cx:pt idx="72373">1</cx:pt>
          <cx:pt idx="72374">5</cx:pt>
          <cx:pt idx="72375">5</cx:pt>
          <cx:pt idx="72376">2</cx:pt>
          <cx:pt idx="72377">2</cx:pt>
          <cx:pt idx="72378">2</cx:pt>
          <cx:pt idx="72379">1</cx:pt>
          <cx:pt idx="72380">0</cx:pt>
          <cx:pt idx="72381">2</cx:pt>
          <cx:pt idx="72382">3</cx:pt>
          <cx:pt idx="72383">5</cx:pt>
          <cx:pt idx="72384">4</cx:pt>
          <cx:pt idx="72385">2</cx:pt>
          <cx:pt idx="72386">5</cx:pt>
          <cx:pt idx="72387">2</cx:pt>
          <cx:pt idx="72388">1</cx:pt>
          <cx:pt idx="72389">3</cx:pt>
          <cx:pt idx="72390">5</cx:pt>
          <cx:pt idx="72391">2</cx:pt>
          <cx:pt idx="72392">0</cx:pt>
          <cx:pt idx="72393">5</cx:pt>
          <cx:pt idx="72394">3</cx:pt>
          <cx:pt idx="72395">4</cx:pt>
          <cx:pt idx="72396">2</cx:pt>
          <cx:pt idx="72397">3</cx:pt>
          <cx:pt idx="72398">2</cx:pt>
          <cx:pt idx="72399">2</cx:pt>
          <cx:pt idx="72400">0</cx:pt>
          <cx:pt idx="72401">4</cx:pt>
          <cx:pt idx="72402">4</cx:pt>
          <cx:pt idx="72403">1</cx:pt>
          <cx:pt idx="72404">2</cx:pt>
          <cx:pt idx="72405">2</cx:pt>
          <cx:pt idx="72406">4</cx:pt>
          <cx:pt idx="72407">4</cx:pt>
          <cx:pt idx="72408">5</cx:pt>
          <cx:pt idx="72409">1</cx:pt>
          <cx:pt idx="72410">0</cx:pt>
          <cx:pt idx="72411">4</cx:pt>
          <cx:pt idx="72412">1</cx:pt>
          <cx:pt idx="72413">2</cx:pt>
          <cx:pt idx="72414">2</cx:pt>
          <cx:pt idx="72415">3</cx:pt>
          <cx:pt idx="72416">2</cx:pt>
          <cx:pt idx="72417">3</cx:pt>
          <cx:pt idx="72418">0</cx:pt>
          <cx:pt idx="72419">4</cx:pt>
          <cx:pt idx="72420">0</cx:pt>
          <cx:pt idx="72421">5</cx:pt>
          <cx:pt idx="72422">2</cx:pt>
          <cx:pt idx="72423">3</cx:pt>
          <cx:pt idx="72424">5</cx:pt>
          <cx:pt idx="72425">4</cx:pt>
          <cx:pt idx="72426">3</cx:pt>
          <cx:pt idx="72427">3</cx:pt>
          <cx:pt idx="72428">1</cx:pt>
          <cx:pt idx="72429">2</cx:pt>
          <cx:pt idx="72430">4</cx:pt>
          <cx:pt idx="72431">5</cx:pt>
          <cx:pt idx="72432">2</cx:pt>
          <cx:pt idx="72433">1</cx:pt>
          <cx:pt idx="72434">2</cx:pt>
          <cx:pt idx="72435">2</cx:pt>
          <cx:pt idx="72436">5</cx:pt>
          <cx:pt idx="72437">4</cx:pt>
          <cx:pt idx="72438">1</cx:pt>
          <cx:pt idx="72439">3</cx:pt>
          <cx:pt idx="72440">3</cx:pt>
          <cx:pt idx="72441">1</cx:pt>
          <cx:pt idx="72442">2</cx:pt>
          <cx:pt idx="72443">1</cx:pt>
          <cx:pt idx="72444">4</cx:pt>
          <cx:pt idx="72445">3</cx:pt>
          <cx:pt idx="72446">3</cx:pt>
          <cx:pt idx="72447">2</cx:pt>
          <cx:pt idx="72448">1</cx:pt>
          <cx:pt idx="72449">1</cx:pt>
          <cx:pt idx="72450">3</cx:pt>
          <cx:pt idx="72451">1</cx:pt>
          <cx:pt idx="72452">3</cx:pt>
          <cx:pt idx="72453">3</cx:pt>
          <cx:pt idx="72454">3</cx:pt>
          <cx:pt idx="72455">3</cx:pt>
          <cx:pt idx="72456">1</cx:pt>
          <cx:pt idx="72457">1</cx:pt>
          <cx:pt idx="72458">5</cx:pt>
          <cx:pt idx="72459">3</cx:pt>
          <cx:pt idx="72460">2</cx:pt>
          <cx:pt idx="72461">5</cx:pt>
          <cx:pt idx="72462">3</cx:pt>
          <cx:pt idx="72463">3</cx:pt>
          <cx:pt idx="72464">4</cx:pt>
          <cx:pt idx="72465">2</cx:pt>
          <cx:pt idx="72466">4</cx:pt>
          <cx:pt idx="72467">4</cx:pt>
          <cx:pt idx="72468">4</cx:pt>
          <cx:pt idx="72469">2</cx:pt>
          <cx:pt idx="72470">5</cx:pt>
          <cx:pt idx="72471">4</cx:pt>
          <cx:pt idx="72472">5</cx:pt>
          <cx:pt idx="72473">5</cx:pt>
          <cx:pt idx="72474">3</cx:pt>
          <cx:pt idx="72475">3</cx:pt>
          <cx:pt idx="72476">3</cx:pt>
          <cx:pt idx="72477">3</cx:pt>
          <cx:pt idx="72478">4</cx:pt>
          <cx:pt idx="72479">1</cx:pt>
          <cx:pt idx="72480">5</cx:pt>
          <cx:pt idx="72481">4</cx:pt>
          <cx:pt idx="72482">1</cx:pt>
          <cx:pt idx="72483">3</cx:pt>
          <cx:pt idx="72484">2</cx:pt>
          <cx:pt idx="72485">4</cx:pt>
          <cx:pt idx="72486">0</cx:pt>
          <cx:pt idx="72487">3</cx:pt>
          <cx:pt idx="72488">1</cx:pt>
          <cx:pt idx="72489">4</cx:pt>
          <cx:pt idx="72490">4</cx:pt>
          <cx:pt idx="72491">3</cx:pt>
          <cx:pt idx="72492">3</cx:pt>
          <cx:pt idx="72493">3</cx:pt>
          <cx:pt idx="72494">4</cx:pt>
          <cx:pt idx="72495">2</cx:pt>
          <cx:pt idx="72496">2</cx:pt>
          <cx:pt idx="72497">2</cx:pt>
          <cx:pt idx="72498">3</cx:pt>
          <cx:pt idx="72499">5</cx:pt>
          <cx:pt idx="72500">2</cx:pt>
          <cx:pt idx="72501">1</cx:pt>
          <cx:pt idx="72502">2</cx:pt>
          <cx:pt idx="72503">1</cx:pt>
          <cx:pt idx="72504">2</cx:pt>
          <cx:pt idx="72505">3</cx:pt>
          <cx:pt idx="72506">5</cx:pt>
          <cx:pt idx="72507">4</cx:pt>
          <cx:pt idx="72508">4</cx:pt>
          <cx:pt idx="72509">5</cx:pt>
          <cx:pt idx="72510">3</cx:pt>
          <cx:pt idx="72511">1</cx:pt>
          <cx:pt idx="72512">4</cx:pt>
          <cx:pt idx="72513">1</cx:pt>
          <cx:pt idx="72514">5</cx:pt>
          <cx:pt idx="72515">2</cx:pt>
          <cx:pt idx="72516">3</cx:pt>
          <cx:pt idx="72517">5</cx:pt>
          <cx:pt idx="72518">4</cx:pt>
          <cx:pt idx="72519">1</cx:pt>
          <cx:pt idx="72520">0</cx:pt>
          <cx:pt idx="72521">5</cx:pt>
          <cx:pt idx="72522">2</cx:pt>
          <cx:pt idx="72523">2</cx:pt>
          <cx:pt idx="72524">3</cx:pt>
          <cx:pt idx="72525">2</cx:pt>
          <cx:pt idx="72526">2</cx:pt>
          <cx:pt idx="72527">5</cx:pt>
          <cx:pt idx="72528">5</cx:pt>
          <cx:pt idx="72529">2</cx:pt>
          <cx:pt idx="72530">2</cx:pt>
          <cx:pt idx="72531">3</cx:pt>
          <cx:pt idx="72532">5</cx:pt>
          <cx:pt idx="72533">2</cx:pt>
          <cx:pt idx="72534">1</cx:pt>
          <cx:pt idx="72535">5</cx:pt>
          <cx:pt idx="72536">3</cx:pt>
          <cx:pt idx="72537">1</cx:pt>
          <cx:pt idx="72538">5</cx:pt>
          <cx:pt idx="72539">1</cx:pt>
          <cx:pt idx="72540">1</cx:pt>
          <cx:pt idx="72541">2</cx:pt>
          <cx:pt idx="72542">5</cx:pt>
          <cx:pt idx="72543">3</cx:pt>
          <cx:pt idx="72544">3</cx:pt>
          <cx:pt idx="72545">3</cx:pt>
          <cx:pt idx="72546">1</cx:pt>
          <cx:pt idx="72547">2</cx:pt>
          <cx:pt idx="72548">5</cx:pt>
          <cx:pt idx="72549">2</cx:pt>
          <cx:pt idx="72550">1</cx:pt>
          <cx:pt idx="72551">4</cx:pt>
          <cx:pt idx="72552">0</cx:pt>
          <cx:pt idx="72553">5</cx:pt>
          <cx:pt idx="72554">5</cx:pt>
          <cx:pt idx="72555">5</cx:pt>
          <cx:pt idx="72556">2</cx:pt>
          <cx:pt idx="72557">1</cx:pt>
          <cx:pt idx="72558">3</cx:pt>
          <cx:pt idx="72559">1</cx:pt>
          <cx:pt idx="72560">3</cx:pt>
          <cx:pt idx="72561">3</cx:pt>
          <cx:pt idx="72562">3</cx:pt>
          <cx:pt idx="72563">5</cx:pt>
          <cx:pt idx="72564">3</cx:pt>
          <cx:pt idx="72565">1</cx:pt>
          <cx:pt idx="72566">4</cx:pt>
          <cx:pt idx="72567">3</cx:pt>
          <cx:pt idx="72568">4</cx:pt>
          <cx:pt idx="72569">1</cx:pt>
          <cx:pt idx="72570">4</cx:pt>
          <cx:pt idx="72571">1</cx:pt>
          <cx:pt idx="72572">2</cx:pt>
          <cx:pt idx="72573">5</cx:pt>
          <cx:pt idx="72574">4</cx:pt>
          <cx:pt idx="72575">2</cx:pt>
          <cx:pt idx="72576">1</cx:pt>
          <cx:pt idx="72577">2</cx:pt>
          <cx:pt idx="72578">4</cx:pt>
          <cx:pt idx="72579">1</cx:pt>
          <cx:pt idx="72580">2</cx:pt>
          <cx:pt idx="72581">5</cx:pt>
          <cx:pt idx="72582">1</cx:pt>
          <cx:pt idx="72583">4</cx:pt>
          <cx:pt idx="72584">2</cx:pt>
          <cx:pt idx="72585">3</cx:pt>
          <cx:pt idx="72586">1</cx:pt>
          <cx:pt idx="72587">3</cx:pt>
          <cx:pt idx="72588">5</cx:pt>
          <cx:pt idx="72589">3</cx:pt>
          <cx:pt idx="72590">4</cx:pt>
          <cx:pt idx="72591">2</cx:pt>
          <cx:pt idx="72592">3</cx:pt>
          <cx:pt idx="72593">3</cx:pt>
          <cx:pt idx="72594">2</cx:pt>
          <cx:pt idx="72595">1</cx:pt>
          <cx:pt idx="72596">4</cx:pt>
          <cx:pt idx="72597">1</cx:pt>
          <cx:pt idx="72598">1</cx:pt>
          <cx:pt idx="72599">3</cx:pt>
          <cx:pt idx="72600">2</cx:pt>
          <cx:pt idx="72601">2</cx:pt>
          <cx:pt idx="72602">4</cx:pt>
          <cx:pt idx="72603">3</cx:pt>
          <cx:pt idx="72604">2</cx:pt>
          <cx:pt idx="72605">4</cx:pt>
          <cx:pt idx="72606">4</cx:pt>
          <cx:pt idx="72607">1</cx:pt>
          <cx:pt idx="72608">3</cx:pt>
          <cx:pt idx="72609">3</cx:pt>
          <cx:pt idx="72610">2</cx:pt>
          <cx:pt idx="72611">3</cx:pt>
          <cx:pt idx="72612">2</cx:pt>
          <cx:pt idx="72613">3</cx:pt>
          <cx:pt idx="72614">1</cx:pt>
          <cx:pt idx="72615">4</cx:pt>
          <cx:pt idx="72616">0</cx:pt>
          <cx:pt idx="72617">2</cx:pt>
          <cx:pt idx="72618">2</cx:pt>
          <cx:pt idx="72619">2</cx:pt>
          <cx:pt idx="72620">2</cx:pt>
          <cx:pt idx="72621">1</cx:pt>
          <cx:pt idx="72622">3</cx:pt>
          <cx:pt idx="72623">2</cx:pt>
          <cx:pt idx="72624">3</cx:pt>
          <cx:pt idx="72625">2</cx:pt>
          <cx:pt idx="72626">3</cx:pt>
          <cx:pt idx="72627">5</cx:pt>
          <cx:pt idx="72628">3</cx:pt>
          <cx:pt idx="72629">5</cx:pt>
          <cx:pt idx="72630">4</cx:pt>
          <cx:pt idx="72631">5</cx:pt>
          <cx:pt idx="72632">3</cx:pt>
          <cx:pt idx="72633">2</cx:pt>
          <cx:pt idx="72634">4</cx:pt>
          <cx:pt idx="72635">4</cx:pt>
          <cx:pt idx="72636">2</cx:pt>
          <cx:pt idx="72637">3</cx:pt>
          <cx:pt idx="72638">4</cx:pt>
          <cx:pt idx="72639">1</cx:pt>
          <cx:pt idx="72640">5</cx:pt>
          <cx:pt idx="72641">3</cx:pt>
          <cx:pt idx="72642">1</cx:pt>
          <cx:pt idx="72643">5</cx:pt>
          <cx:pt idx="72644">5</cx:pt>
          <cx:pt idx="72645">5</cx:pt>
          <cx:pt idx="72646">2</cx:pt>
          <cx:pt idx="72647">5</cx:pt>
          <cx:pt idx="72648">4</cx:pt>
          <cx:pt idx="72649">4</cx:pt>
          <cx:pt idx="72650">4</cx:pt>
          <cx:pt idx="72651">1</cx:pt>
          <cx:pt idx="72652">3</cx:pt>
          <cx:pt idx="72653">2</cx:pt>
          <cx:pt idx="72654">3</cx:pt>
          <cx:pt idx="72655">4</cx:pt>
          <cx:pt idx="72656">5</cx:pt>
          <cx:pt idx="72657">3</cx:pt>
          <cx:pt idx="72658">2</cx:pt>
          <cx:pt idx="72659">5</cx:pt>
          <cx:pt idx="72660">4</cx:pt>
          <cx:pt idx="72661">3</cx:pt>
          <cx:pt idx="72662">3</cx:pt>
          <cx:pt idx="72663">2</cx:pt>
          <cx:pt idx="72664">4</cx:pt>
          <cx:pt idx="72665">2</cx:pt>
          <cx:pt idx="72666">5</cx:pt>
          <cx:pt idx="72667">1</cx:pt>
          <cx:pt idx="72668">2</cx:pt>
          <cx:pt idx="72669">3</cx:pt>
          <cx:pt idx="72670">5</cx:pt>
          <cx:pt idx="72671">1</cx:pt>
          <cx:pt idx="72672">3</cx:pt>
          <cx:pt idx="72673">4</cx:pt>
          <cx:pt idx="72674">5</cx:pt>
          <cx:pt idx="72675">3</cx:pt>
          <cx:pt idx="72676">1</cx:pt>
          <cx:pt idx="72677">3</cx:pt>
          <cx:pt idx="72678">3</cx:pt>
          <cx:pt idx="72679">3</cx:pt>
          <cx:pt idx="72680">2</cx:pt>
          <cx:pt idx="72681">5</cx:pt>
          <cx:pt idx="72682">3</cx:pt>
          <cx:pt idx="72683">4</cx:pt>
          <cx:pt idx="72684">3</cx:pt>
          <cx:pt idx="72685">2</cx:pt>
          <cx:pt idx="72686">1</cx:pt>
          <cx:pt idx="72687">3</cx:pt>
          <cx:pt idx="72688">0</cx:pt>
          <cx:pt idx="72689">2</cx:pt>
          <cx:pt idx="72690">4</cx:pt>
          <cx:pt idx="72691">1</cx:pt>
          <cx:pt idx="72692">4</cx:pt>
          <cx:pt idx="72693">3</cx:pt>
          <cx:pt idx="72694">5</cx:pt>
          <cx:pt idx="72695">2</cx:pt>
          <cx:pt idx="72696">2</cx:pt>
          <cx:pt idx="72697">2</cx:pt>
          <cx:pt idx="72698">2</cx:pt>
          <cx:pt idx="72699">5</cx:pt>
          <cx:pt idx="72700">1</cx:pt>
          <cx:pt idx="72701">3</cx:pt>
          <cx:pt idx="72702">2</cx:pt>
          <cx:pt idx="72703">5</cx:pt>
          <cx:pt idx="72704">4</cx:pt>
          <cx:pt idx="72705">4</cx:pt>
          <cx:pt idx="72706">2</cx:pt>
          <cx:pt idx="72707">3</cx:pt>
          <cx:pt idx="72708">0</cx:pt>
          <cx:pt idx="72709">3</cx:pt>
          <cx:pt idx="72710">2</cx:pt>
          <cx:pt idx="72711">3</cx:pt>
          <cx:pt idx="72712">1</cx:pt>
          <cx:pt idx="72713">2</cx:pt>
          <cx:pt idx="72714">0</cx:pt>
          <cx:pt idx="72715">5</cx:pt>
          <cx:pt idx="72716">1</cx:pt>
          <cx:pt idx="72717">2</cx:pt>
          <cx:pt idx="72718">1</cx:pt>
          <cx:pt idx="72719">3</cx:pt>
          <cx:pt idx="72720">4</cx:pt>
          <cx:pt idx="72721">1</cx:pt>
          <cx:pt idx="72722">2</cx:pt>
          <cx:pt idx="72723">3</cx:pt>
          <cx:pt idx="72724">4</cx:pt>
          <cx:pt idx="72725">2</cx:pt>
          <cx:pt idx="72726">3</cx:pt>
          <cx:pt idx="72727">4</cx:pt>
          <cx:pt idx="72728">2</cx:pt>
          <cx:pt idx="72729">3</cx:pt>
          <cx:pt idx="72730">2</cx:pt>
          <cx:pt idx="72731">2</cx:pt>
          <cx:pt idx="72732">2</cx:pt>
          <cx:pt idx="72733">5</cx:pt>
          <cx:pt idx="72734">2</cx:pt>
          <cx:pt idx="72735">1</cx:pt>
          <cx:pt idx="72736">2</cx:pt>
          <cx:pt idx="72737">4</cx:pt>
          <cx:pt idx="72738">3</cx:pt>
          <cx:pt idx="72739">3</cx:pt>
          <cx:pt idx="72740">5</cx:pt>
          <cx:pt idx="72741">1</cx:pt>
          <cx:pt idx="72742">4</cx:pt>
          <cx:pt idx="72743">3</cx:pt>
          <cx:pt idx="72744">3</cx:pt>
          <cx:pt idx="72745">4</cx:pt>
          <cx:pt idx="72746">2</cx:pt>
          <cx:pt idx="72747">1</cx:pt>
          <cx:pt idx="72748">5</cx:pt>
          <cx:pt idx="72749">2</cx:pt>
          <cx:pt idx="72750">4</cx:pt>
          <cx:pt idx="72751">2</cx:pt>
          <cx:pt idx="72752">4</cx:pt>
          <cx:pt idx="72753">5</cx:pt>
          <cx:pt idx="72754">2</cx:pt>
          <cx:pt idx="72755">4</cx:pt>
          <cx:pt idx="72756">3</cx:pt>
          <cx:pt idx="72757">2</cx:pt>
          <cx:pt idx="72758">3</cx:pt>
          <cx:pt idx="72759">2</cx:pt>
          <cx:pt idx="72760">3</cx:pt>
          <cx:pt idx="72761">5</cx:pt>
          <cx:pt idx="72762">4</cx:pt>
          <cx:pt idx="72763">2</cx:pt>
          <cx:pt idx="72764">2</cx:pt>
          <cx:pt idx="72765">1</cx:pt>
          <cx:pt idx="72766">3</cx:pt>
          <cx:pt idx="72767">3</cx:pt>
          <cx:pt idx="72768">1</cx:pt>
          <cx:pt idx="72769">5</cx:pt>
          <cx:pt idx="72770">5</cx:pt>
          <cx:pt idx="72771">1</cx:pt>
          <cx:pt idx="72772">3</cx:pt>
          <cx:pt idx="72773">4</cx:pt>
          <cx:pt idx="72774">2</cx:pt>
          <cx:pt idx="72775">4</cx:pt>
          <cx:pt idx="72776">4</cx:pt>
          <cx:pt idx="72777">5</cx:pt>
          <cx:pt idx="72778">4</cx:pt>
          <cx:pt idx="72779">3</cx:pt>
          <cx:pt idx="72780">1</cx:pt>
          <cx:pt idx="72781">1</cx:pt>
          <cx:pt idx="72782">1</cx:pt>
          <cx:pt idx="72783">0</cx:pt>
          <cx:pt idx="72784">2</cx:pt>
          <cx:pt idx="72785">5</cx:pt>
          <cx:pt idx="72786">3</cx:pt>
          <cx:pt idx="72787">2</cx:pt>
          <cx:pt idx="72788">3</cx:pt>
          <cx:pt idx="72789">5</cx:pt>
          <cx:pt idx="72790">1</cx:pt>
          <cx:pt idx="72791">4</cx:pt>
          <cx:pt idx="72792">4</cx:pt>
          <cx:pt idx="72793">3</cx:pt>
          <cx:pt idx="72794">2</cx:pt>
          <cx:pt idx="72795">2</cx:pt>
          <cx:pt idx="72796">3</cx:pt>
          <cx:pt idx="72797">2</cx:pt>
          <cx:pt idx="72798">5</cx:pt>
          <cx:pt idx="72799">3</cx:pt>
          <cx:pt idx="72800">5</cx:pt>
          <cx:pt idx="72801">1</cx:pt>
          <cx:pt idx="72802">2</cx:pt>
          <cx:pt idx="72803">5</cx:pt>
          <cx:pt idx="72804">2</cx:pt>
          <cx:pt idx="72805">1</cx:pt>
          <cx:pt idx="72806">2</cx:pt>
          <cx:pt idx="72807">3</cx:pt>
          <cx:pt idx="72808">3</cx:pt>
          <cx:pt idx="72809">4</cx:pt>
          <cx:pt idx="72810">4</cx:pt>
          <cx:pt idx="72811">3</cx:pt>
          <cx:pt idx="72812">3</cx:pt>
          <cx:pt idx="72813">3</cx:pt>
          <cx:pt idx="72814">0</cx:pt>
          <cx:pt idx="72815">0</cx:pt>
          <cx:pt idx="72816">5</cx:pt>
          <cx:pt idx="72817">5</cx:pt>
          <cx:pt idx="72818">4</cx:pt>
          <cx:pt idx="72819">5</cx:pt>
          <cx:pt idx="72820">1</cx:pt>
          <cx:pt idx="72821">2</cx:pt>
          <cx:pt idx="72822">2</cx:pt>
          <cx:pt idx="72823">2</cx:pt>
          <cx:pt idx="72824">4</cx:pt>
          <cx:pt idx="72825">1</cx:pt>
          <cx:pt idx="72826">2</cx:pt>
          <cx:pt idx="72827">2</cx:pt>
          <cx:pt idx="72828">3</cx:pt>
          <cx:pt idx="72829">4</cx:pt>
          <cx:pt idx="72830">3</cx:pt>
          <cx:pt idx="72831">2</cx:pt>
          <cx:pt idx="72832">2</cx:pt>
          <cx:pt idx="72833">5</cx:pt>
          <cx:pt idx="72834">0</cx:pt>
          <cx:pt idx="72835">2</cx:pt>
          <cx:pt idx="72836">5</cx:pt>
          <cx:pt idx="72837">4</cx:pt>
          <cx:pt idx="72838">3</cx:pt>
          <cx:pt idx="72839">3</cx:pt>
          <cx:pt idx="72840">1</cx:pt>
          <cx:pt idx="72841">1</cx:pt>
          <cx:pt idx="72842">1</cx:pt>
          <cx:pt idx="72843">5</cx:pt>
          <cx:pt idx="72844">0</cx:pt>
          <cx:pt idx="72845">5</cx:pt>
          <cx:pt idx="72846">1</cx:pt>
          <cx:pt idx="72847">1</cx:pt>
          <cx:pt idx="72848">4</cx:pt>
          <cx:pt idx="72849">0</cx:pt>
          <cx:pt idx="72850">4</cx:pt>
          <cx:pt idx="72851">2</cx:pt>
          <cx:pt idx="72852">4</cx:pt>
          <cx:pt idx="72853">3</cx:pt>
          <cx:pt idx="72854">2</cx:pt>
          <cx:pt idx="72855">2</cx:pt>
          <cx:pt idx="72856">3</cx:pt>
          <cx:pt idx="72857">3</cx:pt>
          <cx:pt idx="72858">2</cx:pt>
          <cx:pt idx="72859">3</cx:pt>
          <cx:pt idx="72860">2</cx:pt>
          <cx:pt idx="72861">5</cx:pt>
          <cx:pt idx="72862">1</cx:pt>
          <cx:pt idx="72863">2</cx:pt>
          <cx:pt idx="72864">5</cx:pt>
          <cx:pt idx="72865">3</cx:pt>
          <cx:pt idx="72866">3</cx:pt>
          <cx:pt idx="72867">0</cx:pt>
          <cx:pt idx="72868">4</cx:pt>
          <cx:pt idx="72869">5</cx:pt>
          <cx:pt idx="72870">2</cx:pt>
          <cx:pt idx="72871">4</cx:pt>
          <cx:pt idx="72872">4</cx:pt>
          <cx:pt idx="72873">4</cx:pt>
          <cx:pt idx="72874">2</cx:pt>
          <cx:pt idx="72875">1</cx:pt>
          <cx:pt idx="72876">5</cx:pt>
          <cx:pt idx="72877">4</cx:pt>
          <cx:pt idx="72878">4</cx:pt>
          <cx:pt idx="72879">4</cx:pt>
          <cx:pt idx="72880">3</cx:pt>
          <cx:pt idx="72881">3</cx:pt>
          <cx:pt idx="72882">4</cx:pt>
          <cx:pt idx="72883">1</cx:pt>
          <cx:pt idx="72884">2</cx:pt>
          <cx:pt idx="72885">4</cx:pt>
          <cx:pt idx="72886">3</cx:pt>
          <cx:pt idx="72887">5</cx:pt>
          <cx:pt idx="72888">4</cx:pt>
          <cx:pt idx="72889">1</cx:pt>
          <cx:pt idx="72890">2</cx:pt>
          <cx:pt idx="72891">3</cx:pt>
          <cx:pt idx="72892">2</cx:pt>
          <cx:pt idx="72893">5</cx:pt>
          <cx:pt idx="72894">3</cx:pt>
          <cx:pt idx="72895">1</cx:pt>
          <cx:pt idx="72896">4</cx:pt>
          <cx:pt idx="72897">1</cx:pt>
          <cx:pt idx="72898">1</cx:pt>
          <cx:pt idx="72899">5</cx:pt>
          <cx:pt idx="72900">2</cx:pt>
          <cx:pt idx="72901">0</cx:pt>
          <cx:pt idx="72902">1</cx:pt>
          <cx:pt idx="72903">1</cx:pt>
          <cx:pt idx="72904">3</cx:pt>
          <cx:pt idx="72905">3</cx:pt>
          <cx:pt idx="72906">4</cx:pt>
          <cx:pt idx="72907">2</cx:pt>
          <cx:pt idx="72908">3</cx:pt>
          <cx:pt idx="72909">2</cx:pt>
          <cx:pt idx="72910">5</cx:pt>
          <cx:pt idx="72911">4</cx:pt>
          <cx:pt idx="72912">5</cx:pt>
          <cx:pt idx="72913">1</cx:pt>
          <cx:pt idx="72914">4</cx:pt>
          <cx:pt idx="72915">1</cx:pt>
          <cx:pt idx="72916">1</cx:pt>
          <cx:pt idx="72917">3</cx:pt>
          <cx:pt idx="72918">3</cx:pt>
          <cx:pt idx="72919">2</cx:pt>
          <cx:pt idx="72920">4</cx:pt>
          <cx:pt idx="72921">3</cx:pt>
          <cx:pt idx="72922">1</cx:pt>
          <cx:pt idx="72923">5</cx:pt>
          <cx:pt idx="72924">4</cx:pt>
          <cx:pt idx="72925">4</cx:pt>
          <cx:pt idx="72926">0</cx:pt>
          <cx:pt idx="72927">4</cx:pt>
          <cx:pt idx="72928">1</cx:pt>
          <cx:pt idx="72929">2</cx:pt>
          <cx:pt idx="72930">3</cx:pt>
          <cx:pt idx="72931">5</cx:pt>
          <cx:pt idx="72932">1</cx:pt>
          <cx:pt idx="72933">4</cx:pt>
          <cx:pt idx="72934">3</cx:pt>
          <cx:pt idx="72935">1</cx:pt>
          <cx:pt idx="72936">4</cx:pt>
          <cx:pt idx="72937">5</cx:pt>
          <cx:pt idx="72938">2</cx:pt>
          <cx:pt idx="72939">2</cx:pt>
          <cx:pt idx="72940">1</cx:pt>
          <cx:pt idx="72941">4</cx:pt>
          <cx:pt idx="72942">3</cx:pt>
          <cx:pt idx="72943">5</cx:pt>
          <cx:pt idx="72944">3</cx:pt>
          <cx:pt idx="72945">1</cx:pt>
          <cx:pt idx="72946">4</cx:pt>
          <cx:pt idx="72947">3</cx:pt>
          <cx:pt idx="72948">4</cx:pt>
          <cx:pt idx="72949">5</cx:pt>
          <cx:pt idx="72950">4</cx:pt>
          <cx:pt idx="72951">5</cx:pt>
          <cx:pt idx="72952">3</cx:pt>
          <cx:pt idx="72953">2</cx:pt>
          <cx:pt idx="72954">5</cx:pt>
          <cx:pt idx="72955">2</cx:pt>
          <cx:pt idx="72956">4</cx:pt>
          <cx:pt idx="72957">1</cx:pt>
          <cx:pt idx="72958">4</cx:pt>
          <cx:pt idx="72959">5</cx:pt>
          <cx:pt idx="72960">3</cx:pt>
          <cx:pt idx="72961">1</cx:pt>
          <cx:pt idx="72962">1</cx:pt>
          <cx:pt idx="72963">1</cx:pt>
          <cx:pt idx="72964">5</cx:pt>
          <cx:pt idx="72965">1</cx:pt>
          <cx:pt idx="72966">0</cx:pt>
          <cx:pt idx="72967">4</cx:pt>
          <cx:pt idx="72968">2</cx:pt>
          <cx:pt idx="72969">5</cx:pt>
          <cx:pt idx="72970">3</cx:pt>
          <cx:pt idx="72971">1</cx:pt>
          <cx:pt idx="72972">5</cx:pt>
          <cx:pt idx="72973">1</cx:pt>
          <cx:pt idx="72974">3</cx:pt>
          <cx:pt idx="72975">4</cx:pt>
          <cx:pt idx="72976">3</cx:pt>
          <cx:pt idx="72977">3</cx:pt>
          <cx:pt idx="72978">3</cx:pt>
          <cx:pt idx="72979">3</cx:pt>
          <cx:pt idx="72980">4</cx:pt>
          <cx:pt idx="72981">4</cx:pt>
          <cx:pt idx="72982">5</cx:pt>
          <cx:pt idx="72983">1</cx:pt>
          <cx:pt idx="72984">4</cx:pt>
          <cx:pt idx="72985">4</cx:pt>
          <cx:pt idx="72986">3</cx:pt>
          <cx:pt idx="72987">3</cx:pt>
          <cx:pt idx="72988">4</cx:pt>
          <cx:pt idx="72989">3</cx:pt>
          <cx:pt idx="72990">3</cx:pt>
          <cx:pt idx="72991">3</cx:pt>
          <cx:pt idx="72992">1</cx:pt>
          <cx:pt idx="72993">3</cx:pt>
          <cx:pt idx="72994">4</cx:pt>
          <cx:pt idx="72995">2</cx:pt>
          <cx:pt idx="72996">2</cx:pt>
          <cx:pt idx="72997">1</cx:pt>
          <cx:pt idx="72998">3</cx:pt>
          <cx:pt idx="72999">1</cx:pt>
          <cx:pt idx="73000">3</cx:pt>
          <cx:pt idx="73001">4</cx:pt>
          <cx:pt idx="73002">2</cx:pt>
          <cx:pt idx="73003">5</cx:pt>
          <cx:pt idx="73004">2</cx:pt>
          <cx:pt idx="73005">2</cx:pt>
          <cx:pt idx="73006">4</cx:pt>
          <cx:pt idx="73007">1</cx:pt>
          <cx:pt idx="73008">0</cx:pt>
          <cx:pt idx="73009">2</cx:pt>
          <cx:pt idx="73010">3</cx:pt>
          <cx:pt idx="73011">3</cx:pt>
          <cx:pt idx="73012">3</cx:pt>
          <cx:pt idx="73013">2</cx:pt>
          <cx:pt idx="73014">5</cx:pt>
          <cx:pt idx="73015">2</cx:pt>
          <cx:pt idx="73016">5</cx:pt>
          <cx:pt idx="73017">2</cx:pt>
          <cx:pt idx="73018">4</cx:pt>
          <cx:pt idx="73019">3</cx:pt>
          <cx:pt idx="73020">1</cx:pt>
          <cx:pt idx="73021">2</cx:pt>
          <cx:pt idx="73022">3</cx:pt>
          <cx:pt idx="73023">2</cx:pt>
          <cx:pt idx="73024">2</cx:pt>
          <cx:pt idx="73025">4</cx:pt>
          <cx:pt idx="73026">3</cx:pt>
          <cx:pt idx="73027">4</cx:pt>
          <cx:pt idx="73028">0</cx:pt>
          <cx:pt idx="73029">5</cx:pt>
          <cx:pt idx="73030">4</cx:pt>
          <cx:pt idx="73031">5</cx:pt>
          <cx:pt idx="73032">5</cx:pt>
          <cx:pt idx="73033">2</cx:pt>
          <cx:pt idx="73034">3</cx:pt>
          <cx:pt idx="73035">1</cx:pt>
          <cx:pt idx="73036">1</cx:pt>
          <cx:pt idx="73037">1</cx:pt>
          <cx:pt idx="73038">5</cx:pt>
          <cx:pt idx="73039">5</cx:pt>
          <cx:pt idx="73040">4</cx:pt>
          <cx:pt idx="73041">3</cx:pt>
          <cx:pt idx="73042">2</cx:pt>
          <cx:pt idx="73043">1</cx:pt>
          <cx:pt idx="73044">3</cx:pt>
          <cx:pt idx="73045">5</cx:pt>
          <cx:pt idx="73046">3</cx:pt>
          <cx:pt idx="73047">5</cx:pt>
          <cx:pt idx="73048">4</cx:pt>
          <cx:pt idx="73049">3</cx:pt>
          <cx:pt idx="73050">3</cx:pt>
          <cx:pt idx="73051">2</cx:pt>
          <cx:pt idx="73052">5</cx:pt>
          <cx:pt idx="73053">5</cx:pt>
          <cx:pt idx="73054">0</cx:pt>
          <cx:pt idx="73055">1</cx:pt>
          <cx:pt idx="73056">3</cx:pt>
          <cx:pt idx="73057">4</cx:pt>
          <cx:pt idx="73058">3</cx:pt>
          <cx:pt idx="73059">0</cx:pt>
          <cx:pt idx="73060">5</cx:pt>
          <cx:pt idx="73061">5</cx:pt>
          <cx:pt idx="73062">4</cx:pt>
          <cx:pt idx="73063">2</cx:pt>
          <cx:pt idx="73064">3</cx:pt>
          <cx:pt idx="73065">4</cx:pt>
          <cx:pt idx="73066">4</cx:pt>
          <cx:pt idx="73067">1</cx:pt>
          <cx:pt idx="73068">3</cx:pt>
          <cx:pt idx="73069">1</cx:pt>
          <cx:pt idx="73070">4</cx:pt>
          <cx:pt idx="73071">2</cx:pt>
          <cx:pt idx="73072">3</cx:pt>
          <cx:pt idx="73073">1</cx:pt>
          <cx:pt idx="73074">0</cx:pt>
          <cx:pt idx="73075">4</cx:pt>
          <cx:pt idx="73076">1</cx:pt>
          <cx:pt idx="73077">0</cx:pt>
          <cx:pt idx="73078">1</cx:pt>
          <cx:pt idx="73079">2</cx:pt>
          <cx:pt idx="73080">2</cx:pt>
          <cx:pt idx="73081">1</cx:pt>
          <cx:pt idx="73082">2</cx:pt>
          <cx:pt idx="73083">4</cx:pt>
          <cx:pt idx="73084">2</cx:pt>
          <cx:pt idx="73085">1</cx:pt>
          <cx:pt idx="73086">4</cx:pt>
          <cx:pt idx="73087">1</cx:pt>
          <cx:pt idx="73088">3</cx:pt>
          <cx:pt idx="73089">3</cx:pt>
          <cx:pt idx="73090">1</cx:pt>
          <cx:pt idx="73091">4</cx:pt>
          <cx:pt idx="73092">5</cx:pt>
          <cx:pt idx="73093">3</cx:pt>
          <cx:pt idx="73094">3</cx:pt>
          <cx:pt idx="73095">2</cx:pt>
          <cx:pt idx="73096">3</cx:pt>
          <cx:pt idx="73097">1</cx:pt>
          <cx:pt idx="73098">2</cx:pt>
          <cx:pt idx="73099">5</cx:pt>
          <cx:pt idx="73100">2</cx:pt>
          <cx:pt idx="73101">5</cx:pt>
          <cx:pt idx="73102">3</cx:pt>
          <cx:pt idx="73103">2</cx:pt>
          <cx:pt idx="73104">1</cx:pt>
          <cx:pt idx="73105">3</cx:pt>
          <cx:pt idx="73106">3</cx:pt>
          <cx:pt idx="73107">1</cx:pt>
          <cx:pt idx="73108">1</cx:pt>
          <cx:pt idx="73109">4</cx:pt>
          <cx:pt idx="73110">0</cx:pt>
          <cx:pt idx="73111">4</cx:pt>
          <cx:pt idx="73112">2</cx:pt>
          <cx:pt idx="73113">4</cx:pt>
          <cx:pt idx="73114">3</cx:pt>
          <cx:pt idx="73115">2</cx:pt>
          <cx:pt idx="73116">1</cx:pt>
          <cx:pt idx="73117">5</cx:pt>
          <cx:pt idx="73118">5</cx:pt>
          <cx:pt idx="73119">4</cx:pt>
          <cx:pt idx="73120">1</cx:pt>
          <cx:pt idx="73121">0</cx:pt>
          <cx:pt idx="73122">3</cx:pt>
          <cx:pt idx="73123">3</cx:pt>
          <cx:pt idx="73124">3</cx:pt>
          <cx:pt idx="73125">3</cx:pt>
          <cx:pt idx="73126">2</cx:pt>
          <cx:pt idx="73127">5</cx:pt>
          <cx:pt idx="73128">4</cx:pt>
          <cx:pt idx="73129">1</cx:pt>
          <cx:pt idx="73130">4</cx:pt>
          <cx:pt idx="73131">2</cx:pt>
          <cx:pt idx="73132">5</cx:pt>
          <cx:pt idx="73133">4</cx:pt>
          <cx:pt idx="73134">1</cx:pt>
          <cx:pt idx="73135">1</cx:pt>
          <cx:pt idx="73136">5</cx:pt>
          <cx:pt idx="73137">1</cx:pt>
          <cx:pt idx="73138">2</cx:pt>
          <cx:pt idx="73139">2</cx:pt>
          <cx:pt idx="73140">0</cx:pt>
          <cx:pt idx="73141">3</cx:pt>
          <cx:pt idx="73142">4</cx:pt>
          <cx:pt idx="73143">4</cx:pt>
          <cx:pt idx="73144">3</cx:pt>
          <cx:pt idx="73145">1</cx:pt>
          <cx:pt idx="73146">5</cx:pt>
          <cx:pt idx="73147">5</cx:pt>
          <cx:pt idx="73148">2</cx:pt>
          <cx:pt idx="73149">1</cx:pt>
          <cx:pt idx="73150">2</cx:pt>
          <cx:pt idx="73151">3</cx:pt>
          <cx:pt idx="73152">4</cx:pt>
          <cx:pt idx="73153">2</cx:pt>
          <cx:pt idx="73154">1</cx:pt>
          <cx:pt idx="73155">1</cx:pt>
          <cx:pt idx="73156">2</cx:pt>
          <cx:pt idx="73157">3</cx:pt>
          <cx:pt idx="73158">3</cx:pt>
          <cx:pt idx="73159">1</cx:pt>
          <cx:pt idx="73160">1</cx:pt>
          <cx:pt idx="73161">3</cx:pt>
          <cx:pt idx="73162">2</cx:pt>
          <cx:pt idx="73163">4</cx:pt>
          <cx:pt idx="73164">4</cx:pt>
          <cx:pt idx="73165">4</cx:pt>
          <cx:pt idx="73166">0</cx:pt>
          <cx:pt idx="73167">3</cx:pt>
          <cx:pt idx="73168">1</cx:pt>
          <cx:pt idx="73169">4</cx:pt>
          <cx:pt idx="73170">4</cx:pt>
          <cx:pt idx="73171">4</cx:pt>
          <cx:pt idx="73172">3</cx:pt>
          <cx:pt idx="73173">4</cx:pt>
          <cx:pt idx="73174">1</cx:pt>
          <cx:pt idx="73175">1</cx:pt>
          <cx:pt idx="73176">3</cx:pt>
          <cx:pt idx="73177">4</cx:pt>
          <cx:pt idx="73178">5</cx:pt>
          <cx:pt idx="73179">1</cx:pt>
          <cx:pt idx="73180">4</cx:pt>
          <cx:pt idx="73181">1</cx:pt>
          <cx:pt idx="73182">1</cx:pt>
          <cx:pt idx="73183">3</cx:pt>
          <cx:pt idx="73184">2</cx:pt>
          <cx:pt idx="73185">5</cx:pt>
          <cx:pt idx="73186">3</cx:pt>
          <cx:pt idx="73187">4</cx:pt>
          <cx:pt idx="73188">1</cx:pt>
          <cx:pt idx="73189">2</cx:pt>
          <cx:pt idx="73190">2</cx:pt>
          <cx:pt idx="73191">4</cx:pt>
          <cx:pt idx="73192">2</cx:pt>
          <cx:pt idx="73193">1</cx:pt>
          <cx:pt idx="73194">3</cx:pt>
          <cx:pt idx="73195">2</cx:pt>
          <cx:pt idx="73196">4</cx:pt>
          <cx:pt idx="73197">5</cx:pt>
          <cx:pt idx="73198">0</cx:pt>
          <cx:pt idx="73199">3</cx:pt>
          <cx:pt idx="73200">3</cx:pt>
          <cx:pt idx="73201">4</cx:pt>
          <cx:pt idx="73202">2</cx:pt>
          <cx:pt idx="73203">5</cx:pt>
          <cx:pt idx="73204">3</cx:pt>
          <cx:pt idx="73205">2</cx:pt>
          <cx:pt idx="73206">2</cx:pt>
          <cx:pt idx="73207">3</cx:pt>
          <cx:pt idx="73208">4</cx:pt>
          <cx:pt idx="73209">3</cx:pt>
          <cx:pt idx="73210">2</cx:pt>
          <cx:pt idx="73211">4</cx:pt>
          <cx:pt idx="73212">3</cx:pt>
          <cx:pt idx="73213">3</cx:pt>
          <cx:pt idx="73214">0</cx:pt>
          <cx:pt idx="73215">2</cx:pt>
          <cx:pt idx="73216">2</cx:pt>
          <cx:pt idx="73217">5</cx:pt>
          <cx:pt idx="73218">1</cx:pt>
          <cx:pt idx="73219">4</cx:pt>
          <cx:pt idx="73220">0</cx:pt>
          <cx:pt idx="73221">3</cx:pt>
          <cx:pt idx="73222">1</cx:pt>
          <cx:pt idx="73223">4</cx:pt>
          <cx:pt idx="73224">3</cx:pt>
          <cx:pt idx="73225">2</cx:pt>
          <cx:pt idx="73226">5</cx:pt>
          <cx:pt idx="73227">2</cx:pt>
          <cx:pt idx="73228">5</cx:pt>
          <cx:pt idx="73229">4</cx:pt>
          <cx:pt idx="73230">2</cx:pt>
          <cx:pt idx="73231">2</cx:pt>
          <cx:pt idx="73232">3</cx:pt>
          <cx:pt idx="73233">2</cx:pt>
          <cx:pt idx="73234">2</cx:pt>
          <cx:pt idx="73235">4</cx:pt>
          <cx:pt idx="73236">4</cx:pt>
          <cx:pt idx="73237">1</cx:pt>
          <cx:pt idx="73238">1</cx:pt>
          <cx:pt idx="73239">3</cx:pt>
          <cx:pt idx="73240">2</cx:pt>
          <cx:pt idx="73241">4</cx:pt>
          <cx:pt idx="73242">1</cx:pt>
          <cx:pt idx="73243">4</cx:pt>
          <cx:pt idx="73244">2</cx:pt>
          <cx:pt idx="73245">1</cx:pt>
          <cx:pt idx="73246">0</cx:pt>
          <cx:pt idx="73247">1</cx:pt>
          <cx:pt idx="73248">4</cx:pt>
          <cx:pt idx="73249">1</cx:pt>
          <cx:pt idx="73250">1</cx:pt>
          <cx:pt idx="73251">5</cx:pt>
          <cx:pt idx="73252">4</cx:pt>
          <cx:pt idx="73253">1</cx:pt>
          <cx:pt idx="73254">5</cx:pt>
          <cx:pt idx="73255">1</cx:pt>
          <cx:pt idx="73256">5</cx:pt>
          <cx:pt idx="73257">1</cx:pt>
          <cx:pt idx="73258">2</cx:pt>
          <cx:pt idx="73259">4</cx:pt>
          <cx:pt idx="73260">1</cx:pt>
          <cx:pt idx="73261">2</cx:pt>
          <cx:pt idx="73262">1</cx:pt>
          <cx:pt idx="73263">2</cx:pt>
          <cx:pt idx="73264">1</cx:pt>
          <cx:pt idx="73265">2</cx:pt>
          <cx:pt idx="73266">3</cx:pt>
          <cx:pt idx="73267">5</cx:pt>
          <cx:pt idx="73268">4</cx:pt>
          <cx:pt idx="73269">1</cx:pt>
          <cx:pt idx="73270">5</cx:pt>
          <cx:pt idx="73271">1</cx:pt>
          <cx:pt idx="73272">3</cx:pt>
          <cx:pt idx="73273">3</cx:pt>
          <cx:pt idx="73274">1</cx:pt>
          <cx:pt idx="73275">3</cx:pt>
          <cx:pt idx="73276">3</cx:pt>
          <cx:pt idx="73277">4</cx:pt>
          <cx:pt idx="73278">5</cx:pt>
          <cx:pt idx="73279">4</cx:pt>
          <cx:pt idx="73280">2</cx:pt>
          <cx:pt idx="73281">3</cx:pt>
          <cx:pt idx="73282">5</cx:pt>
          <cx:pt idx="73283">5</cx:pt>
          <cx:pt idx="73284">2</cx:pt>
          <cx:pt idx="73285">0</cx:pt>
          <cx:pt idx="73286">2</cx:pt>
          <cx:pt idx="73287">2</cx:pt>
          <cx:pt idx="73288">4</cx:pt>
          <cx:pt idx="73289">3</cx:pt>
          <cx:pt idx="73290">4</cx:pt>
          <cx:pt idx="73291">3</cx:pt>
          <cx:pt idx="73292">2</cx:pt>
          <cx:pt idx="73293">0</cx:pt>
          <cx:pt idx="73294">3</cx:pt>
          <cx:pt idx="73295">1</cx:pt>
          <cx:pt idx="73296">5</cx:pt>
          <cx:pt idx="73297">4</cx:pt>
          <cx:pt idx="73298">2</cx:pt>
          <cx:pt idx="73299">5</cx:pt>
          <cx:pt idx="73300">2</cx:pt>
          <cx:pt idx="73301">3</cx:pt>
          <cx:pt idx="73302">2</cx:pt>
          <cx:pt idx="73303">1</cx:pt>
          <cx:pt idx="73304">2</cx:pt>
          <cx:pt idx="73305">1</cx:pt>
          <cx:pt idx="73306">0</cx:pt>
          <cx:pt idx="73307">4</cx:pt>
          <cx:pt idx="73308">2</cx:pt>
          <cx:pt idx="73309">0</cx:pt>
          <cx:pt idx="73310">1</cx:pt>
          <cx:pt idx="73311">4</cx:pt>
          <cx:pt idx="73312">3</cx:pt>
          <cx:pt idx="73313">1</cx:pt>
          <cx:pt idx="73314">1</cx:pt>
          <cx:pt idx="73315">4</cx:pt>
          <cx:pt idx="73316">2</cx:pt>
          <cx:pt idx="73317">5</cx:pt>
          <cx:pt idx="73318">4</cx:pt>
          <cx:pt idx="73319">4</cx:pt>
          <cx:pt idx="73320">2</cx:pt>
          <cx:pt idx="73321">3</cx:pt>
          <cx:pt idx="73322">4</cx:pt>
          <cx:pt idx="73323">2</cx:pt>
          <cx:pt idx="73324">2</cx:pt>
          <cx:pt idx="73325">2</cx:pt>
          <cx:pt idx="73326">4</cx:pt>
          <cx:pt idx="73327">3</cx:pt>
          <cx:pt idx="73328">3</cx:pt>
          <cx:pt idx="73329">2</cx:pt>
          <cx:pt idx="73330">1</cx:pt>
          <cx:pt idx="73331">3</cx:pt>
          <cx:pt idx="73332">5</cx:pt>
          <cx:pt idx="73333">2</cx:pt>
          <cx:pt idx="73334">2</cx:pt>
          <cx:pt idx="73335">2</cx:pt>
          <cx:pt idx="73336">3</cx:pt>
          <cx:pt idx="73337">5</cx:pt>
          <cx:pt idx="73338">4</cx:pt>
          <cx:pt idx="73339">4</cx:pt>
          <cx:pt idx="73340">2</cx:pt>
          <cx:pt idx="73341">5</cx:pt>
          <cx:pt idx="73342">2</cx:pt>
          <cx:pt idx="73343">2</cx:pt>
          <cx:pt idx="73344">1</cx:pt>
          <cx:pt idx="73345">4</cx:pt>
          <cx:pt idx="73346">3</cx:pt>
          <cx:pt idx="73347">3</cx:pt>
          <cx:pt idx="73348">2</cx:pt>
          <cx:pt idx="73349">2</cx:pt>
          <cx:pt idx="73350">0</cx:pt>
          <cx:pt idx="73351">2</cx:pt>
          <cx:pt idx="73352">4</cx:pt>
          <cx:pt idx="73353">3</cx:pt>
          <cx:pt idx="73354">4</cx:pt>
          <cx:pt idx="73355">2</cx:pt>
          <cx:pt idx="73356">3</cx:pt>
          <cx:pt idx="73357">5</cx:pt>
          <cx:pt idx="73358">2</cx:pt>
          <cx:pt idx="73359">1</cx:pt>
          <cx:pt idx="73360">1</cx:pt>
          <cx:pt idx="73361">3</cx:pt>
          <cx:pt idx="73362">2</cx:pt>
          <cx:pt idx="73363">2</cx:pt>
          <cx:pt idx="73364">1</cx:pt>
          <cx:pt idx="73365">1</cx:pt>
          <cx:pt idx="73366">3</cx:pt>
          <cx:pt idx="73367">1</cx:pt>
          <cx:pt idx="73368">2</cx:pt>
          <cx:pt idx="73369">3</cx:pt>
          <cx:pt idx="73370">2</cx:pt>
          <cx:pt idx="73371">4</cx:pt>
          <cx:pt idx="73372">4</cx:pt>
          <cx:pt idx="73373">4</cx:pt>
          <cx:pt idx="73374">4</cx:pt>
          <cx:pt idx="73375">3</cx:pt>
          <cx:pt idx="73376">0</cx:pt>
          <cx:pt idx="73377">2</cx:pt>
          <cx:pt idx="73378">1</cx:pt>
          <cx:pt idx="73379">1</cx:pt>
          <cx:pt idx="73380">5</cx:pt>
          <cx:pt idx="73381">2</cx:pt>
          <cx:pt idx="73382">4</cx:pt>
          <cx:pt idx="73383">3</cx:pt>
          <cx:pt idx="73384">5</cx:pt>
          <cx:pt idx="73385">2</cx:pt>
          <cx:pt idx="73386">2</cx:pt>
          <cx:pt idx="73387">2</cx:pt>
          <cx:pt idx="73388">1</cx:pt>
          <cx:pt idx="73389">1</cx:pt>
          <cx:pt idx="73390">3</cx:pt>
          <cx:pt idx="73391">2</cx:pt>
          <cx:pt idx="73392">0</cx:pt>
          <cx:pt idx="73393">1</cx:pt>
          <cx:pt idx="73394">2</cx:pt>
          <cx:pt idx="73395">3</cx:pt>
          <cx:pt idx="73396">3</cx:pt>
          <cx:pt idx="73397">3</cx:pt>
          <cx:pt idx="73398">1</cx:pt>
          <cx:pt idx="73399">5</cx:pt>
          <cx:pt idx="73400">2</cx:pt>
          <cx:pt idx="73401">5</cx:pt>
          <cx:pt idx="73402">2</cx:pt>
          <cx:pt idx="73403">1</cx:pt>
          <cx:pt idx="73404">3</cx:pt>
          <cx:pt idx="73405">1</cx:pt>
          <cx:pt idx="73406">2</cx:pt>
          <cx:pt idx="73407">5</cx:pt>
          <cx:pt idx="73408">2</cx:pt>
          <cx:pt idx="73409">2</cx:pt>
          <cx:pt idx="73410">5</cx:pt>
          <cx:pt idx="73411">2</cx:pt>
          <cx:pt idx="73412">0</cx:pt>
          <cx:pt idx="73413">2</cx:pt>
          <cx:pt idx="73414">4</cx:pt>
          <cx:pt idx="73415">4</cx:pt>
          <cx:pt idx="73416">5</cx:pt>
          <cx:pt idx="73417">2</cx:pt>
          <cx:pt idx="73418">5</cx:pt>
          <cx:pt idx="73419">2</cx:pt>
          <cx:pt idx="73420">1</cx:pt>
          <cx:pt idx="73421">4</cx:pt>
          <cx:pt idx="73422">1</cx:pt>
          <cx:pt idx="73423">5</cx:pt>
          <cx:pt idx="73424">1</cx:pt>
          <cx:pt idx="73425">3</cx:pt>
          <cx:pt idx="73426">4</cx:pt>
          <cx:pt idx="73427">2</cx:pt>
          <cx:pt idx="73428">1</cx:pt>
          <cx:pt idx="73429">2</cx:pt>
          <cx:pt idx="73430">2</cx:pt>
          <cx:pt idx="73431">3</cx:pt>
          <cx:pt idx="73432">3</cx:pt>
          <cx:pt idx="73433">3</cx:pt>
          <cx:pt idx="73434">4</cx:pt>
          <cx:pt idx="73435">2</cx:pt>
          <cx:pt idx="73436">3</cx:pt>
          <cx:pt idx="73437">2</cx:pt>
          <cx:pt idx="73438">3</cx:pt>
          <cx:pt idx="73439">3</cx:pt>
          <cx:pt idx="73440">2</cx:pt>
          <cx:pt idx="73441">4</cx:pt>
          <cx:pt idx="73442">1</cx:pt>
          <cx:pt idx="73443">1</cx:pt>
          <cx:pt idx="73444">1</cx:pt>
          <cx:pt idx="73445">3</cx:pt>
          <cx:pt idx="73446">2</cx:pt>
          <cx:pt idx="73447">3</cx:pt>
          <cx:pt idx="73448">4</cx:pt>
          <cx:pt idx="73449">2</cx:pt>
          <cx:pt idx="73450">2</cx:pt>
          <cx:pt idx="73451">5</cx:pt>
          <cx:pt idx="73452">4</cx:pt>
          <cx:pt idx="73453">2</cx:pt>
          <cx:pt idx="73454">1</cx:pt>
          <cx:pt idx="73455">2</cx:pt>
          <cx:pt idx="73456">5</cx:pt>
          <cx:pt idx="73457">2</cx:pt>
          <cx:pt idx="73458">5</cx:pt>
          <cx:pt idx="73459">2</cx:pt>
          <cx:pt idx="73460">0</cx:pt>
          <cx:pt idx="73461">3</cx:pt>
          <cx:pt idx="73462">2</cx:pt>
          <cx:pt idx="73463">4</cx:pt>
          <cx:pt idx="73464">4</cx:pt>
          <cx:pt idx="73465">1</cx:pt>
          <cx:pt idx="73466">2</cx:pt>
          <cx:pt idx="73467">5</cx:pt>
          <cx:pt idx="73468">0</cx:pt>
          <cx:pt idx="73469">1</cx:pt>
          <cx:pt idx="73470">4</cx:pt>
          <cx:pt idx="73471">4</cx:pt>
          <cx:pt idx="73472">2</cx:pt>
          <cx:pt idx="73473">1</cx:pt>
          <cx:pt idx="73474">3</cx:pt>
          <cx:pt idx="73475">4</cx:pt>
          <cx:pt idx="73476">4</cx:pt>
          <cx:pt idx="73477">3</cx:pt>
          <cx:pt idx="73478">1</cx:pt>
          <cx:pt idx="73479">1</cx:pt>
          <cx:pt idx="73480">4</cx:pt>
          <cx:pt idx="73481">1</cx:pt>
          <cx:pt idx="73482">2</cx:pt>
          <cx:pt idx="73483">2</cx:pt>
          <cx:pt idx="73484">5</cx:pt>
          <cx:pt idx="73485">3</cx:pt>
          <cx:pt idx="73486">2</cx:pt>
          <cx:pt idx="73487">5</cx:pt>
          <cx:pt idx="73488">4</cx:pt>
          <cx:pt idx="73489">4</cx:pt>
          <cx:pt idx="73490">3</cx:pt>
          <cx:pt idx="73491">1</cx:pt>
          <cx:pt idx="73492">4</cx:pt>
          <cx:pt idx="73493">1</cx:pt>
          <cx:pt idx="73494">2</cx:pt>
          <cx:pt idx="73495">2</cx:pt>
          <cx:pt idx="73496">5</cx:pt>
          <cx:pt idx="73497">5</cx:pt>
          <cx:pt idx="73498">2</cx:pt>
          <cx:pt idx="73499">2</cx:pt>
          <cx:pt idx="73500">4</cx:pt>
          <cx:pt idx="73501">2</cx:pt>
          <cx:pt idx="73502">2</cx:pt>
          <cx:pt idx="73503">4</cx:pt>
          <cx:pt idx="73504">3</cx:pt>
          <cx:pt idx="73505">5</cx:pt>
          <cx:pt idx="73506">5</cx:pt>
          <cx:pt idx="73507">1</cx:pt>
          <cx:pt idx="73508">5</cx:pt>
          <cx:pt idx="73509">4</cx:pt>
          <cx:pt idx="73510">3</cx:pt>
          <cx:pt idx="73511">0</cx:pt>
          <cx:pt idx="73512">3</cx:pt>
          <cx:pt idx="73513">3</cx:pt>
          <cx:pt idx="73514">4</cx:pt>
          <cx:pt idx="73515">5</cx:pt>
          <cx:pt idx="73516">4</cx:pt>
          <cx:pt idx="73517">4</cx:pt>
          <cx:pt idx="73518">2</cx:pt>
          <cx:pt idx="73519">1</cx:pt>
          <cx:pt idx="73520">2</cx:pt>
          <cx:pt idx="73521">4</cx:pt>
          <cx:pt idx="73522">4</cx:pt>
          <cx:pt idx="73523">3</cx:pt>
          <cx:pt idx="73524">4</cx:pt>
          <cx:pt idx="73525">4</cx:pt>
          <cx:pt idx="73526">5</cx:pt>
          <cx:pt idx="73527">3</cx:pt>
          <cx:pt idx="73528">5</cx:pt>
          <cx:pt idx="73529">5</cx:pt>
          <cx:pt idx="73530">4</cx:pt>
          <cx:pt idx="73531">2</cx:pt>
          <cx:pt idx="73532">1</cx:pt>
          <cx:pt idx="73533">2</cx:pt>
          <cx:pt idx="73534">4</cx:pt>
          <cx:pt idx="73535">0</cx:pt>
          <cx:pt idx="73536">3</cx:pt>
          <cx:pt idx="73537">3</cx:pt>
          <cx:pt idx="73538">1</cx:pt>
          <cx:pt idx="73539">2</cx:pt>
          <cx:pt idx="73540">4</cx:pt>
          <cx:pt idx="73541">1</cx:pt>
          <cx:pt idx="73542">3</cx:pt>
          <cx:pt idx="73543">5</cx:pt>
          <cx:pt idx="73544">5</cx:pt>
          <cx:pt idx="73545">4</cx:pt>
          <cx:pt idx="73546">4</cx:pt>
          <cx:pt idx="73547">3</cx:pt>
          <cx:pt idx="73548">5</cx:pt>
          <cx:pt idx="73549">5</cx:pt>
          <cx:pt idx="73550">4</cx:pt>
          <cx:pt idx="73551">1</cx:pt>
          <cx:pt idx="73552">3</cx:pt>
          <cx:pt idx="73553">2</cx:pt>
          <cx:pt idx="73554">4</cx:pt>
          <cx:pt idx="73555">4</cx:pt>
          <cx:pt idx="73556">4</cx:pt>
          <cx:pt idx="73557">3</cx:pt>
          <cx:pt idx="73558">2</cx:pt>
          <cx:pt idx="73559">3</cx:pt>
          <cx:pt idx="73560">5</cx:pt>
          <cx:pt idx="73561">2</cx:pt>
          <cx:pt idx="73562">1</cx:pt>
          <cx:pt idx="73563">5</cx:pt>
          <cx:pt idx="73564">4</cx:pt>
          <cx:pt idx="73565">4</cx:pt>
          <cx:pt idx="73566">4</cx:pt>
          <cx:pt idx="73567">1</cx:pt>
          <cx:pt idx="73568">3</cx:pt>
          <cx:pt idx="73569">4</cx:pt>
          <cx:pt idx="73570">3</cx:pt>
          <cx:pt idx="73571">2</cx:pt>
          <cx:pt idx="73572">4</cx:pt>
          <cx:pt idx="73573">3</cx:pt>
          <cx:pt idx="73574">2</cx:pt>
          <cx:pt idx="73575">4</cx:pt>
          <cx:pt idx="73576">0</cx:pt>
          <cx:pt idx="73577">4</cx:pt>
          <cx:pt idx="73578">3</cx:pt>
          <cx:pt idx="73579">5</cx:pt>
          <cx:pt idx="73580">5</cx:pt>
          <cx:pt idx="73581">1</cx:pt>
          <cx:pt idx="73582">3</cx:pt>
          <cx:pt idx="73583">5</cx:pt>
          <cx:pt idx="73584">3</cx:pt>
          <cx:pt idx="73585">2</cx:pt>
          <cx:pt idx="73586">4</cx:pt>
          <cx:pt idx="73587">5</cx:pt>
          <cx:pt idx="73588">3</cx:pt>
          <cx:pt idx="73589">4</cx:pt>
          <cx:pt idx="73590">1</cx:pt>
          <cx:pt idx="73591">2</cx:pt>
          <cx:pt idx="73592">4</cx:pt>
          <cx:pt idx="73593">1</cx:pt>
          <cx:pt idx="73594">1</cx:pt>
          <cx:pt idx="73595">2</cx:pt>
          <cx:pt idx="73596">3</cx:pt>
          <cx:pt idx="73597">3</cx:pt>
          <cx:pt idx="73598">1</cx:pt>
          <cx:pt idx="73599">1</cx:pt>
          <cx:pt idx="73600">2</cx:pt>
          <cx:pt idx="73601">4</cx:pt>
          <cx:pt idx="73602">2</cx:pt>
          <cx:pt idx="73603">4</cx:pt>
          <cx:pt idx="73604">1</cx:pt>
          <cx:pt idx="73605">3</cx:pt>
          <cx:pt idx="73606">4</cx:pt>
          <cx:pt idx="73607">2</cx:pt>
          <cx:pt idx="73608">4</cx:pt>
          <cx:pt idx="73609">3</cx:pt>
          <cx:pt idx="73610">3</cx:pt>
          <cx:pt idx="73611">4</cx:pt>
          <cx:pt idx="73612">4</cx:pt>
          <cx:pt idx="73613">1</cx:pt>
          <cx:pt idx="73614">4</cx:pt>
          <cx:pt idx="73615">2</cx:pt>
          <cx:pt idx="73616">3</cx:pt>
          <cx:pt idx="73617">1</cx:pt>
          <cx:pt idx="73618">2</cx:pt>
          <cx:pt idx="73619">3</cx:pt>
          <cx:pt idx="73620">3</cx:pt>
          <cx:pt idx="73621">4</cx:pt>
          <cx:pt idx="73622">1</cx:pt>
          <cx:pt idx="73623">1</cx:pt>
          <cx:pt idx="73624">2</cx:pt>
          <cx:pt idx="73625">3</cx:pt>
          <cx:pt idx="73626">3</cx:pt>
          <cx:pt idx="73627">4</cx:pt>
          <cx:pt idx="73628">3</cx:pt>
          <cx:pt idx="73629">2</cx:pt>
          <cx:pt idx="73630">3</cx:pt>
          <cx:pt idx="73631">1</cx:pt>
          <cx:pt idx="73632">2</cx:pt>
          <cx:pt idx="73633">0</cx:pt>
          <cx:pt idx="73634">5</cx:pt>
          <cx:pt idx="73635">2</cx:pt>
          <cx:pt idx="73636">1</cx:pt>
          <cx:pt idx="73637">1</cx:pt>
          <cx:pt idx="73638">2</cx:pt>
          <cx:pt idx="73639">2</cx:pt>
          <cx:pt idx="73640">3</cx:pt>
          <cx:pt idx="73641">2</cx:pt>
          <cx:pt idx="73642">1</cx:pt>
          <cx:pt idx="73643">1</cx:pt>
          <cx:pt idx="73644">1</cx:pt>
          <cx:pt idx="73645">2</cx:pt>
          <cx:pt idx="73646">5</cx:pt>
          <cx:pt idx="73647">1</cx:pt>
          <cx:pt idx="73648">2</cx:pt>
          <cx:pt idx="73649">3</cx:pt>
          <cx:pt idx="73650">4</cx:pt>
          <cx:pt idx="73651">1</cx:pt>
          <cx:pt idx="73652">2</cx:pt>
          <cx:pt idx="73653">1</cx:pt>
          <cx:pt idx="73654">2</cx:pt>
          <cx:pt idx="73655">1</cx:pt>
          <cx:pt idx="73656">1</cx:pt>
          <cx:pt idx="73657">1</cx:pt>
          <cx:pt idx="73658">2</cx:pt>
          <cx:pt idx="73659">1</cx:pt>
          <cx:pt idx="73660">3</cx:pt>
          <cx:pt idx="73661">1</cx:pt>
          <cx:pt idx="73662">4</cx:pt>
          <cx:pt idx="73663">4</cx:pt>
          <cx:pt idx="73664">3</cx:pt>
          <cx:pt idx="73665">3</cx:pt>
          <cx:pt idx="73666">5</cx:pt>
          <cx:pt idx="73667">1</cx:pt>
          <cx:pt idx="73668">5</cx:pt>
          <cx:pt idx="73669">2</cx:pt>
          <cx:pt idx="73670">2</cx:pt>
          <cx:pt idx="73671">3</cx:pt>
          <cx:pt idx="73672">3</cx:pt>
          <cx:pt idx="73673">2</cx:pt>
          <cx:pt idx="73674">3</cx:pt>
          <cx:pt idx="73675">5</cx:pt>
          <cx:pt idx="73676">2</cx:pt>
          <cx:pt idx="73677">5</cx:pt>
          <cx:pt idx="73678">2</cx:pt>
          <cx:pt idx="73679">0</cx:pt>
          <cx:pt idx="73680">2</cx:pt>
          <cx:pt idx="73681">3</cx:pt>
          <cx:pt idx="73682">1</cx:pt>
          <cx:pt idx="73683">2</cx:pt>
          <cx:pt idx="73684">4</cx:pt>
          <cx:pt idx="73685">3</cx:pt>
          <cx:pt idx="73686">3</cx:pt>
          <cx:pt idx="73687">4</cx:pt>
          <cx:pt idx="73688">4</cx:pt>
          <cx:pt idx="73689">2</cx:pt>
          <cx:pt idx="73690">4</cx:pt>
          <cx:pt idx="73691">3</cx:pt>
          <cx:pt idx="73692">3</cx:pt>
          <cx:pt idx="73693">4</cx:pt>
          <cx:pt idx="73694">4</cx:pt>
          <cx:pt idx="73695">2</cx:pt>
          <cx:pt idx="73696">0</cx:pt>
          <cx:pt idx="73697">1</cx:pt>
          <cx:pt idx="73698">3</cx:pt>
          <cx:pt idx="73699">2</cx:pt>
          <cx:pt idx="73700">4</cx:pt>
          <cx:pt idx="73701">0</cx:pt>
          <cx:pt idx="73702">2</cx:pt>
          <cx:pt idx="73703">0</cx:pt>
          <cx:pt idx="73704">2</cx:pt>
          <cx:pt idx="73705">3</cx:pt>
          <cx:pt idx="73706">1</cx:pt>
          <cx:pt idx="73707">2</cx:pt>
          <cx:pt idx="73708">2</cx:pt>
          <cx:pt idx="73709">4</cx:pt>
          <cx:pt idx="73710">2</cx:pt>
          <cx:pt idx="73711">2</cx:pt>
          <cx:pt idx="73712">4</cx:pt>
          <cx:pt idx="73713">4</cx:pt>
          <cx:pt idx="73714">1</cx:pt>
          <cx:pt idx="73715">5</cx:pt>
          <cx:pt idx="73716">4</cx:pt>
          <cx:pt idx="73717">3</cx:pt>
          <cx:pt idx="73718">4</cx:pt>
          <cx:pt idx="73719">5</cx:pt>
          <cx:pt idx="73720">4</cx:pt>
          <cx:pt idx="73721">4</cx:pt>
          <cx:pt idx="73722">3</cx:pt>
          <cx:pt idx="73723">1</cx:pt>
          <cx:pt idx="73724">1</cx:pt>
          <cx:pt idx="73725">5</cx:pt>
          <cx:pt idx="73726">3</cx:pt>
          <cx:pt idx="73727">3</cx:pt>
          <cx:pt idx="73728">1</cx:pt>
          <cx:pt idx="73729">3</cx:pt>
          <cx:pt idx="73730">4</cx:pt>
          <cx:pt idx="73731">1</cx:pt>
          <cx:pt idx="73732">5</cx:pt>
          <cx:pt idx="73733">2</cx:pt>
          <cx:pt idx="73734">3</cx:pt>
          <cx:pt idx="73735">3</cx:pt>
          <cx:pt idx="73736">2</cx:pt>
          <cx:pt idx="73737">2</cx:pt>
          <cx:pt idx="73738">5</cx:pt>
          <cx:pt idx="73739">3</cx:pt>
          <cx:pt idx="73740">5</cx:pt>
          <cx:pt idx="73741">4</cx:pt>
          <cx:pt idx="73742">1</cx:pt>
          <cx:pt idx="73743">2</cx:pt>
          <cx:pt idx="73744">5</cx:pt>
          <cx:pt idx="73745">3</cx:pt>
          <cx:pt idx="73746">1</cx:pt>
          <cx:pt idx="73747">4</cx:pt>
          <cx:pt idx="73748">0</cx:pt>
          <cx:pt idx="73749">4</cx:pt>
          <cx:pt idx="73750">4</cx:pt>
          <cx:pt idx="73751">3</cx:pt>
          <cx:pt idx="73752">2</cx:pt>
          <cx:pt idx="73753">1</cx:pt>
          <cx:pt idx="73754">2</cx:pt>
          <cx:pt idx="73755">3</cx:pt>
          <cx:pt idx="73756">1</cx:pt>
          <cx:pt idx="73757">2</cx:pt>
          <cx:pt idx="73758">3</cx:pt>
          <cx:pt idx="73759">5</cx:pt>
          <cx:pt idx="73760">3</cx:pt>
          <cx:pt idx="73761">3</cx:pt>
          <cx:pt idx="73762">2</cx:pt>
          <cx:pt idx="73763">4</cx:pt>
          <cx:pt idx="73764">1</cx:pt>
          <cx:pt idx="73765">5</cx:pt>
          <cx:pt idx="73766">1</cx:pt>
          <cx:pt idx="73767">1</cx:pt>
          <cx:pt idx="73768">2</cx:pt>
          <cx:pt idx="73769">3</cx:pt>
          <cx:pt idx="73770">1</cx:pt>
          <cx:pt idx="73771">3</cx:pt>
          <cx:pt idx="73772">3</cx:pt>
          <cx:pt idx="73773">5</cx:pt>
          <cx:pt idx="73774">5</cx:pt>
          <cx:pt idx="73775">2</cx:pt>
          <cx:pt idx="73776">0</cx:pt>
          <cx:pt idx="73777">1</cx:pt>
          <cx:pt idx="73778">4</cx:pt>
          <cx:pt idx="73779">2</cx:pt>
          <cx:pt idx="73780">2</cx:pt>
          <cx:pt idx="73781">3</cx:pt>
          <cx:pt idx="73782">4</cx:pt>
          <cx:pt idx="73783">1</cx:pt>
          <cx:pt idx="73784">1</cx:pt>
          <cx:pt idx="73785">1</cx:pt>
          <cx:pt idx="73786">1</cx:pt>
          <cx:pt idx="73787">3</cx:pt>
          <cx:pt idx="73788">2</cx:pt>
          <cx:pt idx="73789">4</cx:pt>
          <cx:pt idx="73790">2</cx:pt>
          <cx:pt idx="73791">5</cx:pt>
          <cx:pt idx="73792">5</cx:pt>
          <cx:pt idx="73793">2</cx:pt>
          <cx:pt idx="73794">5</cx:pt>
          <cx:pt idx="73795">3</cx:pt>
          <cx:pt idx="73796">5</cx:pt>
          <cx:pt idx="73797">1</cx:pt>
          <cx:pt idx="73798">5</cx:pt>
          <cx:pt idx="73799">3</cx:pt>
          <cx:pt idx="73800">3</cx:pt>
          <cx:pt idx="73801">3</cx:pt>
          <cx:pt idx="73802">5</cx:pt>
          <cx:pt idx="73803">4</cx:pt>
          <cx:pt idx="73804">5</cx:pt>
          <cx:pt idx="73805">2</cx:pt>
          <cx:pt idx="73806">2</cx:pt>
          <cx:pt idx="73807">0</cx:pt>
          <cx:pt idx="73808">5</cx:pt>
          <cx:pt idx="73809">3</cx:pt>
          <cx:pt idx="73810">4</cx:pt>
          <cx:pt idx="73811">5</cx:pt>
          <cx:pt idx="73812">1</cx:pt>
          <cx:pt idx="73813">3</cx:pt>
          <cx:pt idx="73814">3</cx:pt>
          <cx:pt idx="73815">5</cx:pt>
          <cx:pt idx="73816">1</cx:pt>
          <cx:pt idx="73817">2</cx:pt>
          <cx:pt idx="73818">0</cx:pt>
          <cx:pt idx="73819">0</cx:pt>
          <cx:pt idx="73820">3</cx:pt>
          <cx:pt idx="73821">2</cx:pt>
          <cx:pt idx="73822">4</cx:pt>
          <cx:pt idx="73823">4</cx:pt>
          <cx:pt idx="73824">4</cx:pt>
          <cx:pt idx="73825">4</cx:pt>
          <cx:pt idx="73826">1</cx:pt>
          <cx:pt idx="73827">2</cx:pt>
          <cx:pt idx="73828">1</cx:pt>
          <cx:pt idx="73829">2</cx:pt>
          <cx:pt idx="73830">2</cx:pt>
          <cx:pt idx="73831">4</cx:pt>
          <cx:pt idx="73832">2</cx:pt>
          <cx:pt idx="73833">3</cx:pt>
          <cx:pt idx="73834">0</cx:pt>
          <cx:pt idx="73835">3</cx:pt>
          <cx:pt idx="73836">3</cx:pt>
          <cx:pt idx="73837">2</cx:pt>
          <cx:pt idx="73838">0</cx:pt>
          <cx:pt idx="73839">3</cx:pt>
          <cx:pt idx="73840">1</cx:pt>
          <cx:pt idx="73841">4</cx:pt>
          <cx:pt idx="73842">4</cx:pt>
          <cx:pt idx="73843">2</cx:pt>
          <cx:pt idx="73844">4</cx:pt>
          <cx:pt idx="73845">3</cx:pt>
          <cx:pt idx="73846">2</cx:pt>
          <cx:pt idx="73847">1</cx:pt>
          <cx:pt idx="73848">5</cx:pt>
          <cx:pt idx="73849">1</cx:pt>
          <cx:pt idx="73850">2</cx:pt>
          <cx:pt idx="73851">5</cx:pt>
          <cx:pt idx="73852">3</cx:pt>
          <cx:pt idx="73853">2</cx:pt>
          <cx:pt idx="73854">4</cx:pt>
          <cx:pt idx="73855">3</cx:pt>
          <cx:pt idx="73856">1</cx:pt>
          <cx:pt idx="73857">1</cx:pt>
          <cx:pt idx="73858">3</cx:pt>
          <cx:pt idx="73859">5</cx:pt>
          <cx:pt idx="73860">2</cx:pt>
          <cx:pt idx="73861">2</cx:pt>
          <cx:pt idx="73862">5</cx:pt>
          <cx:pt idx="73863">2</cx:pt>
          <cx:pt idx="73864">4</cx:pt>
          <cx:pt idx="73865">1</cx:pt>
          <cx:pt idx="73866">3</cx:pt>
          <cx:pt idx="73867">3</cx:pt>
          <cx:pt idx="73868">2</cx:pt>
          <cx:pt idx="73869">2</cx:pt>
          <cx:pt idx="73870">2</cx:pt>
          <cx:pt idx="73871">2</cx:pt>
          <cx:pt idx="73872">5</cx:pt>
          <cx:pt idx="73873">2</cx:pt>
          <cx:pt idx="73874">4</cx:pt>
          <cx:pt idx="73875">4</cx:pt>
          <cx:pt idx="73876">5</cx:pt>
          <cx:pt idx="73877">4</cx:pt>
          <cx:pt idx="73878">1</cx:pt>
          <cx:pt idx="73879">4</cx:pt>
          <cx:pt idx="73880">4</cx:pt>
          <cx:pt idx="73881">3</cx:pt>
          <cx:pt idx="73882">3</cx:pt>
          <cx:pt idx="73883">2</cx:pt>
          <cx:pt idx="73884">2</cx:pt>
          <cx:pt idx="73885">5</cx:pt>
          <cx:pt idx="73886">2</cx:pt>
          <cx:pt idx="73887">4</cx:pt>
          <cx:pt idx="73888">3</cx:pt>
          <cx:pt idx="73889">3</cx:pt>
          <cx:pt idx="73890">4</cx:pt>
          <cx:pt idx="73891">2</cx:pt>
          <cx:pt idx="73892">0</cx:pt>
          <cx:pt idx="73893">5</cx:pt>
          <cx:pt idx="73894">5</cx:pt>
          <cx:pt idx="73895">2</cx:pt>
          <cx:pt idx="73896">5</cx:pt>
          <cx:pt idx="73897">1</cx:pt>
          <cx:pt idx="73898">5</cx:pt>
          <cx:pt idx="73899">0</cx:pt>
          <cx:pt idx="73900">4</cx:pt>
          <cx:pt idx="73901">4</cx:pt>
          <cx:pt idx="73902">3</cx:pt>
          <cx:pt idx="73903">2</cx:pt>
          <cx:pt idx="73904">3</cx:pt>
          <cx:pt idx="73905">4</cx:pt>
          <cx:pt idx="73906">2</cx:pt>
          <cx:pt idx="73907">1</cx:pt>
          <cx:pt idx="73908">3</cx:pt>
          <cx:pt idx="73909">4</cx:pt>
          <cx:pt idx="73910">2</cx:pt>
          <cx:pt idx="73911">4</cx:pt>
          <cx:pt idx="73912">3</cx:pt>
          <cx:pt idx="73913">2</cx:pt>
          <cx:pt idx="73914">2</cx:pt>
          <cx:pt idx="73915">1</cx:pt>
          <cx:pt idx="73916">3</cx:pt>
          <cx:pt idx="73917">2</cx:pt>
          <cx:pt idx="73918">4</cx:pt>
          <cx:pt idx="73919">1</cx:pt>
          <cx:pt idx="73920">3</cx:pt>
          <cx:pt idx="73921">5</cx:pt>
          <cx:pt idx="73922">0</cx:pt>
          <cx:pt idx="73923">0</cx:pt>
          <cx:pt idx="73924">2</cx:pt>
          <cx:pt idx="73925">4</cx:pt>
          <cx:pt idx="73926">1</cx:pt>
          <cx:pt idx="73927">4</cx:pt>
          <cx:pt idx="73928">5</cx:pt>
          <cx:pt idx="73929">5</cx:pt>
          <cx:pt idx="73930">2</cx:pt>
          <cx:pt idx="73931">1</cx:pt>
          <cx:pt idx="73932">1</cx:pt>
          <cx:pt idx="73933">4</cx:pt>
          <cx:pt idx="73934">2</cx:pt>
          <cx:pt idx="73935">4</cx:pt>
          <cx:pt idx="73936">2</cx:pt>
          <cx:pt idx="73937">4</cx:pt>
          <cx:pt idx="73938">1</cx:pt>
          <cx:pt idx="73939">3</cx:pt>
          <cx:pt idx="73940">1</cx:pt>
          <cx:pt idx="73941">1</cx:pt>
          <cx:pt idx="73942">3</cx:pt>
          <cx:pt idx="73943">4</cx:pt>
          <cx:pt idx="73944">2</cx:pt>
          <cx:pt idx="73945">0</cx:pt>
          <cx:pt idx="73946">1</cx:pt>
          <cx:pt idx="73947">1</cx:pt>
          <cx:pt idx="73948">5</cx:pt>
          <cx:pt idx="73949">1</cx:pt>
          <cx:pt idx="73950">2</cx:pt>
          <cx:pt idx="73951">4</cx:pt>
          <cx:pt idx="73952">4</cx:pt>
          <cx:pt idx="73953">0</cx:pt>
          <cx:pt idx="73954">2</cx:pt>
          <cx:pt idx="73955">3</cx:pt>
          <cx:pt idx="73956">4</cx:pt>
          <cx:pt idx="73957">1</cx:pt>
          <cx:pt idx="73958">3</cx:pt>
          <cx:pt idx="73959">3</cx:pt>
          <cx:pt idx="73960">3</cx:pt>
          <cx:pt idx="73961">3</cx:pt>
          <cx:pt idx="73962">1</cx:pt>
          <cx:pt idx="73963">2</cx:pt>
          <cx:pt idx="73964">2</cx:pt>
          <cx:pt idx="73965">2</cx:pt>
          <cx:pt idx="73966">1</cx:pt>
          <cx:pt idx="73967">1</cx:pt>
          <cx:pt idx="73968">2</cx:pt>
          <cx:pt idx="73969">0</cx:pt>
          <cx:pt idx="73970">1</cx:pt>
          <cx:pt idx="73971">1</cx:pt>
          <cx:pt idx="73972">3</cx:pt>
          <cx:pt idx="73973">2</cx:pt>
          <cx:pt idx="73974">2</cx:pt>
          <cx:pt idx="73975">5</cx:pt>
          <cx:pt idx="73976">1</cx:pt>
          <cx:pt idx="73977">1</cx:pt>
          <cx:pt idx="73978">1</cx:pt>
          <cx:pt idx="73979">2</cx:pt>
          <cx:pt idx="73980">2</cx:pt>
          <cx:pt idx="73981">4</cx:pt>
          <cx:pt idx="73982">3</cx:pt>
          <cx:pt idx="73983">2</cx:pt>
          <cx:pt idx="73984">1</cx:pt>
          <cx:pt idx="73985">1</cx:pt>
          <cx:pt idx="73986">3</cx:pt>
          <cx:pt idx="73987">2</cx:pt>
          <cx:pt idx="73988">2</cx:pt>
          <cx:pt idx="73989">5</cx:pt>
          <cx:pt idx="73990">3</cx:pt>
          <cx:pt idx="73991">3</cx:pt>
          <cx:pt idx="73992">3</cx:pt>
          <cx:pt idx="73993">1</cx:pt>
          <cx:pt idx="73994">3</cx:pt>
          <cx:pt idx="73995">4</cx:pt>
          <cx:pt idx="73996">2</cx:pt>
          <cx:pt idx="73997">3</cx:pt>
          <cx:pt idx="73998">4</cx:pt>
          <cx:pt idx="73999">1</cx:pt>
          <cx:pt idx="74000">2</cx:pt>
          <cx:pt idx="74001">5</cx:pt>
          <cx:pt idx="74002">4</cx:pt>
          <cx:pt idx="74003">1</cx:pt>
          <cx:pt idx="74004">1</cx:pt>
          <cx:pt idx="74005">3</cx:pt>
          <cx:pt idx="74006">3</cx:pt>
          <cx:pt idx="74007">4</cx:pt>
          <cx:pt idx="74008">3</cx:pt>
          <cx:pt idx="74009">4</cx:pt>
          <cx:pt idx="74010">2</cx:pt>
          <cx:pt idx="74011">2</cx:pt>
          <cx:pt idx="74012">2</cx:pt>
          <cx:pt idx="74013">3</cx:pt>
          <cx:pt idx="74014">5</cx:pt>
          <cx:pt idx="74015">3</cx:pt>
          <cx:pt idx="74016">4</cx:pt>
          <cx:pt idx="74017">3</cx:pt>
          <cx:pt idx="74018">2</cx:pt>
          <cx:pt idx="74019">3</cx:pt>
          <cx:pt idx="74020">3</cx:pt>
          <cx:pt idx="74021">3</cx:pt>
          <cx:pt idx="74022">1</cx:pt>
          <cx:pt idx="74023">4</cx:pt>
          <cx:pt idx="74024">3</cx:pt>
          <cx:pt idx="74025">2</cx:pt>
          <cx:pt idx="74026">3</cx:pt>
          <cx:pt idx="74027">3</cx:pt>
          <cx:pt idx="74028">3</cx:pt>
          <cx:pt idx="74029">5</cx:pt>
          <cx:pt idx="74030">2</cx:pt>
          <cx:pt idx="74031">5</cx:pt>
          <cx:pt idx="74032">4</cx:pt>
          <cx:pt idx="74033">0</cx:pt>
          <cx:pt idx="74034">4</cx:pt>
          <cx:pt idx="74035">5</cx:pt>
          <cx:pt idx="74036">3</cx:pt>
          <cx:pt idx="74037">3</cx:pt>
          <cx:pt idx="74038">5</cx:pt>
          <cx:pt idx="74039">4</cx:pt>
          <cx:pt idx="74040">2</cx:pt>
          <cx:pt idx="74041">1</cx:pt>
          <cx:pt idx="74042">1</cx:pt>
          <cx:pt idx="74043">1</cx:pt>
          <cx:pt idx="74044">3</cx:pt>
          <cx:pt idx="74045">4</cx:pt>
          <cx:pt idx="74046">3</cx:pt>
          <cx:pt idx="74047">5</cx:pt>
          <cx:pt idx="74048">3</cx:pt>
          <cx:pt idx="74049">3</cx:pt>
          <cx:pt idx="74050">1</cx:pt>
          <cx:pt idx="74051">3</cx:pt>
          <cx:pt idx="74052">1</cx:pt>
          <cx:pt idx="74053">2</cx:pt>
          <cx:pt idx="74054">2</cx:pt>
          <cx:pt idx="74055">1</cx:pt>
          <cx:pt idx="74056">1</cx:pt>
          <cx:pt idx="74057">2</cx:pt>
          <cx:pt idx="74058">3</cx:pt>
          <cx:pt idx="74059">4</cx:pt>
          <cx:pt idx="74060">2</cx:pt>
          <cx:pt idx="74061">1</cx:pt>
          <cx:pt idx="74062">3</cx:pt>
          <cx:pt idx="74063">4</cx:pt>
          <cx:pt idx="74064">3</cx:pt>
          <cx:pt idx="74065">3</cx:pt>
          <cx:pt idx="74066">3</cx:pt>
          <cx:pt idx="74067">1</cx:pt>
          <cx:pt idx="74068">3</cx:pt>
          <cx:pt idx="74069">3</cx:pt>
          <cx:pt idx="74070">1</cx:pt>
          <cx:pt idx="74071">3</cx:pt>
          <cx:pt idx="74072">3</cx:pt>
          <cx:pt idx="74073">2</cx:pt>
          <cx:pt idx="74074">1</cx:pt>
          <cx:pt idx="74075">1</cx:pt>
          <cx:pt idx="74076">3</cx:pt>
          <cx:pt idx="74077">1</cx:pt>
          <cx:pt idx="74078">3</cx:pt>
          <cx:pt idx="74079">3</cx:pt>
          <cx:pt idx="74080">1</cx:pt>
          <cx:pt idx="74081">2</cx:pt>
          <cx:pt idx="74082">2</cx:pt>
          <cx:pt idx="74083">2</cx:pt>
          <cx:pt idx="74084">1</cx:pt>
          <cx:pt idx="74085">0</cx:pt>
          <cx:pt idx="74086">2</cx:pt>
          <cx:pt idx="74087">3</cx:pt>
          <cx:pt idx="74088">1</cx:pt>
          <cx:pt idx="74089">4</cx:pt>
          <cx:pt idx="74090">3</cx:pt>
          <cx:pt idx="74091">2</cx:pt>
          <cx:pt idx="74092">3</cx:pt>
          <cx:pt idx="74093">5</cx:pt>
          <cx:pt idx="74094">4</cx:pt>
          <cx:pt idx="74095">4</cx:pt>
          <cx:pt idx="74096">2</cx:pt>
          <cx:pt idx="74097">2</cx:pt>
          <cx:pt idx="74098">3</cx:pt>
          <cx:pt idx="74099">5</cx:pt>
          <cx:pt idx="74100">2</cx:pt>
          <cx:pt idx="74101">1</cx:pt>
          <cx:pt idx="74102">4</cx:pt>
          <cx:pt idx="74103">2</cx:pt>
          <cx:pt idx="74104">4</cx:pt>
          <cx:pt idx="74105">5</cx:pt>
          <cx:pt idx="74106">2</cx:pt>
          <cx:pt idx="74107">2</cx:pt>
          <cx:pt idx="74108">5</cx:pt>
          <cx:pt idx="74109">5</cx:pt>
          <cx:pt idx="74110">1</cx:pt>
          <cx:pt idx="74111">2</cx:pt>
          <cx:pt idx="74112">1</cx:pt>
          <cx:pt idx="74113">5</cx:pt>
          <cx:pt idx="74114">2</cx:pt>
          <cx:pt idx="74115">4</cx:pt>
          <cx:pt idx="74116">4</cx:pt>
          <cx:pt idx="74117">3</cx:pt>
          <cx:pt idx="74118">4</cx:pt>
          <cx:pt idx="74119">1</cx:pt>
          <cx:pt idx="74120">4</cx:pt>
          <cx:pt idx="74121">1</cx:pt>
          <cx:pt idx="74122">0</cx:pt>
          <cx:pt idx="74123">4</cx:pt>
          <cx:pt idx="74124">1</cx:pt>
          <cx:pt idx="74125">4</cx:pt>
          <cx:pt idx="74126">4</cx:pt>
          <cx:pt idx="74127">3</cx:pt>
          <cx:pt idx="74128">3</cx:pt>
          <cx:pt idx="74129">2</cx:pt>
          <cx:pt idx="74130">3</cx:pt>
          <cx:pt idx="74131">4</cx:pt>
          <cx:pt idx="74132">1</cx:pt>
          <cx:pt idx="74133">1</cx:pt>
          <cx:pt idx="74134">0</cx:pt>
          <cx:pt idx="74135">1</cx:pt>
          <cx:pt idx="74136">3</cx:pt>
          <cx:pt idx="74137">5</cx:pt>
          <cx:pt idx="74138">3</cx:pt>
          <cx:pt idx="74139">3</cx:pt>
          <cx:pt idx="74140">5</cx:pt>
          <cx:pt idx="74141">3</cx:pt>
          <cx:pt idx="74142">2</cx:pt>
          <cx:pt idx="74143">1</cx:pt>
          <cx:pt idx="74144">5</cx:pt>
          <cx:pt idx="74145">3</cx:pt>
          <cx:pt idx="74146">2</cx:pt>
          <cx:pt idx="74147">1</cx:pt>
          <cx:pt idx="74148">2</cx:pt>
          <cx:pt idx="74149">2</cx:pt>
          <cx:pt idx="74150">2</cx:pt>
          <cx:pt idx="74151">5</cx:pt>
          <cx:pt idx="74152">1</cx:pt>
          <cx:pt idx="74153">1</cx:pt>
          <cx:pt idx="74154">5</cx:pt>
          <cx:pt idx="74155">4</cx:pt>
          <cx:pt idx="74156">1</cx:pt>
          <cx:pt idx="74157">3</cx:pt>
          <cx:pt idx="74158">3</cx:pt>
          <cx:pt idx="74159">4</cx:pt>
          <cx:pt idx="74160">3</cx:pt>
          <cx:pt idx="74161">3</cx:pt>
          <cx:pt idx="74162">3</cx:pt>
          <cx:pt idx="74163">3</cx:pt>
          <cx:pt idx="74164">4</cx:pt>
          <cx:pt idx="74165">4</cx:pt>
          <cx:pt idx="74166">2</cx:pt>
          <cx:pt idx="74167">2</cx:pt>
          <cx:pt idx="74168">1</cx:pt>
          <cx:pt idx="74169">4</cx:pt>
          <cx:pt idx="74170">4</cx:pt>
          <cx:pt idx="74171">3</cx:pt>
          <cx:pt idx="74172">5</cx:pt>
          <cx:pt idx="74173">5</cx:pt>
          <cx:pt idx="74174">4</cx:pt>
          <cx:pt idx="74175">4</cx:pt>
          <cx:pt idx="74176">3</cx:pt>
          <cx:pt idx="74177">2</cx:pt>
          <cx:pt idx="74178">5</cx:pt>
          <cx:pt idx="74179">2</cx:pt>
          <cx:pt idx="74180">3</cx:pt>
          <cx:pt idx="74181">4</cx:pt>
          <cx:pt idx="74182">4</cx:pt>
          <cx:pt idx="74183">5</cx:pt>
          <cx:pt idx="74184">3</cx:pt>
          <cx:pt idx="74185">5</cx:pt>
          <cx:pt idx="74186">4</cx:pt>
          <cx:pt idx="74187">1</cx:pt>
          <cx:pt idx="74188">3</cx:pt>
          <cx:pt idx="74189">4</cx:pt>
          <cx:pt idx="74190">1</cx:pt>
          <cx:pt idx="74191">1</cx:pt>
          <cx:pt idx="74192">2</cx:pt>
          <cx:pt idx="74193">4</cx:pt>
          <cx:pt idx="74194">4</cx:pt>
          <cx:pt idx="74195">4</cx:pt>
          <cx:pt idx="74196">5</cx:pt>
          <cx:pt idx="74197">0</cx:pt>
          <cx:pt idx="74198">1</cx:pt>
          <cx:pt idx="74199">1</cx:pt>
          <cx:pt idx="74200">3</cx:pt>
          <cx:pt idx="74201">3</cx:pt>
          <cx:pt idx="74202">3</cx:pt>
          <cx:pt idx="74203">3</cx:pt>
          <cx:pt idx="74204">1</cx:pt>
          <cx:pt idx="74205">0</cx:pt>
          <cx:pt idx="74206">1</cx:pt>
          <cx:pt idx="74207">2</cx:pt>
          <cx:pt idx="74208">3</cx:pt>
          <cx:pt idx="74209">3</cx:pt>
          <cx:pt idx="74210">2</cx:pt>
          <cx:pt idx="74211">3</cx:pt>
          <cx:pt idx="74212">3</cx:pt>
          <cx:pt idx="74213">2</cx:pt>
          <cx:pt idx="74214">4</cx:pt>
          <cx:pt idx="74215">4</cx:pt>
          <cx:pt idx="74216">1</cx:pt>
          <cx:pt idx="74217">2</cx:pt>
          <cx:pt idx="74218">4</cx:pt>
          <cx:pt idx="74219">2</cx:pt>
          <cx:pt idx="74220">1</cx:pt>
          <cx:pt idx="74221">5</cx:pt>
          <cx:pt idx="74222">3</cx:pt>
          <cx:pt idx="74223">4</cx:pt>
          <cx:pt idx="74224">3</cx:pt>
          <cx:pt idx="74225">5</cx:pt>
          <cx:pt idx="74226">4</cx:pt>
          <cx:pt idx="74227">2</cx:pt>
          <cx:pt idx="74228">1</cx:pt>
          <cx:pt idx="74229">2</cx:pt>
          <cx:pt idx="74230">5</cx:pt>
          <cx:pt idx="74231">2</cx:pt>
          <cx:pt idx="74232">3</cx:pt>
          <cx:pt idx="74233">1</cx:pt>
          <cx:pt idx="74234">5</cx:pt>
          <cx:pt idx="74235">2</cx:pt>
          <cx:pt idx="74236">2</cx:pt>
          <cx:pt idx="74237">2</cx:pt>
          <cx:pt idx="74238">2</cx:pt>
          <cx:pt idx="74239">0</cx:pt>
          <cx:pt idx="74240">3</cx:pt>
          <cx:pt idx="74241">3</cx:pt>
          <cx:pt idx="74242">1</cx:pt>
          <cx:pt idx="74243">5</cx:pt>
          <cx:pt idx="74244">1</cx:pt>
          <cx:pt idx="74245">5</cx:pt>
          <cx:pt idx="74246">4</cx:pt>
          <cx:pt idx="74247">2</cx:pt>
          <cx:pt idx="74248">3</cx:pt>
          <cx:pt idx="74249">2</cx:pt>
          <cx:pt idx="74250">4</cx:pt>
          <cx:pt idx="74251">3</cx:pt>
          <cx:pt idx="74252">5</cx:pt>
          <cx:pt idx="74253">1</cx:pt>
          <cx:pt idx="74254">2</cx:pt>
          <cx:pt idx="74255">1</cx:pt>
          <cx:pt idx="74256">3</cx:pt>
          <cx:pt idx="74257">3</cx:pt>
          <cx:pt idx="74258">2</cx:pt>
          <cx:pt idx="74259">2</cx:pt>
          <cx:pt idx="74260">2</cx:pt>
          <cx:pt idx="74261">1</cx:pt>
          <cx:pt idx="74262">1</cx:pt>
          <cx:pt idx="74263">3</cx:pt>
          <cx:pt idx="74264">4</cx:pt>
          <cx:pt idx="74265">5</cx:pt>
          <cx:pt idx="74266">5</cx:pt>
          <cx:pt idx="74267">5</cx:pt>
          <cx:pt idx="74268">5</cx:pt>
          <cx:pt idx="74269">4</cx:pt>
          <cx:pt idx="74270">3</cx:pt>
          <cx:pt idx="74271">3</cx:pt>
          <cx:pt idx="74272">3</cx:pt>
          <cx:pt idx="74273">2</cx:pt>
          <cx:pt idx="74274">4</cx:pt>
          <cx:pt idx="74275">2</cx:pt>
          <cx:pt idx="74276">3</cx:pt>
          <cx:pt idx="74277">3</cx:pt>
          <cx:pt idx="74278">1</cx:pt>
          <cx:pt idx="74279">1</cx:pt>
          <cx:pt idx="74280">2</cx:pt>
          <cx:pt idx="74281">4</cx:pt>
          <cx:pt idx="74282">5</cx:pt>
          <cx:pt idx="74283">4</cx:pt>
          <cx:pt idx="74284">2</cx:pt>
          <cx:pt idx="74285">4</cx:pt>
          <cx:pt idx="74286">2</cx:pt>
          <cx:pt idx="74287">3</cx:pt>
          <cx:pt idx="74288">0</cx:pt>
          <cx:pt idx="74289">3</cx:pt>
          <cx:pt idx="74290">4</cx:pt>
          <cx:pt idx="74291">5</cx:pt>
          <cx:pt idx="74292">4</cx:pt>
          <cx:pt idx="74293">1</cx:pt>
          <cx:pt idx="74294">2</cx:pt>
          <cx:pt idx="74295">1</cx:pt>
          <cx:pt idx="74296">4</cx:pt>
          <cx:pt idx="74297">1</cx:pt>
          <cx:pt idx="74298">3</cx:pt>
          <cx:pt idx="74299">2</cx:pt>
          <cx:pt idx="74300">4</cx:pt>
          <cx:pt idx="74301">0</cx:pt>
          <cx:pt idx="74302">1</cx:pt>
          <cx:pt idx="74303">3</cx:pt>
          <cx:pt idx="74304">2</cx:pt>
          <cx:pt idx="74305">2</cx:pt>
          <cx:pt idx="74306">5</cx:pt>
          <cx:pt idx="74307">1</cx:pt>
          <cx:pt idx="74308">2</cx:pt>
          <cx:pt idx="74309">2</cx:pt>
          <cx:pt idx="74310">5</cx:pt>
          <cx:pt idx="74311">2</cx:pt>
          <cx:pt idx="74312">3</cx:pt>
          <cx:pt idx="74313">2</cx:pt>
          <cx:pt idx="74314">2</cx:pt>
          <cx:pt idx="74315">1</cx:pt>
          <cx:pt idx="74316">2</cx:pt>
          <cx:pt idx="74317">4</cx:pt>
          <cx:pt idx="74318">3</cx:pt>
          <cx:pt idx="74319">3</cx:pt>
          <cx:pt idx="74320">3</cx:pt>
          <cx:pt idx="74321">4</cx:pt>
          <cx:pt idx="74322">1</cx:pt>
          <cx:pt idx="74323">3</cx:pt>
          <cx:pt idx="74324">3</cx:pt>
          <cx:pt idx="74325">1</cx:pt>
          <cx:pt idx="74326">1</cx:pt>
          <cx:pt idx="74327">5</cx:pt>
          <cx:pt idx="74328">3</cx:pt>
          <cx:pt idx="74329">5</cx:pt>
          <cx:pt idx="74330">1</cx:pt>
          <cx:pt idx="74331">2</cx:pt>
          <cx:pt idx="74332">1</cx:pt>
          <cx:pt idx="74333">0</cx:pt>
          <cx:pt idx="74334">2</cx:pt>
          <cx:pt idx="74335">2</cx:pt>
          <cx:pt idx="74336">1</cx:pt>
          <cx:pt idx="74337">5</cx:pt>
          <cx:pt idx="74338">4</cx:pt>
          <cx:pt idx="74339">1</cx:pt>
          <cx:pt idx="74340">2</cx:pt>
          <cx:pt idx="74341">2</cx:pt>
          <cx:pt idx="74342">5</cx:pt>
          <cx:pt idx="74343">3</cx:pt>
          <cx:pt idx="74344">2</cx:pt>
          <cx:pt idx="74345">1</cx:pt>
          <cx:pt idx="74346">4</cx:pt>
          <cx:pt idx="74347">0</cx:pt>
          <cx:pt idx="74348">4</cx:pt>
          <cx:pt idx="74349">1</cx:pt>
          <cx:pt idx="74350">1</cx:pt>
          <cx:pt idx="74351">1</cx:pt>
          <cx:pt idx="74352">4</cx:pt>
          <cx:pt idx="74353">3</cx:pt>
          <cx:pt idx="74354">2</cx:pt>
          <cx:pt idx="74355">1</cx:pt>
          <cx:pt idx="74356">3</cx:pt>
          <cx:pt idx="74357">3</cx:pt>
          <cx:pt idx="74358">4</cx:pt>
          <cx:pt idx="74359">3</cx:pt>
          <cx:pt idx="74360">5</cx:pt>
          <cx:pt idx="74361">3</cx:pt>
          <cx:pt idx="74362">4</cx:pt>
          <cx:pt idx="74363">3</cx:pt>
          <cx:pt idx="74364">5</cx:pt>
          <cx:pt idx="74365">3</cx:pt>
          <cx:pt idx="74366">3</cx:pt>
          <cx:pt idx="74367">1</cx:pt>
          <cx:pt idx="74368">2</cx:pt>
          <cx:pt idx="74369">3</cx:pt>
          <cx:pt idx="74370">5</cx:pt>
          <cx:pt idx="74371">1</cx:pt>
          <cx:pt idx="74372">1</cx:pt>
          <cx:pt idx="74373">1</cx:pt>
          <cx:pt idx="74374">5</cx:pt>
          <cx:pt idx="74375">3</cx:pt>
          <cx:pt idx="74376">1</cx:pt>
          <cx:pt idx="74377">2</cx:pt>
          <cx:pt idx="74378">4</cx:pt>
          <cx:pt idx="74379">2</cx:pt>
          <cx:pt idx="74380">1</cx:pt>
          <cx:pt idx="74381">3</cx:pt>
          <cx:pt idx="74382">4</cx:pt>
          <cx:pt idx="74383">1</cx:pt>
          <cx:pt idx="74384">2</cx:pt>
          <cx:pt idx="74385">2</cx:pt>
          <cx:pt idx="74386">3</cx:pt>
          <cx:pt idx="74387">5</cx:pt>
          <cx:pt idx="74388">5</cx:pt>
          <cx:pt idx="74389">1</cx:pt>
          <cx:pt idx="74390">1</cx:pt>
          <cx:pt idx="74391">5</cx:pt>
          <cx:pt idx="74392">4</cx:pt>
          <cx:pt idx="74393">2</cx:pt>
          <cx:pt idx="74394">5</cx:pt>
          <cx:pt idx="74395">0</cx:pt>
          <cx:pt idx="74396">2</cx:pt>
          <cx:pt idx="74397">1</cx:pt>
          <cx:pt idx="74398">1</cx:pt>
          <cx:pt idx="74399">4</cx:pt>
          <cx:pt idx="74400">3</cx:pt>
          <cx:pt idx="74401">2</cx:pt>
          <cx:pt idx="74402">3</cx:pt>
          <cx:pt idx="74403">4</cx:pt>
          <cx:pt idx="74404">1</cx:pt>
          <cx:pt idx="74405">4</cx:pt>
          <cx:pt idx="74406">2</cx:pt>
          <cx:pt idx="74407">3</cx:pt>
          <cx:pt idx="74408">1</cx:pt>
          <cx:pt idx="74409">4</cx:pt>
          <cx:pt idx="74410">1</cx:pt>
          <cx:pt idx="74411">2</cx:pt>
          <cx:pt idx="74412">4</cx:pt>
          <cx:pt idx="74413">3</cx:pt>
          <cx:pt idx="74414">4</cx:pt>
          <cx:pt idx="74415">4</cx:pt>
          <cx:pt idx="74416">5</cx:pt>
          <cx:pt idx="74417">3</cx:pt>
          <cx:pt idx="74418">3</cx:pt>
          <cx:pt idx="74419">2</cx:pt>
          <cx:pt idx="74420">4</cx:pt>
          <cx:pt idx="74421">1</cx:pt>
          <cx:pt idx="74422">2</cx:pt>
          <cx:pt idx="74423">0</cx:pt>
          <cx:pt idx="74424">1</cx:pt>
          <cx:pt idx="74425">0</cx:pt>
          <cx:pt idx="74426">3</cx:pt>
          <cx:pt idx="74427">0</cx:pt>
          <cx:pt idx="74428">3</cx:pt>
          <cx:pt idx="74429">2</cx:pt>
          <cx:pt idx="74430">1</cx:pt>
          <cx:pt idx="74431">5</cx:pt>
          <cx:pt idx="74432">1</cx:pt>
          <cx:pt idx="74433">1</cx:pt>
          <cx:pt idx="74434">4</cx:pt>
          <cx:pt idx="74435">3</cx:pt>
          <cx:pt idx="74436">3</cx:pt>
          <cx:pt idx="74437">3</cx:pt>
          <cx:pt idx="74438">2</cx:pt>
          <cx:pt idx="74439">1</cx:pt>
          <cx:pt idx="74440">2</cx:pt>
          <cx:pt idx="74441">5</cx:pt>
          <cx:pt idx="74442">2</cx:pt>
          <cx:pt idx="74443">1</cx:pt>
          <cx:pt idx="74444">2</cx:pt>
          <cx:pt idx="74445">4</cx:pt>
          <cx:pt idx="74446">3</cx:pt>
          <cx:pt idx="74447">4</cx:pt>
          <cx:pt idx="74448">2</cx:pt>
          <cx:pt idx="74449">2</cx:pt>
          <cx:pt idx="74450">1</cx:pt>
          <cx:pt idx="74451">3</cx:pt>
          <cx:pt idx="74452">1</cx:pt>
          <cx:pt idx="74453">3</cx:pt>
          <cx:pt idx="74454">2</cx:pt>
          <cx:pt idx="74455">4</cx:pt>
          <cx:pt idx="74456">1</cx:pt>
          <cx:pt idx="74457">3</cx:pt>
          <cx:pt idx="74458">4</cx:pt>
          <cx:pt idx="74459">4</cx:pt>
          <cx:pt idx="74460">1</cx:pt>
          <cx:pt idx="74461">2</cx:pt>
          <cx:pt idx="74462">2</cx:pt>
          <cx:pt idx="74463">4</cx:pt>
          <cx:pt idx="74464">3</cx:pt>
          <cx:pt idx="74465">4</cx:pt>
          <cx:pt idx="74466">5</cx:pt>
          <cx:pt idx="74467">1</cx:pt>
          <cx:pt idx="74468">2</cx:pt>
          <cx:pt idx="74469">1</cx:pt>
          <cx:pt idx="74470">2</cx:pt>
          <cx:pt idx="74471">3</cx:pt>
          <cx:pt idx="74472">1</cx:pt>
          <cx:pt idx="74473">4</cx:pt>
          <cx:pt idx="74474">3</cx:pt>
          <cx:pt idx="74475">4</cx:pt>
          <cx:pt idx="74476">3</cx:pt>
          <cx:pt idx="74477">0</cx:pt>
          <cx:pt idx="74478">4</cx:pt>
          <cx:pt idx="74479">2</cx:pt>
          <cx:pt idx="74480">2</cx:pt>
          <cx:pt idx="74481">2</cx:pt>
          <cx:pt idx="74482">2</cx:pt>
          <cx:pt idx="74483">4</cx:pt>
          <cx:pt idx="74484">3</cx:pt>
          <cx:pt idx="74485">2</cx:pt>
          <cx:pt idx="74486">3</cx:pt>
          <cx:pt idx="74487">2</cx:pt>
          <cx:pt idx="74488">1</cx:pt>
          <cx:pt idx="74489">0</cx:pt>
          <cx:pt idx="74490">2</cx:pt>
          <cx:pt idx="74491">5</cx:pt>
          <cx:pt idx="74492">2</cx:pt>
          <cx:pt idx="74493">1</cx:pt>
          <cx:pt idx="74494">3</cx:pt>
          <cx:pt idx="74495">2</cx:pt>
          <cx:pt idx="74496">3</cx:pt>
          <cx:pt idx="74497">3</cx:pt>
          <cx:pt idx="74498">3</cx:pt>
          <cx:pt idx="74499">2</cx:pt>
          <cx:pt idx="74500">3</cx:pt>
          <cx:pt idx="74501">5</cx:pt>
          <cx:pt idx="74502">2</cx:pt>
          <cx:pt idx="74503">0</cx:pt>
          <cx:pt idx="74504">3</cx:pt>
          <cx:pt idx="74505">0</cx:pt>
          <cx:pt idx="74506">3</cx:pt>
          <cx:pt idx="74507">5</cx:pt>
          <cx:pt idx="74508">5</cx:pt>
          <cx:pt idx="74509">3</cx:pt>
          <cx:pt idx="74510">1</cx:pt>
          <cx:pt idx="74511">1</cx:pt>
          <cx:pt idx="74512">2</cx:pt>
          <cx:pt idx="74513">5</cx:pt>
          <cx:pt idx="74514">5</cx:pt>
          <cx:pt idx="74515">3</cx:pt>
          <cx:pt idx="74516">2</cx:pt>
          <cx:pt idx="74517">2</cx:pt>
          <cx:pt idx="74518">5</cx:pt>
          <cx:pt idx="74519">4</cx:pt>
          <cx:pt idx="74520">3</cx:pt>
          <cx:pt idx="74521">2</cx:pt>
          <cx:pt idx="74522">4</cx:pt>
          <cx:pt idx="74523">3</cx:pt>
          <cx:pt idx="74524">1</cx:pt>
          <cx:pt idx="74525">2</cx:pt>
          <cx:pt idx="74526">0</cx:pt>
          <cx:pt idx="74527">2</cx:pt>
          <cx:pt idx="74528">3</cx:pt>
          <cx:pt idx="74529">3</cx:pt>
          <cx:pt idx="74530">1</cx:pt>
          <cx:pt idx="74531">4</cx:pt>
          <cx:pt idx="74532">3</cx:pt>
          <cx:pt idx="74533">4</cx:pt>
          <cx:pt idx="74534">1</cx:pt>
          <cx:pt idx="74535">2</cx:pt>
          <cx:pt idx="74536">2</cx:pt>
          <cx:pt idx="74537">2</cx:pt>
          <cx:pt idx="74538">5</cx:pt>
          <cx:pt idx="74539">4</cx:pt>
          <cx:pt idx="74540">2</cx:pt>
          <cx:pt idx="74541">4</cx:pt>
          <cx:pt idx="74542">2</cx:pt>
          <cx:pt idx="74543">2</cx:pt>
          <cx:pt idx="74544">2</cx:pt>
          <cx:pt idx="74545">1</cx:pt>
          <cx:pt idx="74546">2</cx:pt>
          <cx:pt idx="74547">2</cx:pt>
          <cx:pt idx="74548">4</cx:pt>
          <cx:pt idx="74549">2</cx:pt>
          <cx:pt idx="74550">2</cx:pt>
          <cx:pt idx="74551">4</cx:pt>
          <cx:pt idx="74552">2</cx:pt>
          <cx:pt idx="74553">4</cx:pt>
          <cx:pt idx="74554">1</cx:pt>
          <cx:pt idx="74555">4</cx:pt>
          <cx:pt idx="74556">3</cx:pt>
          <cx:pt idx="74557">4</cx:pt>
          <cx:pt idx="74558">5</cx:pt>
          <cx:pt idx="74559">5</cx:pt>
          <cx:pt idx="74560">3</cx:pt>
          <cx:pt idx="74561">1</cx:pt>
          <cx:pt idx="74562">1</cx:pt>
          <cx:pt idx="74563">2</cx:pt>
          <cx:pt idx="74564">5</cx:pt>
          <cx:pt idx="74565">3</cx:pt>
          <cx:pt idx="74566">5</cx:pt>
          <cx:pt idx="74567">4</cx:pt>
          <cx:pt idx="74568">2</cx:pt>
          <cx:pt idx="74569">3</cx:pt>
          <cx:pt idx="74570">2</cx:pt>
          <cx:pt idx="74571">4</cx:pt>
          <cx:pt idx="74572">1</cx:pt>
          <cx:pt idx="74573">3</cx:pt>
          <cx:pt idx="74574">2</cx:pt>
          <cx:pt idx="74575">5</cx:pt>
          <cx:pt idx="74576">1</cx:pt>
          <cx:pt idx="74577">4</cx:pt>
          <cx:pt idx="74578">4</cx:pt>
          <cx:pt idx="74579">3</cx:pt>
          <cx:pt idx="74580">2</cx:pt>
          <cx:pt idx="74581">4</cx:pt>
          <cx:pt idx="74582">0</cx:pt>
          <cx:pt idx="74583">4</cx:pt>
          <cx:pt idx="74584">5</cx:pt>
          <cx:pt idx="74585">2</cx:pt>
          <cx:pt idx="74586">2</cx:pt>
          <cx:pt idx="74587">3</cx:pt>
          <cx:pt idx="74588">3</cx:pt>
          <cx:pt idx="74589">4</cx:pt>
          <cx:pt idx="74590">3</cx:pt>
          <cx:pt idx="74591">4</cx:pt>
          <cx:pt idx="74592">1</cx:pt>
          <cx:pt idx="74593">2</cx:pt>
          <cx:pt idx="74594">1</cx:pt>
          <cx:pt idx="74595">2</cx:pt>
          <cx:pt idx="74596">0</cx:pt>
          <cx:pt idx="74597">3</cx:pt>
          <cx:pt idx="74598">2</cx:pt>
          <cx:pt idx="74599">2</cx:pt>
          <cx:pt idx="74600">5</cx:pt>
          <cx:pt idx="74601">1</cx:pt>
          <cx:pt idx="74602">4</cx:pt>
          <cx:pt idx="74603">2</cx:pt>
          <cx:pt idx="74604">4</cx:pt>
          <cx:pt idx="74605">3</cx:pt>
          <cx:pt idx="74606">2</cx:pt>
          <cx:pt idx="74607">4</cx:pt>
          <cx:pt idx="74608">1</cx:pt>
          <cx:pt idx="74609">5</cx:pt>
          <cx:pt idx="74610">2</cx:pt>
          <cx:pt idx="74611">3</cx:pt>
          <cx:pt idx="74612">4</cx:pt>
          <cx:pt idx="74613">3</cx:pt>
          <cx:pt idx="74614">3</cx:pt>
          <cx:pt idx="74615">2</cx:pt>
          <cx:pt idx="74616">3</cx:pt>
          <cx:pt idx="74617">2</cx:pt>
          <cx:pt idx="74618">3</cx:pt>
          <cx:pt idx="74619">3</cx:pt>
          <cx:pt idx="74620">4</cx:pt>
          <cx:pt idx="74621">2</cx:pt>
          <cx:pt idx="74622">2</cx:pt>
          <cx:pt idx="74623">4</cx:pt>
          <cx:pt idx="74624">0</cx:pt>
          <cx:pt idx="74625">5</cx:pt>
          <cx:pt idx="74626">2</cx:pt>
          <cx:pt idx="74627">1</cx:pt>
          <cx:pt idx="74628">5</cx:pt>
          <cx:pt idx="74629">5</cx:pt>
          <cx:pt idx="74630">3</cx:pt>
          <cx:pt idx="74631">3</cx:pt>
          <cx:pt idx="74632">0</cx:pt>
          <cx:pt idx="74633">3</cx:pt>
          <cx:pt idx="74634">3</cx:pt>
          <cx:pt idx="74635">2</cx:pt>
          <cx:pt idx="74636">3</cx:pt>
          <cx:pt idx="74637">4</cx:pt>
          <cx:pt idx="74638">3</cx:pt>
          <cx:pt idx="74639">4</cx:pt>
          <cx:pt idx="74640">0</cx:pt>
          <cx:pt idx="74641">3</cx:pt>
          <cx:pt idx="74642">1</cx:pt>
          <cx:pt idx="74643">5</cx:pt>
          <cx:pt idx="74644">4</cx:pt>
          <cx:pt idx="74645">5</cx:pt>
          <cx:pt idx="74646">5</cx:pt>
          <cx:pt idx="74647">2</cx:pt>
          <cx:pt idx="74648">4</cx:pt>
          <cx:pt idx="74649">2</cx:pt>
          <cx:pt idx="74650">4</cx:pt>
          <cx:pt idx="74651">2</cx:pt>
          <cx:pt idx="74652">3</cx:pt>
          <cx:pt idx="74653">1</cx:pt>
          <cx:pt idx="74654">5</cx:pt>
          <cx:pt idx="74655">5</cx:pt>
          <cx:pt idx="74656">2</cx:pt>
          <cx:pt idx="74657">3</cx:pt>
          <cx:pt idx="74658">3</cx:pt>
          <cx:pt idx="74659">2</cx:pt>
          <cx:pt idx="74660">1</cx:pt>
          <cx:pt idx="74661">3</cx:pt>
          <cx:pt idx="74662">2</cx:pt>
          <cx:pt idx="74663">5</cx:pt>
          <cx:pt idx="74664">2</cx:pt>
          <cx:pt idx="74665">5</cx:pt>
          <cx:pt idx="74666">3</cx:pt>
          <cx:pt idx="74667">2</cx:pt>
          <cx:pt idx="74668">2</cx:pt>
          <cx:pt idx="74669">3</cx:pt>
          <cx:pt idx="74670">1</cx:pt>
          <cx:pt idx="74671">5</cx:pt>
          <cx:pt idx="74672">3</cx:pt>
          <cx:pt idx="74673">3</cx:pt>
          <cx:pt idx="74674">3</cx:pt>
          <cx:pt idx="74675">5</cx:pt>
          <cx:pt idx="74676">2</cx:pt>
          <cx:pt idx="74677">5</cx:pt>
          <cx:pt idx="74678">2</cx:pt>
          <cx:pt idx="74679">2</cx:pt>
          <cx:pt idx="74680">1</cx:pt>
          <cx:pt idx="74681">3</cx:pt>
          <cx:pt idx="74682">1</cx:pt>
          <cx:pt idx="74683">2</cx:pt>
          <cx:pt idx="74684">2</cx:pt>
          <cx:pt idx="74685">1</cx:pt>
          <cx:pt idx="74686">4</cx:pt>
          <cx:pt idx="74687">5</cx:pt>
          <cx:pt idx="74688">3</cx:pt>
          <cx:pt idx="74689">2</cx:pt>
          <cx:pt idx="74690">1</cx:pt>
          <cx:pt idx="74691">5</cx:pt>
          <cx:pt idx="74692">3</cx:pt>
          <cx:pt idx="74693">1</cx:pt>
          <cx:pt idx="74694">2</cx:pt>
          <cx:pt idx="74695">5</cx:pt>
          <cx:pt idx="74696">2</cx:pt>
          <cx:pt idx="74697">2</cx:pt>
          <cx:pt idx="74698">4</cx:pt>
          <cx:pt idx="74699">3</cx:pt>
          <cx:pt idx="74700">5</cx:pt>
          <cx:pt idx="74701">3</cx:pt>
          <cx:pt idx="74702">2</cx:pt>
          <cx:pt idx="74703">4</cx:pt>
          <cx:pt idx="74704">5</cx:pt>
          <cx:pt idx="74705">3</cx:pt>
          <cx:pt idx="74706">0</cx:pt>
          <cx:pt idx="74707">1</cx:pt>
          <cx:pt idx="74708">4</cx:pt>
          <cx:pt idx="74709">5</cx:pt>
          <cx:pt idx="74710">1</cx:pt>
          <cx:pt idx="74711">2</cx:pt>
          <cx:pt idx="74712">0</cx:pt>
          <cx:pt idx="74713">2</cx:pt>
          <cx:pt idx="74714">4</cx:pt>
          <cx:pt idx="74715">2</cx:pt>
          <cx:pt idx="74716">2</cx:pt>
          <cx:pt idx="74717">4</cx:pt>
          <cx:pt idx="74718">3</cx:pt>
          <cx:pt idx="74719">1</cx:pt>
          <cx:pt idx="74720">1</cx:pt>
          <cx:pt idx="74721">2</cx:pt>
          <cx:pt idx="74722">2</cx:pt>
          <cx:pt idx="74723">1</cx:pt>
          <cx:pt idx="74724">4</cx:pt>
          <cx:pt idx="74725">2</cx:pt>
          <cx:pt idx="74726">5</cx:pt>
          <cx:pt idx="74727">0</cx:pt>
          <cx:pt idx="74728">2</cx:pt>
          <cx:pt idx="74729">3</cx:pt>
          <cx:pt idx="74730">2</cx:pt>
          <cx:pt idx="74731">2</cx:pt>
          <cx:pt idx="74732">4</cx:pt>
          <cx:pt idx="74733">1</cx:pt>
          <cx:pt idx="74734">4</cx:pt>
          <cx:pt idx="74735">4</cx:pt>
          <cx:pt idx="74736">3</cx:pt>
          <cx:pt idx="74737">4</cx:pt>
          <cx:pt idx="74738">2</cx:pt>
          <cx:pt idx="74739">4</cx:pt>
          <cx:pt idx="74740">4</cx:pt>
          <cx:pt idx="74741">5</cx:pt>
          <cx:pt idx="74742">4</cx:pt>
          <cx:pt idx="74743">2</cx:pt>
          <cx:pt idx="74744">2</cx:pt>
          <cx:pt idx="74745">2</cx:pt>
          <cx:pt idx="74746">1</cx:pt>
          <cx:pt idx="74747">4</cx:pt>
          <cx:pt idx="74748">5</cx:pt>
          <cx:pt idx="74749">4</cx:pt>
          <cx:pt idx="74750">3</cx:pt>
          <cx:pt idx="74751">2</cx:pt>
          <cx:pt idx="74752">2</cx:pt>
          <cx:pt idx="74753">5</cx:pt>
          <cx:pt idx="74754">3</cx:pt>
          <cx:pt idx="74755">5</cx:pt>
          <cx:pt idx="74756">5</cx:pt>
          <cx:pt idx="74757">3</cx:pt>
          <cx:pt idx="74758">3</cx:pt>
          <cx:pt idx="74759">1</cx:pt>
          <cx:pt idx="74760">0</cx:pt>
          <cx:pt idx="74761">2</cx:pt>
          <cx:pt idx="74762">2</cx:pt>
          <cx:pt idx="74763">3</cx:pt>
          <cx:pt idx="74764">4</cx:pt>
          <cx:pt idx="74765">2</cx:pt>
          <cx:pt idx="74766">2</cx:pt>
          <cx:pt idx="74767">4</cx:pt>
          <cx:pt idx="74768">4</cx:pt>
          <cx:pt idx="74769">0</cx:pt>
          <cx:pt idx="74770">2</cx:pt>
          <cx:pt idx="74771">4</cx:pt>
          <cx:pt idx="74772">3</cx:pt>
          <cx:pt idx="74773">1</cx:pt>
          <cx:pt idx="74774">5</cx:pt>
          <cx:pt idx="74775">2</cx:pt>
          <cx:pt idx="74776">4</cx:pt>
          <cx:pt idx="74777">1</cx:pt>
          <cx:pt idx="74778">2</cx:pt>
          <cx:pt idx="74779">1</cx:pt>
          <cx:pt idx="74780">3</cx:pt>
          <cx:pt idx="74781">2</cx:pt>
          <cx:pt idx="74782">2</cx:pt>
          <cx:pt idx="74783">2</cx:pt>
          <cx:pt idx="74784">4</cx:pt>
          <cx:pt idx="74785">3</cx:pt>
          <cx:pt idx="74786">3</cx:pt>
          <cx:pt idx="74787">1</cx:pt>
          <cx:pt idx="74788">1</cx:pt>
          <cx:pt idx="74789">2</cx:pt>
          <cx:pt idx="74790">4</cx:pt>
          <cx:pt idx="74791">4</cx:pt>
          <cx:pt idx="74792">5</cx:pt>
          <cx:pt idx="74793">3</cx:pt>
          <cx:pt idx="74794">3</cx:pt>
          <cx:pt idx="74795">1</cx:pt>
          <cx:pt idx="74796">3</cx:pt>
          <cx:pt idx="74797">4</cx:pt>
          <cx:pt idx="74798">1</cx:pt>
          <cx:pt idx="74799">2</cx:pt>
          <cx:pt idx="74800">2</cx:pt>
          <cx:pt idx="74801">1</cx:pt>
          <cx:pt idx="74802">2</cx:pt>
          <cx:pt idx="74803">0</cx:pt>
          <cx:pt idx="74804">1</cx:pt>
          <cx:pt idx="74805">2</cx:pt>
          <cx:pt idx="74806">5</cx:pt>
          <cx:pt idx="74807">2</cx:pt>
          <cx:pt idx="74808">2</cx:pt>
          <cx:pt idx="74809">5</cx:pt>
          <cx:pt idx="74810">5</cx:pt>
          <cx:pt idx="74811">3</cx:pt>
          <cx:pt idx="74812">2</cx:pt>
          <cx:pt idx="74813">3</cx:pt>
          <cx:pt idx="74814">4</cx:pt>
          <cx:pt idx="74815">2</cx:pt>
          <cx:pt idx="74816">2</cx:pt>
          <cx:pt idx="74817">1</cx:pt>
          <cx:pt idx="74818">1</cx:pt>
          <cx:pt idx="74819">1</cx:pt>
          <cx:pt idx="74820">3</cx:pt>
          <cx:pt idx="74821">2</cx:pt>
          <cx:pt idx="74822">1</cx:pt>
          <cx:pt idx="74823">3</cx:pt>
          <cx:pt idx="74824">1</cx:pt>
          <cx:pt idx="74825">2</cx:pt>
          <cx:pt idx="74826">3</cx:pt>
          <cx:pt idx="74827">2</cx:pt>
          <cx:pt idx="74828">3</cx:pt>
          <cx:pt idx="74829">5</cx:pt>
          <cx:pt idx="74830">0</cx:pt>
          <cx:pt idx="74831">2</cx:pt>
          <cx:pt idx="74832">1</cx:pt>
          <cx:pt idx="74833">5</cx:pt>
          <cx:pt idx="74834">2</cx:pt>
          <cx:pt idx="74835">1</cx:pt>
          <cx:pt idx="74836">2</cx:pt>
          <cx:pt idx="74837">2</cx:pt>
          <cx:pt idx="74838">2</cx:pt>
          <cx:pt idx="74839">4</cx:pt>
          <cx:pt idx="74840">4</cx:pt>
          <cx:pt idx="74841">1</cx:pt>
          <cx:pt idx="74842">4</cx:pt>
          <cx:pt idx="74843">4</cx:pt>
          <cx:pt idx="74844">1</cx:pt>
          <cx:pt idx="74845">3</cx:pt>
          <cx:pt idx="74846">2</cx:pt>
          <cx:pt idx="74847">1</cx:pt>
          <cx:pt idx="74848">5</cx:pt>
          <cx:pt idx="74849">1</cx:pt>
          <cx:pt idx="74850">2</cx:pt>
          <cx:pt idx="74851">1</cx:pt>
          <cx:pt idx="74852">5</cx:pt>
          <cx:pt idx="74853">1</cx:pt>
          <cx:pt idx="74854">1</cx:pt>
          <cx:pt idx="74855">0</cx:pt>
          <cx:pt idx="74856">2</cx:pt>
          <cx:pt idx="74857">1</cx:pt>
          <cx:pt idx="74858">1</cx:pt>
          <cx:pt idx="74859">4</cx:pt>
          <cx:pt idx="74860">5</cx:pt>
          <cx:pt idx="74861">2</cx:pt>
          <cx:pt idx="74862">5</cx:pt>
          <cx:pt idx="74863">0</cx:pt>
          <cx:pt idx="74864">3</cx:pt>
          <cx:pt idx="74865">3</cx:pt>
          <cx:pt idx="74866">0</cx:pt>
          <cx:pt idx="74867">1</cx:pt>
          <cx:pt idx="74868">1</cx:pt>
          <cx:pt idx="74869">2</cx:pt>
          <cx:pt idx="74870">5</cx:pt>
          <cx:pt idx="74871">5</cx:pt>
          <cx:pt idx="74872">1</cx:pt>
          <cx:pt idx="74873">4</cx:pt>
          <cx:pt idx="74874">1</cx:pt>
          <cx:pt idx="74875">2</cx:pt>
          <cx:pt idx="74876">1</cx:pt>
          <cx:pt idx="74877">4</cx:pt>
          <cx:pt idx="74878">4</cx:pt>
          <cx:pt idx="74879">5</cx:pt>
          <cx:pt idx="74880">5</cx:pt>
          <cx:pt idx="74881">2</cx:pt>
          <cx:pt idx="74882">2</cx:pt>
          <cx:pt idx="74883">1</cx:pt>
          <cx:pt idx="74884">4</cx:pt>
          <cx:pt idx="74885">0</cx:pt>
          <cx:pt idx="74886">1</cx:pt>
          <cx:pt idx="74887">3</cx:pt>
          <cx:pt idx="74888">3</cx:pt>
          <cx:pt idx="74889">1</cx:pt>
          <cx:pt idx="74890">3</cx:pt>
          <cx:pt idx="74891">4</cx:pt>
          <cx:pt idx="74892">2</cx:pt>
          <cx:pt idx="74893">4</cx:pt>
          <cx:pt idx="74894">3</cx:pt>
          <cx:pt idx="74895">4</cx:pt>
          <cx:pt idx="74896">2</cx:pt>
          <cx:pt idx="74897">3</cx:pt>
          <cx:pt idx="74898">3</cx:pt>
          <cx:pt idx="74899">2</cx:pt>
          <cx:pt idx="74900">5</cx:pt>
          <cx:pt idx="74901">1</cx:pt>
          <cx:pt idx="74902">5</cx:pt>
          <cx:pt idx="74903">5</cx:pt>
          <cx:pt idx="74904">3</cx:pt>
          <cx:pt idx="74905">1</cx:pt>
          <cx:pt idx="74906">5</cx:pt>
          <cx:pt idx="74907">4</cx:pt>
          <cx:pt idx="74908">1</cx:pt>
          <cx:pt idx="74909">4</cx:pt>
          <cx:pt idx="74910">3</cx:pt>
          <cx:pt idx="74911">2</cx:pt>
          <cx:pt idx="74912">4</cx:pt>
          <cx:pt idx="74913">2</cx:pt>
          <cx:pt idx="74914">4</cx:pt>
          <cx:pt idx="74915">0</cx:pt>
          <cx:pt idx="74916">1</cx:pt>
          <cx:pt idx="74917">1</cx:pt>
          <cx:pt idx="74918">2</cx:pt>
          <cx:pt idx="74919">3</cx:pt>
          <cx:pt idx="74920">2</cx:pt>
          <cx:pt idx="74921">3</cx:pt>
          <cx:pt idx="74922">2</cx:pt>
          <cx:pt idx="74923">2</cx:pt>
          <cx:pt idx="74924">5</cx:pt>
          <cx:pt idx="74925">5</cx:pt>
          <cx:pt idx="74926">4</cx:pt>
          <cx:pt idx="74927">3</cx:pt>
          <cx:pt idx="74928">0</cx:pt>
          <cx:pt idx="74929">2</cx:pt>
          <cx:pt idx="74930">1</cx:pt>
          <cx:pt idx="74931">3</cx:pt>
          <cx:pt idx="74932">4</cx:pt>
          <cx:pt idx="74933">5</cx:pt>
          <cx:pt idx="74934">2</cx:pt>
          <cx:pt idx="74935">2</cx:pt>
          <cx:pt idx="74936">1</cx:pt>
          <cx:pt idx="74937">2</cx:pt>
          <cx:pt idx="74938">1</cx:pt>
          <cx:pt idx="74939">1</cx:pt>
          <cx:pt idx="74940">4</cx:pt>
          <cx:pt idx="74941">5</cx:pt>
          <cx:pt idx="74942">2</cx:pt>
          <cx:pt idx="74943">4</cx:pt>
          <cx:pt idx="74944">1</cx:pt>
          <cx:pt idx="74945">1</cx:pt>
          <cx:pt idx="74946">2</cx:pt>
          <cx:pt idx="74947">5</cx:pt>
          <cx:pt idx="74948">4</cx:pt>
          <cx:pt idx="74949">2</cx:pt>
          <cx:pt idx="74950">3</cx:pt>
          <cx:pt idx="74951">4</cx:pt>
          <cx:pt idx="74952">5</cx:pt>
          <cx:pt idx="74953">2</cx:pt>
          <cx:pt idx="74954">2</cx:pt>
          <cx:pt idx="74955">5</cx:pt>
          <cx:pt idx="74956">3</cx:pt>
          <cx:pt idx="74957">3</cx:pt>
          <cx:pt idx="74958">3</cx:pt>
          <cx:pt idx="74959">1</cx:pt>
          <cx:pt idx="74960">3</cx:pt>
          <cx:pt idx="74961">4</cx:pt>
          <cx:pt idx="74962">5</cx:pt>
          <cx:pt idx="74963">2</cx:pt>
          <cx:pt idx="74964">4</cx:pt>
          <cx:pt idx="74965">1</cx:pt>
          <cx:pt idx="74966">3</cx:pt>
          <cx:pt idx="74967">1</cx:pt>
          <cx:pt idx="74968">5</cx:pt>
          <cx:pt idx="74969">5</cx:pt>
          <cx:pt idx="74970">3</cx:pt>
          <cx:pt idx="74971">5</cx:pt>
          <cx:pt idx="74972">5</cx:pt>
          <cx:pt idx="74973">1</cx:pt>
          <cx:pt idx="74974">1</cx:pt>
          <cx:pt idx="74975">3</cx:pt>
          <cx:pt idx="74976">1</cx:pt>
          <cx:pt idx="74977">3</cx:pt>
          <cx:pt idx="74978">0</cx:pt>
          <cx:pt idx="74979">2</cx:pt>
          <cx:pt idx="74980">1</cx:pt>
          <cx:pt idx="74981">3</cx:pt>
          <cx:pt idx="74982">3</cx:pt>
          <cx:pt idx="74983">0</cx:pt>
          <cx:pt idx="74984">5</cx:pt>
          <cx:pt idx="74985">1</cx:pt>
          <cx:pt idx="74986">2</cx:pt>
          <cx:pt idx="74987">5</cx:pt>
          <cx:pt idx="74988">3</cx:pt>
          <cx:pt idx="74989">3</cx:pt>
          <cx:pt idx="74990">2</cx:pt>
          <cx:pt idx="74991">4</cx:pt>
          <cx:pt idx="74992">2</cx:pt>
          <cx:pt idx="74993">4</cx:pt>
          <cx:pt idx="74994">2</cx:pt>
          <cx:pt idx="74995">3</cx:pt>
          <cx:pt idx="74996">2</cx:pt>
          <cx:pt idx="74997">3</cx:pt>
          <cx:pt idx="74998">2</cx:pt>
          <cx:pt idx="74999">2</cx:pt>
          <cx:pt idx="75000">1</cx:pt>
          <cx:pt idx="75001">3</cx:pt>
          <cx:pt idx="75002">5</cx:pt>
          <cx:pt idx="75003">3</cx:pt>
          <cx:pt idx="75004">4</cx:pt>
          <cx:pt idx="75005">2</cx:pt>
          <cx:pt idx="75006">4</cx:pt>
          <cx:pt idx="75007">1</cx:pt>
          <cx:pt idx="75008">2</cx:pt>
          <cx:pt idx="75009">1</cx:pt>
          <cx:pt idx="75010">1</cx:pt>
          <cx:pt idx="75011">3</cx:pt>
          <cx:pt idx="75012">1</cx:pt>
          <cx:pt idx="75013">2</cx:pt>
          <cx:pt idx="75014">1</cx:pt>
          <cx:pt idx="75015">1</cx:pt>
          <cx:pt idx="75016">3</cx:pt>
          <cx:pt idx="75017">4</cx:pt>
          <cx:pt idx="75018">3</cx:pt>
          <cx:pt idx="75019">4</cx:pt>
          <cx:pt idx="75020">2</cx:pt>
          <cx:pt idx="75021">0</cx:pt>
          <cx:pt idx="75022">5</cx:pt>
          <cx:pt idx="75023">4</cx:pt>
          <cx:pt idx="75024">2</cx:pt>
          <cx:pt idx="75025">3</cx:pt>
          <cx:pt idx="75026">4</cx:pt>
          <cx:pt idx="75027">4</cx:pt>
          <cx:pt idx="75028">1</cx:pt>
          <cx:pt idx="75029">2</cx:pt>
          <cx:pt idx="75030">1</cx:pt>
          <cx:pt idx="75031">3</cx:pt>
          <cx:pt idx="75032">4</cx:pt>
          <cx:pt idx="75033">2</cx:pt>
          <cx:pt idx="75034">5</cx:pt>
          <cx:pt idx="75035">2</cx:pt>
          <cx:pt idx="75036">2</cx:pt>
          <cx:pt idx="75037">2</cx:pt>
          <cx:pt idx="75038">2</cx:pt>
          <cx:pt idx="75039">2</cx:pt>
          <cx:pt idx="75040">5</cx:pt>
          <cx:pt idx="75041">2</cx:pt>
          <cx:pt idx="75042">2</cx:pt>
          <cx:pt idx="75043">0</cx:pt>
          <cx:pt idx="75044">0</cx:pt>
          <cx:pt idx="75045">4</cx:pt>
          <cx:pt idx="75046">1</cx:pt>
          <cx:pt idx="75047">2</cx:pt>
          <cx:pt idx="75048">1</cx:pt>
          <cx:pt idx="75049">4</cx:pt>
          <cx:pt idx="75050">2</cx:pt>
          <cx:pt idx="75051">0</cx:pt>
          <cx:pt idx="75052">2</cx:pt>
          <cx:pt idx="75053">2</cx:pt>
          <cx:pt idx="75054">4</cx:pt>
          <cx:pt idx="75055">3</cx:pt>
          <cx:pt idx="75056">2</cx:pt>
          <cx:pt idx="75057">5</cx:pt>
          <cx:pt idx="75058">4</cx:pt>
          <cx:pt idx="75059">3</cx:pt>
          <cx:pt idx="75060">5</cx:pt>
          <cx:pt idx="75061">0</cx:pt>
          <cx:pt idx="75062">3</cx:pt>
          <cx:pt idx="75063">1</cx:pt>
          <cx:pt idx="75064">1</cx:pt>
          <cx:pt idx="75065">1</cx:pt>
          <cx:pt idx="75066">3</cx:pt>
          <cx:pt idx="75067">2</cx:pt>
          <cx:pt idx="75068">4</cx:pt>
          <cx:pt idx="75069">2</cx:pt>
          <cx:pt idx="75070">0</cx:pt>
          <cx:pt idx="75071">3</cx:pt>
          <cx:pt idx="75072">1</cx:pt>
          <cx:pt idx="75073">4</cx:pt>
          <cx:pt idx="75074">3</cx:pt>
          <cx:pt idx="75075">4</cx:pt>
          <cx:pt idx="75076">4</cx:pt>
          <cx:pt idx="75077">4</cx:pt>
          <cx:pt idx="75078">1</cx:pt>
          <cx:pt idx="75079">2</cx:pt>
          <cx:pt idx="75080">3</cx:pt>
          <cx:pt idx="75081">4</cx:pt>
          <cx:pt idx="75082">2</cx:pt>
          <cx:pt idx="75083">1</cx:pt>
          <cx:pt idx="75084">2</cx:pt>
          <cx:pt idx="75085">2</cx:pt>
          <cx:pt idx="75086">2</cx:pt>
          <cx:pt idx="75087">3</cx:pt>
          <cx:pt idx="75088">3</cx:pt>
          <cx:pt idx="75089">4</cx:pt>
          <cx:pt idx="75090">3</cx:pt>
          <cx:pt idx="75091">3</cx:pt>
          <cx:pt idx="75092">4</cx:pt>
          <cx:pt idx="75093">5</cx:pt>
          <cx:pt idx="75094">2</cx:pt>
          <cx:pt idx="75095">4</cx:pt>
          <cx:pt idx="75096">3</cx:pt>
          <cx:pt idx="75097">0</cx:pt>
          <cx:pt idx="75098">1</cx:pt>
          <cx:pt idx="75099">5</cx:pt>
          <cx:pt idx="75100">1</cx:pt>
          <cx:pt idx="75101">4</cx:pt>
          <cx:pt idx="75102">4</cx:pt>
          <cx:pt idx="75103">4</cx:pt>
          <cx:pt idx="75104">2</cx:pt>
          <cx:pt idx="75105">3</cx:pt>
          <cx:pt idx="75106">4</cx:pt>
          <cx:pt idx="75107">2</cx:pt>
          <cx:pt idx="75108">3</cx:pt>
          <cx:pt idx="75109">4</cx:pt>
          <cx:pt idx="75110">3</cx:pt>
          <cx:pt idx="75111">1</cx:pt>
          <cx:pt idx="75112">2</cx:pt>
          <cx:pt idx="75113">4</cx:pt>
          <cx:pt idx="75114">3</cx:pt>
          <cx:pt idx="75115">3</cx:pt>
          <cx:pt idx="75116">3</cx:pt>
          <cx:pt idx="75117">3</cx:pt>
          <cx:pt idx="75118">1</cx:pt>
          <cx:pt idx="75119">4</cx:pt>
          <cx:pt idx="75120">2</cx:pt>
          <cx:pt idx="75121">2</cx:pt>
          <cx:pt idx="75122">2</cx:pt>
          <cx:pt idx="75123">1</cx:pt>
          <cx:pt idx="75124">4</cx:pt>
          <cx:pt idx="75125">1</cx:pt>
          <cx:pt idx="75126">4</cx:pt>
          <cx:pt idx="75127">2</cx:pt>
          <cx:pt idx="75128">3</cx:pt>
          <cx:pt idx="75129">3</cx:pt>
          <cx:pt idx="75130">2</cx:pt>
          <cx:pt idx="75131">4</cx:pt>
          <cx:pt idx="75132">5</cx:pt>
          <cx:pt idx="75133">1</cx:pt>
          <cx:pt idx="75134">5</cx:pt>
          <cx:pt idx="75135">3</cx:pt>
          <cx:pt idx="75136">4</cx:pt>
          <cx:pt idx="75137">5</cx:pt>
          <cx:pt idx="75138">2</cx:pt>
          <cx:pt idx="75139">3</cx:pt>
          <cx:pt idx="75140">5</cx:pt>
          <cx:pt idx="75141">1</cx:pt>
          <cx:pt idx="75142">5</cx:pt>
          <cx:pt idx="75143">4</cx:pt>
          <cx:pt idx="75144">5</cx:pt>
          <cx:pt idx="75145">5</cx:pt>
          <cx:pt idx="75146">3</cx:pt>
          <cx:pt idx="75147">2</cx:pt>
          <cx:pt idx="75148">1</cx:pt>
          <cx:pt idx="75149">4</cx:pt>
          <cx:pt idx="75150">3</cx:pt>
          <cx:pt idx="75151">4</cx:pt>
          <cx:pt idx="75152">4</cx:pt>
          <cx:pt idx="75153">3</cx:pt>
          <cx:pt idx="75154">4</cx:pt>
          <cx:pt idx="75155">3</cx:pt>
          <cx:pt idx="75156">1</cx:pt>
          <cx:pt idx="75157">5</cx:pt>
          <cx:pt idx="75158">1</cx:pt>
          <cx:pt idx="75159">5</cx:pt>
          <cx:pt idx="75160">1</cx:pt>
          <cx:pt idx="75161">1</cx:pt>
          <cx:pt idx="75162">2</cx:pt>
          <cx:pt idx="75163">4</cx:pt>
          <cx:pt idx="75164">2</cx:pt>
          <cx:pt idx="75165">4</cx:pt>
          <cx:pt idx="75166">4</cx:pt>
          <cx:pt idx="75167">4</cx:pt>
          <cx:pt idx="75168">3</cx:pt>
          <cx:pt idx="75169">2</cx:pt>
          <cx:pt idx="75170">3</cx:pt>
          <cx:pt idx="75171">2</cx:pt>
          <cx:pt idx="75172">5</cx:pt>
          <cx:pt idx="75173">3</cx:pt>
          <cx:pt idx="75174">1</cx:pt>
          <cx:pt idx="75175">4</cx:pt>
          <cx:pt idx="75176">4</cx:pt>
          <cx:pt idx="75177">1</cx:pt>
          <cx:pt idx="75178">3</cx:pt>
          <cx:pt idx="75179">1</cx:pt>
          <cx:pt idx="75180">2</cx:pt>
          <cx:pt idx="75181">3</cx:pt>
          <cx:pt idx="75182">5</cx:pt>
          <cx:pt idx="75183">1</cx:pt>
          <cx:pt idx="75184">3</cx:pt>
          <cx:pt idx="75185">0</cx:pt>
          <cx:pt idx="75186">2</cx:pt>
          <cx:pt idx="75187">2</cx:pt>
          <cx:pt idx="75188">3</cx:pt>
          <cx:pt idx="75189">1</cx:pt>
          <cx:pt idx="75190">4</cx:pt>
          <cx:pt idx="75191">0</cx:pt>
          <cx:pt idx="75192">3</cx:pt>
          <cx:pt idx="75193">4</cx:pt>
          <cx:pt idx="75194">1</cx:pt>
          <cx:pt idx="75195">3</cx:pt>
          <cx:pt idx="75196">3</cx:pt>
          <cx:pt idx="75197">5</cx:pt>
          <cx:pt idx="75198">5</cx:pt>
          <cx:pt idx="75199">1</cx:pt>
          <cx:pt idx="75200">2</cx:pt>
          <cx:pt idx="75201">2</cx:pt>
          <cx:pt idx="75202">2</cx:pt>
          <cx:pt idx="75203">5</cx:pt>
          <cx:pt idx="75204">2</cx:pt>
          <cx:pt idx="75205">2</cx:pt>
          <cx:pt idx="75206">1</cx:pt>
          <cx:pt idx="75207">5</cx:pt>
          <cx:pt idx="75208">4</cx:pt>
          <cx:pt idx="75209">3</cx:pt>
          <cx:pt idx="75210">1</cx:pt>
          <cx:pt idx="75211">5</cx:pt>
          <cx:pt idx="75212">1</cx:pt>
          <cx:pt idx="75213">2</cx:pt>
          <cx:pt idx="75214">3</cx:pt>
          <cx:pt idx="75215">3</cx:pt>
          <cx:pt idx="75216">2</cx:pt>
          <cx:pt idx="75217">0</cx:pt>
          <cx:pt idx="75218">4</cx:pt>
          <cx:pt idx="75219">2</cx:pt>
          <cx:pt idx="75220">2</cx:pt>
          <cx:pt idx="75221">1</cx:pt>
          <cx:pt idx="75222">3</cx:pt>
          <cx:pt idx="75223">0</cx:pt>
          <cx:pt idx="75224">4</cx:pt>
          <cx:pt idx="75225">3</cx:pt>
          <cx:pt idx="75226">3</cx:pt>
          <cx:pt idx="75227">2</cx:pt>
          <cx:pt idx="75228">3</cx:pt>
          <cx:pt idx="75229">4</cx:pt>
          <cx:pt idx="75230">0</cx:pt>
          <cx:pt idx="75231">4</cx:pt>
          <cx:pt idx="75232">5</cx:pt>
          <cx:pt idx="75233">4</cx:pt>
          <cx:pt idx="75234">2</cx:pt>
          <cx:pt idx="75235">1</cx:pt>
          <cx:pt idx="75236">2</cx:pt>
          <cx:pt idx="75237">4</cx:pt>
          <cx:pt idx="75238">3</cx:pt>
          <cx:pt idx="75239">1</cx:pt>
          <cx:pt idx="75240">1</cx:pt>
          <cx:pt idx="75241">0</cx:pt>
          <cx:pt idx="75242">4</cx:pt>
          <cx:pt idx="75243">3</cx:pt>
          <cx:pt idx="75244">3</cx:pt>
          <cx:pt idx="75245">5</cx:pt>
          <cx:pt idx="75246">3</cx:pt>
          <cx:pt idx="75247">2</cx:pt>
          <cx:pt idx="75248">2</cx:pt>
          <cx:pt idx="75249">2</cx:pt>
          <cx:pt idx="75250">3</cx:pt>
          <cx:pt idx="75251">0</cx:pt>
          <cx:pt idx="75252">4</cx:pt>
          <cx:pt idx="75253">3</cx:pt>
          <cx:pt idx="75254">2</cx:pt>
          <cx:pt idx="75255">5</cx:pt>
          <cx:pt idx="75256">2</cx:pt>
          <cx:pt idx="75257">4</cx:pt>
          <cx:pt idx="75258">1</cx:pt>
          <cx:pt idx="75259">2</cx:pt>
          <cx:pt idx="75260">3</cx:pt>
          <cx:pt idx="75261">3</cx:pt>
          <cx:pt idx="75262">2</cx:pt>
          <cx:pt idx="75263">4</cx:pt>
          <cx:pt idx="75264">5</cx:pt>
          <cx:pt idx="75265">1</cx:pt>
          <cx:pt idx="75266">1</cx:pt>
          <cx:pt idx="75267">1</cx:pt>
          <cx:pt idx="75268">3</cx:pt>
          <cx:pt idx="75269">4</cx:pt>
          <cx:pt idx="75270">0</cx:pt>
          <cx:pt idx="75271">5</cx:pt>
          <cx:pt idx="75272">5</cx:pt>
          <cx:pt idx="75273">3</cx:pt>
          <cx:pt idx="75274">2</cx:pt>
          <cx:pt idx="75275">4</cx:pt>
          <cx:pt idx="75276">4</cx:pt>
          <cx:pt idx="75277">2</cx:pt>
          <cx:pt idx="75278">2</cx:pt>
          <cx:pt idx="75279">3</cx:pt>
          <cx:pt idx="75280">3</cx:pt>
          <cx:pt idx="75281">2</cx:pt>
          <cx:pt idx="75282">2</cx:pt>
          <cx:pt idx="75283">3</cx:pt>
          <cx:pt idx="75284">3</cx:pt>
          <cx:pt idx="75285">5</cx:pt>
          <cx:pt idx="75286">4</cx:pt>
          <cx:pt idx="75287">3</cx:pt>
          <cx:pt idx="75288">4</cx:pt>
          <cx:pt idx="75289">2</cx:pt>
          <cx:pt idx="75290">2</cx:pt>
          <cx:pt idx="75291">1</cx:pt>
          <cx:pt idx="75292">1</cx:pt>
          <cx:pt idx="75293">3</cx:pt>
          <cx:pt idx="75294">2</cx:pt>
          <cx:pt idx="75295">3</cx:pt>
          <cx:pt idx="75296">1</cx:pt>
          <cx:pt idx="75297">1</cx:pt>
          <cx:pt idx="75298">4</cx:pt>
          <cx:pt idx="75299">2</cx:pt>
          <cx:pt idx="75300">5</cx:pt>
          <cx:pt idx="75301">3</cx:pt>
          <cx:pt idx="75302">5</cx:pt>
          <cx:pt idx="75303">5</cx:pt>
          <cx:pt idx="75304">2</cx:pt>
          <cx:pt idx="75305">5</cx:pt>
          <cx:pt idx="75306">2</cx:pt>
          <cx:pt idx="75307">5</cx:pt>
          <cx:pt idx="75308">2</cx:pt>
          <cx:pt idx="75309">5</cx:pt>
          <cx:pt idx="75310">2</cx:pt>
          <cx:pt idx="75311">4</cx:pt>
          <cx:pt idx="75312">2</cx:pt>
          <cx:pt idx="75313">1</cx:pt>
          <cx:pt idx="75314">1</cx:pt>
          <cx:pt idx="75315">2</cx:pt>
          <cx:pt idx="75316">4</cx:pt>
          <cx:pt idx="75317">3</cx:pt>
          <cx:pt idx="75318">3</cx:pt>
          <cx:pt idx="75319">2</cx:pt>
          <cx:pt idx="75320">2</cx:pt>
          <cx:pt idx="75321">5</cx:pt>
          <cx:pt idx="75322">1</cx:pt>
          <cx:pt idx="75323">2</cx:pt>
          <cx:pt idx="75324">2</cx:pt>
          <cx:pt idx="75325">0</cx:pt>
          <cx:pt idx="75326">3</cx:pt>
          <cx:pt idx="75327">5</cx:pt>
          <cx:pt idx="75328">3</cx:pt>
          <cx:pt idx="75329">1</cx:pt>
          <cx:pt idx="75330">3</cx:pt>
          <cx:pt idx="75331">3</cx:pt>
          <cx:pt idx="75332">3</cx:pt>
          <cx:pt idx="75333">5</cx:pt>
          <cx:pt idx="75334">1</cx:pt>
          <cx:pt idx="75335">4</cx:pt>
          <cx:pt idx="75336">2</cx:pt>
          <cx:pt idx="75337">5</cx:pt>
          <cx:pt idx="75338">0</cx:pt>
          <cx:pt idx="75339">2</cx:pt>
          <cx:pt idx="75340">4</cx:pt>
          <cx:pt idx="75341">5</cx:pt>
          <cx:pt idx="75342">4</cx:pt>
          <cx:pt idx="75343">3</cx:pt>
          <cx:pt idx="75344">5</cx:pt>
          <cx:pt idx="75345">5</cx:pt>
          <cx:pt idx="75346">3</cx:pt>
          <cx:pt idx="75347">0</cx:pt>
          <cx:pt idx="75348">5</cx:pt>
          <cx:pt idx="75349">2</cx:pt>
          <cx:pt idx="75350">3</cx:pt>
          <cx:pt idx="75351">2</cx:pt>
          <cx:pt idx="75352">4</cx:pt>
          <cx:pt idx="75353">1</cx:pt>
          <cx:pt idx="75354">5</cx:pt>
          <cx:pt idx="75355">3</cx:pt>
          <cx:pt idx="75356">2</cx:pt>
          <cx:pt idx="75357">1</cx:pt>
          <cx:pt idx="75358">1</cx:pt>
          <cx:pt idx="75359">2</cx:pt>
          <cx:pt idx="75360">5</cx:pt>
          <cx:pt idx="75361">4</cx:pt>
          <cx:pt idx="75362">0</cx:pt>
          <cx:pt idx="75363">0</cx:pt>
          <cx:pt idx="75364">4</cx:pt>
          <cx:pt idx="75365">0</cx:pt>
          <cx:pt idx="75366">2</cx:pt>
          <cx:pt idx="75367">2</cx:pt>
          <cx:pt idx="75368">4</cx:pt>
          <cx:pt idx="75369">4</cx:pt>
          <cx:pt idx="75370">2</cx:pt>
          <cx:pt idx="75371">4</cx:pt>
          <cx:pt idx="75372">5</cx:pt>
          <cx:pt idx="75373">4</cx:pt>
          <cx:pt idx="75374">2</cx:pt>
          <cx:pt idx="75375">2</cx:pt>
          <cx:pt idx="75376">1</cx:pt>
          <cx:pt idx="75377">2</cx:pt>
          <cx:pt idx="75378">3</cx:pt>
          <cx:pt idx="75379">4</cx:pt>
          <cx:pt idx="75380">4</cx:pt>
          <cx:pt idx="75381">4</cx:pt>
          <cx:pt idx="75382">4</cx:pt>
          <cx:pt idx="75383">4</cx:pt>
          <cx:pt idx="75384">1</cx:pt>
          <cx:pt idx="75385">0</cx:pt>
          <cx:pt idx="75386">5</cx:pt>
          <cx:pt idx="75387">3</cx:pt>
          <cx:pt idx="75388">3</cx:pt>
          <cx:pt idx="75389">1</cx:pt>
          <cx:pt idx="75390">5</cx:pt>
          <cx:pt idx="75391">4</cx:pt>
          <cx:pt idx="75392">1</cx:pt>
          <cx:pt idx="75393">4</cx:pt>
          <cx:pt idx="75394">3</cx:pt>
          <cx:pt idx="75395">1</cx:pt>
          <cx:pt idx="75396">0</cx:pt>
          <cx:pt idx="75397">3</cx:pt>
          <cx:pt idx="75398">4</cx:pt>
          <cx:pt idx="75399">3</cx:pt>
          <cx:pt idx="75400">4</cx:pt>
          <cx:pt idx="75401">3</cx:pt>
          <cx:pt idx="75402">2</cx:pt>
          <cx:pt idx="75403">4</cx:pt>
          <cx:pt idx="75404">3</cx:pt>
          <cx:pt idx="75405">3</cx:pt>
          <cx:pt idx="75406">2</cx:pt>
          <cx:pt idx="75407">3</cx:pt>
          <cx:pt idx="75408">4</cx:pt>
          <cx:pt idx="75409">3</cx:pt>
          <cx:pt idx="75410">2</cx:pt>
          <cx:pt idx="75411">2</cx:pt>
          <cx:pt idx="75412">3</cx:pt>
          <cx:pt idx="75413">3</cx:pt>
          <cx:pt idx="75414">1</cx:pt>
          <cx:pt idx="75415">4</cx:pt>
          <cx:pt idx="75416">3</cx:pt>
          <cx:pt idx="75417">5</cx:pt>
          <cx:pt idx="75418">2</cx:pt>
          <cx:pt idx="75419">5</cx:pt>
          <cx:pt idx="75420">0</cx:pt>
          <cx:pt idx="75421">2</cx:pt>
          <cx:pt idx="75422">3</cx:pt>
          <cx:pt idx="75423">4</cx:pt>
          <cx:pt idx="75424">2</cx:pt>
          <cx:pt idx="75425">4</cx:pt>
          <cx:pt idx="75426">3</cx:pt>
          <cx:pt idx="75427">3</cx:pt>
          <cx:pt idx="75428">3</cx:pt>
          <cx:pt idx="75429">1</cx:pt>
          <cx:pt idx="75430">2</cx:pt>
          <cx:pt idx="75431">5</cx:pt>
          <cx:pt idx="75432">4</cx:pt>
          <cx:pt idx="75433">1</cx:pt>
          <cx:pt idx="75434">1</cx:pt>
          <cx:pt idx="75435">2</cx:pt>
          <cx:pt idx="75436">2</cx:pt>
          <cx:pt idx="75437">3</cx:pt>
          <cx:pt idx="75438">1</cx:pt>
          <cx:pt idx="75439">4</cx:pt>
          <cx:pt idx="75440">4</cx:pt>
          <cx:pt idx="75441">1</cx:pt>
          <cx:pt idx="75442">2</cx:pt>
          <cx:pt idx="75443">1</cx:pt>
          <cx:pt idx="75444">5</cx:pt>
          <cx:pt idx="75445">2</cx:pt>
          <cx:pt idx="75446">3</cx:pt>
          <cx:pt idx="75447">5</cx:pt>
          <cx:pt idx="75448">2</cx:pt>
          <cx:pt idx="75449">2</cx:pt>
          <cx:pt idx="75450">4</cx:pt>
          <cx:pt idx="75451">4</cx:pt>
          <cx:pt idx="75452">1</cx:pt>
          <cx:pt idx="75453">2</cx:pt>
          <cx:pt idx="75454">3</cx:pt>
          <cx:pt idx="75455">3</cx:pt>
          <cx:pt idx="75456">3</cx:pt>
          <cx:pt idx="75457">5</cx:pt>
          <cx:pt idx="75458">2</cx:pt>
          <cx:pt idx="75459">2</cx:pt>
          <cx:pt idx="75460">3</cx:pt>
          <cx:pt idx="75461">3</cx:pt>
          <cx:pt idx="75462">4</cx:pt>
          <cx:pt idx="75463">2</cx:pt>
          <cx:pt idx="75464">2</cx:pt>
          <cx:pt idx="75465">3</cx:pt>
          <cx:pt idx="75466">4</cx:pt>
          <cx:pt idx="75467">4</cx:pt>
          <cx:pt idx="75468">2</cx:pt>
          <cx:pt idx="75469">1</cx:pt>
          <cx:pt idx="75470">1</cx:pt>
          <cx:pt idx="75471">2</cx:pt>
          <cx:pt idx="75472">3</cx:pt>
          <cx:pt idx="75473">5</cx:pt>
          <cx:pt idx="75474">4</cx:pt>
          <cx:pt idx="75475">0</cx:pt>
          <cx:pt idx="75476">3</cx:pt>
          <cx:pt idx="75477">5</cx:pt>
          <cx:pt idx="75478">2</cx:pt>
          <cx:pt idx="75479">2</cx:pt>
          <cx:pt idx="75480">1</cx:pt>
          <cx:pt idx="75481">0</cx:pt>
          <cx:pt idx="75482">3</cx:pt>
          <cx:pt idx="75483">4</cx:pt>
          <cx:pt idx="75484">4</cx:pt>
          <cx:pt idx="75485">2</cx:pt>
          <cx:pt idx="75486">3</cx:pt>
          <cx:pt idx="75487">2</cx:pt>
          <cx:pt idx="75488">3</cx:pt>
          <cx:pt idx="75489">2</cx:pt>
          <cx:pt idx="75490">4</cx:pt>
          <cx:pt idx="75491">2</cx:pt>
          <cx:pt idx="75492">2</cx:pt>
          <cx:pt idx="75493">1</cx:pt>
          <cx:pt idx="75494">4</cx:pt>
          <cx:pt idx="75495">5</cx:pt>
          <cx:pt idx="75496">3</cx:pt>
          <cx:pt idx="75497">1</cx:pt>
          <cx:pt idx="75498">4</cx:pt>
          <cx:pt idx="75499">3</cx:pt>
          <cx:pt idx="75500">3</cx:pt>
          <cx:pt idx="75501">1</cx:pt>
          <cx:pt idx="75502">4</cx:pt>
          <cx:pt idx="75503">3</cx:pt>
          <cx:pt idx="75504">2</cx:pt>
          <cx:pt idx="75505">2</cx:pt>
          <cx:pt idx="75506">4</cx:pt>
          <cx:pt idx="75507">2</cx:pt>
          <cx:pt idx="75508">4</cx:pt>
          <cx:pt idx="75509">3</cx:pt>
          <cx:pt idx="75510">5</cx:pt>
          <cx:pt idx="75511">2</cx:pt>
          <cx:pt idx="75512">0</cx:pt>
          <cx:pt idx="75513">2</cx:pt>
          <cx:pt idx="75514">4</cx:pt>
          <cx:pt idx="75515">3</cx:pt>
          <cx:pt idx="75516">1</cx:pt>
          <cx:pt idx="75517">3</cx:pt>
          <cx:pt idx="75518">5</cx:pt>
          <cx:pt idx="75519">4</cx:pt>
          <cx:pt idx="75520">5</cx:pt>
          <cx:pt idx="75521">3</cx:pt>
          <cx:pt idx="75522">1</cx:pt>
          <cx:pt idx="75523">4</cx:pt>
          <cx:pt idx="75524">3</cx:pt>
          <cx:pt idx="75525">3</cx:pt>
          <cx:pt idx="75526">3</cx:pt>
          <cx:pt idx="75527">4</cx:pt>
          <cx:pt idx="75528">4</cx:pt>
          <cx:pt idx="75529">2</cx:pt>
          <cx:pt idx="75530">2</cx:pt>
          <cx:pt idx="75531">2</cx:pt>
          <cx:pt idx="75532">5</cx:pt>
          <cx:pt idx="75533">3</cx:pt>
          <cx:pt idx="75534">3</cx:pt>
          <cx:pt idx="75535">2</cx:pt>
          <cx:pt idx="75536">4</cx:pt>
          <cx:pt idx="75537">2</cx:pt>
          <cx:pt idx="75538">3</cx:pt>
          <cx:pt idx="75539">1</cx:pt>
          <cx:pt idx="75540">5</cx:pt>
          <cx:pt idx="75541">4</cx:pt>
          <cx:pt idx="75542">4</cx:pt>
          <cx:pt idx="75543">4</cx:pt>
          <cx:pt idx="75544">4</cx:pt>
          <cx:pt idx="75545">5</cx:pt>
          <cx:pt idx="75546">1</cx:pt>
          <cx:pt idx="75547">2</cx:pt>
          <cx:pt idx="75548">4</cx:pt>
          <cx:pt idx="75549">3</cx:pt>
          <cx:pt idx="75550">1</cx:pt>
          <cx:pt idx="75551">3</cx:pt>
          <cx:pt idx="75552">5</cx:pt>
          <cx:pt idx="75553">2</cx:pt>
          <cx:pt idx="75554">1</cx:pt>
          <cx:pt idx="75555">3</cx:pt>
          <cx:pt idx="75556">1</cx:pt>
          <cx:pt idx="75557">3</cx:pt>
          <cx:pt idx="75558">2</cx:pt>
          <cx:pt idx="75559">2</cx:pt>
          <cx:pt idx="75560">3</cx:pt>
          <cx:pt idx="75561">1</cx:pt>
          <cx:pt idx="75562">2</cx:pt>
          <cx:pt idx="75563">2</cx:pt>
          <cx:pt idx="75564">3</cx:pt>
          <cx:pt idx="75565">3</cx:pt>
          <cx:pt idx="75566">3</cx:pt>
          <cx:pt idx="75567">1</cx:pt>
          <cx:pt idx="75568">3</cx:pt>
          <cx:pt idx="75569">2</cx:pt>
          <cx:pt idx="75570">0</cx:pt>
          <cx:pt idx="75571">3</cx:pt>
          <cx:pt idx="75572">4</cx:pt>
          <cx:pt idx="75573">3</cx:pt>
          <cx:pt idx="75574">3</cx:pt>
          <cx:pt idx="75575">4</cx:pt>
          <cx:pt idx="75576">3</cx:pt>
          <cx:pt idx="75577">3</cx:pt>
          <cx:pt idx="75578">5</cx:pt>
          <cx:pt idx="75579">5</cx:pt>
          <cx:pt idx="75580">3</cx:pt>
          <cx:pt idx="75581">5</cx:pt>
          <cx:pt idx="75582">5</cx:pt>
          <cx:pt idx="75583">4</cx:pt>
          <cx:pt idx="75584">3</cx:pt>
          <cx:pt idx="75585">2</cx:pt>
          <cx:pt idx="75586">5</cx:pt>
          <cx:pt idx="75587">3</cx:pt>
          <cx:pt idx="75588">1</cx:pt>
          <cx:pt idx="75589">3</cx:pt>
          <cx:pt idx="75590">1</cx:pt>
          <cx:pt idx="75591">0</cx:pt>
          <cx:pt idx="75592">2</cx:pt>
          <cx:pt idx="75593">2</cx:pt>
          <cx:pt idx="75594">4</cx:pt>
          <cx:pt idx="75595">1</cx:pt>
          <cx:pt idx="75596">2</cx:pt>
          <cx:pt idx="75597">3</cx:pt>
          <cx:pt idx="75598">3</cx:pt>
          <cx:pt idx="75599">0</cx:pt>
          <cx:pt idx="75600">1</cx:pt>
          <cx:pt idx="75601">5</cx:pt>
          <cx:pt idx="75602">5</cx:pt>
          <cx:pt idx="75603">4</cx:pt>
          <cx:pt idx="75604">4</cx:pt>
          <cx:pt idx="75605">2</cx:pt>
          <cx:pt idx="75606">5</cx:pt>
          <cx:pt idx="75607">3</cx:pt>
          <cx:pt idx="75608">0</cx:pt>
          <cx:pt idx="75609">2</cx:pt>
          <cx:pt idx="75610">1</cx:pt>
          <cx:pt idx="75611">5</cx:pt>
          <cx:pt idx="75612">4</cx:pt>
          <cx:pt idx="75613">1</cx:pt>
          <cx:pt idx="75614">2</cx:pt>
          <cx:pt idx="75615">3</cx:pt>
          <cx:pt idx="75616">1</cx:pt>
          <cx:pt idx="75617">3</cx:pt>
          <cx:pt idx="75618">3</cx:pt>
          <cx:pt idx="75619">2</cx:pt>
          <cx:pt idx="75620">4</cx:pt>
          <cx:pt idx="75621">3</cx:pt>
          <cx:pt idx="75622">5</cx:pt>
          <cx:pt idx="75623">1</cx:pt>
          <cx:pt idx="75624">1</cx:pt>
          <cx:pt idx="75625">4</cx:pt>
          <cx:pt idx="75626">5</cx:pt>
          <cx:pt idx="75627">5</cx:pt>
          <cx:pt idx="75628">3</cx:pt>
          <cx:pt idx="75629">4</cx:pt>
          <cx:pt idx="75630">2</cx:pt>
          <cx:pt idx="75631">4</cx:pt>
          <cx:pt idx="75632">4</cx:pt>
          <cx:pt idx="75633">5</cx:pt>
          <cx:pt idx="75634">0</cx:pt>
          <cx:pt idx="75635">3</cx:pt>
          <cx:pt idx="75636">2</cx:pt>
          <cx:pt idx="75637">3</cx:pt>
          <cx:pt idx="75638">4</cx:pt>
          <cx:pt idx="75639">4</cx:pt>
          <cx:pt idx="75640">2</cx:pt>
          <cx:pt idx="75641">4</cx:pt>
          <cx:pt idx="75642">5</cx:pt>
          <cx:pt idx="75643">4</cx:pt>
          <cx:pt idx="75644">2</cx:pt>
          <cx:pt idx="75645">0</cx:pt>
          <cx:pt idx="75646">3</cx:pt>
          <cx:pt idx="75647">1</cx:pt>
          <cx:pt idx="75648">5</cx:pt>
          <cx:pt idx="75649">2</cx:pt>
          <cx:pt idx="75650">5</cx:pt>
          <cx:pt idx="75651">3</cx:pt>
          <cx:pt idx="75652">3</cx:pt>
          <cx:pt idx="75653">3</cx:pt>
          <cx:pt idx="75654">2</cx:pt>
          <cx:pt idx="75655">4</cx:pt>
          <cx:pt idx="75656">5</cx:pt>
          <cx:pt idx="75657">3</cx:pt>
          <cx:pt idx="75658">5</cx:pt>
          <cx:pt idx="75659">4</cx:pt>
          <cx:pt idx="75660">4</cx:pt>
          <cx:pt idx="75661">2</cx:pt>
          <cx:pt idx="75662">3</cx:pt>
          <cx:pt idx="75663">1</cx:pt>
          <cx:pt idx="75664">4</cx:pt>
          <cx:pt idx="75665">2</cx:pt>
          <cx:pt idx="75666">3</cx:pt>
          <cx:pt idx="75667">2</cx:pt>
          <cx:pt idx="75668">0</cx:pt>
          <cx:pt idx="75669">5</cx:pt>
          <cx:pt idx="75670">2</cx:pt>
          <cx:pt idx="75671">3</cx:pt>
          <cx:pt idx="75672">3</cx:pt>
          <cx:pt idx="75673">4</cx:pt>
          <cx:pt idx="75674">2</cx:pt>
          <cx:pt idx="75675">3</cx:pt>
          <cx:pt idx="75676">4</cx:pt>
          <cx:pt idx="75677">5</cx:pt>
          <cx:pt idx="75678">0</cx:pt>
          <cx:pt idx="75679">1</cx:pt>
          <cx:pt idx="75680">3</cx:pt>
          <cx:pt idx="75681">1</cx:pt>
          <cx:pt idx="75682">5</cx:pt>
          <cx:pt idx="75683">4</cx:pt>
          <cx:pt idx="75684">3</cx:pt>
          <cx:pt idx="75685">2</cx:pt>
          <cx:pt idx="75686">1</cx:pt>
          <cx:pt idx="75687">4</cx:pt>
          <cx:pt idx="75688">4</cx:pt>
          <cx:pt idx="75689">2</cx:pt>
          <cx:pt idx="75690">3</cx:pt>
          <cx:pt idx="75691">2</cx:pt>
          <cx:pt idx="75692">4</cx:pt>
          <cx:pt idx="75693">1</cx:pt>
          <cx:pt idx="75694">4</cx:pt>
          <cx:pt idx="75695">2</cx:pt>
          <cx:pt idx="75696">1</cx:pt>
          <cx:pt idx="75697">1</cx:pt>
          <cx:pt idx="75698">4</cx:pt>
          <cx:pt idx="75699">5</cx:pt>
          <cx:pt idx="75700">2</cx:pt>
          <cx:pt idx="75701">2</cx:pt>
          <cx:pt idx="75702">4</cx:pt>
          <cx:pt idx="75703">3</cx:pt>
          <cx:pt idx="75704">3</cx:pt>
          <cx:pt idx="75705">1</cx:pt>
          <cx:pt idx="75706">4</cx:pt>
          <cx:pt idx="75707">1</cx:pt>
          <cx:pt idx="75708">3</cx:pt>
          <cx:pt idx="75709">3</cx:pt>
          <cx:pt idx="75710">0</cx:pt>
          <cx:pt idx="75711">2</cx:pt>
          <cx:pt idx="75712">4</cx:pt>
          <cx:pt idx="75713">2</cx:pt>
          <cx:pt idx="75714">1</cx:pt>
          <cx:pt idx="75715">4</cx:pt>
          <cx:pt idx="75716">1</cx:pt>
          <cx:pt idx="75717">0</cx:pt>
          <cx:pt idx="75718">3</cx:pt>
          <cx:pt idx="75719">1</cx:pt>
          <cx:pt idx="75720">2</cx:pt>
          <cx:pt idx="75721">4</cx:pt>
          <cx:pt idx="75722">3</cx:pt>
          <cx:pt idx="75723">5</cx:pt>
          <cx:pt idx="75724">0</cx:pt>
          <cx:pt idx="75725">3</cx:pt>
          <cx:pt idx="75726">2</cx:pt>
          <cx:pt idx="75727">2</cx:pt>
          <cx:pt idx="75728">3</cx:pt>
          <cx:pt idx="75729">1</cx:pt>
          <cx:pt idx="75730">2</cx:pt>
          <cx:pt idx="75731">4</cx:pt>
          <cx:pt idx="75732">4</cx:pt>
          <cx:pt idx="75733">3</cx:pt>
          <cx:pt idx="75734">3</cx:pt>
          <cx:pt idx="75735">4</cx:pt>
          <cx:pt idx="75736">5</cx:pt>
          <cx:pt idx="75737">2</cx:pt>
          <cx:pt idx="75738">5</cx:pt>
          <cx:pt idx="75739">3</cx:pt>
          <cx:pt idx="75740">2</cx:pt>
          <cx:pt idx="75741">4</cx:pt>
          <cx:pt idx="75742">4</cx:pt>
          <cx:pt idx="75743">2</cx:pt>
          <cx:pt idx="75744">2</cx:pt>
          <cx:pt idx="75745">1</cx:pt>
          <cx:pt idx="75746">3</cx:pt>
          <cx:pt idx="75747">2</cx:pt>
          <cx:pt idx="75748">1</cx:pt>
          <cx:pt idx="75749">3</cx:pt>
          <cx:pt idx="75750">4</cx:pt>
          <cx:pt idx="75751">3</cx:pt>
          <cx:pt idx="75752">2</cx:pt>
          <cx:pt idx="75753">4</cx:pt>
          <cx:pt idx="75754">3</cx:pt>
          <cx:pt idx="75755">3</cx:pt>
          <cx:pt idx="75756">2</cx:pt>
          <cx:pt idx="75757">3</cx:pt>
          <cx:pt idx="75758">1</cx:pt>
          <cx:pt idx="75759">3</cx:pt>
          <cx:pt idx="75760">1</cx:pt>
          <cx:pt idx="75761">2</cx:pt>
          <cx:pt idx="75762">4</cx:pt>
          <cx:pt idx="75763">2</cx:pt>
          <cx:pt idx="75764">0</cx:pt>
          <cx:pt idx="75765">5</cx:pt>
          <cx:pt idx="75766">1</cx:pt>
          <cx:pt idx="75767">5</cx:pt>
          <cx:pt idx="75768">2</cx:pt>
          <cx:pt idx="75769">4</cx:pt>
          <cx:pt idx="75770">2</cx:pt>
          <cx:pt idx="75771">5</cx:pt>
          <cx:pt idx="75772">0</cx:pt>
          <cx:pt idx="75773">4</cx:pt>
          <cx:pt idx="75774">4</cx:pt>
          <cx:pt idx="75775">4</cx:pt>
          <cx:pt idx="75776">4</cx:pt>
          <cx:pt idx="75777">1</cx:pt>
          <cx:pt idx="75778">2</cx:pt>
          <cx:pt idx="75779">4</cx:pt>
          <cx:pt idx="75780">2</cx:pt>
          <cx:pt idx="75781">4</cx:pt>
          <cx:pt idx="75782">4</cx:pt>
          <cx:pt idx="75783">2</cx:pt>
          <cx:pt idx="75784">4</cx:pt>
          <cx:pt idx="75785">2</cx:pt>
          <cx:pt idx="75786">1</cx:pt>
          <cx:pt idx="75787">3</cx:pt>
          <cx:pt idx="75788">1</cx:pt>
          <cx:pt idx="75789">2</cx:pt>
          <cx:pt idx="75790">4</cx:pt>
          <cx:pt idx="75791">3</cx:pt>
          <cx:pt idx="75792">3</cx:pt>
          <cx:pt idx="75793">1</cx:pt>
          <cx:pt idx="75794">5</cx:pt>
          <cx:pt idx="75795">2</cx:pt>
          <cx:pt idx="75796">4</cx:pt>
          <cx:pt idx="75797">1</cx:pt>
          <cx:pt idx="75798">2</cx:pt>
          <cx:pt idx="75799">1</cx:pt>
          <cx:pt idx="75800">2</cx:pt>
          <cx:pt idx="75801">3</cx:pt>
          <cx:pt idx="75802">3</cx:pt>
          <cx:pt idx="75803">3</cx:pt>
          <cx:pt idx="75804">1</cx:pt>
          <cx:pt idx="75805">4</cx:pt>
          <cx:pt idx="75806">4</cx:pt>
          <cx:pt idx="75807">3</cx:pt>
          <cx:pt idx="75808">4</cx:pt>
          <cx:pt idx="75809">5</cx:pt>
          <cx:pt idx="75810">4</cx:pt>
          <cx:pt idx="75811">4</cx:pt>
          <cx:pt idx="75812">3</cx:pt>
          <cx:pt idx="75813">3</cx:pt>
          <cx:pt idx="75814">4</cx:pt>
          <cx:pt idx="75815">5</cx:pt>
          <cx:pt idx="75816">3</cx:pt>
          <cx:pt idx="75817">3</cx:pt>
          <cx:pt idx="75818">4</cx:pt>
          <cx:pt idx="75819">3</cx:pt>
          <cx:pt idx="75820">5</cx:pt>
          <cx:pt idx="75821">2</cx:pt>
          <cx:pt idx="75822">4</cx:pt>
          <cx:pt idx="75823">2</cx:pt>
          <cx:pt idx="75824">2</cx:pt>
          <cx:pt idx="75825">1</cx:pt>
          <cx:pt idx="75826">3</cx:pt>
          <cx:pt idx="75827">5</cx:pt>
          <cx:pt idx="75828">4</cx:pt>
          <cx:pt idx="75829">2</cx:pt>
          <cx:pt idx="75830">1</cx:pt>
          <cx:pt idx="75831">2</cx:pt>
          <cx:pt idx="75832">2</cx:pt>
          <cx:pt idx="75833">2</cx:pt>
          <cx:pt idx="75834">4</cx:pt>
          <cx:pt idx="75835">2</cx:pt>
          <cx:pt idx="75836">5</cx:pt>
          <cx:pt idx="75837">5</cx:pt>
          <cx:pt idx="75838">1</cx:pt>
          <cx:pt idx="75839">1</cx:pt>
          <cx:pt idx="75840">1</cx:pt>
          <cx:pt idx="75841">2</cx:pt>
          <cx:pt idx="75842">2</cx:pt>
          <cx:pt idx="75843">1</cx:pt>
          <cx:pt idx="75844">2</cx:pt>
          <cx:pt idx="75845">2</cx:pt>
          <cx:pt idx="75846">3</cx:pt>
          <cx:pt idx="75847">0</cx:pt>
          <cx:pt idx="75848">1</cx:pt>
          <cx:pt idx="75849">1</cx:pt>
          <cx:pt idx="75850">4</cx:pt>
          <cx:pt idx="75851">1</cx:pt>
          <cx:pt idx="75852">2</cx:pt>
          <cx:pt idx="75853">2</cx:pt>
          <cx:pt idx="75854">5</cx:pt>
          <cx:pt idx="75855">3</cx:pt>
          <cx:pt idx="75856">4</cx:pt>
          <cx:pt idx="75857">4</cx:pt>
          <cx:pt idx="75858">4</cx:pt>
          <cx:pt idx="75859">2</cx:pt>
          <cx:pt idx="75860">4</cx:pt>
          <cx:pt idx="75861">1</cx:pt>
          <cx:pt idx="75862">0</cx:pt>
          <cx:pt idx="75863">3</cx:pt>
          <cx:pt idx="75864">4</cx:pt>
          <cx:pt idx="75865">3</cx:pt>
          <cx:pt idx="75866">4</cx:pt>
          <cx:pt idx="75867">5</cx:pt>
          <cx:pt idx="75868">4</cx:pt>
          <cx:pt idx="75869">3</cx:pt>
          <cx:pt idx="75870">5</cx:pt>
          <cx:pt idx="75871">2</cx:pt>
          <cx:pt idx="75872">4</cx:pt>
          <cx:pt idx="75873">2</cx:pt>
          <cx:pt idx="75874">4</cx:pt>
          <cx:pt idx="75875">4</cx:pt>
          <cx:pt idx="75876">2</cx:pt>
          <cx:pt idx="75877">3</cx:pt>
          <cx:pt idx="75878">1</cx:pt>
          <cx:pt idx="75879">3</cx:pt>
          <cx:pt idx="75880">3</cx:pt>
          <cx:pt idx="75881">4</cx:pt>
          <cx:pt idx="75882">4</cx:pt>
          <cx:pt idx="75883">3</cx:pt>
          <cx:pt idx="75884">2</cx:pt>
          <cx:pt idx="75885">1</cx:pt>
          <cx:pt idx="75886">5</cx:pt>
          <cx:pt idx="75887">2</cx:pt>
          <cx:pt idx="75888">1</cx:pt>
          <cx:pt idx="75889">5</cx:pt>
          <cx:pt idx="75890">2</cx:pt>
          <cx:pt idx="75891">2</cx:pt>
          <cx:pt idx="75892">2</cx:pt>
          <cx:pt idx="75893">2</cx:pt>
          <cx:pt idx="75894">5</cx:pt>
          <cx:pt idx="75895">1</cx:pt>
          <cx:pt idx="75896">4</cx:pt>
          <cx:pt idx="75897">5</cx:pt>
          <cx:pt idx="75898">2</cx:pt>
          <cx:pt idx="75899">4</cx:pt>
          <cx:pt idx="75900">3</cx:pt>
          <cx:pt idx="75901">2</cx:pt>
          <cx:pt idx="75902">3</cx:pt>
          <cx:pt idx="75903">2</cx:pt>
          <cx:pt idx="75904">3</cx:pt>
          <cx:pt idx="75905">3</cx:pt>
          <cx:pt idx="75906">2</cx:pt>
          <cx:pt idx="75907">3</cx:pt>
          <cx:pt idx="75908">1</cx:pt>
          <cx:pt idx="75909">2</cx:pt>
          <cx:pt idx="75910">3</cx:pt>
          <cx:pt idx="75911">1</cx:pt>
          <cx:pt idx="75912">1</cx:pt>
          <cx:pt idx="75913">3</cx:pt>
          <cx:pt idx="75914">3</cx:pt>
          <cx:pt idx="75915">2</cx:pt>
          <cx:pt idx="75916">2</cx:pt>
          <cx:pt idx="75917">3</cx:pt>
          <cx:pt idx="75918">4</cx:pt>
          <cx:pt idx="75919">2</cx:pt>
          <cx:pt idx="75920">4</cx:pt>
          <cx:pt idx="75921">4</cx:pt>
          <cx:pt idx="75922">2</cx:pt>
          <cx:pt idx="75923">4</cx:pt>
          <cx:pt idx="75924">1</cx:pt>
          <cx:pt idx="75925">1</cx:pt>
          <cx:pt idx="75926">4</cx:pt>
          <cx:pt idx="75927">4</cx:pt>
          <cx:pt idx="75928">5</cx:pt>
          <cx:pt idx="75929">3</cx:pt>
          <cx:pt idx="75930">2</cx:pt>
          <cx:pt idx="75931">2</cx:pt>
          <cx:pt idx="75932">3</cx:pt>
          <cx:pt idx="75933">2</cx:pt>
          <cx:pt idx="75934">5</cx:pt>
          <cx:pt idx="75935">0</cx:pt>
          <cx:pt idx="75936">4</cx:pt>
          <cx:pt idx="75937">1</cx:pt>
          <cx:pt idx="75938">0</cx:pt>
          <cx:pt idx="75939">5</cx:pt>
          <cx:pt idx="75940">2</cx:pt>
          <cx:pt idx="75941">5</cx:pt>
          <cx:pt idx="75942">3</cx:pt>
          <cx:pt idx="75943">1</cx:pt>
          <cx:pt idx="75944">3</cx:pt>
          <cx:pt idx="75945">4</cx:pt>
          <cx:pt idx="75946">5</cx:pt>
          <cx:pt idx="75947">3</cx:pt>
          <cx:pt idx="75948">1</cx:pt>
          <cx:pt idx="75949">2</cx:pt>
          <cx:pt idx="75950">3</cx:pt>
          <cx:pt idx="75951">1</cx:pt>
          <cx:pt idx="75952">2</cx:pt>
          <cx:pt idx="75953">2</cx:pt>
          <cx:pt idx="75954">3</cx:pt>
          <cx:pt idx="75955">3</cx:pt>
          <cx:pt idx="75956">1</cx:pt>
          <cx:pt idx="75957">3</cx:pt>
          <cx:pt idx="75958">3</cx:pt>
          <cx:pt idx="75959">3</cx:pt>
          <cx:pt idx="75960">4</cx:pt>
          <cx:pt idx="75961">3</cx:pt>
          <cx:pt idx="75962">2</cx:pt>
          <cx:pt idx="75963">5</cx:pt>
          <cx:pt idx="75964">3</cx:pt>
          <cx:pt idx="75965">0</cx:pt>
          <cx:pt idx="75966">1</cx:pt>
          <cx:pt idx="75967">2</cx:pt>
          <cx:pt idx="75968">3</cx:pt>
          <cx:pt idx="75969">3</cx:pt>
          <cx:pt idx="75970">2</cx:pt>
          <cx:pt idx="75971">4</cx:pt>
          <cx:pt idx="75972">5</cx:pt>
          <cx:pt idx="75973">4</cx:pt>
          <cx:pt idx="75974">2</cx:pt>
          <cx:pt idx="75975">3</cx:pt>
          <cx:pt idx="75976">3</cx:pt>
          <cx:pt idx="75977">2</cx:pt>
          <cx:pt idx="75978">3</cx:pt>
          <cx:pt idx="75979">5</cx:pt>
          <cx:pt idx="75980">0</cx:pt>
          <cx:pt idx="75981">1</cx:pt>
          <cx:pt idx="75982">3</cx:pt>
          <cx:pt idx="75983">1</cx:pt>
          <cx:pt idx="75984">1</cx:pt>
          <cx:pt idx="75985">1</cx:pt>
          <cx:pt idx="75986">1</cx:pt>
          <cx:pt idx="75987">0</cx:pt>
          <cx:pt idx="75988">3</cx:pt>
          <cx:pt idx="75989">3</cx:pt>
          <cx:pt idx="75990">1</cx:pt>
          <cx:pt idx="75991">2</cx:pt>
          <cx:pt idx="75992">2</cx:pt>
          <cx:pt idx="75993">2</cx:pt>
          <cx:pt idx="75994">2</cx:pt>
          <cx:pt idx="75995">5</cx:pt>
          <cx:pt idx="75996">2</cx:pt>
          <cx:pt idx="75997">4</cx:pt>
          <cx:pt idx="75998">3</cx:pt>
          <cx:pt idx="75999">4</cx:pt>
          <cx:pt idx="76000">5</cx:pt>
          <cx:pt idx="76001">1</cx:pt>
          <cx:pt idx="76002">1</cx:pt>
          <cx:pt idx="76003">5</cx:pt>
          <cx:pt idx="76004">4</cx:pt>
          <cx:pt idx="76005">3</cx:pt>
          <cx:pt idx="76006">4</cx:pt>
          <cx:pt idx="76007">5</cx:pt>
          <cx:pt idx="76008">5</cx:pt>
          <cx:pt idx="76009">2</cx:pt>
          <cx:pt idx="76010">3</cx:pt>
          <cx:pt idx="76011">2</cx:pt>
          <cx:pt idx="76012">2</cx:pt>
          <cx:pt idx="76013">2</cx:pt>
          <cx:pt idx="76014">3</cx:pt>
          <cx:pt idx="76015">4</cx:pt>
          <cx:pt idx="76016">3</cx:pt>
          <cx:pt idx="76017">2</cx:pt>
          <cx:pt idx="76018">1</cx:pt>
          <cx:pt idx="76019">2</cx:pt>
          <cx:pt idx="76020">5</cx:pt>
          <cx:pt idx="76021">5</cx:pt>
          <cx:pt idx="76022">3</cx:pt>
          <cx:pt idx="76023">3</cx:pt>
          <cx:pt idx="76024">0</cx:pt>
          <cx:pt idx="76025">2</cx:pt>
          <cx:pt idx="76026">4</cx:pt>
          <cx:pt idx="76027">3</cx:pt>
          <cx:pt idx="76028">3</cx:pt>
          <cx:pt idx="76029">5</cx:pt>
          <cx:pt idx="76030">2</cx:pt>
          <cx:pt idx="76031">0</cx:pt>
          <cx:pt idx="76032">3</cx:pt>
          <cx:pt idx="76033">0</cx:pt>
          <cx:pt idx="76034">1</cx:pt>
          <cx:pt idx="76035">1</cx:pt>
          <cx:pt idx="76036">1</cx:pt>
          <cx:pt idx="76037">3</cx:pt>
          <cx:pt idx="76038">3</cx:pt>
          <cx:pt idx="76039">2</cx:pt>
          <cx:pt idx="76040">3</cx:pt>
          <cx:pt idx="76041">1</cx:pt>
          <cx:pt idx="76042">0</cx:pt>
          <cx:pt idx="76043">4</cx:pt>
          <cx:pt idx="76044">3</cx:pt>
          <cx:pt idx="76045">4</cx:pt>
          <cx:pt idx="76046">0</cx:pt>
          <cx:pt idx="76047">2</cx:pt>
          <cx:pt idx="76048">1</cx:pt>
          <cx:pt idx="76049">0</cx:pt>
          <cx:pt idx="76050">2</cx:pt>
          <cx:pt idx="76051">2</cx:pt>
          <cx:pt idx="76052">3</cx:pt>
          <cx:pt idx="76053">4</cx:pt>
          <cx:pt idx="76054">1</cx:pt>
          <cx:pt idx="76055">3</cx:pt>
          <cx:pt idx="76056">4</cx:pt>
          <cx:pt idx="76057">3</cx:pt>
          <cx:pt idx="76058">3</cx:pt>
          <cx:pt idx="76059">3</cx:pt>
          <cx:pt idx="76060">3</cx:pt>
          <cx:pt idx="76061">4</cx:pt>
          <cx:pt idx="76062">3</cx:pt>
          <cx:pt idx="76063">5</cx:pt>
          <cx:pt idx="76064">4</cx:pt>
          <cx:pt idx="76065">3</cx:pt>
          <cx:pt idx="76066">3</cx:pt>
          <cx:pt idx="76067">0</cx:pt>
          <cx:pt idx="76068">3</cx:pt>
          <cx:pt idx="76069">3</cx:pt>
          <cx:pt idx="76070">3</cx:pt>
          <cx:pt idx="76071">4</cx:pt>
          <cx:pt idx="76072">1</cx:pt>
          <cx:pt idx="76073">1</cx:pt>
          <cx:pt idx="76074">3</cx:pt>
          <cx:pt idx="76075">5</cx:pt>
          <cx:pt idx="76076">3</cx:pt>
          <cx:pt idx="76077">3</cx:pt>
          <cx:pt idx="76078">3</cx:pt>
          <cx:pt idx="76079">4</cx:pt>
          <cx:pt idx="76080">4</cx:pt>
          <cx:pt idx="76081">2</cx:pt>
          <cx:pt idx="76082">1</cx:pt>
          <cx:pt idx="76083">2</cx:pt>
          <cx:pt idx="76084">2</cx:pt>
          <cx:pt idx="76085">0</cx:pt>
          <cx:pt idx="76086">2</cx:pt>
          <cx:pt idx="76087">3</cx:pt>
          <cx:pt idx="76088">0</cx:pt>
          <cx:pt idx="76089">0</cx:pt>
          <cx:pt idx="76090">1</cx:pt>
          <cx:pt idx="76091">3</cx:pt>
          <cx:pt idx="76092">2</cx:pt>
          <cx:pt idx="76093">1</cx:pt>
          <cx:pt idx="76094">0</cx:pt>
          <cx:pt idx="76095">0</cx:pt>
          <cx:pt idx="76096">0</cx:pt>
          <cx:pt idx="76097">5</cx:pt>
          <cx:pt idx="76098">5</cx:pt>
          <cx:pt idx="76099">3</cx:pt>
          <cx:pt idx="76100">3</cx:pt>
          <cx:pt idx="76101">4</cx:pt>
          <cx:pt idx="76102">4</cx:pt>
          <cx:pt idx="76103">3</cx:pt>
          <cx:pt idx="76104">2</cx:pt>
          <cx:pt idx="76105">3</cx:pt>
          <cx:pt idx="76106">3</cx:pt>
          <cx:pt idx="76107">4</cx:pt>
          <cx:pt idx="76108">3</cx:pt>
          <cx:pt idx="76109">2</cx:pt>
          <cx:pt idx="76110">5</cx:pt>
          <cx:pt idx="76111">1</cx:pt>
          <cx:pt idx="76112">3</cx:pt>
          <cx:pt idx="76113">3</cx:pt>
          <cx:pt idx="76114">3</cx:pt>
          <cx:pt idx="76115">1</cx:pt>
          <cx:pt idx="76116">2</cx:pt>
          <cx:pt idx="76117">4</cx:pt>
          <cx:pt idx="76118">4</cx:pt>
          <cx:pt idx="76119">2</cx:pt>
          <cx:pt idx="76120">5</cx:pt>
          <cx:pt idx="76121">1</cx:pt>
          <cx:pt idx="76122">5</cx:pt>
          <cx:pt idx="76123">3</cx:pt>
          <cx:pt idx="76124">5</cx:pt>
          <cx:pt idx="76125">2</cx:pt>
          <cx:pt idx="76126">3</cx:pt>
          <cx:pt idx="76127">3</cx:pt>
          <cx:pt idx="76128">2</cx:pt>
          <cx:pt idx="76129">1</cx:pt>
          <cx:pt idx="76130">3</cx:pt>
          <cx:pt idx="76131">1</cx:pt>
          <cx:pt idx="76132">5</cx:pt>
          <cx:pt idx="76133">3</cx:pt>
          <cx:pt idx="76134">3</cx:pt>
          <cx:pt idx="76135">4</cx:pt>
          <cx:pt idx="76136">1</cx:pt>
          <cx:pt idx="76137">5</cx:pt>
          <cx:pt idx="76138">2</cx:pt>
          <cx:pt idx="76139">4</cx:pt>
          <cx:pt idx="76140">4</cx:pt>
          <cx:pt idx="76141">2</cx:pt>
          <cx:pt idx="76142">1</cx:pt>
          <cx:pt idx="76143">3</cx:pt>
          <cx:pt idx="76144">4</cx:pt>
          <cx:pt idx="76145">2</cx:pt>
          <cx:pt idx="76146">4</cx:pt>
          <cx:pt idx="76147">1</cx:pt>
          <cx:pt idx="76148">3</cx:pt>
          <cx:pt idx="76149">5</cx:pt>
          <cx:pt idx="76150">5</cx:pt>
          <cx:pt idx="76151">3</cx:pt>
          <cx:pt idx="76152">3</cx:pt>
          <cx:pt idx="76153">2</cx:pt>
          <cx:pt idx="76154">4</cx:pt>
          <cx:pt idx="76155">1</cx:pt>
          <cx:pt idx="76156">1</cx:pt>
          <cx:pt idx="76157">1</cx:pt>
          <cx:pt idx="76158">1</cx:pt>
          <cx:pt idx="76159">2</cx:pt>
          <cx:pt idx="76160">3</cx:pt>
          <cx:pt idx="76161">3</cx:pt>
          <cx:pt idx="76162">5</cx:pt>
          <cx:pt idx="76163">5</cx:pt>
          <cx:pt idx="76164">3</cx:pt>
          <cx:pt idx="76165">4</cx:pt>
          <cx:pt idx="76166">1</cx:pt>
          <cx:pt idx="76167">2</cx:pt>
          <cx:pt idx="76168">2</cx:pt>
          <cx:pt idx="76169">1</cx:pt>
          <cx:pt idx="76170">2</cx:pt>
          <cx:pt idx="76171">2</cx:pt>
          <cx:pt idx="76172">5</cx:pt>
          <cx:pt idx="76173">1</cx:pt>
          <cx:pt idx="76174">5</cx:pt>
          <cx:pt idx="76175">5</cx:pt>
          <cx:pt idx="76176">4</cx:pt>
          <cx:pt idx="76177">2</cx:pt>
          <cx:pt idx="76178">0</cx:pt>
          <cx:pt idx="76179">1</cx:pt>
          <cx:pt idx="76180">3</cx:pt>
          <cx:pt idx="76181">1</cx:pt>
          <cx:pt idx="76182">0</cx:pt>
          <cx:pt idx="76183">3</cx:pt>
          <cx:pt idx="76184">3</cx:pt>
          <cx:pt idx="76185">3</cx:pt>
          <cx:pt idx="76186">5</cx:pt>
          <cx:pt idx="76187">1</cx:pt>
          <cx:pt idx="76188">5</cx:pt>
          <cx:pt idx="76189">1</cx:pt>
          <cx:pt idx="76190">3</cx:pt>
          <cx:pt idx="76191">3</cx:pt>
          <cx:pt idx="76192">2</cx:pt>
          <cx:pt idx="76193">5</cx:pt>
          <cx:pt idx="76194">5</cx:pt>
          <cx:pt idx="76195">4</cx:pt>
          <cx:pt idx="76196">4</cx:pt>
          <cx:pt idx="76197">2</cx:pt>
          <cx:pt idx="76198">2</cx:pt>
          <cx:pt idx="76199">2</cx:pt>
          <cx:pt idx="76200">1</cx:pt>
          <cx:pt idx="76201">2</cx:pt>
          <cx:pt idx="76202">3</cx:pt>
          <cx:pt idx="76203">0</cx:pt>
          <cx:pt idx="76204">1</cx:pt>
          <cx:pt idx="76205">4</cx:pt>
          <cx:pt idx="76206">2</cx:pt>
          <cx:pt idx="76207">3</cx:pt>
          <cx:pt idx="76208">2</cx:pt>
          <cx:pt idx="76209">4</cx:pt>
          <cx:pt idx="76210">4</cx:pt>
          <cx:pt idx="76211">3</cx:pt>
          <cx:pt idx="76212">4</cx:pt>
          <cx:pt idx="76213">3</cx:pt>
          <cx:pt idx="76214">5</cx:pt>
          <cx:pt idx="76215">3</cx:pt>
          <cx:pt idx="76216">4</cx:pt>
          <cx:pt idx="76217">1</cx:pt>
          <cx:pt idx="76218">2</cx:pt>
          <cx:pt idx="76219">4</cx:pt>
          <cx:pt idx="76220">2</cx:pt>
          <cx:pt idx="76221">2</cx:pt>
          <cx:pt idx="76222">3</cx:pt>
          <cx:pt idx="76223">2</cx:pt>
          <cx:pt idx="76224">3</cx:pt>
          <cx:pt idx="76225">4</cx:pt>
          <cx:pt idx="76226">4</cx:pt>
          <cx:pt idx="76227">3</cx:pt>
          <cx:pt idx="76228">4</cx:pt>
          <cx:pt idx="76229">1</cx:pt>
          <cx:pt idx="76230">2</cx:pt>
          <cx:pt idx="76231">3</cx:pt>
          <cx:pt idx="76232">2</cx:pt>
          <cx:pt idx="76233">3</cx:pt>
          <cx:pt idx="76234">3</cx:pt>
          <cx:pt idx="76235">1</cx:pt>
          <cx:pt idx="76236">3</cx:pt>
          <cx:pt idx="76237">4</cx:pt>
          <cx:pt idx="76238">3</cx:pt>
          <cx:pt idx="76239">3</cx:pt>
          <cx:pt idx="76240">3</cx:pt>
          <cx:pt idx="76241">5</cx:pt>
          <cx:pt idx="76242">4</cx:pt>
          <cx:pt idx="76243">5</cx:pt>
          <cx:pt idx="76244">5</cx:pt>
          <cx:pt idx="76245">1</cx:pt>
          <cx:pt idx="76246">5</cx:pt>
          <cx:pt idx="76247">3</cx:pt>
          <cx:pt idx="76248">2</cx:pt>
          <cx:pt idx="76249">2</cx:pt>
          <cx:pt idx="76250">3</cx:pt>
          <cx:pt idx="76251">5</cx:pt>
          <cx:pt idx="76252">1</cx:pt>
          <cx:pt idx="76253">2</cx:pt>
          <cx:pt idx="76254">2</cx:pt>
          <cx:pt idx="76255">1</cx:pt>
          <cx:pt idx="76256">2</cx:pt>
          <cx:pt idx="76257">1</cx:pt>
          <cx:pt idx="76258">5</cx:pt>
          <cx:pt idx="76259">2</cx:pt>
          <cx:pt idx="76260">0</cx:pt>
          <cx:pt idx="76261">3</cx:pt>
          <cx:pt idx="76262">2</cx:pt>
          <cx:pt idx="76263">3</cx:pt>
          <cx:pt idx="76264">5</cx:pt>
          <cx:pt idx="76265">3</cx:pt>
          <cx:pt idx="76266">0</cx:pt>
          <cx:pt idx="76267">4</cx:pt>
          <cx:pt idx="76268">3</cx:pt>
          <cx:pt idx="76269">3</cx:pt>
          <cx:pt idx="76270">2</cx:pt>
          <cx:pt idx="76271">1</cx:pt>
          <cx:pt idx="76272">3</cx:pt>
          <cx:pt idx="76273">2</cx:pt>
          <cx:pt idx="76274">0</cx:pt>
          <cx:pt idx="76275">2</cx:pt>
          <cx:pt idx="76276">2</cx:pt>
          <cx:pt idx="76277">3</cx:pt>
          <cx:pt idx="76278">3</cx:pt>
          <cx:pt idx="76279">4</cx:pt>
          <cx:pt idx="76280">4</cx:pt>
          <cx:pt idx="76281">3</cx:pt>
          <cx:pt idx="76282">1</cx:pt>
          <cx:pt idx="76283">3</cx:pt>
          <cx:pt idx="76284">3</cx:pt>
          <cx:pt idx="76285">3</cx:pt>
          <cx:pt idx="76286">4</cx:pt>
          <cx:pt idx="76287">5</cx:pt>
          <cx:pt idx="76288">0</cx:pt>
          <cx:pt idx="76289">3</cx:pt>
          <cx:pt idx="76290">5</cx:pt>
          <cx:pt idx="76291">2</cx:pt>
          <cx:pt idx="76292">4</cx:pt>
          <cx:pt idx="76293">2</cx:pt>
          <cx:pt idx="76294">1</cx:pt>
          <cx:pt idx="76295">5</cx:pt>
          <cx:pt idx="76296">5</cx:pt>
          <cx:pt idx="76297">1</cx:pt>
          <cx:pt idx="76298">3</cx:pt>
          <cx:pt idx="76299">4</cx:pt>
          <cx:pt idx="76300">2</cx:pt>
          <cx:pt idx="76301">1</cx:pt>
          <cx:pt idx="76302">2</cx:pt>
          <cx:pt idx="76303">4</cx:pt>
          <cx:pt idx="76304">1</cx:pt>
          <cx:pt idx="76305">3</cx:pt>
          <cx:pt idx="76306">1</cx:pt>
          <cx:pt idx="76307">3</cx:pt>
          <cx:pt idx="76308">2</cx:pt>
          <cx:pt idx="76309">2</cx:pt>
          <cx:pt idx="76310">3</cx:pt>
          <cx:pt idx="76311">3</cx:pt>
          <cx:pt idx="76312">1</cx:pt>
          <cx:pt idx="76313">3</cx:pt>
          <cx:pt idx="76314">2</cx:pt>
          <cx:pt idx="76315">0</cx:pt>
          <cx:pt idx="76316">3</cx:pt>
          <cx:pt idx="76317">3</cx:pt>
          <cx:pt idx="76318">3</cx:pt>
          <cx:pt idx="76319">3</cx:pt>
          <cx:pt idx="76320">3</cx:pt>
          <cx:pt idx="76321">4</cx:pt>
          <cx:pt idx="76322">3</cx:pt>
          <cx:pt idx="76323">2</cx:pt>
          <cx:pt idx="76324">4</cx:pt>
          <cx:pt idx="76325">2</cx:pt>
          <cx:pt idx="76326">3</cx:pt>
          <cx:pt idx="76327">3</cx:pt>
          <cx:pt idx="76328">3</cx:pt>
          <cx:pt idx="76329">2</cx:pt>
          <cx:pt idx="76330">2</cx:pt>
          <cx:pt idx="76331">4</cx:pt>
          <cx:pt idx="76332">3</cx:pt>
          <cx:pt idx="76333">2</cx:pt>
          <cx:pt idx="76334">3</cx:pt>
          <cx:pt idx="76335">5</cx:pt>
          <cx:pt idx="76336">2</cx:pt>
          <cx:pt idx="76337">4</cx:pt>
          <cx:pt idx="76338">2</cx:pt>
          <cx:pt idx="76339">4</cx:pt>
          <cx:pt idx="76340">4</cx:pt>
          <cx:pt idx="76341">1</cx:pt>
          <cx:pt idx="76342">3</cx:pt>
          <cx:pt idx="76343">3</cx:pt>
          <cx:pt idx="76344">5</cx:pt>
          <cx:pt idx="76345">5</cx:pt>
          <cx:pt idx="76346">1</cx:pt>
          <cx:pt idx="76347">4</cx:pt>
          <cx:pt idx="76348">1</cx:pt>
          <cx:pt idx="76349">3</cx:pt>
          <cx:pt idx="76350">3</cx:pt>
          <cx:pt idx="76351">3</cx:pt>
          <cx:pt idx="76352">2</cx:pt>
          <cx:pt idx="76353">3</cx:pt>
          <cx:pt idx="76354">4</cx:pt>
          <cx:pt idx="76355">4</cx:pt>
          <cx:pt idx="76356">0</cx:pt>
          <cx:pt idx="76357">1</cx:pt>
          <cx:pt idx="76358">2</cx:pt>
          <cx:pt idx="76359">1</cx:pt>
          <cx:pt idx="76360">2</cx:pt>
          <cx:pt idx="76361">2</cx:pt>
          <cx:pt idx="76362">4</cx:pt>
          <cx:pt idx="76363">5</cx:pt>
          <cx:pt idx="76364">1</cx:pt>
          <cx:pt idx="76365">4</cx:pt>
          <cx:pt idx="76366">1</cx:pt>
          <cx:pt idx="76367">4</cx:pt>
          <cx:pt idx="76368">0</cx:pt>
          <cx:pt idx="76369">3</cx:pt>
          <cx:pt idx="76370">5</cx:pt>
          <cx:pt idx="76371">0</cx:pt>
          <cx:pt idx="76372">3</cx:pt>
          <cx:pt idx="76373">5</cx:pt>
          <cx:pt idx="76374">1</cx:pt>
          <cx:pt idx="76375">4</cx:pt>
          <cx:pt idx="76376">4</cx:pt>
          <cx:pt idx="76377">3</cx:pt>
          <cx:pt idx="76378">4</cx:pt>
          <cx:pt idx="76379">2</cx:pt>
          <cx:pt idx="76380">3</cx:pt>
          <cx:pt idx="76381">1</cx:pt>
          <cx:pt idx="76382">2</cx:pt>
          <cx:pt idx="76383">5</cx:pt>
          <cx:pt idx="76384">4</cx:pt>
          <cx:pt idx="76385">3</cx:pt>
          <cx:pt idx="76386">3</cx:pt>
          <cx:pt idx="76387">4</cx:pt>
          <cx:pt idx="76388">4</cx:pt>
          <cx:pt idx="76389">3</cx:pt>
          <cx:pt idx="76390">5</cx:pt>
          <cx:pt idx="76391">0</cx:pt>
          <cx:pt idx="76392">3</cx:pt>
          <cx:pt idx="76393">0</cx:pt>
          <cx:pt idx="76394">2</cx:pt>
          <cx:pt idx="76395">3</cx:pt>
          <cx:pt idx="76396">2</cx:pt>
          <cx:pt idx="76397">2</cx:pt>
          <cx:pt idx="76398">4</cx:pt>
          <cx:pt idx="76399">2</cx:pt>
          <cx:pt idx="76400">5</cx:pt>
          <cx:pt idx="76401">2</cx:pt>
          <cx:pt idx="76402">0</cx:pt>
          <cx:pt idx="76403">1</cx:pt>
          <cx:pt idx="76404">4</cx:pt>
          <cx:pt idx="76405">5</cx:pt>
          <cx:pt idx="76406">4</cx:pt>
          <cx:pt idx="76407">4</cx:pt>
          <cx:pt idx="76408">2</cx:pt>
          <cx:pt idx="76409">2</cx:pt>
          <cx:pt idx="76410">3</cx:pt>
          <cx:pt idx="76411">1</cx:pt>
          <cx:pt idx="76412">3</cx:pt>
          <cx:pt idx="76413">3</cx:pt>
          <cx:pt idx="76414">3</cx:pt>
          <cx:pt idx="76415">4</cx:pt>
          <cx:pt idx="76416">1</cx:pt>
          <cx:pt idx="76417">1</cx:pt>
          <cx:pt idx="76418">2</cx:pt>
          <cx:pt idx="76419">0</cx:pt>
          <cx:pt idx="76420">3</cx:pt>
          <cx:pt idx="76421">1</cx:pt>
          <cx:pt idx="76422">5</cx:pt>
          <cx:pt idx="76423">1</cx:pt>
          <cx:pt idx="76424">3</cx:pt>
          <cx:pt idx="76425">2</cx:pt>
          <cx:pt idx="76426">1</cx:pt>
          <cx:pt idx="76427">2</cx:pt>
          <cx:pt idx="76428">3</cx:pt>
          <cx:pt idx="76429">4</cx:pt>
          <cx:pt idx="76430">3</cx:pt>
          <cx:pt idx="76431">0</cx:pt>
          <cx:pt idx="76432">5</cx:pt>
          <cx:pt idx="76433">4</cx:pt>
          <cx:pt idx="76434">4</cx:pt>
          <cx:pt idx="76435">3</cx:pt>
          <cx:pt idx="76436">3</cx:pt>
          <cx:pt idx="76437">3</cx:pt>
          <cx:pt idx="76438">5</cx:pt>
          <cx:pt idx="76439">1</cx:pt>
          <cx:pt idx="76440">3</cx:pt>
          <cx:pt idx="76441">4</cx:pt>
          <cx:pt idx="76442">1</cx:pt>
          <cx:pt idx="76443">0</cx:pt>
          <cx:pt idx="76444">1</cx:pt>
          <cx:pt idx="76445">5</cx:pt>
          <cx:pt idx="76446">1</cx:pt>
          <cx:pt idx="76447">2</cx:pt>
          <cx:pt idx="76448">2</cx:pt>
          <cx:pt idx="76449">5</cx:pt>
          <cx:pt idx="76450">2</cx:pt>
          <cx:pt idx="76451">2</cx:pt>
          <cx:pt idx="76452">4</cx:pt>
          <cx:pt idx="76453">2</cx:pt>
          <cx:pt idx="76454">0</cx:pt>
          <cx:pt idx="76455">5</cx:pt>
          <cx:pt idx="76456">4</cx:pt>
          <cx:pt idx="76457">3</cx:pt>
          <cx:pt idx="76458">3</cx:pt>
          <cx:pt idx="76459">2</cx:pt>
          <cx:pt idx="76460">1</cx:pt>
          <cx:pt idx="76461">5</cx:pt>
          <cx:pt idx="76462">3</cx:pt>
          <cx:pt idx="76463">2</cx:pt>
          <cx:pt idx="76464">2</cx:pt>
          <cx:pt idx="76465">2</cx:pt>
          <cx:pt idx="76466">0</cx:pt>
          <cx:pt idx="76467">4</cx:pt>
          <cx:pt idx="76468">3</cx:pt>
          <cx:pt idx="76469">0</cx:pt>
          <cx:pt idx="76470">2</cx:pt>
          <cx:pt idx="76471">1</cx:pt>
          <cx:pt idx="76472">4</cx:pt>
          <cx:pt idx="76473">3</cx:pt>
          <cx:pt idx="76474">3</cx:pt>
          <cx:pt idx="76475">3</cx:pt>
          <cx:pt idx="76476">3</cx:pt>
          <cx:pt idx="76477">0</cx:pt>
          <cx:pt idx="76478">5</cx:pt>
          <cx:pt idx="76479">1</cx:pt>
          <cx:pt idx="76480">4</cx:pt>
          <cx:pt idx="76481">5</cx:pt>
          <cx:pt idx="76482">4</cx:pt>
          <cx:pt idx="76483">3</cx:pt>
          <cx:pt idx="76484">1</cx:pt>
          <cx:pt idx="76485">0</cx:pt>
          <cx:pt idx="76486">3</cx:pt>
          <cx:pt idx="76487">3</cx:pt>
          <cx:pt idx="76488">1</cx:pt>
          <cx:pt idx="76489">3</cx:pt>
          <cx:pt idx="76490">1</cx:pt>
          <cx:pt idx="76491">0</cx:pt>
          <cx:pt idx="76492">1</cx:pt>
          <cx:pt idx="76493">3</cx:pt>
          <cx:pt idx="76494">3</cx:pt>
          <cx:pt idx="76495">4</cx:pt>
          <cx:pt idx="76496">5</cx:pt>
          <cx:pt idx="76497">3</cx:pt>
          <cx:pt idx="76498">4</cx:pt>
          <cx:pt idx="76499">5</cx:pt>
          <cx:pt idx="76500">2</cx:pt>
          <cx:pt idx="76501">2</cx:pt>
          <cx:pt idx="76502">5</cx:pt>
          <cx:pt idx="76503">3</cx:pt>
          <cx:pt idx="76504">5</cx:pt>
          <cx:pt idx="76505">2</cx:pt>
          <cx:pt idx="76506">1</cx:pt>
          <cx:pt idx="76507">2</cx:pt>
          <cx:pt idx="76508">1</cx:pt>
          <cx:pt idx="76509">2</cx:pt>
          <cx:pt idx="76510">0</cx:pt>
          <cx:pt idx="76511">3</cx:pt>
          <cx:pt idx="76512">2</cx:pt>
          <cx:pt idx="76513">3</cx:pt>
          <cx:pt idx="76514">2</cx:pt>
          <cx:pt idx="76515">3</cx:pt>
          <cx:pt idx="76516">3</cx:pt>
          <cx:pt idx="76517">2</cx:pt>
          <cx:pt idx="76518">2</cx:pt>
          <cx:pt idx="76519">2</cx:pt>
          <cx:pt idx="76520">4</cx:pt>
          <cx:pt idx="76521">3</cx:pt>
          <cx:pt idx="76522">3</cx:pt>
          <cx:pt idx="76523">4</cx:pt>
          <cx:pt idx="76524">1</cx:pt>
          <cx:pt idx="76525">2</cx:pt>
          <cx:pt idx="76526">2</cx:pt>
          <cx:pt idx="76527">5</cx:pt>
          <cx:pt idx="76528">1</cx:pt>
          <cx:pt idx="76529">1</cx:pt>
          <cx:pt idx="76530">5</cx:pt>
          <cx:pt idx="76531">2</cx:pt>
          <cx:pt idx="76532">5</cx:pt>
          <cx:pt idx="76533">2</cx:pt>
          <cx:pt idx="76534">2</cx:pt>
          <cx:pt idx="76535">2</cx:pt>
          <cx:pt idx="76536">3</cx:pt>
          <cx:pt idx="76537">2</cx:pt>
          <cx:pt idx="76538">4</cx:pt>
          <cx:pt idx="76539">2</cx:pt>
          <cx:pt idx="76540">1</cx:pt>
          <cx:pt idx="76541">5</cx:pt>
          <cx:pt idx="76542">2</cx:pt>
          <cx:pt idx="76543">2</cx:pt>
          <cx:pt idx="76544">2</cx:pt>
          <cx:pt idx="76545">3</cx:pt>
          <cx:pt idx="76546">1</cx:pt>
          <cx:pt idx="76547">3</cx:pt>
          <cx:pt idx="76548">2</cx:pt>
          <cx:pt idx="76549">1</cx:pt>
          <cx:pt idx="76550">3</cx:pt>
          <cx:pt idx="76551">5</cx:pt>
          <cx:pt idx="76552">3</cx:pt>
          <cx:pt idx="76553">0</cx:pt>
          <cx:pt idx="76554">1</cx:pt>
          <cx:pt idx="76555">4</cx:pt>
          <cx:pt idx="76556">2</cx:pt>
          <cx:pt idx="76557">2</cx:pt>
          <cx:pt idx="76558">4</cx:pt>
          <cx:pt idx="76559">2</cx:pt>
          <cx:pt idx="76560">4</cx:pt>
          <cx:pt idx="76561">3</cx:pt>
          <cx:pt idx="76562">3</cx:pt>
          <cx:pt idx="76563">3</cx:pt>
          <cx:pt idx="76564">2</cx:pt>
          <cx:pt idx="76565">4</cx:pt>
          <cx:pt idx="76566">1</cx:pt>
          <cx:pt idx="76567">3</cx:pt>
          <cx:pt idx="76568">4</cx:pt>
          <cx:pt idx="76569">3</cx:pt>
          <cx:pt idx="76570">0</cx:pt>
          <cx:pt idx="76571">1</cx:pt>
          <cx:pt idx="76572">5</cx:pt>
          <cx:pt idx="76573">3</cx:pt>
          <cx:pt idx="76574">1</cx:pt>
          <cx:pt idx="76575">3</cx:pt>
          <cx:pt idx="76576">5</cx:pt>
          <cx:pt idx="76577">4</cx:pt>
          <cx:pt idx="76578">2</cx:pt>
          <cx:pt idx="76579">2</cx:pt>
          <cx:pt idx="76580">2</cx:pt>
          <cx:pt idx="76581">0</cx:pt>
          <cx:pt idx="76582">2</cx:pt>
          <cx:pt idx="76583">0</cx:pt>
          <cx:pt idx="76584">1</cx:pt>
          <cx:pt idx="76585">4</cx:pt>
          <cx:pt idx="76586">3</cx:pt>
          <cx:pt idx="76587">3</cx:pt>
          <cx:pt idx="76588">5</cx:pt>
          <cx:pt idx="76589">3</cx:pt>
          <cx:pt idx="76590">0</cx:pt>
          <cx:pt idx="76591">5</cx:pt>
          <cx:pt idx="76592">2</cx:pt>
          <cx:pt idx="76593">1</cx:pt>
          <cx:pt idx="76594">2</cx:pt>
          <cx:pt idx="76595">2</cx:pt>
          <cx:pt idx="76596">4</cx:pt>
          <cx:pt idx="76597">2</cx:pt>
          <cx:pt idx="76598">1</cx:pt>
          <cx:pt idx="76599">5</cx:pt>
          <cx:pt idx="76600">2</cx:pt>
          <cx:pt idx="76601">2</cx:pt>
          <cx:pt idx="76602">4</cx:pt>
          <cx:pt idx="76603">1</cx:pt>
          <cx:pt idx="76604">2</cx:pt>
          <cx:pt idx="76605">4</cx:pt>
          <cx:pt idx="76606">3</cx:pt>
          <cx:pt idx="76607">1</cx:pt>
          <cx:pt idx="76608">2</cx:pt>
          <cx:pt idx="76609">1</cx:pt>
          <cx:pt idx="76610">3</cx:pt>
          <cx:pt idx="76611">3</cx:pt>
          <cx:pt idx="76612">4</cx:pt>
          <cx:pt idx="76613">3</cx:pt>
          <cx:pt idx="76614">5</cx:pt>
          <cx:pt idx="76615">4</cx:pt>
          <cx:pt idx="76616">3</cx:pt>
          <cx:pt idx="76617">0</cx:pt>
          <cx:pt idx="76618">2</cx:pt>
          <cx:pt idx="76619">1</cx:pt>
          <cx:pt idx="76620">5</cx:pt>
          <cx:pt idx="76621">2</cx:pt>
          <cx:pt idx="76622">4</cx:pt>
          <cx:pt idx="76623">2</cx:pt>
          <cx:pt idx="76624">4</cx:pt>
          <cx:pt idx="76625">1</cx:pt>
          <cx:pt idx="76626">1</cx:pt>
          <cx:pt idx="76627">4</cx:pt>
          <cx:pt idx="76628">1</cx:pt>
          <cx:pt idx="76629">3</cx:pt>
          <cx:pt idx="76630">4</cx:pt>
          <cx:pt idx="76631">1</cx:pt>
          <cx:pt idx="76632">2</cx:pt>
          <cx:pt idx="76633">1</cx:pt>
          <cx:pt idx="76634">2</cx:pt>
          <cx:pt idx="76635">3</cx:pt>
          <cx:pt idx="76636">5</cx:pt>
          <cx:pt idx="76637">4</cx:pt>
          <cx:pt idx="76638">5</cx:pt>
          <cx:pt idx="76639">4</cx:pt>
          <cx:pt idx="76640">2</cx:pt>
          <cx:pt idx="76641">5</cx:pt>
          <cx:pt idx="76642">5</cx:pt>
          <cx:pt idx="76643">3</cx:pt>
          <cx:pt idx="76644">2</cx:pt>
          <cx:pt idx="76645">3</cx:pt>
          <cx:pt idx="76646">1</cx:pt>
          <cx:pt idx="76647">1</cx:pt>
          <cx:pt idx="76648">2</cx:pt>
          <cx:pt idx="76649">3</cx:pt>
          <cx:pt idx="76650">2</cx:pt>
          <cx:pt idx="76651">0</cx:pt>
          <cx:pt idx="76652">5</cx:pt>
          <cx:pt idx="76653">3</cx:pt>
          <cx:pt idx="76654">0</cx:pt>
          <cx:pt idx="76655">2</cx:pt>
          <cx:pt idx="76656">1</cx:pt>
          <cx:pt idx="76657">2</cx:pt>
          <cx:pt idx="76658">2</cx:pt>
          <cx:pt idx="76659">4</cx:pt>
          <cx:pt idx="76660">4</cx:pt>
          <cx:pt idx="76661">4</cx:pt>
          <cx:pt idx="76662">4</cx:pt>
          <cx:pt idx="76663">4</cx:pt>
          <cx:pt idx="76664">4</cx:pt>
          <cx:pt idx="76665">5</cx:pt>
          <cx:pt idx="76666">5</cx:pt>
          <cx:pt idx="76667">5</cx:pt>
          <cx:pt idx="76668">2</cx:pt>
          <cx:pt idx="76669">4</cx:pt>
          <cx:pt idx="76670">2</cx:pt>
          <cx:pt idx="76671">3</cx:pt>
          <cx:pt idx="76672">5</cx:pt>
          <cx:pt idx="76673">2</cx:pt>
          <cx:pt idx="76674">4</cx:pt>
          <cx:pt idx="76675">4</cx:pt>
          <cx:pt idx="76676">3</cx:pt>
          <cx:pt idx="76677">3</cx:pt>
          <cx:pt idx="76678">1</cx:pt>
          <cx:pt idx="76679">2</cx:pt>
          <cx:pt idx="76680">5</cx:pt>
          <cx:pt idx="76681">1</cx:pt>
          <cx:pt idx="76682">4</cx:pt>
          <cx:pt idx="76683">1</cx:pt>
          <cx:pt idx="76684">5</cx:pt>
          <cx:pt idx="76685">2</cx:pt>
          <cx:pt idx="76686">4</cx:pt>
          <cx:pt idx="76687">3</cx:pt>
          <cx:pt idx="76688">5</cx:pt>
          <cx:pt idx="76689">5</cx:pt>
          <cx:pt idx="76690">4</cx:pt>
          <cx:pt idx="76691">4</cx:pt>
          <cx:pt idx="76692">3</cx:pt>
          <cx:pt idx="76693">1</cx:pt>
          <cx:pt idx="76694">2</cx:pt>
          <cx:pt idx="76695">0</cx:pt>
          <cx:pt idx="76696">3</cx:pt>
          <cx:pt idx="76697">3</cx:pt>
          <cx:pt idx="76698">3</cx:pt>
          <cx:pt idx="76699">1</cx:pt>
          <cx:pt idx="76700">3</cx:pt>
          <cx:pt idx="76701">1</cx:pt>
          <cx:pt idx="76702">5</cx:pt>
          <cx:pt idx="76703">3</cx:pt>
          <cx:pt idx="76704">5</cx:pt>
          <cx:pt idx="76705">1</cx:pt>
          <cx:pt idx="76706">1</cx:pt>
          <cx:pt idx="76707">4</cx:pt>
          <cx:pt idx="76708">1</cx:pt>
          <cx:pt idx="76709">2</cx:pt>
          <cx:pt idx="76710">4</cx:pt>
          <cx:pt idx="76711">4</cx:pt>
          <cx:pt idx="76712">2</cx:pt>
          <cx:pt idx="76713">1</cx:pt>
          <cx:pt idx="76714">5</cx:pt>
          <cx:pt idx="76715">0</cx:pt>
          <cx:pt idx="76716">2</cx:pt>
          <cx:pt idx="76717">3</cx:pt>
          <cx:pt idx="76718">4</cx:pt>
          <cx:pt idx="76719">2</cx:pt>
          <cx:pt idx="76720">3</cx:pt>
          <cx:pt idx="76721">5</cx:pt>
          <cx:pt idx="76722">3</cx:pt>
          <cx:pt idx="76723">5</cx:pt>
          <cx:pt idx="76724">5</cx:pt>
          <cx:pt idx="76725">1</cx:pt>
          <cx:pt idx="76726">2</cx:pt>
          <cx:pt idx="76727">2</cx:pt>
          <cx:pt idx="76728">4</cx:pt>
          <cx:pt idx="76729">3</cx:pt>
          <cx:pt idx="76730">2</cx:pt>
          <cx:pt idx="76731">3</cx:pt>
          <cx:pt idx="76732">2</cx:pt>
          <cx:pt idx="76733">3</cx:pt>
          <cx:pt idx="76734">1</cx:pt>
          <cx:pt idx="76735">4</cx:pt>
          <cx:pt idx="76736">3</cx:pt>
          <cx:pt idx="76737">2</cx:pt>
          <cx:pt idx="76738">4</cx:pt>
          <cx:pt idx="76739">1</cx:pt>
          <cx:pt idx="76740">5</cx:pt>
          <cx:pt idx="76741">4</cx:pt>
          <cx:pt idx="76742">1</cx:pt>
          <cx:pt idx="76743">2</cx:pt>
          <cx:pt idx="76744">5</cx:pt>
          <cx:pt idx="76745">3</cx:pt>
          <cx:pt idx="76746">1</cx:pt>
          <cx:pt idx="76747">3</cx:pt>
          <cx:pt idx="76748">3</cx:pt>
          <cx:pt idx="76749">1</cx:pt>
          <cx:pt idx="76750">4</cx:pt>
          <cx:pt idx="76751">4</cx:pt>
          <cx:pt idx="76752">2</cx:pt>
          <cx:pt idx="76753">1</cx:pt>
          <cx:pt idx="76754">3</cx:pt>
          <cx:pt idx="76755">2</cx:pt>
          <cx:pt idx="76756">5</cx:pt>
          <cx:pt idx="76757">3</cx:pt>
          <cx:pt idx="76758">2</cx:pt>
          <cx:pt idx="76759">4</cx:pt>
          <cx:pt idx="76760">0</cx:pt>
          <cx:pt idx="76761">0</cx:pt>
          <cx:pt idx="76762">2</cx:pt>
          <cx:pt idx="76763">1</cx:pt>
          <cx:pt idx="76764">2</cx:pt>
          <cx:pt idx="76765">3</cx:pt>
          <cx:pt idx="76766">3</cx:pt>
          <cx:pt idx="76767">1</cx:pt>
          <cx:pt idx="76768">3</cx:pt>
          <cx:pt idx="76769">3</cx:pt>
          <cx:pt idx="76770">3</cx:pt>
          <cx:pt idx="76771">4</cx:pt>
          <cx:pt idx="76772">3</cx:pt>
          <cx:pt idx="76773">5</cx:pt>
          <cx:pt idx="76774">1</cx:pt>
          <cx:pt idx="76775">3</cx:pt>
          <cx:pt idx="76776">2</cx:pt>
          <cx:pt idx="76777">5</cx:pt>
          <cx:pt idx="76778">4</cx:pt>
          <cx:pt idx="76779">3</cx:pt>
          <cx:pt idx="76780">0</cx:pt>
          <cx:pt idx="76781">3</cx:pt>
          <cx:pt idx="76782">5</cx:pt>
          <cx:pt idx="76783">2</cx:pt>
          <cx:pt idx="76784">0</cx:pt>
          <cx:pt idx="76785">2</cx:pt>
          <cx:pt idx="76786">2</cx:pt>
          <cx:pt idx="76787">1</cx:pt>
          <cx:pt idx="76788">4</cx:pt>
          <cx:pt idx="76789">3</cx:pt>
          <cx:pt idx="76790">3</cx:pt>
          <cx:pt idx="76791">4</cx:pt>
          <cx:pt idx="76792">2</cx:pt>
          <cx:pt idx="76793">3</cx:pt>
          <cx:pt idx="76794">1</cx:pt>
          <cx:pt idx="76795">3</cx:pt>
          <cx:pt idx="76796">0</cx:pt>
          <cx:pt idx="76797">2</cx:pt>
          <cx:pt idx="76798">4</cx:pt>
          <cx:pt idx="76799">2</cx:pt>
          <cx:pt idx="76800">2</cx:pt>
          <cx:pt idx="76801">5</cx:pt>
          <cx:pt idx="76802">1</cx:pt>
          <cx:pt idx="76803">2</cx:pt>
          <cx:pt idx="76804">5</cx:pt>
          <cx:pt idx="76805">4</cx:pt>
          <cx:pt idx="76806">1</cx:pt>
          <cx:pt idx="76807">5</cx:pt>
          <cx:pt idx="76808">4</cx:pt>
          <cx:pt idx="76809">5</cx:pt>
          <cx:pt idx="76810">2</cx:pt>
          <cx:pt idx="76811">3</cx:pt>
          <cx:pt idx="76812">3</cx:pt>
          <cx:pt idx="76813">1</cx:pt>
          <cx:pt idx="76814">3</cx:pt>
          <cx:pt idx="76815">2</cx:pt>
          <cx:pt idx="76816">5</cx:pt>
          <cx:pt idx="76817">2</cx:pt>
          <cx:pt idx="76818">1</cx:pt>
          <cx:pt idx="76819">1</cx:pt>
          <cx:pt idx="76820">3</cx:pt>
          <cx:pt idx="76821">4</cx:pt>
          <cx:pt idx="76822">2</cx:pt>
          <cx:pt idx="76823">2</cx:pt>
          <cx:pt idx="76824">2</cx:pt>
          <cx:pt idx="76825">2</cx:pt>
          <cx:pt idx="76826">1</cx:pt>
          <cx:pt idx="76827">1</cx:pt>
          <cx:pt idx="76828">2</cx:pt>
          <cx:pt idx="76829">2</cx:pt>
          <cx:pt idx="76830">3</cx:pt>
          <cx:pt idx="76831">2</cx:pt>
          <cx:pt idx="76832">1</cx:pt>
          <cx:pt idx="76833">3</cx:pt>
          <cx:pt idx="76834">2</cx:pt>
          <cx:pt idx="76835">2</cx:pt>
          <cx:pt idx="76836">1</cx:pt>
          <cx:pt idx="76837">4</cx:pt>
          <cx:pt idx="76838">2</cx:pt>
          <cx:pt idx="76839">3</cx:pt>
          <cx:pt idx="76840">1</cx:pt>
          <cx:pt idx="76841">3</cx:pt>
          <cx:pt idx="76842">4</cx:pt>
          <cx:pt idx="76843">2</cx:pt>
          <cx:pt idx="76844">3</cx:pt>
          <cx:pt idx="76845">1</cx:pt>
          <cx:pt idx="76846">1</cx:pt>
          <cx:pt idx="76847">0</cx:pt>
          <cx:pt idx="76848">4</cx:pt>
          <cx:pt idx="76849">2</cx:pt>
          <cx:pt idx="76850">2</cx:pt>
          <cx:pt idx="76851">3</cx:pt>
          <cx:pt idx="76852">5</cx:pt>
          <cx:pt idx="76853">5</cx:pt>
          <cx:pt idx="76854">3</cx:pt>
          <cx:pt idx="76855">2</cx:pt>
          <cx:pt idx="76856">3</cx:pt>
          <cx:pt idx="76857">3</cx:pt>
          <cx:pt idx="76858">3</cx:pt>
          <cx:pt idx="76859">3</cx:pt>
          <cx:pt idx="76860">3</cx:pt>
          <cx:pt idx="76861">2</cx:pt>
          <cx:pt idx="76862">2</cx:pt>
          <cx:pt idx="76863">2</cx:pt>
          <cx:pt idx="76864">4</cx:pt>
          <cx:pt idx="76865">3</cx:pt>
          <cx:pt idx="76866">3</cx:pt>
          <cx:pt idx="76867">5</cx:pt>
          <cx:pt idx="76868">2</cx:pt>
          <cx:pt idx="76869">4</cx:pt>
          <cx:pt idx="76870">4</cx:pt>
          <cx:pt idx="76871">4</cx:pt>
          <cx:pt idx="76872">1</cx:pt>
          <cx:pt idx="76873">0</cx:pt>
          <cx:pt idx="76874">3</cx:pt>
          <cx:pt idx="76875">2</cx:pt>
          <cx:pt idx="76876">5</cx:pt>
          <cx:pt idx="76877">2</cx:pt>
          <cx:pt idx="76878">4</cx:pt>
          <cx:pt idx="76879">2</cx:pt>
          <cx:pt idx="76880">1</cx:pt>
          <cx:pt idx="76881">1</cx:pt>
          <cx:pt idx="76882">3</cx:pt>
          <cx:pt idx="76883">4</cx:pt>
          <cx:pt idx="76884">3</cx:pt>
          <cx:pt idx="76885">1</cx:pt>
          <cx:pt idx="76886">4</cx:pt>
          <cx:pt idx="76887">4</cx:pt>
          <cx:pt idx="76888">3</cx:pt>
          <cx:pt idx="76889">3</cx:pt>
          <cx:pt idx="76890">3</cx:pt>
          <cx:pt idx="76891">1</cx:pt>
          <cx:pt idx="76892">1</cx:pt>
          <cx:pt idx="76893">4</cx:pt>
          <cx:pt idx="76894">1</cx:pt>
          <cx:pt idx="76895">2</cx:pt>
          <cx:pt idx="76896">1</cx:pt>
          <cx:pt idx="76897">5</cx:pt>
          <cx:pt idx="76898">1</cx:pt>
          <cx:pt idx="76899">1</cx:pt>
          <cx:pt idx="76900">2</cx:pt>
          <cx:pt idx="76901">4</cx:pt>
          <cx:pt idx="76902">2</cx:pt>
          <cx:pt idx="76903">5</cx:pt>
          <cx:pt idx="76904">2</cx:pt>
          <cx:pt idx="76905">1</cx:pt>
          <cx:pt idx="76906">5</cx:pt>
          <cx:pt idx="76907">1</cx:pt>
          <cx:pt idx="76908">2</cx:pt>
          <cx:pt idx="76909">3</cx:pt>
          <cx:pt idx="76910">2</cx:pt>
          <cx:pt idx="76911">4</cx:pt>
          <cx:pt idx="76912">4</cx:pt>
          <cx:pt idx="76913">2</cx:pt>
          <cx:pt idx="76914">3</cx:pt>
          <cx:pt idx="76915">2</cx:pt>
          <cx:pt idx="76916">3</cx:pt>
          <cx:pt idx="76917">0</cx:pt>
          <cx:pt idx="76918">3</cx:pt>
          <cx:pt idx="76919">5</cx:pt>
          <cx:pt idx="76920">2</cx:pt>
          <cx:pt idx="76921">2</cx:pt>
          <cx:pt idx="76922">2</cx:pt>
          <cx:pt idx="76923">3</cx:pt>
          <cx:pt idx="76924">2</cx:pt>
          <cx:pt idx="76925">5</cx:pt>
          <cx:pt idx="76926">0</cx:pt>
          <cx:pt idx="76927">2</cx:pt>
          <cx:pt idx="76928">1</cx:pt>
          <cx:pt idx="76929">2</cx:pt>
          <cx:pt idx="76930">4</cx:pt>
          <cx:pt idx="76931">4</cx:pt>
          <cx:pt idx="76932">1</cx:pt>
          <cx:pt idx="76933">5</cx:pt>
          <cx:pt idx="76934">2</cx:pt>
          <cx:pt idx="76935">3</cx:pt>
          <cx:pt idx="76936">2</cx:pt>
          <cx:pt idx="76937">4</cx:pt>
          <cx:pt idx="76938">0</cx:pt>
          <cx:pt idx="76939">4</cx:pt>
          <cx:pt idx="76940">2</cx:pt>
          <cx:pt idx="76941">4</cx:pt>
          <cx:pt idx="76942">3</cx:pt>
          <cx:pt idx="76943">2</cx:pt>
          <cx:pt idx="76944">2</cx:pt>
          <cx:pt idx="76945">5</cx:pt>
          <cx:pt idx="76946">3</cx:pt>
          <cx:pt idx="76947">3</cx:pt>
          <cx:pt idx="76948">1</cx:pt>
          <cx:pt idx="76949">1</cx:pt>
          <cx:pt idx="76950">4</cx:pt>
          <cx:pt idx="76951">2</cx:pt>
          <cx:pt idx="76952">4</cx:pt>
          <cx:pt idx="76953">2</cx:pt>
          <cx:pt idx="76954">1</cx:pt>
          <cx:pt idx="76955">5</cx:pt>
          <cx:pt idx="76956">4</cx:pt>
          <cx:pt idx="76957">2</cx:pt>
          <cx:pt idx="76958">3</cx:pt>
          <cx:pt idx="76959">2</cx:pt>
          <cx:pt idx="76960">1</cx:pt>
          <cx:pt idx="76961">5</cx:pt>
          <cx:pt idx="76962">2</cx:pt>
          <cx:pt idx="76963">0</cx:pt>
          <cx:pt idx="76964">3</cx:pt>
          <cx:pt idx="76965">4</cx:pt>
          <cx:pt idx="76966">0</cx:pt>
          <cx:pt idx="76967">0</cx:pt>
          <cx:pt idx="76968">1</cx:pt>
          <cx:pt idx="76969">2</cx:pt>
          <cx:pt idx="76970">2</cx:pt>
          <cx:pt idx="76971">4</cx:pt>
          <cx:pt idx="76972">5</cx:pt>
          <cx:pt idx="76973">3</cx:pt>
          <cx:pt idx="76974">3</cx:pt>
          <cx:pt idx="76975">3</cx:pt>
          <cx:pt idx="76976">3</cx:pt>
          <cx:pt idx="76977">2</cx:pt>
          <cx:pt idx="76978">2</cx:pt>
          <cx:pt idx="76979">2</cx:pt>
          <cx:pt idx="76980">1</cx:pt>
          <cx:pt idx="76981">2</cx:pt>
          <cx:pt idx="76982">2</cx:pt>
          <cx:pt idx="76983">2</cx:pt>
          <cx:pt idx="76984">3</cx:pt>
          <cx:pt idx="76985">4</cx:pt>
          <cx:pt idx="76986">2</cx:pt>
          <cx:pt idx="76987">5</cx:pt>
          <cx:pt idx="76988">3</cx:pt>
          <cx:pt idx="76989">0</cx:pt>
          <cx:pt idx="76990">1</cx:pt>
          <cx:pt idx="76991">4</cx:pt>
          <cx:pt idx="76992">5</cx:pt>
          <cx:pt idx="76993">4</cx:pt>
          <cx:pt idx="76994">3</cx:pt>
          <cx:pt idx="76995">4</cx:pt>
          <cx:pt idx="76996">3</cx:pt>
          <cx:pt idx="76997">3</cx:pt>
          <cx:pt idx="76998">3</cx:pt>
          <cx:pt idx="76999">3</cx:pt>
          <cx:pt idx="77000">3</cx:pt>
          <cx:pt idx="77001">2</cx:pt>
          <cx:pt idx="77002">2</cx:pt>
          <cx:pt idx="77003">3</cx:pt>
          <cx:pt idx="77004">2</cx:pt>
          <cx:pt idx="77005">2</cx:pt>
          <cx:pt idx="77006">4</cx:pt>
          <cx:pt idx="77007">3</cx:pt>
          <cx:pt idx="77008">3</cx:pt>
          <cx:pt idx="77009">5</cx:pt>
          <cx:pt idx="77010">1</cx:pt>
          <cx:pt idx="77011">4</cx:pt>
          <cx:pt idx="77012">2</cx:pt>
          <cx:pt idx="77013">5</cx:pt>
          <cx:pt idx="77014">2</cx:pt>
          <cx:pt idx="77015">2</cx:pt>
          <cx:pt idx="77016">5</cx:pt>
          <cx:pt idx="77017">2</cx:pt>
          <cx:pt idx="77018">0</cx:pt>
          <cx:pt idx="77019">5</cx:pt>
          <cx:pt idx="77020">1</cx:pt>
          <cx:pt idx="77021">4</cx:pt>
          <cx:pt idx="77022">3</cx:pt>
          <cx:pt idx="77023">3</cx:pt>
          <cx:pt idx="77024">3</cx:pt>
          <cx:pt idx="77025">5</cx:pt>
          <cx:pt idx="77026">5</cx:pt>
          <cx:pt idx="77027">3</cx:pt>
          <cx:pt idx="77028">2</cx:pt>
          <cx:pt idx="77029">2</cx:pt>
          <cx:pt idx="77030">4</cx:pt>
          <cx:pt idx="77031">2</cx:pt>
          <cx:pt idx="77032">3</cx:pt>
          <cx:pt idx="77033">1</cx:pt>
          <cx:pt idx="77034">1</cx:pt>
          <cx:pt idx="77035">4</cx:pt>
          <cx:pt idx="77036">1</cx:pt>
          <cx:pt idx="77037">4</cx:pt>
          <cx:pt idx="77038">2</cx:pt>
          <cx:pt idx="77039">4</cx:pt>
          <cx:pt idx="77040">3</cx:pt>
          <cx:pt idx="77041">1</cx:pt>
          <cx:pt idx="77042">5</cx:pt>
          <cx:pt idx="77043">4</cx:pt>
          <cx:pt idx="77044">2</cx:pt>
          <cx:pt idx="77045">3</cx:pt>
          <cx:pt idx="77046">5</cx:pt>
          <cx:pt idx="77047">2</cx:pt>
          <cx:pt idx="77048">2</cx:pt>
          <cx:pt idx="77049">5</cx:pt>
          <cx:pt idx="77050">2</cx:pt>
          <cx:pt idx="77051">4</cx:pt>
          <cx:pt idx="77052">1</cx:pt>
          <cx:pt idx="77053">2</cx:pt>
          <cx:pt idx="77054">3</cx:pt>
          <cx:pt idx="77055">5</cx:pt>
          <cx:pt idx="77056">5</cx:pt>
          <cx:pt idx="77057">3</cx:pt>
          <cx:pt idx="77058">5</cx:pt>
          <cx:pt idx="77059">3</cx:pt>
          <cx:pt idx="77060">1</cx:pt>
          <cx:pt idx="77061">2</cx:pt>
          <cx:pt idx="77062">2</cx:pt>
          <cx:pt idx="77063">3</cx:pt>
          <cx:pt idx="77064">5</cx:pt>
          <cx:pt idx="77065">4</cx:pt>
          <cx:pt idx="77066">1</cx:pt>
          <cx:pt idx="77067">1</cx:pt>
          <cx:pt idx="77068">2</cx:pt>
          <cx:pt idx="77069">3</cx:pt>
          <cx:pt idx="77070">3</cx:pt>
          <cx:pt idx="77071">2</cx:pt>
          <cx:pt idx="77072">5</cx:pt>
          <cx:pt idx="77073">2</cx:pt>
          <cx:pt idx="77074">2</cx:pt>
          <cx:pt idx="77075">3</cx:pt>
          <cx:pt idx="77076">3</cx:pt>
          <cx:pt idx="77077">2</cx:pt>
          <cx:pt idx="77078">5</cx:pt>
          <cx:pt idx="77079">4</cx:pt>
          <cx:pt idx="77080">4</cx:pt>
          <cx:pt idx="77081">3</cx:pt>
          <cx:pt idx="77082">4</cx:pt>
          <cx:pt idx="77083">3</cx:pt>
          <cx:pt idx="77084">3</cx:pt>
          <cx:pt idx="77085">2</cx:pt>
          <cx:pt idx="77086">2</cx:pt>
          <cx:pt idx="77087">3</cx:pt>
          <cx:pt idx="77088">4</cx:pt>
          <cx:pt idx="77089">3</cx:pt>
          <cx:pt idx="77090">5</cx:pt>
          <cx:pt idx="77091">2</cx:pt>
          <cx:pt idx="77092">5</cx:pt>
          <cx:pt idx="77093">2</cx:pt>
          <cx:pt idx="77094">1</cx:pt>
          <cx:pt idx="77095">0</cx:pt>
          <cx:pt idx="77096">2</cx:pt>
          <cx:pt idx="77097">4</cx:pt>
          <cx:pt idx="77098">3</cx:pt>
          <cx:pt idx="77099">0</cx:pt>
          <cx:pt idx="77100">1</cx:pt>
          <cx:pt idx="77101">4</cx:pt>
          <cx:pt idx="77102">2</cx:pt>
          <cx:pt idx="77103">1</cx:pt>
          <cx:pt idx="77104">1</cx:pt>
          <cx:pt idx="77105">5</cx:pt>
          <cx:pt idx="77106">1</cx:pt>
          <cx:pt idx="77107">5</cx:pt>
          <cx:pt idx="77108">3</cx:pt>
          <cx:pt idx="77109">5</cx:pt>
          <cx:pt idx="77110">1</cx:pt>
          <cx:pt idx="77111">0</cx:pt>
          <cx:pt idx="77112">0</cx:pt>
          <cx:pt idx="77113">2</cx:pt>
          <cx:pt idx="77114">3</cx:pt>
          <cx:pt idx="77115">2</cx:pt>
          <cx:pt idx="77116">2</cx:pt>
          <cx:pt idx="77117">4</cx:pt>
          <cx:pt idx="77118">5</cx:pt>
          <cx:pt idx="77119">2</cx:pt>
          <cx:pt idx="77120">2</cx:pt>
          <cx:pt idx="77121">5</cx:pt>
          <cx:pt idx="77122">3</cx:pt>
          <cx:pt idx="77123">4</cx:pt>
          <cx:pt idx="77124">2</cx:pt>
          <cx:pt idx="77125">1</cx:pt>
          <cx:pt idx="77126">2</cx:pt>
          <cx:pt idx="77127">2</cx:pt>
          <cx:pt idx="77128">4</cx:pt>
          <cx:pt idx="77129">3</cx:pt>
          <cx:pt idx="77130">2</cx:pt>
          <cx:pt idx="77131">4</cx:pt>
          <cx:pt idx="77132">3</cx:pt>
          <cx:pt idx="77133">4</cx:pt>
          <cx:pt idx="77134">1</cx:pt>
          <cx:pt idx="77135">2</cx:pt>
          <cx:pt idx="77136">1</cx:pt>
          <cx:pt idx="77137">1</cx:pt>
          <cx:pt idx="77138">3</cx:pt>
          <cx:pt idx="77139">2</cx:pt>
          <cx:pt idx="77140">3</cx:pt>
          <cx:pt idx="77141">1</cx:pt>
          <cx:pt idx="77142">2</cx:pt>
          <cx:pt idx="77143">1</cx:pt>
          <cx:pt idx="77144">4</cx:pt>
          <cx:pt idx="77145">1</cx:pt>
          <cx:pt idx="77146">5</cx:pt>
          <cx:pt idx="77147">4</cx:pt>
          <cx:pt idx="77148">5</cx:pt>
          <cx:pt idx="77149">2</cx:pt>
          <cx:pt idx="77150">3</cx:pt>
          <cx:pt idx="77151">5</cx:pt>
          <cx:pt idx="77152">3</cx:pt>
          <cx:pt idx="77153">2</cx:pt>
          <cx:pt idx="77154">4</cx:pt>
          <cx:pt idx="77155">4</cx:pt>
          <cx:pt idx="77156">3</cx:pt>
          <cx:pt idx="77157">2</cx:pt>
          <cx:pt idx="77158">3</cx:pt>
          <cx:pt idx="77159">4</cx:pt>
          <cx:pt idx="77160">4</cx:pt>
          <cx:pt idx="77161">3</cx:pt>
          <cx:pt idx="77162">5</cx:pt>
          <cx:pt idx="77163">1</cx:pt>
          <cx:pt idx="77164">5</cx:pt>
          <cx:pt idx="77165">1</cx:pt>
          <cx:pt idx="77166">3</cx:pt>
          <cx:pt idx="77167">3</cx:pt>
          <cx:pt idx="77168">4</cx:pt>
          <cx:pt idx="77169">4</cx:pt>
          <cx:pt idx="77170">4</cx:pt>
          <cx:pt idx="77171">3</cx:pt>
          <cx:pt idx="77172">2</cx:pt>
          <cx:pt idx="77173">4</cx:pt>
          <cx:pt idx="77174">4</cx:pt>
          <cx:pt idx="77175">2</cx:pt>
          <cx:pt idx="77176">4</cx:pt>
          <cx:pt idx="77177">2</cx:pt>
          <cx:pt idx="77178">4</cx:pt>
          <cx:pt idx="77179">5</cx:pt>
          <cx:pt idx="77180">4</cx:pt>
          <cx:pt idx="77181">4</cx:pt>
          <cx:pt idx="77182">5</cx:pt>
          <cx:pt idx="77183">3</cx:pt>
          <cx:pt idx="77184">1</cx:pt>
          <cx:pt idx="77185">2</cx:pt>
          <cx:pt idx="77186">2</cx:pt>
          <cx:pt idx="77187">3</cx:pt>
          <cx:pt idx="77188">2</cx:pt>
          <cx:pt idx="77189">2</cx:pt>
          <cx:pt idx="77190">4</cx:pt>
          <cx:pt idx="77191">2</cx:pt>
          <cx:pt idx="77192">3</cx:pt>
          <cx:pt idx="77193">0</cx:pt>
          <cx:pt idx="77194">5</cx:pt>
          <cx:pt idx="77195">2</cx:pt>
          <cx:pt idx="77196">4</cx:pt>
          <cx:pt idx="77197">4</cx:pt>
          <cx:pt idx="77198">1</cx:pt>
          <cx:pt idx="77199">2</cx:pt>
          <cx:pt idx="77200">5</cx:pt>
          <cx:pt idx="77201">4</cx:pt>
          <cx:pt idx="77202">3</cx:pt>
          <cx:pt idx="77203">5</cx:pt>
          <cx:pt idx="77204">1</cx:pt>
          <cx:pt idx="77205">3</cx:pt>
          <cx:pt idx="77206">0</cx:pt>
          <cx:pt idx="77207">5</cx:pt>
          <cx:pt idx="77208">1</cx:pt>
          <cx:pt idx="77209">1</cx:pt>
          <cx:pt idx="77210">4</cx:pt>
          <cx:pt idx="77211">4</cx:pt>
          <cx:pt idx="77212">2</cx:pt>
          <cx:pt idx="77213">5</cx:pt>
          <cx:pt idx="77214">2</cx:pt>
          <cx:pt idx="77215">5</cx:pt>
          <cx:pt idx="77216">4</cx:pt>
          <cx:pt idx="77217">3</cx:pt>
          <cx:pt idx="77218">4</cx:pt>
          <cx:pt idx="77219">3</cx:pt>
          <cx:pt idx="77220">2</cx:pt>
          <cx:pt idx="77221">3</cx:pt>
          <cx:pt idx="77222">2</cx:pt>
          <cx:pt idx="77223">4</cx:pt>
          <cx:pt idx="77224">2</cx:pt>
          <cx:pt idx="77225">4</cx:pt>
          <cx:pt idx="77226">3</cx:pt>
          <cx:pt idx="77227">4</cx:pt>
          <cx:pt idx="77228">2</cx:pt>
          <cx:pt idx="77229">2</cx:pt>
          <cx:pt idx="77230">4</cx:pt>
          <cx:pt idx="77231">5</cx:pt>
          <cx:pt idx="77232">4</cx:pt>
          <cx:pt idx="77233">3</cx:pt>
          <cx:pt idx="77234">1</cx:pt>
          <cx:pt idx="77235">3</cx:pt>
          <cx:pt idx="77236">4</cx:pt>
          <cx:pt idx="77237">3</cx:pt>
          <cx:pt idx="77238">3</cx:pt>
          <cx:pt idx="77239">2</cx:pt>
          <cx:pt idx="77240">2</cx:pt>
          <cx:pt idx="77241">1</cx:pt>
          <cx:pt idx="77242">4</cx:pt>
          <cx:pt idx="77243">2</cx:pt>
          <cx:pt idx="77244">0</cx:pt>
          <cx:pt idx="77245">4</cx:pt>
          <cx:pt idx="77246">0</cx:pt>
          <cx:pt idx="77247">1</cx:pt>
          <cx:pt idx="77248">2</cx:pt>
          <cx:pt idx="77249">3</cx:pt>
          <cx:pt idx="77250">3</cx:pt>
          <cx:pt idx="77251">4</cx:pt>
          <cx:pt idx="77252">4</cx:pt>
          <cx:pt idx="77253">1</cx:pt>
          <cx:pt idx="77254">3</cx:pt>
          <cx:pt idx="77255">3</cx:pt>
          <cx:pt idx="77256">1</cx:pt>
          <cx:pt idx="77257">3</cx:pt>
          <cx:pt idx="77258">3</cx:pt>
          <cx:pt idx="77259">3</cx:pt>
          <cx:pt idx="77260">1</cx:pt>
          <cx:pt idx="77261">4</cx:pt>
          <cx:pt idx="77262">4</cx:pt>
          <cx:pt idx="77263">2</cx:pt>
          <cx:pt idx="77264">3</cx:pt>
          <cx:pt idx="77265">2</cx:pt>
          <cx:pt idx="77266">2</cx:pt>
          <cx:pt idx="77267">4</cx:pt>
          <cx:pt idx="77268">3</cx:pt>
          <cx:pt idx="77269">5</cx:pt>
          <cx:pt idx="77270">2</cx:pt>
          <cx:pt idx="77271">0</cx:pt>
          <cx:pt idx="77272">5</cx:pt>
          <cx:pt idx="77273">3</cx:pt>
          <cx:pt idx="77274">1</cx:pt>
          <cx:pt idx="77275">3</cx:pt>
          <cx:pt idx="77276">4</cx:pt>
          <cx:pt idx="77277">2</cx:pt>
          <cx:pt idx="77278">4</cx:pt>
          <cx:pt idx="77279">0</cx:pt>
          <cx:pt idx="77280">1</cx:pt>
          <cx:pt idx="77281">3</cx:pt>
          <cx:pt idx="77282">1</cx:pt>
          <cx:pt idx="77283">4</cx:pt>
          <cx:pt idx="77284">3</cx:pt>
          <cx:pt idx="77285">2</cx:pt>
          <cx:pt idx="77286">1</cx:pt>
          <cx:pt idx="77287">3</cx:pt>
          <cx:pt idx="77288">2</cx:pt>
          <cx:pt idx="77289">2</cx:pt>
          <cx:pt idx="77290">2</cx:pt>
          <cx:pt idx="77291">3</cx:pt>
          <cx:pt idx="77292">4</cx:pt>
          <cx:pt idx="77293">4</cx:pt>
          <cx:pt idx="77294">5</cx:pt>
          <cx:pt idx="77295">5</cx:pt>
          <cx:pt idx="77296">2</cx:pt>
          <cx:pt idx="77297">4</cx:pt>
          <cx:pt idx="77298">0</cx:pt>
          <cx:pt idx="77299">2</cx:pt>
          <cx:pt idx="77300">3</cx:pt>
          <cx:pt idx="77301">2</cx:pt>
          <cx:pt idx="77302">1</cx:pt>
          <cx:pt idx="77303">2</cx:pt>
          <cx:pt idx="77304">2</cx:pt>
          <cx:pt idx="77305">3</cx:pt>
          <cx:pt idx="77306">2</cx:pt>
          <cx:pt idx="77307">5</cx:pt>
          <cx:pt idx="77308">3</cx:pt>
          <cx:pt idx="77309">1</cx:pt>
          <cx:pt idx="77310">2</cx:pt>
          <cx:pt idx="77311">5</cx:pt>
          <cx:pt idx="77312">2</cx:pt>
          <cx:pt idx="77313">2</cx:pt>
          <cx:pt idx="77314">3</cx:pt>
          <cx:pt idx="77315">2</cx:pt>
          <cx:pt idx="77316">4</cx:pt>
          <cx:pt idx="77317">2</cx:pt>
          <cx:pt idx="77318">4</cx:pt>
          <cx:pt idx="77319">2</cx:pt>
          <cx:pt idx="77320">3</cx:pt>
          <cx:pt idx="77321">4</cx:pt>
          <cx:pt idx="77322">2</cx:pt>
          <cx:pt idx="77323">2</cx:pt>
          <cx:pt idx="77324">2</cx:pt>
          <cx:pt idx="77325">4</cx:pt>
          <cx:pt idx="77326">4</cx:pt>
          <cx:pt idx="77327">2</cx:pt>
          <cx:pt idx="77328">4</cx:pt>
          <cx:pt idx="77329">4</cx:pt>
          <cx:pt idx="77330">4</cx:pt>
          <cx:pt idx="77331">3</cx:pt>
          <cx:pt idx="77332">2</cx:pt>
          <cx:pt idx="77333">2</cx:pt>
          <cx:pt idx="77334">3</cx:pt>
          <cx:pt idx="77335">3</cx:pt>
          <cx:pt idx="77336">3</cx:pt>
          <cx:pt idx="77337">0</cx:pt>
          <cx:pt idx="77338">3</cx:pt>
          <cx:pt idx="77339">2</cx:pt>
          <cx:pt idx="77340">4</cx:pt>
          <cx:pt idx="77341">2</cx:pt>
          <cx:pt idx="77342">4</cx:pt>
          <cx:pt idx="77343">3</cx:pt>
          <cx:pt idx="77344">2</cx:pt>
          <cx:pt idx="77345">3</cx:pt>
          <cx:pt idx="77346">5</cx:pt>
          <cx:pt idx="77347">3</cx:pt>
          <cx:pt idx="77348">4</cx:pt>
          <cx:pt idx="77349">3</cx:pt>
          <cx:pt idx="77350">1</cx:pt>
          <cx:pt idx="77351">4</cx:pt>
          <cx:pt idx="77352">3</cx:pt>
          <cx:pt idx="77353">2</cx:pt>
          <cx:pt idx="77354">3</cx:pt>
          <cx:pt idx="77355">0</cx:pt>
          <cx:pt idx="77356">5</cx:pt>
          <cx:pt idx="77357">0</cx:pt>
          <cx:pt idx="77358">4</cx:pt>
          <cx:pt idx="77359">1</cx:pt>
          <cx:pt idx="77360">2</cx:pt>
          <cx:pt idx="77361">5</cx:pt>
          <cx:pt idx="77362">3</cx:pt>
          <cx:pt idx="77363">4</cx:pt>
          <cx:pt idx="77364">0</cx:pt>
          <cx:pt idx="77365">4</cx:pt>
          <cx:pt idx="77366">4</cx:pt>
          <cx:pt idx="77367">5</cx:pt>
          <cx:pt idx="77368">3</cx:pt>
          <cx:pt idx="77369">3</cx:pt>
          <cx:pt idx="77370">3</cx:pt>
          <cx:pt idx="77371">3</cx:pt>
          <cx:pt idx="77372">2</cx:pt>
          <cx:pt idx="77373">5</cx:pt>
          <cx:pt idx="77374">5</cx:pt>
          <cx:pt idx="77375">5</cx:pt>
          <cx:pt idx="77376">4</cx:pt>
          <cx:pt idx="77377">4</cx:pt>
          <cx:pt idx="77378">1</cx:pt>
          <cx:pt idx="77379">5</cx:pt>
          <cx:pt idx="77380">2</cx:pt>
          <cx:pt idx="77381">3</cx:pt>
          <cx:pt idx="77382">4</cx:pt>
          <cx:pt idx="77383">1</cx:pt>
          <cx:pt idx="77384">4</cx:pt>
          <cx:pt idx="77385">3</cx:pt>
          <cx:pt idx="77386">5</cx:pt>
          <cx:pt idx="77387">4</cx:pt>
          <cx:pt idx="77388">3</cx:pt>
          <cx:pt idx="77389">0</cx:pt>
          <cx:pt idx="77390">2</cx:pt>
          <cx:pt idx="77391">4</cx:pt>
          <cx:pt idx="77392">1</cx:pt>
          <cx:pt idx="77393">1</cx:pt>
          <cx:pt idx="77394">3</cx:pt>
          <cx:pt idx="77395">2</cx:pt>
          <cx:pt idx="77396">4</cx:pt>
          <cx:pt idx="77397">2</cx:pt>
          <cx:pt idx="77398">5</cx:pt>
          <cx:pt idx="77399">2</cx:pt>
          <cx:pt idx="77400">2</cx:pt>
          <cx:pt idx="77401">3</cx:pt>
          <cx:pt idx="77402">3</cx:pt>
          <cx:pt idx="77403">0</cx:pt>
          <cx:pt idx="77404">1</cx:pt>
          <cx:pt idx="77405">3</cx:pt>
          <cx:pt idx="77406">1</cx:pt>
          <cx:pt idx="77407">3</cx:pt>
          <cx:pt idx="77408">3</cx:pt>
          <cx:pt idx="77409">2</cx:pt>
          <cx:pt idx="77410">4</cx:pt>
          <cx:pt idx="77411">4</cx:pt>
          <cx:pt idx="77412">3</cx:pt>
          <cx:pt idx="77413">4</cx:pt>
          <cx:pt idx="77414">4</cx:pt>
          <cx:pt idx="77415">2</cx:pt>
          <cx:pt idx="77416">5</cx:pt>
          <cx:pt idx="77417">2</cx:pt>
          <cx:pt idx="77418">1</cx:pt>
          <cx:pt idx="77419">5</cx:pt>
          <cx:pt idx="77420">5</cx:pt>
          <cx:pt idx="77421">3</cx:pt>
          <cx:pt idx="77422">5</cx:pt>
          <cx:pt idx="77423">2</cx:pt>
          <cx:pt idx="77424">4</cx:pt>
          <cx:pt idx="77425">4</cx:pt>
          <cx:pt idx="77426">1</cx:pt>
          <cx:pt idx="77427">3</cx:pt>
          <cx:pt idx="77428">3</cx:pt>
          <cx:pt idx="77429">3</cx:pt>
          <cx:pt idx="77430">5</cx:pt>
          <cx:pt idx="77431">1</cx:pt>
          <cx:pt idx="77432">3</cx:pt>
          <cx:pt idx="77433">2</cx:pt>
          <cx:pt idx="77434">3</cx:pt>
          <cx:pt idx="77435">3</cx:pt>
          <cx:pt idx="77436">1</cx:pt>
          <cx:pt idx="77437">3</cx:pt>
          <cx:pt idx="77438">5</cx:pt>
          <cx:pt idx="77439">3</cx:pt>
          <cx:pt idx="77440">3</cx:pt>
          <cx:pt idx="77441">3</cx:pt>
          <cx:pt idx="77442">3</cx:pt>
          <cx:pt idx="77443">1</cx:pt>
          <cx:pt idx="77444">0</cx:pt>
          <cx:pt idx="77445">5</cx:pt>
          <cx:pt idx="77446">5</cx:pt>
          <cx:pt idx="77447">5</cx:pt>
          <cx:pt idx="77448">2</cx:pt>
          <cx:pt idx="77449">3</cx:pt>
          <cx:pt idx="77450">5</cx:pt>
          <cx:pt idx="77451">2</cx:pt>
          <cx:pt idx="77452">1</cx:pt>
          <cx:pt idx="77453">3</cx:pt>
          <cx:pt idx="77454">5</cx:pt>
          <cx:pt idx="77455">1</cx:pt>
          <cx:pt idx="77456">4</cx:pt>
          <cx:pt idx="77457">2</cx:pt>
          <cx:pt idx="77458">2</cx:pt>
          <cx:pt idx="77459">2</cx:pt>
          <cx:pt idx="77460">3</cx:pt>
          <cx:pt idx="77461">1</cx:pt>
          <cx:pt idx="77462">3</cx:pt>
          <cx:pt idx="77463">1</cx:pt>
          <cx:pt idx="77464">3</cx:pt>
          <cx:pt idx="77465">2</cx:pt>
          <cx:pt idx="77466">5</cx:pt>
          <cx:pt idx="77467">2</cx:pt>
          <cx:pt idx="77468">1</cx:pt>
          <cx:pt idx="77469">3</cx:pt>
          <cx:pt idx="77470">2</cx:pt>
          <cx:pt idx="77471">3</cx:pt>
          <cx:pt idx="77472">3</cx:pt>
          <cx:pt idx="77473">3</cx:pt>
          <cx:pt idx="77474">2</cx:pt>
          <cx:pt idx="77475">2</cx:pt>
          <cx:pt idx="77476">3</cx:pt>
          <cx:pt idx="77477">4</cx:pt>
          <cx:pt idx="77478">1</cx:pt>
          <cx:pt idx="77479">2</cx:pt>
          <cx:pt idx="77480">1</cx:pt>
          <cx:pt idx="77481">1</cx:pt>
          <cx:pt idx="77482">3</cx:pt>
          <cx:pt idx="77483">1</cx:pt>
          <cx:pt idx="77484">3</cx:pt>
          <cx:pt idx="77485">0</cx:pt>
          <cx:pt idx="77486">1</cx:pt>
          <cx:pt idx="77487">3</cx:pt>
          <cx:pt idx="77488">1</cx:pt>
          <cx:pt idx="77489">1</cx:pt>
          <cx:pt idx="77490">4</cx:pt>
          <cx:pt idx="77491">0</cx:pt>
          <cx:pt idx="77492">1</cx:pt>
          <cx:pt idx="77493">4</cx:pt>
          <cx:pt idx="77494">5</cx:pt>
          <cx:pt idx="77495">1</cx:pt>
          <cx:pt idx="77496">3</cx:pt>
          <cx:pt idx="77497">3</cx:pt>
          <cx:pt idx="77498">2</cx:pt>
          <cx:pt idx="77499">2</cx:pt>
          <cx:pt idx="77500">4</cx:pt>
          <cx:pt idx="77501">1</cx:pt>
          <cx:pt idx="77502">2</cx:pt>
          <cx:pt idx="77503">0</cx:pt>
          <cx:pt idx="77504">1</cx:pt>
          <cx:pt idx="77505">2</cx:pt>
          <cx:pt idx="77506">2</cx:pt>
          <cx:pt idx="77507">1</cx:pt>
          <cx:pt idx="77508">2</cx:pt>
          <cx:pt idx="77509">5</cx:pt>
          <cx:pt idx="77510">5</cx:pt>
          <cx:pt idx="77511">2</cx:pt>
          <cx:pt idx="77512">1</cx:pt>
          <cx:pt idx="77513">4</cx:pt>
          <cx:pt idx="77514">1</cx:pt>
          <cx:pt idx="77515">2</cx:pt>
          <cx:pt idx="77516">5</cx:pt>
          <cx:pt idx="77517">4</cx:pt>
          <cx:pt idx="77518">4</cx:pt>
          <cx:pt idx="77519">3</cx:pt>
          <cx:pt idx="77520">4</cx:pt>
          <cx:pt idx="77521">2</cx:pt>
          <cx:pt idx="77522">3</cx:pt>
          <cx:pt idx="77523">3</cx:pt>
          <cx:pt idx="77524">5</cx:pt>
          <cx:pt idx="77525">0</cx:pt>
          <cx:pt idx="77526">3</cx:pt>
          <cx:pt idx="77527">1</cx:pt>
          <cx:pt idx="77528">2</cx:pt>
          <cx:pt idx="77529">4</cx:pt>
          <cx:pt idx="77530">5</cx:pt>
          <cx:pt idx="77531">5</cx:pt>
          <cx:pt idx="77532">2</cx:pt>
          <cx:pt idx="77533">1</cx:pt>
          <cx:pt idx="77534">2</cx:pt>
          <cx:pt idx="77535">5</cx:pt>
          <cx:pt idx="77536">3</cx:pt>
          <cx:pt idx="77537">3</cx:pt>
          <cx:pt idx="77538">2</cx:pt>
          <cx:pt idx="77539">5</cx:pt>
          <cx:pt idx="77540">4</cx:pt>
          <cx:pt idx="77541">3</cx:pt>
          <cx:pt idx="77542">2</cx:pt>
          <cx:pt idx="77543">1</cx:pt>
          <cx:pt idx="77544">2</cx:pt>
          <cx:pt idx="77545">3</cx:pt>
          <cx:pt idx="77546">4</cx:pt>
          <cx:pt idx="77547">2</cx:pt>
          <cx:pt idx="77548">5</cx:pt>
          <cx:pt idx="77549">3</cx:pt>
          <cx:pt idx="77550">1</cx:pt>
          <cx:pt idx="77551">2</cx:pt>
          <cx:pt idx="77552">4</cx:pt>
          <cx:pt idx="77553">1</cx:pt>
          <cx:pt idx="77554">3</cx:pt>
          <cx:pt idx="77555">5</cx:pt>
          <cx:pt idx="77556">4</cx:pt>
          <cx:pt idx="77557">5</cx:pt>
          <cx:pt idx="77558">1</cx:pt>
          <cx:pt idx="77559">4</cx:pt>
          <cx:pt idx="77560">5</cx:pt>
          <cx:pt idx="77561">3</cx:pt>
          <cx:pt idx="77562">5</cx:pt>
          <cx:pt idx="77563">1</cx:pt>
          <cx:pt idx="77564">5</cx:pt>
          <cx:pt idx="77565">3</cx:pt>
          <cx:pt idx="77566">5</cx:pt>
          <cx:pt idx="77567">1</cx:pt>
          <cx:pt idx="77568">3</cx:pt>
          <cx:pt idx="77569">3</cx:pt>
          <cx:pt idx="77570">4</cx:pt>
          <cx:pt idx="77571">5</cx:pt>
          <cx:pt idx="77572">3</cx:pt>
          <cx:pt idx="77573">5</cx:pt>
          <cx:pt idx="77574">5</cx:pt>
          <cx:pt idx="77575">4</cx:pt>
          <cx:pt idx="77576">1</cx:pt>
          <cx:pt idx="77577">4</cx:pt>
          <cx:pt idx="77578">1</cx:pt>
          <cx:pt idx="77579">2</cx:pt>
          <cx:pt idx="77580">4</cx:pt>
          <cx:pt idx="77581">3</cx:pt>
          <cx:pt idx="77582">3</cx:pt>
          <cx:pt idx="77583">5</cx:pt>
          <cx:pt idx="77584">1</cx:pt>
          <cx:pt idx="77585">3</cx:pt>
          <cx:pt idx="77586">3</cx:pt>
          <cx:pt idx="77587">4</cx:pt>
          <cx:pt idx="77588">3</cx:pt>
          <cx:pt idx="77589">4</cx:pt>
          <cx:pt idx="77590">2</cx:pt>
          <cx:pt idx="77591">1</cx:pt>
          <cx:pt idx="77592">4</cx:pt>
          <cx:pt idx="77593">2</cx:pt>
          <cx:pt idx="77594">1</cx:pt>
          <cx:pt idx="77595">2</cx:pt>
          <cx:pt idx="77596">5</cx:pt>
          <cx:pt idx="77597">2</cx:pt>
          <cx:pt idx="77598">3</cx:pt>
          <cx:pt idx="77599">4</cx:pt>
          <cx:pt idx="77600">2</cx:pt>
          <cx:pt idx="77601">4</cx:pt>
          <cx:pt idx="77602">4</cx:pt>
          <cx:pt idx="77603">3</cx:pt>
          <cx:pt idx="77604">4</cx:pt>
          <cx:pt idx="77605">3</cx:pt>
          <cx:pt idx="77606">1</cx:pt>
          <cx:pt idx="77607">2</cx:pt>
          <cx:pt idx="77608">3</cx:pt>
          <cx:pt idx="77609">1</cx:pt>
          <cx:pt idx="77610">2</cx:pt>
          <cx:pt idx="77611">5</cx:pt>
          <cx:pt idx="77612">1</cx:pt>
          <cx:pt idx="77613">3</cx:pt>
          <cx:pt idx="77614">4</cx:pt>
          <cx:pt idx="77615">5</cx:pt>
          <cx:pt idx="77616">4</cx:pt>
          <cx:pt idx="77617">1</cx:pt>
          <cx:pt idx="77618">3</cx:pt>
          <cx:pt idx="77619">4</cx:pt>
          <cx:pt idx="77620">3</cx:pt>
          <cx:pt idx="77621">0</cx:pt>
          <cx:pt idx="77622">5</cx:pt>
          <cx:pt idx="77623">5</cx:pt>
          <cx:pt idx="77624">4</cx:pt>
          <cx:pt idx="77625">4</cx:pt>
          <cx:pt idx="77626">1</cx:pt>
          <cx:pt idx="77627">1</cx:pt>
          <cx:pt idx="77628">5</cx:pt>
          <cx:pt idx="77629">3</cx:pt>
          <cx:pt idx="77630">4</cx:pt>
          <cx:pt idx="77631">1</cx:pt>
          <cx:pt idx="77632">3</cx:pt>
          <cx:pt idx="77633">3</cx:pt>
          <cx:pt idx="77634">5</cx:pt>
          <cx:pt idx="77635">5</cx:pt>
          <cx:pt idx="77636">5</cx:pt>
          <cx:pt idx="77637">3</cx:pt>
          <cx:pt idx="77638">1</cx:pt>
          <cx:pt idx="77639">0</cx:pt>
          <cx:pt idx="77640">2</cx:pt>
          <cx:pt idx="77641">2</cx:pt>
          <cx:pt idx="77642">2</cx:pt>
          <cx:pt idx="77643">3</cx:pt>
          <cx:pt idx="77644">2</cx:pt>
          <cx:pt idx="77645">1</cx:pt>
          <cx:pt idx="77646">2</cx:pt>
          <cx:pt idx="77647">2</cx:pt>
          <cx:pt idx="77648">3</cx:pt>
          <cx:pt idx="77649">3</cx:pt>
          <cx:pt idx="77650">3</cx:pt>
          <cx:pt idx="77651">3</cx:pt>
          <cx:pt idx="77652">3</cx:pt>
          <cx:pt idx="77653">5</cx:pt>
          <cx:pt idx="77654">0</cx:pt>
          <cx:pt idx="77655">5</cx:pt>
          <cx:pt idx="77656">2</cx:pt>
          <cx:pt idx="77657">4</cx:pt>
          <cx:pt idx="77658">2</cx:pt>
          <cx:pt idx="77659">0</cx:pt>
          <cx:pt idx="77660">2</cx:pt>
          <cx:pt idx="77661">4</cx:pt>
          <cx:pt idx="77662">1</cx:pt>
          <cx:pt idx="77663">2</cx:pt>
          <cx:pt idx="77664">3</cx:pt>
          <cx:pt idx="77665">4</cx:pt>
          <cx:pt idx="77666">2</cx:pt>
          <cx:pt idx="77667">5</cx:pt>
          <cx:pt idx="77668">1</cx:pt>
          <cx:pt idx="77669">2</cx:pt>
          <cx:pt idx="77670">3</cx:pt>
          <cx:pt idx="77671">5</cx:pt>
          <cx:pt idx="77672">2</cx:pt>
          <cx:pt idx="77673">4</cx:pt>
          <cx:pt idx="77674">4</cx:pt>
          <cx:pt idx="77675">3</cx:pt>
          <cx:pt idx="77676">1</cx:pt>
          <cx:pt idx="77677">3</cx:pt>
          <cx:pt idx="77678">3</cx:pt>
          <cx:pt idx="77679">2</cx:pt>
          <cx:pt idx="77680">2</cx:pt>
          <cx:pt idx="77681">4</cx:pt>
          <cx:pt idx="77682">4</cx:pt>
          <cx:pt idx="77683">4</cx:pt>
          <cx:pt idx="77684">3</cx:pt>
          <cx:pt idx="77685">2</cx:pt>
          <cx:pt idx="77686">5</cx:pt>
          <cx:pt idx="77687">1</cx:pt>
          <cx:pt idx="77688">5</cx:pt>
          <cx:pt idx="77689">2</cx:pt>
          <cx:pt idx="77690">4</cx:pt>
          <cx:pt idx="77691">1</cx:pt>
          <cx:pt idx="77692">1</cx:pt>
          <cx:pt idx="77693">1</cx:pt>
          <cx:pt idx="77694">1</cx:pt>
          <cx:pt idx="77695">3</cx:pt>
          <cx:pt idx="77696">2</cx:pt>
          <cx:pt idx="77697">5</cx:pt>
          <cx:pt idx="77698">3</cx:pt>
          <cx:pt idx="77699">4</cx:pt>
          <cx:pt idx="77700">2</cx:pt>
          <cx:pt idx="77701">2</cx:pt>
          <cx:pt idx="77702">5</cx:pt>
          <cx:pt idx="77703">1</cx:pt>
          <cx:pt idx="77704">2</cx:pt>
          <cx:pt idx="77705">5</cx:pt>
          <cx:pt idx="77706">4</cx:pt>
          <cx:pt idx="77707">1</cx:pt>
          <cx:pt idx="77708">4</cx:pt>
          <cx:pt idx="77709">3</cx:pt>
          <cx:pt idx="77710">2</cx:pt>
          <cx:pt idx="77711">2</cx:pt>
          <cx:pt idx="77712">0</cx:pt>
          <cx:pt idx="77713">2</cx:pt>
          <cx:pt idx="77714">1</cx:pt>
          <cx:pt idx="77715">1</cx:pt>
          <cx:pt idx="77716">5</cx:pt>
          <cx:pt idx="77717">1</cx:pt>
          <cx:pt idx="77718">3</cx:pt>
          <cx:pt idx="77719">4</cx:pt>
          <cx:pt idx="77720">2</cx:pt>
          <cx:pt idx="77721">5</cx:pt>
          <cx:pt idx="77722">2</cx:pt>
          <cx:pt idx="77723">3</cx:pt>
          <cx:pt idx="77724">1</cx:pt>
          <cx:pt idx="77725">5</cx:pt>
          <cx:pt idx="77726">3</cx:pt>
          <cx:pt idx="77727">1</cx:pt>
          <cx:pt idx="77728">3</cx:pt>
          <cx:pt idx="77729">1</cx:pt>
          <cx:pt idx="77730">5</cx:pt>
          <cx:pt idx="77731">5</cx:pt>
          <cx:pt idx="77732">1</cx:pt>
          <cx:pt idx="77733">3</cx:pt>
          <cx:pt idx="77734">5</cx:pt>
          <cx:pt idx="77735">4</cx:pt>
          <cx:pt idx="77736">1</cx:pt>
          <cx:pt idx="77737">3</cx:pt>
          <cx:pt idx="77738">2</cx:pt>
          <cx:pt idx="77739">4</cx:pt>
          <cx:pt idx="77740">3</cx:pt>
          <cx:pt idx="77741">5</cx:pt>
          <cx:pt idx="77742">3</cx:pt>
          <cx:pt idx="77743">2</cx:pt>
          <cx:pt idx="77744">3</cx:pt>
          <cx:pt idx="77745">2</cx:pt>
          <cx:pt idx="77746">3</cx:pt>
          <cx:pt idx="77747">0</cx:pt>
          <cx:pt idx="77748">1</cx:pt>
          <cx:pt idx="77749">2</cx:pt>
          <cx:pt idx="77750">4</cx:pt>
          <cx:pt idx="77751">2</cx:pt>
          <cx:pt idx="77752">2</cx:pt>
          <cx:pt idx="77753">4</cx:pt>
          <cx:pt idx="77754">3</cx:pt>
          <cx:pt idx="77755">1</cx:pt>
          <cx:pt idx="77756">3</cx:pt>
          <cx:pt idx="77757">0</cx:pt>
          <cx:pt idx="77758">5</cx:pt>
          <cx:pt idx="77759">2</cx:pt>
          <cx:pt idx="77760">2</cx:pt>
          <cx:pt idx="77761">2</cx:pt>
          <cx:pt idx="77762">1</cx:pt>
          <cx:pt idx="77763">5</cx:pt>
          <cx:pt idx="77764">4</cx:pt>
          <cx:pt idx="77765">4</cx:pt>
          <cx:pt idx="77766">1</cx:pt>
          <cx:pt idx="77767">2</cx:pt>
          <cx:pt idx="77768">2</cx:pt>
          <cx:pt idx="77769">1</cx:pt>
          <cx:pt idx="77770">3</cx:pt>
          <cx:pt idx="77771">2</cx:pt>
          <cx:pt idx="77772">5</cx:pt>
          <cx:pt idx="77773">5</cx:pt>
          <cx:pt idx="77774">5</cx:pt>
          <cx:pt idx="77775">5</cx:pt>
          <cx:pt idx="77776">2</cx:pt>
          <cx:pt idx="77777">2</cx:pt>
          <cx:pt idx="77778">3</cx:pt>
          <cx:pt idx="77779">1</cx:pt>
          <cx:pt idx="77780">4</cx:pt>
          <cx:pt idx="77781">2</cx:pt>
          <cx:pt idx="77782">3</cx:pt>
          <cx:pt idx="77783">1</cx:pt>
          <cx:pt idx="77784">2</cx:pt>
          <cx:pt idx="77785">1</cx:pt>
          <cx:pt idx="77786">0</cx:pt>
          <cx:pt idx="77787">1</cx:pt>
          <cx:pt idx="77788">1</cx:pt>
          <cx:pt idx="77789">4</cx:pt>
          <cx:pt idx="77790">2</cx:pt>
          <cx:pt idx="77791">1</cx:pt>
          <cx:pt idx="77792">3</cx:pt>
          <cx:pt idx="77793">2</cx:pt>
          <cx:pt idx="77794">3</cx:pt>
          <cx:pt idx="77795">2</cx:pt>
          <cx:pt idx="77796">1</cx:pt>
          <cx:pt idx="77797">3</cx:pt>
          <cx:pt idx="77798">5</cx:pt>
          <cx:pt idx="77799">2</cx:pt>
          <cx:pt idx="77800">3</cx:pt>
          <cx:pt idx="77801">5</cx:pt>
          <cx:pt idx="77802">1</cx:pt>
          <cx:pt idx="77803">4</cx:pt>
          <cx:pt idx="77804">5</cx:pt>
          <cx:pt idx="77805">1</cx:pt>
          <cx:pt idx="77806">2</cx:pt>
          <cx:pt idx="77807">2</cx:pt>
          <cx:pt idx="77808">5</cx:pt>
          <cx:pt idx="77809">2</cx:pt>
          <cx:pt idx="77810">3</cx:pt>
          <cx:pt idx="77811">5</cx:pt>
          <cx:pt idx="77812">1</cx:pt>
          <cx:pt idx="77813">3</cx:pt>
          <cx:pt idx="77814">1</cx:pt>
          <cx:pt idx="77815">3</cx:pt>
          <cx:pt idx="77816">1</cx:pt>
          <cx:pt idx="77817">1</cx:pt>
          <cx:pt idx="77818">3</cx:pt>
          <cx:pt idx="77819">4</cx:pt>
          <cx:pt idx="77820">0</cx:pt>
          <cx:pt idx="77821">4</cx:pt>
          <cx:pt idx="77822">3</cx:pt>
          <cx:pt idx="77823">1</cx:pt>
          <cx:pt idx="77824">4</cx:pt>
          <cx:pt idx="77825">4</cx:pt>
          <cx:pt idx="77826">2</cx:pt>
          <cx:pt idx="77827">5</cx:pt>
          <cx:pt idx="77828">1</cx:pt>
          <cx:pt idx="77829">2</cx:pt>
          <cx:pt idx="77830">3</cx:pt>
          <cx:pt idx="77831">4</cx:pt>
          <cx:pt idx="77832">1</cx:pt>
          <cx:pt idx="77833">3</cx:pt>
          <cx:pt idx="77834">4</cx:pt>
          <cx:pt idx="77835">3</cx:pt>
          <cx:pt idx="77836">1</cx:pt>
          <cx:pt idx="77837">2</cx:pt>
          <cx:pt idx="77838">3</cx:pt>
          <cx:pt idx="77839">3</cx:pt>
          <cx:pt idx="77840">4</cx:pt>
          <cx:pt idx="77841">4</cx:pt>
          <cx:pt idx="77842">2</cx:pt>
          <cx:pt idx="77843">5</cx:pt>
          <cx:pt idx="77844">4</cx:pt>
          <cx:pt idx="77845">1</cx:pt>
          <cx:pt idx="77846">2</cx:pt>
          <cx:pt idx="77847">2</cx:pt>
          <cx:pt idx="77848">0</cx:pt>
          <cx:pt idx="77849">3</cx:pt>
          <cx:pt idx="77850">4</cx:pt>
          <cx:pt idx="77851">5</cx:pt>
          <cx:pt idx="77852">1</cx:pt>
          <cx:pt idx="77853">3</cx:pt>
          <cx:pt idx="77854">1</cx:pt>
          <cx:pt idx="77855">1</cx:pt>
          <cx:pt idx="77856">5</cx:pt>
          <cx:pt idx="77857">2</cx:pt>
          <cx:pt idx="77858">2</cx:pt>
          <cx:pt idx="77859">2</cx:pt>
          <cx:pt idx="77860">2</cx:pt>
          <cx:pt idx="77861">3</cx:pt>
          <cx:pt idx="77862">4</cx:pt>
          <cx:pt idx="77863">2</cx:pt>
          <cx:pt idx="77864">3</cx:pt>
          <cx:pt idx="77865">3</cx:pt>
          <cx:pt idx="77866">4</cx:pt>
          <cx:pt idx="77867">5</cx:pt>
          <cx:pt idx="77868">4</cx:pt>
          <cx:pt idx="77869">3</cx:pt>
          <cx:pt idx="77870">4</cx:pt>
          <cx:pt idx="77871">1</cx:pt>
          <cx:pt idx="77872">1</cx:pt>
          <cx:pt idx="77873">1</cx:pt>
          <cx:pt idx="77874">2</cx:pt>
          <cx:pt idx="77875">4</cx:pt>
          <cx:pt idx="77876">5</cx:pt>
          <cx:pt idx="77877">1</cx:pt>
          <cx:pt idx="77878">3</cx:pt>
          <cx:pt idx="77879">4</cx:pt>
          <cx:pt idx="77880">1</cx:pt>
          <cx:pt idx="77881">0</cx:pt>
          <cx:pt idx="77882">2</cx:pt>
          <cx:pt idx="77883">5</cx:pt>
          <cx:pt idx="77884">5</cx:pt>
          <cx:pt idx="77885">3</cx:pt>
          <cx:pt idx="77886">3</cx:pt>
          <cx:pt idx="77887">4</cx:pt>
          <cx:pt idx="77888">1</cx:pt>
          <cx:pt idx="77889">2</cx:pt>
          <cx:pt idx="77890">1</cx:pt>
          <cx:pt idx="77891">0</cx:pt>
          <cx:pt idx="77892">3</cx:pt>
          <cx:pt idx="77893">1</cx:pt>
          <cx:pt idx="77894">4</cx:pt>
          <cx:pt idx="77895">1</cx:pt>
          <cx:pt idx="77896">2</cx:pt>
          <cx:pt idx="77897">3</cx:pt>
          <cx:pt idx="77898">3</cx:pt>
          <cx:pt idx="77899">2</cx:pt>
          <cx:pt idx="77900">2</cx:pt>
          <cx:pt idx="77901">1</cx:pt>
          <cx:pt idx="77902">3</cx:pt>
          <cx:pt idx="77903">4</cx:pt>
          <cx:pt idx="77904">2</cx:pt>
          <cx:pt idx="77905">2</cx:pt>
          <cx:pt idx="77906">2</cx:pt>
          <cx:pt idx="77907">3</cx:pt>
          <cx:pt idx="77908">3</cx:pt>
          <cx:pt idx="77909">3</cx:pt>
          <cx:pt idx="77910">4</cx:pt>
          <cx:pt idx="77911">5</cx:pt>
          <cx:pt idx="77912">1</cx:pt>
          <cx:pt idx="77913">4</cx:pt>
          <cx:pt idx="77914">1</cx:pt>
          <cx:pt idx="77915">3</cx:pt>
          <cx:pt idx="77916">2</cx:pt>
          <cx:pt idx="77917">1</cx:pt>
          <cx:pt idx="77918">5</cx:pt>
          <cx:pt idx="77919">3</cx:pt>
          <cx:pt idx="77920">3</cx:pt>
          <cx:pt idx="77921">4</cx:pt>
          <cx:pt idx="77922">3</cx:pt>
          <cx:pt idx="77923">1</cx:pt>
          <cx:pt idx="77924">3</cx:pt>
          <cx:pt idx="77925">1</cx:pt>
          <cx:pt idx="77926">2</cx:pt>
          <cx:pt idx="77927">1</cx:pt>
          <cx:pt idx="77928">1</cx:pt>
          <cx:pt idx="77929">3</cx:pt>
          <cx:pt idx="77930">1</cx:pt>
          <cx:pt idx="77931">1</cx:pt>
          <cx:pt idx="77932">1</cx:pt>
          <cx:pt idx="77933">0</cx:pt>
          <cx:pt idx="77934">3</cx:pt>
          <cx:pt idx="77935">3</cx:pt>
          <cx:pt idx="77936">2</cx:pt>
          <cx:pt idx="77937">2</cx:pt>
          <cx:pt idx="77938">3</cx:pt>
          <cx:pt idx="77939">2</cx:pt>
          <cx:pt idx="77940">5</cx:pt>
          <cx:pt idx="77941">4</cx:pt>
          <cx:pt idx="77942">4</cx:pt>
          <cx:pt idx="77943">4</cx:pt>
          <cx:pt idx="77944">4</cx:pt>
          <cx:pt idx="77945">4</cx:pt>
          <cx:pt idx="77946">1</cx:pt>
          <cx:pt idx="77947">3</cx:pt>
          <cx:pt idx="77948">2</cx:pt>
          <cx:pt idx="77949">5</cx:pt>
          <cx:pt idx="77950">3</cx:pt>
          <cx:pt idx="77951">1</cx:pt>
          <cx:pt idx="77952">3</cx:pt>
          <cx:pt idx="77953">1</cx:pt>
          <cx:pt idx="77954">2</cx:pt>
          <cx:pt idx="77955">3</cx:pt>
          <cx:pt idx="77956">3</cx:pt>
          <cx:pt idx="77957">4</cx:pt>
          <cx:pt idx="77958">0</cx:pt>
          <cx:pt idx="77959">5</cx:pt>
          <cx:pt idx="77960">3</cx:pt>
          <cx:pt idx="77961">1</cx:pt>
          <cx:pt idx="77962">4</cx:pt>
          <cx:pt idx="77963">2</cx:pt>
          <cx:pt idx="77964">3</cx:pt>
          <cx:pt idx="77965">4</cx:pt>
          <cx:pt idx="77966">3</cx:pt>
          <cx:pt idx="77967">0</cx:pt>
          <cx:pt idx="77968">5</cx:pt>
          <cx:pt idx="77969">5</cx:pt>
          <cx:pt idx="77970">3</cx:pt>
          <cx:pt idx="77971">3</cx:pt>
          <cx:pt idx="77972">5</cx:pt>
          <cx:pt idx="77973">2</cx:pt>
          <cx:pt idx="77974">4</cx:pt>
          <cx:pt idx="77975">2</cx:pt>
          <cx:pt idx="77976">4</cx:pt>
          <cx:pt idx="77977">1</cx:pt>
          <cx:pt idx="77978">2</cx:pt>
          <cx:pt idx="77979">4</cx:pt>
          <cx:pt idx="77980">5</cx:pt>
          <cx:pt idx="77981">3</cx:pt>
          <cx:pt idx="77982">5</cx:pt>
          <cx:pt idx="77983">4</cx:pt>
          <cx:pt idx="77984">2</cx:pt>
          <cx:pt idx="77985">1</cx:pt>
          <cx:pt idx="77986">1</cx:pt>
          <cx:pt idx="77987">5</cx:pt>
          <cx:pt idx="77988">4</cx:pt>
          <cx:pt idx="77989">2</cx:pt>
          <cx:pt idx="77990">2</cx:pt>
          <cx:pt idx="77991">3</cx:pt>
          <cx:pt idx="77992">2</cx:pt>
          <cx:pt idx="77993">4</cx:pt>
          <cx:pt idx="77994">2</cx:pt>
          <cx:pt idx="77995">5</cx:pt>
          <cx:pt idx="77996">5</cx:pt>
          <cx:pt idx="77997">2</cx:pt>
          <cx:pt idx="77998">3</cx:pt>
          <cx:pt idx="77999">5</cx:pt>
          <cx:pt idx="78000">4</cx:pt>
          <cx:pt idx="78001">5</cx:pt>
          <cx:pt idx="78002">1</cx:pt>
          <cx:pt idx="78003">4</cx:pt>
          <cx:pt idx="78004">3</cx:pt>
          <cx:pt idx="78005">3</cx:pt>
          <cx:pt idx="78006">3</cx:pt>
          <cx:pt idx="78007">1</cx:pt>
          <cx:pt idx="78008">2</cx:pt>
          <cx:pt idx="78009">2</cx:pt>
          <cx:pt idx="78010">3</cx:pt>
          <cx:pt idx="78011">1</cx:pt>
          <cx:pt idx="78012">3</cx:pt>
          <cx:pt idx="78013">5</cx:pt>
          <cx:pt idx="78014">4</cx:pt>
          <cx:pt idx="78015">3</cx:pt>
          <cx:pt idx="78016">5</cx:pt>
          <cx:pt idx="78017">2</cx:pt>
          <cx:pt idx="78018">2</cx:pt>
          <cx:pt idx="78019">1</cx:pt>
          <cx:pt idx="78020">1</cx:pt>
          <cx:pt idx="78021">3</cx:pt>
          <cx:pt idx="78022">3</cx:pt>
          <cx:pt idx="78023">4</cx:pt>
          <cx:pt idx="78024">4</cx:pt>
          <cx:pt idx="78025">3</cx:pt>
          <cx:pt idx="78026">3</cx:pt>
          <cx:pt idx="78027">3</cx:pt>
          <cx:pt idx="78028">1</cx:pt>
          <cx:pt idx="78029">3</cx:pt>
          <cx:pt idx="78030">3</cx:pt>
          <cx:pt idx="78031">3</cx:pt>
          <cx:pt idx="78032">5</cx:pt>
          <cx:pt idx="78033">4</cx:pt>
          <cx:pt idx="78034">5</cx:pt>
          <cx:pt idx="78035">4</cx:pt>
          <cx:pt idx="78036">2</cx:pt>
          <cx:pt idx="78037">5</cx:pt>
          <cx:pt idx="78038">2</cx:pt>
          <cx:pt idx="78039">5</cx:pt>
          <cx:pt idx="78040">3</cx:pt>
          <cx:pt idx="78041">1</cx:pt>
          <cx:pt idx="78042">1</cx:pt>
          <cx:pt idx="78043">3</cx:pt>
          <cx:pt idx="78044">1</cx:pt>
          <cx:pt idx="78045">1</cx:pt>
          <cx:pt idx="78046">5</cx:pt>
          <cx:pt idx="78047">3</cx:pt>
          <cx:pt idx="78048">2</cx:pt>
          <cx:pt idx="78049">3</cx:pt>
          <cx:pt idx="78050">2</cx:pt>
          <cx:pt idx="78051">3</cx:pt>
          <cx:pt idx="78052">0</cx:pt>
          <cx:pt idx="78053">3</cx:pt>
          <cx:pt idx="78054">4</cx:pt>
          <cx:pt idx="78055">4</cx:pt>
          <cx:pt idx="78056">4</cx:pt>
          <cx:pt idx="78057">2</cx:pt>
          <cx:pt idx="78058">2</cx:pt>
          <cx:pt idx="78059">4</cx:pt>
          <cx:pt idx="78060">0</cx:pt>
          <cx:pt idx="78061">4</cx:pt>
          <cx:pt idx="78062">5</cx:pt>
          <cx:pt idx="78063">2</cx:pt>
          <cx:pt idx="78064">2</cx:pt>
          <cx:pt idx="78065">5</cx:pt>
          <cx:pt idx="78066">3</cx:pt>
          <cx:pt idx="78067">4</cx:pt>
          <cx:pt idx="78068">4</cx:pt>
          <cx:pt idx="78069">0</cx:pt>
          <cx:pt idx="78070">3</cx:pt>
          <cx:pt idx="78071">1</cx:pt>
          <cx:pt idx="78072">5</cx:pt>
          <cx:pt idx="78073">4</cx:pt>
          <cx:pt idx="78074">5</cx:pt>
          <cx:pt idx="78075">5</cx:pt>
          <cx:pt idx="78076">2</cx:pt>
          <cx:pt idx="78077">1</cx:pt>
          <cx:pt idx="78078">2</cx:pt>
          <cx:pt idx="78079">0</cx:pt>
          <cx:pt idx="78080">2</cx:pt>
          <cx:pt idx="78081">2</cx:pt>
          <cx:pt idx="78082">4</cx:pt>
          <cx:pt idx="78083">1</cx:pt>
          <cx:pt idx="78084">4</cx:pt>
          <cx:pt idx="78085">0</cx:pt>
          <cx:pt idx="78086">3</cx:pt>
          <cx:pt idx="78087">4</cx:pt>
          <cx:pt idx="78088">4</cx:pt>
          <cx:pt idx="78089">2</cx:pt>
          <cx:pt idx="78090">5</cx:pt>
          <cx:pt idx="78091">2</cx:pt>
          <cx:pt idx="78092">3</cx:pt>
          <cx:pt idx="78093">3</cx:pt>
          <cx:pt idx="78094">2</cx:pt>
          <cx:pt idx="78095">5</cx:pt>
          <cx:pt idx="78096">4</cx:pt>
          <cx:pt idx="78097">1</cx:pt>
          <cx:pt idx="78098">2</cx:pt>
          <cx:pt idx="78099">5</cx:pt>
          <cx:pt idx="78100">4</cx:pt>
          <cx:pt idx="78101">3</cx:pt>
          <cx:pt idx="78102">3</cx:pt>
          <cx:pt idx="78103">5</cx:pt>
          <cx:pt idx="78104">1</cx:pt>
          <cx:pt idx="78105">3</cx:pt>
          <cx:pt idx="78106">2</cx:pt>
          <cx:pt idx="78107">5</cx:pt>
          <cx:pt idx="78108">4</cx:pt>
          <cx:pt idx="78109">2</cx:pt>
          <cx:pt idx="78110">3</cx:pt>
          <cx:pt idx="78111">3</cx:pt>
          <cx:pt idx="78112">2</cx:pt>
          <cx:pt idx="78113">4</cx:pt>
          <cx:pt idx="78114">3</cx:pt>
          <cx:pt idx="78115">5</cx:pt>
          <cx:pt idx="78116">2</cx:pt>
          <cx:pt idx="78117">5</cx:pt>
          <cx:pt idx="78118">2</cx:pt>
          <cx:pt idx="78119">3</cx:pt>
          <cx:pt idx="78120">1</cx:pt>
          <cx:pt idx="78121">2</cx:pt>
          <cx:pt idx="78122">2</cx:pt>
          <cx:pt idx="78123">2</cx:pt>
          <cx:pt idx="78124">1</cx:pt>
          <cx:pt idx="78125">3</cx:pt>
          <cx:pt idx="78126">1</cx:pt>
          <cx:pt idx="78127">2</cx:pt>
          <cx:pt idx="78128">3</cx:pt>
          <cx:pt idx="78129">2</cx:pt>
          <cx:pt idx="78130">1</cx:pt>
          <cx:pt idx="78131">3</cx:pt>
          <cx:pt idx="78132">1</cx:pt>
          <cx:pt idx="78133">3</cx:pt>
          <cx:pt idx="78134">4</cx:pt>
          <cx:pt idx="78135">4</cx:pt>
          <cx:pt idx="78136">1</cx:pt>
          <cx:pt idx="78137">3</cx:pt>
          <cx:pt idx="78138">3</cx:pt>
          <cx:pt idx="78139">4</cx:pt>
          <cx:pt idx="78140">2</cx:pt>
          <cx:pt idx="78141">2</cx:pt>
          <cx:pt idx="78142">3</cx:pt>
          <cx:pt idx="78143">1</cx:pt>
          <cx:pt idx="78144">4</cx:pt>
          <cx:pt idx="78145">3</cx:pt>
          <cx:pt idx="78146">3</cx:pt>
          <cx:pt idx="78147">4</cx:pt>
          <cx:pt idx="78148">5</cx:pt>
          <cx:pt idx="78149">4</cx:pt>
          <cx:pt idx="78150">2</cx:pt>
          <cx:pt idx="78151">3</cx:pt>
          <cx:pt idx="78152">3</cx:pt>
          <cx:pt idx="78153">2</cx:pt>
          <cx:pt idx="78154">4</cx:pt>
          <cx:pt idx="78155">4</cx:pt>
          <cx:pt idx="78156">4</cx:pt>
          <cx:pt idx="78157">4</cx:pt>
          <cx:pt idx="78158">4</cx:pt>
          <cx:pt idx="78159">5</cx:pt>
          <cx:pt idx="78160">2</cx:pt>
          <cx:pt idx="78161">2</cx:pt>
          <cx:pt idx="78162">3</cx:pt>
          <cx:pt idx="78163">2</cx:pt>
          <cx:pt idx="78164">4</cx:pt>
          <cx:pt idx="78165">1</cx:pt>
          <cx:pt idx="78166">3</cx:pt>
          <cx:pt idx="78167">3</cx:pt>
          <cx:pt idx="78168">5</cx:pt>
          <cx:pt idx="78169">3</cx:pt>
          <cx:pt idx="78170">2</cx:pt>
          <cx:pt idx="78171">1</cx:pt>
          <cx:pt idx="78172">5</cx:pt>
          <cx:pt idx="78173">1</cx:pt>
          <cx:pt idx="78174">0</cx:pt>
          <cx:pt idx="78175">4</cx:pt>
          <cx:pt idx="78176">4</cx:pt>
          <cx:pt idx="78177">4</cx:pt>
          <cx:pt idx="78178">1</cx:pt>
          <cx:pt idx="78179">1</cx:pt>
          <cx:pt idx="78180">2</cx:pt>
          <cx:pt idx="78181">5</cx:pt>
          <cx:pt idx="78182">3</cx:pt>
          <cx:pt idx="78183">3</cx:pt>
          <cx:pt idx="78184">5</cx:pt>
          <cx:pt idx="78185">3</cx:pt>
          <cx:pt idx="78186">5</cx:pt>
          <cx:pt idx="78187">1</cx:pt>
          <cx:pt idx="78188">5</cx:pt>
          <cx:pt idx="78189">0</cx:pt>
          <cx:pt idx="78190">3</cx:pt>
          <cx:pt idx="78191">3</cx:pt>
          <cx:pt idx="78192">3</cx:pt>
          <cx:pt idx="78193">4</cx:pt>
          <cx:pt idx="78194">3</cx:pt>
          <cx:pt idx="78195">2</cx:pt>
          <cx:pt idx="78196">2</cx:pt>
          <cx:pt idx="78197">4</cx:pt>
          <cx:pt idx="78198">2</cx:pt>
          <cx:pt idx="78199">1</cx:pt>
          <cx:pt idx="78200">4</cx:pt>
          <cx:pt idx="78201">3</cx:pt>
          <cx:pt idx="78202">3</cx:pt>
          <cx:pt idx="78203">1</cx:pt>
          <cx:pt idx="78204">4</cx:pt>
          <cx:pt idx="78205">3</cx:pt>
          <cx:pt idx="78206">1</cx:pt>
          <cx:pt idx="78207">2</cx:pt>
          <cx:pt idx="78208">3</cx:pt>
          <cx:pt idx="78209">2</cx:pt>
          <cx:pt idx="78210">2</cx:pt>
          <cx:pt idx="78211">3</cx:pt>
          <cx:pt idx="78212">1</cx:pt>
          <cx:pt idx="78213">2</cx:pt>
          <cx:pt idx="78214">3</cx:pt>
          <cx:pt idx="78215">1</cx:pt>
          <cx:pt idx="78216">4</cx:pt>
          <cx:pt idx="78217">4</cx:pt>
          <cx:pt idx="78218">0</cx:pt>
          <cx:pt idx="78219">1</cx:pt>
          <cx:pt idx="78220">5</cx:pt>
          <cx:pt idx="78221">1</cx:pt>
          <cx:pt idx="78222">3</cx:pt>
          <cx:pt idx="78223">2</cx:pt>
          <cx:pt idx="78224">1</cx:pt>
          <cx:pt idx="78225">2</cx:pt>
          <cx:pt idx="78226">5</cx:pt>
          <cx:pt idx="78227">3</cx:pt>
          <cx:pt idx="78228">1</cx:pt>
          <cx:pt idx="78229">3</cx:pt>
          <cx:pt idx="78230">3</cx:pt>
          <cx:pt idx="78231">4</cx:pt>
          <cx:pt idx="78232">3</cx:pt>
          <cx:pt idx="78233">5</cx:pt>
          <cx:pt idx="78234">2</cx:pt>
          <cx:pt idx="78235">3</cx:pt>
          <cx:pt idx="78236">4</cx:pt>
          <cx:pt idx="78237">3</cx:pt>
          <cx:pt idx="78238">5</cx:pt>
          <cx:pt idx="78239">4</cx:pt>
          <cx:pt idx="78240">3</cx:pt>
          <cx:pt idx="78241">5</cx:pt>
          <cx:pt idx="78242">2</cx:pt>
          <cx:pt idx="78243">5</cx:pt>
          <cx:pt idx="78244">1</cx:pt>
          <cx:pt idx="78245">1</cx:pt>
          <cx:pt idx="78246">4</cx:pt>
          <cx:pt idx="78247">0</cx:pt>
          <cx:pt idx="78248">2</cx:pt>
          <cx:pt idx="78249">2</cx:pt>
          <cx:pt idx="78250">2</cx:pt>
          <cx:pt idx="78251">5</cx:pt>
          <cx:pt idx="78252">5</cx:pt>
          <cx:pt idx="78253">3</cx:pt>
          <cx:pt idx="78254">3</cx:pt>
          <cx:pt idx="78255">2</cx:pt>
          <cx:pt idx="78256">0</cx:pt>
          <cx:pt idx="78257">5</cx:pt>
          <cx:pt idx="78258">3</cx:pt>
          <cx:pt idx="78259">5</cx:pt>
          <cx:pt idx="78260">1</cx:pt>
          <cx:pt idx="78261">5</cx:pt>
          <cx:pt idx="78262">5</cx:pt>
          <cx:pt idx="78263">1</cx:pt>
          <cx:pt idx="78264">0</cx:pt>
          <cx:pt idx="78265">4</cx:pt>
          <cx:pt idx="78266">4</cx:pt>
          <cx:pt idx="78267">3</cx:pt>
          <cx:pt idx="78268">3</cx:pt>
          <cx:pt idx="78269">4</cx:pt>
          <cx:pt idx="78270">5</cx:pt>
          <cx:pt idx="78271">4</cx:pt>
          <cx:pt idx="78272">3</cx:pt>
          <cx:pt idx="78273">2</cx:pt>
          <cx:pt idx="78274">3</cx:pt>
          <cx:pt idx="78275">3</cx:pt>
          <cx:pt idx="78276">5</cx:pt>
          <cx:pt idx="78277">3</cx:pt>
          <cx:pt idx="78278">1</cx:pt>
          <cx:pt idx="78279">2</cx:pt>
          <cx:pt idx="78280">0</cx:pt>
          <cx:pt idx="78281">3</cx:pt>
          <cx:pt idx="78282">0</cx:pt>
          <cx:pt idx="78283">2</cx:pt>
          <cx:pt idx="78284">3</cx:pt>
          <cx:pt idx="78285">2</cx:pt>
          <cx:pt idx="78286">3</cx:pt>
          <cx:pt idx="78287">3</cx:pt>
          <cx:pt idx="78288">1</cx:pt>
          <cx:pt idx="78289">1</cx:pt>
          <cx:pt idx="78290">4</cx:pt>
          <cx:pt idx="78291">2</cx:pt>
          <cx:pt idx="78292">1</cx:pt>
          <cx:pt idx="78293">2</cx:pt>
          <cx:pt idx="78294">5</cx:pt>
          <cx:pt idx="78295">4</cx:pt>
          <cx:pt idx="78296">2</cx:pt>
          <cx:pt idx="78297">4</cx:pt>
          <cx:pt idx="78298">5</cx:pt>
          <cx:pt idx="78299">2</cx:pt>
          <cx:pt idx="78300">3</cx:pt>
          <cx:pt idx="78301">4</cx:pt>
          <cx:pt idx="78302">2</cx:pt>
          <cx:pt idx="78303">1</cx:pt>
          <cx:pt idx="78304">3</cx:pt>
          <cx:pt idx="78305">3</cx:pt>
          <cx:pt idx="78306">3</cx:pt>
          <cx:pt idx="78307">3</cx:pt>
          <cx:pt idx="78308">1</cx:pt>
          <cx:pt idx="78309">4</cx:pt>
          <cx:pt idx="78310">2</cx:pt>
          <cx:pt idx="78311">4</cx:pt>
          <cx:pt idx="78312">2</cx:pt>
          <cx:pt idx="78313">4</cx:pt>
          <cx:pt idx="78314">1</cx:pt>
          <cx:pt idx="78315">5</cx:pt>
          <cx:pt idx="78316">3</cx:pt>
          <cx:pt idx="78317">2</cx:pt>
          <cx:pt idx="78318">1</cx:pt>
          <cx:pt idx="78319">3</cx:pt>
          <cx:pt idx="78320">3</cx:pt>
          <cx:pt idx="78321">1</cx:pt>
          <cx:pt idx="78322">1</cx:pt>
          <cx:pt idx="78323">2</cx:pt>
          <cx:pt idx="78324">1</cx:pt>
          <cx:pt idx="78325">3</cx:pt>
          <cx:pt idx="78326">1</cx:pt>
          <cx:pt idx="78327">1</cx:pt>
          <cx:pt idx="78328">1</cx:pt>
          <cx:pt idx="78329">2</cx:pt>
          <cx:pt idx="78330">3</cx:pt>
          <cx:pt idx="78331">1</cx:pt>
          <cx:pt idx="78332">1</cx:pt>
          <cx:pt idx="78333">5</cx:pt>
          <cx:pt idx="78334">4</cx:pt>
          <cx:pt idx="78335">5</cx:pt>
          <cx:pt idx="78336">1</cx:pt>
          <cx:pt idx="78337">2</cx:pt>
          <cx:pt idx="78338">0</cx:pt>
          <cx:pt idx="78339">3</cx:pt>
          <cx:pt idx="78340">3</cx:pt>
          <cx:pt idx="78341">3</cx:pt>
          <cx:pt idx="78342">3</cx:pt>
          <cx:pt idx="78343">2</cx:pt>
          <cx:pt idx="78344">1</cx:pt>
          <cx:pt idx="78345">3</cx:pt>
          <cx:pt idx="78346">4</cx:pt>
          <cx:pt idx="78347">5</cx:pt>
          <cx:pt idx="78348">1</cx:pt>
          <cx:pt idx="78349">3</cx:pt>
          <cx:pt idx="78350">2</cx:pt>
          <cx:pt idx="78351">4</cx:pt>
          <cx:pt idx="78352">4</cx:pt>
          <cx:pt idx="78353">3</cx:pt>
          <cx:pt idx="78354">3</cx:pt>
          <cx:pt idx="78355">3</cx:pt>
          <cx:pt idx="78356">2</cx:pt>
          <cx:pt idx="78357">2</cx:pt>
          <cx:pt idx="78358">5</cx:pt>
          <cx:pt idx="78359">1</cx:pt>
          <cx:pt idx="78360">5</cx:pt>
          <cx:pt idx="78361">5</cx:pt>
          <cx:pt idx="78362">3</cx:pt>
          <cx:pt idx="78363">1</cx:pt>
          <cx:pt idx="78364">5</cx:pt>
          <cx:pt idx="78365">3</cx:pt>
          <cx:pt idx="78366">3</cx:pt>
          <cx:pt idx="78367">3</cx:pt>
          <cx:pt idx="78368">2</cx:pt>
          <cx:pt idx="78369">1</cx:pt>
          <cx:pt idx="78370">3</cx:pt>
          <cx:pt idx="78371">3</cx:pt>
          <cx:pt idx="78372">2</cx:pt>
          <cx:pt idx="78373">4</cx:pt>
          <cx:pt idx="78374">2</cx:pt>
          <cx:pt idx="78375">4</cx:pt>
          <cx:pt idx="78376">2</cx:pt>
          <cx:pt idx="78377">3</cx:pt>
          <cx:pt idx="78378">2</cx:pt>
          <cx:pt idx="78379">2</cx:pt>
          <cx:pt idx="78380">5</cx:pt>
          <cx:pt idx="78381">1</cx:pt>
          <cx:pt idx="78382">3</cx:pt>
          <cx:pt idx="78383">3</cx:pt>
          <cx:pt idx="78384">5</cx:pt>
          <cx:pt idx="78385">3</cx:pt>
          <cx:pt idx="78386">2</cx:pt>
          <cx:pt idx="78387">2</cx:pt>
          <cx:pt idx="78388">2</cx:pt>
          <cx:pt idx="78389">5</cx:pt>
          <cx:pt idx="78390">5</cx:pt>
          <cx:pt idx="78391">3</cx:pt>
          <cx:pt idx="78392">3</cx:pt>
          <cx:pt idx="78393">1</cx:pt>
          <cx:pt idx="78394">1</cx:pt>
          <cx:pt idx="78395">3</cx:pt>
          <cx:pt idx="78396">4</cx:pt>
          <cx:pt idx="78397">3</cx:pt>
          <cx:pt idx="78398">0</cx:pt>
          <cx:pt idx="78399">5</cx:pt>
          <cx:pt idx="78400">2</cx:pt>
          <cx:pt idx="78401">2</cx:pt>
          <cx:pt idx="78402">3</cx:pt>
          <cx:pt idx="78403">2</cx:pt>
          <cx:pt idx="78404">4</cx:pt>
          <cx:pt idx="78405">3</cx:pt>
          <cx:pt idx="78406">1</cx:pt>
          <cx:pt idx="78407">2</cx:pt>
          <cx:pt idx="78408">4</cx:pt>
          <cx:pt idx="78409">3</cx:pt>
          <cx:pt idx="78410">4</cx:pt>
          <cx:pt idx="78411">4</cx:pt>
          <cx:pt idx="78412">3</cx:pt>
          <cx:pt idx="78413">3</cx:pt>
          <cx:pt idx="78414">4</cx:pt>
          <cx:pt idx="78415">5</cx:pt>
          <cx:pt idx="78416">2</cx:pt>
          <cx:pt idx="78417">1</cx:pt>
          <cx:pt idx="78418">5</cx:pt>
          <cx:pt idx="78419">2</cx:pt>
          <cx:pt idx="78420">3</cx:pt>
          <cx:pt idx="78421">4</cx:pt>
          <cx:pt idx="78422">1</cx:pt>
          <cx:pt idx="78423">4</cx:pt>
          <cx:pt idx="78424">2</cx:pt>
          <cx:pt idx="78425">2</cx:pt>
          <cx:pt idx="78426">3</cx:pt>
          <cx:pt idx="78427">1</cx:pt>
          <cx:pt idx="78428">2</cx:pt>
          <cx:pt idx="78429">4</cx:pt>
          <cx:pt idx="78430">0</cx:pt>
          <cx:pt idx="78431">4</cx:pt>
          <cx:pt idx="78432">1</cx:pt>
          <cx:pt idx="78433">5</cx:pt>
          <cx:pt idx="78434">5</cx:pt>
          <cx:pt idx="78435">2</cx:pt>
          <cx:pt idx="78436">2</cx:pt>
          <cx:pt idx="78437">2</cx:pt>
          <cx:pt idx="78438">1</cx:pt>
          <cx:pt idx="78439">3</cx:pt>
          <cx:pt idx="78440">4</cx:pt>
          <cx:pt idx="78441">4</cx:pt>
          <cx:pt idx="78442">2</cx:pt>
          <cx:pt idx="78443">3</cx:pt>
          <cx:pt idx="78444">2</cx:pt>
          <cx:pt idx="78445">1</cx:pt>
          <cx:pt idx="78446">5</cx:pt>
          <cx:pt idx="78447">1</cx:pt>
          <cx:pt idx="78448">4</cx:pt>
          <cx:pt idx="78449">3</cx:pt>
          <cx:pt idx="78450">5</cx:pt>
          <cx:pt idx="78451">1</cx:pt>
          <cx:pt idx="78452">3</cx:pt>
          <cx:pt idx="78453">2</cx:pt>
          <cx:pt idx="78454">5</cx:pt>
          <cx:pt idx="78455">3</cx:pt>
          <cx:pt idx="78456">2</cx:pt>
          <cx:pt idx="78457">3</cx:pt>
          <cx:pt idx="78458">4</cx:pt>
          <cx:pt idx="78459">2</cx:pt>
          <cx:pt idx="78460">5</cx:pt>
          <cx:pt idx="78461">5</cx:pt>
          <cx:pt idx="78462">5</cx:pt>
          <cx:pt idx="78463">3</cx:pt>
          <cx:pt idx="78464">4</cx:pt>
          <cx:pt idx="78465">2</cx:pt>
          <cx:pt idx="78466">5</cx:pt>
          <cx:pt idx="78467">3</cx:pt>
          <cx:pt idx="78468">1</cx:pt>
          <cx:pt idx="78469">3</cx:pt>
          <cx:pt idx="78470">0</cx:pt>
          <cx:pt idx="78471">1</cx:pt>
          <cx:pt idx="78472">5</cx:pt>
          <cx:pt idx="78473">4</cx:pt>
          <cx:pt idx="78474">2</cx:pt>
          <cx:pt idx="78475">5</cx:pt>
          <cx:pt idx="78476">4</cx:pt>
          <cx:pt idx="78477">4</cx:pt>
          <cx:pt idx="78478">4</cx:pt>
          <cx:pt idx="78479">3</cx:pt>
          <cx:pt idx="78480">4</cx:pt>
          <cx:pt idx="78481">3</cx:pt>
          <cx:pt idx="78482">5</cx:pt>
          <cx:pt idx="78483">3</cx:pt>
          <cx:pt idx="78484">3</cx:pt>
          <cx:pt idx="78485">5</cx:pt>
          <cx:pt idx="78486">1</cx:pt>
          <cx:pt idx="78487">1</cx:pt>
          <cx:pt idx="78488">1</cx:pt>
          <cx:pt idx="78489">3</cx:pt>
          <cx:pt idx="78490">4</cx:pt>
          <cx:pt idx="78491">2</cx:pt>
          <cx:pt idx="78492">2</cx:pt>
          <cx:pt idx="78493">3</cx:pt>
          <cx:pt idx="78494">3</cx:pt>
          <cx:pt idx="78495">1</cx:pt>
          <cx:pt idx="78496">5</cx:pt>
          <cx:pt idx="78497">3</cx:pt>
          <cx:pt idx="78498">4</cx:pt>
          <cx:pt idx="78499">4</cx:pt>
          <cx:pt idx="78500">4</cx:pt>
          <cx:pt idx="78501">1</cx:pt>
          <cx:pt idx="78502">2</cx:pt>
          <cx:pt idx="78503">3</cx:pt>
          <cx:pt idx="78504">2</cx:pt>
          <cx:pt idx="78505">2</cx:pt>
          <cx:pt idx="78506">1</cx:pt>
          <cx:pt idx="78507">2</cx:pt>
          <cx:pt idx="78508">3</cx:pt>
          <cx:pt idx="78509">4</cx:pt>
          <cx:pt idx="78510">1</cx:pt>
          <cx:pt idx="78511">5</cx:pt>
          <cx:pt idx="78512">1</cx:pt>
          <cx:pt idx="78513">1</cx:pt>
          <cx:pt idx="78514">5</cx:pt>
          <cx:pt idx="78515">2</cx:pt>
          <cx:pt idx="78516">3</cx:pt>
          <cx:pt idx="78517">3</cx:pt>
          <cx:pt idx="78518">5</cx:pt>
          <cx:pt idx="78519">1</cx:pt>
          <cx:pt idx="78520">5</cx:pt>
          <cx:pt idx="78521">2</cx:pt>
          <cx:pt idx="78522">3</cx:pt>
          <cx:pt idx="78523">3</cx:pt>
          <cx:pt idx="78524">2</cx:pt>
          <cx:pt idx="78525">3</cx:pt>
          <cx:pt idx="78526">4</cx:pt>
          <cx:pt idx="78527">3</cx:pt>
          <cx:pt idx="78528">1</cx:pt>
          <cx:pt idx="78529">2</cx:pt>
          <cx:pt idx="78530">5</cx:pt>
          <cx:pt idx="78531">3</cx:pt>
          <cx:pt idx="78532">4</cx:pt>
          <cx:pt idx="78533">3</cx:pt>
          <cx:pt idx="78534">3</cx:pt>
          <cx:pt idx="78535">3</cx:pt>
          <cx:pt idx="78536">0</cx:pt>
          <cx:pt idx="78537">3</cx:pt>
          <cx:pt idx="78538">4</cx:pt>
          <cx:pt idx="78539">3</cx:pt>
          <cx:pt idx="78540">2</cx:pt>
          <cx:pt idx="78541">1</cx:pt>
          <cx:pt idx="78542">5</cx:pt>
          <cx:pt idx="78543">0</cx:pt>
          <cx:pt idx="78544">4</cx:pt>
          <cx:pt idx="78545">5</cx:pt>
          <cx:pt idx="78546">3</cx:pt>
          <cx:pt idx="78547">1</cx:pt>
          <cx:pt idx="78548">4</cx:pt>
          <cx:pt idx="78549">5</cx:pt>
          <cx:pt idx="78550">2</cx:pt>
          <cx:pt idx="78551">1</cx:pt>
          <cx:pt idx="78552">5</cx:pt>
          <cx:pt idx="78553">3</cx:pt>
          <cx:pt idx="78554">3</cx:pt>
          <cx:pt idx="78555">2</cx:pt>
          <cx:pt idx="78556">2</cx:pt>
          <cx:pt idx="78557">4</cx:pt>
          <cx:pt idx="78558">2</cx:pt>
          <cx:pt idx="78559">4</cx:pt>
          <cx:pt idx="78560">2</cx:pt>
          <cx:pt idx="78561">5</cx:pt>
          <cx:pt idx="78562">0</cx:pt>
          <cx:pt idx="78563">4</cx:pt>
          <cx:pt idx="78564">4</cx:pt>
          <cx:pt idx="78565">5</cx:pt>
          <cx:pt idx="78566">4</cx:pt>
          <cx:pt idx="78567">4</cx:pt>
          <cx:pt idx="78568">3</cx:pt>
          <cx:pt idx="78569">1</cx:pt>
          <cx:pt idx="78570">2</cx:pt>
          <cx:pt idx="78571">1</cx:pt>
          <cx:pt idx="78572">4</cx:pt>
          <cx:pt idx="78573">2</cx:pt>
          <cx:pt idx="78574">2</cx:pt>
          <cx:pt idx="78575">1</cx:pt>
          <cx:pt idx="78576">3</cx:pt>
          <cx:pt idx="78577">3</cx:pt>
          <cx:pt idx="78578">3</cx:pt>
          <cx:pt idx="78579">3</cx:pt>
          <cx:pt idx="78580">0</cx:pt>
          <cx:pt idx="78581">5</cx:pt>
          <cx:pt idx="78582">4</cx:pt>
          <cx:pt idx="78583">0</cx:pt>
          <cx:pt idx="78584">2</cx:pt>
          <cx:pt idx="78585">4</cx:pt>
          <cx:pt idx="78586">1</cx:pt>
          <cx:pt idx="78587">0</cx:pt>
          <cx:pt idx="78588">2</cx:pt>
          <cx:pt idx="78589">2</cx:pt>
          <cx:pt idx="78590">2</cx:pt>
          <cx:pt idx="78591">2</cx:pt>
          <cx:pt idx="78592">5</cx:pt>
          <cx:pt idx="78593">5</cx:pt>
          <cx:pt idx="78594">5</cx:pt>
          <cx:pt idx="78595">2</cx:pt>
          <cx:pt idx="78596">1</cx:pt>
          <cx:pt idx="78597">4</cx:pt>
          <cx:pt idx="78598">3</cx:pt>
          <cx:pt idx="78599">3</cx:pt>
          <cx:pt idx="78600">4</cx:pt>
          <cx:pt idx="78601">4</cx:pt>
          <cx:pt idx="78602">3</cx:pt>
          <cx:pt idx="78603">1</cx:pt>
          <cx:pt idx="78604">1</cx:pt>
          <cx:pt idx="78605">0</cx:pt>
          <cx:pt idx="78606">3</cx:pt>
          <cx:pt idx="78607">1</cx:pt>
          <cx:pt idx="78608">1</cx:pt>
          <cx:pt idx="78609">1</cx:pt>
          <cx:pt idx="78610">2</cx:pt>
          <cx:pt idx="78611">1</cx:pt>
          <cx:pt idx="78612">1</cx:pt>
          <cx:pt idx="78613">3</cx:pt>
          <cx:pt idx="78614">3</cx:pt>
          <cx:pt idx="78615">4</cx:pt>
          <cx:pt idx="78616">3</cx:pt>
          <cx:pt idx="78617">5</cx:pt>
          <cx:pt idx="78618">3</cx:pt>
          <cx:pt idx="78619">3</cx:pt>
          <cx:pt idx="78620">5</cx:pt>
          <cx:pt idx="78621">4</cx:pt>
          <cx:pt idx="78622">3</cx:pt>
          <cx:pt idx="78623">2</cx:pt>
          <cx:pt idx="78624">1</cx:pt>
          <cx:pt idx="78625">3</cx:pt>
          <cx:pt idx="78626">3</cx:pt>
          <cx:pt idx="78627">3</cx:pt>
          <cx:pt idx="78628">3</cx:pt>
          <cx:pt idx="78629">5</cx:pt>
          <cx:pt idx="78630">3</cx:pt>
          <cx:pt idx="78631">3</cx:pt>
          <cx:pt idx="78632">1</cx:pt>
          <cx:pt idx="78633">3</cx:pt>
          <cx:pt idx="78634">3</cx:pt>
          <cx:pt idx="78635">4</cx:pt>
          <cx:pt idx="78636">1</cx:pt>
          <cx:pt idx="78637">5</cx:pt>
          <cx:pt idx="78638">1</cx:pt>
          <cx:pt idx="78639">3</cx:pt>
          <cx:pt idx="78640">3</cx:pt>
          <cx:pt idx="78641">5</cx:pt>
          <cx:pt idx="78642">5</cx:pt>
          <cx:pt idx="78643">4</cx:pt>
          <cx:pt idx="78644">1</cx:pt>
          <cx:pt idx="78645">1</cx:pt>
          <cx:pt idx="78646">5</cx:pt>
          <cx:pt idx="78647">2</cx:pt>
          <cx:pt idx="78648">4</cx:pt>
          <cx:pt idx="78649">3</cx:pt>
          <cx:pt idx="78650">3</cx:pt>
          <cx:pt idx="78651">4</cx:pt>
          <cx:pt idx="78652">4</cx:pt>
          <cx:pt idx="78653">4</cx:pt>
          <cx:pt idx="78654">5</cx:pt>
          <cx:pt idx="78655">2</cx:pt>
          <cx:pt idx="78656">4</cx:pt>
          <cx:pt idx="78657">5</cx:pt>
          <cx:pt idx="78658">3</cx:pt>
          <cx:pt idx="78659">2</cx:pt>
          <cx:pt idx="78660">3</cx:pt>
          <cx:pt idx="78661">1</cx:pt>
          <cx:pt idx="78662">3</cx:pt>
          <cx:pt idx="78663">3</cx:pt>
          <cx:pt idx="78664">3</cx:pt>
          <cx:pt idx="78665">3</cx:pt>
          <cx:pt idx="78666">1</cx:pt>
          <cx:pt idx="78667">3</cx:pt>
          <cx:pt idx="78668">4</cx:pt>
          <cx:pt idx="78669">3</cx:pt>
          <cx:pt idx="78670">5</cx:pt>
          <cx:pt idx="78671">4</cx:pt>
          <cx:pt idx="78672">2</cx:pt>
          <cx:pt idx="78673">5</cx:pt>
          <cx:pt idx="78674">3</cx:pt>
          <cx:pt idx="78675">3</cx:pt>
          <cx:pt idx="78676">2</cx:pt>
          <cx:pt idx="78677">3</cx:pt>
          <cx:pt idx="78678">3</cx:pt>
          <cx:pt idx="78679">3</cx:pt>
          <cx:pt idx="78680">4</cx:pt>
          <cx:pt idx="78681">1</cx:pt>
          <cx:pt idx="78682">3</cx:pt>
          <cx:pt idx="78683">5</cx:pt>
          <cx:pt idx="78684">1</cx:pt>
          <cx:pt idx="78685">5</cx:pt>
          <cx:pt idx="78686">5</cx:pt>
          <cx:pt idx="78687">2</cx:pt>
          <cx:pt idx="78688">5</cx:pt>
          <cx:pt idx="78689">2</cx:pt>
          <cx:pt idx="78690">1</cx:pt>
          <cx:pt idx="78691">3</cx:pt>
          <cx:pt idx="78692">2</cx:pt>
          <cx:pt idx="78693">2</cx:pt>
          <cx:pt idx="78694">3</cx:pt>
          <cx:pt idx="78695">2</cx:pt>
          <cx:pt idx="78696">3</cx:pt>
          <cx:pt idx="78697">2</cx:pt>
          <cx:pt idx="78698">2</cx:pt>
          <cx:pt idx="78699">3</cx:pt>
          <cx:pt idx="78700">0</cx:pt>
          <cx:pt idx="78701">2</cx:pt>
          <cx:pt idx="78702">3</cx:pt>
          <cx:pt idx="78703">0</cx:pt>
          <cx:pt idx="78704">4</cx:pt>
          <cx:pt idx="78705">1</cx:pt>
          <cx:pt idx="78706">3</cx:pt>
          <cx:pt idx="78707">4</cx:pt>
          <cx:pt idx="78708">5</cx:pt>
          <cx:pt idx="78709">0</cx:pt>
          <cx:pt idx="78710">3</cx:pt>
          <cx:pt idx="78711">4</cx:pt>
          <cx:pt idx="78712">4</cx:pt>
          <cx:pt idx="78713">0</cx:pt>
          <cx:pt idx="78714">3</cx:pt>
          <cx:pt idx="78715">4</cx:pt>
          <cx:pt idx="78716">1</cx:pt>
          <cx:pt idx="78717">4</cx:pt>
          <cx:pt idx="78718">2</cx:pt>
          <cx:pt idx="78719">4</cx:pt>
          <cx:pt idx="78720">4</cx:pt>
          <cx:pt idx="78721">4</cx:pt>
          <cx:pt idx="78722">2</cx:pt>
          <cx:pt idx="78723">1</cx:pt>
          <cx:pt idx="78724">3</cx:pt>
          <cx:pt idx="78725">5</cx:pt>
          <cx:pt idx="78726">1</cx:pt>
          <cx:pt idx="78727">3</cx:pt>
          <cx:pt idx="78728">3</cx:pt>
          <cx:pt idx="78729">3</cx:pt>
          <cx:pt idx="78730">2</cx:pt>
          <cx:pt idx="78731">3</cx:pt>
          <cx:pt idx="78732">4</cx:pt>
          <cx:pt idx="78733">1</cx:pt>
          <cx:pt idx="78734">2</cx:pt>
          <cx:pt idx="78735">4</cx:pt>
          <cx:pt idx="78736">2</cx:pt>
          <cx:pt idx="78737">5</cx:pt>
          <cx:pt idx="78738">4</cx:pt>
          <cx:pt idx="78739">2</cx:pt>
          <cx:pt idx="78740">3</cx:pt>
          <cx:pt idx="78741">1</cx:pt>
          <cx:pt idx="78742">4</cx:pt>
          <cx:pt idx="78743">3</cx:pt>
          <cx:pt idx="78744">0</cx:pt>
          <cx:pt idx="78745">2</cx:pt>
          <cx:pt idx="78746">1</cx:pt>
          <cx:pt idx="78747">3</cx:pt>
          <cx:pt idx="78748">3</cx:pt>
          <cx:pt idx="78749">3</cx:pt>
          <cx:pt idx="78750">4</cx:pt>
          <cx:pt idx="78751">2</cx:pt>
          <cx:pt idx="78752">5</cx:pt>
          <cx:pt idx="78753">2</cx:pt>
          <cx:pt idx="78754">3</cx:pt>
          <cx:pt idx="78755">4</cx:pt>
          <cx:pt idx="78756">1</cx:pt>
          <cx:pt idx="78757">3</cx:pt>
          <cx:pt idx="78758">5</cx:pt>
          <cx:pt idx="78759">5</cx:pt>
          <cx:pt idx="78760">5</cx:pt>
          <cx:pt idx="78761">1</cx:pt>
          <cx:pt idx="78762">3</cx:pt>
          <cx:pt idx="78763">3</cx:pt>
          <cx:pt idx="78764">1</cx:pt>
          <cx:pt idx="78765">2</cx:pt>
          <cx:pt idx="78766">5</cx:pt>
          <cx:pt idx="78767">4</cx:pt>
          <cx:pt idx="78768">4</cx:pt>
          <cx:pt idx="78769">4</cx:pt>
          <cx:pt idx="78770">4</cx:pt>
          <cx:pt idx="78771">2</cx:pt>
          <cx:pt idx="78772">4</cx:pt>
          <cx:pt idx="78773">4</cx:pt>
          <cx:pt idx="78774">0</cx:pt>
          <cx:pt idx="78775">0</cx:pt>
          <cx:pt idx="78776">5</cx:pt>
          <cx:pt idx="78777">1</cx:pt>
          <cx:pt idx="78778">4</cx:pt>
          <cx:pt idx="78779">3</cx:pt>
          <cx:pt idx="78780">4</cx:pt>
          <cx:pt idx="78781">3</cx:pt>
          <cx:pt idx="78782">4</cx:pt>
          <cx:pt idx="78783">0</cx:pt>
          <cx:pt idx="78784">3</cx:pt>
          <cx:pt idx="78785">4</cx:pt>
          <cx:pt idx="78786">1</cx:pt>
          <cx:pt idx="78787">4</cx:pt>
          <cx:pt idx="78788">2</cx:pt>
          <cx:pt idx="78789">5</cx:pt>
          <cx:pt idx="78790">3</cx:pt>
          <cx:pt idx="78791">2</cx:pt>
          <cx:pt idx="78792">4</cx:pt>
          <cx:pt idx="78793">0</cx:pt>
          <cx:pt idx="78794">3</cx:pt>
          <cx:pt idx="78795">2</cx:pt>
          <cx:pt idx="78796">3</cx:pt>
          <cx:pt idx="78797">1</cx:pt>
          <cx:pt idx="78798">3</cx:pt>
          <cx:pt idx="78799">1</cx:pt>
          <cx:pt idx="78800">1</cx:pt>
          <cx:pt idx="78801">3</cx:pt>
          <cx:pt idx="78802">4</cx:pt>
          <cx:pt idx="78803">4</cx:pt>
          <cx:pt idx="78804">3</cx:pt>
          <cx:pt idx="78805">5</cx:pt>
          <cx:pt idx="78806">3</cx:pt>
          <cx:pt idx="78807">5</cx:pt>
          <cx:pt idx="78808">0</cx:pt>
          <cx:pt idx="78809">2</cx:pt>
          <cx:pt idx="78810">3</cx:pt>
          <cx:pt idx="78811">1</cx:pt>
          <cx:pt idx="78812">2</cx:pt>
          <cx:pt idx="78813">4</cx:pt>
          <cx:pt idx="78814">2</cx:pt>
          <cx:pt idx="78815">3</cx:pt>
          <cx:pt idx="78816">5</cx:pt>
          <cx:pt idx="78817">3</cx:pt>
          <cx:pt idx="78818">3</cx:pt>
          <cx:pt idx="78819">5</cx:pt>
          <cx:pt idx="78820">1</cx:pt>
          <cx:pt idx="78821">1</cx:pt>
          <cx:pt idx="78822">1</cx:pt>
          <cx:pt idx="78823">1</cx:pt>
          <cx:pt idx="78824">5</cx:pt>
          <cx:pt idx="78825">3</cx:pt>
          <cx:pt idx="78826">4</cx:pt>
          <cx:pt idx="78827">4</cx:pt>
          <cx:pt idx="78828">2</cx:pt>
          <cx:pt idx="78829">5</cx:pt>
          <cx:pt idx="78830">5</cx:pt>
          <cx:pt idx="78831">2</cx:pt>
          <cx:pt idx="78832">1</cx:pt>
          <cx:pt idx="78833">3</cx:pt>
          <cx:pt idx="78834">5</cx:pt>
          <cx:pt idx="78835">2</cx:pt>
          <cx:pt idx="78836">0</cx:pt>
          <cx:pt idx="78837">2</cx:pt>
          <cx:pt idx="78838">1</cx:pt>
          <cx:pt idx="78839">4</cx:pt>
          <cx:pt idx="78840">3</cx:pt>
          <cx:pt idx="78841">5</cx:pt>
          <cx:pt idx="78842">0</cx:pt>
          <cx:pt idx="78843">5</cx:pt>
          <cx:pt idx="78844">4</cx:pt>
          <cx:pt idx="78845">3</cx:pt>
          <cx:pt idx="78846">1</cx:pt>
          <cx:pt idx="78847">3</cx:pt>
          <cx:pt idx="78848">3</cx:pt>
          <cx:pt idx="78849">3</cx:pt>
          <cx:pt idx="78850">0</cx:pt>
          <cx:pt idx="78851">5</cx:pt>
          <cx:pt idx="78852">5</cx:pt>
          <cx:pt idx="78853">4</cx:pt>
          <cx:pt idx="78854">2</cx:pt>
          <cx:pt idx="78855">2</cx:pt>
          <cx:pt idx="78856">3</cx:pt>
          <cx:pt idx="78857">3</cx:pt>
          <cx:pt idx="78858">1</cx:pt>
          <cx:pt idx="78859">2</cx:pt>
          <cx:pt idx="78860">4</cx:pt>
          <cx:pt idx="78861">3</cx:pt>
          <cx:pt idx="78862">3</cx:pt>
          <cx:pt idx="78863">2</cx:pt>
          <cx:pt idx="78864">0</cx:pt>
          <cx:pt idx="78865">5</cx:pt>
          <cx:pt idx="78866">2</cx:pt>
          <cx:pt idx="78867">5</cx:pt>
          <cx:pt idx="78868">2</cx:pt>
          <cx:pt idx="78869">5</cx:pt>
          <cx:pt idx="78870">3</cx:pt>
          <cx:pt idx="78871">3</cx:pt>
          <cx:pt idx="78872">1</cx:pt>
          <cx:pt idx="78873">5</cx:pt>
          <cx:pt idx="78874">4</cx:pt>
          <cx:pt idx="78875">2</cx:pt>
          <cx:pt idx="78876">5</cx:pt>
          <cx:pt idx="78877">4</cx:pt>
          <cx:pt idx="78878">3</cx:pt>
          <cx:pt idx="78879">4</cx:pt>
          <cx:pt idx="78880">4</cx:pt>
          <cx:pt idx="78881">3</cx:pt>
          <cx:pt idx="78882">2</cx:pt>
          <cx:pt idx="78883">1</cx:pt>
          <cx:pt idx="78884">4</cx:pt>
          <cx:pt idx="78885">3</cx:pt>
          <cx:pt idx="78886">3</cx:pt>
          <cx:pt idx="78887">3</cx:pt>
          <cx:pt idx="78888">2</cx:pt>
          <cx:pt idx="78889">3</cx:pt>
          <cx:pt idx="78890">2</cx:pt>
          <cx:pt idx="78891">3</cx:pt>
          <cx:pt idx="78892">1</cx:pt>
          <cx:pt idx="78893">0</cx:pt>
          <cx:pt idx="78894">3</cx:pt>
          <cx:pt idx="78895">5</cx:pt>
          <cx:pt idx="78896">1</cx:pt>
          <cx:pt idx="78897">3</cx:pt>
          <cx:pt idx="78898">2</cx:pt>
          <cx:pt idx="78899">3</cx:pt>
          <cx:pt idx="78900">4</cx:pt>
          <cx:pt idx="78901">3</cx:pt>
          <cx:pt idx="78902">3</cx:pt>
          <cx:pt idx="78903">5</cx:pt>
          <cx:pt idx="78904">3</cx:pt>
          <cx:pt idx="78905">3</cx:pt>
          <cx:pt idx="78906">1</cx:pt>
          <cx:pt idx="78907">5</cx:pt>
          <cx:pt idx="78908">4</cx:pt>
          <cx:pt idx="78909">4</cx:pt>
          <cx:pt idx="78910">2</cx:pt>
          <cx:pt idx="78911">4</cx:pt>
          <cx:pt idx="78912">3</cx:pt>
          <cx:pt idx="78913">2</cx:pt>
          <cx:pt idx="78914">5</cx:pt>
          <cx:pt idx="78915">1</cx:pt>
          <cx:pt idx="78916">1</cx:pt>
          <cx:pt idx="78917">2</cx:pt>
          <cx:pt idx="78918">3</cx:pt>
          <cx:pt idx="78919">2</cx:pt>
          <cx:pt idx="78920">4</cx:pt>
          <cx:pt idx="78921">4</cx:pt>
          <cx:pt idx="78922">2</cx:pt>
          <cx:pt idx="78923">1</cx:pt>
          <cx:pt idx="78924">4</cx:pt>
          <cx:pt idx="78925">5</cx:pt>
          <cx:pt idx="78926">4</cx:pt>
          <cx:pt idx="78927">4</cx:pt>
          <cx:pt idx="78928">3</cx:pt>
          <cx:pt idx="78929">5</cx:pt>
          <cx:pt idx="78930">3</cx:pt>
          <cx:pt idx="78931">3</cx:pt>
          <cx:pt idx="78932">5</cx:pt>
          <cx:pt idx="78933">3</cx:pt>
          <cx:pt idx="78934">4</cx:pt>
          <cx:pt idx="78935">1</cx:pt>
          <cx:pt idx="78936">2</cx:pt>
          <cx:pt idx="78937">4</cx:pt>
          <cx:pt idx="78938">2</cx:pt>
          <cx:pt idx="78939">2</cx:pt>
          <cx:pt idx="78940">3</cx:pt>
          <cx:pt idx="78941">2</cx:pt>
          <cx:pt idx="78942">2</cx:pt>
          <cx:pt idx="78943">2</cx:pt>
          <cx:pt idx="78944">2</cx:pt>
          <cx:pt idx="78945">1</cx:pt>
          <cx:pt idx="78946">4</cx:pt>
          <cx:pt idx="78947">5</cx:pt>
          <cx:pt idx="78948">5</cx:pt>
          <cx:pt idx="78949">3</cx:pt>
          <cx:pt idx="78950">3</cx:pt>
          <cx:pt idx="78951">1</cx:pt>
          <cx:pt idx="78952">3</cx:pt>
          <cx:pt idx="78953">4</cx:pt>
          <cx:pt idx="78954">2</cx:pt>
          <cx:pt idx="78955">2</cx:pt>
          <cx:pt idx="78956">3</cx:pt>
          <cx:pt idx="78957">2</cx:pt>
          <cx:pt idx="78958">2</cx:pt>
          <cx:pt idx="78959">3</cx:pt>
          <cx:pt idx="78960">2</cx:pt>
          <cx:pt idx="78961">2</cx:pt>
          <cx:pt idx="78962">5</cx:pt>
          <cx:pt idx="78963">3</cx:pt>
          <cx:pt idx="78964">3</cx:pt>
          <cx:pt idx="78965">2</cx:pt>
          <cx:pt idx="78966">4</cx:pt>
          <cx:pt idx="78967">4</cx:pt>
          <cx:pt idx="78968">4</cx:pt>
          <cx:pt idx="78969">2</cx:pt>
          <cx:pt idx="78970">1</cx:pt>
          <cx:pt idx="78971">3</cx:pt>
          <cx:pt idx="78972">0</cx:pt>
          <cx:pt idx="78973">2</cx:pt>
          <cx:pt idx="78974">1</cx:pt>
          <cx:pt idx="78975">3</cx:pt>
          <cx:pt idx="78976">3</cx:pt>
          <cx:pt idx="78977">2</cx:pt>
          <cx:pt idx="78978">4</cx:pt>
          <cx:pt idx="78979">5</cx:pt>
          <cx:pt idx="78980">4</cx:pt>
          <cx:pt idx="78981">3</cx:pt>
          <cx:pt idx="78982">3</cx:pt>
          <cx:pt idx="78983">3</cx:pt>
          <cx:pt idx="78984">4</cx:pt>
          <cx:pt idx="78985">2</cx:pt>
          <cx:pt idx="78986">2</cx:pt>
          <cx:pt idx="78987">2</cx:pt>
          <cx:pt idx="78988">3</cx:pt>
          <cx:pt idx="78989">0</cx:pt>
          <cx:pt idx="78990">5</cx:pt>
          <cx:pt idx="78991">2</cx:pt>
          <cx:pt idx="78992">2</cx:pt>
          <cx:pt idx="78993">1</cx:pt>
          <cx:pt idx="78994">0</cx:pt>
          <cx:pt idx="78995">3</cx:pt>
          <cx:pt idx="78996">1</cx:pt>
          <cx:pt idx="78997">3</cx:pt>
          <cx:pt idx="78998">2</cx:pt>
          <cx:pt idx="78999">1</cx:pt>
          <cx:pt idx="79000">2</cx:pt>
          <cx:pt idx="79001">1</cx:pt>
          <cx:pt idx="79002">3</cx:pt>
          <cx:pt idx="79003">2</cx:pt>
          <cx:pt idx="79004">4</cx:pt>
          <cx:pt idx="79005">4</cx:pt>
          <cx:pt idx="79006">2</cx:pt>
          <cx:pt idx="79007">1</cx:pt>
          <cx:pt idx="79008">2</cx:pt>
          <cx:pt idx="79009">3</cx:pt>
          <cx:pt idx="79010">2</cx:pt>
          <cx:pt idx="79011">2</cx:pt>
          <cx:pt idx="79012">1</cx:pt>
          <cx:pt idx="79013">4</cx:pt>
          <cx:pt idx="79014">3</cx:pt>
          <cx:pt idx="79015">2</cx:pt>
          <cx:pt idx="79016">4</cx:pt>
          <cx:pt idx="79017">3</cx:pt>
          <cx:pt idx="79018">3</cx:pt>
          <cx:pt idx="79019">2</cx:pt>
          <cx:pt idx="79020">2</cx:pt>
          <cx:pt idx="79021">2</cx:pt>
          <cx:pt idx="79022">4</cx:pt>
          <cx:pt idx="79023">0</cx:pt>
          <cx:pt idx="79024">3</cx:pt>
          <cx:pt idx="79025">2</cx:pt>
          <cx:pt idx="79026">4</cx:pt>
          <cx:pt idx="79027">0</cx:pt>
          <cx:pt idx="79028">2</cx:pt>
          <cx:pt idx="79029">4</cx:pt>
          <cx:pt idx="79030">2</cx:pt>
          <cx:pt idx="79031">3</cx:pt>
          <cx:pt idx="79032">4</cx:pt>
          <cx:pt idx="79033">1</cx:pt>
          <cx:pt idx="79034">2</cx:pt>
          <cx:pt idx="79035">2</cx:pt>
          <cx:pt idx="79036">2</cx:pt>
          <cx:pt idx="79037">1</cx:pt>
          <cx:pt idx="79038">2</cx:pt>
          <cx:pt idx="79039">1</cx:pt>
          <cx:pt idx="79040">3</cx:pt>
          <cx:pt idx="79041">2</cx:pt>
          <cx:pt idx="79042">5</cx:pt>
          <cx:pt idx="79043">2</cx:pt>
          <cx:pt idx="79044">2</cx:pt>
          <cx:pt idx="79045">2</cx:pt>
          <cx:pt idx="79046">5</cx:pt>
          <cx:pt idx="79047">0</cx:pt>
          <cx:pt idx="79048">3</cx:pt>
          <cx:pt idx="79049">1</cx:pt>
          <cx:pt idx="79050">1</cx:pt>
          <cx:pt idx="79051">2</cx:pt>
          <cx:pt idx="79052">3</cx:pt>
          <cx:pt idx="79053">3</cx:pt>
          <cx:pt idx="79054">3</cx:pt>
          <cx:pt idx="79055">3</cx:pt>
          <cx:pt idx="79056">4</cx:pt>
          <cx:pt idx="79057">3</cx:pt>
          <cx:pt idx="79058">5</cx:pt>
          <cx:pt idx="79059">1</cx:pt>
          <cx:pt idx="79060">2</cx:pt>
          <cx:pt idx="79061">1</cx:pt>
          <cx:pt idx="79062">3</cx:pt>
          <cx:pt idx="79063">2</cx:pt>
          <cx:pt idx="79064">2</cx:pt>
          <cx:pt idx="79065">0</cx:pt>
          <cx:pt idx="79066">5</cx:pt>
          <cx:pt idx="79067">4</cx:pt>
          <cx:pt idx="79068">2</cx:pt>
          <cx:pt idx="79069">3</cx:pt>
          <cx:pt idx="79070">3</cx:pt>
          <cx:pt idx="79071">4</cx:pt>
          <cx:pt idx="79072">1</cx:pt>
          <cx:pt idx="79073">4</cx:pt>
          <cx:pt idx="79074">4</cx:pt>
          <cx:pt idx="79075">4</cx:pt>
          <cx:pt idx="79076">3</cx:pt>
          <cx:pt idx="79077">4</cx:pt>
          <cx:pt idx="79078">1</cx:pt>
          <cx:pt idx="79079">5</cx:pt>
          <cx:pt idx="79080">4</cx:pt>
          <cx:pt idx="79081">3</cx:pt>
          <cx:pt idx="79082">4</cx:pt>
          <cx:pt idx="79083">1</cx:pt>
          <cx:pt idx="79084">2</cx:pt>
          <cx:pt idx="79085">0</cx:pt>
          <cx:pt idx="79086">0</cx:pt>
          <cx:pt idx="79087">0</cx:pt>
          <cx:pt idx="79088">2</cx:pt>
          <cx:pt idx="79089">0</cx:pt>
          <cx:pt idx="79090">2</cx:pt>
          <cx:pt idx="79091">4</cx:pt>
          <cx:pt idx="79092">3</cx:pt>
          <cx:pt idx="79093">5</cx:pt>
          <cx:pt idx="79094">3</cx:pt>
          <cx:pt idx="79095">1</cx:pt>
          <cx:pt idx="79096">2</cx:pt>
          <cx:pt idx="79097">1</cx:pt>
          <cx:pt idx="79098">1</cx:pt>
          <cx:pt idx="79099">2</cx:pt>
          <cx:pt idx="79100">4</cx:pt>
          <cx:pt idx="79101">2</cx:pt>
          <cx:pt idx="79102">4</cx:pt>
          <cx:pt idx="79103">4</cx:pt>
          <cx:pt idx="79104">1</cx:pt>
          <cx:pt idx="79105">2</cx:pt>
          <cx:pt idx="79106">3</cx:pt>
          <cx:pt idx="79107">4</cx:pt>
          <cx:pt idx="79108">0</cx:pt>
          <cx:pt idx="79109">4</cx:pt>
          <cx:pt idx="79110">5</cx:pt>
          <cx:pt idx="79111">3</cx:pt>
          <cx:pt idx="79112">2</cx:pt>
          <cx:pt idx="79113">4</cx:pt>
          <cx:pt idx="79114">2</cx:pt>
          <cx:pt idx="79115">5</cx:pt>
          <cx:pt idx="79116">5</cx:pt>
          <cx:pt idx="79117">4</cx:pt>
          <cx:pt idx="79118">4</cx:pt>
          <cx:pt idx="79119">5</cx:pt>
          <cx:pt idx="79120">4</cx:pt>
          <cx:pt idx="79121">3</cx:pt>
          <cx:pt idx="79122">1</cx:pt>
          <cx:pt idx="79123">3</cx:pt>
          <cx:pt idx="79124">3</cx:pt>
          <cx:pt idx="79125">2</cx:pt>
          <cx:pt idx="79126">5</cx:pt>
          <cx:pt idx="79127">3</cx:pt>
          <cx:pt idx="79128">3</cx:pt>
          <cx:pt idx="79129">3</cx:pt>
          <cx:pt idx="79130">5</cx:pt>
          <cx:pt idx="79131">4</cx:pt>
          <cx:pt idx="79132">2</cx:pt>
          <cx:pt idx="79133">5</cx:pt>
          <cx:pt idx="79134">5</cx:pt>
          <cx:pt idx="79135">5</cx:pt>
          <cx:pt idx="79136">2</cx:pt>
          <cx:pt idx="79137">4</cx:pt>
          <cx:pt idx="79138">4</cx:pt>
          <cx:pt idx="79139">2</cx:pt>
          <cx:pt idx="79140">5</cx:pt>
          <cx:pt idx="79141">2</cx:pt>
          <cx:pt idx="79142">1</cx:pt>
          <cx:pt idx="79143">4</cx:pt>
          <cx:pt idx="79144">3</cx:pt>
          <cx:pt idx="79145">3</cx:pt>
          <cx:pt idx="79146">2</cx:pt>
          <cx:pt idx="79147">5</cx:pt>
          <cx:pt idx="79148">4</cx:pt>
          <cx:pt idx="79149">2</cx:pt>
          <cx:pt idx="79150">1</cx:pt>
          <cx:pt idx="79151">3</cx:pt>
          <cx:pt idx="79152">2</cx:pt>
          <cx:pt idx="79153">3</cx:pt>
          <cx:pt idx="79154">1</cx:pt>
          <cx:pt idx="79155">1</cx:pt>
          <cx:pt idx="79156">2</cx:pt>
          <cx:pt idx="79157">4</cx:pt>
          <cx:pt idx="79158">4</cx:pt>
          <cx:pt idx="79159">1</cx:pt>
          <cx:pt idx="79160">4</cx:pt>
          <cx:pt idx="79161">3</cx:pt>
          <cx:pt idx="79162">5</cx:pt>
          <cx:pt idx="79163">4</cx:pt>
          <cx:pt idx="79164">4</cx:pt>
          <cx:pt idx="79165">5</cx:pt>
          <cx:pt idx="79166">5</cx:pt>
          <cx:pt idx="79167">4</cx:pt>
          <cx:pt idx="79168">3</cx:pt>
          <cx:pt idx="79169">1</cx:pt>
          <cx:pt idx="79170">4</cx:pt>
          <cx:pt idx="79171">4</cx:pt>
          <cx:pt idx="79172">3</cx:pt>
          <cx:pt idx="79173">4</cx:pt>
          <cx:pt idx="79174">3</cx:pt>
          <cx:pt idx="79175">1</cx:pt>
          <cx:pt idx="79176">4</cx:pt>
          <cx:pt idx="79177">4</cx:pt>
          <cx:pt idx="79178">4</cx:pt>
          <cx:pt idx="79179">3</cx:pt>
          <cx:pt idx="79180">1</cx:pt>
          <cx:pt idx="79181">2</cx:pt>
          <cx:pt idx="79182">3</cx:pt>
          <cx:pt idx="79183">0</cx:pt>
          <cx:pt idx="79184">5</cx:pt>
          <cx:pt idx="79185">2</cx:pt>
          <cx:pt idx="79186">3</cx:pt>
          <cx:pt idx="79187">4</cx:pt>
          <cx:pt idx="79188">5</cx:pt>
          <cx:pt idx="79189">2</cx:pt>
          <cx:pt idx="79190">3</cx:pt>
          <cx:pt idx="79191">3</cx:pt>
          <cx:pt idx="79192">1</cx:pt>
          <cx:pt idx="79193">4</cx:pt>
          <cx:pt idx="79194">2</cx:pt>
          <cx:pt idx="79195">1</cx:pt>
          <cx:pt idx="79196">3</cx:pt>
          <cx:pt idx="79197">2</cx:pt>
          <cx:pt idx="79198">2</cx:pt>
          <cx:pt idx="79199">2</cx:pt>
          <cx:pt idx="79200">1</cx:pt>
          <cx:pt idx="79201">3</cx:pt>
          <cx:pt idx="79202">3</cx:pt>
          <cx:pt idx="79203">5</cx:pt>
          <cx:pt idx="79204">5</cx:pt>
          <cx:pt idx="79205">2</cx:pt>
          <cx:pt idx="79206">2</cx:pt>
          <cx:pt idx="79207">4</cx:pt>
          <cx:pt idx="79208">1</cx:pt>
          <cx:pt idx="79209">5</cx:pt>
          <cx:pt idx="79210">1</cx:pt>
          <cx:pt idx="79211">5</cx:pt>
          <cx:pt idx="79212">2</cx:pt>
          <cx:pt idx="79213">1</cx:pt>
          <cx:pt idx="79214">2</cx:pt>
          <cx:pt idx="79215">2</cx:pt>
          <cx:pt idx="79216">4</cx:pt>
          <cx:pt idx="79217">4</cx:pt>
          <cx:pt idx="79218">3</cx:pt>
          <cx:pt idx="79219">0</cx:pt>
          <cx:pt idx="79220">3</cx:pt>
          <cx:pt idx="79221">3</cx:pt>
          <cx:pt idx="79222">1</cx:pt>
          <cx:pt idx="79223">3</cx:pt>
          <cx:pt idx="79224">3</cx:pt>
          <cx:pt idx="79225">2</cx:pt>
          <cx:pt idx="79226">5</cx:pt>
          <cx:pt idx="79227">1</cx:pt>
          <cx:pt idx="79228">2</cx:pt>
          <cx:pt idx="79229">2</cx:pt>
          <cx:pt idx="79230">2</cx:pt>
          <cx:pt idx="79231">4</cx:pt>
          <cx:pt idx="79232">5</cx:pt>
          <cx:pt idx="79233">3</cx:pt>
          <cx:pt idx="79234">1</cx:pt>
          <cx:pt idx="79235">4</cx:pt>
          <cx:pt idx="79236">5</cx:pt>
          <cx:pt idx="79237">3</cx:pt>
          <cx:pt idx="79238">1</cx:pt>
          <cx:pt idx="79239">1</cx:pt>
          <cx:pt idx="79240">2</cx:pt>
          <cx:pt idx="79241">0</cx:pt>
          <cx:pt idx="79242">2</cx:pt>
          <cx:pt idx="79243">3</cx:pt>
          <cx:pt idx="79244">4</cx:pt>
          <cx:pt idx="79245">5</cx:pt>
          <cx:pt idx="79246">4</cx:pt>
          <cx:pt idx="79247">3</cx:pt>
          <cx:pt idx="79248">2</cx:pt>
          <cx:pt idx="79249">0</cx:pt>
          <cx:pt idx="79250">1</cx:pt>
          <cx:pt idx="79251">1</cx:pt>
          <cx:pt idx="79252">2</cx:pt>
          <cx:pt idx="79253">0</cx:pt>
          <cx:pt idx="79254">1</cx:pt>
          <cx:pt idx="79255">2</cx:pt>
          <cx:pt idx="79256">2</cx:pt>
          <cx:pt idx="79257">5</cx:pt>
          <cx:pt idx="79258">2</cx:pt>
          <cx:pt idx="79259">2</cx:pt>
          <cx:pt idx="79260">3</cx:pt>
          <cx:pt idx="79261">2</cx:pt>
          <cx:pt idx="79262">0</cx:pt>
          <cx:pt idx="79263">3</cx:pt>
          <cx:pt idx="79264">2</cx:pt>
          <cx:pt idx="79265">3</cx:pt>
          <cx:pt idx="79266">3</cx:pt>
          <cx:pt idx="79267">3</cx:pt>
          <cx:pt idx="79268">5</cx:pt>
          <cx:pt idx="79269">5</cx:pt>
          <cx:pt idx="79270">0</cx:pt>
          <cx:pt idx="79271">1</cx:pt>
          <cx:pt idx="79272">2</cx:pt>
          <cx:pt idx="79273">0</cx:pt>
          <cx:pt idx="79274">3</cx:pt>
          <cx:pt idx="79275">4</cx:pt>
          <cx:pt idx="79276">3</cx:pt>
          <cx:pt idx="79277">1</cx:pt>
          <cx:pt idx="79278">3</cx:pt>
          <cx:pt idx="79279">4</cx:pt>
          <cx:pt idx="79280">3</cx:pt>
          <cx:pt idx="79281">0</cx:pt>
          <cx:pt idx="79282">1</cx:pt>
          <cx:pt idx="79283">3</cx:pt>
          <cx:pt idx="79284">2</cx:pt>
          <cx:pt idx="79285">1</cx:pt>
          <cx:pt idx="79286">1</cx:pt>
          <cx:pt idx="79287">1</cx:pt>
          <cx:pt idx="79288">3</cx:pt>
          <cx:pt idx="79289">3</cx:pt>
          <cx:pt idx="79290">3</cx:pt>
          <cx:pt idx="79291">1</cx:pt>
          <cx:pt idx="79292">5</cx:pt>
          <cx:pt idx="79293">2</cx:pt>
          <cx:pt idx="79294">3</cx:pt>
          <cx:pt idx="79295">3</cx:pt>
          <cx:pt idx="79296">5</cx:pt>
          <cx:pt idx="79297">4</cx:pt>
          <cx:pt idx="79298">1</cx:pt>
          <cx:pt idx="79299">4</cx:pt>
          <cx:pt idx="79300">3</cx:pt>
          <cx:pt idx="79301">3</cx:pt>
          <cx:pt idx="79302">2</cx:pt>
          <cx:pt idx="79303">2</cx:pt>
          <cx:pt idx="79304">1</cx:pt>
          <cx:pt idx="79305">2</cx:pt>
          <cx:pt idx="79306">2</cx:pt>
          <cx:pt idx="79307">5</cx:pt>
          <cx:pt idx="79308">4</cx:pt>
          <cx:pt idx="79309">3</cx:pt>
          <cx:pt idx="79310">2</cx:pt>
          <cx:pt idx="79311">2</cx:pt>
          <cx:pt idx="79312">3</cx:pt>
          <cx:pt idx="79313">4</cx:pt>
          <cx:pt idx="79314">3</cx:pt>
          <cx:pt idx="79315">5</cx:pt>
          <cx:pt idx="79316">5</cx:pt>
          <cx:pt idx="79317">0</cx:pt>
          <cx:pt idx="79318">3</cx:pt>
          <cx:pt idx="79319">3</cx:pt>
          <cx:pt idx="79320">1</cx:pt>
          <cx:pt idx="79321">4</cx:pt>
          <cx:pt idx="79322">4</cx:pt>
          <cx:pt idx="79323">4</cx:pt>
          <cx:pt idx="79324">2</cx:pt>
          <cx:pt idx="79325">5</cx:pt>
          <cx:pt idx="79326">4</cx:pt>
          <cx:pt idx="79327">3</cx:pt>
          <cx:pt idx="79328">2</cx:pt>
          <cx:pt idx="79329">2</cx:pt>
          <cx:pt idx="79330">5</cx:pt>
          <cx:pt idx="79331">4</cx:pt>
          <cx:pt idx="79332">3</cx:pt>
          <cx:pt idx="79333">5</cx:pt>
          <cx:pt idx="79334">1</cx:pt>
          <cx:pt idx="79335">4</cx:pt>
          <cx:pt idx="79336">5</cx:pt>
          <cx:pt idx="79337">4</cx:pt>
          <cx:pt idx="79338">1</cx:pt>
          <cx:pt idx="79339">3</cx:pt>
          <cx:pt idx="79340">5</cx:pt>
          <cx:pt idx="79341">5</cx:pt>
          <cx:pt idx="79342">1</cx:pt>
          <cx:pt idx="79343">3</cx:pt>
          <cx:pt idx="79344">5</cx:pt>
          <cx:pt idx="79345">4</cx:pt>
          <cx:pt idx="79346">5</cx:pt>
          <cx:pt idx="79347">4</cx:pt>
          <cx:pt idx="79348">5</cx:pt>
          <cx:pt idx="79349">1</cx:pt>
          <cx:pt idx="79350">3</cx:pt>
          <cx:pt idx="79351">2</cx:pt>
          <cx:pt idx="79352">1</cx:pt>
          <cx:pt idx="79353">1</cx:pt>
          <cx:pt idx="79354">3</cx:pt>
          <cx:pt idx="79355">3</cx:pt>
          <cx:pt idx="79356">2</cx:pt>
          <cx:pt idx="79357">2</cx:pt>
          <cx:pt idx="79358">3</cx:pt>
          <cx:pt idx="79359">2</cx:pt>
          <cx:pt idx="79360">2</cx:pt>
          <cx:pt idx="79361">2</cx:pt>
          <cx:pt idx="79362">2</cx:pt>
          <cx:pt idx="79363">4</cx:pt>
          <cx:pt idx="79364">2</cx:pt>
          <cx:pt idx="79365">2</cx:pt>
          <cx:pt idx="79366">4</cx:pt>
          <cx:pt idx="79367">3</cx:pt>
          <cx:pt idx="79368">3</cx:pt>
          <cx:pt idx="79369">1</cx:pt>
          <cx:pt idx="79370">1</cx:pt>
          <cx:pt idx="79371">1</cx:pt>
          <cx:pt idx="79372">4</cx:pt>
          <cx:pt idx="79373">3</cx:pt>
          <cx:pt idx="79374">4</cx:pt>
          <cx:pt idx="79375">4</cx:pt>
          <cx:pt idx="79376">2</cx:pt>
          <cx:pt idx="79377">0</cx:pt>
          <cx:pt idx="79378">5</cx:pt>
          <cx:pt idx="79379">2</cx:pt>
          <cx:pt idx="79380">2</cx:pt>
          <cx:pt idx="79381">5</cx:pt>
          <cx:pt idx="79382">3</cx:pt>
          <cx:pt idx="79383">5</cx:pt>
          <cx:pt idx="79384">4</cx:pt>
          <cx:pt idx="79385">3</cx:pt>
          <cx:pt idx="79386">3</cx:pt>
          <cx:pt idx="79387">5</cx:pt>
          <cx:pt idx="79388">4</cx:pt>
          <cx:pt idx="79389">4</cx:pt>
          <cx:pt idx="79390">2</cx:pt>
          <cx:pt idx="79391">5</cx:pt>
          <cx:pt idx="79392">1</cx:pt>
          <cx:pt idx="79393">1</cx:pt>
          <cx:pt idx="79394">5</cx:pt>
          <cx:pt idx="79395">3</cx:pt>
          <cx:pt idx="79396">4</cx:pt>
          <cx:pt idx="79397">4</cx:pt>
          <cx:pt idx="79398">5</cx:pt>
          <cx:pt idx="79399">3</cx:pt>
          <cx:pt idx="79400">3</cx:pt>
          <cx:pt idx="79401">5</cx:pt>
          <cx:pt idx="79402">3</cx:pt>
          <cx:pt idx="79403">1</cx:pt>
          <cx:pt idx="79404">2</cx:pt>
          <cx:pt idx="79405">3</cx:pt>
          <cx:pt idx="79406">3</cx:pt>
          <cx:pt idx="79407">2</cx:pt>
          <cx:pt idx="79408">3</cx:pt>
          <cx:pt idx="79409">3</cx:pt>
          <cx:pt idx="79410">2</cx:pt>
          <cx:pt idx="79411">4</cx:pt>
          <cx:pt idx="79412">3</cx:pt>
          <cx:pt idx="79413">4</cx:pt>
          <cx:pt idx="79414">5</cx:pt>
          <cx:pt idx="79415">3</cx:pt>
          <cx:pt idx="79416">2</cx:pt>
          <cx:pt idx="79417">4</cx:pt>
          <cx:pt idx="79418">2</cx:pt>
          <cx:pt idx="79419">2</cx:pt>
          <cx:pt idx="79420">1</cx:pt>
          <cx:pt idx="79421">3</cx:pt>
          <cx:pt idx="79422">2</cx:pt>
          <cx:pt idx="79423">3</cx:pt>
          <cx:pt idx="79424">3</cx:pt>
          <cx:pt idx="79425">2</cx:pt>
          <cx:pt idx="79426">3</cx:pt>
          <cx:pt idx="79427">5</cx:pt>
          <cx:pt idx="79428">4</cx:pt>
          <cx:pt idx="79429">3</cx:pt>
          <cx:pt idx="79430">1</cx:pt>
          <cx:pt idx="79431">1</cx:pt>
          <cx:pt idx="79432">2</cx:pt>
          <cx:pt idx="79433">3</cx:pt>
          <cx:pt idx="79434">5</cx:pt>
          <cx:pt idx="79435">2</cx:pt>
          <cx:pt idx="79436">2</cx:pt>
          <cx:pt idx="79437">5</cx:pt>
          <cx:pt idx="79438">2</cx:pt>
          <cx:pt idx="79439">4</cx:pt>
          <cx:pt idx="79440">4</cx:pt>
          <cx:pt idx="79441">4</cx:pt>
          <cx:pt idx="79442">4</cx:pt>
          <cx:pt idx="79443">3</cx:pt>
          <cx:pt idx="79444">2</cx:pt>
          <cx:pt idx="79445">3</cx:pt>
          <cx:pt idx="79446">4</cx:pt>
          <cx:pt idx="79447">2</cx:pt>
          <cx:pt idx="79448">2</cx:pt>
          <cx:pt idx="79449">4</cx:pt>
          <cx:pt idx="79450">5</cx:pt>
          <cx:pt idx="79451">1</cx:pt>
          <cx:pt idx="79452">3</cx:pt>
          <cx:pt idx="79453">0</cx:pt>
          <cx:pt idx="79454">5</cx:pt>
          <cx:pt idx="79455">5</cx:pt>
          <cx:pt idx="79456">0</cx:pt>
          <cx:pt idx="79457">5</cx:pt>
          <cx:pt idx="79458">4</cx:pt>
          <cx:pt idx="79459">1</cx:pt>
          <cx:pt idx="79460">5</cx:pt>
          <cx:pt idx="79461">1</cx:pt>
          <cx:pt idx="79462">3</cx:pt>
          <cx:pt idx="79463">3</cx:pt>
          <cx:pt idx="79464">1</cx:pt>
          <cx:pt idx="79465">2</cx:pt>
          <cx:pt idx="79466">2</cx:pt>
          <cx:pt idx="79467">4</cx:pt>
          <cx:pt idx="79468">4</cx:pt>
          <cx:pt idx="79469">3</cx:pt>
          <cx:pt idx="79470">5</cx:pt>
          <cx:pt idx="79471">2</cx:pt>
          <cx:pt idx="79472">3</cx:pt>
          <cx:pt idx="79473">5</cx:pt>
          <cx:pt idx="79474">5</cx:pt>
          <cx:pt idx="79475">2</cx:pt>
          <cx:pt idx="79476">4</cx:pt>
          <cx:pt idx="79477">2</cx:pt>
          <cx:pt idx="79478">4</cx:pt>
          <cx:pt idx="79479">5</cx:pt>
          <cx:pt idx="79480">3</cx:pt>
          <cx:pt idx="79481">3</cx:pt>
          <cx:pt idx="79482">3</cx:pt>
          <cx:pt idx="79483">1</cx:pt>
          <cx:pt idx="79484">3</cx:pt>
          <cx:pt idx="79485">5</cx:pt>
          <cx:pt idx="79486">2</cx:pt>
          <cx:pt idx="79487">3</cx:pt>
          <cx:pt idx="79488">4</cx:pt>
          <cx:pt idx="79489">4</cx:pt>
          <cx:pt idx="79490">4</cx:pt>
          <cx:pt idx="79491">3</cx:pt>
          <cx:pt idx="79492">0</cx:pt>
          <cx:pt idx="79493">2</cx:pt>
          <cx:pt idx="79494">4</cx:pt>
          <cx:pt idx="79495">3</cx:pt>
          <cx:pt idx="79496">5</cx:pt>
          <cx:pt idx="79497">4</cx:pt>
          <cx:pt idx="79498">2</cx:pt>
          <cx:pt idx="79499">2</cx:pt>
          <cx:pt idx="79500">4</cx:pt>
          <cx:pt idx="79501">3</cx:pt>
          <cx:pt idx="79502">2</cx:pt>
          <cx:pt idx="79503">5</cx:pt>
          <cx:pt idx="79504">5</cx:pt>
          <cx:pt idx="79505">3</cx:pt>
          <cx:pt idx="79506">4</cx:pt>
          <cx:pt idx="79507">1</cx:pt>
          <cx:pt idx="79508">4</cx:pt>
          <cx:pt idx="79509">4</cx:pt>
          <cx:pt idx="79510">3</cx:pt>
          <cx:pt idx="79511">4</cx:pt>
          <cx:pt idx="79512">3</cx:pt>
          <cx:pt idx="79513">2</cx:pt>
          <cx:pt idx="79514">3</cx:pt>
          <cx:pt idx="79515">4</cx:pt>
          <cx:pt idx="79516">3</cx:pt>
          <cx:pt idx="79517">2</cx:pt>
          <cx:pt idx="79518">1</cx:pt>
          <cx:pt idx="79519">4</cx:pt>
          <cx:pt idx="79520">4</cx:pt>
          <cx:pt idx="79521">3</cx:pt>
          <cx:pt idx="79522">4</cx:pt>
          <cx:pt idx="79523">4</cx:pt>
          <cx:pt idx="79524">1</cx:pt>
          <cx:pt idx="79525">1</cx:pt>
          <cx:pt idx="79526">4</cx:pt>
          <cx:pt idx="79527">5</cx:pt>
          <cx:pt idx="79528">1</cx:pt>
          <cx:pt idx="79529">3</cx:pt>
          <cx:pt idx="79530">3</cx:pt>
          <cx:pt idx="79531">3</cx:pt>
          <cx:pt idx="79532">2</cx:pt>
          <cx:pt idx="79533">1</cx:pt>
          <cx:pt idx="79534">2</cx:pt>
          <cx:pt idx="79535">4</cx:pt>
          <cx:pt idx="79536">5</cx:pt>
          <cx:pt idx="79537">4</cx:pt>
          <cx:pt idx="79538">2</cx:pt>
          <cx:pt idx="79539">3</cx:pt>
          <cx:pt idx="79540">5</cx:pt>
          <cx:pt idx="79541">5</cx:pt>
          <cx:pt idx="79542">4</cx:pt>
          <cx:pt idx="79543">4</cx:pt>
          <cx:pt idx="79544">3</cx:pt>
          <cx:pt idx="79545">5</cx:pt>
          <cx:pt idx="79546">4</cx:pt>
          <cx:pt idx="79547">1</cx:pt>
          <cx:pt idx="79548">2</cx:pt>
          <cx:pt idx="79549">2</cx:pt>
          <cx:pt idx="79550">3</cx:pt>
          <cx:pt idx="79551">4</cx:pt>
          <cx:pt idx="79552">3</cx:pt>
          <cx:pt idx="79553">5</cx:pt>
          <cx:pt idx="79554">1</cx:pt>
          <cx:pt idx="79555">5</cx:pt>
          <cx:pt idx="79556">3</cx:pt>
          <cx:pt idx="79557">2</cx:pt>
          <cx:pt idx="79558">5</cx:pt>
          <cx:pt idx="79559">0</cx:pt>
          <cx:pt idx="79560">2</cx:pt>
          <cx:pt idx="79561">1</cx:pt>
          <cx:pt idx="79562">1</cx:pt>
          <cx:pt idx="79563">3</cx:pt>
          <cx:pt idx="79564">1</cx:pt>
          <cx:pt idx="79565">1</cx:pt>
          <cx:pt idx="79566">3</cx:pt>
          <cx:pt idx="79567">1</cx:pt>
          <cx:pt idx="79568">5</cx:pt>
          <cx:pt idx="79569">1</cx:pt>
          <cx:pt idx="79570">0</cx:pt>
          <cx:pt idx="79571">2</cx:pt>
          <cx:pt idx="79572">0</cx:pt>
          <cx:pt idx="79573">5</cx:pt>
          <cx:pt idx="79574">4</cx:pt>
          <cx:pt idx="79575">2</cx:pt>
          <cx:pt idx="79576">2</cx:pt>
          <cx:pt idx="79577">2</cx:pt>
          <cx:pt idx="79578">4</cx:pt>
          <cx:pt idx="79579">5</cx:pt>
          <cx:pt idx="79580">2</cx:pt>
          <cx:pt idx="79581">1</cx:pt>
          <cx:pt idx="79582">2</cx:pt>
          <cx:pt idx="79583">1</cx:pt>
          <cx:pt idx="79584">5</cx:pt>
          <cx:pt idx="79585">2</cx:pt>
          <cx:pt idx="79586">1</cx:pt>
          <cx:pt idx="79587">1</cx:pt>
          <cx:pt idx="79588">2</cx:pt>
          <cx:pt idx="79589">1</cx:pt>
          <cx:pt idx="79590">2</cx:pt>
          <cx:pt idx="79591">2</cx:pt>
          <cx:pt idx="79592">3</cx:pt>
          <cx:pt idx="79593">4</cx:pt>
          <cx:pt idx="79594">4</cx:pt>
          <cx:pt idx="79595">1</cx:pt>
          <cx:pt idx="79596">3</cx:pt>
          <cx:pt idx="79597">4</cx:pt>
          <cx:pt idx="79598">1</cx:pt>
          <cx:pt idx="79599">3</cx:pt>
          <cx:pt idx="79600">3</cx:pt>
          <cx:pt idx="79601">4</cx:pt>
          <cx:pt idx="79602">5</cx:pt>
          <cx:pt idx="79603">3</cx:pt>
          <cx:pt idx="79604">4</cx:pt>
          <cx:pt idx="79605">2</cx:pt>
          <cx:pt idx="79606">2</cx:pt>
          <cx:pt idx="79607">2</cx:pt>
          <cx:pt idx="79608">2</cx:pt>
          <cx:pt idx="79609">5</cx:pt>
          <cx:pt idx="79610">1</cx:pt>
          <cx:pt idx="79611">2</cx:pt>
          <cx:pt idx="79612">4</cx:pt>
          <cx:pt idx="79613">2</cx:pt>
          <cx:pt idx="79614">3</cx:pt>
          <cx:pt idx="79615">5</cx:pt>
          <cx:pt idx="79616">4</cx:pt>
          <cx:pt idx="79617">2</cx:pt>
          <cx:pt idx="79618">5</cx:pt>
          <cx:pt idx="79619">4</cx:pt>
          <cx:pt idx="79620">2</cx:pt>
          <cx:pt idx="79621">1</cx:pt>
          <cx:pt idx="79622">3</cx:pt>
          <cx:pt idx="79623">2</cx:pt>
          <cx:pt idx="79624">1</cx:pt>
          <cx:pt idx="79625">3</cx:pt>
          <cx:pt idx="79626">3</cx:pt>
          <cx:pt idx="79627">4</cx:pt>
          <cx:pt idx="79628">2</cx:pt>
          <cx:pt idx="79629">5</cx:pt>
          <cx:pt idx="79630">3</cx:pt>
          <cx:pt idx="79631">4</cx:pt>
          <cx:pt idx="79632">3</cx:pt>
          <cx:pt idx="79633">1</cx:pt>
          <cx:pt idx="79634">0</cx:pt>
          <cx:pt idx="79635">3</cx:pt>
          <cx:pt idx="79636">0</cx:pt>
          <cx:pt idx="79637">3</cx:pt>
          <cx:pt idx="79638">5</cx:pt>
          <cx:pt idx="79639">1</cx:pt>
          <cx:pt idx="79640">1</cx:pt>
          <cx:pt idx="79641">4</cx:pt>
          <cx:pt idx="79642">5</cx:pt>
          <cx:pt idx="79643">5</cx:pt>
          <cx:pt idx="79644">3</cx:pt>
          <cx:pt idx="79645">0</cx:pt>
          <cx:pt idx="79646">1</cx:pt>
          <cx:pt idx="79647">4</cx:pt>
          <cx:pt idx="79648">3</cx:pt>
          <cx:pt idx="79649">3</cx:pt>
          <cx:pt idx="79650">5</cx:pt>
          <cx:pt idx="79651">2</cx:pt>
          <cx:pt idx="79652">4</cx:pt>
          <cx:pt idx="79653">3</cx:pt>
          <cx:pt idx="79654">5</cx:pt>
          <cx:pt idx="79655">1</cx:pt>
          <cx:pt idx="79656">4</cx:pt>
          <cx:pt idx="79657">2</cx:pt>
          <cx:pt idx="79658">0</cx:pt>
          <cx:pt idx="79659">2</cx:pt>
          <cx:pt idx="79660">4</cx:pt>
          <cx:pt idx="79661">5</cx:pt>
          <cx:pt idx="79662">1</cx:pt>
          <cx:pt idx="79663">5</cx:pt>
          <cx:pt idx="79664">1</cx:pt>
          <cx:pt idx="79665">1</cx:pt>
          <cx:pt idx="79666">4</cx:pt>
          <cx:pt idx="79667">3</cx:pt>
          <cx:pt idx="79668">2</cx:pt>
          <cx:pt idx="79669">3</cx:pt>
          <cx:pt idx="79670">5</cx:pt>
          <cx:pt idx="79671">2</cx:pt>
          <cx:pt idx="79672">4</cx:pt>
          <cx:pt idx="79673">4</cx:pt>
          <cx:pt idx="79674">0</cx:pt>
          <cx:pt idx="79675">5</cx:pt>
          <cx:pt idx="79676">3</cx:pt>
          <cx:pt idx="79677">3</cx:pt>
          <cx:pt idx="79678">3</cx:pt>
          <cx:pt idx="79679">2</cx:pt>
          <cx:pt idx="79680">3</cx:pt>
          <cx:pt idx="79681">3</cx:pt>
          <cx:pt idx="79682">3</cx:pt>
          <cx:pt idx="79683">2</cx:pt>
          <cx:pt idx="79684">5</cx:pt>
          <cx:pt idx="79685">3</cx:pt>
          <cx:pt idx="79686">3</cx:pt>
          <cx:pt idx="79687">1</cx:pt>
          <cx:pt idx="79688">4</cx:pt>
          <cx:pt idx="79689">4</cx:pt>
          <cx:pt idx="79690">2</cx:pt>
          <cx:pt idx="79691">3</cx:pt>
          <cx:pt idx="79692">1</cx:pt>
          <cx:pt idx="79693">3</cx:pt>
          <cx:pt idx="79694">2</cx:pt>
          <cx:pt idx="79695">5</cx:pt>
          <cx:pt idx="79696">3</cx:pt>
          <cx:pt idx="79697">2</cx:pt>
          <cx:pt idx="79698">5</cx:pt>
          <cx:pt idx="79699">4</cx:pt>
          <cx:pt idx="79700">2</cx:pt>
          <cx:pt idx="79701">2</cx:pt>
          <cx:pt idx="79702">3</cx:pt>
          <cx:pt idx="79703">2</cx:pt>
          <cx:pt idx="79704">2</cx:pt>
          <cx:pt idx="79705">4</cx:pt>
          <cx:pt idx="79706">1</cx:pt>
          <cx:pt idx="79707">2</cx:pt>
          <cx:pt idx="79708">3</cx:pt>
          <cx:pt idx="79709">2</cx:pt>
          <cx:pt idx="79710">3</cx:pt>
          <cx:pt idx="79711">5</cx:pt>
          <cx:pt idx="79712">1</cx:pt>
          <cx:pt idx="79713">4</cx:pt>
          <cx:pt idx="79714">3</cx:pt>
          <cx:pt idx="79715">3</cx:pt>
          <cx:pt idx="79716">1</cx:pt>
          <cx:pt idx="79717">2</cx:pt>
          <cx:pt idx="79718">1</cx:pt>
          <cx:pt idx="79719">4</cx:pt>
          <cx:pt idx="79720">2</cx:pt>
          <cx:pt idx="79721">2</cx:pt>
          <cx:pt idx="79722">5</cx:pt>
          <cx:pt idx="79723">3</cx:pt>
          <cx:pt idx="79724">5</cx:pt>
          <cx:pt idx="79725">4</cx:pt>
          <cx:pt idx="79726">3</cx:pt>
          <cx:pt idx="79727">2</cx:pt>
          <cx:pt idx="79728">1</cx:pt>
          <cx:pt idx="79729">5</cx:pt>
          <cx:pt idx="79730">1</cx:pt>
          <cx:pt idx="79731">2</cx:pt>
          <cx:pt idx="79732">2</cx:pt>
          <cx:pt idx="79733">2</cx:pt>
          <cx:pt idx="79734">3</cx:pt>
          <cx:pt idx="79735">4</cx:pt>
          <cx:pt idx="79736">3</cx:pt>
          <cx:pt idx="79737">2</cx:pt>
          <cx:pt idx="79738">2</cx:pt>
          <cx:pt idx="79739">2</cx:pt>
          <cx:pt idx="79740">2</cx:pt>
          <cx:pt idx="79741">0</cx:pt>
          <cx:pt idx="79742">4</cx:pt>
          <cx:pt idx="79743">1</cx:pt>
          <cx:pt idx="79744">0</cx:pt>
          <cx:pt idx="79745">1</cx:pt>
          <cx:pt idx="79746">2</cx:pt>
          <cx:pt idx="79747">3</cx:pt>
          <cx:pt idx="79748">3</cx:pt>
          <cx:pt idx="79749">1</cx:pt>
          <cx:pt idx="79750">3</cx:pt>
          <cx:pt idx="79751">0</cx:pt>
          <cx:pt idx="79752">3</cx:pt>
          <cx:pt idx="79753">4</cx:pt>
          <cx:pt idx="79754">2</cx:pt>
          <cx:pt idx="79755">5</cx:pt>
          <cx:pt idx="79756">4</cx:pt>
          <cx:pt idx="79757">5</cx:pt>
          <cx:pt idx="79758">2</cx:pt>
          <cx:pt idx="79759">3</cx:pt>
          <cx:pt idx="79760">3</cx:pt>
          <cx:pt idx="79761">2</cx:pt>
          <cx:pt idx="79762">3</cx:pt>
          <cx:pt idx="79763">4</cx:pt>
          <cx:pt idx="79764">2</cx:pt>
          <cx:pt idx="79765">2</cx:pt>
          <cx:pt idx="79766">3</cx:pt>
          <cx:pt idx="79767">3</cx:pt>
          <cx:pt idx="79768">3</cx:pt>
          <cx:pt idx="79769">1</cx:pt>
          <cx:pt idx="79770">4</cx:pt>
          <cx:pt idx="79771">4</cx:pt>
          <cx:pt idx="79772">5</cx:pt>
          <cx:pt idx="79773">4</cx:pt>
          <cx:pt idx="79774">3</cx:pt>
          <cx:pt idx="79775">3</cx:pt>
          <cx:pt idx="79776">5</cx:pt>
          <cx:pt idx="79777">1</cx:pt>
          <cx:pt idx="79778">1</cx:pt>
          <cx:pt idx="79779">1</cx:pt>
          <cx:pt idx="79780">3</cx:pt>
          <cx:pt idx="79781">3</cx:pt>
          <cx:pt idx="79782">1</cx:pt>
          <cx:pt idx="79783">2</cx:pt>
          <cx:pt idx="79784">5</cx:pt>
          <cx:pt idx="79785">3</cx:pt>
          <cx:pt idx="79786">4</cx:pt>
          <cx:pt idx="79787">0</cx:pt>
          <cx:pt idx="79788">2</cx:pt>
          <cx:pt idx="79789">2</cx:pt>
          <cx:pt idx="79790">0</cx:pt>
          <cx:pt idx="79791">3</cx:pt>
          <cx:pt idx="79792">4</cx:pt>
          <cx:pt idx="79793">4</cx:pt>
          <cx:pt idx="79794">2</cx:pt>
          <cx:pt idx="79795">4</cx:pt>
          <cx:pt idx="79796">3</cx:pt>
          <cx:pt idx="79797">4</cx:pt>
          <cx:pt idx="79798">1</cx:pt>
          <cx:pt idx="79799">5</cx:pt>
          <cx:pt idx="79800">4</cx:pt>
          <cx:pt idx="79801">2</cx:pt>
          <cx:pt idx="79802">2</cx:pt>
          <cx:pt idx="79803">5</cx:pt>
          <cx:pt idx="79804">4</cx:pt>
          <cx:pt idx="79805">5</cx:pt>
          <cx:pt idx="79806">4</cx:pt>
          <cx:pt idx="79807">4</cx:pt>
          <cx:pt idx="79808">2</cx:pt>
          <cx:pt idx="79809">0</cx:pt>
          <cx:pt idx="79810">2</cx:pt>
          <cx:pt idx="79811">5</cx:pt>
          <cx:pt idx="79812">5</cx:pt>
          <cx:pt idx="79813">4</cx:pt>
          <cx:pt idx="79814">2</cx:pt>
          <cx:pt idx="79815">4</cx:pt>
          <cx:pt idx="79816">1</cx:pt>
          <cx:pt idx="79817">5</cx:pt>
          <cx:pt idx="79818">0</cx:pt>
          <cx:pt idx="79819">4</cx:pt>
          <cx:pt idx="79820">2</cx:pt>
          <cx:pt idx="79821">2</cx:pt>
          <cx:pt idx="79822">3</cx:pt>
          <cx:pt idx="79823">1</cx:pt>
          <cx:pt idx="79824">1</cx:pt>
          <cx:pt idx="79825">4</cx:pt>
          <cx:pt idx="79826">0</cx:pt>
          <cx:pt idx="79827">1</cx:pt>
          <cx:pt idx="79828">2</cx:pt>
          <cx:pt idx="79829">3</cx:pt>
          <cx:pt idx="79830">1</cx:pt>
          <cx:pt idx="79831">3</cx:pt>
          <cx:pt idx="79832">4</cx:pt>
          <cx:pt idx="79833">2</cx:pt>
          <cx:pt idx="79834">2</cx:pt>
          <cx:pt idx="79835">4</cx:pt>
          <cx:pt idx="79836">3</cx:pt>
          <cx:pt idx="79837">1</cx:pt>
          <cx:pt idx="79838">3</cx:pt>
          <cx:pt idx="79839">2</cx:pt>
          <cx:pt idx="79840">4</cx:pt>
          <cx:pt idx="79841">5</cx:pt>
          <cx:pt idx="79842">3</cx:pt>
          <cx:pt idx="79843">5</cx:pt>
          <cx:pt idx="79844">4</cx:pt>
          <cx:pt idx="79845">5</cx:pt>
          <cx:pt idx="79846">1</cx:pt>
          <cx:pt idx="79847">3</cx:pt>
          <cx:pt idx="79848">5</cx:pt>
          <cx:pt idx="79849">2</cx:pt>
          <cx:pt idx="79850">2</cx:pt>
          <cx:pt idx="79851">2</cx:pt>
          <cx:pt idx="79852">1</cx:pt>
          <cx:pt idx="79853">1</cx:pt>
          <cx:pt idx="79854">4</cx:pt>
          <cx:pt idx="79855">5</cx:pt>
          <cx:pt idx="79856">3</cx:pt>
          <cx:pt idx="79857">2</cx:pt>
          <cx:pt idx="79858">3</cx:pt>
          <cx:pt idx="79859">5</cx:pt>
          <cx:pt idx="79860">5</cx:pt>
          <cx:pt idx="79861">3</cx:pt>
          <cx:pt idx="79862">2</cx:pt>
          <cx:pt idx="79863">4</cx:pt>
          <cx:pt idx="79864">2</cx:pt>
          <cx:pt idx="79865">3</cx:pt>
          <cx:pt idx="79866">1</cx:pt>
          <cx:pt idx="79867">2</cx:pt>
          <cx:pt idx="79868">3</cx:pt>
          <cx:pt idx="79869">3</cx:pt>
          <cx:pt idx="79870">4</cx:pt>
          <cx:pt idx="79871">1</cx:pt>
          <cx:pt idx="79872">1</cx:pt>
          <cx:pt idx="79873">3</cx:pt>
          <cx:pt idx="79874">0</cx:pt>
          <cx:pt idx="79875">2</cx:pt>
          <cx:pt idx="79876">1</cx:pt>
          <cx:pt idx="79877">0</cx:pt>
          <cx:pt idx="79878">2</cx:pt>
          <cx:pt idx="79879">0</cx:pt>
          <cx:pt idx="79880">1</cx:pt>
          <cx:pt idx="79881">3</cx:pt>
          <cx:pt idx="79882">0</cx:pt>
          <cx:pt idx="79883">3</cx:pt>
          <cx:pt idx="79884">2</cx:pt>
          <cx:pt idx="79885">5</cx:pt>
          <cx:pt idx="79886">2</cx:pt>
          <cx:pt idx="79887">4</cx:pt>
          <cx:pt idx="79888">2</cx:pt>
          <cx:pt idx="79889">5</cx:pt>
          <cx:pt idx="79890">3</cx:pt>
          <cx:pt idx="79891">2</cx:pt>
          <cx:pt idx="79892">5</cx:pt>
          <cx:pt idx="79893">1</cx:pt>
          <cx:pt idx="79894">1</cx:pt>
          <cx:pt idx="79895">3</cx:pt>
          <cx:pt idx="79896">3</cx:pt>
          <cx:pt idx="79897">4</cx:pt>
          <cx:pt idx="79898">3</cx:pt>
          <cx:pt idx="79899">1</cx:pt>
          <cx:pt idx="79900">5</cx:pt>
          <cx:pt idx="79901">3</cx:pt>
          <cx:pt idx="79902">1</cx:pt>
          <cx:pt idx="79903">2</cx:pt>
          <cx:pt idx="79904">1</cx:pt>
          <cx:pt idx="79905">0</cx:pt>
          <cx:pt idx="79906">3</cx:pt>
          <cx:pt idx="79907">3</cx:pt>
          <cx:pt idx="79908">5</cx:pt>
          <cx:pt idx="79909">4</cx:pt>
          <cx:pt idx="79910">2</cx:pt>
          <cx:pt idx="79911">2</cx:pt>
          <cx:pt idx="79912">3</cx:pt>
          <cx:pt idx="79913">5</cx:pt>
          <cx:pt idx="79914">2</cx:pt>
          <cx:pt idx="79915">3</cx:pt>
          <cx:pt idx="79916">2</cx:pt>
          <cx:pt idx="79917">4</cx:pt>
          <cx:pt idx="79918">4</cx:pt>
          <cx:pt idx="79919">1</cx:pt>
          <cx:pt idx="79920">2</cx:pt>
          <cx:pt idx="79921">4</cx:pt>
          <cx:pt idx="79922">3</cx:pt>
          <cx:pt idx="79923">3</cx:pt>
          <cx:pt idx="79924">3</cx:pt>
          <cx:pt idx="79925">3</cx:pt>
          <cx:pt idx="79926">4</cx:pt>
          <cx:pt idx="79927">5</cx:pt>
          <cx:pt idx="79928">3</cx:pt>
          <cx:pt idx="79929">5</cx:pt>
          <cx:pt idx="79930">3</cx:pt>
          <cx:pt idx="79931">5</cx:pt>
          <cx:pt idx="79932">3</cx:pt>
          <cx:pt idx="79933">4</cx:pt>
          <cx:pt idx="79934">4</cx:pt>
          <cx:pt idx="79935">2</cx:pt>
          <cx:pt idx="79936">4</cx:pt>
          <cx:pt idx="79937">5</cx:pt>
          <cx:pt idx="79938">3</cx:pt>
          <cx:pt idx="79939">2</cx:pt>
          <cx:pt idx="79940">0</cx:pt>
          <cx:pt idx="79941">5</cx:pt>
          <cx:pt idx="79942">3</cx:pt>
          <cx:pt idx="79943">4</cx:pt>
          <cx:pt idx="79944">2</cx:pt>
          <cx:pt idx="79945">3</cx:pt>
          <cx:pt idx="79946">2</cx:pt>
          <cx:pt idx="79947">1</cx:pt>
          <cx:pt idx="79948">5</cx:pt>
          <cx:pt idx="79949">3</cx:pt>
          <cx:pt idx="79950">3</cx:pt>
          <cx:pt idx="79951">2</cx:pt>
          <cx:pt idx="79952">4</cx:pt>
          <cx:pt idx="79953">4</cx:pt>
          <cx:pt idx="79954">3</cx:pt>
          <cx:pt idx="79955">4</cx:pt>
          <cx:pt idx="79956">1</cx:pt>
          <cx:pt idx="79957">5</cx:pt>
          <cx:pt idx="79958">0</cx:pt>
          <cx:pt idx="79959">2</cx:pt>
          <cx:pt idx="79960">3</cx:pt>
          <cx:pt idx="79961">2</cx:pt>
          <cx:pt idx="79962">0</cx:pt>
          <cx:pt idx="79963">3</cx:pt>
          <cx:pt idx="79964">4</cx:pt>
          <cx:pt idx="79965">3</cx:pt>
          <cx:pt idx="79966">5</cx:pt>
          <cx:pt idx="79967">1</cx:pt>
          <cx:pt idx="79968">2</cx:pt>
          <cx:pt idx="79969">0</cx:pt>
          <cx:pt idx="79970">5</cx:pt>
          <cx:pt idx="79971">4</cx:pt>
          <cx:pt idx="79972">2</cx:pt>
          <cx:pt idx="79973">1</cx:pt>
          <cx:pt idx="79974">5</cx:pt>
          <cx:pt idx="79975">5</cx:pt>
          <cx:pt idx="79976">3</cx:pt>
          <cx:pt idx="79977">1</cx:pt>
          <cx:pt idx="79978">3</cx:pt>
          <cx:pt idx="79979">2</cx:pt>
          <cx:pt idx="79980">4</cx:pt>
          <cx:pt idx="79981">4</cx:pt>
          <cx:pt idx="79982">1</cx:pt>
          <cx:pt idx="79983">4</cx:pt>
          <cx:pt idx="79984">1</cx:pt>
          <cx:pt idx="79985">1</cx:pt>
          <cx:pt idx="79986">4</cx:pt>
          <cx:pt idx="79987">4</cx:pt>
          <cx:pt idx="79988">1</cx:pt>
          <cx:pt idx="79989">1</cx:pt>
          <cx:pt idx="79990">2</cx:pt>
          <cx:pt idx="79991">1</cx:pt>
          <cx:pt idx="79992">5</cx:pt>
          <cx:pt idx="79993">5</cx:pt>
          <cx:pt idx="79994">3</cx:pt>
          <cx:pt idx="79995">3</cx:pt>
          <cx:pt idx="79996">5</cx:pt>
          <cx:pt idx="79997">1</cx:pt>
          <cx:pt idx="79998">1</cx:pt>
          <cx:pt idx="79999">2</cx:pt>
          <cx:pt idx="80000">2</cx:pt>
          <cx:pt idx="80001">4</cx:pt>
          <cx:pt idx="80002">2</cx:pt>
          <cx:pt idx="80003">5</cx:pt>
          <cx:pt idx="80004">1</cx:pt>
          <cx:pt idx="80005">2</cx:pt>
          <cx:pt idx="80006">3</cx:pt>
          <cx:pt idx="80007">4</cx:pt>
          <cx:pt idx="80008">4</cx:pt>
          <cx:pt idx="80009">3</cx:pt>
          <cx:pt idx="80010">5</cx:pt>
          <cx:pt idx="80011">1</cx:pt>
          <cx:pt idx="80012">5</cx:pt>
          <cx:pt idx="80013">5</cx:pt>
          <cx:pt idx="80014">4</cx:pt>
          <cx:pt idx="80015">2</cx:pt>
          <cx:pt idx="80016">4</cx:pt>
          <cx:pt idx="80017">1</cx:pt>
          <cx:pt idx="80018">5</cx:pt>
          <cx:pt idx="80019">3</cx:pt>
          <cx:pt idx="80020">2</cx:pt>
          <cx:pt idx="80021">3</cx:pt>
          <cx:pt idx="80022">4</cx:pt>
          <cx:pt idx="80023">2</cx:pt>
          <cx:pt idx="80024">2</cx:pt>
          <cx:pt idx="80025">3</cx:pt>
          <cx:pt idx="80026">4</cx:pt>
          <cx:pt idx="80027">0</cx:pt>
          <cx:pt idx="80028">1</cx:pt>
          <cx:pt idx="80029">0</cx:pt>
          <cx:pt idx="80030">2</cx:pt>
          <cx:pt idx="80031">2</cx:pt>
          <cx:pt idx="80032">4</cx:pt>
          <cx:pt idx="80033">2</cx:pt>
          <cx:pt idx="80034">3</cx:pt>
          <cx:pt idx="80035">1</cx:pt>
          <cx:pt idx="80036">2</cx:pt>
          <cx:pt idx="80037">2</cx:pt>
          <cx:pt idx="80038">5</cx:pt>
          <cx:pt idx="80039">4</cx:pt>
          <cx:pt idx="80040">2</cx:pt>
          <cx:pt idx="80041">3</cx:pt>
          <cx:pt idx="80042">2</cx:pt>
          <cx:pt idx="80043">4</cx:pt>
          <cx:pt idx="80044">5</cx:pt>
          <cx:pt idx="80045">2</cx:pt>
          <cx:pt idx="80046">0</cx:pt>
          <cx:pt idx="80047">5</cx:pt>
          <cx:pt idx="80048">3</cx:pt>
          <cx:pt idx="80049">5</cx:pt>
          <cx:pt idx="80050">1</cx:pt>
          <cx:pt idx="80051">5</cx:pt>
          <cx:pt idx="80052">5</cx:pt>
          <cx:pt idx="80053">3</cx:pt>
          <cx:pt idx="80054">3</cx:pt>
          <cx:pt idx="80055">3</cx:pt>
          <cx:pt idx="80056">4</cx:pt>
          <cx:pt idx="80057">1</cx:pt>
          <cx:pt idx="80058">4</cx:pt>
          <cx:pt idx="80059">3</cx:pt>
          <cx:pt idx="80060">3</cx:pt>
          <cx:pt idx="80061">2</cx:pt>
          <cx:pt idx="80062">2</cx:pt>
          <cx:pt idx="80063">2</cx:pt>
          <cx:pt idx="80064">1</cx:pt>
          <cx:pt idx="80065">4</cx:pt>
          <cx:pt idx="80066">3</cx:pt>
          <cx:pt idx="80067">4</cx:pt>
          <cx:pt idx="80068">2</cx:pt>
          <cx:pt idx="80069">2</cx:pt>
          <cx:pt idx="80070">2</cx:pt>
          <cx:pt idx="80071">4</cx:pt>
          <cx:pt idx="80072">3</cx:pt>
          <cx:pt idx="80073">1</cx:pt>
          <cx:pt idx="80074">1</cx:pt>
          <cx:pt idx="80075">5</cx:pt>
          <cx:pt idx="80076">4</cx:pt>
          <cx:pt idx="80077">4</cx:pt>
          <cx:pt idx="80078">0</cx:pt>
          <cx:pt idx="80079">2</cx:pt>
          <cx:pt idx="80080">4</cx:pt>
          <cx:pt idx="80081">4</cx:pt>
          <cx:pt idx="80082">1</cx:pt>
          <cx:pt idx="80083">3</cx:pt>
          <cx:pt idx="80084">2</cx:pt>
          <cx:pt idx="80085">5</cx:pt>
          <cx:pt idx="80086">1</cx:pt>
          <cx:pt idx="80087">4</cx:pt>
          <cx:pt idx="80088">5</cx:pt>
          <cx:pt idx="80089">1</cx:pt>
          <cx:pt idx="80090">1</cx:pt>
          <cx:pt idx="80091">2</cx:pt>
          <cx:pt idx="80092">3</cx:pt>
          <cx:pt idx="80093">0</cx:pt>
          <cx:pt idx="80094">1</cx:pt>
          <cx:pt idx="80095">3</cx:pt>
          <cx:pt idx="80096">5</cx:pt>
          <cx:pt idx="80097">5</cx:pt>
          <cx:pt idx="80098">4</cx:pt>
          <cx:pt idx="80099">3</cx:pt>
          <cx:pt idx="80100">4</cx:pt>
          <cx:pt idx="80101">5</cx:pt>
          <cx:pt idx="80102">2</cx:pt>
          <cx:pt idx="80103">4</cx:pt>
          <cx:pt idx="80104">1</cx:pt>
          <cx:pt idx="80105">1</cx:pt>
          <cx:pt idx="80106">2</cx:pt>
          <cx:pt idx="80107">3</cx:pt>
          <cx:pt idx="80108">4</cx:pt>
          <cx:pt idx="80109">5</cx:pt>
          <cx:pt idx="80110">2</cx:pt>
          <cx:pt idx="80111">0</cx:pt>
          <cx:pt idx="80112">3</cx:pt>
          <cx:pt idx="80113">4</cx:pt>
          <cx:pt idx="80114">3</cx:pt>
          <cx:pt idx="80115">1</cx:pt>
          <cx:pt idx="80116">5</cx:pt>
          <cx:pt idx="80117">2</cx:pt>
          <cx:pt idx="80118">3</cx:pt>
          <cx:pt idx="80119">1</cx:pt>
          <cx:pt idx="80120">4</cx:pt>
          <cx:pt idx="80121">1</cx:pt>
          <cx:pt idx="80122">5</cx:pt>
          <cx:pt idx="80123">2</cx:pt>
          <cx:pt idx="80124">4</cx:pt>
          <cx:pt idx="80125">1</cx:pt>
          <cx:pt idx="80126">1</cx:pt>
          <cx:pt idx="80127">1</cx:pt>
          <cx:pt idx="80128">3</cx:pt>
          <cx:pt idx="80129">4</cx:pt>
          <cx:pt idx="80130">4</cx:pt>
          <cx:pt idx="80131">5</cx:pt>
          <cx:pt idx="80132">1</cx:pt>
          <cx:pt idx="80133">4</cx:pt>
          <cx:pt idx="80134">1</cx:pt>
          <cx:pt idx="80135">2</cx:pt>
          <cx:pt idx="80136">4</cx:pt>
          <cx:pt idx="80137">1</cx:pt>
          <cx:pt idx="80138">4</cx:pt>
          <cx:pt idx="80139">1</cx:pt>
          <cx:pt idx="80140">4</cx:pt>
          <cx:pt idx="80141">1</cx:pt>
          <cx:pt idx="80142">2</cx:pt>
          <cx:pt idx="80143">2</cx:pt>
          <cx:pt idx="80144">3</cx:pt>
          <cx:pt idx="80145">4</cx:pt>
          <cx:pt idx="80146">1</cx:pt>
          <cx:pt idx="80147">4</cx:pt>
          <cx:pt idx="80148">5</cx:pt>
          <cx:pt idx="80149">5</cx:pt>
          <cx:pt idx="80150">5</cx:pt>
          <cx:pt idx="80151">5</cx:pt>
          <cx:pt idx="80152">0</cx:pt>
          <cx:pt idx="80153">2</cx:pt>
          <cx:pt idx="80154">1</cx:pt>
          <cx:pt idx="80155">3</cx:pt>
          <cx:pt idx="80156">3</cx:pt>
          <cx:pt idx="80157">0</cx:pt>
          <cx:pt idx="80158">1</cx:pt>
          <cx:pt idx="80159">4</cx:pt>
          <cx:pt idx="80160">4</cx:pt>
          <cx:pt idx="80161">3</cx:pt>
          <cx:pt idx="80162">4</cx:pt>
          <cx:pt idx="80163">4</cx:pt>
          <cx:pt idx="80164">1</cx:pt>
          <cx:pt idx="80165">5</cx:pt>
          <cx:pt idx="80166">4</cx:pt>
          <cx:pt idx="80167">0</cx:pt>
          <cx:pt idx="80168">2</cx:pt>
          <cx:pt idx="80169">5</cx:pt>
          <cx:pt idx="80170">5</cx:pt>
          <cx:pt idx="80171">1</cx:pt>
          <cx:pt idx="80172">3</cx:pt>
          <cx:pt idx="80173">3</cx:pt>
          <cx:pt idx="80174">2</cx:pt>
          <cx:pt idx="80175">1</cx:pt>
          <cx:pt idx="80176">2</cx:pt>
          <cx:pt idx="80177">5</cx:pt>
          <cx:pt idx="80178">2</cx:pt>
          <cx:pt idx="80179">3</cx:pt>
          <cx:pt idx="80180">4</cx:pt>
          <cx:pt idx="80181">1</cx:pt>
          <cx:pt idx="80182">4</cx:pt>
          <cx:pt idx="80183">3</cx:pt>
          <cx:pt idx="80184">3</cx:pt>
          <cx:pt idx="80185">4</cx:pt>
          <cx:pt idx="80186">2</cx:pt>
          <cx:pt idx="80187">2</cx:pt>
          <cx:pt idx="80188">4</cx:pt>
          <cx:pt idx="80189">0</cx:pt>
          <cx:pt idx="80190">3</cx:pt>
          <cx:pt idx="80191">1</cx:pt>
          <cx:pt idx="80192">2</cx:pt>
          <cx:pt idx="80193">1</cx:pt>
          <cx:pt idx="80194">5</cx:pt>
          <cx:pt idx="80195">3</cx:pt>
          <cx:pt idx="80196">1</cx:pt>
          <cx:pt idx="80197">3</cx:pt>
          <cx:pt idx="80198">3</cx:pt>
          <cx:pt idx="80199">3</cx:pt>
          <cx:pt idx="80200">1</cx:pt>
          <cx:pt idx="80201">4</cx:pt>
          <cx:pt idx="80202">0</cx:pt>
          <cx:pt idx="80203">3</cx:pt>
          <cx:pt idx="80204">3</cx:pt>
          <cx:pt idx="80205">4</cx:pt>
          <cx:pt idx="80206">2</cx:pt>
          <cx:pt idx="80207">4</cx:pt>
          <cx:pt idx="80208">1</cx:pt>
          <cx:pt idx="80209">1</cx:pt>
          <cx:pt idx="80210">4</cx:pt>
          <cx:pt idx="80211">1</cx:pt>
          <cx:pt idx="80212">3</cx:pt>
          <cx:pt idx="80213">5</cx:pt>
          <cx:pt idx="80214">4</cx:pt>
          <cx:pt idx="80215">4</cx:pt>
          <cx:pt idx="80216">1</cx:pt>
          <cx:pt idx="80217">1</cx:pt>
          <cx:pt idx="80218">4</cx:pt>
          <cx:pt idx="80219">3</cx:pt>
          <cx:pt idx="80220">2</cx:pt>
          <cx:pt idx="80221">4</cx:pt>
          <cx:pt idx="80222">4</cx:pt>
          <cx:pt idx="80223">4</cx:pt>
          <cx:pt idx="80224">3</cx:pt>
          <cx:pt idx="80225">3</cx:pt>
          <cx:pt idx="80226">1</cx:pt>
          <cx:pt idx="80227">3</cx:pt>
          <cx:pt idx="80228">1</cx:pt>
          <cx:pt idx="80229">4</cx:pt>
          <cx:pt idx="80230">3</cx:pt>
          <cx:pt idx="80231">4</cx:pt>
          <cx:pt idx="80232">4</cx:pt>
          <cx:pt idx="80233">3</cx:pt>
          <cx:pt idx="80234">1</cx:pt>
          <cx:pt idx="80235">1</cx:pt>
          <cx:pt idx="80236">5</cx:pt>
          <cx:pt idx="80237">4</cx:pt>
          <cx:pt idx="80238">5</cx:pt>
          <cx:pt idx="80239">1</cx:pt>
          <cx:pt idx="80240">1</cx:pt>
          <cx:pt idx="80241">3</cx:pt>
          <cx:pt idx="80242">4</cx:pt>
          <cx:pt idx="80243">3</cx:pt>
          <cx:pt idx="80244">2</cx:pt>
          <cx:pt idx="80245">2</cx:pt>
          <cx:pt idx="80246">5</cx:pt>
          <cx:pt idx="80247">3</cx:pt>
          <cx:pt idx="80248">2</cx:pt>
          <cx:pt idx="80249">3</cx:pt>
          <cx:pt idx="80250">0</cx:pt>
          <cx:pt idx="80251">2</cx:pt>
          <cx:pt idx="80252">4</cx:pt>
          <cx:pt idx="80253">2</cx:pt>
          <cx:pt idx="80254">2</cx:pt>
          <cx:pt idx="80255">2</cx:pt>
          <cx:pt idx="80256">4</cx:pt>
          <cx:pt idx="80257">2</cx:pt>
          <cx:pt idx="80258">5</cx:pt>
          <cx:pt idx="80259">4</cx:pt>
          <cx:pt idx="80260">5</cx:pt>
          <cx:pt idx="80261">1</cx:pt>
          <cx:pt idx="80262">5</cx:pt>
          <cx:pt idx="80263">1</cx:pt>
          <cx:pt idx="80264">3</cx:pt>
          <cx:pt idx="80265">1</cx:pt>
          <cx:pt idx="80266">4</cx:pt>
          <cx:pt idx="80267">5</cx:pt>
          <cx:pt idx="80268">3</cx:pt>
          <cx:pt idx="80269">1</cx:pt>
          <cx:pt idx="80270">5</cx:pt>
          <cx:pt idx="80271">4</cx:pt>
          <cx:pt idx="80272">4</cx:pt>
          <cx:pt idx="80273">5</cx:pt>
          <cx:pt idx="80274">2</cx:pt>
          <cx:pt idx="80275">2</cx:pt>
          <cx:pt idx="80276">3</cx:pt>
          <cx:pt idx="80277">5</cx:pt>
          <cx:pt idx="80278">3</cx:pt>
          <cx:pt idx="80279">1</cx:pt>
          <cx:pt idx="80280">2</cx:pt>
          <cx:pt idx="80281">2</cx:pt>
          <cx:pt idx="80282">2</cx:pt>
          <cx:pt idx="80283">2</cx:pt>
          <cx:pt idx="80284">0</cx:pt>
          <cx:pt idx="80285">1</cx:pt>
          <cx:pt idx="80286">5</cx:pt>
          <cx:pt idx="80287">2</cx:pt>
          <cx:pt idx="80288">2</cx:pt>
          <cx:pt idx="80289">4</cx:pt>
          <cx:pt idx="80290">3</cx:pt>
          <cx:pt idx="80291">3</cx:pt>
          <cx:pt idx="80292">3</cx:pt>
          <cx:pt idx="80293">2</cx:pt>
          <cx:pt idx="80294">2</cx:pt>
          <cx:pt idx="80295">4</cx:pt>
          <cx:pt idx="80296">4</cx:pt>
          <cx:pt idx="80297">1</cx:pt>
          <cx:pt idx="80298">4</cx:pt>
          <cx:pt idx="80299">1</cx:pt>
          <cx:pt idx="80300">4</cx:pt>
          <cx:pt idx="80301">5</cx:pt>
          <cx:pt idx="80302">2</cx:pt>
          <cx:pt idx="80303">2</cx:pt>
          <cx:pt idx="80304">4</cx:pt>
          <cx:pt idx="80305">3</cx:pt>
          <cx:pt idx="80306">3</cx:pt>
          <cx:pt idx="80307">3</cx:pt>
          <cx:pt idx="80308">2</cx:pt>
          <cx:pt idx="80309">2</cx:pt>
          <cx:pt idx="80310">3</cx:pt>
          <cx:pt idx="80311">5</cx:pt>
          <cx:pt idx="80312">2</cx:pt>
          <cx:pt idx="80313">1</cx:pt>
          <cx:pt idx="80314">4</cx:pt>
          <cx:pt idx="80315">2</cx:pt>
          <cx:pt idx="80316">3</cx:pt>
          <cx:pt idx="80317">5</cx:pt>
          <cx:pt idx="80318">2</cx:pt>
          <cx:pt idx="80319">3</cx:pt>
          <cx:pt idx="80320">3</cx:pt>
          <cx:pt idx="80321">4</cx:pt>
          <cx:pt idx="80322">3</cx:pt>
          <cx:pt idx="80323">3</cx:pt>
          <cx:pt idx="80324">3</cx:pt>
          <cx:pt idx="80325">3</cx:pt>
          <cx:pt idx="80326">5</cx:pt>
          <cx:pt idx="80327">1</cx:pt>
          <cx:pt idx="80328">4</cx:pt>
          <cx:pt idx="80329">5</cx:pt>
          <cx:pt idx="80330">2</cx:pt>
          <cx:pt idx="80331">3</cx:pt>
          <cx:pt idx="80332">1</cx:pt>
          <cx:pt idx="80333">4</cx:pt>
          <cx:pt idx="80334">2</cx:pt>
          <cx:pt idx="80335">5</cx:pt>
          <cx:pt idx="80336">5</cx:pt>
          <cx:pt idx="80337">2</cx:pt>
          <cx:pt idx="80338">4</cx:pt>
          <cx:pt idx="80339">2</cx:pt>
          <cx:pt idx="80340">5</cx:pt>
          <cx:pt idx="80341">1</cx:pt>
          <cx:pt idx="80342">3</cx:pt>
          <cx:pt idx="80343">1</cx:pt>
          <cx:pt idx="80344">3</cx:pt>
          <cx:pt idx="80345">2</cx:pt>
          <cx:pt idx="80346">5</cx:pt>
          <cx:pt idx="80347">2</cx:pt>
          <cx:pt idx="80348">5</cx:pt>
          <cx:pt idx="80349">5</cx:pt>
          <cx:pt idx="80350">4</cx:pt>
          <cx:pt idx="80351">2</cx:pt>
          <cx:pt idx="80352">4</cx:pt>
          <cx:pt idx="80353">1</cx:pt>
          <cx:pt idx="80354">0</cx:pt>
          <cx:pt idx="80355">0</cx:pt>
          <cx:pt idx="80356">3</cx:pt>
          <cx:pt idx="80357">2</cx:pt>
          <cx:pt idx="80358">2</cx:pt>
          <cx:pt idx="80359">3</cx:pt>
          <cx:pt idx="80360">2</cx:pt>
          <cx:pt idx="80361">2</cx:pt>
          <cx:pt idx="80362">4</cx:pt>
          <cx:pt idx="80363">2</cx:pt>
          <cx:pt idx="80364">5</cx:pt>
          <cx:pt idx="80365">5</cx:pt>
          <cx:pt idx="80366">3</cx:pt>
          <cx:pt idx="80367">1</cx:pt>
          <cx:pt idx="80368">2</cx:pt>
          <cx:pt idx="80369">2</cx:pt>
          <cx:pt idx="80370">4</cx:pt>
          <cx:pt idx="80371">1</cx:pt>
          <cx:pt idx="80372">3</cx:pt>
          <cx:pt idx="80373">3</cx:pt>
          <cx:pt idx="80374">2</cx:pt>
          <cx:pt idx="80375">2</cx:pt>
          <cx:pt idx="80376">2</cx:pt>
          <cx:pt idx="80377">5</cx:pt>
          <cx:pt idx="80378">2</cx:pt>
          <cx:pt idx="80379">3</cx:pt>
          <cx:pt idx="80380">4</cx:pt>
          <cx:pt idx="80381">3</cx:pt>
          <cx:pt idx="80382">4</cx:pt>
          <cx:pt idx="80383">2</cx:pt>
          <cx:pt idx="80384">5</cx:pt>
          <cx:pt idx="80385">3</cx:pt>
          <cx:pt idx="80386">3</cx:pt>
          <cx:pt idx="80387">3</cx:pt>
          <cx:pt idx="80388">2</cx:pt>
          <cx:pt idx="80389">2</cx:pt>
          <cx:pt idx="80390">1</cx:pt>
          <cx:pt idx="80391">4</cx:pt>
          <cx:pt idx="80392">2</cx:pt>
          <cx:pt idx="80393">1</cx:pt>
          <cx:pt idx="80394">2</cx:pt>
          <cx:pt idx="80395">5</cx:pt>
          <cx:pt idx="80396">1</cx:pt>
          <cx:pt idx="80397">1</cx:pt>
          <cx:pt idx="80398">3</cx:pt>
          <cx:pt idx="80399">4</cx:pt>
          <cx:pt idx="80400">5</cx:pt>
          <cx:pt idx="80401">4</cx:pt>
          <cx:pt idx="80402">5</cx:pt>
          <cx:pt idx="80403">3</cx:pt>
          <cx:pt idx="80404">3</cx:pt>
          <cx:pt idx="80405">3</cx:pt>
          <cx:pt idx="80406">4</cx:pt>
          <cx:pt idx="80407">4</cx:pt>
          <cx:pt idx="80408">2</cx:pt>
          <cx:pt idx="80409">1</cx:pt>
          <cx:pt idx="80410">5</cx:pt>
          <cx:pt idx="80411">2</cx:pt>
          <cx:pt idx="80412">3</cx:pt>
          <cx:pt idx="80413">4</cx:pt>
          <cx:pt idx="80414">5</cx:pt>
          <cx:pt idx="80415">3</cx:pt>
          <cx:pt idx="80416">2</cx:pt>
          <cx:pt idx="80417">3</cx:pt>
          <cx:pt idx="80418">2</cx:pt>
          <cx:pt idx="80419">2</cx:pt>
          <cx:pt idx="80420">0</cx:pt>
          <cx:pt idx="80421">1</cx:pt>
          <cx:pt idx="80422">5</cx:pt>
          <cx:pt idx="80423">4</cx:pt>
          <cx:pt idx="80424">2</cx:pt>
          <cx:pt idx="80425">3</cx:pt>
          <cx:pt idx="80426">0</cx:pt>
          <cx:pt idx="80427">2</cx:pt>
          <cx:pt idx="80428">1</cx:pt>
          <cx:pt idx="80429">1</cx:pt>
          <cx:pt idx="80430">5</cx:pt>
          <cx:pt idx="80431">2</cx:pt>
          <cx:pt idx="80432">3</cx:pt>
          <cx:pt idx="80433">2</cx:pt>
          <cx:pt idx="80434">4</cx:pt>
          <cx:pt idx="80435">0</cx:pt>
          <cx:pt idx="80436">5</cx:pt>
          <cx:pt idx="80437">0</cx:pt>
          <cx:pt idx="80438">1</cx:pt>
          <cx:pt idx="80439">2</cx:pt>
          <cx:pt idx="80440">0</cx:pt>
          <cx:pt idx="80441">4</cx:pt>
          <cx:pt idx="80442">2</cx:pt>
          <cx:pt idx="80443">4</cx:pt>
          <cx:pt idx="80444">3</cx:pt>
          <cx:pt idx="80445">2</cx:pt>
          <cx:pt idx="80446">1</cx:pt>
          <cx:pt idx="80447">3</cx:pt>
          <cx:pt idx="80448">2</cx:pt>
          <cx:pt idx="80449">3</cx:pt>
          <cx:pt idx="80450">2</cx:pt>
          <cx:pt idx="80451">1</cx:pt>
          <cx:pt idx="80452">2</cx:pt>
          <cx:pt idx="80453">3</cx:pt>
          <cx:pt idx="80454">1</cx:pt>
          <cx:pt idx="80455">1</cx:pt>
          <cx:pt idx="80456">1</cx:pt>
          <cx:pt idx="80457">4</cx:pt>
          <cx:pt idx="80458">2</cx:pt>
          <cx:pt idx="80459">5</cx:pt>
          <cx:pt idx="80460">3</cx:pt>
          <cx:pt idx="80461">4</cx:pt>
          <cx:pt idx="80462">1</cx:pt>
          <cx:pt idx="80463">3</cx:pt>
          <cx:pt idx="80464">2</cx:pt>
          <cx:pt idx="80465">3</cx:pt>
          <cx:pt idx="80466">5</cx:pt>
          <cx:pt idx="80467">3</cx:pt>
          <cx:pt idx="80468">1</cx:pt>
          <cx:pt idx="80469">5</cx:pt>
          <cx:pt idx="80470">2</cx:pt>
          <cx:pt idx="80471">3</cx:pt>
          <cx:pt idx="80472">5</cx:pt>
          <cx:pt idx="80473">2</cx:pt>
          <cx:pt idx="80474">3</cx:pt>
          <cx:pt idx="80475">3</cx:pt>
          <cx:pt idx="80476">2</cx:pt>
          <cx:pt idx="80477">0</cx:pt>
          <cx:pt idx="80478">1</cx:pt>
          <cx:pt idx="80479">1</cx:pt>
          <cx:pt idx="80480">0</cx:pt>
          <cx:pt idx="80481">5</cx:pt>
          <cx:pt idx="80482">3</cx:pt>
          <cx:pt idx="80483">3</cx:pt>
          <cx:pt idx="80484">1</cx:pt>
          <cx:pt idx="80485">2</cx:pt>
          <cx:pt idx="80486">5</cx:pt>
          <cx:pt idx="80487">3</cx:pt>
          <cx:pt idx="80488">3</cx:pt>
          <cx:pt idx="80489">5</cx:pt>
          <cx:pt idx="80490">4</cx:pt>
          <cx:pt idx="80491">1</cx:pt>
          <cx:pt idx="80492">3</cx:pt>
          <cx:pt idx="80493">3</cx:pt>
          <cx:pt idx="80494">2</cx:pt>
          <cx:pt idx="80495">3</cx:pt>
          <cx:pt idx="80496">1</cx:pt>
          <cx:pt idx="80497">3</cx:pt>
          <cx:pt idx="80498">2</cx:pt>
          <cx:pt idx="80499">1</cx:pt>
          <cx:pt idx="80500">4</cx:pt>
          <cx:pt idx="80501">2</cx:pt>
          <cx:pt idx="80502">5</cx:pt>
          <cx:pt idx="80503">5</cx:pt>
          <cx:pt idx="80504">4</cx:pt>
          <cx:pt idx="80505">1</cx:pt>
          <cx:pt idx="80506">1</cx:pt>
          <cx:pt idx="80507">4</cx:pt>
          <cx:pt idx="80508">3</cx:pt>
          <cx:pt idx="80509">4</cx:pt>
          <cx:pt idx="80510">4</cx:pt>
          <cx:pt idx="80511">2</cx:pt>
          <cx:pt idx="80512">3</cx:pt>
          <cx:pt idx="80513">2</cx:pt>
          <cx:pt idx="80514">4</cx:pt>
          <cx:pt idx="80515">4</cx:pt>
          <cx:pt idx="80516">1</cx:pt>
          <cx:pt idx="80517">2</cx:pt>
          <cx:pt idx="80518">1</cx:pt>
          <cx:pt idx="80519">5</cx:pt>
          <cx:pt idx="80520">4</cx:pt>
          <cx:pt idx="80521">4</cx:pt>
          <cx:pt idx="80522">3</cx:pt>
          <cx:pt idx="80523">1</cx:pt>
          <cx:pt idx="80524">0</cx:pt>
          <cx:pt idx="80525">2</cx:pt>
          <cx:pt idx="80526">1</cx:pt>
          <cx:pt idx="80527">3</cx:pt>
          <cx:pt idx="80528">4</cx:pt>
          <cx:pt idx="80529">4</cx:pt>
          <cx:pt idx="80530">1</cx:pt>
          <cx:pt idx="80531">2</cx:pt>
          <cx:pt idx="80532">2</cx:pt>
          <cx:pt idx="80533">2</cx:pt>
          <cx:pt idx="80534">4</cx:pt>
          <cx:pt idx="80535">3</cx:pt>
          <cx:pt idx="80536">4</cx:pt>
          <cx:pt idx="80537">1</cx:pt>
          <cx:pt idx="80538">2</cx:pt>
          <cx:pt idx="80539">2</cx:pt>
          <cx:pt idx="80540">5</cx:pt>
          <cx:pt idx="80541">4</cx:pt>
          <cx:pt idx="80542">1</cx:pt>
          <cx:pt idx="80543">2</cx:pt>
          <cx:pt idx="80544">3</cx:pt>
          <cx:pt idx="80545">2</cx:pt>
          <cx:pt idx="80546">4</cx:pt>
          <cx:pt idx="80547">4</cx:pt>
          <cx:pt idx="80548">1</cx:pt>
          <cx:pt idx="80549">1</cx:pt>
          <cx:pt idx="80550">5</cx:pt>
          <cx:pt idx="80551">2</cx:pt>
          <cx:pt idx="80552">2</cx:pt>
          <cx:pt idx="80553">4</cx:pt>
          <cx:pt idx="80554">3</cx:pt>
          <cx:pt idx="80555">4</cx:pt>
          <cx:pt idx="80556">2</cx:pt>
          <cx:pt idx="80557">3</cx:pt>
          <cx:pt idx="80558">5</cx:pt>
          <cx:pt idx="80559">0</cx:pt>
          <cx:pt idx="80560">4</cx:pt>
          <cx:pt idx="80561">3</cx:pt>
          <cx:pt idx="80562">4</cx:pt>
          <cx:pt idx="80563">1</cx:pt>
          <cx:pt idx="80564">1</cx:pt>
          <cx:pt idx="80565">2</cx:pt>
          <cx:pt idx="80566">1</cx:pt>
          <cx:pt idx="80567">5</cx:pt>
          <cx:pt idx="80568">2</cx:pt>
          <cx:pt idx="80569">4</cx:pt>
          <cx:pt idx="80570">3</cx:pt>
          <cx:pt idx="80571">1</cx:pt>
          <cx:pt idx="80572">0</cx:pt>
          <cx:pt idx="80573">2</cx:pt>
          <cx:pt idx="80574">2</cx:pt>
          <cx:pt idx="80575">1</cx:pt>
          <cx:pt idx="80576">4</cx:pt>
          <cx:pt idx="80577">2</cx:pt>
          <cx:pt idx="80578">1</cx:pt>
          <cx:pt idx="80579">2</cx:pt>
          <cx:pt idx="80580">2</cx:pt>
          <cx:pt idx="80581">5</cx:pt>
          <cx:pt idx="80582">0</cx:pt>
          <cx:pt idx="80583">3</cx:pt>
          <cx:pt idx="80584">2</cx:pt>
          <cx:pt idx="80585">1</cx:pt>
          <cx:pt idx="80586">5</cx:pt>
          <cx:pt idx="80587">4</cx:pt>
          <cx:pt idx="80588">2</cx:pt>
          <cx:pt idx="80589">3</cx:pt>
          <cx:pt idx="80590">5</cx:pt>
          <cx:pt idx="80591">4</cx:pt>
          <cx:pt idx="80592">3</cx:pt>
          <cx:pt idx="80593">1</cx:pt>
          <cx:pt idx="80594">3</cx:pt>
          <cx:pt idx="80595">3</cx:pt>
          <cx:pt idx="80596">3</cx:pt>
          <cx:pt idx="80597">5</cx:pt>
          <cx:pt idx="80598">3</cx:pt>
          <cx:pt idx="80599">2</cx:pt>
          <cx:pt idx="80600">1</cx:pt>
          <cx:pt idx="80601">3</cx:pt>
          <cx:pt idx="80602">3</cx:pt>
          <cx:pt idx="80603">2</cx:pt>
          <cx:pt idx="80604">4</cx:pt>
          <cx:pt idx="80605">2</cx:pt>
          <cx:pt idx="80606">4</cx:pt>
          <cx:pt idx="80607">2</cx:pt>
          <cx:pt idx="80608">1</cx:pt>
          <cx:pt idx="80609">3</cx:pt>
          <cx:pt idx="80610">2</cx:pt>
          <cx:pt idx="80611">2</cx:pt>
          <cx:pt idx="80612">4</cx:pt>
          <cx:pt idx="80613">2</cx:pt>
          <cx:pt idx="80614">5</cx:pt>
          <cx:pt idx="80615">5</cx:pt>
          <cx:pt idx="80616">3</cx:pt>
          <cx:pt idx="80617">3</cx:pt>
          <cx:pt idx="80618">2</cx:pt>
          <cx:pt idx="80619">1</cx:pt>
          <cx:pt idx="80620">3</cx:pt>
          <cx:pt idx="80621">4</cx:pt>
          <cx:pt idx="80622">3</cx:pt>
          <cx:pt idx="80623">1</cx:pt>
          <cx:pt idx="80624">4</cx:pt>
          <cx:pt idx="80625">3</cx:pt>
          <cx:pt idx="80626">3</cx:pt>
          <cx:pt idx="80627">5</cx:pt>
          <cx:pt idx="80628">3</cx:pt>
          <cx:pt idx="80629">1</cx:pt>
          <cx:pt idx="80630">1</cx:pt>
          <cx:pt idx="80631">1</cx:pt>
          <cx:pt idx="80632">0</cx:pt>
          <cx:pt idx="80633">5</cx:pt>
          <cx:pt idx="80634">5</cx:pt>
          <cx:pt idx="80635">3</cx:pt>
          <cx:pt idx="80636">0</cx:pt>
          <cx:pt idx="80637">0</cx:pt>
          <cx:pt idx="80638">2</cx:pt>
          <cx:pt idx="80639">4</cx:pt>
          <cx:pt idx="80640">3</cx:pt>
          <cx:pt idx="80641">1</cx:pt>
          <cx:pt idx="80642">4</cx:pt>
          <cx:pt idx="80643">1</cx:pt>
          <cx:pt idx="80644">1</cx:pt>
          <cx:pt idx="80645">0</cx:pt>
          <cx:pt idx="80646">4</cx:pt>
          <cx:pt idx="80647">1</cx:pt>
          <cx:pt idx="80648">1</cx:pt>
          <cx:pt idx="80649">0</cx:pt>
          <cx:pt idx="80650">3</cx:pt>
          <cx:pt idx="80651">3</cx:pt>
          <cx:pt idx="80652">4</cx:pt>
          <cx:pt idx="80653">3</cx:pt>
          <cx:pt idx="80654">2</cx:pt>
          <cx:pt idx="80655">2</cx:pt>
          <cx:pt idx="80656">5</cx:pt>
          <cx:pt idx="80657">4</cx:pt>
          <cx:pt idx="80658">5</cx:pt>
          <cx:pt idx="80659">3</cx:pt>
          <cx:pt idx="80660">3</cx:pt>
          <cx:pt idx="80661">2</cx:pt>
          <cx:pt idx="80662">5</cx:pt>
          <cx:pt idx="80663">3</cx:pt>
          <cx:pt idx="80664">2</cx:pt>
          <cx:pt idx="80665">3</cx:pt>
          <cx:pt idx="80666">5</cx:pt>
          <cx:pt idx="80667">3</cx:pt>
          <cx:pt idx="80668">2</cx:pt>
          <cx:pt idx="80669">2</cx:pt>
          <cx:pt idx="80670">3</cx:pt>
          <cx:pt idx="80671">5</cx:pt>
          <cx:pt idx="80672">5</cx:pt>
          <cx:pt idx="80673">5</cx:pt>
          <cx:pt idx="80674">4</cx:pt>
          <cx:pt idx="80675">3</cx:pt>
          <cx:pt idx="80676">4</cx:pt>
          <cx:pt idx="80677">3</cx:pt>
          <cx:pt idx="80678">0</cx:pt>
          <cx:pt idx="80679">1</cx:pt>
          <cx:pt idx="80680">5</cx:pt>
          <cx:pt idx="80681">3</cx:pt>
          <cx:pt idx="80682">4</cx:pt>
          <cx:pt idx="80683">4</cx:pt>
          <cx:pt idx="80684">2</cx:pt>
          <cx:pt idx="80685">5</cx:pt>
          <cx:pt idx="80686">3</cx:pt>
          <cx:pt idx="80687">2</cx:pt>
          <cx:pt idx="80688">2</cx:pt>
          <cx:pt idx="80689">4</cx:pt>
          <cx:pt idx="80690">4</cx:pt>
          <cx:pt idx="80691">3</cx:pt>
          <cx:pt idx="80692">3</cx:pt>
          <cx:pt idx="80693">4</cx:pt>
          <cx:pt idx="80694">2</cx:pt>
          <cx:pt idx="80695">4</cx:pt>
          <cx:pt idx="80696">2</cx:pt>
          <cx:pt idx="80697">2</cx:pt>
          <cx:pt idx="80698">1</cx:pt>
          <cx:pt idx="80699">2</cx:pt>
          <cx:pt idx="80700">3</cx:pt>
          <cx:pt idx="80701">1</cx:pt>
          <cx:pt idx="80702">1</cx:pt>
          <cx:pt idx="80703">3</cx:pt>
          <cx:pt idx="80704">1</cx:pt>
          <cx:pt idx="80705">0</cx:pt>
          <cx:pt idx="80706">0</cx:pt>
          <cx:pt idx="80707">2</cx:pt>
          <cx:pt idx="80708">3</cx:pt>
          <cx:pt idx="80709">3</cx:pt>
          <cx:pt idx="80710">1</cx:pt>
          <cx:pt idx="80711">5</cx:pt>
          <cx:pt idx="80712">4</cx:pt>
          <cx:pt idx="80713">2</cx:pt>
          <cx:pt idx="80714">5</cx:pt>
          <cx:pt idx="80715">3</cx:pt>
          <cx:pt idx="80716">3</cx:pt>
          <cx:pt idx="80717">4</cx:pt>
          <cx:pt idx="80718">2</cx:pt>
          <cx:pt idx="80719">1</cx:pt>
          <cx:pt idx="80720">2</cx:pt>
          <cx:pt idx="80721">1</cx:pt>
          <cx:pt idx="80722">2</cx:pt>
          <cx:pt idx="80723">2</cx:pt>
          <cx:pt idx="80724">5</cx:pt>
          <cx:pt idx="80725">2</cx:pt>
          <cx:pt idx="80726">3</cx:pt>
          <cx:pt idx="80727">5</cx:pt>
          <cx:pt idx="80728">5</cx:pt>
          <cx:pt idx="80729">2</cx:pt>
          <cx:pt idx="80730">0</cx:pt>
          <cx:pt idx="80731">2</cx:pt>
          <cx:pt idx="80732">1</cx:pt>
          <cx:pt idx="80733">2</cx:pt>
          <cx:pt idx="80734">1</cx:pt>
          <cx:pt idx="80735">2</cx:pt>
          <cx:pt idx="80736">3</cx:pt>
          <cx:pt idx="80737">4</cx:pt>
          <cx:pt idx="80738">5</cx:pt>
          <cx:pt idx="80739">1</cx:pt>
          <cx:pt idx="80740">0</cx:pt>
          <cx:pt idx="80741">4</cx:pt>
          <cx:pt idx="80742">2</cx:pt>
          <cx:pt idx="80743">1</cx:pt>
          <cx:pt idx="80744">3</cx:pt>
          <cx:pt idx="80745">4</cx:pt>
          <cx:pt idx="80746">1</cx:pt>
          <cx:pt idx="80747">2</cx:pt>
          <cx:pt idx="80748">2</cx:pt>
          <cx:pt idx="80749">2</cx:pt>
          <cx:pt idx="80750">2</cx:pt>
          <cx:pt idx="80751">3</cx:pt>
          <cx:pt idx="80752">5</cx:pt>
          <cx:pt idx="80753">3</cx:pt>
          <cx:pt idx="80754">1</cx:pt>
          <cx:pt idx="80755">5</cx:pt>
          <cx:pt idx="80756">4</cx:pt>
          <cx:pt idx="80757">1</cx:pt>
          <cx:pt idx="80758">2</cx:pt>
          <cx:pt idx="80759">4</cx:pt>
          <cx:pt idx="80760">3</cx:pt>
          <cx:pt idx="80761">3</cx:pt>
          <cx:pt idx="80762">2</cx:pt>
          <cx:pt idx="80763">2</cx:pt>
          <cx:pt idx="80764">3</cx:pt>
          <cx:pt idx="80765">2</cx:pt>
          <cx:pt idx="80766">1</cx:pt>
          <cx:pt idx="80767">4</cx:pt>
          <cx:pt idx="80768">2</cx:pt>
          <cx:pt idx="80769">0</cx:pt>
          <cx:pt idx="80770">0</cx:pt>
          <cx:pt idx="80771">3</cx:pt>
          <cx:pt idx="80772">3</cx:pt>
          <cx:pt idx="80773">4</cx:pt>
          <cx:pt idx="80774">2</cx:pt>
          <cx:pt idx="80775">0</cx:pt>
          <cx:pt idx="80776">5</cx:pt>
          <cx:pt idx="80777">3</cx:pt>
          <cx:pt idx="80778">1</cx:pt>
          <cx:pt idx="80779">2</cx:pt>
          <cx:pt idx="80780">2</cx:pt>
          <cx:pt idx="80781">2</cx:pt>
          <cx:pt idx="80782">1</cx:pt>
          <cx:pt idx="80783">4</cx:pt>
          <cx:pt idx="80784">5</cx:pt>
          <cx:pt idx="80785">4</cx:pt>
          <cx:pt idx="80786">3</cx:pt>
          <cx:pt idx="80787">4</cx:pt>
          <cx:pt idx="80788">3</cx:pt>
          <cx:pt idx="80789">3</cx:pt>
          <cx:pt idx="80790">4</cx:pt>
          <cx:pt idx="80791">3</cx:pt>
          <cx:pt idx="80792">2</cx:pt>
          <cx:pt idx="80793">4</cx:pt>
          <cx:pt idx="80794">2</cx:pt>
          <cx:pt idx="80795">3</cx:pt>
          <cx:pt idx="80796">4</cx:pt>
          <cx:pt idx="80797">1</cx:pt>
          <cx:pt idx="80798">0</cx:pt>
          <cx:pt idx="80799">3</cx:pt>
          <cx:pt idx="80800">2</cx:pt>
          <cx:pt idx="80801">1</cx:pt>
          <cx:pt idx="80802">1</cx:pt>
          <cx:pt idx="80803">3</cx:pt>
          <cx:pt idx="80804">2</cx:pt>
          <cx:pt idx="80805">4</cx:pt>
          <cx:pt idx="80806">1</cx:pt>
          <cx:pt idx="80807">3</cx:pt>
          <cx:pt idx="80808">3</cx:pt>
          <cx:pt idx="80809">2</cx:pt>
          <cx:pt idx="80810">2</cx:pt>
          <cx:pt idx="80811">3</cx:pt>
          <cx:pt idx="80812">3</cx:pt>
          <cx:pt idx="80813">5</cx:pt>
          <cx:pt idx="80814">2</cx:pt>
          <cx:pt idx="80815">4</cx:pt>
          <cx:pt idx="80816">0</cx:pt>
          <cx:pt idx="80817">2</cx:pt>
          <cx:pt idx="80818">3</cx:pt>
          <cx:pt idx="80819">4</cx:pt>
          <cx:pt idx="80820">5</cx:pt>
          <cx:pt idx="80821">1</cx:pt>
          <cx:pt idx="80822">1</cx:pt>
          <cx:pt idx="80823">3</cx:pt>
          <cx:pt idx="80824">2</cx:pt>
          <cx:pt idx="80825">4</cx:pt>
          <cx:pt idx="80826">3</cx:pt>
          <cx:pt idx="80827">2</cx:pt>
          <cx:pt idx="80828">1</cx:pt>
          <cx:pt idx="80829">2</cx:pt>
          <cx:pt idx="80830">0</cx:pt>
          <cx:pt idx="80831">3</cx:pt>
          <cx:pt idx="80832">3</cx:pt>
          <cx:pt idx="80833">2</cx:pt>
          <cx:pt idx="80834">1</cx:pt>
          <cx:pt idx="80835">4</cx:pt>
          <cx:pt idx="80836">4</cx:pt>
          <cx:pt idx="80837">3</cx:pt>
          <cx:pt idx="80838">5</cx:pt>
          <cx:pt idx="80839">3</cx:pt>
          <cx:pt idx="80840">2</cx:pt>
          <cx:pt idx="80841">1</cx:pt>
          <cx:pt idx="80842">4</cx:pt>
          <cx:pt idx="80843">3</cx:pt>
          <cx:pt idx="80844">1</cx:pt>
          <cx:pt idx="80845">5</cx:pt>
          <cx:pt idx="80846">4</cx:pt>
          <cx:pt idx="80847">5</cx:pt>
          <cx:pt idx="80848">2</cx:pt>
          <cx:pt idx="80849">4</cx:pt>
          <cx:pt idx="80850">2</cx:pt>
          <cx:pt idx="80851">3</cx:pt>
          <cx:pt idx="80852">3</cx:pt>
          <cx:pt idx="80853">3</cx:pt>
          <cx:pt idx="80854">5</cx:pt>
          <cx:pt idx="80855">0</cx:pt>
          <cx:pt idx="80856">0</cx:pt>
          <cx:pt idx="80857">3</cx:pt>
          <cx:pt idx="80858">4</cx:pt>
          <cx:pt idx="80859">2</cx:pt>
          <cx:pt idx="80860">1</cx:pt>
          <cx:pt idx="80861">1</cx:pt>
          <cx:pt idx="80862">5</cx:pt>
          <cx:pt idx="80863">1</cx:pt>
          <cx:pt idx="80864">5</cx:pt>
          <cx:pt idx="80865">2</cx:pt>
          <cx:pt idx="80866">3</cx:pt>
          <cx:pt idx="80867">4</cx:pt>
          <cx:pt idx="80868">3</cx:pt>
          <cx:pt idx="80869">3</cx:pt>
          <cx:pt idx="80870">4</cx:pt>
          <cx:pt idx="80871">2</cx:pt>
          <cx:pt idx="80872">1</cx:pt>
          <cx:pt idx="80873">4</cx:pt>
          <cx:pt idx="80874">2</cx:pt>
          <cx:pt idx="80875">4</cx:pt>
          <cx:pt idx="80876">1</cx:pt>
          <cx:pt idx="80877">3</cx:pt>
          <cx:pt idx="80878">3</cx:pt>
          <cx:pt idx="80879">4</cx:pt>
          <cx:pt idx="80880">4</cx:pt>
          <cx:pt idx="80881">4</cx:pt>
          <cx:pt idx="80882">2</cx:pt>
          <cx:pt idx="80883">4</cx:pt>
          <cx:pt idx="80884">0</cx:pt>
          <cx:pt idx="80885">4</cx:pt>
          <cx:pt idx="80886">2</cx:pt>
          <cx:pt idx="80887">5</cx:pt>
          <cx:pt idx="80888">2</cx:pt>
          <cx:pt idx="80889">3</cx:pt>
          <cx:pt idx="80890">3</cx:pt>
          <cx:pt idx="80891">4</cx:pt>
          <cx:pt idx="80892">5</cx:pt>
          <cx:pt idx="80893">2</cx:pt>
          <cx:pt idx="80894">5</cx:pt>
          <cx:pt idx="80895">3</cx:pt>
          <cx:pt idx="80896">3</cx:pt>
          <cx:pt idx="80897">1</cx:pt>
          <cx:pt idx="80898">4</cx:pt>
          <cx:pt idx="80899">4</cx:pt>
          <cx:pt idx="80900">4</cx:pt>
          <cx:pt idx="80901">4</cx:pt>
          <cx:pt idx="80902">3</cx:pt>
          <cx:pt idx="80903">3</cx:pt>
          <cx:pt idx="80904">1</cx:pt>
          <cx:pt idx="80905">4</cx:pt>
          <cx:pt idx="80906">5</cx:pt>
          <cx:pt idx="80907">4</cx:pt>
          <cx:pt idx="80908">1</cx:pt>
          <cx:pt idx="80909">1</cx:pt>
          <cx:pt idx="80910">1</cx:pt>
          <cx:pt idx="80911">4</cx:pt>
          <cx:pt idx="80912">2</cx:pt>
          <cx:pt idx="80913">1</cx:pt>
          <cx:pt idx="80914">3</cx:pt>
          <cx:pt idx="80915">4</cx:pt>
          <cx:pt idx="80916">3</cx:pt>
          <cx:pt idx="80917">3</cx:pt>
          <cx:pt idx="80918">4</cx:pt>
          <cx:pt idx="80919">1</cx:pt>
          <cx:pt idx="80920">4</cx:pt>
          <cx:pt idx="80921">4</cx:pt>
          <cx:pt idx="80922">0</cx:pt>
          <cx:pt idx="80923">4</cx:pt>
          <cx:pt idx="80924">3</cx:pt>
          <cx:pt idx="80925">2</cx:pt>
          <cx:pt idx="80926">4</cx:pt>
          <cx:pt idx="80927">4</cx:pt>
          <cx:pt idx="80928">3</cx:pt>
          <cx:pt idx="80929">1</cx:pt>
          <cx:pt idx="80930">4</cx:pt>
          <cx:pt idx="80931">2</cx:pt>
          <cx:pt idx="80932">1</cx:pt>
          <cx:pt idx="80933">4</cx:pt>
          <cx:pt idx="80934">2</cx:pt>
          <cx:pt idx="80935">1</cx:pt>
          <cx:pt idx="80936">2</cx:pt>
          <cx:pt idx="80937">2</cx:pt>
          <cx:pt idx="80938">2</cx:pt>
          <cx:pt idx="80939">3</cx:pt>
          <cx:pt idx="80940">5</cx:pt>
          <cx:pt idx="80941">3</cx:pt>
          <cx:pt idx="80942">5</cx:pt>
          <cx:pt idx="80943">2</cx:pt>
          <cx:pt idx="80944">4</cx:pt>
          <cx:pt idx="80945">3</cx:pt>
          <cx:pt idx="80946">2</cx:pt>
          <cx:pt idx="80947">4</cx:pt>
          <cx:pt idx="80948">4</cx:pt>
          <cx:pt idx="80949">5</cx:pt>
          <cx:pt idx="80950">4</cx:pt>
          <cx:pt idx="80951">1</cx:pt>
          <cx:pt idx="80952">2</cx:pt>
          <cx:pt idx="80953">3</cx:pt>
          <cx:pt idx="80954">3</cx:pt>
          <cx:pt idx="80955">3</cx:pt>
          <cx:pt idx="80956">2</cx:pt>
          <cx:pt idx="80957">2</cx:pt>
          <cx:pt idx="80958">3</cx:pt>
          <cx:pt idx="80959">4</cx:pt>
          <cx:pt idx="80960">1</cx:pt>
          <cx:pt idx="80961">2</cx:pt>
          <cx:pt idx="80962">5</cx:pt>
          <cx:pt idx="80963">2</cx:pt>
          <cx:pt idx="80964">4</cx:pt>
          <cx:pt idx="80965">4</cx:pt>
          <cx:pt idx="80966">3</cx:pt>
          <cx:pt idx="80967">2</cx:pt>
          <cx:pt idx="80968">1</cx:pt>
          <cx:pt idx="80969">5</cx:pt>
          <cx:pt idx="80970">4</cx:pt>
          <cx:pt idx="80971">4</cx:pt>
          <cx:pt idx="80972">2</cx:pt>
          <cx:pt idx="80973">1</cx:pt>
          <cx:pt idx="80974">0</cx:pt>
          <cx:pt idx="80975">3</cx:pt>
          <cx:pt idx="80976">2</cx:pt>
          <cx:pt idx="80977">2</cx:pt>
          <cx:pt idx="80978">2</cx:pt>
          <cx:pt idx="80979">1</cx:pt>
          <cx:pt idx="80980">0</cx:pt>
          <cx:pt idx="80981">0</cx:pt>
          <cx:pt idx="80982">3</cx:pt>
          <cx:pt idx="80983">1</cx:pt>
          <cx:pt idx="80984">4</cx:pt>
          <cx:pt idx="80985">3</cx:pt>
          <cx:pt idx="80986">3</cx:pt>
          <cx:pt idx="80987">2</cx:pt>
          <cx:pt idx="80988">3</cx:pt>
          <cx:pt idx="80989">3</cx:pt>
          <cx:pt idx="80990">3</cx:pt>
          <cx:pt idx="80991">3</cx:pt>
          <cx:pt idx="80992">3</cx:pt>
          <cx:pt idx="80993">0</cx:pt>
          <cx:pt idx="80994">3</cx:pt>
          <cx:pt idx="80995">0</cx:pt>
          <cx:pt idx="80996">4</cx:pt>
          <cx:pt idx="80997">4</cx:pt>
          <cx:pt idx="80998">2</cx:pt>
          <cx:pt idx="80999">5</cx:pt>
          <cx:pt idx="81000">4</cx:pt>
          <cx:pt idx="81001">1</cx:pt>
          <cx:pt idx="81002">3</cx:pt>
          <cx:pt idx="81003">5</cx:pt>
          <cx:pt idx="81004">4</cx:pt>
          <cx:pt idx="81005">4</cx:pt>
          <cx:pt idx="81006">1</cx:pt>
          <cx:pt idx="81007">2</cx:pt>
          <cx:pt idx="81008">5</cx:pt>
          <cx:pt idx="81009">1</cx:pt>
          <cx:pt idx="81010">1</cx:pt>
          <cx:pt idx="81011">3</cx:pt>
          <cx:pt idx="81012">3</cx:pt>
          <cx:pt idx="81013">4</cx:pt>
          <cx:pt idx="81014">5</cx:pt>
          <cx:pt idx="81015">0</cx:pt>
          <cx:pt idx="81016">1</cx:pt>
          <cx:pt idx="81017">3</cx:pt>
          <cx:pt idx="81018">5</cx:pt>
          <cx:pt idx="81019">3</cx:pt>
          <cx:pt idx="81020">4</cx:pt>
          <cx:pt idx="81021">3</cx:pt>
          <cx:pt idx="81022">2</cx:pt>
          <cx:pt idx="81023">3</cx:pt>
          <cx:pt idx="81024">1</cx:pt>
          <cx:pt idx="81025">5</cx:pt>
          <cx:pt idx="81026">5</cx:pt>
          <cx:pt idx="81027">4</cx:pt>
          <cx:pt idx="81028">2</cx:pt>
          <cx:pt idx="81029">1</cx:pt>
          <cx:pt idx="81030">4</cx:pt>
          <cx:pt idx="81031">3</cx:pt>
          <cx:pt idx="81032">4</cx:pt>
          <cx:pt idx="81033">1</cx:pt>
          <cx:pt idx="81034">4</cx:pt>
          <cx:pt idx="81035">1</cx:pt>
          <cx:pt idx="81036">4</cx:pt>
          <cx:pt idx="81037">1</cx:pt>
          <cx:pt idx="81038">4</cx:pt>
          <cx:pt idx="81039">5</cx:pt>
          <cx:pt idx="81040">2</cx:pt>
          <cx:pt idx="81041">4</cx:pt>
          <cx:pt idx="81042">4</cx:pt>
          <cx:pt idx="81043">4</cx:pt>
          <cx:pt idx="81044">3</cx:pt>
          <cx:pt idx="81045">4</cx:pt>
          <cx:pt idx="81046">4</cx:pt>
          <cx:pt idx="81047">4</cx:pt>
          <cx:pt idx="81048">5</cx:pt>
          <cx:pt idx="81049">2</cx:pt>
          <cx:pt idx="81050">0</cx:pt>
          <cx:pt idx="81051">3</cx:pt>
          <cx:pt idx="81052">4</cx:pt>
          <cx:pt idx="81053">2</cx:pt>
          <cx:pt idx="81054">3</cx:pt>
          <cx:pt idx="81055">2</cx:pt>
          <cx:pt idx="81056">3</cx:pt>
          <cx:pt idx="81057">1</cx:pt>
          <cx:pt idx="81058">1</cx:pt>
          <cx:pt idx="81059">3</cx:pt>
          <cx:pt idx="81060">3</cx:pt>
          <cx:pt idx="81061">2</cx:pt>
          <cx:pt idx="81062">0</cx:pt>
          <cx:pt idx="81063">2</cx:pt>
          <cx:pt idx="81064">5</cx:pt>
          <cx:pt idx="81065">1</cx:pt>
          <cx:pt idx="81066">4</cx:pt>
          <cx:pt idx="81067">3</cx:pt>
          <cx:pt idx="81068">3</cx:pt>
          <cx:pt idx="81069">2</cx:pt>
          <cx:pt idx="81070">1</cx:pt>
          <cx:pt idx="81071">4</cx:pt>
          <cx:pt idx="81072">0</cx:pt>
          <cx:pt idx="81073">3</cx:pt>
          <cx:pt idx="81074">2</cx:pt>
          <cx:pt idx="81075">1</cx:pt>
          <cx:pt idx="81076">4</cx:pt>
          <cx:pt idx="81077">3</cx:pt>
          <cx:pt idx="81078">2</cx:pt>
          <cx:pt idx="81079">1</cx:pt>
          <cx:pt idx="81080">3</cx:pt>
          <cx:pt idx="81081">3</cx:pt>
          <cx:pt idx="81082">2</cx:pt>
          <cx:pt idx="81083">5</cx:pt>
          <cx:pt idx="81084">1</cx:pt>
          <cx:pt idx="81085">4</cx:pt>
          <cx:pt idx="81086">1</cx:pt>
          <cx:pt idx="81087">3</cx:pt>
          <cx:pt idx="81088">3</cx:pt>
          <cx:pt idx="81089">1</cx:pt>
          <cx:pt idx="81090">5</cx:pt>
          <cx:pt idx="81091">4</cx:pt>
          <cx:pt idx="81092">3</cx:pt>
          <cx:pt idx="81093">2</cx:pt>
          <cx:pt idx="81094">4</cx:pt>
          <cx:pt idx="81095">2</cx:pt>
          <cx:pt idx="81096">3</cx:pt>
          <cx:pt idx="81097">2</cx:pt>
          <cx:pt idx="81098">3</cx:pt>
          <cx:pt idx="81099">4</cx:pt>
          <cx:pt idx="81100">2</cx:pt>
          <cx:pt idx="81101">4</cx:pt>
          <cx:pt idx="81102">0</cx:pt>
          <cx:pt idx="81103">0</cx:pt>
          <cx:pt idx="81104">1</cx:pt>
          <cx:pt idx="81105">2</cx:pt>
          <cx:pt idx="81106">5</cx:pt>
          <cx:pt idx="81107">3</cx:pt>
          <cx:pt idx="81108">2</cx:pt>
          <cx:pt idx="81109">3</cx:pt>
          <cx:pt idx="81110">3</cx:pt>
          <cx:pt idx="81111">3</cx:pt>
          <cx:pt idx="81112">3</cx:pt>
          <cx:pt idx="81113">0</cx:pt>
          <cx:pt idx="81114">2</cx:pt>
          <cx:pt idx="81115">1</cx:pt>
          <cx:pt idx="81116">3</cx:pt>
          <cx:pt idx="81117">5</cx:pt>
          <cx:pt idx="81118">5</cx:pt>
          <cx:pt idx="81119">1</cx:pt>
          <cx:pt idx="81120">4</cx:pt>
          <cx:pt idx="81121">0</cx:pt>
          <cx:pt idx="81122">2</cx:pt>
          <cx:pt idx="81123">3</cx:pt>
          <cx:pt idx="81124">1</cx:pt>
          <cx:pt idx="81125">1</cx:pt>
          <cx:pt idx="81126">1</cx:pt>
          <cx:pt idx="81127">2</cx:pt>
          <cx:pt idx="81128">1</cx:pt>
          <cx:pt idx="81129">3</cx:pt>
          <cx:pt idx="81130">2</cx:pt>
          <cx:pt idx="81131">1</cx:pt>
          <cx:pt idx="81132">4</cx:pt>
          <cx:pt idx="81133">2</cx:pt>
          <cx:pt idx="81134">4</cx:pt>
          <cx:pt idx="81135">2</cx:pt>
          <cx:pt idx="81136">4</cx:pt>
          <cx:pt idx="81137">2</cx:pt>
          <cx:pt idx="81138">5</cx:pt>
          <cx:pt idx="81139">5</cx:pt>
          <cx:pt idx="81140">2</cx:pt>
          <cx:pt idx="81141">2</cx:pt>
          <cx:pt idx="81142">2</cx:pt>
          <cx:pt idx="81143">3</cx:pt>
          <cx:pt idx="81144">5</cx:pt>
          <cx:pt idx="81145">4</cx:pt>
          <cx:pt idx="81146">0</cx:pt>
          <cx:pt idx="81147">3</cx:pt>
          <cx:pt idx="81148">3</cx:pt>
          <cx:pt idx="81149">3</cx:pt>
          <cx:pt idx="81150">1</cx:pt>
          <cx:pt idx="81151">3</cx:pt>
          <cx:pt idx="81152">3</cx:pt>
          <cx:pt idx="81153">1</cx:pt>
          <cx:pt idx="81154">5</cx:pt>
          <cx:pt idx="81155">3</cx:pt>
          <cx:pt idx="81156">1</cx:pt>
          <cx:pt idx="81157">3</cx:pt>
          <cx:pt idx="81158">1</cx:pt>
          <cx:pt idx="81159">1</cx:pt>
          <cx:pt idx="81160">0</cx:pt>
          <cx:pt idx="81161">1</cx:pt>
          <cx:pt idx="81162">1</cx:pt>
          <cx:pt idx="81163">2</cx:pt>
          <cx:pt idx="81164">5</cx:pt>
          <cx:pt idx="81165">1</cx:pt>
          <cx:pt idx="81166">5</cx:pt>
          <cx:pt idx="81167">2</cx:pt>
          <cx:pt idx="81168">5</cx:pt>
          <cx:pt idx="81169">5</cx:pt>
          <cx:pt idx="81170">4</cx:pt>
          <cx:pt idx="81171">2</cx:pt>
          <cx:pt idx="81172">2</cx:pt>
          <cx:pt idx="81173">4</cx:pt>
          <cx:pt idx="81174">4</cx:pt>
          <cx:pt idx="81175">1</cx:pt>
          <cx:pt idx="81176">3</cx:pt>
          <cx:pt idx="81177">2</cx:pt>
          <cx:pt idx="81178">5</cx:pt>
          <cx:pt idx="81179">3</cx:pt>
          <cx:pt idx="81180">3</cx:pt>
          <cx:pt idx="81181">2</cx:pt>
          <cx:pt idx="81182">2</cx:pt>
          <cx:pt idx="81183">3</cx:pt>
          <cx:pt idx="81184">0</cx:pt>
          <cx:pt idx="81185">5</cx:pt>
          <cx:pt idx="81186">2</cx:pt>
          <cx:pt idx="81187">2</cx:pt>
          <cx:pt idx="81188">2</cx:pt>
          <cx:pt idx="81189">4</cx:pt>
          <cx:pt idx="81190">3</cx:pt>
          <cx:pt idx="81191">4</cx:pt>
          <cx:pt idx="81192">1</cx:pt>
          <cx:pt idx="81193">4</cx:pt>
          <cx:pt idx="81194">4</cx:pt>
          <cx:pt idx="81195">2</cx:pt>
          <cx:pt idx="81196">4</cx:pt>
          <cx:pt idx="81197">3</cx:pt>
          <cx:pt idx="81198">2</cx:pt>
          <cx:pt idx="81199">0</cx:pt>
          <cx:pt idx="81200">2</cx:pt>
          <cx:pt idx="81201">5</cx:pt>
          <cx:pt idx="81202">2</cx:pt>
          <cx:pt idx="81203">2</cx:pt>
          <cx:pt idx="81204">1</cx:pt>
          <cx:pt idx="81205">5</cx:pt>
          <cx:pt idx="81206">2</cx:pt>
          <cx:pt idx="81207">5</cx:pt>
          <cx:pt idx="81208">1</cx:pt>
          <cx:pt idx="81209">1</cx:pt>
          <cx:pt idx="81210">0</cx:pt>
          <cx:pt idx="81211">5</cx:pt>
          <cx:pt idx="81212">2</cx:pt>
          <cx:pt idx="81213">2</cx:pt>
          <cx:pt idx="81214">0</cx:pt>
          <cx:pt idx="81215">5</cx:pt>
          <cx:pt idx="81216">2</cx:pt>
          <cx:pt idx="81217">3</cx:pt>
          <cx:pt idx="81218">4</cx:pt>
          <cx:pt idx="81219">4</cx:pt>
          <cx:pt idx="81220">3</cx:pt>
          <cx:pt idx="81221">3</cx:pt>
          <cx:pt idx="81222">2</cx:pt>
          <cx:pt idx="81223">3</cx:pt>
          <cx:pt idx="81224">1</cx:pt>
          <cx:pt idx="81225">2</cx:pt>
          <cx:pt idx="81226">2</cx:pt>
          <cx:pt idx="81227">5</cx:pt>
          <cx:pt idx="81228">3</cx:pt>
          <cx:pt idx="81229">5</cx:pt>
          <cx:pt idx="81230">2</cx:pt>
          <cx:pt idx="81231">3</cx:pt>
          <cx:pt idx="81232">3</cx:pt>
          <cx:pt idx="81233">3</cx:pt>
          <cx:pt idx="81234">3</cx:pt>
          <cx:pt idx="81235">3</cx:pt>
          <cx:pt idx="81236">2</cx:pt>
          <cx:pt idx="81237">5</cx:pt>
          <cx:pt idx="81238">2</cx:pt>
          <cx:pt idx="81239">2</cx:pt>
          <cx:pt idx="81240">5</cx:pt>
          <cx:pt idx="81241">1</cx:pt>
          <cx:pt idx="81242">4</cx:pt>
          <cx:pt idx="81243">2</cx:pt>
          <cx:pt idx="81244">4</cx:pt>
          <cx:pt idx="81245">2</cx:pt>
          <cx:pt idx="81246">2</cx:pt>
          <cx:pt idx="81247">2</cx:pt>
          <cx:pt idx="81248">2</cx:pt>
          <cx:pt idx="81249">1</cx:pt>
          <cx:pt idx="81250">1</cx:pt>
          <cx:pt idx="81251">1</cx:pt>
          <cx:pt idx="81252">3</cx:pt>
          <cx:pt idx="81253">5</cx:pt>
          <cx:pt idx="81254">2</cx:pt>
          <cx:pt idx="81255">4</cx:pt>
          <cx:pt idx="81256">0</cx:pt>
          <cx:pt idx="81257">4</cx:pt>
          <cx:pt idx="81258">4</cx:pt>
          <cx:pt idx="81259">1</cx:pt>
          <cx:pt idx="81260">2</cx:pt>
          <cx:pt idx="81261">4</cx:pt>
          <cx:pt idx="81262">4</cx:pt>
          <cx:pt idx="81263">4</cx:pt>
          <cx:pt idx="81264">3</cx:pt>
          <cx:pt idx="81265">5</cx:pt>
          <cx:pt idx="81266">2</cx:pt>
          <cx:pt idx="81267">2</cx:pt>
          <cx:pt idx="81268">2</cx:pt>
          <cx:pt idx="81269">4</cx:pt>
          <cx:pt idx="81270">4</cx:pt>
          <cx:pt idx="81271">4</cx:pt>
          <cx:pt idx="81272">5</cx:pt>
          <cx:pt idx="81273">4</cx:pt>
          <cx:pt idx="81274">3</cx:pt>
          <cx:pt idx="81275">3</cx:pt>
          <cx:pt idx="81276">3</cx:pt>
          <cx:pt idx="81277">0</cx:pt>
          <cx:pt idx="81278">4</cx:pt>
          <cx:pt idx="81279">3</cx:pt>
          <cx:pt idx="81280">3</cx:pt>
          <cx:pt idx="81281">4</cx:pt>
          <cx:pt idx="81282">5</cx:pt>
          <cx:pt idx="81283">4</cx:pt>
          <cx:pt idx="81284">3</cx:pt>
          <cx:pt idx="81285">3</cx:pt>
          <cx:pt idx="81286">3</cx:pt>
          <cx:pt idx="81287">2</cx:pt>
          <cx:pt idx="81288">4</cx:pt>
          <cx:pt idx="81289">4</cx:pt>
          <cx:pt idx="81290">4</cx:pt>
          <cx:pt idx="81291">1</cx:pt>
          <cx:pt idx="81292">4</cx:pt>
          <cx:pt idx="81293">4</cx:pt>
          <cx:pt idx="81294">4</cx:pt>
          <cx:pt idx="81295">2</cx:pt>
          <cx:pt idx="81296">4</cx:pt>
          <cx:pt idx="81297">3</cx:pt>
          <cx:pt idx="81298">1</cx:pt>
          <cx:pt idx="81299">4</cx:pt>
          <cx:pt idx="81300">2</cx:pt>
          <cx:pt idx="81301">4</cx:pt>
          <cx:pt idx="81302">5</cx:pt>
          <cx:pt idx="81303">3</cx:pt>
          <cx:pt idx="81304">4</cx:pt>
          <cx:pt idx="81305">0</cx:pt>
          <cx:pt idx="81306">4</cx:pt>
          <cx:pt idx="81307">5</cx:pt>
          <cx:pt idx="81308">2</cx:pt>
          <cx:pt idx="81309">0</cx:pt>
          <cx:pt idx="81310">1</cx:pt>
          <cx:pt idx="81311">2</cx:pt>
          <cx:pt idx="81312">4</cx:pt>
          <cx:pt idx="81313">1</cx:pt>
          <cx:pt idx="81314">1</cx:pt>
          <cx:pt idx="81315">2</cx:pt>
          <cx:pt idx="81316">4</cx:pt>
          <cx:pt idx="81317">4</cx:pt>
          <cx:pt idx="81318">3</cx:pt>
          <cx:pt idx="81319">3</cx:pt>
          <cx:pt idx="81320">4</cx:pt>
          <cx:pt idx="81321">4</cx:pt>
          <cx:pt idx="81322">3</cx:pt>
          <cx:pt idx="81323">4</cx:pt>
          <cx:pt idx="81324">4</cx:pt>
          <cx:pt idx="81325">1</cx:pt>
          <cx:pt idx="81326">4</cx:pt>
          <cx:pt idx="81327">2</cx:pt>
          <cx:pt idx="81328">2</cx:pt>
          <cx:pt idx="81329">5</cx:pt>
          <cx:pt idx="81330">2</cx:pt>
          <cx:pt idx="81331">3</cx:pt>
          <cx:pt idx="81332">3</cx:pt>
          <cx:pt idx="81333">2</cx:pt>
          <cx:pt idx="81334">5</cx:pt>
          <cx:pt idx="81335">3</cx:pt>
          <cx:pt idx="81336">1</cx:pt>
          <cx:pt idx="81337">3</cx:pt>
          <cx:pt idx="81338">3</cx:pt>
          <cx:pt idx="81339">4</cx:pt>
          <cx:pt idx="81340">4</cx:pt>
          <cx:pt idx="81341">0</cx:pt>
          <cx:pt idx="81342">0</cx:pt>
          <cx:pt idx="81343">2</cx:pt>
          <cx:pt idx="81344">4</cx:pt>
          <cx:pt idx="81345">3</cx:pt>
          <cx:pt idx="81346">1</cx:pt>
          <cx:pt idx="81347">2</cx:pt>
          <cx:pt idx="81348">2</cx:pt>
          <cx:pt idx="81349">0</cx:pt>
          <cx:pt idx="81350">0</cx:pt>
          <cx:pt idx="81351">0</cx:pt>
          <cx:pt idx="81352">2</cx:pt>
          <cx:pt idx="81353">1</cx:pt>
          <cx:pt idx="81354">3</cx:pt>
          <cx:pt idx="81355">2</cx:pt>
          <cx:pt idx="81356">4</cx:pt>
          <cx:pt idx="81357">3</cx:pt>
          <cx:pt idx="81358">3</cx:pt>
          <cx:pt idx="81359">5</cx:pt>
          <cx:pt idx="81360">2</cx:pt>
          <cx:pt idx="81361">3</cx:pt>
          <cx:pt idx="81362">5</cx:pt>
          <cx:pt idx="81363">3</cx:pt>
          <cx:pt idx="81364">5</cx:pt>
          <cx:pt idx="81365">2</cx:pt>
          <cx:pt idx="81366">1</cx:pt>
          <cx:pt idx="81367">3</cx:pt>
          <cx:pt idx="81368">4</cx:pt>
          <cx:pt idx="81369">5</cx:pt>
          <cx:pt idx="81370">5</cx:pt>
          <cx:pt idx="81371">1</cx:pt>
          <cx:pt idx="81372">0</cx:pt>
          <cx:pt idx="81373">3</cx:pt>
          <cx:pt idx="81374">5</cx:pt>
          <cx:pt idx="81375">1</cx:pt>
          <cx:pt idx="81376">4</cx:pt>
          <cx:pt idx="81377">5</cx:pt>
          <cx:pt idx="81378">5</cx:pt>
          <cx:pt idx="81379">4</cx:pt>
          <cx:pt idx="81380">3</cx:pt>
          <cx:pt idx="81381">5</cx:pt>
          <cx:pt idx="81382">4</cx:pt>
          <cx:pt idx="81383">5</cx:pt>
          <cx:pt idx="81384">3</cx:pt>
          <cx:pt idx="81385">2</cx:pt>
          <cx:pt idx="81386">2</cx:pt>
          <cx:pt idx="81387">0</cx:pt>
          <cx:pt idx="81388">2</cx:pt>
          <cx:pt idx="81389">2</cx:pt>
          <cx:pt idx="81390">3</cx:pt>
          <cx:pt idx="81391">2</cx:pt>
          <cx:pt idx="81392">3</cx:pt>
          <cx:pt idx="81393">2</cx:pt>
          <cx:pt idx="81394">0</cx:pt>
          <cx:pt idx="81395">3</cx:pt>
          <cx:pt idx="81396">3</cx:pt>
          <cx:pt idx="81397">5</cx:pt>
          <cx:pt idx="81398">2</cx:pt>
          <cx:pt idx="81399">2</cx:pt>
          <cx:pt idx="81400">2</cx:pt>
          <cx:pt idx="81401">3</cx:pt>
          <cx:pt idx="81402">1</cx:pt>
          <cx:pt idx="81403">4</cx:pt>
          <cx:pt idx="81404">1</cx:pt>
          <cx:pt idx="81405">5</cx:pt>
          <cx:pt idx="81406">4</cx:pt>
          <cx:pt idx="81407">3</cx:pt>
          <cx:pt idx="81408">2</cx:pt>
          <cx:pt idx="81409">4</cx:pt>
          <cx:pt idx="81410">5</cx:pt>
          <cx:pt idx="81411">3</cx:pt>
          <cx:pt idx="81412">1</cx:pt>
          <cx:pt idx="81413">2</cx:pt>
          <cx:pt idx="81414">0</cx:pt>
          <cx:pt idx="81415">5</cx:pt>
          <cx:pt idx="81416">4</cx:pt>
          <cx:pt idx="81417">2</cx:pt>
          <cx:pt idx="81418">1</cx:pt>
          <cx:pt idx="81419">4</cx:pt>
          <cx:pt idx="81420">4</cx:pt>
          <cx:pt idx="81421">1</cx:pt>
          <cx:pt idx="81422">5</cx:pt>
          <cx:pt idx="81423">3</cx:pt>
          <cx:pt idx="81424">1</cx:pt>
          <cx:pt idx="81425">4</cx:pt>
          <cx:pt idx="81426">1</cx:pt>
          <cx:pt idx="81427">4</cx:pt>
          <cx:pt idx="81428">4</cx:pt>
          <cx:pt idx="81429">3</cx:pt>
          <cx:pt idx="81430">1</cx:pt>
          <cx:pt idx="81431">2</cx:pt>
          <cx:pt idx="81432">2</cx:pt>
          <cx:pt idx="81433">2</cx:pt>
          <cx:pt idx="81434">2</cx:pt>
          <cx:pt idx="81435">4</cx:pt>
          <cx:pt idx="81436">4</cx:pt>
          <cx:pt idx="81437">2</cx:pt>
          <cx:pt idx="81438">4</cx:pt>
          <cx:pt idx="81439">4</cx:pt>
          <cx:pt idx="81440">3</cx:pt>
          <cx:pt idx="81441">3</cx:pt>
          <cx:pt idx="81442">1</cx:pt>
          <cx:pt idx="81443">3</cx:pt>
          <cx:pt idx="81444">0</cx:pt>
          <cx:pt idx="81445">3</cx:pt>
          <cx:pt idx="81446">3</cx:pt>
          <cx:pt idx="81447">2</cx:pt>
          <cx:pt idx="81448">2</cx:pt>
          <cx:pt idx="81449">3</cx:pt>
          <cx:pt idx="81450">2</cx:pt>
          <cx:pt idx="81451">3</cx:pt>
          <cx:pt idx="81452">4</cx:pt>
          <cx:pt idx="81453">1</cx:pt>
          <cx:pt idx="81454">5</cx:pt>
          <cx:pt idx="81455">5</cx:pt>
          <cx:pt idx="81456">2</cx:pt>
          <cx:pt idx="81457">2</cx:pt>
          <cx:pt idx="81458">3</cx:pt>
          <cx:pt idx="81459">4</cx:pt>
          <cx:pt idx="81460">4</cx:pt>
          <cx:pt idx="81461">1</cx:pt>
          <cx:pt idx="81462">3</cx:pt>
          <cx:pt idx="81463">3</cx:pt>
          <cx:pt idx="81464">3</cx:pt>
          <cx:pt idx="81465">2</cx:pt>
          <cx:pt idx="81466">4</cx:pt>
          <cx:pt idx="81467">4</cx:pt>
          <cx:pt idx="81468">0</cx:pt>
          <cx:pt idx="81469">5</cx:pt>
          <cx:pt idx="81470">1</cx:pt>
          <cx:pt idx="81471">3</cx:pt>
          <cx:pt idx="81472">2</cx:pt>
          <cx:pt idx="81473">5</cx:pt>
          <cx:pt idx="81474">3</cx:pt>
          <cx:pt idx="81475">3</cx:pt>
          <cx:pt idx="81476">3</cx:pt>
          <cx:pt idx="81477">0</cx:pt>
          <cx:pt idx="81478">4</cx:pt>
          <cx:pt idx="81479">3</cx:pt>
          <cx:pt idx="81480">2</cx:pt>
          <cx:pt idx="81481">3</cx:pt>
          <cx:pt idx="81482">0</cx:pt>
          <cx:pt idx="81483">2</cx:pt>
          <cx:pt idx="81484">3</cx:pt>
          <cx:pt idx="81485">2</cx:pt>
          <cx:pt idx="81486">5</cx:pt>
          <cx:pt idx="81487">2</cx:pt>
          <cx:pt idx="81488">2</cx:pt>
          <cx:pt idx="81489">4</cx:pt>
          <cx:pt idx="81490">4</cx:pt>
          <cx:pt idx="81491">3</cx:pt>
          <cx:pt idx="81492">3</cx:pt>
          <cx:pt idx="81493">1</cx:pt>
          <cx:pt idx="81494">0</cx:pt>
          <cx:pt idx="81495">2</cx:pt>
          <cx:pt idx="81496">3</cx:pt>
          <cx:pt idx="81497">1</cx:pt>
          <cx:pt idx="81498">4</cx:pt>
          <cx:pt idx="81499">0</cx:pt>
          <cx:pt idx="81500">4</cx:pt>
          <cx:pt idx="81501">1</cx:pt>
          <cx:pt idx="81502">3</cx:pt>
          <cx:pt idx="81503">1</cx:pt>
          <cx:pt idx="81504">1</cx:pt>
          <cx:pt idx="81505">1</cx:pt>
          <cx:pt idx="81506">0</cx:pt>
          <cx:pt idx="81507">3</cx:pt>
          <cx:pt idx="81508">4</cx:pt>
          <cx:pt idx="81509">5</cx:pt>
          <cx:pt idx="81510">5</cx:pt>
          <cx:pt idx="81511">3</cx:pt>
          <cx:pt idx="81512">4</cx:pt>
          <cx:pt idx="81513">1</cx:pt>
          <cx:pt idx="81514">5</cx:pt>
          <cx:pt idx="81515">4</cx:pt>
          <cx:pt idx="81516">2</cx:pt>
          <cx:pt idx="81517">2</cx:pt>
          <cx:pt idx="81518">3</cx:pt>
          <cx:pt idx="81519">2</cx:pt>
          <cx:pt idx="81520">0</cx:pt>
          <cx:pt idx="81521">4</cx:pt>
          <cx:pt idx="81522">3</cx:pt>
          <cx:pt idx="81523">3</cx:pt>
          <cx:pt idx="81524">2</cx:pt>
          <cx:pt idx="81525">5</cx:pt>
          <cx:pt idx="81526">5</cx:pt>
          <cx:pt idx="81527">5</cx:pt>
          <cx:pt idx="81528">2</cx:pt>
          <cx:pt idx="81529">3</cx:pt>
          <cx:pt idx="81530">3</cx:pt>
          <cx:pt idx="81531">3</cx:pt>
          <cx:pt idx="81532">4</cx:pt>
          <cx:pt idx="81533">4</cx:pt>
          <cx:pt idx="81534">3</cx:pt>
          <cx:pt idx="81535">3</cx:pt>
          <cx:pt idx="81536">1</cx:pt>
          <cx:pt idx="81537">3</cx:pt>
          <cx:pt idx="81538">3</cx:pt>
          <cx:pt idx="81539">2</cx:pt>
          <cx:pt idx="81540">5</cx:pt>
          <cx:pt idx="81541">2</cx:pt>
          <cx:pt idx="81542">5</cx:pt>
          <cx:pt idx="81543">5</cx:pt>
          <cx:pt idx="81544">4</cx:pt>
          <cx:pt idx="81545">2</cx:pt>
          <cx:pt idx="81546">2</cx:pt>
          <cx:pt idx="81547">2</cx:pt>
          <cx:pt idx="81548">3</cx:pt>
          <cx:pt idx="81549">4</cx:pt>
          <cx:pt idx="81550">1</cx:pt>
          <cx:pt idx="81551">2</cx:pt>
          <cx:pt idx="81552">2</cx:pt>
          <cx:pt idx="81553">5</cx:pt>
          <cx:pt idx="81554">1</cx:pt>
          <cx:pt idx="81555">3</cx:pt>
          <cx:pt idx="81556">2</cx:pt>
          <cx:pt idx="81557">4</cx:pt>
          <cx:pt idx="81558">2</cx:pt>
          <cx:pt idx="81559">4</cx:pt>
          <cx:pt idx="81560">2</cx:pt>
          <cx:pt idx="81561">5</cx:pt>
          <cx:pt idx="81562">4</cx:pt>
          <cx:pt idx="81563">4</cx:pt>
          <cx:pt idx="81564">2</cx:pt>
          <cx:pt idx="81565">5</cx:pt>
          <cx:pt idx="81566">3</cx:pt>
          <cx:pt idx="81567">4</cx:pt>
          <cx:pt idx="81568">3</cx:pt>
          <cx:pt idx="81569">2</cx:pt>
          <cx:pt idx="81570">1</cx:pt>
          <cx:pt idx="81571">5</cx:pt>
          <cx:pt idx="81572">2</cx:pt>
          <cx:pt idx="81573">3</cx:pt>
          <cx:pt idx="81574">2</cx:pt>
          <cx:pt idx="81575">3</cx:pt>
          <cx:pt idx="81576">2</cx:pt>
          <cx:pt idx="81577">3</cx:pt>
          <cx:pt idx="81578">1</cx:pt>
          <cx:pt idx="81579">4</cx:pt>
          <cx:pt idx="81580">3</cx:pt>
          <cx:pt idx="81581">2</cx:pt>
          <cx:pt idx="81582">1</cx:pt>
          <cx:pt idx="81583">4</cx:pt>
          <cx:pt idx="81584">3</cx:pt>
          <cx:pt idx="81585">1</cx:pt>
          <cx:pt idx="81586">1</cx:pt>
          <cx:pt idx="81587">5</cx:pt>
          <cx:pt idx="81588">1</cx:pt>
          <cx:pt idx="81589">2</cx:pt>
          <cx:pt idx="81590">5</cx:pt>
          <cx:pt idx="81591">2</cx:pt>
          <cx:pt idx="81592">1</cx:pt>
          <cx:pt idx="81593">4</cx:pt>
          <cx:pt idx="81594">4</cx:pt>
          <cx:pt idx="81595">2</cx:pt>
          <cx:pt idx="81596">0</cx:pt>
          <cx:pt idx="81597">2</cx:pt>
          <cx:pt idx="81598">1</cx:pt>
          <cx:pt idx="81599">3</cx:pt>
          <cx:pt idx="81600">2</cx:pt>
          <cx:pt idx="81601">2</cx:pt>
          <cx:pt idx="81602">1</cx:pt>
          <cx:pt idx="81603">1</cx:pt>
          <cx:pt idx="81604">4</cx:pt>
          <cx:pt idx="81605">3</cx:pt>
          <cx:pt idx="81606">5</cx:pt>
          <cx:pt idx="81607">4</cx:pt>
          <cx:pt idx="81608">1</cx:pt>
          <cx:pt idx="81609">2</cx:pt>
          <cx:pt idx="81610">1</cx:pt>
          <cx:pt idx="81611">3</cx:pt>
          <cx:pt idx="81612">1</cx:pt>
          <cx:pt idx="81613">2</cx:pt>
          <cx:pt idx="81614">2</cx:pt>
          <cx:pt idx="81615">2</cx:pt>
          <cx:pt idx="81616">0</cx:pt>
          <cx:pt idx="81617">3</cx:pt>
          <cx:pt idx="81618">2</cx:pt>
          <cx:pt idx="81619">2</cx:pt>
          <cx:pt idx="81620">4</cx:pt>
          <cx:pt idx="81621">3</cx:pt>
          <cx:pt idx="81622">3</cx:pt>
          <cx:pt idx="81623">1</cx:pt>
          <cx:pt idx="81624">5</cx:pt>
          <cx:pt idx="81625">3</cx:pt>
          <cx:pt idx="81626">4</cx:pt>
          <cx:pt idx="81627">1</cx:pt>
          <cx:pt idx="81628">0</cx:pt>
          <cx:pt idx="81629">2</cx:pt>
          <cx:pt idx="81630">1</cx:pt>
          <cx:pt idx="81631">2</cx:pt>
          <cx:pt idx="81632">2</cx:pt>
          <cx:pt idx="81633">2</cx:pt>
          <cx:pt idx="81634">3</cx:pt>
          <cx:pt idx="81635">3</cx:pt>
          <cx:pt idx="81636">1</cx:pt>
          <cx:pt idx="81637">4</cx:pt>
          <cx:pt idx="81638">1</cx:pt>
          <cx:pt idx="81639">4</cx:pt>
          <cx:pt idx="81640">1</cx:pt>
          <cx:pt idx="81641">2</cx:pt>
          <cx:pt idx="81642">3</cx:pt>
          <cx:pt idx="81643">2</cx:pt>
          <cx:pt idx="81644">3</cx:pt>
          <cx:pt idx="81645">5</cx:pt>
          <cx:pt idx="81646">5</cx:pt>
          <cx:pt idx="81647">5</cx:pt>
          <cx:pt idx="81648">4</cx:pt>
          <cx:pt idx="81649">2</cx:pt>
          <cx:pt idx="81650">2</cx:pt>
          <cx:pt idx="81651">4</cx:pt>
          <cx:pt idx="81652">1</cx:pt>
          <cx:pt idx="81653">1</cx:pt>
          <cx:pt idx="81654">1</cx:pt>
          <cx:pt idx="81655">4</cx:pt>
          <cx:pt idx="81656">2</cx:pt>
          <cx:pt idx="81657">4</cx:pt>
          <cx:pt idx="81658">2</cx:pt>
          <cx:pt idx="81659">1</cx:pt>
          <cx:pt idx="81660">0</cx:pt>
          <cx:pt idx="81661">5</cx:pt>
          <cx:pt idx="81662">2</cx:pt>
          <cx:pt idx="81663">4</cx:pt>
          <cx:pt idx="81664">1</cx:pt>
          <cx:pt idx="81665">3</cx:pt>
          <cx:pt idx="81666">4</cx:pt>
          <cx:pt idx="81667">4</cx:pt>
          <cx:pt idx="81668">0</cx:pt>
          <cx:pt idx="81669">5</cx:pt>
          <cx:pt idx="81670">5</cx:pt>
          <cx:pt idx="81671">4</cx:pt>
          <cx:pt idx="81672">4</cx:pt>
          <cx:pt idx="81673">5</cx:pt>
          <cx:pt idx="81674">4</cx:pt>
          <cx:pt idx="81675">2</cx:pt>
          <cx:pt idx="81676">1</cx:pt>
          <cx:pt idx="81677">2</cx:pt>
          <cx:pt idx="81678">4</cx:pt>
          <cx:pt idx="81679">3</cx:pt>
          <cx:pt idx="81680">2</cx:pt>
          <cx:pt idx="81681">3</cx:pt>
          <cx:pt idx="81682">4</cx:pt>
          <cx:pt idx="81683">3</cx:pt>
          <cx:pt idx="81684">4</cx:pt>
          <cx:pt idx="81685">2</cx:pt>
          <cx:pt idx="81686">3</cx:pt>
          <cx:pt idx="81687">1</cx:pt>
          <cx:pt idx="81688">3</cx:pt>
          <cx:pt idx="81689">2</cx:pt>
          <cx:pt idx="81690">1</cx:pt>
          <cx:pt idx="81691">1</cx:pt>
          <cx:pt idx="81692">1</cx:pt>
          <cx:pt idx="81693">1</cx:pt>
          <cx:pt idx="81694">3</cx:pt>
          <cx:pt idx="81695">5</cx:pt>
          <cx:pt idx="81696">3</cx:pt>
          <cx:pt idx="81697">2</cx:pt>
          <cx:pt idx="81698">3</cx:pt>
          <cx:pt idx="81699">2</cx:pt>
          <cx:pt idx="81700">4</cx:pt>
          <cx:pt idx="81701">2</cx:pt>
          <cx:pt idx="81702">4</cx:pt>
          <cx:pt idx="81703">1</cx:pt>
          <cx:pt idx="81704">4</cx:pt>
          <cx:pt idx="81705">1</cx:pt>
          <cx:pt idx="81706">2</cx:pt>
          <cx:pt idx="81707">3</cx:pt>
          <cx:pt idx="81708">4</cx:pt>
          <cx:pt idx="81709">0</cx:pt>
          <cx:pt idx="81710">2</cx:pt>
          <cx:pt idx="81711">1</cx:pt>
          <cx:pt idx="81712">3</cx:pt>
          <cx:pt idx="81713">4</cx:pt>
          <cx:pt idx="81714">4</cx:pt>
          <cx:pt idx="81715">4</cx:pt>
          <cx:pt idx="81716">2</cx:pt>
          <cx:pt idx="81717">2</cx:pt>
          <cx:pt idx="81718">3</cx:pt>
          <cx:pt idx="81719">4</cx:pt>
          <cx:pt idx="81720">3</cx:pt>
          <cx:pt idx="81721">1</cx:pt>
          <cx:pt idx="81722">5</cx:pt>
          <cx:pt idx="81723">3</cx:pt>
          <cx:pt idx="81724">2</cx:pt>
          <cx:pt idx="81725">1</cx:pt>
          <cx:pt idx="81726">3</cx:pt>
          <cx:pt idx="81727">3</cx:pt>
          <cx:pt idx="81728">4</cx:pt>
          <cx:pt idx="81729">4</cx:pt>
          <cx:pt idx="81730">3</cx:pt>
          <cx:pt idx="81731">3</cx:pt>
          <cx:pt idx="81732">3</cx:pt>
          <cx:pt idx="81733">4</cx:pt>
          <cx:pt idx="81734">3</cx:pt>
          <cx:pt idx="81735">1</cx:pt>
          <cx:pt idx="81736">3</cx:pt>
          <cx:pt idx="81737">5</cx:pt>
          <cx:pt idx="81738">2</cx:pt>
          <cx:pt idx="81739">2</cx:pt>
          <cx:pt idx="81740">5</cx:pt>
          <cx:pt idx="81741">2</cx:pt>
          <cx:pt idx="81742">2</cx:pt>
          <cx:pt idx="81743">2</cx:pt>
          <cx:pt idx="81744">4</cx:pt>
          <cx:pt idx="81745">4</cx:pt>
          <cx:pt idx="81746">3</cx:pt>
          <cx:pt idx="81747">2</cx:pt>
          <cx:pt idx="81748">4</cx:pt>
          <cx:pt idx="81749">5</cx:pt>
          <cx:pt idx="81750">4</cx:pt>
          <cx:pt idx="81751">1</cx:pt>
          <cx:pt idx="81752">0</cx:pt>
          <cx:pt idx="81753">0</cx:pt>
          <cx:pt idx="81754">1</cx:pt>
          <cx:pt idx="81755">4</cx:pt>
          <cx:pt idx="81756">2</cx:pt>
          <cx:pt idx="81757">1</cx:pt>
          <cx:pt idx="81758">1</cx:pt>
          <cx:pt idx="81759">5</cx:pt>
          <cx:pt idx="81760">4</cx:pt>
          <cx:pt idx="81761">5</cx:pt>
          <cx:pt idx="81762">1</cx:pt>
          <cx:pt idx="81763">4</cx:pt>
          <cx:pt idx="81764">1</cx:pt>
          <cx:pt idx="81765">0</cx:pt>
          <cx:pt idx="81766">1</cx:pt>
          <cx:pt idx="81767">2</cx:pt>
          <cx:pt idx="81768">4</cx:pt>
          <cx:pt idx="81769">2</cx:pt>
          <cx:pt idx="81770">3</cx:pt>
          <cx:pt idx="81771">0</cx:pt>
          <cx:pt idx="81772">2</cx:pt>
          <cx:pt idx="81773">5</cx:pt>
          <cx:pt idx="81774">2</cx:pt>
          <cx:pt idx="81775">5</cx:pt>
          <cx:pt idx="81776">1</cx:pt>
          <cx:pt idx="81777">2</cx:pt>
          <cx:pt idx="81778">1</cx:pt>
          <cx:pt idx="81779">2</cx:pt>
          <cx:pt idx="81780">3</cx:pt>
          <cx:pt idx="81781">3</cx:pt>
          <cx:pt idx="81782">2</cx:pt>
          <cx:pt idx="81783">2</cx:pt>
          <cx:pt idx="81784">4</cx:pt>
          <cx:pt idx="81785">3</cx:pt>
          <cx:pt idx="81786">2</cx:pt>
          <cx:pt idx="81787">2</cx:pt>
          <cx:pt idx="81788">1</cx:pt>
          <cx:pt idx="81789">3</cx:pt>
          <cx:pt idx="81790">3</cx:pt>
          <cx:pt idx="81791">1</cx:pt>
          <cx:pt idx="81792">1</cx:pt>
          <cx:pt idx="81793">1</cx:pt>
          <cx:pt idx="81794">3</cx:pt>
          <cx:pt idx="81795">2</cx:pt>
          <cx:pt idx="81796">3</cx:pt>
          <cx:pt idx="81797">1</cx:pt>
          <cx:pt idx="81798">4</cx:pt>
          <cx:pt idx="81799">2</cx:pt>
          <cx:pt idx="81800">2</cx:pt>
          <cx:pt idx="81801">4</cx:pt>
          <cx:pt idx="81802">5</cx:pt>
          <cx:pt idx="81803">4</cx:pt>
          <cx:pt idx="81804">5</cx:pt>
          <cx:pt idx="81805">4</cx:pt>
          <cx:pt idx="81806">4</cx:pt>
          <cx:pt idx="81807">3</cx:pt>
          <cx:pt idx="81808">2</cx:pt>
          <cx:pt idx="81809">2</cx:pt>
          <cx:pt idx="81810">2</cx:pt>
          <cx:pt idx="81811">2</cx:pt>
          <cx:pt idx="81812">5</cx:pt>
          <cx:pt idx="81813">0</cx:pt>
          <cx:pt idx="81814">0</cx:pt>
          <cx:pt idx="81815">4</cx:pt>
          <cx:pt idx="81816">1</cx:pt>
          <cx:pt idx="81817">4</cx:pt>
          <cx:pt idx="81818">2</cx:pt>
          <cx:pt idx="81819">5</cx:pt>
          <cx:pt idx="81820">3</cx:pt>
          <cx:pt idx="81821">4</cx:pt>
          <cx:pt idx="81822">3</cx:pt>
          <cx:pt idx="81823">2</cx:pt>
          <cx:pt idx="81824">4</cx:pt>
          <cx:pt idx="81825">5</cx:pt>
          <cx:pt idx="81826">2</cx:pt>
          <cx:pt idx="81827">0</cx:pt>
          <cx:pt idx="81828">4</cx:pt>
          <cx:pt idx="81829">2</cx:pt>
          <cx:pt idx="81830">3</cx:pt>
          <cx:pt idx="81831">4</cx:pt>
          <cx:pt idx="81832">3</cx:pt>
          <cx:pt idx="81833">3</cx:pt>
          <cx:pt idx="81834">3</cx:pt>
          <cx:pt idx="81835">3</cx:pt>
          <cx:pt idx="81836">4</cx:pt>
          <cx:pt idx="81837">4</cx:pt>
          <cx:pt idx="81838">1</cx:pt>
          <cx:pt idx="81839">1</cx:pt>
          <cx:pt idx="81840">5</cx:pt>
          <cx:pt idx="81841">1</cx:pt>
          <cx:pt idx="81842">2</cx:pt>
          <cx:pt idx="81843">2</cx:pt>
          <cx:pt idx="81844">4</cx:pt>
          <cx:pt idx="81845">5</cx:pt>
          <cx:pt idx="81846">5</cx:pt>
          <cx:pt idx="81847">1</cx:pt>
          <cx:pt idx="81848">1</cx:pt>
          <cx:pt idx="81849">3</cx:pt>
          <cx:pt idx="81850">2</cx:pt>
          <cx:pt idx="81851">2</cx:pt>
          <cx:pt idx="81852">3</cx:pt>
          <cx:pt idx="81853">2</cx:pt>
          <cx:pt idx="81854">1</cx:pt>
          <cx:pt idx="81855">3</cx:pt>
          <cx:pt idx="81856">2</cx:pt>
          <cx:pt idx="81857">1</cx:pt>
          <cx:pt idx="81858">1</cx:pt>
          <cx:pt idx="81859">5</cx:pt>
          <cx:pt idx="81860">3</cx:pt>
          <cx:pt idx="81861">5</cx:pt>
          <cx:pt idx="81862">1</cx:pt>
          <cx:pt idx="81863">5</cx:pt>
          <cx:pt idx="81864">3</cx:pt>
          <cx:pt idx="81865">3</cx:pt>
          <cx:pt idx="81866">1</cx:pt>
          <cx:pt idx="81867">2</cx:pt>
          <cx:pt idx="81868">3</cx:pt>
          <cx:pt idx="81869">4</cx:pt>
          <cx:pt idx="81870">3</cx:pt>
          <cx:pt idx="81871">5</cx:pt>
          <cx:pt idx="81872">3</cx:pt>
          <cx:pt idx="81873">2</cx:pt>
          <cx:pt idx="81874">3</cx:pt>
          <cx:pt idx="81875">3</cx:pt>
          <cx:pt idx="81876">2</cx:pt>
          <cx:pt idx="81877">2</cx:pt>
          <cx:pt idx="81878">2</cx:pt>
          <cx:pt idx="81879">3</cx:pt>
          <cx:pt idx="81880">1</cx:pt>
          <cx:pt idx="81881">5</cx:pt>
          <cx:pt idx="81882">5</cx:pt>
          <cx:pt idx="81883">2</cx:pt>
          <cx:pt idx="81884">3</cx:pt>
          <cx:pt idx="81885">1</cx:pt>
          <cx:pt idx="81886">2</cx:pt>
          <cx:pt idx="81887">2</cx:pt>
          <cx:pt idx="81888">2</cx:pt>
          <cx:pt idx="81889">1</cx:pt>
          <cx:pt idx="81890">3</cx:pt>
          <cx:pt idx="81891">1</cx:pt>
          <cx:pt idx="81892">2</cx:pt>
          <cx:pt idx="81893">2</cx:pt>
          <cx:pt idx="81894">0</cx:pt>
          <cx:pt idx="81895">3</cx:pt>
          <cx:pt idx="81896">3</cx:pt>
          <cx:pt idx="81897">0</cx:pt>
          <cx:pt idx="81898">3</cx:pt>
          <cx:pt idx="81899">4</cx:pt>
          <cx:pt idx="81900">1</cx:pt>
          <cx:pt idx="81901">3</cx:pt>
          <cx:pt idx="81902">2</cx:pt>
          <cx:pt idx="81903">4</cx:pt>
          <cx:pt idx="81904">4</cx:pt>
          <cx:pt idx="81905">1</cx:pt>
          <cx:pt idx="81906">4</cx:pt>
          <cx:pt idx="81907">2</cx:pt>
          <cx:pt idx="81908">4</cx:pt>
          <cx:pt idx="81909">4</cx:pt>
          <cx:pt idx="81910">4</cx:pt>
          <cx:pt idx="81911">4</cx:pt>
          <cx:pt idx="81912">3</cx:pt>
          <cx:pt idx="81913">3</cx:pt>
          <cx:pt idx="81914">3</cx:pt>
          <cx:pt idx="81915">3</cx:pt>
          <cx:pt idx="81916">2</cx:pt>
          <cx:pt idx="81917">4</cx:pt>
          <cx:pt idx="81918">3</cx:pt>
          <cx:pt idx="81919">1</cx:pt>
          <cx:pt idx="81920">3</cx:pt>
          <cx:pt idx="81921">4</cx:pt>
          <cx:pt idx="81922">3</cx:pt>
          <cx:pt idx="81923">5</cx:pt>
          <cx:pt idx="81924">1</cx:pt>
          <cx:pt idx="81925">5</cx:pt>
          <cx:pt idx="81926">1</cx:pt>
          <cx:pt idx="81927">3</cx:pt>
          <cx:pt idx="81928">0</cx:pt>
          <cx:pt idx="81929">5</cx:pt>
          <cx:pt idx="81930">1</cx:pt>
          <cx:pt idx="81931">1</cx:pt>
          <cx:pt idx="81932">1</cx:pt>
          <cx:pt idx="81933">5</cx:pt>
          <cx:pt idx="81934">3</cx:pt>
          <cx:pt idx="81935">5</cx:pt>
          <cx:pt idx="81936">5</cx:pt>
          <cx:pt idx="81937">1</cx:pt>
          <cx:pt idx="81938">1</cx:pt>
          <cx:pt idx="81939">1</cx:pt>
          <cx:pt idx="81940">4</cx:pt>
          <cx:pt idx="81941">2</cx:pt>
          <cx:pt idx="81942">4</cx:pt>
          <cx:pt idx="81943">2</cx:pt>
          <cx:pt idx="81944">4</cx:pt>
          <cx:pt idx="81945">2</cx:pt>
          <cx:pt idx="81946">1</cx:pt>
          <cx:pt idx="81947">2</cx:pt>
          <cx:pt idx="81948">3</cx:pt>
          <cx:pt idx="81949">2</cx:pt>
          <cx:pt idx="81950">4</cx:pt>
          <cx:pt idx="81951">2</cx:pt>
          <cx:pt idx="81952">3</cx:pt>
          <cx:pt idx="81953">3</cx:pt>
          <cx:pt idx="81954">3</cx:pt>
          <cx:pt idx="81955">2</cx:pt>
          <cx:pt idx="81956">1</cx:pt>
          <cx:pt idx="81957">0</cx:pt>
          <cx:pt idx="81958">3</cx:pt>
          <cx:pt idx="81959">0</cx:pt>
          <cx:pt idx="81960">1</cx:pt>
          <cx:pt idx="81961">5</cx:pt>
          <cx:pt idx="81962">5</cx:pt>
          <cx:pt idx="81963">1</cx:pt>
          <cx:pt idx="81964">2</cx:pt>
          <cx:pt idx="81965">1</cx:pt>
          <cx:pt idx="81966">3</cx:pt>
          <cx:pt idx="81967">3</cx:pt>
          <cx:pt idx="81968">5</cx:pt>
          <cx:pt idx="81969">1</cx:pt>
          <cx:pt idx="81970">3</cx:pt>
          <cx:pt idx="81971">5</cx:pt>
          <cx:pt idx="81972">0</cx:pt>
          <cx:pt idx="81973">2</cx:pt>
          <cx:pt idx="81974">4</cx:pt>
          <cx:pt idx="81975">4</cx:pt>
          <cx:pt idx="81976">2</cx:pt>
          <cx:pt idx="81977">4</cx:pt>
          <cx:pt idx="81978">2</cx:pt>
          <cx:pt idx="81979">0</cx:pt>
          <cx:pt idx="81980">1</cx:pt>
          <cx:pt idx="81981">4</cx:pt>
          <cx:pt idx="81982">3</cx:pt>
          <cx:pt idx="81983">4</cx:pt>
          <cx:pt idx="81984">4</cx:pt>
          <cx:pt idx="81985">5</cx:pt>
          <cx:pt idx="81986">2</cx:pt>
          <cx:pt idx="81987">3</cx:pt>
          <cx:pt idx="81988">5</cx:pt>
          <cx:pt idx="81989">2</cx:pt>
          <cx:pt idx="81990">1</cx:pt>
          <cx:pt idx="81991">4</cx:pt>
          <cx:pt idx="81992">3</cx:pt>
          <cx:pt idx="81993">2</cx:pt>
          <cx:pt idx="81994">1</cx:pt>
          <cx:pt idx="81995">3</cx:pt>
          <cx:pt idx="81996">1</cx:pt>
          <cx:pt idx="81997">3</cx:pt>
          <cx:pt idx="81998">0</cx:pt>
          <cx:pt idx="81999">4</cx:pt>
          <cx:pt idx="82000">0</cx:pt>
          <cx:pt idx="82001">2</cx:pt>
          <cx:pt idx="82002">2</cx:pt>
          <cx:pt idx="82003">4</cx:pt>
          <cx:pt idx="82004">2</cx:pt>
          <cx:pt idx="82005">3</cx:pt>
          <cx:pt idx="82006">2</cx:pt>
          <cx:pt idx="82007">4</cx:pt>
          <cx:pt idx="82008">5</cx:pt>
          <cx:pt idx="82009">5</cx:pt>
          <cx:pt idx="82010">2</cx:pt>
          <cx:pt idx="82011">1</cx:pt>
          <cx:pt idx="82012">2</cx:pt>
          <cx:pt idx="82013">0</cx:pt>
          <cx:pt idx="82014">1</cx:pt>
          <cx:pt idx="82015">0</cx:pt>
          <cx:pt idx="82016">3</cx:pt>
          <cx:pt idx="82017">1</cx:pt>
          <cx:pt idx="82018">3</cx:pt>
          <cx:pt idx="82019">5</cx:pt>
          <cx:pt idx="82020">5</cx:pt>
          <cx:pt idx="82021">3</cx:pt>
          <cx:pt idx="82022">4</cx:pt>
          <cx:pt idx="82023">5</cx:pt>
          <cx:pt idx="82024">0</cx:pt>
          <cx:pt idx="82025">1</cx:pt>
          <cx:pt idx="82026">1</cx:pt>
          <cx:pt idx="82027">5</cx:pt>
          <cx:pt idx="82028">4</cx:pt>
          <cx:pt idx="82029">2</cx:pt>
          <cx:pt idx="82030">5</cx:pt>
          <cx:pt idx="82031">4</cx:pt>
          <cx:pt idx="82032">2</cx:pt>
          <cx:pt idx="82033">4</cx:pt>
          <cx:pt idx="82034">2</cx:pt>
          <cx:pt idx="82035">3</cx:pt>
          <cx:pt idx="82036">4</cx:pt>
          <cx:pt idx="82037">2</cx:pt>
          <cx:pt idx="82038">3</cx:pt>
          <cx:pt idx="82039">0</cx:pt>
          <cx:pt idx="82040">2</cx:pt>
          <cx:pt idx="82041">1</cx:pt>
          <cx:pt idx="82042">4</cx:pt>
          <cx:pt idx="82043">4</cx:pt>
          <cx:pt idx="82044">3</cx:pt>
          <cx:pt idx="82045">4</cx:pt>
          <cx:pt idx="82046">5</cx:pt>
          <cx:pt idx="82047">3</cx:pt>
          <cx:pt idx="82048">5</cx:pt>
          <cx:pt idx="82049">5</cx:pt>
          <cx:pt idx="82050">5</cx:pt>
          <cx:pt idx="82051">3</cx:pt>
          <cx:pt idx="82052">4</cx:pt>
          <cx:pt idx="82053">0</cx:pt>
          <cx:pt idx="82054">3</cx:pt>
          <cx:pt idx="82055">3</cx:pt>
          <cx:pt idx="82056">2</cx:pt>
          <cx:pt idx="82057">3</cx:pt>
          <cx:pt idx="82058">4</cx:pt>
          <cx:pt idx="82059">3</cx:pt>
          <cx:pt idx="82060">1</cx:pt>
          <cx:pt idx="82061">3</cx:pt>
          <cx:pt idx="82062">2</cx:pt>
          <cx:pt idx="82063">3</cx:pt>
          <cx:pt idx="82064">3</cx:pt>
          <cx:pt idx="82065">4</cx:pt>
          <cx:pt idx="82066">4</cx:pt>
          <cx:pt idx="82067">3</cx:pt>
          <cx:pt idx="82068">5</cx:pt>
          <cx:pt idx="82069">2</cx:pt>
          <cx:pt idx="82070">0</cx:pt>
          <cx:pt idx="82071">3</cx:pt>
          <cx:pt idx="82072">5</cx:pt>
          <cx:pt idx="82073">4</cx:pt>
          <cx:pt idx="82074">3</cx:pt>
          <cx:pt idx="82075">3</cx:pt>
          <cx:pt idx="82076">1</cx:pt>
          <cx:pt idx="82077">2</cx:pt>
          <cx:pt idx="82078">2</cx:pt>
          <cx:pt idx="82079">3</cx:pt>
          <cx:pt idx="82080">1</cx:pt>
          <cx:pt idx="82081">4</cx:pt>
          <cx:pt idx="82082">2</cx:pt>
          <cx:pt idx="82083">1</cx:pt>
          <cx:pt idx="82084">1</cx:pt>
          <cx:pt idx="82085">3</cx:pt>
          <cx:pt idx="82086">5</cx:pt>
          <cx:pt idx="82087">1</cx:pt>
          <cx:pt idx="82088">3</cx:pt>
          <cx:pt idx="82089">4</cx:pt>
          <cx:pt idx="82090">4</cx:pt>
          <cx:pt idx="82091">1</cx:pt>
          <cx:pt idx="82092">3</cx:pt>
          <cx:pt idx="82093">2</cx:pt>
          <cx:pt idx="82094">4</cx:pt>
          <cx:pt idx="82095">2</cx:pt>
          <cx:pt idx="82096">5</cx:pt>
          <cx:pt idx="82097">4</cx:pt>
          <cx:pt idx="82098">1</cx:pt>
          <cx:pt idx="82099">2</cx:pt>
          <cx:pt idx="82100">1</cx:pt>
          <cx:pt idx="82101">2</cx:pt>
          <cx:pt idx="82102">3</cx:pt>
          <cx:pt idx="82103">3</cx:pt>
          <cx:pt idx="82104">3</cx:pt>
          <cx:pt idx="82105">0</cx:pt>
          <cx:pt idx="82106">1</cx:pt>
          <cx:pt idx="82107">5</cx:pt>
          <cx:pt idx="82108">3</cx:pt>
          <cx:pt idx="82109">0</cx:pt>
          <cx:pt idx="82110">0</cx:pt>
          <cx:pt idx="82111">1</cx:pt>
          <cx:pt idx="82112">0</cx:pt>
          <cx:pt idx="82113">4</cx:pt>
          <cx:pt idx="82114">4</cx:pt>
          <cx:pt idx="82115">4</cx:pt>
          <cx:pt idx="82116">4</cx:pt>
          <cx:pt idx="82117">2</cx:pt>
          <cx:pt idx="82118">2</cx:pt>
          <cx:pt idx="82119">3</cx:pt>
          <cx:pt idx="82120">1</cx:pt>
          <cx:pt idx="82121">0</cx:pt>
          <cx:pt idx="82122">1</cx:pt>
          <cx:pt idx="82123">1</cx:pt>
          <cx:pt idx="82124">2</cx:pt>
          <cx:pt idx="82125">4</cx:pt>
          <cx:pt idx="82126">2</cx:pt>
          <cx:pt idx="82127">2</cx:pt>
          <cx:pt idx="82128">1</cx:pt>
          <cx:pt idx="82129">5</cx:pt>
          <cx:pt idx="82130">4</cx:pt>
          <cx:pt idx="82131">1</cx:pt>
          <cx:pt idx="82132">3</cx:pt>
          <cx:pt idx="82133">3</cx:pt>
          <cx:pt idx="82134">4</cx:pt>
          <cx:pt idx="82135">4</cx:pt>
          <cx:pt idx="82136">4</cx:pt>
          <cx:pt idx="82137">5</cx:pt>
          <cx:pt idx="82138">5</cx:pt>
          <cx:pt idx="82139">3</cx:pt>
          <cx:pt idx="82140">1</cx:pt>
          <cx:pt idx="82141">5</cx:pt>
          <cx:pt idx="82142">2</cx:pt>
          <cx:pt idx="82143">3</cx:pt>
          <cx:pt idx="82144">3</cx:pt>
          <cx:pt idx="82145">2</cx:pt>
          <cx:pt idx="82146">3</cx:pt>
          <cx:pt idx="82147">2</cx:pt>
          <cx:pt idx="82148">2</cx:pt>
          <cx:pt idx="82149">4</cx:pt>
          <cx:pt idx="82150">2</cx:pt>
          <cx:pt idx="82151">5</cx:pt>
          <cx:pt idx="82152">3</cx:pt>
          <cx:pt idx="82153">4</cx:pt>
          <cx:pt idx="82154">1</cx:pt>
          <cx:pt idx="82155">1</cx:pt>
          <cx:pt idx="82156">2</cx:pt>
          <cx:pt idx="82157">5</cx:pt>
          <cx:pt idx="82158">1</cx:pt>
          <cx:pt idx="82159">4</cx:pt>
          <cx:pt idx="82160">5</cx:pt>
          <cx:pt idx="82161">4</cx:pt>
          <cx:pt idx="82162">0</cx:pt>
          <cx:pt idx="82163">1</cx:pt>
          <cx:pt idx="82164">1</cx:pt>
          <cx:pt idx="82165">4</cx:pt>
          <cx:pt idx="82166">2</cx:pt>
          <cx:pt idx="82167">2</cx:pt>
          <cx:pt idx="82168">2</cx:pt>
          <cx:pt idx="82169">5</cx:pt>
          <cx:pt idx="82170">2</cx:pt>
          <cx:pt idx="82171">2</cx:pt>
          <cx:pt idx="82172">2</cx:pt>
          <cx:pt idx="82173">2</cx:pt>
          <cx:pt idx="82174">2</cx:pt>
          <cx:pt idx="82175">4</cx:pt>
          <cx:pt idx="82176">3</cx:pt>
          <cx:pt idx="82177">2</cx:pt>
          <cx:pt idx="82178">3</cx:pt>
          <cx:pt idx="82179">2</cx:pt>
          <cx:pt idx="82180">0</cx:pt>
          <cx:pt idx="82181">4</cx:pt>
          <cx:pt idx="82182">3</cx:pt>
          <cx:pt idx="82183">4</cx:pt>
          <cx:pt idx="82184">3</cx:pt>
          <cx:pt idx="82185">5</cx:pt>
          <cx:pt idx="82186">4</cx:pt>
          <cx:pt idx="82187">4</cx:pt>
          <cx:pt idx="82188">4</cx:pt>
          <cx:pt idx="82189">4</cx:pt>
          <cx:pt idx="82190">3</cx:pt>
          <cx:pt idx="82191">5</cx:pt>
          <cx:pt idx="82192">2</cx:pt>
          <cx:pt idx="82193">3</cx:pt>
          <cx:pt idx="82194">5</cx:pt>
          <cx:pt idx="82195">2</cx:pt>
          <cx:pt idx="82196">3</cx:pt>
          <cx:pt idx="82197">0</cx:pt>
          <cx:pt idx="82198">2</cx:pt>
          <cx:pt idx="82199">4</cx:pt>
          <cx:pt idx="82200">2</cx:pt>
          <cx:pt idx="82201">2</cx:pt>
          <cx:pt idx="82202">4</cx:pt>
          <cx:pt idx="82203">2</cx:pt>
          <cx:pt idx="82204">1</cx:pt>
          <cx:pt idx="82205">5</cx:pt>
          <cx:pt idx="82206">1</cx:pt>
          <cx:pt idx="82207">3</cx:pt>
          <cx:pt idx="82208">4</cx:pt>
          <cx:pt idx="82209">4</cx:pt>
          <cx:pt idx="82210">1</cx:pt>
          <cx:pt idx="82211">1</cx:pt>
          <cx:pt idx="82212">3</cx:pt>
          <cx:pt idx="82213">5</cx:pt>
          <cx:pt idx="82214">3</cx:pt>
          <cx:pt idx="82215">2</cx:pt>
          <cx:pt idx="82216">5</cx:pt>
          <cx:pt idx="82217">1</cx:pt>
          <cx:pt idx="82218">5</cx:pt>
          <cx:pt idx="82219">3</cx:pt>
          <cx:pt idx="82220">2</cx:pt>
          <cx:pt idx="82221">3</cx:pt>
          <cx:pt idx="82222">0</cx:pt>
          <cx:pt idx="82223">2</cx:pt>
          <cx:pt idx="82224">2</cx:pt>
          <cx:pt idx="82225">2</cx:pt>
          <cx:pt idx="82226">3</cx:pt>
          <cx:pt idx="82227">1</cx:pt>
          <cx:pt idx="82228">5</cx:pt>
          <cx:pt idx="82229">4</cx:pt>
          <cx:pt idx="82230">5</cx:pt>
          <cx:pt idx="82231">0</cx:pt>
          <cx:pt idx="82232">4</cx:pt>
          <cx:pt idx="82233">3</cx:pt>
          <cx:pt idx="82234">4</cx:pt>
          <cx:pt idx="82235">5</cx:pt>
          <cx:pt idx="82236">1</cx:pt>
          <cx:pt idx="82237">4</cx:pt>
          <cx:pt idx="82238">4</cx:pt>
          <cx:pt idx="82239">3</cx:pt>
          <cx:pt idx="82240">5</cx:pt>
          <cx:pt idx="82241">0</cx:pt>
          <cx:pt idx="82242">1</cx:pt>
          <cx:pt idx="82243">5</cx:pt>
          <cx:pt idx="82244">3</cx:pt>
          <cx:pt idx="82245">1</cx:pt>
          <cx:pt idx="82246">0</cx:pt>
          <cx:pt idx="82247">4</cx:pt>
          <cx:pt idx="82248">4</cx:pt>
          <cx:pt idx="82249">5</cx:pt>
          <cx:pt idx="82250">2</cx:pt>
          <cx:pt idx="82251">1</cx:pt>
          <cx:pt idx="82252">2</cx:pt>
          <cx:pt idx="82253">4</cx:pt>
          <cx:pt idx="82254">1</cx:pt>
          <cx:pt idx="82255">1</cx:pt>
          <cx:pt idx="82256">5</cx:pt>
          <cx:pt idx="82257">1</cx:pt>
          <cx:pt idx="82258">3</cx:pt>
          <cx:pt idx="82259">4</cx:pt>
          <cx:pt idx="82260">5</cx:pt>
          <cx:pt idx="82261">3</cx:pt>
          <cx:pt idx="82262">2</cx:pt>
          <cx:pt idx="82263">2</cx:pt>
          <cx:pt idx="82264">3</cx:pt>
          <cx:pt idx="82265">5</cx:pt>
          <cx:pt idx="82266">3</cx:pt>
          <cx:pt idx="82267">4</cx:pt>
          <cx:pt idx="82268">3</cx:pt>
          <cx:pt idx="82269">2</cx:pt>
          <cx:pt idx="82270">5</cx:pt>
          <cx:pt idx="82271">5</cx:pt>
          <cx:pt idx="82272">1</cx:pt>
          <cx:pt idx="82273">3</cx:pt>
          <cx:pt idx="82274">1</cx:pt>
          <cx:pt idx="82275">2</cx:pt>
          <cx:pt idx="82276">1</cx:pt>
          <cx:pt idx="82277">3</cx:pt>
          <cx:pt idx="82278">5</cx:pt>
          <cx:pt idx="82279">4</cx:pt>
          <cx:pt idx="82280">3</cx:pt>
          <cx:pt idx="82281">3</cx:pt>
          <cx:pt idx="82282">2</cx:pt>
          <cx:pt idx="82283">5</cx:pt>
          <cx:pt idx="82284">2</cx:pt>
          <cx:pt idx="82285">1</cx:pt>
          <cx:pt idx="82286">2</cx:pt>
          <cx:pt idx="82287">2</cx:pt>
          <cx:pt idx="82288">2</cx:pt>
          <cx:pt idx="82289">4</cx:pt>
          <cx:pt idx="82290">5</cx:pt>
          <cx:pt idx="82291">3</cx:pt>
          <cx:pt idx="82292">3</cx:pt>
          <cx:pt idx="82293">4</cx:pt>
          <cx:pt idx="82294">1</cx:pt>
          <cx:pt idx="82295">2</cx:pt>
          <cx:pt idx="82296">3</cx:pt>
          <cx:pt idx="82297">1</cx:pt>
          <cx:pt idx="82298">4</cx:pt>
          <cx:pt idx="82299">5</cx:pt>
          <cx:pt idx="82300">2</cx:pt>
          <cx:pt idx="82301">4</cx:pt>
          <cx:pt idx="82302">1</cx:pt>
          <cx:pt idx="82303">5</cx:pt>
          <cx:pt idx="82304">3</cx:pt>
          <cx:pt idx="82305">4</cx:pt>
          <cx:pt idx="82306">0</cx:pt>
          <cx:pt idx="82307">4</cx:pt>
          <cx:pt idx="82308">2</cx:pt>
          <cx:pt idx="82309">3</cx:pt>
          <cx:pt idx="82310">1</cx:pt>
          <cx:pt idx="82311">4</cx:pt>
          <cx:pt idx="82312">3</cx:pt>
          <cx:pt idx="82313">5</cx:pt>
          <cx:pt idx="82314">2</cx:pt>
          <cx:pt idx="82315">4</cx:pt>
          <cx:pt idx="82316">5</cx:pt>
          <cx:pt idx="82317">3</cx:pt>
          <cx:pt idx="82318">5</cx:pt>
          <cx:pt idx="82319">3</cx:pt>
          <cx:pt idx="82320">2</cx:pt>
          <cx:pt idx="82321">4</cx:pt>
          <cx:pt idx="82322">4</cx:pt>
          <cx:pt idx="82323">2</cx:pt>
          <cx:pt idx="82324">3</cx:pt>
          <cx:pt idx="82325">1</cx:pt>
          <cx:pt idx="82326">1</cx:pt>
          <cx:pt idx="82327">3</cx:pt>
          <cx:pt idx="82328">4</cx:pt>
          <cx:pt idx="82329">2</cx:pt>
          <cx:pt idx="82330">2</cx:pt>
          <cx:pt idx="82331">1</cx:pt>
          <cx:pt idx="82332">4</cx:pt>
          <cx:pt idx="82333">2</cx:pt>
          <cx:pt idx="82334">3</cx:pt>
          <cx:pt idx="82335">5</cx:pt>
          <cx:pt idx="82336">4</cx:pt>
          <cx:pt idx="82337">3</cx:pt>
          <cx:pt idx="82338">3</cx:pt>
          <cx:pt idx="82339">2</cx:pt>
          <cx:pt idx="82340">4</cx:pt>
          <cx:pt idx="82341">0</cx:pt>
          <cx:pt idx="82342">1</cx:pt>
          <cx:pt idx="82343">4</cx:pt>
          <cx:pt idx="82344">5</cx:pt>
          <cx:pt idx="82345">3</cx:pt>
          <cx:pt idx="82346">5</cx:pt>
          <cx:pt idx="82347">3</cx:pt>
          <cx:pt idx="82348">4</cx:pt>
          <cx:pt idx="82349">5</cx:pt>
          <cx:pt idx="82350">5</cx:pt>
          <cx:pt idx="82351">5</cx:pt>
          <cx:pt idx="82352">5</cx:pt>
          <cx:pt idx="82353">2</cx:pt>
          <cx:pt idx="82354">0</cx:pt>
          <cx:pt idx="82355">4</cx:pt>
          <cx:pt idx="82356">2</cx:pt>
          <cx:pt idx="82357">3</cx:pt>
          <cx:pt idx="82358">2</cx:pt>
          <cx:pt idx="82359">4</cx:pt>
          <cx:pt idx="82360">1</cx:pt>
          <cx:pt idx="82361">4</cx:pt>
          <cx:pt idx="82362">3</cx:pt>
          <cx:pt idx="82363">4</cx:pt>
          <cx:pt idx="82364">2</cx:pt>
          <cx:pt idx="82365">3</cx:pt>
          <cx:pt idx="82366">2</cx:pt>
          <cx:pt idx="82367">4</cx:pt>
          <cx:pt idx="82368">5</cx:pt>
          <cx:pt idx="82369">0</cx:pt>
          <cx:pt idx="82370">5</cx:pt>
          <cx:pt idx="82371">1</cx:pt>
          <cx:pt idx="82372">5</cx:pt>
          <cx:pt idx="82373">4</cx:pt>
          <cx:pt idx="82374">1</cx:pt>
          <cx:pt idx="82375">1</cx:pt>
          <cx:pt idx="82376">4</cx:pt>
          <cx:pt idx="82377">4</cx:pt>
          <cx:pt idx="82378">3</cx:pt>
          <cx:pt idx="82379">4</cx:pt>
          <cx:pt idx="82380">2</cx:pt>
          <cx:pt idx="82381">3</cx:pt>
          <cx:pt idx="82382">3</cx:pt>
          <cx:pt idx="82383">3</cx:pt>
          <cx:pt idx="82384">3</cx:pt>
          <cx:pt idx="82385">2</cx:pt>
          <cx:pt idx="82386">3</cx:pt>
          <cx:pt idx="82387">2</cx:pt>
          <cx:pt idx="82388">5</cx:pt>
          <cx:pt idx="82389">2</cx:pt>
          <cx:pt idx="82390">2</cx:pt>
          <cx:pt idx="82391">2</cx:pt>
          <cx:pt idx="82392">5</cx:pt>
          <cx:pt idx="82393">0</cx:pt>
          <cx:pt idx="82394">4</cx:pt>
          <cx:pt idx="82395">2</cx:pt>
          <cx:pt idx="82396">1</cx:pt>
          <cx:pt idx="82397">3</cx:pt>
          <cx:pt idx="82398">3</cx:pt>
          <cx:pt idx="82399">1</cx:pt>
          <cx:pt idx="82400">3</cx:pt>
          <cx:pt idx="82401">2</cx:pt>
          <cx:pt idx="82402">4</cx:pt>
          <cx:pt idx="82403">5</cx:pt>
          <cx:pt idx="82404">3</cx:pt>
          <cx:pt idx="82405">4</cx:pt>
          <cx:pt idx="82406">2</cx:pt>
          <cx:pt idx="82407">5</cx:pt>
          <cx:pt idx="82408">3</cx:pt>
          <cx:pt idx="82409">5</cx:pt>
          <cx:pt idx="82410">4</cx:pt>
          <cx:pt idx="82411">2</cx:pt>
          <cx:pt idx="82412">4</cx:pt>
          <cx:pt idx="82413">2</cx:pt>
          <cx:pt idx="82414">5</cx:pt>
          <cx:pt idx="82415">4</cx:pt>
          <cx:pt idx="82416">3</cx:pt>
          <cx:pt idx="82417">4</cx:pt>
          <cx:pt idx="82418">2</cx:pt>
          <cx:pt idx="82419">4</cx:pt>
          <cx:pt idx="82420">0</cx:pt>
          <cx:pt idx="82421">1</cx:pt>
          <cx:pt idx="82422">5</cx:pt>
          <cx:pt idx="82423">3</cx:pt>
          <cx:pt idx="82424">3</cx:pt>
          <cx:pt idx="82425">5</cx:pt>
          <cx:pt idx="82426">5</cx:pt>
          <cx:pt idx="82427">1</cx:pt>
          <cx:pt idx="82428">4</cx:pt>
          <cx:pt idx="82429">2</cx:pt>
          <cx:pt idx="82430">3</cx:pt>
          <cx:pt idx="82431">3</cx:pt>
          <cx:pt idx="82432">1</cx:pt>
          <cx:pt idx="82433">2</cx:pt>
          <cx:pt idx="82434">2</cx:pt>
          <cx:pt idx="82435">4</cx:pt>
          <cx:pt idx="82436">4</cx:pt>
          <cx:pt idx="82437">4</cx:pt>
          <cx:pt idx="82438">5</cx:pt>
          <cx:pt idx="82439">5</cx:pt>
          <cx:pt idx="82440">1</cx:pt>
          <cx:pt idx="82441">4</cx:pt>
          <cx:pt idx="82442">3</cx:pt>
          <cx:pt idx="82443">4</cx:pt>
          <cx:pt idx="82444">1</cx:pt>
          <cx:pt idx="82445">4</cx:pt>
          <cx:pt idx="82446">1</cx:pt>
          <cx:pt idx="82447">2</cx:pt>
          <cx:pt idx="82448">1</cx:pt>
          <cx:pt idx="82449">3</cx:pt>
          <cx:pt idx="82450">4</cx:pt>
          <cx:pt idx="82451">3</cx:pt>
          <cx:pt idx="82452">3</cx:pt>
          <cx:pt idx="82453">3</cx:pt>
          <cx:pt idx="82454">4</cx:pt>
          <cx:pt idx="82455">0</cx:pt>
          <cx:pt idx="82456">2</cx:pt>
          <cx:pt idx="82457">4</cx:pt>
          <cx:pt idx="82458">5</cx:pt>
          <cx:pt idx="82459">4</cx:pt>
          <cx:pt idx="82460">2</cx:pt>
          <cx:pt idx="82461">2</cx:pt>
          <cx:pt idx="82462">2</cx:pt>
          <cx:pt idx="82463">3</cx:pt>
          <cx:pt idx="82464">3</cx:pt>
          <cx:pt idx="82465">3</cx:pt>
          <cx:pt idx="82466">2</cx:pt>
          <cx:pt idx="82467">0</cx:pt>
          <cx:pt idx="82468">3</cx:pt>
          <cx:pt idx="82469">1</cx:pt>
          <cx:pt idx="82470">0</cx:pt>
          <cx:pt idx="82471">4</cx:pt>
          <cx:pt idx="82472">1</cx:pt>
          <cx:pt idx="82473">1</cx:pt>
          <cx:pt idx="82474">3</cx:pt>
          <cx:pt idx="82475">1</cx:pt>
          <cx:pt idx="82476">4</cx:pt>
          <cx:pt idx="82477">2</cx:pt>
          <cx:pt idx="82478">3</cx:pt>
          <cx:pt idx="82479">1</cx:pt>
          <cx:pt idx="82480">0</cx:pt>
          <cx:pt idx="82481">1</cx:pt>
          <cx:pt idx="82482">5</cx:pt>
          <cx:pt idx="82483">2</cx:pt>
          <cx:pt idx="82484">4</cx:pt>
          <cx:pt idx="82485">2</cx:pt>
          <cx:pt idx="82486">2</cx:pt>
          <cx:pt idx="82487">4</cx:pt>
          <cx:pt idx="82488">4</cx:pt>
          <cx:pt idx="82489">4</cx:pt>
          <cx:pt idx="82490">3</cx:pt>
          <cx:pt idx="82491">5</cx:pt>
          <cx:pt idx="82492">1</cx:pt>
          <cx:pt idx="82493">1</cx:pt>
          <cx:pt idx="82494">3</cx:pt>
          <cx:pt idx="82495">2</cx:pt>
          <cx:pt idx="82496">4</cx:pt>
          <cx:pt idx="82497">3</cx:pt>
          <cx:pt idx="82498">1</cx:pt>
          <cx:pt idx="82499">4</cx:pt>
          <cx:pt idx="82500">0</cx:pt>
          <cx:pt idx="82501">5</cx:pt>
          <cx:pt idx="82502">4</cx:pt>
          <cx:pt idx="82503">3</cx:pt>
          <cx:pt idx="82504">5</cx:pt>
          <cx:pt idx="82505">2</cx:pt>
          <cx:pt idx="82506">1</cx:pt>
          <cx:pt idx="82507">5</cx:pt>
          <cx:pt idx="82508">2</cx:pt>
          <cx:pt idx="82509">2</cx:pt>
          <cx:pt idx="82510">3</cx:pt>
          <cx:pt idx="82511">0</cx:pt>
          <cx:pt idx="82512">3</cx:pt>
          <cx:pt idx="82513">2</cx:pt>
          <cx:pt idx="82514">3</cx:pt>
          <cx:pt idx="82515">1</cx:pt>
          <cx:pt idx="82516">1</cx:pt>
          <cx:pt idx="82517">0</cx:pt>
          <cx:pt idx="82518">3</cx:pt>
          <cx:pt idx="82519">2</cx:pt>
          <cx:pt idx="82520">1</cx:pt>
          <cx:pt idx="82521">3</cx:pt>
          <cx:pt idx="82522">2</cx:pt>
          <cx:pt idx="82523">4</cx:pt>
          <cx:pt idx="82524">3</cx:pt>
          <cx:pt idx="82525">5</cx:pt>
          <cx:pt idx="82526">3</cx:pt>
          <cx:pt idx="82527">3</cx:pt>
          <cx:pt idx="82528">1</cx:pt>
          <cx:pt idx="82529">4</cx:pt>
          <cx:pt idx="82530">4</cx:pt>
          <cx:pt idx="82531">3</cx:pt>
          <cx:pt idx="82532">0</cx:pt>
          <cx:pt idx="82533">2</cx:pt>
          <cx:pt idx="82534">2</cx:pt>
          <cx:pt idx="82535">4</cx:pt>
          <cx:pt idx="82536">2</cx:pt>
          <cx:pt idx="82537">2</cx:pt>
          <cx:pt idx="82538">1</cx:pt>
          <cx:pt idx="82539">4</cx:pt>
          <cx:pt idx="82540">4</cx:pt>
          <cx:pt idx="82541">3</cx:pt>
          <cx:pt idx="82542">3</cx:pt>
          <cx:pt idx="82543">1</cx:pt>
          <cx:pt idx="82544">3</cx:pt>
          <cx:pt idx="82545">3</cx:pt>
          <cx:pt idx="82546">5</cx:pt>
          <cx:pt idx="82547">2</cx:pt>
          <cx:pt idx="82548">3</cx:pt>
          <cx:pt idx="82549">1</cx:pt>
          <cx:pt idx="82550">4</cx:pt>
          <cx:pt idx="82551">1</cx:pt>
          <cx:pt idx="82552">1</cx:pt>
          <cx:pt idx="82553">1</cx:pt>
          <cx:pt idx="82554">3</cx:pt>
          <cx:pt idx="82555">4</cx:pt>
          <cx:pt idx="82556">4</cx:pt>
          <cx:pt idx="82557">2</cx:pt>
          <cx:pt idx="82558">1</cx:pt>
          <cx:pt idx="82559">4</cx:pt>
          <cx:pt idx="82560">5</cx:pt>
          <cx:pt idx="82561">5</cx:pt>
          <cx:pt idx="82562">2</cx:pt>
          <cx:pt idx="82563">5</cx:pt>
          <cx:pt idx="82564">2</cx:pt>
          <cx:pt idx="82565">0</cx:pt>
          <cx:pt idx="82566">2</cx:pt>
          <cx:pt idx="82567">2</cx:pt>
          <cx:pt idx="82568">3</cx:pt>
          <cx:pt idx="82569">3</cx:pt>
          <cx:pt idx="82570">5</cx:pt>
          <cx:pt idx="82571">4</cx:pt>
          <cx:pt idx="82572">4</cx:pt>
          <cx:pt idx="82573">2</cx:pt>
          <cx:pt idx="82574">3</cx:pt>
          <cx:pt idx="82575">2</cx:pt>
          <cx:pt idx="82576">3</cx:pt>
          <cx:pt idx="82577">2</cx:pt>
          <cx:pt idx="82578">3</cx:pt>
          <cx:pt idx="82579">1</cx:pt>
          <cx:pt idx="82580">1</cx:pt>
          <cx:pt idx="82581">3</cx:pt>
          <cx:pt idx="82582">2</cx:pt>
          <cx:pt idx="82583">0</cx:pt>
          <cx:pt idx="82584">5</cx:pt>
          <cx:pt idx="82585">2</cx:pt>
          <cx:pt idx="82586">1</cx:pt>
          <cx:pt idx="82587">3</cx:pt>
          <cx:pt idx="82588">2</cx:pt>
          <cx:pt idx="82589">4</cx:pt>
          <cx:pt idx="82590">5</cx:pt>
          <cx:pt idx="82591">5</cx:pt>
          <cx:pt idx="82592">3</cx:pt>
          <cx:pt idx="82593">1</cx:pt>
          <cx:pt idx="82594">2</cx:pt>
          <cx:pt idx="82595">3</cx:pt>
          <cx:pt idx="82596">2</cx:pt>
          <cx:pt idx="82597">4</cx:pt>
          <cx:pt idx="82598">1</cx:pt>
          <cx:pt idx="82599">3</cx:pt>
          <cx:pt idx="82600">3</cx:pt>
          <cx:pt idx="82601">0</cx:pt>
          <cx:pt idx="82602">4</cx:pt>
          <cx:pt idx="82603">4</cx:pt>
          <cx:pt idx="82604">3</cx:pt>
          <cx:pt idx="82605">4</cx:pt>
          <cx:pt idx="82606">1</cx:pt>
          <cx:pt idx="82607">2</cx:pt>
          <cx:pt idx="82608">3</cx:pt>
          <cx:pt idx="82609">4</cx:pt>
          <cx:pt idx="82610">2</cx:pt>
          <cx:pt idx="82611">4</cx:pt>
          <cx:pt idx="82612">1</cx:pt>
          <cx:pt idx="82613">4</cx:pt>
          <cx:pt idx="82614">2</cx:pt>
          <cx:pt idx="82615">2</cx:pt>
          <cx:pt idx="82616">5</cx:pt>
          <cx:pt idx="82617">3</cx:pt>
          <cx:pt idx="82618">2</cx:pt>
          <cx:pt idx="82619">4</cx:pt>
          <cx:pt idx="82620">4</cx:pt>
          <cx:pt idx="82621">1</cx:pt>
          <cx:pt idx="82622">2</cx:pt>
          <cx:pt idx="82623">1</cx:pt>
          <cx:pt idx="82624">4</cx:pt>
          <cx:pt idx="82625">3</cx:pt>
          <cx:pt idx="82626">4</cx:pt>
          <cx:pt idx="82627">3</cx:pt>
          <cx:pt idx="82628">3</cx:pt>
          <cx:pt idx="82629">5</cx:pt>
          <cx:pt idx="82630">2</cx:pt>
          <cx:pt idx="82631">3</cx:pt>
          <cx:pt idx="82632">5</cx:pt>
          <cx:pt idx="82633">2</cx:pt>
          <cx:pt idx="82634">3</cx:pt>
          <cx:pt idx="82635">3</cx:pt>
          <cx:pt idx="82636">4</cx:pt>
          <cx:pt idx="82637">0</cx:pt>
          <cx:pt idx="82638">3</cx:pt>
          <cx:pt idx="82639">2</cx:pt>
          <cx:pt idx="82640">2</cx:pt>
          <cx:pt idx="82641">1</cx:pt>
          <cx:pt idx="82642">4</cx:pt>
          <cx:pt idx="82643">1</cx:pt>
          <cx:pt idx="82644">3</cx:pt>
          <cx:pt idx="82645">5</cx:pt>
          <cx:pt idx="82646">0</cx:pt>
          <cx:pt idx="82647">3</cx:pt>
          <cx:pt idx="82648">2</cx:pt>
          <cx:pt idx="82649">2</cx:pt>
          <cx:pt idx="82650">2</cx:pt>
          <cx:pt idx="82651">1</cx:pt>
          <cx:pt idx="82652">3</cx:pt>
          <cx:pt idx="82653">1</cx:pt>
          <cx:pt idx="82654">2</cx:pt>
          <cx:pt idx="82655">3</cx:pt>
          <cx:pt idx="82656">3</cx:pt>
          <cx:pt idx="82657">3</cx:pt>
          <cx:pt idx="82658">3</cx:pt>
          <cx:pt idx="82659">4</cx:pt>
          <cx:pt idx="82660">2</cx:pt>
          <cx:pt idx="82661">2</cx:pt>
          <cx:pt idx="82662">2</cx:pt>
          <cx:pt idx="82663">0</cx:pt>
          <cx:pt idx="82664">3</cx:pt>
          <cx:pt idx="82665">2</cx:pt>
          <cx:pt idx="82666">4</cx:pt>
          <cx:pt idx="82667">5</cx:pt>
          <cx:pt idx="82668">1</cx:pt>
          <cx:pt idx="82669">1</cx:pt>
          <cx:pt idx="82670">4</cx:pt>
          <cx:pt idx="82671">4</cx:pt>
          <cx:pt idx="82672">3</cx:pt>
          <cx:pt idx="82673">3</cx:pt>
          <cx:pt idx="82674">5</cx:pt>
          <cx:pt idx="82675">4</cx:pt>
          <cx:pt idx="82676">4</cx:pt>
          <cx:pt idx="82677">1</cx:pt>
          <cx:pt idx="82678">1</cx:pt>
          <cx:pt idx="82679">3</cx:pt>
          <cx:pt idx="82680">5</cx:pt>
          <cx:pt idx="82681">3</cx:pt>
          <cx:pt idx="82682">3</cx:pt>
          <cx:pt idx="82683">1</cx:pt>
          <cx:pt idx="82684">2</cx:pt>
          <cx:pt idx="82685">3</cx:pt>
          <cx:pt idx="82686">2</cx:pt>
          <cx:pt idx="82687">0</cx:pt>
          <cx:pt idx="82688">2</cx:pt>
          <cx:pt idx="82689">5</cx:pt>
          <cx:pt idx="82690">4</cx:pt>
          <cx:pt idx="82691">3</cx:pt>
          <cx:pt idx="82692">4</cx:pt>
          <cx:pt idx="82693">1</cx:pt>
          <cx:pt idx="82694">2</cx:pt>
          <cx:pt idx="82695">5</cx:pt>
          <cx:pt idx="82696">2</cx:pt>
          <cx:pt idx="82697">3</cx:pt>
          <cx:pt idx="82698">3</cx:pt>
          <cx:pt idx="82699">2</cx:pt>
          <cx:pt idx="82700">1</cx:pt>
          <cx:pt idx="82701">0</cx:pt>
          <cx:pt idx="82702">1</cx:pt>
          <cx:pt idx="82703">4</cx:pt>
          <cx:pt idx="82704">4</cx:pt>
          <cx:pt idx="82705">4</cx:pt>
          <cx:pt idx="82706">4</cx:pt>
          <cx:pt idx="82707">5</cx:pt>
          <cx:pt idx="82708">4</cx:pt>
          <cx:pt idx="82709">4</cx:pt>
          <cx:pt idx="82710">1</cx:pt>
          <cx:pt idx="82711">5</cx:pt>
          <cx:pt idx="82712">5</cx:pt>
          <cx:pt idx="82713">5</cx:pt>
          <cx:pt idx="82714">4</cx:pt>
          <cx:pt idx="82715">4</cx:pt>
          <cx:pt idx="82716">0</cx:pt>
          <cx:pt idx="82717">3</cx:pt>
          <cx:pt idx="82718">3</cx:pt>
          <cx:pt idx="82719">5</cx:pt>
          <cx:pt idx="82720">3</cx:pt>
          <cx:pt idx="82721">3</cx:pt>
          <cx:pt idx="82722">3</cx:pt>
          <cx:pt idx="82723">2</cx:pt>
          <cx:pt idx="82724">4</cx:pt>
          <cx:pt idx="82725">1</cx:pt>
          <cx:pt idx="82726">2</cx:pt>
          <cx:pt idx="82727">3</cx:pt>
          <cx:pt idx="82728">3</cx:pt>
          <cx:pt idx="82729">5</cx:pt>
          <cx:pt idx="82730">4</cx:pt>
          <cx:pt idx="82731">5</cx:pt>
          <cx:pt idx="82732">5</cx:pt>
          <cx:pt idx="82733">2</cx:pt>
          <cx:pt idx="82734">0</cx:pt>
          <cx:pt idx="82735">0</cx:pt>
          <cx:pt idx="82736">2</cx:pt>
          <cx:pt idx="82737">1</cx:pt>
          <cx:pt idx="82738">2</cx:pt>
          <cx:pt idx="82739">1</cx:pt>
          <cx:pt idx="82740">3</cx:pt>
          <cx:pt idx="82741">1</cx:pt>
          <cx:pt idx="82742">4</cx:pt>
          <cx:pt idx="82743">4</cx:pt>
          <cx:pt idx="82744">1</cx:pt>
          <cx:pt idx="82745">3</cx:pt>
          <cx:pt idx="82746">3</cx:pt>
          <cx:pt idx="82747">0</cx:pt>
          <cx:pt idx="82748">3</cx:pt>
          <cx:pt idx="82749">5</cx:pt>
          <cx:pt idx="82750">2</cx:pt>
          <cx:pt idx="82751">4</cx:pt>
          <cx:pt idx="82752">4</cx:pt>
          <cx:pt idx="82753">2</cx:pt>
          <cx:pt idx="82754">3</cx:pt>
          <cx:pt idx="82755">2</cx:pt>
          <cx:pt idx="82756">2</cx:pt>
          <cx:pt idx="82757">3</cx:pt>
          <cx:pt idx="82758">2</cx:pt>
          <cx:pt idx="82759">3</cx:pt>
          <cx:pt idx="82760">5</cx:pt>
          <cx:pt idx="82761">2</cx:pt>
          <cx:pt idx="82762">3</cx:pt>
          <cx:pt idx="82763">5</cx:pt>
          <cx:pt idx="82764">1</cx:pt>
          <cx:pt idx="82765">4</cx:pt>
          <cx:pt idx="82766">1</cx:pt>
          <cx:pt idx="82767">4</cx:pt>
          <cx:pt idx="82768">2</cx:pt>
          <cx:pt idx="82769">4</cx:pt>
          <cx:pt idx="82770">5</cx:pt>
          <cx:pt idx="82771">3</cx:pt>
          <cx:pt idx="82772">2</cx:pt>
          <cx:pt idx="82773">4</cx:pt>
          <cx:pt idx="82774">1</cx:pt>
          <cx:pt idx="82775">3</cx:pt>
          <cx:pt idx="82776">3</cx:pt>
          <cx:pt idx="82777">1</cx:pt>
          <cx:pt idx="82778">2</cx:pt>
          <cx:pt idx="82779">0</cx:pt>
          <cx:pt idx="82780">4</cx:pt>
          <cx:pt idx="82781">3</cx:pt>
          <cx:pt idx="82782">4</cx:pt>
          <cx:pt idx="82783">4</cx:pt>
          <cx:pt idx="82784">3</cx:pt>
          <cx:pt idx="82785">2</cx:pt>
          <cx:pt idx="82786">2</cx:pt>
          <cx:pt idx="82787">3</cx:pt>
          <cx:pt idx="82788">1</cx:pt>
          <cx:pt idx="82789">0</cx:pt>
          <cx:pt idx="82790">4</cx:pt>
          <cx:pt idx="82791">5</cx:pt>
          <cx:pt idx="82792">2</cx:pt>
          <cx:pt idx="82793">1</cx:pt>
          <cx:pt idx="82794">2</cx:pt>
          <cx:pt idx="82795">1</cx:pt>
          <cx:pt idx="82796">5</cx:pt>
          <cx:pt idx="82797">1</cx:pt>
          <cx:pt idx="82798">3</cx:pt>
          <cx:pt idx="82799">5</cx:pt>
          <cx:pt idx="82800">5</cx:pt>
          <cx:pt idx="82801">2</cx:pt>
          <cx:pt idx="82802">2</cx:pt>
          <cx:pt idx="82803">2</cx:pt>
          <cx:pt idx="82804">2</cx:pt>
          <cx:pt idx="82805">2</cx:pt>
          <cx:pt idx="82806">3</cx:pt>
          <cx:pt idx="82807">5</cx:pt>
          <cx:pt idx="82808">3</cx:pt>
          <cx:pt idx="82809">5</cx:pt>
          <cx:pt idx="82810">5</cx:pt>
          <cx:pt idx="82811">3</cx:pt>
          <cx:pt idx="82812">3</cx:pt>
          <cx:pt idx="82813">3</cx:pt>
          <cx:pt idx="82814">3</cx:pt>
          <cx:pt idx="82815">4</cx:pt>
          <cx:pt idx="82816">2</cx:pt>
          <cx:pt idx="82817">3</cx:pt>
          <cx:pt idx="82818">4</cx:pt>
          <cx:pt idx="82819">3</cx:pt>
          <cx:pt idx="82820">3</cx:pt>
          <cx:pt idx="82821">1</cx:pt>
          <cx:pt idx="82822">0</cx:pt>
          <cx:pt idx="82823">2</cx:pt>
          <cx:pt idx="82824">4</cx:pt>
          <cx:pt idx="82825">1</cx:pt>
          <cx:pt idx="82826">3</cx:pt>
          <cx:pt idx="82827">2</cx:pt>
          <cx:pt idx="82828">1</cx:pt>
          <cx:pt idx="82829">2</cx:pt>
          <cx:pt idx="82830">3</cx:pt>
          <cx:pt idx="82831">3</cx:pt>
          <cx:pt idx="82832">3</cx:pt>
          <cx:pt idx="82833">1</cx:pt>
          <cx:pt idx="82834">5</cx:pt>
          <cx:pt idx="82835">2</cx:pt>
          <cx:pt idx="82836">2</cx:pt>
          <cx:pt idx="82837">1</cx:pt>
          <cx:pt idx="82838">1</cx:pt>
          <cx:pt idx="82839">4</cx:pt>
          <cx:pt idx="82840">3</cx:pt>
          <cx:pt idx="82841">4</cx:pt>
          <cx:pt idx="82842">1</cx:pt>
          <cx:pt idx="82843">2</cx:pt>
          <cx:pt idx="82844">5</cx:pt>
          <cx:pt idx="82845">2</cx:pt>
          <cx:pt idx="82846">4</cx:pt>
          <cx:pt idx="82847">3</cx:pt>
          <cx:pt idx="82848">4</cx:pt>
          <cx:pt idx="82849">1</cx:pt>
          <cx:pt idx="82850">3</cx:pt>
          <cx:pt idx="82851">1</cx:pt>
          <cx:pt idx="82852">1</cx:pt>
          <cx:pt idx="82853">5</cx:pt>
          <cx:pt idx="82854">2</cx:pt>
          <cx:pt idx="82855">2</cx:pt>
          <cx:pt idx="82856">1</cx:pt>
          <cx:pt idx="82857">2</cx:pt>
          <cx:pt idx="82858">4</cx:pt>
          <cx:pt idx="82859">3</cx:pt>
          <cx:pt idx="82860">3</cx:pt>
          <cx:pt idx="82861">5</cx:pt>
          <cx:pt idx="82862">0</cx:pt>
          <cx:pt idx="82863">5</cx:pt>
          <cx:pt idx="82864">3</cx:pt>
          <cx:pt idx="82865">4</cx:pt>
          <cx:pt idx="82866">5</cx:pt>
          <cx:pt idx="82867">3</cx:pt>
          <cx:pt idx="82868">3</cx:pt>
          <cx:pt idx="82869">2</cx:pt>
          <cx:pt idx="82870">1</cx:pt>
          <cx:pt idx="82871">3</cx:pt>
          <cx:pt idx="82872">4</cx:pt>
          <cx:pt idx="82873">1</cx:pt>
          <cx:pt idx="82874">5</cx:pt>
          <cx:pt idx="82875">2</cx:pt>
          <cx:pt idx="82876">1</cx:pt>
          <cx:pt idx="82877">5</cx:pt>
          <cx:pt idx="82878">1</cx:pt>
          <cx:pt idx="82879">2</cx:pt>
          <cx:pt idx="82880">3</cx:pt>
          <cx:pt idx="82881">5</cx:pt>
          <cx:pt idx="82882">3</cx:pt>
          <cx:pt idx="82883">5</cx:pt>
          <cx:pt idx="82884">0</cx:pt>
          <cx:pt idx="82885">5</cx:pt>
          <cx:pt idx="82886">2</cx:pt>
          <cx:pt idx="82887">3</cx:pt>
          <cx:pt idx="82888">3</cx:pt>
          <cx:pt idx="82889">5</cx:pt>
          <cx:pt idx="82890">3</cx:pt>
          <cx:pt idx="82891">0</cx:pt>
          <cx:pt idx="82892">2</cx:pt>
          <cx:pt idx="82893">1</cx:pt>
          <cx:pt idx="82894">3</cx:pt>
          <cx:pt idx="82895">1</cx:pt>
          <cx:pt idx="82896">3</cx:pt>
          <cx:pt idx="82897">3</cx:pt>
          <cx:pt idx="82898">4</cx:pt>
          <cx:pt idx="82899">2</cx:pt>
          <cx:pt idx="82900">3</cx:pt>
          <cx:pt idx="82901">1</cx:pt>
          <cx:pt idx="82902">0</cx:pt>
          <cx:pt idx="82903">4</cx:pt>
          <cx:pt idx="82904">3</cx:pt>
          <cx:pt idx="82905">2</cx:pt>
          <cx:pt idx="82906">5</cx:pt>
          <cx:pt idx="82907">3</cx:pt>
          <cx:pt idx="82908">2</cx:pt>
          <cx:pt idx="82909">4</cx:pt>
          <cx:pt idx="82910">3</cx:pt>
          <cx:pt idx="82911">5</cx:pt>
          <cx:pt idx="82912">3</cx:pt>
          <cx:pt idx="82913">2</cx:pt>
          <cx:pt idx="82914">4</cx:pt>
          <cx:pt idx="82915">4</cx:pt>
          <cx:pt idx="82916">2</cx:pt>
          <cx:pt idx="82917">3</cx:pt>
          <cx:pt idx="82918">2</cx:pt>
          <cx:pt idx="82919">1</cx:pt>
          <cx:pt idx="82920">4</cx:pt>
          <cx:pt idx="82921">2</cx:pt>
          <cx:pt idx="82922">5</cx:pt>
          <cx:pt idx="82923">3</cx:pt>
          <cx:pt idx="82924">1</cx:pt>
          <cx:pt idx="82925">5</cx:pt>
          <cx:pt idx="82926">5</cx:pt>
          <cx:pt idx="82927">5</cx:pt>
          <cx:pt idx="82928">1</cx:pt>
          <cx:pt idx="82929">1</cx:pt>
          <cx:pt idx="82930">3</cx:pt>
          <cx:pt idx="82931">5</cx:pt>
          <cx:pt idx="82932">3</cx:pt>
          <cx:pt idx="82933">3</cx:pt>
          <cx:pt idx="82934">4</cx:pt>
          <cx:pt idx="82935">3</cx:pt>
          <cx:pt idx="82936">2</cx:pt>
          <cx:pt idx="82937">3</cx:pt>
          <cx:pt idx="82938">3</cx:pt>
          <cx:pt idx="82939">4</cx:pt>
          <cx:pt idx="82940">4</cx:pt>
          <cx:pt idx="82941">4</cx:pt>
          <cx:pt idx="82942">5</cx:pt>
          <cx:pt idx="82943">5</cx:pt>
          <cx:pt idx="82944">4</cx:pt>
          <cx:pt idx="82945">1</cx:pt>
          <cx:pt idx="82946">3</cx:pt>
          <cx:pt idx="82947">3</cx:pt>
          <cx:pt idx="82948">5</cx:pt>
          <cx:pt idx="82949">5</cx:pt>
          <cx:pt idx="82950">4</cx:pt>
          <cx:pt idx="82951">2</cx:pt>
          <cx:pt idx="82952">4</cx:pt>
          <cx:pt idx="82953">3</cx:pt>
          <cx:pt idx="82954">1</cx:pt>
          <cx:pt idx="82955">2</cx:pt>
          <cx:pt idx="82956">5</cx:pt>
          <cx:pt idx="82957">2</cx:pt>
          <cx:pt idx="82958">2</cx:pt>
          <cx:pt idx="82959">1</cx:pt>
          <cx:pt idx="82960">4</cx:pt>
          <cx:pt idx="82961">3</cx:pt>
          <cx:pt idx="82962">4</cx:pt>
          <cx:pt idx="82963">4</cx:pt>
          <cx:pt idx="82964">2</cx:pt>
          <cx:pt idx="82965">0</cx:pt>
          <cx:pt idx="82966">2</cx:pt>
          <cx:pt idx="82967">4</cx:pt>
          <cx:pt idx="82968">1</cx:pt>
          <cx:pt idx="82969">5</cx:pt>
          <cx:pt idx="82970">5</cx:pt>
          <cx:pt idx="82971">5</cx:pt>
          <cx:pt idx="82972">5</cx:pt>
          <cx:pt idx="82973">2</cx:pt>
          <cx:pt idx="82974">4</cx:pt>
          <cx:pt idx="82975">4</cx:pt>
          <cx:pt idx="82976">4</cx:pt>
          <cx:pt idx="82977">2</cx:pt>
          <cx:pt idx="82978">0</cx:pt>
          <cx:pt idx="82979">3</cx:pt>
          <cx:pt idx="82980">4</cx:pt>
          <cx:pt idx="82981">3</cx:pt>
          <cx:pt idx="82982">2</cx:pt>
          <cx:pt idx="82983">2</cx:pt>
          <cx:pt idx="82984">2</cx:pt>
          <cx:pt idx="82985">1</cx:pt>
          <cx:pt idx="82986">4</cx:pt>
          <cx:pt idx="82987">4</cx:pt>
          <cx:pt idx="82988">4</cx:pt>
          <cx:pt idx="82989">5</cx:pt>
          <cx:pt idx="82990">2</cx:pt>
          <cx:pt idx="82991">1</cx:pt>
          <cx:pt idx="82992">2</cx:pt>
          <cx:pt idx="82993">4</cx:pt>
          <cx:pt idx="82994">2</cx:pt>
          <cx:pt idx="82995">1</cx:pt>
          <cx:pt idx="82996">2</cx:pt>
          <cx:pt idx="82997">3</cx:pt>
          <cx:pt idx="82998">3</cx:pt>
          <cx:pt idx="82999">2</cx:pt>
          <cx:pt idx="83000">1</cx:pt>
          <cx:pt idx="83001">4</cx:pt>
          <cx:pt idx="83002">2</cx:pt>
          <cx:pt idx="83003">5</cx:pt>
          <cx:pt idx="83004">2</cx:pt>
          <cx:pt idx="83005">5</cx:pt>
          <cx:pt idx="83006">1</cx:pt>
          <cx:pt idx="83007">3</cx:pt>
          <cx:pt idx="83008">2</cx:pt>
          <cx:pt idx="83009">1</cx:pt>
          <cx:pt idx="83010">1</cx:pt>
          <cx:pt idx="83011">2</cx:pt>
          <cx:pt idx="83012">3</cx:pt>
          <cx:pt idx="83013">3</cx:pt>
          <cx:pt idx="83014">2</cx:pt>
          <cx:pt idx="83015">2</cx:pt>
          <cx:pt idx="83016">1</cx:pt>
          <cx:pt idx="83017">4</cx:pt>
          <cx:pt idx="83018">4</cx:pt>
          <cx:pt idx="83019">3</cx:pt>
          <cx:pt idx="83020">2</cx:pt>
          <cx:pt idx="83021">2</cx:pt>
          <cx:pt idx="83022">1</cx:pt>
          <cx:pt idx="83023">4</cx:pt>
          <cx:pt idx="83024">3</cx:pt>
          <cx:pt idx="83025">2</cx:pt>
          <cx:pt idx="83026">2</cx:pt>
          <cx:pt idx="83027">1</cx:pt>
          <cx:pt idx="83028">2</cx:pt>
          <cx:pt idx="83029">1</cx:pt>
          <cx:pt idx="83030">0</cx:pt>
          <cx:pt idx="83031">4</cx:pt>
          <cx:pt idx="83032">2</cx:pt>
          <cx:pt idx="83033">4</cx:pt>
          <cx:pt idx="83034">3</cx:pt>
          <cx:pt idx="83035">2</cx:pt>
          <cx:pt idx="83036">1</cx:pt>
          <cx:pt idx="83037">2</cx:pt>
          <cx:pt idx="83038">0</cx:pt>
          <cx:pt idx="83039">5</cx:pt>
          <cx:pt idx="83040">2</cx:pt>
          <cx:pt idx="83041">5</cx:pt>
          <cx:pt idx="83042">4</cx:pt>
          <cx:pt idx="83043">1</cx:pt>
          <cx:pt idx="83044">4</cx:pt>
          <cx:pt idx="83045">2</cx:pt>
          <cx:pt idx="83046">2</cx:pt>
          <cx:pt idx="83047">1</cx:pt>
          <cx:pt idx="83048">2</cx:pt>
          <cx:pt idx="83049">1</cx:pt>
          <cx:pt idx="83050">2</cx:pt>
          <cx:pt idx="83051">2</cx:pt>
          <cx:pt idx="83052">0</cx:pt>
          <cx:pt idx="83053">2</cx:pt>
          <cx:pt idx="83054">4</cx:pt>
          <cx:pt idx="83055">4</cx:pt>
          <cx:pt idx="83056">5</cx:pt>
          <cx:pt idx="83057">0</cx:pt>
          <cx:pt idx="83058">5</cx:pt>
          <cx:pt idx="83059">3</cx:pt>
          <cx:pt idx="83060">3</cx:pt>
          <cx:pt idx="83061">5</cx:pt>
          <cx:pt idx="83062">1</cx:pt>
          <cx:pt idx="83063">4</cx:pt>
          <cx:pt idx="83064">5</cx:pt>
          <cx:pt idx="83065">2</cx:pt>
          <cx:pt idx="83066">0</cx:pt>
          <cx:pt idx="83067">5</cx:pt>
          <cx:pt idx="83068">4</cx:pt>
          <cx:pt idx="83069">2</cx:pt>
          <cx:pt idx="83070">4</cx:pt>
          <cx:pt idx="83071">2</cx:pt>
          <cx:pt idx="83072">4</cx:pt>
          <cx:pt idx="83073">1</cx:pt>
          <cx:pt idx="83074">2</cx:pt>
          <cx:pt idx="83075">3</cx:pt>
          <cx:pt idx="83076">3</cx:pt>
          <cx:pt idx="83077">1</cx:pt>
          <cx:pt idx="83078">1</cx:pt>
          <cx:pt idx="83079">5</cx:pt>
          <cx:pt idx="83080">4</cx:pt>
          <cx:pt idx="83081">5</cx:pt>
          <cx:pt idx="83082">0</cx:pt>
          <cx:pt idx="83083">1</cx:pt>
          <cx:pt idx="83084">3</cx:pt>
          <cx:pt idx="83085">1</cx:pt>
          <cx:pt idx="83086">1</cx:pt>
          <cx:pt idx="83087">3</cx:pt>
          <cx:pt idx="83088">4</cx:pt>
          <cx:pt idx="83089">5</cx:pt>
          <cx:pt idx="83090">2</cx:pt>
          <cx:pt idx="83091">4</cx:pt>
          <cx:pt idx="83092">3</cx:pt>
          <cx:pt idx="83093">3</cx:pt>
          <cx:pt idx="83094">3</cx:pt>
          <cx:pt idx="83095">5</cx:pt>
          <cx:pt idx="83096">5</cx:pt>
          <cx:pt idx="83097">3</cx:pt>
          <cx:pt idx="83098">2</cx:pt>
          <cx:pt idx="83099">1</cx:pt>
          <cx:pt idx="83100">1</cx:pt>
          <cx:pt idx="83101">2</cx:pt>
          <cx:pt idx="83102">4</cx:pt>
          <cx:pt idx="83103">3</cx:pt>
          <cx:pt idx="83104">1</cx:pt>
          <cx:pt idx="83105">2</cx:pt>
          <cx:pt idx="83106">5</cx:pt>
          <cx:pt idx="83107">4</cx:pt>
          <cx:pt idx="83108">5</cx:pt>
          <cx:pt idx="83109">2</cx:pt>
          <cx:pt idx="83110">3</cx:pt>
          <cx:pt idx="83111">2</cx:pt>
          <cx:pt idx="83112">3</cx:pt>
          <cx:pt idx="83113">4</cx:pt>
          <cx:pt idx="83114">2</cx:pt>
          <cx:pt idx="83115">5</cx:pt>
          <cx:pt idx="83116">4</cx:pt>
          <cx:pt idx="83117">2</cx:pt>
          <cx:pt idx="83118">3</cx:pt>
          <cx:pt idx="83119">4</cx:pt>
          <cx:pt idx="83120">5</cx:pt>
          <cx:pt idx="83121">2</cx:pt>
          <cx:pt idx="83122">3</cx:pt>
          <cx:pt idx="83123">0</cx:pt>
          <cx:pt idx="83124">4</cx:pt>
          <cx:pt idx="83125">1</cx:pt>
          <cx:pt idx="83126">2</cx:pt>
          <cx:pt idx="83127">5</cx:pt>
          <cx:pt idx="83128">1</cx:pt>
          <cx:pt idx="83129">2</cx:pt>
          <cx:pt idx="83130">2</cx:pt>
          <cx:pt idx="83131">4</cx:pt>
          <cx:pt idx="83132">3</cx:pt>
          <cx:pt idx="83133">4</cx:pt>
          <cx:pt idx="83134">3</cx:pt>
          <cx:pt idx="83135">3</cx:pt>
          <cx:pt idx="83136">3</cx:pt>
          <cx:pt idx="83137">4</cx:pt>
          <cx:pt idx="83138">2</cx:pt>
          <cx:pt idx="83139">3</cx:pt>
          <cx:pt idx="83140">2</cx:pt>
          <cx:pt idx="83141">5</cx:pt>
          <cx:pt idx="83142">2</cx:pt>
          <cx:pt idx="83143">1</cx:pt>
          <cx:pt idx="83144">0</cx:pt>
          <cx:pt idx="83145">1</cx:pt>
          <cx:pt idx="83146">4</cx:pt>
          <cx:pt idx="83147">3</cx:pt>
          <cx:pt idx="83148">2</cx:pt>
          <cx:pt idx="83149">2</cx:pt>
          <cx:pt idx="83150">2</cx:pt>
          <cx:pt idx="83151">3</cx:pt>
          <cx:pt idx="83152">3</cx:pt>
          <cx:pt idx="83153">3</cx:pt>
          <cx:pt idx="83154">3</cx:pt>
          <cx:pt idx="83155">2</cx:pt>
          <cx:pt idx="83156">1</cx:pt>
          <cx:pt idx="83157">2</cx:pt>
          <cx:pt idx="83158">4</cx:pt>
          <cx:pt idx="83159">4</cx:pt>
          <cx:pt idx="83160">2</cx:pt>
          <cx:pt idx="83161">0</cx:pt>
          <cx:pt idx="83162">3</cx:pt>
          <cx:pt idx="83163">2</cx:pt>
          <cx:pt idx="83164">4</cx:pt>
          <cx:pt idx="83165">4</cx:pt>
          <cx:pt idx="83166">3</cx:pt>
          <cx:pt idx="83167">1</cx:pt>
          <cx:pt idx="83168">0</cx:pt>
          <cx:pt idx="83169">1</cx:pt>
          <cx:pt idx="83170">3</cx:pt>
          <cx:pt idx="83171">5</cx:pt>
          <cx:pt idx="83172">4</cx:pt>
          <cx:pt idx="83173">3</cx:pt>
          <cx:pt idx="83174">1</cx:pt>
          <cx:pt idx="83175">1</cx:pt>
          <cx:pt idx="83176">5</cx:pt>
          <cx:pt idx="83177">5</cx:pt>
          <cx:pt idx="83178">2</cx:pt>
          <cx:pt idx="83179">1</cx:pt>
          <cx:pt idx="83180">2</cx:pt>
          <cx:pt idx="83181">2</cx:pt>
          <cx:pt idx="83182">3</cx:pt>
          <cx:pt idx="83183">4</cx:pt>
          <cx:pt idx="83184">5</cx:pt>
          <cx:pt idx="83185">5</cx:pt>
          <cx:pt idx="83186">2</cx:pt>
          <cx:pt idx="83187">5</cx:pt>
          <cx:pt idx="83188">5</cx:pt>
          <cx:pt idx="83189">1</cx:pt>
          <cx:pt idx="83190">3</cx:pt>
          <cx:pt idx="83191">4</cx:pt>
          <cx:pt idx="83192">1</cx:pt>
          <cx:pt idx="83193">3</cx:pt>
          <cx:pt idx="83194">4</cx:pt>
          <cx:pt idx="83195">4</cx:pt>
          <cx:pt idx="83196">4</cx:pt>
          <cx:pt idx="83197">1</cx:pt>
          <cx:pt idx="83198">5</cx:pt>
          <cx:pt idx="83199">1</cx:pt>
          <cx:pt idx="83200">2</cx:pt>
          <cx:pt idx="83201">1</cx:pt>
          <cx:pt idx="83202">2</cx:pt>
          <cx:pt idx="83203">2</cx:pt>
          <cx:pt idx="83204">3</cx:pt>
          <cx:pt idx="83205">3</cx:pt>
          <cx:pt idx="83206">3</cx:pt>
          <cx:pt idx="83207">3</cx:pt>
          <cx:pt idx="83208">2</cx:pt>
          <cx:pt idx="83209">5</cx:pt>
          <cx:pt idx="83210">1</cx:pt>
          <cx:pt idx="83211">3</cx:pt>
          <cx:pt idx="83212">2</cx:pt>
          <cx:pt idx="83213">2</cx:pt>
          <cx:pt idx="83214">5</cx:pt>
          <cx:pt idx="83215">2</cx:pt>
          <cx:pt idx="83216">1</cx:pt>
          <cx:pt idx="83217">3</cx:pt>
          <cx:pt idx="83218">0</cx:pt>
          <cx:pt idx="83219">3</cx:pt>
          <cx:pt idx="83220">2</cx:pt>
          <cx:pt idx="83221">4</cx:pt>
          <cx:pt idx="83222">4</cx:pt>
          <cx:pt idx="83223">4</cx:pt>
          <cx:pt idx="83224">1</cx:pt>
          <cx:pt idx="83225">4</cx:pt>
          <cx:pt idx="83226">5</cx:pt>
          <cx:pt idx="83227">5</cx:pt>
          <cx:pt idx="83228">3</cx:pt>
          <cx:pt idx="83229">3</cx:pt>
          <cx:pt idx="83230">3</cx:pt>
          <cx:pt idx="83231">4</cx:pt>
          <cx:pt idx="83232">3</cx:pt>
          <cx:pt idx="83233">3</cx:pt>
          <cx:pt idx="83234">1</cx:pt>
          <cx:pt idx="83235">5</cx:pt>
          <cx:pt idx="83236">2</cx:pt>
          <cx:pt idx="83237">5</cx:pt>
          <cx:pt idx="83238">3</cx:pt>
          <cx:pt idx="83239">2</cx:pt>
          <cx:pt idx="83240">1</cx:pt>
          <cx:pt idx="83241">5</cx:pt>
          <cx:pt idx="83242">4</cx:pt>
          <cx:pt idx="83243">2</cx:pt>
          <cx:pt idx="83244">4</cx:pt>
          <cx:pt idx="83245">4</cx:pt>
          <cx:pt idx="83246">5</cx:pt>
          <cx:pt idx="83247">5</cx:pt>
          <cx:pt idx="83248">5</cx:pt>
          <cx:pt idx="83249">0</cx:pt>
          <cx:pt idx="83250">1</cx:pt>
          <cx:pt idx="83251">1</cx:pt>
          <cx:pt idx="83252">5</cx:pt>
          <cx:pt idx="83253">1</cx:pt>
          <cx:pt idx="83254">4</cx:pt>
          <cx:pt idx="83255">1</cx:pt>
          <cx:pt idx="83256">1</cx:pt>
          <cx:pt idx="83257">2</cx:pt>
          <cx:pt idx="83258">2</cx:pt>
          <cx:pt idx="83259">5</cx:pt>
          <cx:pt idx="83260">3</cx:pt>
          <cx:pt idx="83261">3</cx:pt>
          <cx:pt idx="83262">3</cx:pt>
          <cx:pt idx="83263">3</cx:pt>
          <cx:pt idx="83264">5</cx:pt>
          <cx:pt idx="83265">2</cx:pt>
          <cx:pt idx="83266">3</cx:pt>
          <cx:pt idx="83267">3</cx:pt>
          <cx:pt idx="83268">5</cx:pt>
          <cx:pt idx="83269">2</cx:pt>
          <cx:pt idx="83270">3</cx:pt>
          <cx:pt idx="83271">2</cx:pt>
          <cx:pt idx="83272">4</cx:pt>
          <cx:pt idx="83273">2</cx:pt>
          <cx:pt idx="83274">5</cx:pt>
          <cx:pt idx="83275">2</cx:pt>
          <cx:pt idx="83276">5</cx:pt>
          <cx:pt idx="83277">4</cx:pt>
          <cx:pt idx="83278">2</cx:pt>
          <cx:pt idx="83279">5</cx:pt>
          <cx:pt idx="83280">4</cx:pt>
          <cx:pt idx="83281">2</cx:pt>
          <cx:pt idx="83282">3</cx:pt>
          <cx:pt idx="83283">3</cx:pt>
          <cx:pt idx="83284">4</cx:pt>
          <cx:pt idx="83285">5</cx:pt>
          <cx:pt idx="83286">2</cx:pt>
          <cx:pt idx="83287">1</cx:pt>
          <cx:pt idx="83288">5</cx:pt>
          <cx:pt idx="83289">5</cx:pt>
          <cx:pt idx="83290">4</cx:pt>
          <cx:pt idx="83291">4</cx:pt>
          <cx:pt idx="83292">3</cx:pt>
          <cx:pt idx="83293">4</cx:pt>
          <cx:pt idx="83294">2</cx:pt>
          <cx:pt idx="83295">1</cx:pt>
          <cx:pt idx="83296">5</cx:pt>
          <cx:pt idx="83297">1</cx:pt>
          <cx:pt idx="83298">1</cx:pt>
          <cx:pt idx="83299">1</cx:pt>
          <cx:pt idx="83300">2</cx:pt>
          <cx:pt idx="83301">5</cx:pt>
          <cx:pt idx="83302">0</cx:pt>
          <cx:pt idx="83303">5</cx:pt>
          <cx:pt idx="83304">3</cx:pt>
          <cx:pt idx="83305">4</cx:pt>
          <cx:pt idx="83306">3</cx:pt>
          <cx:pt idx="83307">5</cx:pt>
          <cx:pt idx="83308">4</cx:pt>
          <cx:pt idx="83309">4</cx:pt>
          <cx:pt idx="83310">2</cx:pt>
          <cx:pt idx="83311">3</cx:pt>
          <cx:pt idx="83312">2</cx:pt>
          <cx:pt idx="83313">3</cx:pt>
          <cx:pt idx="83314">4</cx:pt>
          <cx:pt idx="83315">5</cx:pt>
          <cx:pt idx="83316">1</cx:pt>
          <cx:pt idx="83317">4</cx:pt>
          <cx:pt idx="83318">1</cx:pt>
          <cx:pt idx="83319">4</cx:pt>
          <cx:pt idx="83320">2</cx:pt>
          <cx:pt idx="83321">0</cx:pt>
          <cx:pt idx="83322">3</cx:pt>
          <cx:pt idx="83323">2</cx:pt>
          <cx:pt idx="83324">1</cx:pt>
          <cx:pt idx="83325">1</cx:pt>
          <cx:pt idx="83326">3</cx:pt>
          <cx:pt idx="83327">1</cx:pt>
          <cx:pt idx="83328">3</cx:pt>
          <cx:pt idx="83329">4</cx:pt>
          <cx:pt idx="83330">2</cx:pt>
          <cx:pt idx="83331">2</cx:pt>
          <cx:pt idx="83332">3</cx:pt>
          <cx:pt idx="83333">1</cx:pt>
          <cx:pt idx="83334">4</cx:pt>
          <cx:pt idx="83335">0</cx:pt>
          <cx:pt idx="83336">2</cx:pt>
          <cx:pt idx="83337">1</cx:pt>
          <cx:pt idx="83338">3</cx:pt>
          <cx:pt idx="83339">1</cx:pt>
          <cx:pt idx="83340">1</cx:pt>
          <cx:pt idx="83341">5</cx:pt>
          <cx:pt idx="83342">5</cx:pt>
          <cx:pt idx="83343">1</cx:pt>
          <cx:pt idx="83344">2</cx:pt>
          <cx:pt idx="83345">4</cx:pt>
          <cx:pt idx="83346">2</cx:pt>
          <cx:pt idx="83347">4</cx:pt>
          <cx:pt idx="83348">2</cx:pt>
          <cx:pt idx="83349">3</cx:pt>
          <cx:pt idx="83350">2</cx:pt>
          <cx:pt idx="83351">1</cx:pt>
          <cx:pt idx="83352">4</cx:pt>
          <cx:pt idx="83353">0</cx:pt>
          <cx:pt idx="83354">3</cx:pt>
          <cx:pt idx="83355">3</cx:pt>
          <cx:pt idx="83356">1</cx:pt>
          <cx:pt idx="83357">2</cx:pt>
          <cx:pt idx="83358">3</cx:pt>
          <cx:pt idx="83359">4</cx:pt>
          <cx:pt idx="83360">1</cx:pt>
          <cx:pt idx="83361">1</cx:pt>
          <cx:pt idx="83362">3</cx:pt>
          <cx:pt idx="83363">3</cx:pt>
          <cx:pt idx="83364">4</cx:pt>
          <cx:pt idx="83365">1</cx:pt>
          <cx:pt idx="83366">4</cx:pt>
          <cx:pt idx="83367">2</cx:pt>
          <cx:pt idx="83368">2</cx:pt>
          <cx:pt idx="83369">3</cx:pt>
          <cx:pt idx="83370">2</cx:pt>
          <cx:pt idx="83371">4</cx:pt>
          <cx:pt idx="83372">3</cx:pt>
          <cx:pt idx="83373">4</cx:pt>
          <cx:pt idx="83374">5</cx:pt>
          <cx:pt idx="83375">2</cx:pt>
          <cx:pt idx="83376">1</cx:pt>
          <cx:pt idx="83377">3</cx:pt>
          <cx:pt idx="83378">3</cx:pt>
          <cx:pt idx="83379">5</cx:pt>
          <cx:pt idx="83380">2</cx:pt>
          <cx:pt idx="83381">1</cx:pt>
          <cx:pt idx="83382">4</cx:pt>
          <cx:pt idx="83383">4</cx:pt>
          <cx:pt idx="83384">4</cx:pt>
          <cx:pt idx="83385">0</cx:pt>
          <cx:pt idx="83386">3</cx:pt>
          <cx:pt idx="83387">2</cx:pt>
          <cx:pt idx="83388">5</cx:pt>
          <cx:pt idx="83389">3</cx:pt>
          <cx:pt idx="83390">4</cx:pt>
          <cx:pt idx="83391">3</cx:pt>
          <cx:pt idx="83392">1</cx:pt>
          <cx:pt idx="83393">3</cx:pt>
          <cx:pt idx="83394">4</cx:pt>
          <cx:pt idx="83395">3</cx:pt>
          <cx:pt idx="83396">2</cx:pt>
          <cx:pt idx="83397">2</cx:pt>
          <cx:pt idx="83398">1</cx:pt>
          <cx:pt idx="83399">3</cx:pt>
          <cx:pt idx="83400">2</cx:pt>
          <cx:pt idx="83401">3</cx:pt>
          <cx:pt idx="83402">1</cx:pt>
          <cx:pt idx="83403">4</cx:pt>
          <cx:pt idx="83404">4</cx:pt>
          <cx:pt idx="83405">1</cx:pt>
          <cx:pt idx="83406">1</cx:pt>
          <cx:pt idx="83407">3</cx:pt>
          <cx:pt idx="83408">2</cx:pt>
          <cx:pt idx="83409">2</cx:pt>
          <cx:pt idx="83410">0</cx:pt>
          <cx:pt idx="83411">4</cx:pt>
          <cx:pt idx="83412">1</cx:pt>
          <cx:pt idx="83413">2</cx:pt>
          <cx:pt idx="83414">3</cx:pt>
          <cx:pt idx="83415">3</cx:pt>
          <cx:pt idx="83416">4</cx:pt>
          <cx:pt idx="83417">0</cx:pt>
          <cx:pt idx="83418">4</cx:pt>
          <cx:pt idx="83419">1</cx:pt>
          <cx:pt idx="83420">1</cx:pt>
          <cx:pt idx="83421">2</cx:pt>
          <cx:pt idx="83422">1</cx:pt>
          <cx:pt idx="83423">3</cx:pt>
          <cx:pt idx="83424">1</cx:pt>
          <cx:pt idx="83425">3</cx:pt>
          <cx:pt idx="83426">5</cx:pt>
          <cx:pt idx="83427">3</cx:pt>
          <cx:pt idx="83428">3</cx:pt>
          <cx:pt idx="83429">4</cx:pt>
          <cx:pt idx="83430">4</cx:pt>
          <cx:pt idx="83431">2</cx:pt>
          <cx:pt idx="83432">3</cx:pt>
          <cx:pt idx="83433">2</cx:pt>
          <cx:pt idx="83434">4</cx:pt>
          <cx:pt idx="83435">2</cx:pt>
          <cx:pt idx="83436">1</cx:pt>
          <cx:pt idx="83437">3</cx:pt>
          <cx:pt idx="83438">4</cx:pt>
          <cx:pt idx="83439">4</cx:pt>
          <cx:pt idx="83440">5</cx:pt>
          <cx:pt idx="83441">4</cx:pt>
          <cx:pt idx="83442">5</cx:pt>
          <cx:pt idx="83443">5</cx:pt>
          <cx:pt idx="83444">2</cx:pt>
          <cx:pt idx="83445">2</cx:pt>
          <cx:pt idx="83446">4</cx:pt>
          <cx:pt idx="83447">3</cx:pt>
          <cx:pt idx="83448">3</cx:pt>
          <cx:pt idx="83449">1</cx:pt>
          <cx:pt idx="83450">1</cx:pt>
          <cx:pt idx="83451">3</cx:pt>
          <cx:pt idx="83452">2</cx:pt>
          <cx:pt idx="83453">4</cx:pt>
          <cx:pt idx="83454">5</cx:pt>
          <cx:pt idx="83455">1</cx:pt>
          <cx:pt idx="83456">3</cx:pt>
          <cx:pt idx="83457">3</cx:pt>
          <cx:pt idx="83458">2</cx:pt>
          <cx:pt idx="83459">2</cx:pt>
          <cx:pt idx="83460">3</cx:pt>
          <cx:pt idx="83461">2</cx:pt>
          <cx:pt idx="83462">3</cx:pt>
          <cx:pt idx="83463">2</cx:pt>
          <cx:pt idx="83464">5</cx:pt>
          <cx:pt idx="83465">0</cx:pt>
          <cx:pt idx="83466">1</cx:pt>
          <cx:pt idx="83467">4</cx:pt>
          <cx:pt idx="83468">3</cx:pt>
          <cx:pt idx="83469">3</cx:pt>
          <cx:pt idx="83470">3</cx:pt>
          <cx:pt idx="83471">1</cx:pt>
          <cx:pt idx="83472">3</cx:pt>
          <cx:pt idx="83473">2</cx:pt>
          <cx:pt idx="83474">4</cx:pt>
          <cx:pt idx="83475">4</cx:pt>
          <cx:pt idx="83476">2</cx:pt>
          <cx:pt idx="83477">4</cx:pt>
          <cx:pt idx="83478">2</cx:pt>
          <cx:pt idx="83479">2</cx:pt>
          <cx:pt idx="83480">2</cx:pt>
          <cx:pt idx="83481">1</cx:pt>
          <cx:pt idx="83482">5</cx:pt>
          <cx:pt idx="83483">5</cx:pt>
          <cx:pt idx="83484">5</cx:pt>
          <cx:pt idx="83485">2</cx:pt>
          <cx:pt idx="83486">2</cx:pt>
          <cx:pt idx="83487">3</cx:pt>
          <cx:pt idx="83488">2</cx:pt>
          <cx:pt idx="83489">4</cx:pt>
          <cx:pt idx="83490">3</cx:pt>
          <cx:pt idx="83491">3</cx:pt>
          <cx:pt idx="83492">3</cx:pt>
          <cx:pt idx="83493">3</cx:pt>
          <cx:pt idx="83494">4</cx:pt>
          <cx:pt idx="83495">2</cx:pt>
          <cx:pt idx="83496">5</cx:pt>
          <cx:pt idx="83497">4</cx:pt>
          <cx:pt idx="83498">2</cx:pt>
          <cx:pt idx="83499">4</cx:pt>
          <cx:pt idx="83500">2</cx:pt>
          <cx:pt idx="83501">3</cx:pt>
          <cx:pt idx="83502">1</cx:pt>
          <cx:pt idx="83503">4</cx:pt>
          <cx:pt idx="83504">3</cx:pt>
          <cx:pt idx="83505">1</cx:pt>
          <cx:pt idx="83506">1</cx:pt>
          <cx:pt idx="83507">3</cx:pt>
          <cx:pt idx="83508">5</cx:pt>
          <cx:pt idx="83509">2</cx:pt>
          <cx:pt idx="83510">1</cx:pt>
          <cx:pt idx="83511">3</cx:pt>
          <cx:pt idx="83512">1</cx:pt>
          <cx:pt idx="83513">2</cx:pt>
          <cx:pt idx="83514">5</cx:pt>
          <cx:pt idx="83515">2</cx:pt>
          <cx:pt idx="83516">3</cx:pt>
          <cx:pt idx="83517">3</cx:pt>
          <cx:pt idx="83518">4</cx:pt>
          <cx:pt idx="83519">2</cx:pt>
          <cx:pt idx="83520">2</cx:pt>
          <cx:pt idx="83521">4</cx:pt>
          <cx:pt idx="83522">5</cx:pt>
          <cx:pt idx="83523">4</cx:pt>
          <cx:pt idx="83524">4</cx:pt>
          <cx:pt idx="83525">5</cx:pt>
          <cx:pt idx="83526">3</cx:pt>
          <cx:pt idx="83527">1</cx:pt>
          <cx:pt idx="83528">1</cx:pt>
          <cx:pt idx="83529">3</cx:pt>
          <cx:pt idx="83530">4</cx:pt>
          <cx:pt idx="83531">3</cx:pt>
          <cx:pt idx="83532">4</cx:pt>
          <cx:pt idx="83533">3</cx:pt>
          <cx:pt idx="83534">4</cx:pt>
          <cx:pt idx="83535">5</cx:pt>
          <cx:pt idx="83536">3</cx:pt>
          <cx:pt idx="83537">4</cx:pt>
          <cx:pt idx="83538">3</cx:pt>
          <cx:pt idx="83539">4</cx:pt>
          <cx:pt idx="83540">1</cx:pt>
          <cx:pt idx="83541">0</cx:pt>
          <cx:pt idx="83542">4</cx:pt>
          <cx:pt idx="83543">4</cx:pt>
          <cx:pt idx="83544">1</cx:pt>
          <cx:pt idx="83545">3</cx:pt>
          <cx:pt idx="83546">4</cx:pt>
          <cx:pt idx="83547">5</cx:pt>
          <cx:pt idx="83548">3</cx:pt>
          <cx:pt idx="83549">4</cx:pt>
          <cx:pt idx="83550">2</cx:pt>
          <cx:pt idx="83551">3</cx:pt>
          <cx:pt idx="83552">2</cx:pt>
          <cx:pt idx="83553">2</cx:pt>
          <cx:pt idx="83554">2</cx:pt>
          <cx:pt idx="83555">2</cx:pt>
          <cx:pt idx="83556">4</cx:pt>
          <cx:pt idx="83557">1</cx:pt>
          <cx:pt idx="83558">2</cx:pt>
          <cx:pt idx="83559">2</cx:pt>
          <cx:pt idx="83560">2</cx:pt>
          <cx:pt idx="83561">4</cx:pt>
          <cx:pt idx="83562">2</cx:pt>
          <cx:pt idx="83563">3</cx:pt>
          <cx:pt idx="83564">1</cx:pt>
          <cx:pt idx="83565">2</cx:pt>
          <cx:pt idx="83566">2</cx:pt>
          <cx:pt idx="83567">5</cx:pt>
          <cx:pt idx="83568">3</cx:pt>
          <cx:pt idx="83569">5</cx:pt>
          <cx:pt idx="83570">5</cx:pt>
          <cx:pt idx="83571">3</cx:pt>
          <cx:pt idx="83572">3</cx:pt>
          <cx:pt idx="83573">2</cx:pt>
          <cx:pt idx="83574">1</cx:pt>
          <cx:pt idx="83575">1</cx:pt>
          <cx:pt idx="83576">2</cx:pt>
          <cx:pt idx="83577">4</cx:pt>
          <cx:pt idx="83578">0</cx:pt>
          <cx:pt idx="83579">1</cx:pt>
          <cx:pt idx="83580">3</cx:pt>
          <cx:pt idx="83581">2</cx:pt>
          <cx:pt idx="83582">1</cx:pt>
          <cx:pt idx="83583">0</cx:pt>
          <cx:pt idx="83584">0</cx:pt>
          <cx:pt idx="83585">1</cx:pt>
          <cx:pt idx="83586">2</cx:pt>
          <cx:pt idx="83587">2</cx:pt>
          <cx:pt idx="83588">1</cx:pt>
          <cx:pt idx="83589">5</cx:pt>
          <cx:pt idx="83590">2</cx:pt>
          <cx:pt idx="83591">0</cx:pt>
          <cx:pt idx="83592">5</cx:pt>
          <cx:pt idx="83593">3</cx:pt>
          <cx:pt idx="83594">3</cx:pt>
          <cx:pt idx="83595">3</cx:pt>
          <cx:pt idx="83596">0</cx:pt>
          <cx:pt idx="83597">1</cx:pt>
          <cx:pt idx="83598">2</cx:pt>
          <cx:pt idx="83599">5</cx:pt>
          <cx:pt idx="83600">2</cx:pt>
          <cx:pt idx="83601">4</cx:pt>
          <cx:pt idx="83602">5</cx:pt>
          <cx:pt idx="83603">3</cx:pt>
          <cx:pt idx="83604">2</cx:pt>
          <cx:pt idx="83605">1</cx:pt>
          <cx:pt idx="83606">1</cx:pt>
          <cx:pt idx="83607">1</cx:pt>
          <cx:pt idx="83608">4</cx:pt>
          <cx:pt idx="83609">4</cx:pt>
          <cx:pt idx="83610">2</cx:pt>
          <cx:pt idx="83611">1</cx:pt>
          <cx:pt idx="83612">1</cx:pt>
          <cx:pt idx="83613">3</cx:pt>
          <cx:pt idx="83614">2</cx:pt>
          <cx:pt idx="83615">2</cx:pt>
          <cx:pt idx="83616">1</cx:pt>
          <cx:pt idx="83617">1</cx:pt>
          <cx:pt idx="83618">3</cx:pt>
          <cx:pt idx="83619">2</cx:pt>
          <cx:pt idx="83620">2</cx:pt>
          <cx:pt idx="83621">3</cx:pt>
          <cx:pt idx="83622">3</cx:pt>
          <cx:pt idx="83623">4</cx:pt>
          <cx:pt idx="83624">4</cx:pt>
          <cx:pt idx="83625">4</cx:pt>
          <cx:pt idx="83626">3</cx:pt>
          <cx:pt idx="83627">1</cx:pt>
          <cx:pt idx="83628">4</cx:pt>
          <cx:pt idx="83629">1</cx:pt>
          <cx:pt idx="83630">3</cx:pt>
          <cx:pt idx="83631">0</cx:pt>
          <cx:pt idx="83632">2</cx:pt>
          <cx:pt idx="83633">3</cx:pt>
          <cx:pt idx="83634">2</cx:pt>
          <cx:pt idx="83635">1</cx:pt>
          <cx:pt idx="83636">3</cx:pt>
          <cx:pt idx="83637">1</cx:pt>
          <cx:pt idx="83638">2</cx:pt>
          <cx:pt idx="83639">5</cx:pt>
          <cx:pt idx="83640">4</cx:pt>
          <cx:pt idx="83641">3</cx:pt>
          <cx:pt idx="83642">1</cx:pt>
          <cx:pt idx="83643">2</cx:pt>
          <cx:pt idx="83644">2</cx:pt>
          <cx:pt idx="83645">3</cx:pt>
          <cx:pt idx="83646">4</cx:pt>
          <cx:pt idx="83647">4</cx:pt>
          <cx:pt idx="83648">5</cx:pt>
          <cx:pt idx="83649">4</cx:pt>
          <cx:pt idx="83650">2</cx:pt>
          <cx:pt idx="83651">5</cx:pt>
          <cx:pt idx="83652">1</cx:pt>
          <cx:pt idx="83653">0</cx:pt>
          <cx:pt idx="83654">2</cx:pt>
          <cx:pt idx="83655">1</cx:pt>
          <cx:pt idx="83656">3</cx:pt>
          <cx:pt idx="83657">3</cx:pt>
          <cx:pt idx="83658">1</cx:pt>
          <cx:pt idx="83659">3</cx:pt>
          <cx:pt idx="83660">4</cx:pt>
          <cx:pt idx="83661">1</cx:pt>
          <cx:pt idx="83662">1</cx:pt>
          <cx:pt idx="83663">3</cx:pt>
          <cx:pt idx="83664">5</cx:pt>
          <cx:pt idx="83665">5</cx:pt>
          <cx:pt idx="83666">1</cx:pt>
          <cx:pt idx="83667">4</cx:pt>
          <cx:pt idx="83668">5</cx:pt>
          <cx:pt idx="83669">3</cx:pt>
          <cx:pt idx="83670">1</cx:pt>
          <cx:pt idx="83671">1</cx:pt>
          <cx:pt idx="83672">3</cx:pt>
          <cx:pt idx="83673">5</cx:pt>
          <cx:pt idx="83674">3</cx:pt>
          <cx:pt idx="83675">5</cx:pt>
          <cx:pt idx="83676">3</cx:pt>
          <cx:pt idx="83677">5</cx:pt>
          <cx:pt idx="83678">3</cx:pt>
          <cx:pt idx="83679">3</cx:pt>
          <cx:pt idx="83680">1</cx:pt>
          <cx:pt idx="83681">4</cx:pt>
          <cx:pt idx="83682">1</cx:pt>
          <cx:pt idx="83683">3</cx:pt>
          <cx:pt idx="83684">3</cx:pt>
          <cx:pt idx="83685">3</cx:pt>
          <cx:pt idx="83686">1</cx:pt>
          <cx:pt idx="83687">2</cx:pt>
          <cx:pt idx="83688">4</cx:pt>
          <cx:pt idx="83689">3</cx:pt>
          <cx:pt idx="83690">4</cx:pt>
          <cx:pt idx="83691">2</cx:pt>
          <cx:pt idx="83692">3</cx:pt>
          <cx:pt idx="83693">4</cx:pt>
          <cx:pt idx="83694">3</cx:pt>
          <cx:pt idx="83695">4</cx:pt>
          <cx:pt idx="83696">2</cx:pt>
          <cx:pt idx="83697">1</cx:pt>
          <cx:pt idx="83698">4</cx:pt>
          <cx:pt idx="83699">2</cx:pt>
          <cx:pt idx="83700">3</cx:pt>
          <cx:pt idx="83701">3</cx:pt>
          <cx:pt idx="83702">5</cx:pt>
          <cx:pt idx="83703">4</cx:pt>
          <cx:pt idx="83704">5</cx:pt>
          <cx:pt idx="83705">0</cx:pt>
          <cx:pt idx="83706">2</cx:pt>
          <cx:pt idx="83707">3</cx:pt>
          <cx:pt idx="83708">3</cx:pt>
          <cx:pt idx="83709">4</cx:pt>
          <cx:pt idx="83710">4</cx:pt>
          <cx:pt idx="83711">3</cx:pt>
          <cx:pt idx="83712">3</cx:pt>
          <cx:pt idx="83713">5</cx:pt>
          <cx:pt idx="83714">0</cx:pt>
          <cx:pt idx="83715">2</cx:pt>
          <cx:pt idx="83716">3</cx:pt>
          <cx:pt idx="83717">4</cx:pt>
          <cx:pt idx="83718">2</cx:pt>
          <cx:pt idx="83719">2</cx:pt>
          <cx:pt idx="83720">2</cx:pt>
          <cx:pt idx="83721">4</cx:pt>
          <cx:pt idx="83722">3</cx:pt>
          <cx:pt idx="83723">4</cx:pt>
          <cx:pt idx="83724">2</cx:pt>
          <cx:pt idx="83725">2</cx:pt>
          <cx:pt idx="83726">1</cx:pt>
          <cx:pt idx="83727">4</cx:pt>
          <cx:pt idx="83728">2</cx:pt>
          <cx:pt idx="83729">1</cx:pt>
          <cx:pt idx="83730">2</cx:pt>
          <cx:pt idx="83731">5</cx:pt>
          <cx:pt idx="83732">3</cx:pt>
          <cx:pt idx="83733">4</cx:pt>
          <cx:pt idx="83734">5</cx:pt>
          <cx:pt idx="83735">3</cx:pt>
          <cx:pt idx="83736">1</cx:pt>
          <cx:pt idx="83737">1</cx:pt>
          <cx:pt idx="83738">4</cx:pt>
          <cx:pt idx="83739">1</cx:pt>
          <cx:pt idx="83740">2</cx:pt>
          <cx:pt idx="83741">2</cx:pt>
          <cx:pt idx="83742">5</cx:pt>
          <cx:pt idx="83743">5</cx:pt>
          <cx:pt idx="83744">2</cx:pt>
          <cx:pt idx="83745">2</cx:pt>
          <cx:pt idx="83746">3</cx:pt>
          <cx:pt idx="83747">4</cx:pt>
          <cx:pt idx="83748">4</cx:pt>
          <cx:pt idx="83749">2</cx:pt>
          <cx:pt idx="83750">1</cx:pt>
          <cx:pt idx="83751">4</cx:pt>
          <cx:pt idx="83752">1</cx:pt>
          <cx:pt idx="83753">3</cx:pt>
          <cx:pt idx="83754">4</cx:pt>
          <cx:pt idx="83755">3</cx:pt>
          <cx:pt idx="83756">5</cx:pt>
          <cx:pt idx="83757">4</cx:pt>
          <cx:pt idx="83758">4</cx:pt>
          <cx:pt idx="83759">2</cx:pt>
          <cx:pt idx="83760">2</cx:pt>
          <cx:pt idx="83761">3</cx:pt>
          <cx:pt idx="83762">2</cx:pt>
          <cx:pt idx="83763">5</cx:pt>
          <cx:pt idx="83764">4</cx:pt>
          <cx:pt idx="83765">3</cx:pt>
          <cx:pt idx="83766">2</cx:pt>
          <cx:pt idx="83767">5</cx:pt>
          <cx:pt idx="83768">2</cx:pt>
          <cx:pt idx="83769">4</cx:pt>
          <cx:pt idx="83770">5</cx:pt>
          <cx:pt idx="83771">2</cx:pt>
          <cx:pt idx="83772">2</cx:pt>
          <cx:pt idx="83773">2</cx:pt>
          <cx:pt idx="83774">2</cx:pt>
          <cx:pt idx="83775">5</cx:pt>
          <cx:pt idx="83776">1</cx:pt>
          <cx:pt idx="83777">1</cx:pt>
          <cx:pt idx="83778">3</cx:pt>
          <cx:pt idx="83779">5</cx:pt>
          <cx:pt idx="83780">4</cx:pt>
          <cx:pt idx="83781">4</cx:pt>
          <cx:pt idx="83782">2</cx:pt>
          <cx:pt idx="83783">2</cx:pt>
          <cx:pt idx="83784">3</cx:pt>
          <cx:pt idx="83785">5</cx:pt>
          <cx:pt idx="83786">1</cx:pt>
          <cx:pt idx="83787">3</cx:pt>
          <cx:pt idx="83788">3</cx:pt>
          <cx:pt idx="83789">3</cx:pt>
          <cx:pt idx="83790">5</cx:pt>
          <cx:pt idx="83791">1</cx:pt>
          <cx:pt idx="83792">5</cx:pt>
          <cx:pt idx="83793">1</cx:pt>
          <cx:pt idx="83794">5</cx:pt>
          <cx:pt idx="83795">4</cx:pt>
          <cx:pt idx="83796">5</cx:pt>
          <cx:pt idx="83797">4</cx:pt>
          <cx:pt idx="83798">3</cx:pt>
          <cx:pt idx="83799">1</cx:pt>
          <cx:pt idx="83800">4</cx:pt>
          <cx:pt idx="83801">0</cx:pt>
          <cx:pt idx="83802">3</cx:pt>
          <cx:pt idx="83803">5</cx:pt>
          <cx:pt idx="83804">3</cx:pt>
          <cx:pt idx="83805">2</cx:pt>
          <cx:pt idx="83806">1</cx:pt>
          <cx:pt idx="83807">5</cx:pt>
          <cx:pt idx="83808">3</cx:pt>
          <cx:pt idx="83809">1</cx:pt>
          <cx:pt idx="83810">3</cx:pt>
          <cx:pt idx="83811">3</cx:pt>
          <cx:pt idx="83812">3</cx:pt>
          <cx:pt idx="83813">2</cx:pt>
          <cx:pt idx="83814">2</cx:pt>
          <cx:pt idx="83815">2</cx:pt>
          <cx:pt idx="83816">5</cx:pt>
          <cx:pt idx="83817">1</cx:pt>
          <cx:pt idx="83818">3</cx:pt>
          <cx:pt idx="83819">1</cx:pt>
          <cx:pt idx="83820">4</cx:pt>
          <cx:pt idx="83821">1</cx:pt>
          <cx:pt idx="83822">1</cx:pt>
          <cx:pt idx="83823">3</cx:pt>
          <cx:pt idx="83824">3</cx:pt>
          <cx:pt idx="83825">2</cx:pt>
          <cx:pt idx="83826">5</cx:pt>
          <cx:pt idx="83827">4</cx:pt>
          <cx:pt idx="83828">2</cx:pt>
          <cx:pt idx="83829">1</cx:pt>
          <cx:pt idx="83830">5</cx:pt>
          <cx:pt idx="83831">2</cx:pt>
          <cx:pt idx="83832">3</cx:pt>
          <cx:pt idx="83833">0</cx:pt>
          <cx:pt idx="83834">1</cx:pt>
          <cx:pt idx="83835">1</cx:pt>
          <cx:pt idx="83836">4</cx:pt>
          <cx:pt idx="83837">3</cx:pt>
          <cx:pt idx="83838">2</cx:pt>
          <cx:pt idx="83839">1</cx:pt>
          <cx:pt idx="83840">1</cx:pt>
          <cx:pt idx="83841">3</cx:pt>
          <cx:pt idx="83842">4</cx:pt>
          <cx:pt idx="83843">5</cx:pt>
          <cx:pt idx="83844">2</cx:pt>
          <cx:pt idx="83845">3</cx:pt>
          <cx:pt idx="83846">3</cx:pt>
          <cx:pt idx="83847">1</cx:pt>
          <cx:pt idx="83848">2</cx:pt>
          <cx:pt idx="83849">5</cx:pt>
          <cx:pt idx="83850">2</cx:pt>
          <cx:pt idx="83851">2</cx:pt>
          <cx:pt idx="83852">3</cx:pt>
          <cx:pt idx="83853">5</cx:pt>
          <cx:pt idx="83854">3</cx:pt>
          <cx:pt idx="83855">3</cx:pt>
          <cx:pt idx="83856">4</cx:pt>
          <cx:pt idx="83857">4</cx:pt>
          <cx:pt idx="83858">1</cx:pt>
          <cx:pt idx="83859">4</cx:pt>
          <cx:pt idx="83860">1</cx:pt>
          <cx:pt idx="83861">4</cx:pt>
          <cx:pt idx="83862">2</cx:pt>
          <cx:pt idx="83863">1</cx:pt>
          <cx:pt idx="83864">2</cx:pt>
          <cx:pt idx="83865">5</cx:pt>
          <cx:pt idx="83866">2</cx:pt>
          <cx:pt idx="83867">3</cx:pt>
          <cx:pt idx="83868">2</cx:pt>
          <cx:pt idx="83869">4</cx:pt>
          <cx:pt idx="83870">4</cx:pt>
          <cx:pt idx="83871">2</cx:pt>
          <cx:pt idx="83872">2</cx:pt>
          <cx:pt idx="83873">3</cx:pt>
          <cx:pt idx="83874">2</cx:pt>
          <cx:pt idx="83875">2</cx:pt>
          <cx:pt idx="83876">4</cx:pt>
          <cx:pt idx="83877">5</cx:pt>
          <cx:pt idx="83878">5</cx:pt>
          <cx:pt idx="83879">3</cx:pt>
          <cx:pt idx="83880">2</cx:pt>
          <cx:pt idx="83881">1</cx:pt>
          <cx:pt idx="83882">5</cx:pt>
          <cx:pt idx="83883">1</cx:pt>
          <cx:pt idx="83884">1</cx:pt>
          <cx:pt idx="83885">2</cx:pt>
          <cx:pt idx="83886">5</cx:pt>
          <cx:pt idx="83887">2</cx:pt>
          <cx:pt idx="83888">2</cx:pt>
          <cx:pt idx="83889">4</cx:pt>
          <cx:pt idx="83890">3</cx:pt>
          <cx:pt idx="83891">2</cx:pt>
          <cx:pt idx="83892">4</cx:pt>
          <cx:pt idx="83893">2</cx:pt>
          <cx:pt idx="83894">2</cx:pt>
          <cx:pt idx="83895">4</cx:pt>
          <cx:pt idx="83896">3</cx:pt>
          <cx:pt idx="83897">2</cx:pt>
          <cx:pt idx="83898">2</cx:pt>
          <cx:pt idx="83899">3</cx:pt>
          <cx:pt idx="83900">5</cx:pt>
          <cx:pt idx="83901">4</cx:pt>
          <cx:pt idx="83902">3</cx:pt>
          <cx:pt idx="83903">2</cx:pt>
          <cx:pt idx="83904">3</cx:pt>
          <cx:pt idx="83905">4</cx:pt>
          <cx:pt idx="83906">3</cx:pt>
          <cx:pt idx="83907">1</cx:pt>
          <cx:pt idx="83908">4</cx:pt>
          <cx:pt idx="83909">0</cx:pt>
          <cx:pt idx="83910">1</cx:pt>
          <cx:pt idx="83911">5</cx:pt>
          <cx:pt idx="83912">5</cx:pt>
          <cx:pt idx="83913">2</cx:pt>
          <cx:pt idx="83914">3</cx:pt>
          <cx:pt idx="83915">2</cx:pt>
          <cx:pt idx="83916">4</cx:pt>
          <cx:pt idx="83917">3</cx:pt>
          <cx:pt idx="83918">5</cx:pt>
          <cx:pt idx="83919">2</cx:pt>
          <cx:pt idx="83920">2</cx:pt>
          <cx:pt idx="83921">4</cx:pt>
          <cx:pt idx="83922">5</cx:pt>
          <cx:pt idx="83923">4</cx:pt>
          <cx:pt idx="83924">1</cx:pt>
          <cx:pt idx="83925">0</cx:pt>
          <cx:pt idx="83926">2</cx:pt>
          <cx:pt idx="83927">1</cx:pt>
          <cx:pt idx="83928">1</cx:pt>
          <cx:pt idx="83929">2</cx:pt>
          <cx:pt idx="83930">4</cx:pt>
          <cx:pt idx="83931">3</cx:pt>
          <cx:pt idx="83932">4</cx:pt>
          <cx:pt idx="83933">2</cx:pt>
          <cx:pt idx="83934">2</cx:pt>
          <cx:pt idx="83935">3</cx:pt>
          <cx:pt idx="83936">2</cx:pt>
          <cx:pt idx="83937">3</cx:pt>
          <cx:pt idx="83938">5</cx:pt>
          <cx:pt idx="83939">3</cx:pt>
          <cx:pt idx="83940">1</cx:pt>
          <cx:pt idx="83941">4</cx:pt>
          <cx:pt idx="83942">1</cx:pt>
          <cx:pt idx="83943">2</cx:pt>
          <cx:pt idx="83944">0</cx:pt>
          <cx:pt idx="83945">3</cx:pt>
          <cx:pt idx="83946">1</cx:pt>
          <cx:pt idx="83947">2</cx:pt>
          <cx:pt idx="83948">2</cx:pt>
          <cx:pt idx="83949">2</cx:pt>
          <cx:pt idx="83950">2</cx:pt>
          <cx:pt idx="83951">3</cx:pt>
          <cx:pt idx="83952">2</cx:pt>
          <cx:pt idx="83953">4</cx:pt>
          <cx:pt idx="83954">4</cx:pt>
          <cx:pt idx="83955">5</cx:pt>
          <cx:pt idx="83956">1</cx:pt>
          <cx:pt idx="83957">4</cx:pt>
          <cx:pt idx="83958">1</cx:pt>
          <cx:pt idx="83959">3</cx:pt>
          <cx:pt idx="83960">2</cx:pt>
          <cx:pt idx="83961">3</cx:pt>
          <cx:pt idx="83962">4</cx:pt>
          <cx:pt idx="83963">4</cx:pt>
          <cx:pt idx="83964">2</cx:pt>
          <cx:pt idx="83965">4</cx:pt>
          <cx:pt idx="83966">3</cx:pt>
          <cx:pt idx="83967">2</cx:pt>
          <cx:pt idx="83968">2</cx:pt>
          <cx:pt idx="83969">1</cx:pt>
          <cx:pt idx="83970">3</cx:pt>
          <cx:pt idx="83971">4</cx:pt>
          <cx:pt idx="83972">2</cx:pt>
          <cx:pt idx="83973">0</cx:pt>
          <cx:pt idx="83974">2</cx:pt>
          <cx:pt idx="83975">4</cx:pt>
          <cx:pt idx="83976">1</cx:pt>
          <cx:pt idx="83977">3</cx:pt>
          <cx:pt idx="83978">3</cx:pt>
          <cx:pt idx="83979">2</cx:pt>
          <cx:pt idx="83980">5</cx:pt>
          <cx:pt idx="83981">4</cx:pt>
          <cx:pt idx="83982">3</cx:pt>
          <cx:pt idx="83983">1</cx:pt>
          <cx:pt idx="83984">2</cx:pt>
          <cx:pt idx="83985">2</cx:pt>
          <cx:pt idx="83986">4</cx:pt>
          <cx:pt idx="83987">1</cx:pt>
          <cx:pt idx="83988">2</cx:pt>
          <cx:pt idx="83989">2</cx:pt>
          <cx:pt idx="83990">4</cx:pt>
          <cx:pt idx="83991">1</cx:pt>
          <cx:pt idx="83992">1</cx:pt>
          <cx:pt idx="83993">2</cx:pt>
          <cx:pt idx="83994">2</cx:pt>
          <cx:pt idx="83995">1</cx:pt>
          <cx:pt idx="83996">2</cx:pt>
          <cx:pt idx="83997">3</cx:pt>
          <cx:pt idx="83998">5</cx:pt>
          <cx:pt idx="83999">2</cx:pt>
          <cx:pt idx="84000">3</cx:pt>
          <cx:pt idx="84001">3</cx:pt>
          <cx:pt idx="84002">5</cx:pt>
          <cx:pt idx="84003">2</cx:pt>
          <cx:pt idx="84004">2</cx:pt>
          <cx:pt idx="84005">3</cx:pt>
          <cx:pt idx="84006">4</cx:pt>
          <cx:pt idx="84007">3</cx:pt>
          <cx:pt idx="84008">1</cx:pt>
          <cx:pt idx="84009">5</cx:pt>
          <cx:pt idx="84010">2</cx:pt>
          <cx:pt idx="84011">2</cx:pt>
          <cx:pt idx="84012">2</cx:pt>
          <cx:pt idx="84013">3</cx:pt>
          <cx:pt idx="84014">1</cx:pt>
          <cx:pt idx="84015">2</cx:pt>
          <cx:pt idx="84016">5</cx:pt>
          <cx:pt idx="84017">2</cx:pt>
          <cx:pt idx="84018">2</cx:pt>
          <cx:pt idx="84019">3</cx:pt>
          <cx:pt idx="84020">2</cx:pt>
          <cx:pt idx="84021">2</cx:pt>
          <cx:pt idx="84022">2</cx:pt>
          <cx:pt idx="84023">1</cx:pt>
          <cx:pt idx="84024">4</cx:pt>
          <cx:pt idx="84025">4</cx:pt>
          <cx:pt idx="84026">4</cx:pt>
          <cx:pt idx="84027">3</cx:pt>
          <cx:pt idx="84028">3</cx:pt>
          <cx:pt idx="84029">3</cx:pt>
          <cx:pt idx="84030">1</cx:pt>
          <cx:pt idx="84031">1</cx:pt>
          <cx:pt idx="84032">3</cx:pt>
          <cx:pt idx="84033">3</cx:pt>
          <cx:pt idx="84034">4</cx:pt>
          <cx:pt idx="84035">3</cx:pt>
          <cx:pt idx="84036">5</cx:pt>
          <cx:pt idx="84037">1</cx:pt>
          <cx:pt idx="84038">1</cx:pt>
          <cx:pt idx="84039">5</cx:pt>
          <cx:pt idx="84040">2</cx:pt>
          <cx:pt idx="84041">3</cx:pt>
          <cx:pt idx="84042">2</cx:pt>
          <cx:pt idx="84043">3</cx:pt>
          <cx:pt idx="84044">4</cx:pt>
          <cx:pt idx="84045">2</cx:pt>
          <cx:pt idx="84046">4</cx:pt>
          <cx:pt idx="84047">5</cx:pt>
          <cx:pt idx="84048">2</cx:pt>
          <cx:pt idx="84049">2</cx:pt>
          <cx:pt idx="84050">0</cx:pt>
          <cx:pt idx="84051">2</cx:pt>
          <cx:pt idx="84052">5</cx:pt>
          <cx:pt idx="84053">2</cx:pt>
          <cx:pt idx="84054">2</cx:pt>
          <cx:pt idx="84055">3</cx:pt>
          <cx:pt idx="84056">4</cx:pt>
          <cx:pt idx="84057">2</cx:pt>
          <cx:pt idx="84058">3</cx:pt>
          <cx:pt idx="84059">3</cx:pt>
          <cx:pt idx="84060">1</cx:pt>
          <cx:pt idx="84061">4</cx:pt>
          <cx:pt idx="84062">2</cx:pt>
          <cx:pt idx="84063">2</cx:pt>
          <cx:pt idx="84064">5</cx:pt>
          <cx:pt idx="84065">5</cx:pt>
          <cx:pt idx="84066">2</cx:pt>
          <cx:pt idx="84067">4</cx:pt>
          <cx:pt idx="84068">3</cx:pt>
          <cx:pt idx="84069">1</cx:pt>
          <cx:pt idx="84070">3</cx:pt>
          <cx:pt idx="84071">3</cx:pt>
          <cx:pt idx="84072">5</cx:pt>
          <cx:pt idx="84073">3</cx:pt>
          <cx:pt idx="84074">3</cx:pt>
          <cx:pt idx="84075">0</cx:pt>
          <cx:pt idx="84076">1</cx:pt>
          <cx:pt idx="84077">2</cx:pt>
          <cx:pt idx="84078">5</cx:pt>
          <cx:pt idx="84079">3</cx:pt>
          <cx:pt idx="84080">4</cx:pt>
          <cx:pt idx="84081">4</cx:pt>
          <cx:pt idx="84082">4</cx:pt>
          <cx:pt idx="84083">1</cx:pt>
          <cx:pt idx="84084">4</cx:pt>
          <cx:pt idx="84085">5</cx:pt>
          <cx:pt idx="84086">2</cx:pt>
          <cx:pt idx="84087">1</cx:pt>
          <cx:pt idx="84088">1</cx:pt>
          <cx:pt idx="84089">2</cx:pt>
          <cx:pt idx="84090">5</cx:pt>
          <cx:pt idx="84091">2</cx:pt>
          <cx:pt idx="84092">1</cx:pt>
          <cx:pt idx="84093">3</cx:pt>
          <cx:pt idx="84094">4</cx:pt>
          <cx:pt idx="84095">1</cx:pt>
          <cx:pt idx="84096">3</cx:pt>
          <cx:pt idx="84097">2</cx:pt>
          <cx:pt idx="84098">5</cx:pt>
          <cx:pt idx="84099">5</cx:pt>
          <cx:pt idx="84100">5</cx:pt>
          <cx:pt idx="84101">2</cx:pt>
          <cx:pt idx="84102">2</cx:pt>
          <cx:pt idx="84103">2</cx:pt>
          <cx:pt idx="84104">1</cx:pt>
          <cx:pt idx="84105">2</cx:pt>
          <cx:pt idx="84106">1</cx:pt>
          <cx:pt idx="84107">1</cx:pt>
          <cx:pt idx="84108">1</cx:pt>
          <cx:pt idx="84109">3</cx:pt>
          <cx:pt idx="84110">1</cx:pt>
          <cx:pt idx="84111">2</cx:pt>
          <cx:pt idx="84112">3</cx:pt>
          <cx:pt idx="84113">4</cx:pt>
          <cx:pt idx="84114">4</cx:pt>
          <cx:pt idx="84115">3</cx:pt>
          <cx:pt idx="84116">5</cx:pt>
          <cx:pt idx="84117">1</cx:pt>
          <cx:pt idx="84118">2</cx:pt>
          <cx:pt idx="84119">1</cx:pt>
          <cx:pt idx="84120">4</cx:pt>
          <cx:pt idx="84121">2</cx:pt>
          <cx:pt idx="84122">0</cx:pt>
          <cx:pt idx="84123">3</cx:pt>
          <cx:pt idx="84124">3</cx:pt>
          <cx:pt idx="84125">3</cx:pt>
          <cx:pt idx="84126">3</cx:pt>
          <cx:pt idx="84127">4</cx:pt>
          <cx:pt idx="84128">3</cx:pt>
          <cx:pt idx="84129">2</cx:pt>
          <cx:pt idx="84130">3</cx:pt>
          <cx:pt idx="84131">3</cx:pt>
          <cx:pt idx="84132">4</cx:pt>
          <cx:pt idx="84133">5</cx:pt>
          <cx:pt idx="84134">3</cx:pt>
          <cx:pt idx="84135">1</cx:pt>
          <cx:pt idx="84136">0</cx:pt>
          <cx:pt idx="84137">2</cx:pt>
          <cx:pt idx="84138">2</cx:pt>
          <cx:pt idx="84139">4</cx:pt>
          <cx:pt idx="84140">1</cx:pt>
          <cx:pt idx="84141">4</cx:pt>
          <cx:pt idx="84142">1</cx:pt>
          <cx:pt idx="84143">3</cx:pt>
          <cx:pt idx="84144">2</cx:pt>
          <cx:pt idx="84145">4</cx:pt>
          <cx:pt idx="84146">2</cx:pt>
          <cx:pt idx="84147">3</cx:pt>
          <cx:pt idx="84148">3</cx:pt>
          <cx:pt idx="84149">1</cx:pt>
          <cx:pt idx="84150">0</cx:pt>
          <cx:pt idx="84151">3</cx:pt>
          <cx:pt idx="84152">1</cx:pt>
          <cx:pt idx="84153">4</cx:pt>
          <cx:pt idx="84154">3</cx:pt>
          <cx:pt idx="84155">1</cx:pt>
          <cx:pt idx="84156">3</cx:pt>
          <cx:pt idx="84157">2</cx:pt>
          <cx:pt idx="84158">3</cx:pt>
          <cx:pt idx="84159">5</cx:pt>
          <cx:pt idx="84160">2</cx:pt>
          <cx:pt idx="84161">0</cx:pt>
          <cx:pt idx="84162">3</cx:pt>
          <cx:pt idx="84163">5</cx:pt>
          <cx:pt idx="84164">4</cx:pt>
          <cx:pt idx="84165">5</cx:pt>
          <cx:pt idx="84166">5</cx:pt>
          <cx:pt idx="84167">5</cx:pt>
          <cx:pt idx="84168">2</cx:pt>
          <cx:pt idx="84169">2</cx:pt>
          <cx:pt idx="84170">0</cx:pt>
          <cx:pt idx="84171">3</cx:pt>
          <cx:pt idx="84172">2</cx:pt>
          <cx:pt idx="84173">0</cx:pt>
          <cx:pt idx="84174">5</cx:pt>
          <cx:pt idx="84175">3</cx:pt>
          <cx:pt idx="84176">3</cx:pt>
          <cx:pt idx="84177">3</cx:pt>
          <cx:pt idx="84178">4</cx:pt>
          <cx:pt idx="84179">4</cx:pt>
          <cx:pt idx="84180">3</cx:pt>
          <cx:pt idx="84181">3</cx:pt>
          <cx:pt idx="84182">2</cx:pt>
          <cx:pt idx="84183">2</cx:pt>
          <cx:pt idx="84184">3</cx:pt>
          <cx:pt idx="84185">1</cx:pt>
          <cx:pt idx="84186">5</cx:pt>
          <cx:pt idx="84187">1</cx:pt>
          <cx:pt idx="84188">4</cx:pt>
          <cx:pt idx="84189">1</cx:pt>
          <cx:pt idx="84190">3</cx:pt>
          <cx:pt idx="84191">4</cx:pt>
          <cx:pt idx="84192">5</cx:pt>
          <cx:pt idx="84193">0</cx:pt>
          <cx:pt idx="84194">5</cx:pt>
          <cx:pt idx="84195">2</cx:pt>
          <cx:pt idx="84196">0</cx:pt>
          <cx:pt idx="84197">1</cx:pt>
          <cx:pt idx="84198">2</cx:pt>
          <cx:pt idx="84199">5</cx:pt>
          <cx:pt idx="84200">3</cx:pt>
          <cx:pt idx="84201">2</cx:pt>
          <cx:pt idx="84202">2</cx:pt>
          <cx:pt idx="84203">3</cx:pt>
          <cx:pt idx="84204">3</cx:pt>
          <cx:pt idx="84205">1</cx:pt>
          <cx:pt idx="84206">4</cx:pt>
          <cx:pt idx="84207">3</cx:pt>
          <cx:pt idx="84208">4</cx:pt>
          <cx:pt idx="84209">4</cx:pt>
          <cx:pt idx="84210">2</cx:pt>
          <cx:pt idx="84211">4</cx:pt>
          <cx:pt idx="84212">2</cx:pt>
          <cx:pt idx="84213">1</cx:pt>
          <cx:pt idx="84214">3</cx:pt>
          <cx:pt idx="84215">3</cx:pt>
          <cx:pt idx="84216">4</cx:pt>
          <cx:pt idx="84217">2</cx:pt>
          <cx:pt idx="84218">2</cx:pt>
          <cx:pt idx="84219">3</cx:pt>
          <cx:pt idx="84220">5</cx:pt>
          <cx:pt idx="84221">4</cx:pt>
          <cx:pt idx="84222">4</cx:pt>
          <cx:pt idx="84223">3</cx:pt>
          <cx:pt idx="84224">3</cx:pt>
          <cx:pt idx="84225">5</cx:pt>
          <cx:pt idx="84226">2</cx:pt>
          <cx:pt idx="84227">2</cx:pt>
          <cx:pt idx="84228">2</cx:pt>
          <cx:pt idx="84229">2</cx:pt>
          <cx:pt idx="84230">1</cx:pt>
          <cx:pt idx="84231">3</cx:pt>
          <cx:pt idx="84232">4</cx:pt>
          <cx:pt idx="84233">4</cx:pt>
          <cx:pt idx="84234">5</cx:pt>
          <cx:pt idx="84235">3</cx:pt>
          <cx:pt idx="84236">3</cx:pt>
          <cx:pt idx="84237">3</cx:pt>
          <cx:pt idx="84238">4</cx:pt>
          <cx:pt idx="84239">0</cx:pt>
          <cx:pt idx="84240">4</cx:pt>
          <cx:pt idx="84241">2</cx:pt>
          <cx:pt idx="84242">3</cx:pt>
          <cx:pt idx="84243">2</cx:pt>
          <cx:pt idx="84244">3</cx:pt>
          <cx:pt idx="84245">5</cx:pt>
          <cx:pt idx="84246">1</cx:pt>
          <cx:pt idx="84247">2</cx:pt>
          <cx:pt idx="84248">3</cx:pt>
          <cx:pt idx="84249">1</cx:pt>
          <cx:pt idx="84250">2</cx:pt>
          <cx:pt idx="84251">4</cx:pt>
          <cx:pt idx="84252">2</cx:pt>
          <cx:pt idx="84253">5</cx:pt>
          <cx:pt idx="84254">3</cx:pt>
          <cx:pt idx="84255">5</cx:pt>
          <cx:pt idx="84256">5</cx:pt>
          <cx:pt idx="84257">2</cx:pt>
          <cx:pt idx="84258">0</cx:pt>
          <cx:pt idx="84259">3</cx:pt>
          <cx:pt idx="84260">1</cx:pt>
          <cx:pt idx="84261">2</cx:pt>
          <cx:pt idx="84262">3</cx:pt>
          <cx:pt idx="84263">5</cx:pt>
          <cx:pt idx="84264">2</cx:pt>
          <cx:pt idx="84265">2</cx:pt>
          <cx:pt idx="84266">0</cx:pt>
          <cx:pt idx="84267">5</cx:pt>
          <cx:pt idx="84268">2</cx:pt>
          <cx:pt idx="84269">3</cx:pt>
          <cx:pt idx="84270">2</cx:pt>
          <cx:pt idx="84271">4</cx:pt>
          <cx:pt idx="84272">5</cx:pt>
          <cx:pt idx="84273">4</cx:pt>
          <cx:pt idx="84274">5</cx:pt>
          <cx:pt idx="84275">3</cx:pt>
          <cx:pt idx="84276">1</cx:pt>
          <cx:pt idx="84277">3</cx:pt>
          <cx:pt idx="84278">3</cx:pt>
          <cx:pt idx="84279">1</cx:pt>
          <cx:pt idx="84280">4</cx:pt>
          <cx:pt idx="84281">0</cx:pt>
          <cx:pt idx="84282">3</cx:pt>
          <cx:pt idx="84283">2</cx:pt>
          <cx:pt idx="84284">4</cx:pt>
          <cx:pt idx="84285">2</cx:pt>
          <cx:pt idx="84286">2</cx:pt>
          <cx:pt idx="84287">3</cx:pt>
          <cx:pt idx="84288">1</cx:pt>
          <cx:pt idx="84289">5</cx:pt>
          <cx:pt idx="84290">3</cx:pt>
          <cx:pt idx="84291">4</cx:pt>
          <cx:pt idx="84292">0</cx:pt>
          <cx:pt idx="84293">2</cx:pt>
          <cx:pt idx="84294">5</cx:pt>
          <cx:pt idx="84295">2</cx:pt>
          <cx:pt idx="84296">3</cx:pt>
          <cx:pt idx="84297">2</cx:pt>
          <cx:pt idx="84298">4</cx:pt>
          <cx:pt idx="84299">1</cx:pt>
          <cx:pt idx="84300">5</cx:pt>
          <cx:pt idx="84301">4</cx:pt>
          <cx:pt idx="84302">2</cx:pt>
          <cx:pt idx="84303">4</cx:pt>
          <cx:pt idx="84304">2</cx:pt>
          <cx:pt idx="84305">0</cx:pt>
          <cx:pt idx="84306">3</cx:pt>
          <cx:pt idx="84307">0</cx:pt>
          <cx:pt idx="84308">2</cx:pt>
          <cx:pt idx="84309">3</cx:pt>
          <cx:pt idx="84310">4</cx:pt>
          <cx:pt idx="84311">3</cx:pt>
          <cx:pt idx="84312">2</cx:pt>
          <cx:pt idx="84313">3</cx:pt>
          <cx:pt idx="84314">5</cx:pt>
          <cx:pt idx="84315">4</cx:pt>
          <cx:pt idx="84316">5</cx:pt>
          <cx:pt idx="84317">3</cx:pt>
          <cx:pt idx="84318">3</cx:pt>
          <cx:pt idx="84319">2</cx:pt>
          <cx:pt idx="84320">4</cx:pt>
          <cx:pt idx="84321">1</cx:pt>
          <cx:pt idx="84322">5</cx:pt>
          <cx:pt idx="84323">3</cx:pt>
          <cx:pt idx="84324">3</cx:pt>
          <cx:pt idx="84325">1</cx:pt>
          <cx:pt idx="84326">3</cx:pt>
          <cx:pt idx="84327">5</cx:pt>
          <cx:pt idx="84328">5</cx:pt>
          <cx:pt idx="84329">5</cx:pt>
          <cx:pt idx="84330">2</cx:pt>
          <cx:pt idx="84331">1</cx:pt>
          <cx:pt idx="84332">1</cx:pt>
          <cx:pt idx="84333">1</cx:pt>
          <cx:pt idx="84334">1</cx:pt>
          <cx:pt idx="84335">2</cx:pt>
          <cx:pt idx="84336">3</cx:pt>
          <cx:pt idx="84337">1</cx:pt>
          <cx:pt idx="84338">5</cx:pt>
          <cx:pt idx="84339">2</cx:pt>
          <cx:pt idx="84340">4</cx:pt>
          <cx:pt idx="84341">1</cx:pt>
          <cx:pt idx="84342">1</cx:pt>
          <cx:pt idx="84343">1</cx:pt>
          <cx:pt idx="84344">2</cx:pt>
          <cx:pt idx="84345">4</cx:pt>
          <cx:pt idx="84346">5</cx:pt>
          <cx:pt idx="84347">5</cx:pt>
          <cx:pt idx="84348">4</cx:pt>
          <cx:pt idx="84349">5</cx:pt>
          <cx:pt idx="84350">2</cx:pt>
          <cx:pt idx="84351">1</cx:pt>
          <cx:pt idx="84352">5</cx:pt>
          <cx:pt idx="84353">1</cx:pt>
          <cx:pt idx="84354">1</cx:pt>
          <cx:pt idx="84355">4</cx:pt>
          <cx:pt idx="84356">2</cx:pt>
          <cx:pt idx="84357">3</cx:pt>
          <cx:pt idx="84358">3</cx:pt>
          <cx:pt idx="84359">1</cx:pt>
          <cx:pt idx="84360">3</cx:pt>
          <cx:pt idx="84361">3</cx:pt>
          <cx:pt idx="84362">3</cx:pt>
          <cx:pt idx="84363">3</cx:pt>
          <cx:pt idx="84364">1</cx:pt>
          <cx:pt idx="84365">2</cx:pt>
          <cx:pt idx="84366">2</cx:pt>
          <cx:pt idx="84367">3</cx:pt>
          <cx:pt idx="84368">1</cx:pt>
          <cx:pt idx="84369">4</cx:pt>
          <cx:pt idx="84370">4</cx:pt>
          <cx:pt idx="84371">4</cx:pt>
          <cx:pt idx="84372">2</cx:pt>
          <cx:pt idx="84373">4</cx:pt>
          <cx:pt idx="84374">2</cx:pt>
          <cx:pt idx="84375">4</cx:pt>
          <cx:pt idx="84376">1</cx:pt>
          <cx:pt idx="84377">4</cx:pt>
          <cx:pt idx="84378">1</cx:pt>
          <cx:pt idx="84379">2</cx:pt>
          <cx:pt idx="84380">4</cx:pt>
          <cx:pt idx="84381">1</cx:pt>
          <cx:pt idx="84382">0</cx:pt>
          <cx:pt idx="84383">2</cx:pt>
          <cx:pt idx="84384">4</cx:pt>
          <cx:pt idx="84385">2</cx:pt>
          <cx:pt idx="84386">3</cx:pt>
          <cx:pt idx="84387">3</cx:pt>
          <cx:pt idx="84388">2</cx:pt>
          <cx:pt idx="84389">2</cx:pt>
          <cx:pt idx="84390">4</cx:pt>
          <cx:pt idx="84391">4</cx:pt>
          <cx:pt idx="84392">4</cx:pt>
          <cx:pt idx="84393">2</cx:pt>
          <cx:pt idx="84394">1</cx:pt>
          <cx:pt idx="84395">1</cx:pt>
          <cx:pt idx="84396">3</cx:pt>
          <cx:pt idx="84397">2</cx:pt>
          <cx:pt idx="84398">0</cx:pt>
          <cx:pt idx="84399">1</cx:pt>
          <cx:pt idx="84400">4</cx:pt>
          <cx:pt idx="84401">2</cx:pt>
          <cx:pt idx="84402">5</cx:pt>
          <cx:pt idx="84403">4</cx:pt>
          <cx:pt idx="84404">2</cx:pt>
          <cx:pt idx="84405">1</cx:pt>
          <cx:pt idx="84406">2</cx:pt>
          <cx:pt idx="84407">0</cx:pt>
          <cx:pt idx="84408">4</cx:pt>
          <cx:pt idx="84409">2</cx:pt>
          <cx:pt idx="84410">3</cx:pt>
          <cx:pt idx="84411">4</cx:pt>
          <cx:pt idx="84412">1</cx:pt>
          <cx:pt idx="84413">5</cx:pt>
          <cx:pt idx="84414">5</cx:pt>
          <cx:pt idx="84415">5</cx:pt>
          <cx:pt idx="84416">3</cx:pt>
          <cx:pt idx="84417">4</cx:pt>
          <cx:pt idx="84418">2</cx:pt>
          <cx:pt idx="84419">2</cx:pt>
          <cx:pt idx="84420">2</cx:pt>
          <cx:pt idx="84421">4</cx:pt>
          <cx:pt idx="84422">5</cx:pt>
          <cx:pt idx="84423">4</cx:pt>
          <cx:pt idx="84424">5</cx:pt>
          <cx:pt idx="84425">1</cx:pt>
          <cx:pt idx="84426">1</cx:pt>
          <cx:pt idx="84427">3</cx:pt>
          <cx:pt idx="84428">3</cx:pt>
          <cx:pt idx="84429">2</cx:pt>
          <cx:pt idx="84430">2</cx:pt>
          <cx:pt idx="84431">2</cx:pt>
          <cx:pt idx="84432">2</cx:pt>
          <cx:pt idx="84433">2</cx:pt>
          <cx:pt idx="84434">2</cx:pt>
          <cx:pt idx="84435">2</cx:pt>
          <cx:pt idx="84436">1</cx:pt>
          <cx:pt idx="84437">3</cx:pt>
          <cx:pt idx="84438">4</cx:pt>
          <cx:pt idx="84439">5</cx:pt>
          <cx:pt idx="84440">4</cx:pt>
          <cx:pt idx="84441">2</cx:pt>
          <cx:pt idx="84442">2</cx:pt>
          <cx:pt idx="84443">3</cx:pt>
          <cx:pt idx="84444">5</cx:pt>
          <cx:pt idx="84445">0</cx:pt>
          <cx:pt idx="84446">3</cx:pt>
          <cx:pt idx="84447">2</cx:pt>
          <cx:pt idx="84448">1</cx:pt>
          <cx:pt idx="84449">4</cx:pt>
          <cx:pt idx="84450">4</cx:pt>
          <cx:pt idx="84451">4</cx:pt>
          <cx:pt idx="84452">4</cx:pt>
          <cx:pt idx="84453">1</cx:pt>
          <cx:pt idx="84454">4</cx:pt>
          <cx:pt idx="84455">2</cx:pt>
          <cx:pt idx="84456">2</cx:pt>
          <cx:pt idx="84457">2</cx:pt>
          <cx:pt idx="84458">2</cx:pt>
          <cx:pt idx="84459">1</cx:pt>
          <cx:pt idx="84460">5</cx:pt>
          <cx:pt idx="84461">5</cx:pt>
          <cx:pt idx="84462">3</cx:pt>
          <cx:pt idx="84463">4</cx:pt>
          <cx:pt idx="84464">4</cx:pt>
          <cx:pt idx="84465">3</cx:pt>
          <cx:pt idx="84466">3</cx:pt>
          <cx:pt idx="84467">5</cx:pt>
          <cx:pt idx="84468">5</cx:pt>
          <cx:pt idx="84469">1</cx:pt>
          <cx:pt idx="84470">4</cx:pt>
          <cx:pt idx="84471">3</cx:pt>
          <cx:pt idx="84472">1</cx:pt>
          <cx:pt idx="84473">4</cx:pt>
          <cx:pt idx="84474">3</cx:pt>
          <cx:pt idx="84475">5</cx:pt>
          <cx:pt idx="84476">5</cx:pt>
          <cx:pt idx="84477">5</cx:pt>
          <cx:pt idx="84478">5</cx:pt>
          <cx:pt idx="84479">4</cx:pt>
          <cx:pt idx="84480">1</cx:pt>
          <cx:pt idx="84481">3</cx:pt>
          <cx:pt idx="84482">2</cx:pt>
          <cx:pt idx="84483">4</cx:pt>
          <cx:pt idx="84484">2</cx:pt>
          <cx:pt idx="84485">1</cx:pt>
          <cx:pt idx="84486">2</cx:pt>
          <cx:pt idx="84487">3</cx:pt>
          <cx:pt idx="84488">4</cx:pt>
          <cx:pt idx="84489">1</cx:pt>
          <cx:pt idx="84490">2</cx:pt>
          <cx:pt idx="84491">5</cx:pt>
          <cx:pt idx="84492">4</cx:pt>
          <cx:pt idx="84493">2</cx:pt>
          <cx:pt idx="84494">3</cx:pt>
          <cx:pt idx="84495">3</cx:pt>
          <cx:pt idx="84496">1</cx:pt>
          <cx:pt idx="84497">2</cx:pt>
          <cx:pt idx="84498">5</cx:pt>
          <cx:pt idx="84499">2</cx:pt>
          <cx:pt idx="84500">1</cx:pt>
          <cx:pt idx="84501">3</cx:pt>
          <cx:pt idx="84502">2</cx:pt>
          <cx:pt idx="84503">5</cx:pt>
          <cx:pt idx="84504">0</cx:pt>
          <cx:pt idx="84505">5</cx:pt>
          <cx:pt idx="84506">1</cx:pt>
          <cx:pt idx="84507">1</cx:pt>
          <cx:pt idx="84508">5</cx:pt>
          <cx:pt idx="84509">4</cx:pt>
          <cx:pt idx="84510">3</cx:pt>
          <cx:pt idx="84511">1</cx:pt>
          <cx:pt idx="84512">5</cx:pt>
          <cx:pt idx="84513">4</cx:pt>
          <cx:pt idx="84514">5</cx:pt>
          <cx:pt idx="84515">2</cx:pt>
          <cx:pt idx="84516">3</cx:pt>
          <cx:pt idx="84517">1</cx:pt>
          <cx:pt idx="84518">4</cx:pt>
          <cx:pt idx="84519">3</cx:pt>
          <cx:pt idx="84520">3</cx:pt>
          <cx:pt idx="84521">3</cx:pt>
          <cx:pt idx="84522">3</cx:pt>
          <cx:pt idx="84523">3</cx:pt>
          <cx:pt idx="84524">2</cx:pt>
          <cx:pt idx="84525">3</cx:pt>
          <cx:pt idx="84526">2</cx:pt>
          <cx:pt idx="84527">5</cx:pt>
          <cx:pt idx="84528">1</cx:pt>
          <cx:pt idx="84529">2</cx:pt>
          <cx:pt idx="84530">3</cx:pt>
          <cx:pt idx="84531">2</cx:pt>
          <cx:pt idx="84532">1</cx:pt>
          <cx:pt idx="84533">3</cx:pt>
          <cx:pt idx="84534">3</cx:pt>
          <cx:pt idx="84535">4</cx:pt>
          <cx:pt idx="84536">3</cx:pt>
          <cx:pt idx="84537">3</cx:pt>
          <cx:pt idx="84538">2</cx:pt>
          <cx:pt idx="84539">2</cx:pt>
          <cx:pt idx="84540">2</cx:pt>
          <cx:pt idx="84541">1</cx:pt>
          <cx:pt idx="84542">3</cx:pt>
          <cx:pt idx="84543">2</cx:pt>
          <cx:pt idx="84544">4</cx:pt>
          <cx:pt idx="84545">4</cx:pt>
          <cx:pt idx="84546">5</cx:pt>
          <cx:pt idx="84547">4</cx:pt>
          <cx:pt idx="84548">1</cx:pt>
          <cx:pt idx="84549">2</cx:pt>
          <cx:pt idx="84550">4</cx:pt>
          <cx:pt idx="84551">4</cx:pt>
          <cx:pt idx="84552">3</cx:pt>
          <cx:pt idx="84553">5</cx:pt>
          <cx:pt idx="84554">2</cx:pt>
          <cx:pt idx="84555">2</cx:pt>
          <cx:pt idx="84556">2</cx:pt>
          <cx:pt idx="84557">5</cx:pt>
          <cx:pt idx="84558">2</cx:pt>
          <cx:pt idx="84559">4</cx:pt>
          <cx:pt idx="84560">4</cx:pt>
          <cx:pt idx="84561">1</cx:pt>
          <cx:pt idx="84562">4</cx:pt>
          <cx:pt idx="84563">1</cx:pt>
          <cx:pt idx="84564">4</cx:pt>
          <cx:pt idx="84565">4</cx:pt>
          <cx:pt idx="84566">2</cx:pt>
          <cx:pt idx="84567">1</cx:pt>
          <cx:pt idx="84568">4</cx:pt>
          <cx:pt idx="84569">2</cx:pt>
          <cx:pt idx="84570">2</cx:pt>
          <cx:pt idx="84571">5</cx:pt>
          <cx:pt idx="84572">4</cx:pt>
          <cx:pt idx="84573">5</cx:pt>
          <cx:pt idx="84574">4</cx:pt>
          <cx:pt idx="84575">1</cx:pt>
          <cx:pt idx="84576">4</cx:pt>
          <cx:pt idx="84577">5</cx:pt>
          <cx:pt idx="84578">2</cx:pt>
          <cx:pt idx="84579">3</cx:pt>
          <cx:pt idx="84580">3</cx:pt>
          <cx:pt idx="84581">4</cx:pt>
          <cx:pt idx="84582">4</cx:pt>
          <cx:pt idx="84583">1</cx:pt>
          <cx:pt idx="84584">2</cx:pt>
          <cx:pt idx="84585">2</cx:pt>
          <cx:pt idx="84586">3</cx:pt>
          <cx:pt idx="84587">2</cx:pt>
          <cx:pt idx="84588">5</cx:pt>
          <cx:pt idx="84589">3</cx:pt>
          <cx:pt idx="84590">1</cx:pt>
          <cx:pt idx="84591">2</cx:pt>
          <cx:pt idx="84592">3</cx:pt>
          <cx:pt idx="84593">4</cx:pt>
          <cx:pt idx="84594">4</cx:pt>
          <cx:pt idx="84595">3</cx:pt>
          <cx:pt idx="84596">3</cx:pt>
          <cx:pt idx="84597">5</cx:pt>
          <cx:pt idx="84598">2</cx:pt>
          <cx:pt idx="84599">4</cx:pt>
          <cx:pt idx="84600">1</cx:pt>
          <cx:pt idx="84601">3</cx:pt>
          <cx:pt idx="84602">3</cx:pt>
          <cx:pt idx="84603">4</cx:pt>
          <cx:pt idx="84604">1</cx:pt>
          <cx:pt idx="84605">3</cx:pt>
          <cx:pt idx="84606">1</cx:pt>
          <cx:pt idx="84607">5</cx:pt>
          <cx:pt idx="84608">2</cx:pt>
          <cx:pt idx="84609">4</cx:pt>
          <cx:pt idx="84610">2</cx:pt>
          <cx:pt idx="84611">4</cx:pt>
          <cx:pt idx="84612">2</cx:pt>
          <cx:pt idx="84613">5</cx:pt>
          <cx:pt idx="84614">2</cx:pt>
          <cx:pt idx="84615">2</cx:pt>
          <cx:pt idx="84616">2</cx:pt>
          <cx:pt idx="84617">2</cx:pt>
          <cx:pt idx="84618">3</cx:pt>
          <cx:pt idx="84619">2</cx:pt>
          <cx:pt idx="84620">2</cx:pt>
          <cx:pt idx="84621">4</cx:pt>
          <cx:pt idx="84622">3</cx:pt>
          <cx:pt idx="84623">4</cx:pt>
          <cx:pt idx="84624">4</cx:pt>
          <cx:pt idx="84625">3</cx:pt>
          <cx:pt idx="84626">1</cx:pt>
          <cx:pt idx="84627">3</cx:pt>
          <cx:pt idx="84628">3</cx:pt>
          <cx:pt idx="84629">5</cx:pt>
          <cx:pt idx="84630">4</cx:pt>
          <cx:pt idx="84631">2</cx:pt>
          <cx:pt idx="84632">2</cx:pt>
          <cx:pt idx="84633">2</cx:pt>
          <cx:pt idx="84634">5</cx:pt>
          <cx:pt idx="84635">4</cx:pt>
          <cx:pt idx="84636">3</cx:pt>
          <cx:pt idx="84637">1</cx:pt>
          <cx:pt idx="84638">5</cx:pt>
          <cx:pt idx="84639">2</cx:pt>
          <cx:pt idx="84640">4</cx:pt>
          <cx:pt idx="84641">1</cx:pt>
          <cx:pt idx="84642">4</cx:pt>
          <cx:pt idx="84643">1</cx:pt>
          <cx:pt idx="84644">2</cx:pt>
          <cx:pt idx="84645">2</cx:pt>
          <cx:pt idx="84646">3</cx:pt>
          <cx:pt idx="84647">0</cx:pt>
          <cx:pt idx="84648">2</cx:pt>
          <cx:pt idx="84649">1</cx:pt>
          <cx:pt idx="84650">3</cx:pt>
          <cx:pt idx="84651">3</cx:pt>
          <cx:pt idx="84652">2</cx:pt>
          <cx:pt idx="84653">2</cx:pt>
          <cx:pt idx="84654">2</cx:pt>
          <cx:pt idx="84655">5</cx:pt>
          <cx:pt idx="84656">4</cx:pt>
          <cx:pt idx="84657">1</cx:pt>
          <cx:pt idx="84658">5</cx:pt>
          <cx:pt idx="84659">3</cx:pt>
          <cx:pt idx="84660">1</cx:pt>
          <cx:pt idx="84661">1</cx:pt>
          <cx:pt idx="84662">5</cx:pt>
          <cx:pt idx="84663">3</cx:pt>
          <cx:pt idx="84664">5</cx:pt>
          <cx:pt idx="84665">5</cx:pt>
          <cx:pt idx="84666">5</cx:pt>
          <cx:pt idx="84667">0</cx:pt>
          <cx:pt idx="84668">4</cx:pt>
          <cx:pt idx="84669">5</cx:pt>
          <cx:pt idx="84670">4</cx:pt>
          <cx:pt idx="84671">2</cx:pt>
          <cx:pt idx="84672">2</cx:pt>
          <cx:pt idx="84673">5</cx:pt>
          <cx:pt idx="84674">2</cx:pt>
          <cx:pt idx="84675">3</cx:pt>
          <cx:pt idx="84676">2</cx:pt>
          <cx:pt idx="84677">3</cx:pt>
          <cx:pt idx="84678">1</cx:pt>
          <cx:pt idx="84679">2</cx:pt>
          <cx:pt idx="84680">1</cx:pt>
          <cx:pt idx="84681">3</cx:pt>
          <cx:pt idx="84682">4</cx:pt>
          <cx:pt idx="84683">3</cx:pt>
          <cx:pt idx="84684">2</cx:pt>
          <cx:pt idx="84685">3</cx:pt>
          <cx:pt idx="84686">1</cx:pt>
          <cx:pt idx="84687">3</cx:pt>
          <cx:pt idx="84688">1</cx:pt>
          <cx:pt idx="84689">0</cx:pt>
          <cx:pt idx="84690">4</cx:pt>
          <cx:pt idx="84691">3</cx:pt>
          <cx:pt idx="84692">2</cx:pt>
          <cx:pt idx="84693">5</cx:pt>
          <cx:pt idx="84694">2</cx:pt>
          <cx:pt idx="84695">5</cx:pt>
          <cx:pt idx="84696">4</cx:pt>
          <cx:pt idx="84697">3</cx:pt>
          <cx:pt idx="84698">3</cx:pt>
          <cx:pt idx="84699">5</cx:pt>
          <cx:pt idx="84700">3</cx:pt>
          <cx:pt idx="84701">1</cx:pt>
          <cx:pt idx="84702">5</cx:pt>
          <cx:pt idx="84703">2</cx:pt>
          <cx:pt idx="84704">1</cx:pt>
          <cx:pt idx="84705">4</cx:pt>
          <cx:pt idx="84706">2</cx:pt>
          <cx:pt idx="84707">3</cx:pt>
          <cx:pt idx="84708">3</cx:pt>
          <cx:pt idx="84709">4</cx:pt>
          <cx:pt idx="84710">2</cx:pt>
          <cx:pt idx="84711">1</cx:pt>
          <cx:pt idx="84712">2</cx:pt>
          <cx:pt idx="84713">2</cx:pt>
          <cx:pt idx="84714">4</cx:pt>
          <cx:pt idx="84715">4</cx:pt>
          <cx:pt idx="84716">4</cx:pt>
          <cx:pt idx="84717">4</cx:pt>
          <cx:pt idx="84718">3</cx:pt>
          <cx:pt idx="84719">3</cx:pt>
          <cx:pt idx="84720">3</cx:pt>
          <cx:pt idx="84721">3</cx:pt>
          <cx:pt idx="84722">2</cx:pt>
          <cx:pt idx="84723">4</cx:pt>
          <cx:pt idx="84724">3</cx:pt>
          <cx:pt idx="84725">3</cx:pt>
          <cx:pt idx="84726">2</cx:pt>
          <cx:pt idx="84727">3</cx:pt>
          <cx:pt idx="84728">5</cx:pt>
          <cx:pt idx="84729">3</cx:pt>
          <cx:pt idx="84730">0</cx:pt>
          <cx:pt idx="84731">4</cx:pt>
          <cx:pt idx="84732">2</cx:pt>
          <cx:pt idx="84733">3</cx:pt>
          <cx:pt idx="84734">3</cx:pt>
          <cx:pt idx="84735">3</cx:pt>
          <cx:pt idx="84736">4</cx:pt>
          <cx:pt idx="84737">2</cx:pt>
          <cx:pt idx="84738">0</cx:pt>
          <cx:pt idx="84739">2</cx:pt>
          <cx:pt idx="84740">4</cx:pt>
          <cx:pt idx="84741">2</cx:pt>
          <cx:pt idx="84742">2</cx:pt>
          <cx:pt idx="84743">1</cx:pt>
          <cx:pt idx="84744">1</cx:pt>
          <cx:pt idx="84745">2</cx:pt>
          <cx:pt idx="84746">1</cx:pt>
          <cx:pt idx="84747">5</cx:pt>
          <cx:pt idx="84748">3</cx:pt>
          <cx:pt idx="84749">4</cx:pt>
          <cx:pt idx="84750">2</cx:pt>
          <cx:pt idx="84751">2</cx:pt>
          <cx:pt idx="84752">3</cx:pt>
          <cx:pt idx="84753">0</cx:pt>
          <cx:pt idx="84754">3</cx:pt>
          <cx:pt idx="84755">4</cx:pt>
          <cx:pt idx="84756">4</cx:pt>
          <cx:pt idx="84757">4</cx:pt>
          <cx:pt idx="84758">3</cx:pt>
          <cx:pt idx="84759">5</cx:pt>
          <cx:pt idx="84760">5</cx:pt>
          <cx:pt idx="84761">4</cx:pt>
          <cx:pt idx="84762">5</cx:pt>
          <cx:pt idx="84763">3</cx:pt>
          <cx:pt idx="84764">5</cx:pt>
          <cx:pt idx="84765">1</cx:pt>
          <cx:pt idx="84766">3</cx:pt>
          <cx:pt idx="84767">4</cx:pt>
          <cx:pt idx="84768">3</cx:pt>
          <cx:pt idx="84769">0</cx:pt>
          <cx:pt idx="84770">2</cx:pt>
          <cx:pt idx="84771">4</cx:pt>
          <cx:pt idx="84772">2</cx:pt>
          <cx:pt idx="84773">1</cx:pt>
          <cx:pt idx="84774">1</cx:pt>
          <cx:pt idx="84775">0</cx:pt>
          <cx:pt idx="84776">5</cx:pt>
          <cx:pt idx="84777">3</cx:pt>
          <cx:pt idx="84778">3</cx:pt>
          <cx:pt idx="84779">1</cx:pt>
          <cx:pt idx="84780">4</cx:pt>
          <cx:pt idx="84781">3</cx:pt>
          <cx:pt idx="84782">5</cx:pt>
          <cx:pt idx="84783">5</cx:pt>
          <cx:pt idx="84784">1</cx:pt>
          <cx:pt idx="84785">4</cx:pt>
          <cx:pt idx="84786">2</cx:pt>
          <cx:pt idx="84787">3</cx:pt>
          <cx:pt idx="84788">2</cx:pt>
          <cx:pt idx="84789">1</cx:pt>
          <cx:pt idx="84790">3</cx:pt>
          <cx:pt idx="84791">3</cx:pt>
          <cx:pt idx="84792">3</cx:pt>
          <cx:pt idx="84793">4</cx:pt>
          <cx:pt idx="84794">3</cx:pt>
          <cx:pt idx="84795">4</cx:pt>
          <cx:pt idx="84796">0</cx:pt>
          <cx:pt idx="84797">3</cx:pt>
          <cx:pt idx="84798">3</cx:pt>
          <cx:pt idx="84799">3</cx:pt>
          <cx:pt idx="84800">4</cx:pt>
          <cx:pt idx="84801">3</cx:pt>
          <cx:pt idx="84802">3</cx:pt>
          <cx:pt idx="84803">2</cx:pt>
          <cx:pt idx="84804">3</cx:pt>
          <cx:pt idx="84805">4</cx:pt>
          <cx:pt idx="84806">4</cx:pt>
          <cx:pt idx="84807">2</cx:pt>
          <cx:pt idx="84808">2</cx:pt>
          <cx:pt idx="84809">3</cx:pt>
          <cx:pt idx="84810">3</cx:pt>
          <cx:pt idx="84811">3</cx:pt>
          <cx:pt idx="84812">2</cx:pt>
          <cx:pt idx="84813">1</cx:pt>
          <cx:pt idx="84814">3</cx:pt>
          <cx:pt idx="84815">3</cx:pt>
          <cx:pt idx="84816">1</cx:pt>
          <cx:pt idx="84817">4</cx:pt>
          <cx:pt idx="84818">1</cx:pt>
          <cx:pt idx="84819">3</cx:pt>
          <cx:pt idx="84820">2</cx:pt>
          <cx:pt idx="84821">4</cx:pt>
          <cx:pt idx="84822">4</cx:pt>
          <cx:pt idx="84823">4</cx:pt>
          <cx:pt idx="84824">4</cx:pt>
          <cx:pt idx="84825">0</cx:pt>
          <cx:pt idx="84826">4</cx:pt>
          <cx:pt idx="84827">1</cx:pt>
          <cx:pt idx="84828">3</cx:pt>
          <cx:pt idx="84829">4</cx:pt>
          <cx:pt idx="84830">4</cx:pt>
          <cx:pt idx="84831">4</cx:pt>
          <cx:pt idx="84832">5</cx:pt>
          <cx:pt idx="84833">1</cx:pt>
          <cx:pt idx="84834">3</cx:pt>
          <cx:pt idx="84835">3</cx:pt>
          <cx:pt idx="84836">5</cx:pt>
          <cx:pt idx="84837">2</cx:pt>
          <cx:pt idx="84838">0</cx:pt>
          <cx:pt idx="84839">4</cx:pt>
          <cx:pt idx="84840">3</cx:pt>
          <cx:pt idx="84841">0</cx:pt>
          <cx:pt idx="84842">4</cx:pt>
          <cx:pt idx="84843">1</cx:pt>
          <cx:pt idx="84844">3</cx:pt>
          <cx:pt idx="84845">2</cx:pt>
          <cx:pt idx="84846">3</cx:pt>
          <cx:pt idx="84847">3</cx:pt>
          <cx:pt idx="84848">5</cx:pt>
          <cx:pt idx="84849">3</cx:pt>
          <cx:pt idx="84850">2</cx:pt>
          <cx:pt idx="84851">2</cx:pt>
          <cx:pt idx="84852">0</cx:pt>
          <cx:pt idx="84853">3</cx:pt>
          <cx:pt idx="84854">3</cx:pt>
          <cx:pt idx="84855">2</cx:pt>
          <cx:pt idx="84856">0</cx:pt>
          <cx:pt idx="84857">2</cx:pt>
          <cx:pt idx="84858">2</cx:pt>
          <cx:pt idx="84859">3</cx:pt>
          <cx:pt idx="84860">1</cx:pt>
          <cx:pt idx="84861">1</cx:pt>
          <cx:pt idx="84862">4</cx:pt>
          <cx:pt idx="84863">5</cx:pt>
          <cx:pt idx="84864">1</cx:pt>
          <cx:pt idx="84865">5</cx:pt>
          <cx:pt idx="84866">4</cx:pt>
          <cx:pt idx="84867">3</cx:pt>
          <cx:pt idx="84868">1</cx:pt>
          <cx:pt idx="84869">5</cx:pt>
          <cx:pt idx="84870">2</cx:pt>
          <cx:pt idx="84871">3</cx:pt>
          <cx:pt idx="84872">0</cx:pt>
          <cx:pt idx="84873">1</cx:pt>
          <cx:pt idx="84874">2</cx:pt>
          <cx:pt idx="84875">0</cx:pt>
          <cx:pt idx="84876">0</cx:pt>
          <cx:pt idx="84877">2</cx:pt>
          <cx:pt idx="84878">2</cx:pt>
          <cx:pt idx="84879">3</cx:pt>
          <cx:pt idx="84880">1</cx:pt>
          <cx:pt idx="84881">3</cx:pt>
          <cx:pt idx="84882">4</cx:pt>
          <cx:pt idx="84883">4</cx:pt>
          <cx:pt idx="84884">3</cx:pt>
          <cx:pt idx="84885">1</cx:pt>
          <cx:pt idx="84886">4</cx:pt>
          <cx:pt idx="84887">3</cx:pt>
          <cx:pt idx="84888">2</cx:pt>
          <cx:pt idx="84889">5</cx:pt>
          <cx:pt idx="84890">3</cx:pt>
          <cx:pt idx="84891">2</cx:pt>
          <cx:pt idx="84892">1</cx:pt>
          <cx:pt idx="84893">3</cx:pt>
          <cx:pt idx="84894">0</cx:pt>
          <cx:pt idx="84895">3</cx:pt>
          <cx:pt idx="84896">3</cx:pt>
          <cx:pt idx="84897">2</cx:pt>
          <cx:pt idx="84898">5</cx:pt>
          <cx:pt idx="84899">4</cx:pt>
          <cx:pt idx="84900">4</cx:pt>
          <cx:pt idx="84901">4</cx:pt>
          <cx:pt idx="84902">1</cx:pt>
          <cx:pt idx="84903">1</cx:pt>
          <cx:pt idx="84904">3</cx:pt>
          <cx:pt idx="84905">1</cx:pt>
          <cx:pt idx="84906">3</cx:pt>
          <cx:pt idx="84907">3</cx:pt>
          <cx:pt idx="84908">3</cx:pt>
          <cx:pt idx="84909">4</cx:pt>
          <cx:pt idx="84910">3</cx:pt>
          <cx:pt idx="84911">2</cx:pt>
          <cx:pt idx="84912">3</cx:pt>
          <cx:pt idx="84913">3</cx:pt>
          <cx:pt idx="84914">3</cx:pt>
          <cx:pt idx="84915">3</cx:pt>
          <cx:pt idx="84916">2</cx:pt>
          <cx:pt idx="84917">3</cx:pt>
          <cx:pt idx="84918">3</cx:pt>
          <cx:pt idx="84919">4</cx:pt>
          <cx:pt idx="84920">1</cx:pt>
          <cx:pt idx="84921">2</cx:pt>
          <cx:pt idx="84922">3</cx:pt>
          <cx:pt idx="84923">2</cx:pt>
          <cx:pt idx="84924">3</cx:pt>
          <cx:pt idx="84925">4</cx:pt>
          <cx:pt idx="84926">3</cx:pt>
          <cx:pt idx="84927">5</cx:pt>
          <cx:pt idx="84928">2</cx:pt>
          <cx:pt idx="84929">3</cx:pt>
          <cx:pt idx="84930">4</cx:pt>
          <cx:pt idx="84931">2</cx:pt>
          <cx:pt idx="84932">3</cx:pt>
          <cx:pt idx="84933">3</cx:pt>
          <cx:pt idx="84934">0</cx:pt>
          <cx:pt idx="84935">1</cx:pt>
          <cx:pt idx="84936">3</cx:pt>
          <cx:pt idx="84937">3</cx:pt>
          <cx:pt idx="84938">3</cx:pt>
          <cx:pt idx="84939">3</cx:pt>
          <cx:pt idx="84940">4</cx:pt>
          <cx:pt idx="84941">3</cx:pt>
          <cx:pt idx="84942">2</cx:pt>
          <cx:pt idx="84943">3</cx:pt>
          <cx:pt idx="84944">2</cx:pt>
          <cx:pt idx="84945">1</cx:pt>
          <cx:pt idx="84946">0</cx:pt>
          <cx:pt idx="84947">5</cx:pt>
          <cx:pt idx="84948">2</cx:pt>
          <cx:pt idx="84949">5</cx:pt>
          <cx:pt idx="84950">5</cx:pt>
          <cx:pt idx="84951">3</cx:pt>
          <cx:pt idx="84952">3</cx:pt>
          <cx:pt idx="84953">5</cx:pt>
          <cx:pt idx="84954">5</cx:pt>
          <cx:pt idx="84955">2</cx:pt>
          <cx:pt idx="84956">3</cx:pt>
          <cx:pt idx="84957">2</cx:pt>
          <cx:pt idx="84958">1</cx:pt>
          <cx:pt idx="84959">1</cx:pt>
          <cx:pt idx="84960">1</cx:pt>
          <cx:pt idx="84961">2</cx:pt>
          <cx:pt idx="84962">4</cx:pt>
          <cx:pt idx="84963">1</cx:pt>
          <cx:pt idx="84964">2</cx:pt>
          <cx:pt idx="84965">4</cx:pt>
          <cx:pt idx="84966">3</cx:pt>
          <cx:pt idx="84967">1</cx:pt>
          <cx:pt idx="84968">0</cx:pt>
          <cx:pt idx="84969">3</cx:pt>
          <cx:pt idx="84970">5</cx:pt>
          <cx:pt idx="84971">3</cx:pt>
          <cx:pt idx="84972">1</cx:pt>
          <cx:pt idx="84973">0</cx:pt>
          <cx:pt idx="84974">2</cx:pt>
          <cx:pt idx="84975">1</cx:pt>
          <cx:pt idx="84976">4</cx:pt>
          <cx:pt idx="84977">5</cx:pt>
          <cx:pt idx="84978">3</cx:pt>
          <cx:pt idx="84979">0</cx:pt>
          <cx:pt idx="84980">5</cx:pt>
          <cx:pt idx="84981">4</cx:pt>
          <cx:pt idx="84982">5</cx:pt>
          <cx:pt idx="84983">0</cx:pt>
          <cx:pt idx="84984">5</cx:pt>
          <cx:pt idx="84985">2</cx:pt>
          <cx:pt idx="84986">5</cx:pt>
          <cx:pt idx="84987">3</cx:pt>
          <cx:pt idx="84988">4</cx:pt>
          <cx:pt idx="84989">1</cx:pt>
          <cx:pt idx="84990">4</cx:pt>
          <cx:pt idx="84991">2</cx:pt>
          <cx:pt idx="84992">2</cx:pt>
          <cx:pt idx="84993">5</cx:pt>
          <cx:pt idx="84994">1</cx:pt>
          <cx:pt idx="84995">3</cx:pt>
          <cx:pt idx="84996">3</cx:pt>
          <cx:pt idx="84997">2</cx:pt>
          <cx:pt idx="84998">4</cx:pt>
          <cx:pt idx="84999">4</cx:pt>
          <cx:pt idx="85000">5</cx:pt>
          <cx:pt idx="85001">1</cx:pt>
          <cx:pt idx="85002">2</cx:pt>
          <cx:pt idx="85003">2</cx:pt>
          <cx:pt idx="85004">3</cx:pt>
          <cx:pt idx="85005">1</cx:pt>
          <cx:pt idx="85006">4</cx:pt>
          <cx:pt idx="85007">0</cx:pt>
          <cx:pt idx="85008">5</cx:pt>
          <cx:pt idx="85009">1</cx:pt>
          <cx:pt idx="85010">2</cx:pt>
          <cx:pt idx="85011">5</cx:pt>
          <cx:pt idx="85012">3</cx:pt>
          <cx:pt idx="85013">3</cx:pt>
          <cx:pt idx="85014">2</cx:pt>
          <cx:pt idx="85015">4</cx:pt>
          <cx:pt idx="85016">3</cx:pt>
          <cx:pt idx="85017">0</cx:pt>
          <cx:pt idx="85018">4</cx:pt>
          <cx:pt idx="85019">3</cx:pt>
          <cx:pt idx="85020">4</cx:pt>
          <cx:pt idx="85021">5</cx:pt>
          <cx:pt idx="85022">1</cx:pt>
          <cx:pt idx="85023">1</cx:pt>
          <cx:pt idx="85024">5</cx:pt>
          <cx:pt idx="85025">5</cx:pt>
          <cx:pt idx="85026">2</cx:pt>
          <cx:pt idx="85027">1</cx:pt>
          <cx:pt idx="85028">2</cx:pt>
          <cx:pt idx="85029">2</cx:pt>
          <cx:pt idx="85030">1</cx:pt>
          <cx:pt idx="85031">4</cx:pt>
          <cx:pt idx="85032">2</cx:pt>
          <cx:pt idx="85033">3</cx:pt>
          <cx:pt idx="85034">2</cx:pt>
          <cx:pt idx="85035">5</cx:pt>
          <cx:pt idx="85036">3</cx:pt>
          <cx:pt idx="85037">4</cx:pt>
          <cx:pt idx="85038">2</cx:pt>
          <cx:pt idx="85039">0</cx:pt>
          <cx:pt idx="85040">4</cx:pt>
          <cx:pt idx="85041">3</cx:pt>
          <cx:pt idx="85042">0</cx:pt>
          <cx:pt idx="85043">1</cx:pt>
          <cx:pt idx="85044">2</cx:pt>
          <cx:pt idx="85045">4</cx:pt>
          <cx:pt idx="85046">2</cx:pt>
          <cx:pt idx="85047">5</cx:pt>
          <cx:pt idx="85048">2</cx:pt>
          <cx:pt idx="85049">4</cx:pt>
          <cx:pt idx="85050">2</cx:pt>
          <cx:pt idx="85051">3</cx:pt>
          <cx:pt idx="85052">4</cx:pt>
          <cx:pt idx="85053">1</cx:pt>
          <cx:pt idx="85054">0</cx:pt>
          <cx:pt idx="85055">5</cx:pt>
          <cx:pt idx="85056">4</cx:pt>
          <cx:pt idx="85057">5</cx:pt>
          <cx:pt idx="85058">2</cx:pt>
          <cx:pt idx="85059">5</cx:pt>
          <cx:pt idx="85060">2</cx:pt>
          <cx:pt idx="85061">2</cx:pt>
          <cx:pt idx="85062">2</cx:pt>
          <cx:pt idx="85063">3</cx:pt>
          <cx:pt idx="85064">0</cx:pt>
          <cx:pt idx="85065">1</cx:pt>
          <cx:pt idx="85066">2</cx:pt>
          <cx:pt idx="85067">3</cx:pt>
          <cx:pt idx="85068">5</cx:pt>
          <cx:pt idx="85069">3</cx:pt>
          <cx:pt idx="85070">0</cx:pt>
          <cx:pt idx="85071">4</cx:pt>
          <cx:pt idx="85072">2</cx:pt>
          <cx:pt idx="85073">4</cx:pt>
          <cx:pt idx="85074">4</cx:pt>
          <cx:pt idx="85075">4</cx:pt>
          <cx:pt idx="85076">2</cx:pt>
          <cx:pt idx="85077">5</cx:pt>
          <cx:pt idx="85078">4</cx:pt>
          <cx:pt idx="85079">2</cx:pt>
          <cx:pt idx="85080">2</cx:pt>
          <cx:pt idx="85081">2</cx:pt>
          <cx:pt idx="85082">0</cx:pt>
          <cx:pt idx="85083">3</cx:pt>
          <cx:pt idx="85084">0</cx:pt>
          <cx:pt idx="85085">3</cx:pt>
          <cx:pt idx="85086">1</cx:pt>
          <cx:pt idx="85087">1</cx:pt>
          <cx:pt idx="85088">2</cx:pt>
          <cx:pt idx="85089">0</cx:pt>
          <cx:pt idx="85090">3</cx:pt>
          <cx:pt idx="85091">3</cx:pt>
          <cx:pt idx="85092">4</cx:pt>
          <cx:pt idx="85093">2</cx:pt>
          <cx:pt idx="85094">1</cx:pt>
          <cx:pt idx="85095">4</cx:pt>
          <cx:pt idx="85096">5</cx:pt>
          <cx:pt idx="85097">0</cx:pt>
          <cx:pt idx="85098">4</cx:pt>
          <cx:pt idx="85099">2</cx:pt>
          <cx:pt idx="85100">2</cx:pt>
          <cx:pt idx="85101">3</cx:pt>
          <cx:pt idx="85102">4</cx:pt>
          <cx:pt idx="85103">4</cx:pt>
          <cx:pt idx="85104">2</cx:pt>
          <cx:pt idx="85105">4</cx:pt>
          <cx:pt idx="85106">3</cx:pt>
          <cx:pt idx="85107">3</cx:pt>
          <cx:pt idx="85108">1</cx:pt>
          <cx:pt idx="85109">2</cx:pt>
          <cx:pt idx="85110">1</cx:pt>
          <cx:pt idx="85111">5</cx:pt>
          <cx:pt idx="85112">4</cx:pt>
          <cx:pt idx="85113">5</cx:pt>
          <cx:pt idx="85114">3</cx:pt>
          <cx:pt idx="85115">2</cx:pt>
          <cx:pt idx="85116">3</cx:pt>
          <cx:pt idx="85117">2</cx:pt>
          <cx:pt idx="85118">1</cx:pt>
          <cx:pt idx="85119">1</cx:pt>
          <cx:pt idx="85120">2</cx:pt>
          <cx:pt idx="85121">1</cx:pt>
          <cx:pt idx="85122">4</cx:pt>
          <cx:pt idx="85123">3</cx:pt>
          <cx:pt idx="85124">4</cx:pt>
          <cx:pt idx="85125">3</cx:pt>
          <cx:pt idx="85126">0</cx:pt>
          <cx:pt idx="85127">4</cx:pt>
          <cx:pt idx="85128">4</cx:pt>
          <cx:pt idx="85129">3</cx:pt>
          <cx:pt idx="85130">3</cx:pt>
          <cx:pt idx="85131">4</cx:pt>
          <cx:pt idx="85132">3</cx:pt>
          <cx:pt idx="85133">5</cx:pt>
          <cx:pt idx="85134">4</cx:pt>
          <cx:pt idx="85135">1</cx:pt>
          <cx:pt idx="85136">3</cx:pt>
          <cx:pt idx="85137">5</cx:pt>
          <cx:pt idx="85138">1</cx:pt>
          <cx:pt idx="85139">0</cx:pt>
          <cx:pt idx="85140">4</cx:pt>
          <cx:pt idx="85141">1</cx:pt>
          <cx:pt idx="85142">4</cx:pt>
          <cx:pt idx="85143">1</cx:pt>
          <cx:pt idx="85144">5</cx:pt>
          <cx:pt idx="85145">3</cx:pt>
          <cx:pt idx="85146">2</cx:pt>
          <cx:pt idx="85147">3</cx:pt>
          <cx:pt idx="85148">2</cx:pt>
          <cx:pt idx="85149">1</cx:pt>
          <cx:pt idx="85150">4</cx:pt>
          <cx:pt idx="85151">1</cx:pt>
          <cx:pt idx="85152">4</cx:pt>
          <cx:pt idx="85153">5</cx:pt>
          <cx:pt idx="85154">1</cx:pt>
          <cx:pt idx="85155">2</cx:pt>
          <cx:pt idx="85156">5</cx:pt>
          <cx:pt idx="85157">4</cx:pt>
          <cx:pt idx="85158">3</cx:pt>
          <cx:pt idx="85159">4</cx:pt>
          <cx:pt idx="85160">3</cx:pt>
          <cx:pt idx="85161">4</cx:pt>
          <cx:pt idx="85162">2</cx:pt>
          <cx:pt idx="85163">3</cx:pt>
          <cx:pt idx="85164">0</cx:pt>
          <cx:pt idx="85165">5</cx:pt>
          <cx:pt idx="85166">0</cx:pt>
          <cx:pt idx="85167">5</cx:pt>
          <cx:pt idx="85168">0</cx:pt>
          <cx:pt idx="85169">2</cx:pt>
          <cx:pt idx="85170">3</cx:pt>
          <cx:pt idx="85171">4</cx:pt>
          <cx:pt idx="85172">4</cx:pt>
          <cx:pt idx="85173">4</cx:pt>
          <cx:pt idx="85174">1</cx:pt>
          <cx:pt idx="85175">3</cx:pt>
          <cx:pt idx="85176">2</cx:pt>
          <cx:pt idx="85177">2</cx:pt>
          <cx:pt idx="85178">2</cx:pt>
          <cx:pt idx="85179">4</cx:pt>
          <cx:pt idx="85180">5</cx:pt>
          <cx:pt idx="85181">3</cx:pt>
          <cx:pt idx="85182">1</cx:pt>
          <cx:pt idx="85183">3</cx:pt>
          <cx:pt idx="85184">0</cx:pt>
          <cx:pt idx="85185">3</cx:pt>
          <cx:pt idx="85186">3</cx:pt>
          <cx:pt idx="85187">3</cx:pt>
          <cx:pt idx="85188">4</cx:pt>
          <cx:pt idx="85189">1</cx:pt>
          <cx:pt idx="85190">4</cx:pt>
          <cx:pt idx="85191">2</cx:pt>
          <cx:pt idx="85192">1</cx:pt>
          <cx:pt idx="85193">1</cx:pt>
          <cx:pt idx="85194">1</cx:pt>
          <cx:pt idx="85195">4</cx:pt>
          <cx:pt idx="85196">2</cx:pt>
          <cx:pt idx="85197">3</cx:pt>
          <cx:pt idx="85198">3</cx:pt>
          <cx:pt idx="85199">1</cx:pt>
          <cx:pt idx="85200">4</cx:pt>
          <cx:pt idx="85201">4</cx:pt>
          <cx:pt idx="85202">2</cx:pt>
          <cx:pt idx="85203">2</cx:pt>
          <cx:pt idx="85204">1</cx:pt>
          <cx:pt idx="85205">3</cx:pt>
          <cx:pt idx="85206">3</cx:pt>
          <cx:pt idx="85207">4</cx:pt>
          <cx:pt idx="85208">2</cx:pt>
          <cx:pt idx="85209">5</cx:pt>
          <cx:pt idx="85210">3</cx:pt>
          <cx:pt idx="85211">3</cx:pt>
          <cx:pt idx="85212">1</cx:pt>
          <cx:pt idx="85213">3</cx:pt>
          <cx:pt idx="85214">2</cx:pt>
          <cx:pt idx="85215">2</cx:pt>
          <cx:pt idx="85216">1</cx:pt>
          <cx:pt idx="85217">4</cx:pt>
          <cx:pt idx="85218">5</cx:pt>
          <cx:pt idx="85219">3</cx:pt>
          <cx:pt idx="85220">3</cx:pt>
          <cx:pt idx="85221">4</cx:pt>
          <cx:pt idx="85222">3</cx:pt>
          <cx:pt idx="85223">1</cx:pt>
          <cx:pt idx="85224">3</cx:pt>
          <cx:pt idx="85225">4</cx:pt>
          <cx:pt idx="85226">5</cx:pt>
          <cx:pt idx="85227">3</cx:pt>
          <cx:pt idx="85228">4</cx:pt>
          <cx:pt idx="85229">3</cx:pt>
          <cx:pt idx="85230">2</cx:pt>
          <cx:pt idx="85231">1</cx:pt>
          <cx:pt idx="85232">4</cx:pt>
          <cx:pt idx="85233">4</cx:pt>
          <cx:pt idx="85234">1</cx:pt>
          <cx:pt idx="85235">1</cx:pt>
          <cx:pt idx="85236">2</cx:pt>
          <cx:pt idx="85237">3</cx:pt>
          <cx:pt idx="85238">1</cx:pt>
          <cx:pt idx="85239">4</cx:pt>
          <cx:pt idx="85240">5</cx:pt>
          <cx:pt idx="85241">4</cx:pt>
          <cx:pt idx="85242">3</cx:pt>
          <cx:pt idx="85243">2</cx:pt>
          <cx:pt idx="85244">1</cx:pt>
          <cx:pt idx="85245">1</cx:pt>
          <cx:pt idx="85246">4</cx:pt>
          <cx:pt idx="85247">2</cx:pt>
          <cx:pt idx="85248">1</cx:pt>
          <cx:pt idx="85249">3</cx:pt>
          <cx:pt idx="85250">4</cx:pt>
          <cx:pt idx="85251">3</cx:pt>
          <cx:pt idx="85252">1</cx:pt>
          <cx:pt idx="85253">1</cx:pt>
          <cx:pt idx="85254">3</cx:pt>
          <cx:pt idx="85255">1</cx:pt>
          <cx:pt idx="85256">2</cx:pt>
          <cx:pt idx="85257">1</cx:pt>
          <cx:pt idx="85258">2</cx:pt>
          <cx:pt idx="85259">3</cx:pt>
          <cx:pt idx="85260">3</cx:pt>
          <cx:pt idx="85261">0</cx:pt>
          <cx:pt idx="85262">5</cx:pt>
          <cx:pt idx="85263">3</cx:pt>
          <cx:pt idx="85264">2</cx:pt>
          <cx:pt idx="85265">4</cx:pt>
          <cx:pt idx="85266">0</cx:pt>
          <cx:pt idx="85267">2</cx:pt>
          <cx:pt idx="85268">1</cx:pt>
          <cx:pt idx="85269">2</cx:pt>
          <cx:pt idx="85270">2</cx:pt>
          <cx:pt idx="85271">5</cx:pt>
          <cx:pt idx="85272">1</cx:pt>
          <cx:pt idx="85273">2</cx:pt>
          <cx:pt idx="85274">0</cx:pt>
          <cx:pt idx="85275">3</cx:pt>
          <cx:pt idx="85276">4</cx:pt>
          <cx:pt idx="85277">2</cx:pt>
          <cx:pt idx="85278">1</cx:pt>
          <cx:pt idx="85279">4</cx:pt>
          <cx:pt idx="85280">0</cx:pt>
          <cx:pt idx="85281">4</cx:pt>
          <cx:pt idx="85282">4</cx:pt>
          <cx:pt idx="85283">1</cx:pt>
          <cx:pt idx="85284">4</cx:pt>
          <cx:pt idx="85285">1</cx:pt>
          <cx:pt idx="85286">1</cx:pt>
          <cx:pt idx="85287">2</cx:pt>
          <cx:pt idx="85288">4</cx:pt>
          <cx:pt idx="85289">3</cx:pt>
          <cx:pt idx="85290">2</cx:pt>
          <cx:pt idx="85291">1</cx:pt>
          <cx:pt idx="85292">4</cx:pt>
          <cx:pt idx="85293">3</cx:pt>
          <cx:pt idx="85294">0</cx:pt>
          <cx:pt idx="85295">2</cx:pt>
          <cx:pt idx="85296">2</cx:pt>
          <cx:pt idx="85297">1</cx:pt>
          <cx:pt idx="85298">4</cx:pt>
          <cx:pt idx="85299">5</cx:pt>
          <cx:pt idx="85300">0</cx:pt>
          <cx:pt idx="85301">5</cx:pt>
          <cx:pt idx="85302">4</cx:pt>
          <cx:pt idx="85303">3</cx:pt>
          <cx:pt idx="85304">1</cx:pt>
          <cx:pt idx="85305">1</cx:pt>
          <cx:pt idx="85306">5</cx:pt>
          <cx:pt idx="85307">2</cx:pt>
          <cx:pt idx="85308">3</cx:pt>
          <cx:pt idx="85309">4</cx:pt>
          <cx:pt idx="85310">2</cx:pt>
          <cx:pt idx="85311">2</cx:pt>
          <cx:pt idx="85312">3</cx:pt>
          <cx:pt idx="85313">3</cx:pt>
          <cx:pt idx="85314">5</cx:pt>
          <cx:pt idx="85315">4</cx:pt>
          <cx:pt idx="85316">3</cx:pt>
          <cx:pt idx="85317">3</cx:pt>
          <cx:pt idx="85318">3</cx:pt>
          <cx:pt idx="85319">2</cx:pt>
          <cx:pt idx="85320">3</cx:pt>
          <cx:pt idx="85321">0</cx:pt>
          <cx:pt idx="85322">2</cx:pt>
          <cx:pt idx="85323">0</cx:pt>
          <cx:pt idx="85324">3</cx:pt>
          <cx:pt idx="85325">2</cx:pt>
          <cx:pt idx="85326">4</cx:pt>
          <cx:pt idx="85327">3</cx:pt>
          <cx:pt idx="85328">4</cx:pt>
          <cx:pt idx="85329">4</cx:pt>
          <cx:pt idx="85330">1</cx:pt>
          <cx:pt idx="85331">1</cx:pt>
          <cx:pt idx="85332">3</cx:pt>
          <cx:pt idx="85333">4</cx:pt>
          <cx:pt idx="85334">4</cx:pt>
          <cx:pt idx="85335">0</cx:pt>
          <cx:pt idx="85336">2</cx:pt>
          <cx:pt idx="85337">5</cx:pt>
          <cx:pt idx="85338">4</cx:pt>
          <cx:pt idx="85339">5</cx:pt>
          <cx:pt idx="85340">3</cx:pt>
          <cx:pt idx="85341">4</cx:pt>
          <cx:pt idx="85342">3</cx:pt>
          <cx:pt idx="85343">1</cx:pt>
          <cx:pt idx="85344">3</cx:pt>
          <cx:pt idx="85345">1</cx:pt>
          <cx:pt idx="85346">2</cx:pt>
          <cx:pt idx="85347">2</cx:pt>
          <cx:pt idx="85348">3</cx:pt>
          <cx:pt idx="85349">2</cx:pt>
          <cx:pt idx="85350">5</cx:pt>
          <cx:pt idx="85351">3</cx:pt>
          <cx:pt idx="85352">2</cx:pt>
          <cx:pt idx="85353">2</cx:pt>
          <cx:pt idx="85354">1</cx:pt>
          <cx:pt idx="85355">4</cx:pt>
          <cx:pt idx="85356">2</cx:pt>
          <cx:pt idx="85357">3</cx:pt>
          <cx:pt idx="85358">5</cx:pt>
          <cx:pt idx="85359">5</cx:pt>
          <cx:pt idx="85360">3</cx:pt>
          <cx:pt idx="85361">3</cx:pt>
          <cx:pt idx="85362">3</cx:pt>
          <cx:pt idx="85363">5</cx:pt>
          <cx:pt idx="85364">2</cx:pt>
          <cx:pt idx="85365">4</cx:pt>
          <cx:pt idx="85366">4</cx:pt>
          <cx:pt idx="85367">5</cx:pt>
          <cx:pt idx="85368">3</cx:pt>
          <cx:pt idx="85369">3</cx:pt>
          <cx:pt idx="85370">1</cx:pt>
          <cx:pt idx="85371">3</cx:pt>
          <cx:pt idx="85372">1</cx:pt>
          <cx:pt idx="85373">2</cx:pt>
          <cx:pt idx="85374">1</cx:pt>
          <cx:pt idx="85375">1</cx:pt>
          <cx:pt idx="85376">5</cx:pt>
          <cx:pt idx="85377">2</cx:pt>
          <cx:pt idx="85378">2</cx:pt>
          <cx:pt idx="85379">1</cx:pt>
          <cx:pt idx="85380">3</cx:pt>
          <cx:pt idx="85381">2</cx:pt>
          <cx:pt idx="85382">3</cx:pt>
          <cx:pt idx="85383">4</cx:pt>
          <cx:pt idx="85384">0</cx:pt>
          <cx:pt idx="85385">4</cx:pt>
          <cx:pt idx="85386">5</cx:pt>
          <cx:pt idx="85387">4</cx:pt>
          <cx:pt idx="85388">4</cx:pt>
          <cx:pt idx="85389">4</cx:pt>
          <cx:pt idx="85390">4</cx:pt>
          <cx:pt idx="85391">3</cx:pt>
          <cx:pt idx="85392">5</cx:pt>
          <cx:pt idx="85393">5</cx:pt>
          <cx:pt idx="85394">2</cx:pt>
          <cx:pt idx="85395">1</cx:pt>
          <cx:pt idx="85396">3</cx:pt>
          <cx:pt idx="85397">2</cx:pt>
          <cx:pt idx="85398">3</cx:pt>
          <cx:pt idx="85399">1</cx:pt>
          <cx:pt idx="85400">2</cx:pt>
          <cx:pt idx="85401">4</cx:pt>
          <cx:pt idx="85402">0</cx:pt>
          <cx:pt idx="85403">4</cx:pt>
          <cx:pt idx="85404">4</cx:pt>
          <cx:pt idx="85405">5</cx:pt>
          <cx:pt idx="85406">5</cx:pt>
          <cx:pt idx="85407">2</cx:pt>
          <cx:pt idx="85408">1</cx:pt>
          <cx:pt idx="85409">5</cx:pt>
          <cx:pt idx="85410">2</cx:pt>
          <cx:pt idx="85411">4</cx:pt>
          <cx:pt idx="85412">2</cx:pt>
          <cx:pt idx="85413">2</cx:pt>
          <cx:pt idx="85414">1</cx:pt>
          <cx:pt idx="85415">1</cx:pt>
          <cx:pt idx="85416">4</cx:pt>
          <cx:pt idx="85417">5</cx:pt>
          <cx:pt idx="85418">3</cx:pt>
          <cx:pt idx="85419">4</cx:pt>
          <cx:pt idx="85420">1</cx:pt>
          <cx:pt idx="85421">2</cx:pt>
          <cx:pt idx="85422">2</cx:pt>
          <cx:pt idx="85423">1</cx:pt>
          <cx:pt idx="85424">2</cx:pt>
          <cx:pt idx="85425">2</cx:pt>
          <cx:pt idx="85426">1</cx:pt>
          <cx:pt idx="85427">2</cx:pt>
          <cx:pt idx="85428">4</cx:pt>
          <cx:pt idx="85429">1</cx:pt>
          <cx:pt idx="85430">3</cx:pt>
          <cx:pt idx="85431">2</cx:pt>
          <cx:pt idx="85432">3</cx:pt>
          <cx:pt idx="85433">3</cx:pt>
          <cx:pt idx="85434">4</cx:pt>
          <cx:pt idx="85435">2</cx:pt>
          <cx:pt idx="85436">3</cx:pt>
          <cx:pt idx="85437">2</cx:pt>
          <cx:pt idx="85438">1</cx:pt>
          <cx:pt idx="85439">0</cx:pt>
          <cx:pt idx="85440">5</cx:pt>
          <cx:pt idx="85441">1</cx:pt>
          <cx:pt idx="85442">1</cx:pt>
          <cx:pt idx="85443">2</cx:pt>
          <cx:pt idx="85444">2</cx:pt>
          <cx:pt idx="85445">2</cx:pt>
          <cx:pt idx="85446">3</cx:pt>
          <cx:pt idx="85447">3</cx:pt>
          <cx:pt idx="85448">3</cx:pt>
          <cx:pt idx="85449">1</cx:pt>
          <cx:pt idx="85450">0</cx:pt>
          <cx:pt idx="85451">4</cx:pt>
          <cx:pt idx="85452">2</cx:pt>
          <cx:pt idx="85453">2</cx:pt>
          <cx:pt idx="85454">1</cx:pt>
          <cx:pt idx="85455">2</cx:pt>
          <cx:pt idx="85456">2</cx:pt>
          <cx:pt idx="85457">4</cx:pt>
          <cx:pt idx="85458">2</cx:pt>
          <cx:pt idx="85459">3</cx:pt>
          <cx:pt idx="85460">1</cx:pt>
          <cx:pt idx="85461">2</cx:pt>
          <cx:pt idx="85462">3</cx:pt>
          <cx:pt idx="85463">1</cx:pt>
          <cx:pt idx="85464">1</cx:pt>
          <cx:pt idx="85465">2</cx:pt>
          <cx:pt idx="85466">3</cx:pt>
          <cx:pt idx="85467">2</cx:pt>
          <cx:pt idx="85468">3</cx:pt>
          <cx:pt idx="85469">1</cx:pt>
          <cx:pt idx="85470">2</cx:pt>
          <cx:pt idx="85471">5</cx:pt>
          <cx:pt idx="85472">5</cx:pt>
          <cx:pt idx="85473">3</cx:pt>
          <cx:pt idx="85474">3</cx:pt>
          <cx:pt idx="85475">4</cx:pt>
          <cx:pt idx="85476">3</cx:pt>
          <cx:pt idx="85477">3</cx:pt>
          <cx:pt idx="85478">3</cx:pt>
          <cx:pt idx="85479">1</cx:pt>
          <cx:pt idx="85480">1</cx:pt>
          <cx:pt idx="85481">5</cx:pt>
          <cx:pt idx="85482">2</cx:pt>
          <cx:pt idx="85483">3</cx:pt>
          <cx:pt idx="85484">5</cx:pt>
          <cx:pt idx="85485">5</cx:pt>
          <cx:pt idx="85486">5</cx:pt>
          <cx:pt idx="85487">1</cx:pt>
          <cx:pt idx="85488">2</cx:pt>
          <cx:pt idx="85489">2</cx:pt>
          <cx:pt idx="85490">3</cx:pt>
          <cx:pt idx="85491">1</cx:pt>
          <cx:pt idx="85492">4</cx:pt>
          <cx:pt idx="85493">2</cx:pt>
          <cx:pt idx="85494">2</cx:pt>
          <cx:pt idx="85495">3</cx:pt>
          <cx:pt idx="85496">2</cx:pt>
          <cx:pt idx="85497">5</cx:pt>
          <cx:pt idx="85498">5</cx:pt>
          <cx:pt idx="85499">0</cx:pt>
          <cx:pt idx="85500">2</cx:pt>
          <cx:pt idx="85501">2</cx:pt>
          <cx:pt idx="85502">2</cx:pt>
          <cx:pt idx="85503">2</cx:pt>
          <cx:pt idx="85504">3</cx:pt>
          <cx:pt idx="85505">2</cx:pt>
          <cx:pt idx="85506">3</cx:pt>
          <cx:pt idx="85507">1</cx:pt>
          <cx:pt idx="85508">4</cx:pt>
          <cx:pt idx="85509">4</cx:pt>
          <cx:pt idx="85510">4</cx:pt>
          <cx:pt idx="85511">4</cx:pt>
          <cx:pt idx="85512">4</cx:pt>
          <cx:pt idx="85513">2</cx:pt>
          <cx:pt idx="85514">2</cx:pt>
          <cx:pt idx="85515">5</cx:pt>
          <cx:pt idx="85516">4</cx:pt>
          <cx:pt idx="85517">4</cx:pt>
          <cx:pt idx="85518">3</cx:pt>
          <cx:pt idx="85519">4</cx:pt>
          <cx:pt idx="85520">3</cx:pt>
          <cx:pt idx="85521">3</cx:pt>
          <cx:pt idx="85522">4</cx:pt>
          <cx:pt idx="85523">4</cx:pt>
          <cx:pt idx="85524">1</cx:pt>
          <cx:pt idx="85525">1</cx:pt>
          <cx:pt idx="85526">1</cx:pt>
          <cx:pt idx="85527">0</cx:pt>
          <cx:pt idx="85528">0</cx:pt>
          <cx:pt idx="85529">5</cx:pt>
          <cx:pt idx="85530">3</cx:pt>
          <cx:pt idx="85531">4</cx:pt>
          <cx:pt idx="85532">3</cx:pt>
          <cx:pt idx="85533">4</cx:pt>
          <cx:pt idx="85534">0</cx:pt>
          <cx:pt idx="85535">3</cx:pt>
          <cx:pt idx="85536">3</cx:pt>
          <cx:pt idx="85537">4</cx:pt>
          <cx:pt idx="85538">1</cx:pt>
          <cx:pt idx="85539">3</cx:pt>
          <cx:pt idx="85540">4</cx:pt>
          <cx:pt idx="85541">4</cx:pt>
          <cx:pt idx="85542">4</cx:pt>
          <cx:pt idx="85543">5</cx:pt>
          <cx:pt idx="85544">3</cx:pt>
          <cx:pt idx="85545">5</cx:pt>
          <cx:pt idx="85546">5</cx:pt>
          <cx:pt idx="85547">4</cx:pt>
          <cx:pt idx="85548">1</cx:pt>
          <cx:pt idx="85549">4</cx:pt>
          <cx:pt idx="85550">3</cx:pt>
          <cx:pt idx="85551">2</cx:pt>
          <cx:pt idx="85552">5</cx:pt>
          <cx:pt idx="85553">4</cx:pt>
          <cx:pt idx="85554">4</cx:pt>
          <cx:pt idx="85555">3</cx:pt>
          <cx:pt idx="85556">2</cx:pt>
          <cx:pt idx="85557">2</cx:pt>
          <cx:pt idx="85558">2</cx:pt>
          <cx:pt idx="85559">1</cx:pt>
          <cx:pt idx="85560">2</cx:pt>
          <cx:pt idx="85561">1</cx:pt>
          <cx:pt idx="85562">3</cx:pt>
          <cx:pt idx="85563">2</cx:pt>
          <cx:pt idx="85564">4</cx:pt>
          <cx:pt idx="85565">2</cx:pt>
          <cx:pt idx="85566">4</cx:pt>
          <cx:pt idx="85567">3</cx:pt>
          <cx:pt idx="85568">4</cx:pt>
          <cx:pt idx="85569">4</cx:pt>
          <cx:pt idx="85570">5</cx:pt>
          <cx:pt idx="85571">1</cx:pt>
          <cx:pt idx="85572">4</cx:pt>
          <cx:pt idx="85573">3</cx:pt>
          <cx:pt idx="85574">3</cx:pt>
          <cx:pt idx="85575">3</cx:pt>
          <cx:pt idx="85576">1</cx:pt>
          <cx:pt idx="85577">0</cx:pt>
          <cx:pt idx="85578">4</cx:pt>
          <cx:pt idx="85579">4</cx:pt>
          <cx:pt idx="85580">4</cx:pt>
          <cx:pt idx="85581">3</cx:pt>
          <cx:pt idx="85582">2</cx:pt>
          <cx:pt idx="85583">3</cx:pt>
          <cx:pt idx="85584">3</cx:pt>
          <cx:pt idx="85585">5</cx:pt>
          <cx:pt idx="85586">1</cx:pt>
          <cx:pt idx="85587">3</cx:pt>
          <cx:pt idx="85588">3</cx:pt>
          <cx:pt idx="85589">4</cx:pt>
          <cx:pt idx="85590">4</cx:pt>
          <cx:pt idx="85591">1</cx:pt>
          <cx:pt idx="85592">0</cx:pt>
          <cx:pt idx="85593">2</cx:pt>
          <cx:pt idx="85594">3</cx:pt>
          <cx:pt idx="85595">5</cx:pt>
          <cx:pt idx="85596">5</cx:pt>
          <cx:pt idx="85597">2</cx:pt>
          <cx:pt idx="85598">4</cx:pt>
          <cx:pt idx="85599">5</cx:pt>
          <cx:pt idx="85600">1</cx:pt>
          <cx:pt idx="85601">5</cx:pt>
          <cx:pt idx="85602">1</cx:pt>
          <cx:pt idx="85603">2</cx:pt>
          <cx:pt idx="85604">2</cx:pt>
          <cx:pt idx="85605">2</cx:pt>
          <cx:pt idx="85606">1</cx:pt>
          <cx:pt idx="85607">4</cx:pt>
          <cx:pt idx="85608">2</cx:pt>
          <cx:pt idx="85609">4</cx:pt>
          <cx:pt idx="85610">4</cx:pt>
          <cx:pt idx="85611">2</cx:pt>
          <cx:pt idx="85612">3</cx:pt>
          <cx:pt idx="85613">2</cx:pt>
          <cx:pt idx="85614">3</cx:pt>
          <cx:pt idx="85615">1</cx:pt>
          <cx:pt idx="85616">5</cx:pt>
          <cx:pt idx="85617">0</cx:pt>
          <cx:pt idx="85618">0</cx:pt>
          <cx:pt idx="85619">1</cx:pt>
          <cx:pt idx="85620">5</cx:pt>
          <cx:pt idx="85621">0</cx:pt>
          <cx:pt idx="85622">3</cx:pt>
          <cx:pt idx="85623">2</cx:pt>
          <cx:pt idx="85624">3</cx:pt>
          <cx:pt idx="85625">2</cx:pt>
          <cx:pt idx="85626">3</cx:pt>
          <cx:pt idx="85627">3</cx:pt>
          <cx:pt idx="85628">1</cx:pt>
          <cx:pt idx="85629">2</cx:pt>
          <cx:pt idx="85630">1</cx:pt>
          <cx:pt idx="85631">3</cx:pt>
          <cx:pt idx="85632">3</cx:pt>
          <cx:pt idx="85633">5</cx:pt>
          <cx:pt idx="85634">3</cx:pt>
          <cx:pt idx="85635">0</cx:pt>
          <cx:pt idx="85636">2</cx:pt>
          <cx:pt idx="85637">3</cx:pt>
          <cx:pt idx="85638">1</cx:pt>
          <cx:pt idx="85639">1</cx:pt>
          <cx:pt idx="85640">4</cx:pt>
          <cx:pt idx="85641">2</cx:pt>
          <cx:pt idx="85642">3</cx:pt>
          <cx:pt idx="85643">1</cx:pt>
          <cx:pt idx="85644">2</cx:pt>
          <cx:pt idx="85645">5</cx:pt>
          <cx:pt idx="85646">3</cx:pt>
          <cx:pt idx="85647">1</cx:pt>
          <cx:pt idx="85648">3</cx:pt>
          <cx:pt idx="85649">2</cx:pt>
          <cx:pt idx="85650">2</cx:pt>
          <cx:pt idx="85651">4</cx:pt>
          <cx:pt idx="85652">5</cx:pt>
          <cx:pt idx="85653">3</cx:pt>
          <cx:pt idx="85654">1</cx:pt>
          <cx:pt idx="85655">4</cx:pt>
          <cx:pt idx="85656">4</cx:pt>
          <cx:pt idx="85657">4</cx:pt>
          <cx:pt idx="85658">3</cx:pt>
          <cx:pt idx="85659">4</cx:pt>
          <cx:pt idx="85660">5</cx:pt>
          <cx:pt idx="85661">2</cx:pt>
          <cx:pt idx="85662">2</cx:pt>
          <cx:pt idx="85663">4</cx:pt>
          <cx:pt idx="85664">2</cx:pt>
          <cx:pt idx="85665">3</cx:pt>
          <cx:pt idx="85666">3</cx:pt>
          <cx:pt idx="85667">2</cx:pt>
          <cx:pt idx="85668">3</cx:pt>
          <cx:pt idx="85669">4</cx:pt>
          <cx:pt idx="85670">3</cx:pt>
          <cx:pt idx="85671">2</cx:pt>
          <cx:pt idx="85672">3</cx:pt>
          <cx:pt idx="85673">4</cx:pt>
          <cx:pt idx="85674">3</cx:pt>
          <cx:pt idx="85675">5</cx:pt>
          <cx:pt idx="85676">3</cx:pt>
          <cx:pt idx="85677">2</cx:pt>
          <cx:pt idx="85678">1</cx:pt>
          <cx:pt idx="85679">5</cx:pt>
          <cx:pt idx="85680">0</cx:pt>
          <cx:pt idx="85681">4</cx:pt>
          <cx:pt idx="85682">2</cx:pt>
          <cx:pt idx="85683">1</cx:pt>
          <cx:pt idx="85684">1</cx:pt>
          <cx:pt idx="85685">1</cx:pt>
          <cx:pt idx="85686">1</cx:pt>
          <cx:pt idx="85687">2</cx:pt>
          <cx:pt idx="85688">1</cx:pt>
          <cx:pt idx="85689">0</cx:pt>
          <cx:pt idx="85690">5</cx:pt>
          <cx:pt idx="85691">1</cx:pt>
          <cx:pt idx="85692">0</cx:pt>
          <cx:pt idx="85693">2</cx:pt>
          <cx:pt idx="85694">4</cx:pt>
          <cx:pt idx="85695">2</cx:pt>
          <cx:pt idx="85696">1</cx:pt>
          <cx:pt idx="85697">1</cx:pt>
          <cx:pt idx="85698">2</cx:pt>
          <cx:pt idx="85699">1</cx:pt>
          <cx:pt idx="85700">3</cx:pt>
          <cx:pt idx="85701">4</cx:pt>
          <cx:pt idx="85702">2</cx:pt>
          <cx:pt idx="85703">3</cx:pt>
          <cx:pt idx="85704">5</cx:pt>
          <cx:pt idx="85705">4</cx:pt>
          <cx:pt idx="85706">0</cx:pt>
          <cx:pt idx="85707">5</cx:pt>
          <cx:pt idx="85708">4</cx:pt>
          <cx:pt idx="85709">5</cx:pt>
          <cx:pt idx="85710">4</cx:pt>
          <cx:pt idx="85711">1</cx:pt>
          <cx:pt idx="85712">2</cx:pt>
          <cx:pt idx="85713">1</cx:pt>
          <cx:pt idx="85714">3</cx:pt>
          <cx:pt idx="85715">1</cx:pt>
          <cx:pt idx="85716">5</cx:pt>
          <cx:pt idx="85717">2</cx:pt>
          <cx:pt idx="85718">5</cx:pt>
          <cx:pt idx="85719">4</cx:pt>
          <cx:pt idx="85720">4</cx:pt>
          <cx:pt idx="85721">2</cx:pt>
          <cx:pt idx="85722">2</cx:pt>
          <cx:pt idx="85723">1</cx:pt>
          <cx:pt idx="85724">5</cx:pt>
          <cx:pt idx="85725">4</cx:pt>
          <cx:pt idx="85726">5</cx:pt>
          <cx:pt idx="85727">2</cx:pt>
          <cx:pt idx="85728">3</cx:pt>
          <cx:pt idx="85729">2</cx:pt>
          <cx:pt idx="85730">3</cx:pt>
          <cx:pt idx="85731">3</cx:pt>
          <cx:pt idx="85732">3</cx:pt>
          <cx:pt idx="85733">3</cx:pt>
          <cx:pt idx="85734">4</cx:pt>
          <cx:pt idx="85735">4</cx:pt>
          <cx:pt idx="85736">3</cx:pt>
          <cx:pt idx="85737">3</cx:pt>
          <cx:pt idx="85738">4</cx:pt>
          <cx:pt idx="85739">3</cx:pt>
          <cx:pt idx="85740">0</cx:pt>
          <cx:pt idx="85741">2</cx:pt>
          <cx:pt idx="85742">3</cx:pt>
          <cx:pt idx="85743">1</cx:pt>
          <cx:pt idx="85744">4</cx:pt>
          <cx:pt idx="85745">2</cx:pt>
          <cx:pt idx="85746">2</cx:pt>
          <cx:pt idx="85747">2</cx:pt>
          <cx:pt idx="85748">2</cx:pt>
          <cx:pt idx="85749">3</cx:pt>
          <cx:pt idx="85750">3</cx:pt>
          <cx:pt idx="85751">3</cx:pt>
          <cx:pt idx="85752">5</cx:pt>
          <cx:pt idx="85753">2</cx:pt>
          <cx:pt idx="85754">2</cx:pt>
          <cx:pt idx="85755">5</cx:pt>
          <cx:pt idx="85756">1</cx:pt>
          <cx:pt idx="85757">3</cx:pt>
          <cx:pt idx="85758">3</cx:pt>
          <cx:pt idx="85759">3</cx:pt>
          <cx:pt idx="85760">2</cx:pt>
          <cx:pt idx="85761">5</cx:pt>
          <cx:pt idx="85762">5</cx:pt>
          <cx:pt idx="85763">3</cx:pt>
          <cx:pt idx="85764">1</cx:pt>
          <cx:pt idx="85765">3</cx:pt>
          <cx:pt idx="85766">5</cx:pt>
          <cx:pt idx="85767">1</cx:pt>
          <cx:pt idx="85768">5</cx:pt>
          <cx:pt idx="85769">2</cx:pt>
          <cx:pt idx="85770">3</cx:pt>
          <cx:pt idx="85771">2</cx:pt>
          <cx:pt idx="85772">5</cx:pt>
          <cx:pt idx="85773">2</cx:pt>
          <cx:pt idx="85774">2</cx:pt>
          <cx:pt idx="85775">4</cx:pt>
          <cx:pt idx="85776">4</cx:pt>
          <cx:pt idx="85777">2</cx:pt>
          <cx:pt idx="85778">4</cx:pt>
          <cx:pt idx="85779">5</cx:pt>
          <cx:pt idx="85780">1</cx:pt>
          <cx:pt idx="85781">3</cx:pt>
          <cx:pt idx="85782">1</cx:pt>
          <cx:pt idx="85783">2</cx:pt>
          <cx:pt idx="85784">1</cx:pt>
          <cx:pt idx="85785">3</cx:pt>
          <cx:pt idx="85786">2</cx:pt>
          <cx:pt idx="85787">5</cx:pt>
          <cx:pt idx="85788">2</cx:pt>
          <cx:pt idx="85789">5</cx:pt>
          <cx:pt idx="85790">5</cx:pt>
          <cx:pt idx="85791">1</cx:pt>
          <cx:pt idx="85792">1</cx:pt>
          <cx:pt idx="85793">2</cx:pt>
          <cx:pt idx="85794">4</cx:pt>
          <cx:pt idx="85795">1</cx:pt>
          <cx:pt idx="85796">3</cx:pt>
          <cx:pt idx="85797">4</cx:pt>
          <cx:pt idx="85798">5</cx:pt>
          <cx:pt idx="85799">3</cx:pt>
          <cx:pt idx="85800">2</cx:pt>
          <cx:pt idx="85801">2</cx:pt>
          <cx:pt idx="85802">5</cx:pt>
          <cx:pt idx="85803">1</cx:pt>
          <cx:pt idx="85804">0</cx:pt>
          <cx:pt idx="85805">3</cx:pt>
          <cx:pt idx="85806">5</cx:pt>
          <cx:pt idx="85807">2</cx:pt>
          <cx:pt idx="85808">1</cx:pt>
          <cx:pt idx="85809">5</cx:pt>
          <cx:pt idx="85810">4</cx:pt>
          <cx:pt idx="85811">1</cx:pt>
          <cx:pt idx="85812">3</cx:pt>
          <cx:pt idx="85813">3</cx:pt>
          <cx:pt idx="85814">5</cx:pt>
          <cx:pt idx="85815">3</cx:pt>
          <cx:pt idx="85816">3</cx:pt>
          <cx:pt idx="85817">5</cx:pt>
          <cx:pt idx="85818">3</cx:pt>
          <cx:pt idx="85819">1</cx:pt>
          <cx:pt idx="85820">1</cx:pt>
          <cx:pt idx="85821">2</cx:pt>
          <cx:pt idx="85822">1</cx:pt>
          <cx:pt idx="85823">5</cx:pt>
          <cx:pt idx="85824">3</cx:pt>
          <cx:pt idx="85825">1</cx:pt>
          <cx:pt idx="85826">5</cx:pt>
          <cx:pt idx="85827">1</cx:pt>
          <cx:pt idx="85828">5</cx:pt>
          <cx:pt idx="85829">2</cx:pt>
          <cx:pt idx="85830">3</cx:pt>
          <cx:pt idx="85831">2</cx:pt>
          <cx:pt idx="85832">2</cx:pt>
          <cx:pt idx="85833">1</cx:pt>
          <cx:pt idx="85834">4</cx:pt>
          <cx:pt idx="85835">3</cx:pt>
          <cx:pt idx="85836">4</cx:pt>
          <cx:pt idx="85837">2</cx:pt>
          <cx:pt idx="85838">2</cx:pt>
          <cx:pt idx="85839">5</cx:pt>
          <cx:pt idx="85840">5</cx:pt>
          <cx:pt idx="85841">2</cx:pt>
          <cx:pt idx="85842">2</cx:pt>
          <cx:pt idx="85843">2</cx:pt>
          <cx:pt idx="85844">1</cx:pt>
          <cx:pt idx="85845">5</cx:pt>
          <cx:pt idx="85846">2</cx:pt>
          <cx:pt idx="85847">3</cx:pt>
          <cx:pt idx="85848">1</cx:pt>
          <cx:pt idx="85849">5</cx:pt>
          <cx:pt idx="85850">1</cx:pt>
          <cx:pt idx="85851">1</cx:pt>
          <cx:pt idx="85852">5</cx:pt>
          <cx:pt idx="85853">3</cx:pt>
          <cx:pt idx="85854">4</cx:pt>
          <cx:pt idx="85855">5</cx:pt>
          <cx:pt idx="85856">2</cx:pt>
          <cx:pt idx="85857">1</cx:pt>
          <cx:pt idx="85858">2</cx:pt>
          <cx:pt idx="85859">4</cx:pt>
          <cx:pt idx="85860">3</cx:pt>
          <cx:pt idx="85861">1</cx:pt>
          <cx:pt idx="85862">3</cx:pt>
          <cx:pt idx="85863">4</cx:pt>
          <cx:pt idx="85864">4</cx:pt>
          <cx:pt idx="85865">2</cx:pt>
          <cx:pt idx="85866">5</cx:pt>
          <cx:pt idx="85867">1</cx:pt>
          <cx:pt idx="85868">3</cx:pt>
          <cx:pt idx="85869">1</cx:pt>
          <cx:pt idx="85870">3</cx:pt>
          <cx:pt idx="85871">3</cx:pt>
          <cx:pt idx="85872">5</cx:pt>
          <cx:pt idx="85873">1</cx:pt>
          <cx:pt idx="85874">5</cx:pt>
          <cx:pt idx="85875">2</cx:pt>
          <cx:pt idx="85876">5</cx:pt>
          <cx:pt idx="85877">1</cx:pt>
          <cx:pt idx="85878">4</cx:pt>
          <cx:pt idx="85879">2</cx:pt>
          <cx:pt idx="85880">4</cx:pt>
          <cx:pt idx="85881">3</cx:pt>
          <cx:pt idx="85882">3</cx:pt>
          <cx:pt idx="85883">3</cx:pt>
          <cx:pt idx="85884">3</cx:pt>
          <cx:pt idx="85885">2</cx:pt>
          <cx:pt idx="85886">4</cx:pt>
          <cx:pt idx="85887">3</cx:pt>
          <cx:pt idx="85888">2</cx:pt>
          <cx:pt idx="85889">5</cx:pt>
          <cx:pt idx="85890">1</cx:pt>
          <cx:pt idx="85891">0</cx:pt>
          <cx:pt idx="85892">4</cx:pt>
          <cx:pt idx="85893">3</cx:pt>
          <cx:pt idx="85894">1</cx:pt>
          <cx:pt idx="85895">1</cx:pt>
          <cx:pt idx="85896">3</cx:pt>
          <cx:pt idx="85897">1</cx:pt>
          <cx:pt idx="85898">3</cx:pt>
          <cx:pt idx="85899">1</cx:pt>
          <cx:pt idx="85900">2</cx:pt>
          <cx:pt idx="85901">3</cx:pt>
          <cx:pt idx="85902">2</cx:pt>
          <cx:pt idx="85903">4</cx:pt>
          <cx:pt idx="85904">1</cx:pt>
          <cx:pt idx="85905">2</cx:pt>
          <cx:pt idx="85906">2</cx:pt>
          <cx:pt idx="85907">0</cx:pt>
          <cx:pt idx="85908">4</cx:pt>
          <cx:pt idx="85909">1</cx:pt>
          <cx:pt idx="85910">1</cx:pt>
          <cx:pt idx="85911">2</cx:pt>
          <cx:pt idx="85912">4</cx:pt>
          <cx:pt idx="85913">0</cx:pt>
          <cx:pt idx="85914">0</cx:pt>
          <cx:pt idx="85915">2</cx:pt>
          <cx:pt idx="85916">4</cx:pt>
          <cx:pt idx="85917">3</cx:pt>
          <cx:pt idx="85918">4</cx:pt>
          <cx:pt idx="85919">2</cx:pt>
          <cx:pt idx="85920">3</cx:pt>
          <cx:pt idx="85921">3</cx:pt>
          <cx:pt idx="85922">2</cx:pt>
          <cx:pt idx="85923">0</cx:pt>
          <cx:pt idx="85924">2</cx:pt>
          <cx:pt idx="85925">5</cx:pt>
          <cx:pt idx="85926">2</cx:pt>
          <cx:pt idx="85927">3</cx:pt>
          <cx:pt idx="85928">5</cx:pt>
          <cx:pt idx="85929">1</cx:pt>
          <cx:pt idx="85930">3</cx:pt>
          <cx:pt idx="85931">3</cx:pt>
          <cx:pt idx="85932">2</cx:pt>
          <cx:pt idx="85933">4</cx:pt>
          <cx:pt idx="85934">5</cx:pt>
          <cx:pt idx="85935">4</cx:pt>
          <cx:pt idx="85936">3</cx:pt>
          <cx:pt idx="85937">2</cx:pt>
          <cx:pt idx="85938">4</cx:pt>
          <cx:pt idx="85939">4</cx:pt>
          <cx:pt idx="85940">3</cx:pt>
          <cx:pt idx="85941">1</cx:pt>
          <cx:pt idx="85942">2</cx:pt>
          <cx:pt idx="85943">4</cx:pt>
          <cx:pt idx="85944">2</cx:pt>
          <cx:pt idx="85945">1</cx:pt>
          <cx:pt idx="85946">4</cx:pt>
          <cx:pt idx="85947">1</cx:pt>
          <cx:pt idx="85948">2</cx:pt>
          <cx:pt idx="85949">3</cx:pt>
          <cx:pt idx="85950">1</cx:pt>
          <cx:pt idx="85951">2</cx:pt>
          <cx:pt idx="85952">5</cx:pt>
          <cx:pt idx="85953">2</cx:pt>
          <cx:pt idx="85954">5</cx:pt>
          <cx:pt idx="85955">5</cx:pt>
          <cx:pt idx="85956">1</cx:pt>
          <cx:pt idx="85957">1</cx:pt>
          <cx:pt idx="85958">5</cx:pt>
          <cx:pt idx="85959">3</cx:pt>
          <cx:pt idx="85960">3</cx:pt>
          <cx:pt idx="85961">1</cx:pt>
          <cx:pt idx="85962">5</cx:pt>
          <cx:pt idx="85963">5</cx:pt>
          <cx:pt idx="85964">5</cx:pt>
          <cx:pt idx="85965">3</cx:pt>
          <cx:pt idx="85966">3</cx:pt>
          <cx:pt idx="85967">4</cx:pt>
          <cx:pt idx="85968">3</cx:pt>
          <cx:pt idx="85969">1</cx:pt>
          <cx:pt idx="85970">0</cx:pt>
          <cx:pt idx="85971">2</cx:pt>
          <cx:pt idx="85972">5</cx:pt>
          <cx:pt idx="85973">5</cx:pt>
          <cx:pt idx="85974">2</cx:pt>
          <cx:pt idx="85975">3</cx:pt>
          <cx:pt idx="85976">3</cx:pt>
          <cx:pt idx="85977">4</cx:pt>
          <cx:pt idx="85978">1</cx:pt>
          <cx:pt idx="85979">4</cx:pt>
          <cx:pt idx="85980">1</cx:pt>
          <cx:pt idx="85981">4</cx:pt>
          <cx:pt idx="85982">4</cx:pt>
          <cx:pt idx="85983">2</cx:pt>
          <cx:pt idx="85984">4</cx:pt>
          <cx:pt idx="85985">5</cx:pt>
          <cx:pt idx="85986">4</cx:pt>
          <cx:pt idx="85987">3</cx:pt>
          <cx:pt idx="85988">3</cx:pt>
          <cx:pt idx="85989">5</cx:pt>
          <cx:pt idx="85990">4</cx:pt>
          <cx:pt idx="85991">3</cx:pt>
          <cx:pt idx="85992">5</cx:pt>
          <cx:pt idx="85993">1</cx:pt>
          <cx:pt idx="85994">5</cx:pt>
          <cx:pt idx="85995">2</cx:pt>
          <cx:pt idx="85996">5</cx:pt>
          <cx:pt idx="85997">1</cx:pt>
          <cx:pt idx="85998">1</cx:pt>
          <cx:pt idx="85999">4</cx:pt>
          <cx:pt idx="86000">2</cx:pt>
          <cx:pt idx="86001">2</cx:pt>
          <cx:pt idx="86002">2</cx:pt>
          <cx:pt idx="86003">2</cx:pt>
          <cx:pt idx="86004">5</cx:pt>
          <cx:pt idx="86005">3</cx:pt>
          <cx:pt idx="86006">1</cx:pt>
          <cx:pt idx="86007">3</cx:pt>
          <cx:pt idx="86008">1</cx:pt>
          <cx:pt idx="86009">3</cx:pt>
          <cx:pt idx="86010">4</cx:pt>
          <cx:pt idx="86011">1</cx:pt>
          <cx:pt idx="86012">4</cx:pt>
          <cx:pt idx="86013">2</cx:pt>
          <cx:pt idx="86014">2</cx:pt>
          <cx:pt idx="86015">2</cx:pt>
          <cx:pt idx="86016">3</cx:pt>
          <cx:pt idx="86017">4</cx:pt>
          <cx:pt idx="86018">4</cx:pt>
          <cx:pt idx="86019">2</cx:pt>
          <cx:pt idx="86020">4</cx:pt>
          <cx:pt idx="86021">1</cx:pt>
          <cx:pt idx="86022">4</cx:pt>
          <cx:pt idx="86023">1</cx:pt>
          <cx:pt idx="86024">2</cx:pt>
          <cx:pt idx="86025">3</cx:pt>
          <cx:pt idx="86026">3</cx:pt>
          <cx:pt idx="86027">3</cx:pt>
          <cx:pt idx="86028">0</cx:pt>
          <cx:pt idx="86029">1</cx:pt>
          <cx:pt idx="86030">1</cx:pt>
          <cx:pt idx="86031">5</cx:pt>
          <cx:pt idx="86032">1</cx:pt>
          <cx:pt idx="86033">2</cx:pt>
          <cx:pt idx="86034">5</cx:pt>
          <cx:pt idx="86035">2</cx:pt>
          <cx:pt idx="86036">2</cx:pt>
          <cx:pt idx="86037">1</cx:pt>
          <cx:pt idx="86038">4</cx:pt>
          <cx:pt idx="86039">2</cx:pt>
          <cx:pt idx="86040">4</cx:pt>
          <cx:pt idx="86041">3</cx:pt>
          <cx:pt idx="86042">3</cx:pt>
          <cx:pt idx="86043">5</cx:pt>
          <cx:pt idx="86044">3</cx:pt>
          <cx:pt idx="86045">5</cx:pt>
          <cx:pt idx="86046">2</cx:pt>
          <cx:pt idx="86047">4</cx:pt>
          <cx:pt idx="86048">3</cx:pt>
          <cx:pt idx="86049">5</cx:pt>
          <cx:pt idx="86050">2</cx:pt>
          <cx:pt idx="86051">3</cx:pt>
          <cx:pt idx="86052">3</cx:pt>
          <cx:pt idx="86053">1</cx:pt>
          <cx:pt idx="86054">3</cx:pt>
          <cx:pt idx="86055">2</cx:pt>
          <cx:pt idx="86056">3</cx:pt>
          <cx:pt idx="86057">1</cx:pt>
          <cx:pt idx="86058">1</cx:pt>
          <cx:pt idx="86059">4</cx:pt>
          <cx:pt idx="86060">5</cx:pt>
          <cx:pt idx="86061">3</cx:pt>
          <cx:pt idx="86062">1</cx:pt>
          <cx:pt idx="86063">3</cx:pt>
          <cx:pt idx="86064">1</cx:pt>
          <cx:pt idx="86065">5</cx:pt>
          <cx:pt idx="86066">2</cx:pt>
          <cx:pt idx="86067">2</cx:pt>
          <cx:pt idx="86068">3</cx:pt>
          <cx:pt idx="86069">1</cx:pt>
          <cx:pt idx="86070">4</cx:pt>
          <cx:pt idx="86071">2</cx:pt>
          <cx:pt idx="86072">3</cx:pt>
          <cx:pt idx="86073">2</cx:pt>
          <cx:pt idx="86074">4</cx:pt>
          <cx:pt idx="86075">1</cx:pt>
          <cx:pt idx="86076">1</cx:pt>
          <cx:pt idx="86077">3</cx:pt>
          <cx:pt idx="86078">0</cx:pt>
          <cx:pt idx="86079">4</cx:pt>
          <cx:pt idx="86080">3</cx:pt>
          <cx:pt idx="86081">2</cx:pt>
          <cx:pt idx="86082">3</cx:pt>
          <cx:pt idx="86083">4</cx:pt>
          <cx:pt idx="86084">1</cx:pt>
          <cx:pt idx="86085">2</cx:pt>
          <cx:pt idx="86086">1</cx:pt>
          <cx:pt idx="86087">5</cx:pt>
          <cx:pt idx="86088">1</cx:pt>
          <cx:pt idx="86089">4</cx:pt>
          <cx:pt idx="86090">4</cx:pt>
          <cx:pt idx="86091">2</cx:pt>
          <cx:pt idx="86092">1</cx:pt>
          <cx:pt idx="86093">3</cx:pt>
          <cx:pt idx="86094">2</cx:pt>
          <cx:pt idx="86095">3</cx:pt>
          <cx:pt idx="86096">4</cx:pt>
          <cx:pt idx="86097">1</cx:pt>
          <cx:pt idx="86098">3</cx:pt>
          <cx:pt idx="86099">3</cx:pt>
          <cx:pt idx="86100">1</cx:pt>
          <cx:pt idx="86101">4</cx:pt>
          <cx:pt idx="86102">3</cx:pt>
          <cx:pt idx="86103">1</cx:pt>
          <cx:pt idx="86104">4</cx:pt>
          <cx:pt idx="86105">0</cx:pt>
          <cx:pt idx="86106">0</cx:pt>
          <cx:pt idx="86107">2</cx:pt>
          <cx:pt idx="86108">5</cx:pt>
          <cx:pt idx="86109">3</cx:pt>
          <cx:pt idx="86110">4</cx:pt>
          <cx:pt idx="86111">1</cx:pt>
          <cx:pt idx="86112">4</cx:pt>
          <cx:pt idx="86113">5</cx:pt>
          <cx:pt idx="86114">3</cx:pt>
          <cx:pt idx="86115">2</cx:pt>
          <cx:pt idx="86116">5</cx:pt>
          <cx:pt idx="86117">4</cx:pt>
          <cx:pt idx="86118">3</cx:pt>
          <cx:pt idx="86119">2</cx:pt>
          <cx:pt idx="86120">5</cx:pt>
          <cx:pt idx="86121">1</cx:pt>
          <cx:pt idx="86122">3</cx:pt>
          <cx:pt idx="86123">4</cx:pt>
          <cx:pt idx="86124">2</cx:pt>
          <cx:pt idx="86125">2</cx:pt>
          <cx:pt idx="86126">3</cx:pt>
          <cx:pt idx="86127">4</cx:pt>
          <cx:pt idx="86128">4</cx:pt>
          <cx:pt idx="86129">2</cx:pt>
          <cx:pt idx="86130">4</cx:pt>
          <cx:pt idx="86131">3</cx:pt>
          <cx:pt idx="86132">4</cx:pt>
          <cx:pt idx="86133">1</cx:pt>
          <cx:pt idx="86134">2</cx:pt>
          <cx:pt idx="86135">3</cx:pt>
          <cx:pt idx="86136">1</cx:pt>
          <cx:pt idx="86137">2</cx:pt>
          <cx:pt idx="86138">2</cx:pt>
          <cx:pt idx="86139">2</cx:pt>
          <cx:pt idx="86140">3</cx:pt>
          <cx:pt idx="86141">2</cx:pt>
          <cx:pt idx="86142">1</cx:pt>
          <cx:pt idx="86143">0</cx:pt>
          <cx:pt idx="86144">1</cx:pt>
          <cx:pt idx="86145">1</cx:pt>
          <cx:pt idx="86146">4</cx:pt>
          <cx:pt idx="86147">3</cx:pt>
          <cx:pt idx="86148">2</cx:pt>
          <cx:pt idx="86149">1</cx:pt>
          <cx:pt idx="86150">2</cx:pt>
          <cx:pt idx="86151">2</cx:pt>
          <cx:pt idx="86152">4</cx:pt>
          <cx:pt idx="86153">4</cx:pt>
          <cx:pt idx="86154">1</cx:pt>
          <cx:pt idx="86155">3</cx:pt>
          <cx:pt idx="86156">2</cx:pt>
          <cx:pt idx="86157">4</cx:pt>
          <cx:pt idx="86158">3</cx:pt>
          <cx:pt idx="86159">1</cx:pt>
          <cx:pt idx="86160">1</cx:pt>
          <cx:pt idx="86161">2</cx:pt>
          <cx:pt idx="86162">4</cx:pt>
          <cx:pt idx="86163">5</cx:pt>
          <cx:pt idx="86164">1</cx:pt>
          <cx:pt idx="86165">2</cx:pt>
          <cx:pt idx="86166">4</cx:pt>
          <cx:pt idx="86167">4</cx:pt>
          <cx:pt idx="86168">3</cx:pt>
          <cx:pt idx="86169">2</cx:pt>
          <cx:pt idx="86170">5</cx:pt>
          <cx:pt idx="86171">4</cx:pt>
          <cx:pt idx="86172">4</cx:pt>
          <cx:pt idx="86173">5</cx:pt>
          <cx:pt idx="86174">2</cx:pt>
          <cx:pt idx="86175">2</cx:pt>
          <cx:pt idx="86176">3</cx:pt>
          <cx:pt idx="86177">5</cx:pt>
          <cx:pt idx="86178">4</cx:pt>
          <cx:pt idx="86179">1</cx:pt>
          <cx:pt idx="86180">2</cx:pt>
          <cx:pt idx="86181">5</cx:pt>
          <cx:pt idx="86182">3</cx:pt>
          <cx:pt idx="86183">3</cx:pt>
          <cx:pt idx="86184">5</cx:pt>
          <cx:pt idx="86185">5</cx:pt>
          <cx:pt idx="86186">4</cx:pt>
          <cx:pt idx="86187">5</cx:pt>
          <cx:pt idx="86188">4</cx:pt>
          <cx:pt idx="86189">4</cx:pt>
          <cx:pt idx="86190">3</cx:pt>
          <cx:pt idx="86191">5</cx:pt>
          <cx:pt idx="86192">1</cx:pt>
          <cx:pt idx="86193">4</cx:pt>
          <cx:pt idx="86194">2</cx:pt>
          <cx:pt idx="86195">4</cx:pt>
          <cx:pt idx="86196">2</cx:pt>
          <cx:pt idx="86197">1</cx:pt>
          <cx:pt idx="86198">3</cx:pt>
          <cx:pt idx="86199">5</cx:pt>
          <cx:pt idx="86200">3</cx:pt>
          <cx:pt idx="86201">5</cx:pt>
          <cx:pt idx="86202">2</cx:pt>
          <cx:pt idx="86203">1</cx:pt>
          <cx:pt idx="86204">2</cx:pt>
          <cx:pt idx="86205">4</cx:pt>
          <cx:pt idx="86206">4</cx:pt>
          <cx:pt idx="86207">2</cx:pt>
          <cx:pt idx="86208">2</cx:pt>
          <cx:pt idx="86209">3</cx:pt>
          <cx:pt idx="86210">3</cx:pt>
          <cx:pt idx="86211">2</cx:pt>
          <cx:pt idx="86212">4</cx:pt>
          <cx:pt idx="86213">3</cx:pt>
          <cx:pt idx="86214">2</cx:pt>
          <cx:pt idx="86215">3</cx:pt>
          <cx:pt idx="86216">2</cx:pt>
          <cx:pt idx="86217">1</cx:pt>
          <cx:pt idx="86218">1</cx:pt>
          <cx:pt idx="86219">4</cx:pt>
          <cx:pt idx="86220">3</cx:pt>
          <cx:pt idx="86221">4</cx:pt>
          <cx:pt idx="86222">3</cx:pt>
          <cx:pt idx="86223">4</cx:pt>
          <cx:pt idx="86224">5</cx:pt>
          <cx:pt idx="86225">1</cx:pt>
          <cx:pt idx="86226">3</cx:pt>
          <cx:pt idx="86227">2</cx:pt>
          <cx:pt idx="86228">3</cx:pt>
          <cx:pt idx="86229">2</cx:pt>
          <cx:pt idx="86230">3</cx:pt>
          <cx:pt idx="86231">0</cx:pt>
          <cx:pt idx="86232">3</cx:pt>
          <cx:pt idx="86233">2</cx:pt>
          <cx:pt idx="86234">3</cx:pt>
          <cx:pt idx="86235">4</cx:pt>
          <cx:pt idx="86236">1</cx:pt>
          <cx:pt idx="86237">3</cx:pt>
          <cx:pt idx="86238">0</cx:pt>
          <cx:pt idx="86239">1</cx:pt>
          <cx:pt idx="86240">2</cx:pt>
          <cx:pt idx="86241">4</cx:pt>
          <cx:pt idx="86242">4</cx:pt>
          <cx:pt idx="86243">3</cx:pt>
          <cx:pt idx="86244">3</cx:pt>
          <cx:pt idx="86245">1</cx:pt>
          <cx:pt idx="86246">1</cx:pt>
          <cx:pt idx="86247">2</cx:pt>
          <cx:pt idx="86248">1</cx:pt>
          <cx:pt idx="86249">2</cx:pt>
          <cx:pt idx="86250">4</cx:pt>
          <cx:pt idx="86251">4</cx:pt>
          <cx:pt idx="86252">4</cx:pt>
          <cx:pt idx="86253">3</cx:pt>
          <cx:pt idx="86254">2</cx:pt>
          <cx:pt idx="86255">4</cx:pt>
          <cx:pt idx="86256">4</cx:pt>
          <cx:pt idx="86257">2</cx:pt>
          <cx:pt idx="86258">5</cx:pt>
          <cx:pt idx="86259">3</cx:pt>
          <cx:pt idx="86260">3</cx:pt>
          <cx:pt idx="86261">3</cx:pt>
          <cx:pt idx="86262">2</cx:pt>
          <cx:pt idx="86263">2</cx:pt>
          <cx:pt idx="86264">2</cx:pt>
          <cx:pt idx="86265">2</cx:pt>
          <cx:pt idx="86266">2</cx:pt>
          <cx:pt idx="86267">3</cx:pt>
          <cx:pt idx="86268">3</cx:pt>
          <cx:pt idx="86269">4</cx:pt>
          <cx:pt idx="86270">4</cx:pt>
          <cx:pt idx="86271">1</cx:pt>
          <cx:pt idx="86272">3</cx:pt>
          <cx:pt idx="86273">2</cx:pt>
          <cx:pt idx="86274">0</cx:pt>
          <cx:pt idx="86275">2</cx:pt>
          <cx:pt idx="86276">2</cx:pt>
          <cx:pt idx="86277">4</cx:pt>
          <cx:pt idx="86278">2</cx:pt>
          <cx:pt idx="86279">3</cx:pt>
          <cx:pt idx="86280">1</cx:pt>
          <cx:pt idx="86281">1</cx:pt>
          <cx:pt idx="86282">4</cx:pt>
          <cx:pt idx="86283">5</cx:pt>
          <cx:pt idx="86284">2</cx:pt>
          <cx:pt idx="86285">2</cx:pt>
          <cx:pt idx="86286">5</cx:pt>
          <cx:pt idx="86287">3</cx:pt>
          <cx:pt idx="86288">5</cx:pt>
          <cx:pt idx="86289">4</cx:pt>
          <cx:pt idx="86290">2</cx:pt>
          <cx:pt idx="86291">4</cx:pt>
          <cx:pt idx="86292">4</cx:pt>
          <cx:pt idx="86293">4</cx:pt>
          <cx:pt idx="86294">2</cx:pt>
          <cx:pt idx="86295">3</cx:pt>
          <cx:pt idx="86296">3</cx:pt>
          <cx:pt idx="86297">5</cx:pt>
          <cx:pt idx="86298">5</cx:pt>
          <cx:pt idx="86299">1</cx:pt>
          <cx:pt idx="86300">3</cx:pt>
          <cx:pt idx="86301">1</cx:pt>
          <cx:pt idx="86302">1</cx:pt>
          <cx:pt idx="86303">4</cx:pt>
          <cx:pt idx="86304">5</cx:pt>
          <cx:pt idx="86305">4</cx:pt>
          <cx:pt idx="86306">2</cx:pt>
          <cx:pt idx="86307">1</cx:pt>
          <cx:pt idx="86308">5</cx:pt>
          <cx:pt idx="86309">1</cx:pt>
          <cx:pt idx="86310">4</cx:pt>
          <cx:pt idx="86311">5</cx:pt>
          <cx:pt idx="86312">3</cx:pt>
          <cx:pt idx="86313">4</cx:pt>
          <cx:pt idx="86314">1</cx:pt>
          <cx:pt idx="86315">4</cx:pt>
          <cx:pt idx="86316">2</cx:pt>
          <cx:pt idx="86317">2</cx:pt>
          <cx:pt idx="86318">1</cx:pt>
          <cx:pt idx="86319">3</cx:pt>
          <cx:pt idx="86320">5</cx:pt>
          <cx:pt idx="86321">2</cx:pt>
          <cx:pt idx="86322">4</cx:pt>
          <cx:pt idx="86323">4</cx:pt>
          <cx:pt idx="86324">1</cx:pt>
          <cx:pt idx="86325">2</cx:pt>
          <cx:pt idx="86326">0</cx:pt>
          <cx:pt idx="86327">3</cx:pt>
          <cx:pt idx="86328">2</cx:pt>
          <cx:pt idx="86329">1</cx:pt>
          <cx:pt idx="86330">2</cx:pt>
          <cx:pt idx="86331">4</cx:pt>
          <cx:pt idx="86332">1</cx:pt>
          <cx:pt idx="86333">1</cx:pt>
          <cx:pt idx="86334">3</cx:pt>
          <cx:pt idx="86335">3</cx:pt>
          <cx:pt idx="86336">2</cx:pt>
          <cx:pt idx="86337">3</cx:pt>
          <cx:pt idx="86338">1</cx:pt>
          <cx:pt idx="86339">5</cx:pt>
          <cx:pt idx="86340">1</cx:pt>
          <cx:pt idx="86341">4</cx:pt>
          <cx:pt idx="86342">4</cx:pt>
          <cx:pt idx="86343">3</cx:pt>
          <cx:pt idx="86344">4</cx:pt>
          <cx:pt idx="86345">4</cx:pt>
          <cx:pt idx="86346">0</cx:pt>
          <cx:pt idx="86347">2</cx:pt>
          <cx:pt idx="86348">3</cx:pt>
          <cx:pt idx="86349">3</cx:pt>
          <cx:pt idx="86350">0</cx:pt>
          <cx:pt idx="86351">5</cx:pt>
          <cx:pt idx="86352">2</cx:pt>
          <cx:pt idx="86353">3</cx:pt>
          <cx:pt idx="86354">2</cx:pt>
          <cx:pt idx="86355">2</cx:pt>
          <cx:pt idx="86356">3</cx:pt>
          <cx:pt idx="86357">3</cx:pt>
          <cx:pt idx="86358">4</cx:pt>
          <cx:pt idx="86359">4</cx:pt>
          <cx:pt idx="86360">2</cx:pt>
          <cx:pt idx="86361">3</cx:pt>
          <cx:pt idx="86362">3</cx:pt>
          <cx:pt idx="86363">4</cx:pt>
          <cx:pt idx="86364">2</cx:pt>
          <cx:pt idx="86365">3</cx:pt>
          <cx:pt idx="86366">1</cx:pt>
          <cx:pt idx="86367">3</cx:pt>
          <cx:pt idx="86368">4</cx:pt>
          <cx:pt idx="86369">1</cx:pt>
          <cx:pt idx="86370">2</cx:pt>
          <cx:pt idx="86371">3</cx:pt>
          <cx:pt idx="86372">3</cx:pt>
          <cx:pt idx="86373">1</cx:pt>
          <cx:pt idx="86374">4</cx:pt>
          <cx:pt idx="86375">2</cx:pt>
          <cx:pt idx="86376">1</cx:pt>
          <cx:pt idx="86377">3</cx:pt>
          <cx:pt idx="86378">3</cx:pt>
          <cx:pt idx="86379">2</cx:pt>
          <cx:pt idx="86380">2</cx:pt>
          <cx:pt idx="86381">4</cx:pt>
          <cx:pt idx="86382">4</cx:pt>
          <cx:pt idx="86383">3</cx:pt>
          <cx:pt idx="86384">5</cx:pt>
          <cx:pt idx="86385">1</cx:pt>
          <cx:pt idx="86386">2</cx:pt>
          <cx:pt idx="86387">5</cx:pt>
          <cx:pt idx="86388">5</cx:pt>
          <cx:pt idx="86389">4</cx:pt>
          <cx:pt idx="86390">5</cx:pt>
          <cx:pt idx="86391">4</cx:pt>
          <cx:pt idx="86392">5</cx:pt>
          <cx:pt idx="86393">2</cx:pt>
          <cx:pt idx="86394">5</cx:pt>
          <cx:pt idx="86395">4</cx:pt>
          <cx:pt idx="86396">3</cx:pt>
          <cx:pt idx="86397">4</cx:pt>
          <cx:pt idx="86398">2</cx:pt>
          <cx:pt idx="86399">3</cx:pt>
          <cx:pt idx="86400">4</cx:pt>
          <cx:pt idx="86401">3</cx:pt>
          <cx:pt idx="86402">0</cx:pt>
          <cx:pt idx="86403">3</cx:pt>
          <cx:pt idx="86404">2</cx:pt>
          <cx:pt idx="86405">3</cx:pt>
          <cx:pt idx="86406">1</cx:pt>
          <cx:pt idx="86407">2</cx:pt>
          <cx:pt idx="86408">3</cx:pt>
          <cx:pt idx="86409">5</cx:pt>
          <cx:pt idx="86410">1</cx:pt>
          <cx:pt idx="86411">4</cx:pt>
          <cx:pt idx="86412">4</cx:pt>
          <cx:pt idx="86413">2</cx:pt>
          <cx:pt idx="86414">4</cx:pt>
          <cx:pt idx="86415">3</cx:pt>
          <cx:pt idx="86416">4</cx:pt>
          <cx:pt idx="86417">5</cx:pt>
          <cx:pt idx="86418">1</cx:pt>
          <cx:pt idx="86419">3</cx:pt>
          <cx:pt idx="86420">1</cx:pt>
          <cx:pt idx="86421">2</cx:pt>
          <cx:pt idx="86422">0</cx:pt>
          <cx:pt idx="86423">3</cx:pt>
          <cx:pt idx="86424">3</cx:pt>
          <cx:pt idx="86425">4</cx:pt>
          <cx:pt idx="86426">2</cx:pt>
          <cx:pt idx="86427">4</cx:pt>
          <cx:pt idx="86428">4</cx:pt>
          <cx:pt idx="86429">2</cx:pt>
          <cx:pt idx="86430">4</cx:pt>
          <cx:pt idx="86431">3</cx:pt>
          <cx:pt idx="86432">5</cx:pt>
          <cx:pt idx="86433">4</cx:pt>
          <cx:pt idx="86434">5</cx:pt>
          <cx:pt idx="86435">1</cx:pt>
          <cx:pt idx="86436">5</cx:pt>
          <cx:pt idx="86437">5</cx:pt>
          <cx:pt idx="86438">3</cx:pt>
          <cx:pt idx="86439">2</cx:pt>
          <cx:pt idx="86440">3</cx:pt>
          <cx:pt idx="86441">3</cx:pt>
          <cx:pt idx="86442">1</cx:pt>
          <cx:pt idx="86443">5</cx:pt>
          <cx:pt idx="86444">4</cx:pt>
          <cx:pt idx="86445">1</cx:pt>
          <cx:pt idx="86446">0</cx:pt>
          <cx:pt idx="86447">4</cx:pt>
          <cx:pt idx="86448">2</cx:pt>
          <cx:pt idx="86449">4</cx:pt>
          <cx:pt idx="86450">4</cx:pt>
          <cx:pt idx="86451">4</cx:pt>
          <cx:pt idx="86452">2</cx:pt>
          <cx:pt idx="86453">1</cx:pt>
          <cx:pt idx="86454">4</cx:pt>
          <cx:pt idx="86455">3</cx:pt>
          <cx:pt idx="86456">4</cx:pt>
          <cx:pt idx="86457">5</cx:pt>
          <cx:pt idx="86458">5</cx:pt>
          <cx:pt idx="86459">2</cx:pt>
          <cx:pt idx="86460">2</cx:pt>
          <cx:pt idx="86461">3</cx:pt>
          <cx:pt idx="86462">2</cx:pt>
          <cx:pt idx="86463">1</cx:pt>
          <cx:pt idx="86464">3</cx:pt>
          <cx:pt idx="86465">4</cx:pt>
          <cx:pt idx="86466">3</cx:pt>
          <cx:pt idx="86467">1</cx:pt>
          <cx:pt idx="86468">4</cx:pt>
          <cx:pt idx="86469">5</cx:pt>
          <cx:pt idx="86470">4</cx:pt>
          <cx:pt idx="86471">3</cx:pt>
          <cx:pt idx="86472">2</cx:pt>
          <cx:pt idx="86473">3</cx:pt>
          <cx:pt idx="86474">5</cx:pt>
          <cx:pt idx="86475">3</cx:pt>
          <cx:pt idx="86476">2</cx:pt>
          <cx:pt idx="86477">2</cx:pt>
          <cx:pt idx="86478">5</cx:pt>
          <cx:pt idx="86479">1</cx:pt>
          <cx:pt idx="86480">2</cx:pt>
          <cx:pt idx="86481">2</cx:pt>
          <cx:pt idx="86482">5</cx:pt>
          <cx:pt idx="86483">2</cx:pt>
          <cx:pt idx="86484">0</cx:pt>
          <cx:pt idx="86485">5</cx:pt>
          <cx:pt idx="86486">1</cx:pt>
          <cx:pt idx="86487">4</cx:pt>
          <cx:pt idx="86488">2</cx:pt>
          <cx:pt idx="86489">4</cx:pt>
          <cx:pt idx="86490">3</cx:pt>
          <cx:pt idx="86491">1</cx:pt>
          <cx:pt idx="86492">5</cx:pt>
          <cx:pt idx="86493">0</cx:pt>
          <cx:pt idx="86494">1</cx:pt>
          <cx:pt idx="86495">2</cx:pt>
          <cx:pt idx="86496">4</cx:pt>
          <cx:pt idx="86497">0</cx:pt>
          <cx:pt idx="86498">3</cx:pt>
          <cx:pt idx="86499">5</cx:pt>
          <cx:pt idx="86500">3</cx:pt>
          <cx:pt idx="86501">1</cx:pt>
          <cx:pt idx="86502">2</cx:pt>
          <cx:pt idx="86503">5</cx:pt>
          <cx:pt idx="86504">3</cx:pt>
          <cx:pt idx="86505">4</cx:pt>
          <cx:pt idx="86506">3</cx:pt>
          <cx:pt idx="86507">1</cx:pt>
          <cx:pt idx="86508">2</cx:pt>
          <cx:pt idx="86509">2</cx:pt>
          <cx:pt idx="86510">1</cx:pt>
          <cx:pt idx="86511">2</cx:pt>
          <cx:pt idx="86512">3</cx:pt>
          <cx:pt idx="86513">4</cx:pt>
          <cx:pt idx="86514">0</cx:pt>
          <cx:pt idx="86515">3</cx:pt>
          <cx:pt idx="86516">2</cx:pt>
          <cx:pt idx="86517">1</cx:pt>
          <cx:pt idx="86518">5</cx:pt>
          <cx:pt idx="86519">2</cx:pt>
          <cx:pt idx="86520">5</cx:pt>
          <cx:pt idx="86521">3</cx:pt>
          <cx:pt idx="86522">2</cx:pt>
          <cx:pt idx="86523">2</cx:pt>
          <cx:pt idx="86524">5</cx:pt>
          <cx:pt idx="86525">3</cx:pt>
          <cx:pt idx="86526">1</cx:pt>
          <cx:pt idx="86527">2</cx:pt>
          <cx:pt idx="86528">4</cx:pt>
          <cx:pt idx="86529">2</cx:pt>
          <cx:pt idx="86530">2</cx:pt>
          <cx:pt idx="86531">2</cx:pt>
          <cx:pt idx="86532">3</cx:pt>
          <cx:pt idx="86533">5</cx:pt>
          <cx:pt idx="86534">1</cx:pt>
          <cx:pt idx="86535">1</cx:pt>
          <cx:pt idx="86536">3</cx:pt>
          <cx:pt idx="86537">2</cx:pt>
          <cx:pt idx="86538">1</cx:pt>
          <cx:pt idx="86539">3</cx:pt>
          <cx:pt idx="86540">2</cx:pt>
          <cx:pt idx="86541">4</cx:pt>
          <cx:pt idx="86542">2</cx:pt>
          <cx:pt idx="86543">5</cx:pt>
          <cx:pt idx="86544">1</cx:pt>
          <cx:pt idx="86545">2</cx:pt>
          <cx:pt idx="86546">4</cx:pt>
          <cx:pt idx="86547">4</cx:pt>
          <cx:pt idx="86548">2</cx:pt>
          <cx:pt idx="86549">2</cx:pt>
          <cx:pt idx="86550">1</cx:pt>
          <cx:pt idx="86551">3</cx:pt>
          <cx:pt idx="86552">2</cx:pt>
          <cx:pt idx="86553">3</cx:pt>
          <cx:pt idx="86554">4</cx:pt>
          <cx:pt idx="86555">5</cx:pt>
          <cx:pt idx="86556">4</cx:pt>
          <cx:pt idx="86557">5</cx:pt>
          <cx:pt idx="86558">3</cx:pt>
          <cx:pt idx="86559">2</cx:pt>
          <cx:pt idx="86560">2</cx:pt>
          <cx:pt idx="86561">2</cx:pt>
          <cx:pt idx="86562">2</cx:pt>
          <cx:pt idx="86563">2</cx:pt>
          <cx:pt idx="86564">1</cx:pt>
          <cx:pt idx="86565">2</cx:pt>
          <cx:pt idx="86566">3</cx:pt>
          <cx:pt idx="86567">2</cx:pt>
          <cx:pt idx="86568">2</cx:pt>
          <cx:pt idx="86569">4</cx:pt>
          <cx:pt idx="86570">1</cx:pt>
          <cx:pt idx="86571">1</cx:pt>
          <cx:pt idx="86572">1</cx:pt>
          <cx:pt idx="86573">4</cx:pt>
          <cx:pt idx="86574">2</cx:pt>
          <cx:pt idx="86575">4</cx:pt>
          <cx:pt idx="86576">3</cx:pt>
          <cx:pt idx="86577">4</cx:pt>
          <cx:pt idx="86578">2</cx:pt>
          <cx:pt idx="86579">4</cx:pt>
          <cx:pt idx="86580">2</cx:pt>
          <cx:pt idx="86581">3</cx:pt>
          <cx:pt idx="86582">1</cx:pt>
          <cx:pt idx="86583">5</cx:pt>
          <cx:pt idx="86584">1</cx:pt>
          <cx:pt idx="86585">3</cx:pt>
          <cx:pt idx="86586">5</cx:pt>
          <cx:pt idx="86587">2</cx:pt>
          <cx:pt idx="86588">3</cx:pt>
          <cx:pt idx="86589">1</cx:pt>
          <cx:pt idx="86590">4</cx:pt>
          <cx:pt idx="86591">5</cx:pt>
          <cx:pt idx="86592">4</cx:pt>
          <cx:pt idx="86593">5</cx:pt>
          <cx:pt idx="86594">4</cx:pt>
          <cx:pt idx="86595">3</cx:pt>
          <cx:pt idx="86596">2</cx:pt>
          <cx:pt idx="86597">3</cx:pt>
          <cx:pt idx="86598">4</cx:pt>
          <cx:pt idx="86599">4</cx:pt>
          <cx:pt idx="86600">2</cx:pt>
          <cx:pt idx="86601">4</cx:pt>
          <cx:pt idx="86602">3</cx:pt>
          <cx:pt idx="86603">4</cx:pt>
          <cx:pt idx="86604">5</cx:pt>
          <cx:pt idx="86605">5</cx:pt>
          <cx:pt idx="86606">1</cx:pt>
          <cx:pt idx="86607">3</cx:pt>
          <cx:pt idx="86608">2</cx:pt>
          <cx:pt idx="86609">3</cx:pt>
          <cx:pt idx="86610">5</cx:pt>
          <cx:pt idx="86611">1</cx:pt>
          <cx:pt idx="86612">3</cx:pt>
          <cx:pt idx="86613">1</cx:pt>
          <cx:pt idx="86614">2</cx:pt>
          <cx:pt idx="86615">2</cx:pt>
          <cx:pt idx="86616">2</cx:pt>
          <cx:pt idx="86617">4</cx:pt>
          <cx:pt idx="86618">2</cx:pt>
          <cx:pt idx="86619">4</cx:pt>
          <cx:pt idx="86620">4</cx:pt>
          <cx:pt idx="86621">3</cx:pt>
          <cx:pt idx="86622">5</cx:pt>
          <cx:pt idx="86623">3</cx:pt>
          <cx:pt idx="86624">3</cx:pt>
          <cx:pt idx="86625">3</cx:pt>
          <cx:pt idx="86626">5</cx:pt>
          <cx:pt idx="86627">3</cx:pt>
          <cx:pt idx="86628">2</cx:pt>
          <cx:pt idx="86629">3</cx:pt>
          <cx:pt idx="86630">4</cx:pt>
          <cx:pt idx="86631">3</cx:pt>
          <cx:pt idx="86632">0</cx:pt>
          <cx:pt idx="86633">3</cx:pt>
          <cx:pt idx="86634">0</cx:pt>
          <cx:pt idx="86635">3</cx:pt>
          <cx:pt idx="86636">2</cx:pt>
          <cx:pt idx="86637">4</cx:pt>
          <cx:pt idx="86638">1</cx:pt>
          <cx:pt idx="86639">3</cx:pt>
          <cx:pt idx="86640">5</cx:pt>
          <cx:pt idx="86641">5</cx:pt>
          <cx:pt idx="86642">2</cx:pt>
          <cx:pt idx="86643">2</cx:pt>
          <cx:pt idx="86644">3</cx:pt>
          <cx:pt idx="86645">4</cx:pt>
          <cx:pt idx="86646">0</cx:pt>
          <cx:pt idx="86647">5</cx:pt>
          <cx:pt idx="86648">3</cx:pt>
          <cx:pt idx="86649">5</cx:pt>
          <cx:pt idx="86650">2</cx:pt>
          <cx:pt idx="86651">2</cx:pt>
          <cx:pt idx="86652">3</cx:pt>
          <cx:pt idx="86653">3</cx:pt>
          <cx:pt idx="86654">2</cx:pt>
          <cx:pt idx="86655">3</cx:pt>
          <cx:pt idx="86656">3</cx:pt>
          <cx:pt idx="86657">5</cx:pt>
          <cx:pt idx="86658">3</cx:pt>
          <cx:pt idx="86659">2</cx:pt>
          <cx:pt idx="86660">3</cx:pt>
          <cx:pt idx="86661">2</cx:pt>
          <cx:pt idx="86662">2</cx:pt>
          <cx:pt idx="86663">1</cx:pt>
          <cx:pt idx="86664">5</cx:pt>
          <cx:pt idx="86665">2</cx:pt>
          <cx:pt idx="86666">4</cx:pt>
          <cx:pt idx="86667">5</cx:pt>
          <cx:pt idx="86668">0</cx:pt>
          <cx:pt idx="86669">3</cx:pt>
          <cx:pt idx="86670">2</cx:pt>
          <cx:pt idx="86671">0</cx:pt>
          <cx:pt idx="86672">1</cx:pt>
          <cx:pt idx="86673">2</cx:pt>
          <cx:pt idx="86674">2</cx:pt>
          <cx:pt idx="86675">1</cx:pt>
          <cx:pt idx="86676">5</cx:pt>
          <cx:pt idx="86677">5</cx:pt>
          <cx:pt idx="86678">2</cx:pt>
          <cx:pt idx="86679">3</cx:pt>
          <cx:pt idx="86680">2</cx:pt>
          <cx:pt idx="86681">3</cx:pt>
          <cx:pt idx="86682">5</cx:pt>
          <cx:pt idx="86683">3</cx:pt>
          <cx:pt idx="86684">5</cx:pt>
          <cx:pt idx="86685">2</cx:pt>
          <cx:pt idx="86686">0</cx:pt>
          <cx:pt idx="86687">1</cx:pt>
          <cx:pt idx="86688">2</cx:pt>
          <cx:pt idx="86689">2</cx:pt>
          <cx:pt idx="86690">1</cx:pt>
          <cx:pt idx="86691">3</cx:pt>
          <cx:pt idx="86692">3</cx:pt>
          <cx:pt idx="86693">1</cx:pt>
          <cx:pt idx="86694">4</cx:pt>
          <cx:pt idx="86695">1</cx:pt>
          <cx:pt idx="86696">3</cx:pt>
          <cx:pt idx="86697">3</cx:pt>
          <cx:pt idx="86698">5</cx:pt>
          <cx:pt idx="86699">4</cx:pt>
          <cx:pt idx="86700">4</cx:pt>
          <cx:pt idx="86701">4</cx:pt>
          <cx:pt idx="86702">3</cx:pt>
          <cx:pt idx="86703">2</cx:pt>
          <cx:pt idx="86704">2</cx:pt>
          <cx:pt idx="86705">4</cx:pt>
          <cx:pt idx="86706">4</cx:pt>
          <cx:pt idx="86707">3</cx:pt>
          <cx:pt idx="86708">3</cx:pt>
          <cx:pt idx="86709">5</cx:pt>
          <cx:pt idx="86710">1</cx:pt>
          <cx:pt idx="86711">5</cx:pt>
          <cx:pt idx="86712">4</cx:pt>
          <cx:pt idx="86713">4</cx:pt>
          <cx:pt idx="86714">3</cx:pt>
          <cx:pt idx="86715">4</cx:pt>
          <cx:pt idx="86716">2</cx:pt>
          <cx:pt idx="86717">5</cx:pt>
          <cx:pt idx="86718">3</cx:pt>
          <cx:pt idx="86719">0</cx:pt>
          <cx:pt idx="86720">4</cx:pt>
          <cx:pt idx="86721">2</cx:pt>
          <cx:pt idx="86722">2</cx:pt>
          <cx:pt idx="86723">3</cx:pt>
          <cx:pt idx="86724">0</cx:pt>
          <cx:pt idx="86725">3</cx:pt>
          <cx:pt idx="86726">4</cx:pt>
          <cx:pt idx="86727">3</cx:pt>
          <cx:pt idx="86728">2</cx:pt>
          <cx:pt idx="86729">3</cx:pt>
          <cx:pt idx="86730">4</cx:pt>
          <cx:pt idx="86731">1</cx:pt>
          <cx:pt idx="86732">1</cx:pt>
          <cx:pt idx="86733">5</cx:pt>
          <cx:pt idx="86734">5</cx:pt>
          <cx:pt idx="86735">2</cx:pt>
          <cx:pt idx="86736">2</cx:pt>
          <cx:pt idx="86737">4</cx:pt>
          <cx:pt idx="86738">3</cx:pt>
          <cx:pt idx="86739">1</cx:pt>
          <cx:pt idx="86740">1</cx:pt>
          <cx:pt idx="86741">4</cx:pt>
          <cx:pt idx="86742">4</cx:pt>
          <cx:pt idx="86743">3</cx:pt>
          <cx:pt idx="86744">3</cx:pt>
          <cx:pt idx="86745">4</cx:pt>
          <cx:pt idx="86746">2</cx:pt>
          <cx:pt idx="86747">1</cx:pt>
          <cx:pt idx="86748">1</cx:pt>
          <cx:pt idx="86749">5</cx:pt>
          <cx:pt idx="86750">5</cx:pt>
          <cx:pt idx="86751">3</cx:pt>
          <cx:pt idx="86752">0</cx:pt>
          <cx:pt idx="86753">2</cx:pt>
          <cx:pt idx="86754">1</cx:pt>
          <cx:pt idx="86755">4</cx:pt>
          <cx:pt idx="86756">4</cx:pt>
          <cx:pt idx="86757">4</cx:pt>
          <cx:pt idx="86758">3</cx:pt>
          <cx:pt idx="86759">3</cx:pt>
          <cx:pt idx="86760">2</cx:pt>
          <cx:pt idx="86761">0</cx:pt>
          <cx:pt idx="86762">1</cx:pt>
          <cx:pt idx="86763">4</cx:pt>
          <cx:pt idx="86764">2</cx:pt>
          <cx:pt idx="86765">3</cx:pt>
          <cx:pt idx="86766">3</cx:pt>
          <cx:pt idx="86767">3</cx:pt>
          <cx:pt idx="86768">1</cx:pt>
          <cx:pt idx="86769">1</cx:pt>
          <cx:pt idx="86770">4</cx:pt>
          <cx:pt idx="86771">2</cx:pt>
          <cx:pt idx="86772">2</cx:pt>
          <cx:pt idx="86773">2</cx:pt>
          <cx:pt idx="86774">2</cx:pt>
          <cx:pt idx="86775">1</cx:pt>
          <cx:pt idx="86776">4</cx:pt>
          <cx:pt idx="86777">5</cx:pt>
          <cx:pt idx="86778">3</cx:pt>
          <cx:pt idx="86779">3</cx:pt>
          <cx:pt idx="86780">1</cx:pt>
          <cx:pt idx="86781">2</cx:pt>
          <cx:pt idx="86782">1</cx:pt>
          <cx:pt idx="86783">2</cx:pt>
          <cx:pt idx="86784">3</cx:pt>
          <cx:pt idx="86785">4</cx:pt>
          <cx:pt idx="86786">5</cx:pt>
          <cx:pt idx="86787">2</cx:pt>
          <cx:pt idx="86788">5</cx:pt>
          <cx:pt idx="86789">4</cx:pt>
          <cx:pt idx="86790">4</cx:pt>
          <cx:pt idx="86791">1</cx:pt>
          <cx:pt idx="86792">2</cx:pt>
          <cx:pt idx="86793">2</cx:pt>
          <cx:pt idx="86794">3</cx:pt>
          <cx:pt idx="86795">2</cx:pt>
          <cx:pt idx="86796">2</cx:pt>
          <cx:pt idx="86797">0</cx:pt>
          <cx:pt idx="86798">0</cx:pt>
          <cx:pt idx="86799">3</cx:pt>
          <cx:pt idx="86800">5</cx:pt>
          <cx:pt idx="86801">1</cx:pt>
          <cx:pt idx="86802">1</cx:pt>
          <cx:pt idx="86803">3</cx:pt>
          <cx:pt idx="86804">2</cx:pt>
          <cx:pt idx="86805">1</cx:pt>
          <cx:pt idx="86806">1</cx:pt>
          <cx:pt idx="86807">2</cx:pt>
          <cx:pt idx="86808">3</cx:pt>
          <cx:pt idx="86809">3</cx:pt>
          <cx:pt idx="86810">0</cx:pt>
          <cx:pt idx="86811">4</cx:pt>
          <cx:pt idx="86812">5</cx:pt>
          <cx:pt idx="86813">3</cx:pt>
          <cx:pt idx="86814">3</cx:pt>
          <cx:pt idx="86815">3</cx:pt>
          <cx:pt idx="86816">2</cx:pt>
          <cx:pt idx="86817">3</cx:pt>
          <cx:pt idx="86818">2</cx:pt>
          <cx:pt idx="86819">5</cx:pt>
          <cx:pt idx="86820">3</cx:pt>
          <cx:pt idx="86821">2</cx:pt>
          <cx:pt idx="86822">5</cx:pt>
          <cx:pt idx="86823">1</cx:pt>
          <cx:pt idx="86824">4</cx:pt>
          <cx:pt idx="86825">4</cx:pt>
          <cx:pt idx="86826">2</cx:pt>
          <cx:pt idx="86827">4</cx:pt>
          <cx:pt idx="86828">0</cx:pt>
          <cx:pt idx="86829">2</cx:pt>
          <cx:pt idx="86830">1</cx:pt>
          <cx:pt idx="86831">4</cx:pt>
          <cx:pt idx="86832">1</cx:pt>
          <cx:pt idx="86833">3</cx:pt>
          <cx:pt idx="86834">2</cx:pt>
          <cx:pt idx="86835">3</cx:pt>
          <cx:pt idx="86836">3</cx:pt>
          <cx:pt idx="86837">1</cx:pt>
          <cx:pt idx="86838">1</cx:pt>
          <cx:pt idx="86839">3</cx:pt>
          <cx:pt idx="86840">2</cx:pt>
          <cx:pt idx="86841">2</cx:pt>
          <cx:pt idx="86842">3</cx:pt>
          <cx:pt idx="86843">4</cx:pt>
          <cx:pt idx="86844">2</cx:pt>
          <cx:pt idx="86845">3</cx:pt>
          <cx:pt idx="86846">1</cx:pt>
          <cx:pt idx="86847">3</cx:pt>
          <cx:pt idx="86848">3</cx:pt>
          <cx:pt idx="86849">1</cx:pt>
          <cx:pt idx="86850">1</cx:pt>
          <cx:pt idx="86851">2</cx:pt>
          <cx:pt idx="86852">4</cx:pt>
          <cx:pt idx="86853">0</cx:pt>
          <cx:pt idx="86854">1</cx:pt>
          <cx:pt idx="86855">5</cx:pt>
          <cx:pt idx="86856">5</cx:pt>
          <cx:pt idx="86857">3</cx:pt>
          <cx:pt idx="86858">2</cx:pt>
          <cx:pt idx="86859">0</cx:pt>
          <cx:pt idx="86860">3</cx:pt>
          <cx:pt idx="86861">0</cx:pt>
          <cx:pt idx="86862">5</cx:pt>
          <cx:pt idx="86863">2</cx:pt>
          <cx:pt idx="86864">2</cx:pt>
          <cx:pt idx="86865">1</cx:pt>
          <cx:pt idx="86866">2</cx:pt>
          <cx:pt idx="86867">4</cx:pt>
          <cx:pt idx="86868">1</cx:pt>
          <cx:pt idx="86869">1</cx:pt>
          <cx:pt idx="86870">0</cx:pt>
          <cx:pt idx="86871">5</cx:pt>
          <cx:pt idx="86872">5</cx:pt>
          <cx:pt idx="86873">0</cx:pt>
          <cx:pt idx="86874">5</cx:pt>
          <cx:pt idx="86875">3</cx:pt>
          <cx:pt idx="86876">4</cx:pt>
          <cx:pt idx="86877">3</cx:pt>
          <cx:pt idx="86878">1</cx:pt>
          <cx:pt idx="86879">2</cx:pt>
          <cx:pt idx="86880">2</cx:pt>
          <cx:pt idx="86881">4</cx:pt>
          <cx:pt idx="86882">4</cx:pt>
          <cx:pt idx="86883">4</cx:pt>
          <cx:pt idx="86884">3</cx:pt>
          <cx:pt idx="86885">2</cx:pt>
          <cx:pt idx="86886">3</cx:pt>
          <cx:pt idx="86887">4</cx:pt>
          <cx:pt idx="86888">1</cx:pt>
          <cx:pt idx="86889">4</cx:pt>
          <cx:pt idx="86890">4</cx:pt>
          <cx:pt idx="86891">4</cx:pt>
          <cx:pt idx="86892">4</cx:pt>
          <cx:pt idx="86893">2</cx:pt>
          <cx:pt idx="86894">2</cx:pt>
          <cx:pt idx="86895">3</cx:pt>
          <cx:pt idx="86896">0</cx:pt>
          <cx:pt idx="86897">2</cx:pt>
          <cx:pt idx="86898">3</cx:pt>
          <cx:pt idx="86899">1</cx:pt>
          <cx:pt idx="86900">1</cx:pt>
          <cx:pt idx="86901">5</cx:pt>
          <cx:pt idx="86902">2</cx:pt>
          <cx:pt idx="86903">5</cx:pt>
          <cx:pt idx="86904">4</cx:pt>
          <cx:pt idx="86905">4</cx:pt>
          <cx:pt idx="86906">1</cx:pt>
          <cx:pt idx="86907">2</cx:pt>
          <cx:pt idx="86908">1</cx:pt>
          <cx:pt idx="86909">1</cx:pt>
          <cx:pt idx="86910">3</cx:pt>
          <cx:pt idx="86911">2</cx:pt>
          <cx:pt idx="86912">3</cx:pt>
          <cx:pt idx="86913">1</cx:pt>
          <cx:pt idx="86914">3</cx:pt>
          <cx:pt idx="86915">2</cx:pt>
          <cx:pt idx="86916">3</cx:pt>
          <cx:pt idx="86917">2</cx:pt>
          <cx:pt idx="86918">5</cx:pt>
          <cx:pt idx="86919">4</cx:pt>
          <cx:pt idx="86920">1</cx:pt>
          <cx:pt idx="86921">2</cx:pt>
          <cx:pt idx="86922">3</cx:pt>
          <cx:pt idx="86923">5</cx:pt>
          <cx:pt idx="86924">2</cx:pt>
          <cx:pt idx="86925">4</cx:pt>
          <cx:pt idx="86926">2</cx:pt>
          <cx:pt idx="86927">2</cx:pt>
          <cx:pt idx="86928">2</cx:pt>
          <cx:pt idx="86929">5</cx:pt>
          <cx:pt idx="86930">3</cx:pt>
          <cx:pt idx="86931">3</cx:pt>
          <cx:pt idx="86932">3</cx:pt>
          <cx:pt idx="86933">3</cx:pt>
          <cx:pt idx="86934">2</cx:pt>
          <cx:pt idx="86935">2</cx:pt>
          <cx:pt idx="86936">5</cx:pt>
          <cx:pt idx="86937">5</cx:pt>
          <cx:pt idx="86938">3</cx:pt>
          <cx:pt idx="86939">3</cx:pt>
          <cx:pt idx="86940">4</cx:pt>
          <cx:pt idx="86941">4</cx:pt>
          <cx:pt idx="86942">3</cx:pt>
          <cx:pt idx="86943">2</cx:pt>
          <cx:pt idx="86944">2</cx:pt>
          <cx:pt idx="86945">3</cx:pt>
          <cx:pt idx="86946">3</cx:pt>
          <cx:pt idx="86947">4</cx:pt>
          <cx:pt idx="86948">0</cx:pt>
          <cx:pt idx="86949">1</cx:pt>
          <cx:pt idx="86950">2</cx:pt>
          <cx:pt idx="86951">1</cx:pt>
          <cx:pt idx="86952">3</cx:pt>
          <cx:pt idx="86953">2</cx:pt>
          <cx:pt idx="86954">1</cx:pt>
          <cx:pt idx="86955">2</cx:pt>
          <cx:pt idx="86956">5</cx:pt>
          <cx:pt idx="86957">2</cx:pt>
          <cx:pt idx="86958">5</cx:pt>
          <cx:pt idx="86959">2</cx:pt>
          <cx:pt idx="86960">2</cx:pt>
          <cx:pt idx="86961">2</cx:pt>
          <cx:pt idx="86962">2</cx:pt>
          <cx:pt idx="86963">2</cx:pt>
          <cx:pt idx="86964">4</cx:pt>
          <cx:pt idx="86965">3</cx:pt>
          <cx:pt idx="86966">2</cx:pt>
          <cx:pt idx="86967">1</cx:pt>
          <cx:pt idx="86968">4</cx:pt>
          <cx:pt idx="86969">2</cx:pt>
          <cx:pt idx="86970">4</cx:pt>
          <cx:pt idx="86971">4</cx:pt>
          <cx:pt idx="86972">4</cx:pt>
          <cx:pt idx="86973">0</cx:pt>
          <cx:pt idx="86974">1</cx:pt>
          <cx:pt idx="86975">2</cx:pt>
          <cx:pt idx="86976">5</cx:pt>
          <cx:pt idx="86977">4</cx:pt>
          <cx:pt idx="86978">3</cx:pt>
          <cx:pt idx="86979">1</cx:pt>
          <cx:pt idx="86980">2</cx:pt>
          <cx:pt idx="86981">2</cx:pt>
          <cx:pt idx="86982">1</cx:pt>
          <cx:pt idx="86983">4</cx:pt>
          <cx:pt idx="86984">1</cx:pt>
          <cx:pt idx="86985">3</cx:pt>
          <cx:pt idx="86986">3</cx:pt>
          <cx:pt idx="86987">5</cx:pt>
          <cx:pt idx="86988">2</cx:pt>
          <cx:pt idx="86989">1</cx:pt>
          <cx:pt idx="86990">1</cx:pt>
          <cx:pt idx="86991">2</cx:pt>
          <cx:pt idx="86992">3</cx:pt>
          <cx:pt idx="86993">1</cx:pt>
          <cx:pt idx="86994">2</cx:pt>
          <cx:pt idx="86995">4</cx:pt>
          <cx:pt idx="86996">1</cx:pt>
          <cx:pt idx="86997">2</cx:pt>
          <cx:pt idx="86998">2</cx:pt>
          <cx:pt idx="86999">1</cx:pt>
          <cx:pt idx="87000">4</cx:pt>
          <cx:pt idx="87001">3</cx:pt>
          <cx:pt idx="87002">4</cx:pt>
          <cx:pt idx="87003">3</cx:pt>
          <cx:pt idx="87004">1</cx:pt>
          <cx:pt idx="87005">3</cx:pt>
          <cx:pt idx="87006">3</cx:pt>
          <cx:pt idx="87007">4</cx:pt>
          <cx:pt idx="87008">3</cx:pt>
          <cx:pt idx="87009">1</cx:pt>
          <cx:pt idx="87010">5</cx:pt>
          <cx:pt idx="87011">1</cx:pt>
          <cx:pt idx="87012">1</cx:pt>
          <cx:pt idx="87013">4</cx:pt>
          <cx:pt idx="87014">3</cx:pt>
          <cx:pt idx="87015">1</cx:pt>
          <cx:pt idx="87016">4</cx:pt>
          <cx:pt idx="87017">4</cx:pt>
          <cx:pt idx="87018">1</cx:pt>
          <cx:pt idx="87019">5</cx:pt>
          <cx:pt idx="87020">3</cx:pt>
          <cx:pt idx="87021">1</cx:pt>
          <cx:pt idx="87022">3</cx:pt>
          <cx:pt idx="87023">5</cx:pt>
          <cx:pt idx="87024">3</cx:pt>
          <cx:pt idx="87025">5</cx:pt>
          <cx:pt idx="87026">4</cx:pt>
          <cx:pt idx="87027">3</cx:pt>
          <cx:pt idx="87028">2</cx:pt>
          <cx:pt idx="87029">4</cx:pt>
          <cx:pt idx="87030">3</cx:pt>
          <cx:pt idx="87031">3</cx:pt>
          <cx:pt idx="87032">1</cx:pt>
          <cx:pt idx="87033">3</cx:pt>
          <cx:pt idx="87034">2</cx:pt>
          <cx:pt idx="87035">3</cx:pt>
          <cx:pt idx="87036">3</cx:pt>
          <cx:pt idx="87037">3</cx:pt>
          <cx:pt idx="87038">2</cx:pt>
          <cx:pt idx="87039">1</cx:pt>
          <cx:pt idx="87040">3</cx:pt>
          <cx:pt idx="87041">5</cx:pt>
          <cx:pt idx="87042">4</cx:pt>
          <cx:pt idx="87043">5</cx:pt>
          <cx:pt idx="87044">1</cx:pt>
          <cx:pt idx="87045">5</cx:pt>
          <cx:pt idx="87046">1</cx:pt>
          <cx:pt idx="87047">2</cx:pt>
          <cx:pt idx="87048">2</cx:pt>
          <cx:pt idx="87049">0</cx:pt>
          <cx:pt idx="87050">1</cx:pt>
          <cx:pt idx="87051">3</cx:pt>
          <cx:pt idx="87052">5</cx:pt>
          <cx:pt idx="87053">4</cx:pt>
          <cx:pt idx="87054">3</cx:pt>
          <cx:pt idx="87055">4</cx:pt>
          <cx:pt idx="87056">2</cx:pt>
          <cx:pt idx="87057">4</cx:pt>
          <cx:pt idx="87058">3</cx:pt>
          <cx:pt idx="87059">3</cx:pt>
          <cx:pt idx="87060">3</cx:pt>
          <cx:pt idx="87061">0</cx:pt>
          <cx:pt idx="87062">1</cx:pt>
          <cx:pt idx="87063">3</cx:pt>
          <cx:pt idx="87064">2</cx:pt>
          <cx:pt idx="87065">1</cx:pt>
          <cx:pt idx="87066">3</cx:pt>
          <cx:pt idx="87067">5</cx:pt>
          <cx:pt idx="87068">4</cx:pt>
          <cx:pt idx="87069">5</cx:pt>
          <cx:pt idx="87070">2</cx:pt>
          <cx:pt idx="87071">1</cx:pt>
          <cx:pt idx="87072">1</cx:pt>
          <cx:pt idx="87073">2</cx:pt>
          <cx:pt idx="87074">4</cx:pt>
          <cx:pt idx="87075">4</cx:pt>
          <cx:pt idx="87076">2</cx:pt>
          <cx:pt idx="87077">2</cx:pt>
          <cx:pt idx="87078">3</cx:pt>
          <cx:pt idx="87079">2</cx:pt>
          <cx:pt idx="87080">1</cx:pt>
          <cx:pt idx="87081">0</cx:pt>
          <cx:pt idx="87082">2</cx:pt>
          <cx:pt idx="87083">2</cx:pt>
          <cx:pt idx="87084">3</cx:pt>
          <cx:pt idx="87085">5</cx:pt>
          <cx:pt idx="87086">2</cx:pt>
          <cx:pt idx="87087">4</cx:pt>
          <cx:pt idx="87088">4</cx:pt>
          <cx:pt idx="87089">2</cx:pt>
          <cx:pt idx="87090">4</cx:pt>
          <cx:pt idx="87091">3</cx:pt>
          <cx:pt idx="87092">5</cx:pt>
          <cx:pt idx="87093">5</cx:pt>
          <cx:pt idx="87094">1</cx:pt>
          <cx:pt idx="87095">2</cx:pt>
          <cx:pt idx="87096">2</cx:pt>
          <cx:pt idx="87097">0</cx:pt>
          <cx:pt idx="87098">2</cx:pt>
          <cx:pt idx="87099">1</cx:pt>
          <cx:pt idx="87100">4</cx:pt>
          <cx:pt idx="87101">1</cx:pt>
          <cx:pt idx="87102">3</cx:pt>
          <cx:pt idx="87103">2</cx:pt>
          <cx:pt idx="87104">2</cx:pt>
          <cx:pt idx="87105">2</cx:pt>
          <cx:pt idx="87106">3</cx:pt>
          <cx:pt idx="87107">5</cx:pt>
          <cx:pt idx="87108">1</cx:pt>
          <cx:pt idx="87109">1</cx:pt>
          <cx:pt idx="87110">1</cx:pt>
          <cx:pt idx="87111">3</cx:pt>
          <cx:pt idx="87112">1</cx:pt>
          <cx:pt idx="87113">1</cx:pt>
          <cx:pt idx="87114">3</cx:pt>
          <cx:pt idx="87115">2</cx:pt>
          <cx:pt idx="87116">5</cx:pt>
          <cx:pt idx="87117">4</cx:pt>
          <cx:pt idx="87118">2</cx:pt>
          <cx:pt idx="87119">4</cx:pt>
          <cx:pt idx="87120">3</cx:pt>
          <cx:pt idx="87121">1</cx:pt>
          <cx:pt idx="87122">1</cx:pt>
          <cx:pt idx="87123">1</cx:pt>
          <cx:pt idx="87124">0</cx:pt>
          <cx:pt idx="87125">3</cx:pt>
          <cx:pt idx="87126">5</cx:pt>
          <cx:pt idx="87127">5</cx:pt>
          <cx:pt idx="87128">5</cx:pt>
          <cx:pt idx="87129">1</cx:pt>
          <cx:pt idx="87130">0</cx:pt>
          <cx:pt idx="87131">1</cx:pt>
          <cx:pt idx="87132">4</cx:pt>
          <cx:pt idx="87133">4</cx:pt>
          <cx:pt idx="87134">3</cx:pt>
          <cx:pt idx="87135">4</cx:pt>
          <cx:pt idx="87136">2</cx:pt>
          <cx:pt idx="87137">3</cx:pt>
          <cx:pt idx="87138">5</cx:pt>
          <cx:pt idx="87139">2</cx:pt>
          <cx:pt idx="87140">5</cx:pt>
          <cx:pt idx="87141">5</cx:pt>
          <cx:pt idx="87142">5</cx:pt>
          <cx:pt idx="87143">2</cx:pt>
          <cx:pt idx="87144">3</cx:pt>
          <cx:pt idx="87145">1</cx:pt>
          <cx:pt idx="87146">4</cx:pt>
          <cx:pt idx="87147">1</cx:pt>
          <cx:pt idx="87148">4</cx:pt>
          <cx:pt idx="87149">3</cx:pt>
          <cx:pt idx="87150">3</cx:pt>
          <cx:pt idx="87151">4</cx:pt>
          <cx:pt idx="87152">3</cx:pt>
          <cx:pt idx="87153">1</cx:pt>
          <cx:pt idx="87154">2</cx:pt>
          <cx:pt idx="87155">2</cx:pt>
          <cx:pt idx="87156">4</cx:pt>
          <cx:pt idx="87157">2</cx:pt>
          <cx:pt idx="87158">1</cx:pt>
          <cx:pt idx="87159">0</cx:pt>
          <cx:pt idx="87160">3</cx:pt>
          <cx:pt idx="87161">2</cx:pt>
          <cx:pt idx="87162">3</cx:pt>
          <cx:pt idx="87163">5</cx:pt>
          <cx:pt idx="87164">1</cx:pt>
          <cx:pt idx="87165">3</cx:pt>
          <cx:pt idx="87166">5</cx:pt>
          <cx:pt idx="87167">5</cx:pt>
          <cx:pt idx="87168">1</cx:pt>
          <cx:pt idx="87169">4</cx:pt>
          <cx:pt idx="87170">1</cx:pt>
          <cx:pt idx="87171">3</cx:pt>
          <cx:pt idx="87172">2</cx:pt>
          <cx:pt idx="87173">0</cx:pt>
          <cx:pt idx="87174">5</cx:pt>
          <cx:pt idx="87175">3</cx:pt>
          <cx:pt idx="87176">3</cx:pt>
          <cx:pt idx="87177">3</cx:pt>
          <cx:pt idx="87178">2</cx:pt>
          <cx:pt idx="87179">4</cx:pt>
          <cx:pt idx="87180">2</cx:pt>
          <cx:pt idx="87181">3</cx:pt>
          <cx:pt idx="87182">3</cx:pt>
          <cx:pt idx="87183">1</cx:pt>
          <cx:pt idx="87184">1</cx:pt>
          <cx:pt idx="87185">1</cx:pt>
          <cx:pt idx="87186">2</cx:pt>
          <cx:pt idx="87187">2</cx:pt>
          <cx:pt idx="87188">1</cx:pt>
          <cx:pt idx="87189">1</cx:pt>
          <cx:pt idx="87190">1</cx:pt>
          <cx:pt idx="87191">1</cx:pt>
          <cx:pt idx="87192">4</cx:pt>
          <cx:pt idx="87193">1</cx:pt>
          <cx:pt idx="87194">4</cx:pt>
          <cx:pt idx="87195">5</cx:pt>
          <cx:pt idx="87196">2</cx:pt>
          <cx:pt idx="87197">2</cx:pt>
          <cx:pt idx="87198">5</cx:pt>
          <cx:pt idx="87199">1</cx:pt>
          <cx:pt idx="87200">3</cx:pt>
          <cx:pt idx="87201">2</cx:pt>
          <cx:pt idx="87202">5</cx:pt>
          <cx:pt idx="87203">3</cx:pt>
          <cx:pt idx="87204">3</cx:pt>
          <cx:pt idx="87205">1</cx:pt>
          <cx:pt idx="87206">3</cx:pt>
          <cx:pt idx="87207">2</cx:pt>
          <cx:pt idx="87208">4</cx:pt>
          <cx:pt idx="87209">0</cx:pt>
          <cx:pt idx="87210">2</cx:pt>
          <cx:pt idx="87211">3</cx:pt>
          <cx:pt idx="87212">1</cx:pt>
          <cx:pt idx="87213">5</cx:pt>
          <cx:pt idx="87214">5</cx:pt>
          <cx:pt idx="87215">1</cx:pt>
          <cx:pt idx="87216">3</cx:pt>
          <cx:pt idx="87217">3</cx:pt>
          <cx:pt idx="87218">3</cx:pt>
          <cx:pt idx="87219">2</cx:pt>
          <cx:pt idx="87220">2</cx:pt>
          <cx:pt idx="87221">3</cx:pt>
          <cx:pt idx="87222">3</cx:pt>
          <cx:pt idx="87223">4</cx:pt>
          <cx:pt idx="87224">5</cx:pt>
          <cx:pt idx="87225">2</cx:pt>
          <cx:pt idx="87226">3</cx:pt>
          <cx:pt idx="87227">0</cx:pt>
          <cx:pt idx="87228">1</cx:pt>
          <cx:pt idx="87229">3</cx:pt>
          <cx:pt idx="87230">2</cx:pt>
          <cx:pt idx="87231">3</cx:pt>
          <cx:pt idx="87232">4</cx:pt>
          <cx:pt idx="87233">3</cx:pt>
          <cx:pt idx="87234">2</cx:pt>
          <cx:pt idx="87235">1</cx:pt>
          <cx:pt idx="87236">1</cx:pt>
          <cx:pt idx="87237">5</cx:pt>
          <cx:pt idx="87238">1</cx:pt>
          <cx:pt idx="87239">1</cx:pt>
          <cx:pt idx="87240">3</cx:pt>
          <cx:pt idx="87241">3</cx:pt>
          <cx:pt idx="87242">3</cx:pt>
          <cx:pt idx="87243">4</cx:pt>
          <cx:pt idx="87244">1</cx:pt>
          <cx:pt idx="87245">5</cx:pt>
          <cx:pt idx="87246">2</cx:pt>
          <cx:pt idx="87247">0</cx:pt>
          <cx:pt idx="87248">4</cx:pt>
          <cx:pt idx="87249">5</cx:pt>
          <cx:pt idx="87250">4</cx:pt>
          <cx:pt idx="87251">0</cx:pt>
          <cx:pt idx="87252">2</cx:pt>
          <cx:pt idx="87253">2</cx:pt>
          <cx:pt idx="87254">1</cx:pt>
          <cx:pt idx="87255">1</cx:pt>
          <cx:pt idx="87256">4</cx:pt>
          <cx:pt idx="87257">3</cx:pt>
          <cx:pt idx="87258">2</cx:pt>
          <cx:pt idx="87259">5</cx:pt>
          <cx:pt idx="87260">3</cx:pt>
          <cx:pt idx="87261">3</cx:pt>
          <cx:pt idx="87262">0</cx:pt>
          <cx:pt idx="87263">3</cx:pt>
          <cx:pt idx="87264">2</cx:pt>
          <cx:pt idx="87265">3</cx:pt>
          <cx:pt idx="87266">2</cx:pt>
          <cx:pt idx="87267">5</cx:pt>
          <cx:pt idx="87268">4</cx:pt>
          <cx:pt idx="87269">2</cx:pt>
          <cx:pt idx="87270">3</cx:pt>
          <cx:pt idx="87271">4</cx:pt>
          <cx:pt idx="87272">4</cx:pt>
          <cx:pt idx="87273">3</cx:pt>
          <cx:pt idx="87274">5</cx:pt>
          <cx:pt idx="87275">5</cx:pt>
          <cx:pt idx="87276">2</cx:pt>
          <cx:pt idx="87277">2</cx:pt>
          <cx:pt idx="87278">5</cx:pt>
          <cx:pt idx="87279">0</cx:pt>
          <cx:pt idx="87280">3</cx:pt>
          <cx:pt idx="87281">1</cx:pt>
          <cx:pt idx="87282">3</cx:pt>
          <cx:pt idx="87283">1</cx:pt>
          <cx:pt idx="87284">1</cx:pt>
          <cx:pt idx="87285">2</cx:pt>
          <cx:pt idx="87286">5</cx:pt>
          <cx:pt idx="87287">1</cx:pt>
          <cx:pt idx="87288">4</cx:pt>
          <cx:pt idx="87289">5</cx:pt>
          <cx:pt idx="87290">0</cx:pt>
          <cx:pt idx="87291">1</cx:pt>
          <cx:pt idx="87292">2</cx:pt>
          <cx:pt idx="87293">3</cx:pt>
          <cx:pt idx="87294">3</cx:pt>
          <cx:pt idx="87295">2</cx:pt>
          <cx:pt idx="87296">3</cx:pt>
          <cx:pt idx="87297">4</cx:pt>
          <cx:pt idx="87298">4</cx:pt>
          <cx:pt idx="87299">3</cx:pt>
          <cx:pt idx="87300">4</cx:pt>
          <cx:pt idx="87301">1</cx:pt>
          <cx:pt idx="87302">2</cx:pt>
          <cx:pt idx="87303">3</cx:pt>
          <cx:pt idx="87304">2</cx:pt>
          <cx:pt idx="87305">2</cx:pt>
          <cx:pt idx="87306">2</cx:pt>
          <cx:pt idx="87307">2</cx:pt>
          <cx:pt idx="87308">0</cx:pt>
          <cx:pt idx="87309">1</cx:pt>
          <cx:pt idx="87310">0</cx:pt>
          <cx:pt idx="87311">0</cx:pt>
          <cx:pt idx="87312">1</cx:pt>
          <cx:pt idx="87313">1</cx:pt>
          <cx:pt idx="87314">2</cx:pt>
          <cx:pt idx="87315">2</cx:pt>
          <cx:pt idx="87316">2</cx:pt>
          <cx:pt idx="87317">1</cx:pt>
          <cx:pt idx="87318">1</cx:pt>
          <cx:pt idx="87319">4</cx:pt>
          <cx:pt idx="87320">2</cx:pt>
          <cx:pt idx="87321">3</cx:pt>
          <cx:pt idx="87322">2</cx:pt>
          <cx:pt idx="87323">1</cx:pt>
          <cx:pt idx="87324">5</cx:pt>
          <cx:pt idx="87325">3</cx:pt>
          <cx:pt idx="87326">2</cx:pt>
          <cx:pt idx="87327">1</cx:pt>
          <cx:pt idx="87328">4</cx:pt>
          <cx:pt idx="87329">2</cx:pt>
          <cx:pt idx="87330">2</cx:pt>
          <cx:pt idx="87331">3</cx:pt>
          <cx:pt idx="87332">4</cx:pt>
          <cx:pt idx="87333">4</cx:pt>
          <cx:pt idx="87334">3</cx:pt>
          <cx:pt idx="87335">2</cx:pt>
          <cx:pt idx="87336">1</cx:pt>
          <cx:pt idx="87337">2</cx:pt>
          <cx:pt idx="87338">4</cx:pt>
          <cx:pt idx="87339">3</cx:pt>
          <cx:pt idx="87340">2</cx:pt>
          <cx:pt idx="87341">3</cx:pt>
          <cx:pt idx="87342">3</cx:pt>
          <cx:pt idx="87343">1</cx:pt>
          <cx:pt idx="87344">2</cx:pt>
          <cx:pt idx="87345">3</cx:pt>
          <cx:pt idx="87346">2</cx:pt>
          <cx:pt idx="87347">2</cx:pt>
          <cx:pt idx="87348">1</cx:pt>
          <cx:pt idx="87349">5</cx:pt>
          <cx:pt idx="87350">4</cx:pt>
          <cx:pt idx="87351">3</cx:pt>
          <cx:pt idx="87352">5</cx:pt>
          <cx:pt idx="87353">2</cx:pt>
          <cx:pt idx="87354">2</cx:pt>
          <cx:pt idx="87355">3</cx:pt>
          <cx:pt idx="87356">1</cx:pt>
          <cx:pt idx="87357">4</cx:pt>
          <cx:pt idx="87358">3</cx:pt>
          <cx:pt idx="87359">2</cx:pt>
          <cx:pt idx="87360">2</cx:pt>
          <cx:pt idx="87361">2</cx:pt>
          <cx:pt idx="87362">5</cx:pt>
          <cx:pt idx="87363">2</cx:pt>
          <cx:pt idx="87364">1</cx:pt>
          <cx:pt idx="87365">1</cx:pt>
          <cx:pt idx="87366">3</cx:pt>
          <cx:pt idx="87367">5</cx:pt>
          <cx:pt idx="87368">4</cx:pt>
          <cx:pt idx="87369">3</cx:pt>
          <cx:pt idx="87370">3</cx:pt>
          <cx:pt idx="87371">3</cx:pt>
          <cx:pt idx="87372">1</cx:pt>
          <cx:pt idx="87373">2</cx:pt>
          <cx:pt idx="87374">4</cx:pt>
          <cx:pt idx="87375">4</cx:pt>
          <cx:pt idx="87376">5</cx:pt>
          <cx:pt idx="87377">4</cx:pt>
          <cx:pt idx="87378">2</cx:pt>
          <cx:pt idx="87379">5</cx:pt>
          <cx:pt idx="87380">3</cx:pt>
          <cx:pt idx="87381">2</cx:pt>
          <cx:pt idx="87382">3</cx:pt>
          <cx:pt idx="87383">5</cx:pt>
          <cx:pt idx="87384">1</cx:pt>
          <cx:pt idx="87385">1</cx:pt>
          <cx:pt idx="87386">2</cx:pt>
          <cx:pt idx="87387">4</cx:pt>
          <cx:pt idx="87388">4</cx:pt>
          <cx:pt idx="87389">2</cx:pt>
          <cx:pt idx="87390">2</cx:pt>
          <cx:pt idx="87391">2</cx:pt>
          <cx:pt idx="87392">3</cx:pt>
          <cx:pt idx="87393">4</cx:pt>
          <cx:pt idx="87394">3</cx:pt>
          <cx:pt idx="87395">4</cx:pt>
          <cx:pt idx="87396">1</cx:pt>
          <cx:pt idx="87397">3</cx:pt>
          <cx:pt idx="87398">2</cx:pt>
          <cx:pt idx="87399">0</cx:pt>
          <cx:pt idx="87400">2</cx:pt>
          <cx:pt idx="87401">3</cx:pt>
          <cx:pt idx="87402">3</cx:pt>
          <cx:pt idx="87403">2</cx:pt>
          <cx:pt idx="87404">2</cx:pt>
          <cx:pt idx="87405">0</cx:pt>
          <cx:pt idx="87406">4</cx:pt>
          <cx:pt idx="87407">1</cx:pt>
          <cx:pt idx="87408">3</cx:pt>
          <cx:pt idx="87409">1</cx:pt>
          <cx:pt idx="87410">3</cx:pt>
          <cx:pt idx="87411">0</cx:pt>
          <cx:pt idx="87412">5</cx:pt>
          <cx:pt idx="87413">5</cx:pt>
          <cx:pt idx="87414">0</cx:pt>
          <cx:pt idx="87415">1</cx:pt>
          <cx:pt idx="87416">4</cx:pt>
          <cx:pt idx="87417">5</cx:pt>
          <cx:pt idx="87418">1</cx:pt>
          <cx:pt idx="87419">5</cx:pt>
          <cx:pt idx="87420">0</cx:pt>
          <cx:pt idx="87421">4</cx:pt>
          <cx:pt idx="87422">3</cx:pt>
          <cx:pt idx="87423">0</cx:pt>
          <cx:pt idx="87424">2</cx:pt>
          <cx:pt idx="87425">0</cx:pt>
          <cx:pt idx="87426">4</cx:pt>
          <cx:pt idx="87427">4</cx:pt>
          <cx:pt idx="87428">1</cx:pt>
          <cx:pt idx="87429">1</cx:pt>
          <cx:pt idx="87430">2</cx:pt>
          <cx:pt idx="87431">3</cx:pt>
          <cx:pt idx="87432">1</cx:pt>
          <cx:pt idx="87433">2</cx:pt>
          <cx:pt idx="87434">2</cx:pt>
          <cx:pt idx="87435">2</cx:pt>
          <cx:pt idx="87436">4</cx:pt>
          <cx:pt idx="87437">4</cx:pt>
          <cx:pt idx="87438">2</cx:pt>
          <cx:pt idx="87439">0</cx:pt>
          <cx:pt idx="87440">5</cx:pt>
          <cx:pt idx="87441">3</cx:pt>
          <cx:pt idx="87442">2</cx:pt>
          <cx:pt idx="87443">2</cx:pt>
          <cx:pt idx="87444">4</cx:pt>
          <cx:pt idx="87445">5</cx:pt>
          <cx:pt idx="87446">1</cx:pt>
          <cx:pt idx="87447">3</cx:pt>
          <cx:pt idx="87448">3</cx:pt>
          <cx:pt idx="87449">5</cx:pt>
          <cx:pt idx="87450">1</cx:pt>
          <cx:pt idx="87451">4</cx:pt>
          <cx:pt idx="87452">5</cx:pt>
          <cx:pt idx="87453">5</cx:pt>
          <cx:pt idx="87454">1</cx:pt>
          <cx:pt idx="87455">2</cx:pt>
          <cx:pt idx="87456">2</cx:pt>
          <cx:pt idx="87457">1</cx:pt>
          <cx:pt idx="87458">1</cx:pt>
          <cx:pt idx="87459">4</cx:pt>
          <cx:pt idx="87460">2</cx:pt>
          <cx:pt idx="87461">4</cx:pt>
          <cx:pt idx="87462">4</cx:pt>
          <cx:pt idx="87463">4</cx:pt>
          <cx:pt idx="87464">1</cx:pt>
          <cx:pt idx="87465">5</cx:pt>
          <cx:pt idx="87466">3</cx:pt>
          <cx:pt idx="87467">4</cx:pt>
          <cx:pt idx="87468">3</cx:pt>
          <cx:pt idx="87469">3</cx:pt>
          <cx:pt idx="87470">2</cx:pt>
          <cx:pt idx="87471">1</cx:pt>
          <cx:pt idx="87472">1</cx:pt>
          <cx:pt idx="87473">4</cx:pt>
          <cx:pt idx="87474">2</cx:pt>
          <cx:pt idx="87475">5</cx:pt>
          <cx:pt idx="87476">1</cx:pt>
          <cx:pt idx="87477">4</cx:pt>
          <cx:pt idx="87478">5</cx:pt>
          <cx:pt idx="87479">1</cx:pt>
          <cx:pt idx="87480">3</cx:pt>
          <cx:pt idx="87481">3</cx:pt>
          <cx:pt idx="87482">2</cx:pt>
          <cx:pt idx="87483">2</cx:pt>
          <cx:pt idx="87484">5</cx:pt>
          <cx:pt idx="87485">2</cx:pt>
          <cx:pt idx="87486">3</cx:pt>
          <cx:pt idx="87487">5</cx:pt>
          <cx:pt idx="87488">2</cx:pt>
          <cx:pt idx="87489">4</cx:pt>
          <cx:pt idx="87490">5</cx:pt>
          <cx:pt idx="87491">1</cx:pt>
          <cx:pt idx="87492">3</cx:pt>
          <cx:pt idx="87493">4</cx:pt>
          <cx:pt idx="87494">1</cx:pt>
          <cx:pt idx="87495">4</cx:pt>
          <cx:pt idx="87496">2</cx:pt>
          <cx:pt idx="87497">3</cx:pt>
          <cx:pt idx="87498">2</cx:pt>
          <cx:pt idx="87499">1</cx:pt>
          <cx:pt idx="87500">1</cx:pt>
          <cx:pt idx="87501">4</cx:pt>
          <cx:pt idx="87502">3</cx:pt>
          <cx:pt idx="87503">5</cx:pt>
          <cx:pt idx="87504">2</cx:pt>
          <cx:pt idx="87505">3</cx:pt>
          <cx:pt idx="87506">2</cx:pt>
          <cx:pt idx="87507">4</cx:pt>
          <cx:pt idx="87508">4</cx:pt>
          <cx:pt idx="87509">2</cx:pt>
          <cx:pt idx="87510">4</cx:pt>
          <cx:pt idx="87511">2</cx:pt>
          <cx:pt idx="87512">1</cx:pt>
          <cx:pt idx="87513">5</cx:pt>
          <cx:pt idx="87514">3</cx:pt>
          <cx:pt idx="87515">4</cx:pt>
          <cx:pt idx="87516">3</cx:pt>
          <cx:pt idx="87517">3</cx:pt>
          <cx:pt idx="87518">2</cx:pt>
          <cx:pt idx="87519">4</cx:pt>
          <cx:pt idx="87520">2</cx:pt>
          <cx:pt idx="87521">3</cx:pt>
          <cx:pt idx="87522">3</cx:pt>
          <cx:pt idx="87523">4</cx:pt>
          <cx:pt idx="87524">0</cx:pt>
          <cx:pt idx="87525">3</cx:pt>
          <cx:pt idx="87526">1</cx:pt>
          <cx:pt idx="87527">2</cx:pt>
          <cx:pt idx="87528">1</cx:pt>
          <cx:pt idx="87529">4</cx:pt>
          <cx:pt idx="87530">5</cx:pt>
          <cx:pt idx="87531">4</cx:pt>
          <cx:pt idx="87532">1</cx:pt>
          <cx:pt idx="87533">3</cx:pt>
          <cx:pt idx="87534">3</cx:pt>
          <cx:pt idx="87535">3</cx:pt>
          <cx:pt idx="87536">4</cx:pt>
          <cx:pt idx="87537">2</cx:pt>
          <cx:pt idx="87538">4</cx:pt>
          <cx:pt idx="87539">4</cx:pt>
          <cx:pt idx="87540">5</cx:pt>
          <cx:pt idx="87541">2</cx:pt>
          <cx:pt idx="87542">3</cx:pt>
          <cx:pt idx="87543">2</cx:pt>
          <cx:pt idx="87544">4</cx:pt>
          <cx:pt idx="87545">3</cx:pt>
          <cx:pt idx="87546">2</cx:pt>
          <cx:pt idx="87547">3</cx:pt>
          <cx:pt idx="87548">5</cx:pt>
          <cx:pt idx="87549">2</cx:pt>
          <cx:pt idx="87550">0</cx:pt>
          <cx:pt idx="87551">2</cx:pt>
          <cx:pt idx="87552">2</cx:pt>
          <cx:pt idx="87553">1</cx:pt>
          <cx:pt idx="87554">5</cx:pt>
          <cx:pt idx="87555">5</cx:pt>
          <cx:pt idx="87556">2</cx:pt>
          <cx:pt idx="87557">3</cx:pt>
          <cx:pt idx="87558">5</cx:pt>
          <cx:pt idx="87559">4</cx:pt>
          <cx:pt idx="87560">1</cx:pt>
          <cx:pt idx="87561">5</cx:pt>
          <cx:pt idx="87562">4</cx:pt>
          <cx:pt idx="87563">0</cx:pt>
          <cx:pt idx="87564">2</cx:pt>
          <cx:pt idx="87565">3</cx:pt>
          <cx:pt idx="87566">5</cx:pt>
          <cx:pt idx="87567">1</cx:pt>
          <cx:pt idx="87568">3</cx:pt>
          <cx:pt idx="87569">2</cx:pt>
          <cx:pt idx="87570">1</cx:pt>
          <cx:pt idx="87571">3</cx:pt>
          <cx:pt idx="87572">1</cx:pt>
          <cx:pt idx="87573">4</cx:pt>
          <cx:pt idx="87574">2</cx:pt>
          <cx:pt idx="87575">1</cx:pt>
          <cx:pt idx="87576">5</cx:pt>
          <cx:pt idx="87577">1</cx:pt>
          <cx:pt idx="87578">5</cx:pt>
          <cx:pt idx="87579">2</cx:pt>
          <cx:pt idx="87580">4</cx:pt>
          <cx:pt idx="87581">2</cx:pt>
          <cx:pt idx="87582">5</cx:pt>
          <cx:pt idx="87583">1</cx:pt>
          <cx:pt idx="87584">4</cx:pt>
          <cx:pt idx="87585">2</cx:pt>
          <cx:pt idx="87586">2</cx:pt>
          <cx:pt idx="87587">4</cx:pt>
          <cx:pt idx="87588">1</cx:pt>
          <cx:pt idx="87589">1</cx:pt>
          <cx:pt idx="87590">1</cx:pt>
          <cx:pt idx="87591">5</cx:pt>
          <cx:pt idx="87592">3</cx:pt>
          <cx:pt idx="87593">3</cx:pt>
          <cx:pt idx="87594">3</cx:pt>
          <cx:pt idx="87595">5</cx:pt>
          <cx:pt idx="87596">2</cx:pt>
          <cx:pt idx="87597">2</cx:pt>
          <cx:pt idx="87598">2</cx:pt>
          <cx:pt idx="87599">3</cx:pt>
          <cx:pt idx="87600">1</cx:pt>
          <cx:pt idx="87601">4</cx:pt>
          <cx:pt idx="87602">3</cx:pt>
          <cx:pt idx="87603">3</cx:pt>
          <cx:pt idx="87604">2</cx:pt>
          <cx:pt idx="87605">2</cx:pt>
          <cx:pt idx="87606">3</cx:pt>
          <cx:pt idx="87607">5</cx:pt>
          <cx:pt idx="87608">5</cx:pt>
          <cx:pt idx="87609">1</cx:pt>
          <cx:pt idx="87610">5</cx:pt>
          <cx:pt idx="87611">2</cx:pt>
          <cx:pt idx="87612">2</cx:pt>
          <cx:pt idx="87613">3</cx:pt>
          <cx:pt idx="87614">3</cx:pt>
          <cx:pt idx="87615">2</cx:pt>
          <cx:pt idx="87616">3</cx:pt>
          <cx:pt idx="87617">3</cx:pt>
          <cx:pt idx="87618">3</cx:pt>
          <cx:pt idx="87619">4</cx:pt>
          <cx:pt idx="87620">5</cx:pt>
          <cx:pt idx="87621">3</cx:pt>
          <cx:pt idx="87622">1</cx:pt>
          <cx:pt idx="87623">4</cx:pt>
          <cx:pt idx="87624">4</cx:pt>
          <cx:pt idx="87625">4</cx:pt>
          <cx:pt idx="87626">2</cx:pt>
          <cx:pt idx="87627">4</cx:pt>
          <cx:pt idx="87628">2</cx:pt>
          <cx:pt idx="87629">1</cx:pt>
          <cx:pt idx="87630">4</cx:pt>
          <cx:pt idx="87631">3</cx:pt>
          <cx:pt idx="87632">2</cx:pt>
          <cx:pt idx="87633">2</cx:pt>
          <cx:pt idx="87634">1</cx:pt>
          <cx:pt idx="87635">4</cx:pt>
          <cx:pt idx="87636">5</cx:pt>
          <cx:pt idx="87637">4</cx:pt>
          <cx:pt idx="87638">3</cx:pt>
          <cx:pt idx="87639">5</cx:pt>
          <cx:pt idx="87640">4</cx:pt>
          <cx:pt idx="87641">4</cx:pt>
          <cx:pt idx="87642">3</cx:pt>
          <cx:pt idx="87643">5</cx:pt>
          <cx:pt idx="87644">0</cx:pt>
          <cx:pt idx="87645">2</cx:pt>
          <cx:pt idx="87646">2</cx:pt>
          <cx:pt idx="87647">2</cx:pt>
          <cx:pt idx="87648">1</cx:pt>
          <cx:pt idx="87649">4</cx:pt>
          <cx:pt idx="87650">2</cx:pt>
          <cx:pt idx="87651">3</cx:pt>
          <cx:pt idx="87652">4</cx:pt>
          <cx:pt idx="87653">2</cx:pt>
          <cx:pt idx="87654">3</cx:pt>
          <cx:pt idx="87655">5</cx:pt>
          <cx:pt idx="87656">4</cx:pt>
          <cx:pt idx="87657">3</cx:pt>
          <cx:pt idx="87658">5</cx:pt>
          <cx:pt idx="87659">5</cx:pt>
          <cx:pt idx="87660">4</cx:pt>
          <cx:pt idx="87661">4</cx:pt>
          <cx:pt idx="87662">4</cx:pt>
          <cx:pt idx="87663">1</cx:pt>
          <cx:pt idx="87664">2</cx:pt>
          <cx:pt idx="87665">3</cx:pt>
          <cx:pt idx="87666">2</cx:pt>
          <cx:pt idx="87667">5</cx:pt>
          <cx:pt idx="87668">0</cx:pt>
          <cx:pt idx="87669">5</cx:pt>
          <cx:pt idx="87670">1</cx:pt>
          <cx:pt idx="87671">3</cx:pt>
          <cx:pt idx="87672">2</cx:pt>
          <cx:pt idx="87673">3</cx:pt>
          <cx:pt idx="87674">5</cx:pt>
          <cx:pt idx="87675">4</cx:pt>
          <cx:pt idx="87676">3</cx:pt>
          <cx:pt idx="87677">4</cx:pt>
          <cx:pt idx="87678">3</cx:pt>
          <cx:pt idx="87679">5</cx:pt>
          <cx:pt idx="87680">4</cx:pt>
          <cx:pt idx="87681">1</cx:pt>
          <cx:pt idx="87682">5</cx:pt>
          <cx:pt idx="87683">4</cx:pt>
          <cx:pt idx="87684">3</cx:pt>
          <cx:pt idx="87685">2</cx:pt>
          <cx:pt idx="87686">2</cx:pt>
          <cx:pt idx="87687">3</cx:pt>
          <cx:pt idx="87688">3</cx:pt>
          <cx:pt idx="87689">2</cx:pt>
          <cx:pt idx="87690">3</cx:pt>
          <cx:pt idx="87691">3</cx:pt>
          <cx:pt idx="87692">1</cx:pt>
          <cx:pt idx="87693">3</cx:pt>
          <cx:pt idx="87694">4</cx:pt>
          <cx:pt idx="87695">3</cx:pt>
          <cx:pt idx="87696">2</cx:pt>
          <cx:pt idx="87697">3</cx:pt>
          <cx:pt idx="87698">2</cx:pt>
          <cx:pt idx="87699">3</cx:pt>
          <cx:pt idx="87700">2</cx:pt>
          <cx:pt idx="87701">2</cx:pt>
          <cx:pt idx="87702">4</cx:pt>
          <cx:pt idx="87703">4</cx:pt>
          <cx:pt idx="87704">4</cx:pt>
          <cx:pt idx="87705">1</cx:pt>
          <cx:pt idx="87706">4</cx:pt>
          <cx:pt idx="87707">4</cx:pt>
          <cx:pt idx="87708">4</cx:pt>
          <cx:pt idx="87709">0</cx:pt>
          <cx:pt idx="87710">3</cx:pt>
          <cx:pt idx="87711">4</cx:pt>
          <cx:pt idx="87712">1</cx:pt>
          <cx:pt idx="87713">4</cx:pt>
          <cx:pt idx="87714">4</cx:pt>
          <cx:pt idx="87715">1</cx:pt>
          <cx:pt idx="87716">2</cx:pt>
          <cx:pt idx="87717">4</cx:pt>
          <cx:pt idx="87718">1</cx:pt>
          <cx:pt idx="87719">4</cx:pt>
          <cx:pt idx="87720">3</cx:pt>
          <cx:pt idx="87721">5</cx:pt>
          <cx:pt idx="87722">5</cx:pt>
          <cx:pt idx="87723">3</cx:pt>
          <cx:pt idx="87724">2</cx:pt>
          <cx:pt idx="87725">4</cx:pt>
          <cx:pt idx="87726">1</cx:pt>
          <cx:pt idx="87727">5</cx:pt>
          <cx:pt idx="87728">0</cx:pt>
          <cx:pt idx="87729">2</cx:pt>
          <cx:pt idx="87730">5</cx:pt>
          <cx:pt idx="87731">1</cx:pt>
          <cx:pt idx="87732">3</cx:pt>
          <cx:pt idx="87733">3</cx:pt>
          <cx:pt idx="87734">3</cx:pt>
          <cx:pt idx="87735">1</cx:pt>
          <cx:pt idx="87736">2</cx:pt>
          <cx:pt idx="87737">3</cx:pt>
          <cx:pt idx="87738">2</cx:pt>
          <cx:pt idx="87739">4</cx:pt>
          <cx:pt idx="87740">0</cx:pt>
          <cx:pt idx="87741">1</cx:pt>
          <cx:pt idx="87742">4</cx:pt>
          <cx:pt idx="87743">1</cx:pt>
          <cx:pt idx="87744">1</cx:pt>
          <cx:pt idx="87745">1</cx:pt>
          <cx:pt idx="87746">4</cx:pt>
          <cx:pt idx="87747">2</cx:pt>
          <cx:pt idx="87748">1</cx:pt>
          <cx:pt idx="87749">3</cx:pt>
          <cx:pt idx="87750">3</cx:pt>
          <cx:pt idx="87751">3</cx:pt>
          <cx:pt idx="87752">4</cx:pt>
          <cx:pt idx="87753">3</cx:pt>
          <cx:pt idx="87754">3</cx:pt>
          <cx:pt idx="87755">1</cx:pt>
          <cx:pt idx="87756">3</cx:pt>
          <cx:pt idx="87757">1</cx:pt>
          <cx:pt idx="87758">4</cx:pt>
          <cx:pt idx="87759">3</cx:pt>
          <cx:pt idx="87760">2</cx:pt>
          <cx:pt idx="87761">0</cx:pt>
          <cx:pt idx="87762">0</cx:pt>
          <cx:pt idx="87763">2</cx:pt>
          <cx:pt idx="87764">4</cx:pt>
          <cx:pt idx="87765">1</cx:pt>
          <cx:pt idx="87766">3</cx:pt>
          <cx:pt idx="87767">3</cx:pt>
          <cx:pt idx="87768">1</cx:pt>
          <cx:pt idx="87769">4</cx:pt>
          <cx:pt idx="87770">3</cx:pt>
          <cx:pt idx="87771">3</cx:pt>
          <cx:pt idx="87772">5</cx:pt>
          <cx:pt idx="87773">1</cx:pt>
          <cx:pt idx="87774">2</cx:pt>
          <cx:pt idx="87775">2</cx:pt>
          <cx:pt idx="87776">3</cx:pt>
          <cx:pt idx="87777">1</cx:pt>
          <cx:pt idx="87778">3</cx:pt>
          <cx:pt idx="87779">2</cx:pt>
          <cx:pt idx="87780">2</cx:pt>
          <cx:pt idx="87781">1</cx:pt>
          <cx:pt idx="87782">1</cx:pt>
          <cx:pt idx="87783">2</cx:pt>
          <cx:pt idx="87784">4</cx:pt>
          <cx:pt idx="87785">5</cx:pt>
          <cx:pt idx="87786">5</cx:pt>
          <cx:pt idx="87787">5</cx:pt>
          <cx:pt idx="87788">4</cx:pt>
          <cx:pt idx="87789">0</cx:pt>
          <cx:pt idx="87790">3</cx:pt>
          <cx:pt idx="87791">4</cx:pt>
          <cx:pt idx="87792">3</cx:pt>
          <cx:pt idx="87793">5</cx:pt>
          <cx:pt idx="87794">2</cx:pt>
          <cx:pt idx="87795">5</cx:pt>
          <cx:pt idx="87796">3</cx:pt>
          <cx:pt idx="87797">3</cx:pt>
          <cx:pt idx="87798">4</cx:pt>
          <cx:pt idx="87799">2</cx:pt>
          <cx:pt idx="87800">1</cx:pt>
          <cx:pt idx="87801">1</cx:pt>
          <cx:pt idx="87802">3</cx:pt>
          <cx:pt idx="87803">4</cx:pt>
          <cx:pt idx="87804">2</cx:pt>
          <cx:pt idx="87805">1</cx:pt>
          <cx:pt idx="87806">4</cx:pt>
          <cx:pt idx="87807">2</cx:pt>
          <cx:pt idx="87808">4</cx:pt>
          <cx:pt idx="87809">4</cx:pt>
          <cx:pt idx="87810">2</cx:pt>
          <cx:pt idx="87811">1</cx:pt>
          <cx:pt idx="87812">4</cx:pt>
          <cx:pt idx="87813">3</cx:pt>
          <cx:pt idx="87814">1</cx:pt>
          <cx:pt idx="87815">3</cx:pt>
          <cx:pt idx="87816">3</cx:pt>
          <cx:pt idx="87817">1</cx:pt>
          <cx:pt idx="87818">4</cx:pt>
          <cx:pt idx="87819">0</cx:pt>
          <cx:pt idx="87820">5</cx:pt>
          <cx:pt idx="87821">3</cx:pt>
          <cx:pt idx="87822">1</cx:pt>
          <cx:pt idx="87823">1</cx:pt>
          <cx:pt idx="87824">3</cx:pt>
          <cx:pt idx="87825">3</cx:pt>
          <cx:pt idx="87826">3</cx:pt>
          <cx:pt idx="87827">1</cx:pt>
          <cx:pt idx="87828">1</cx:pt>
          <cx:pt idx="87829">4</cx:pt>
          <cx:pt idx="87830">5</cx:pt>
          <cx:pt idx="87831">5</cx:pt>
          <cx:pt idx="87832">3</cx:pt>
          <cx:pt idx="87833">1</cx:pt>
          <cx:pt idx="87834">4</cx:pt>
          <cx:pt idx="87835">3</cx:pt>
          <cx:pt idx="87836">1</cx:pt>
          <cx:pt idx="87837">2</cx:pt>
          <cx:pt idx="87838">1</cx:pt>
          <cx:pt idx="87839">2</cx:pt>
          <cx:pt idx="87840">4</cx:pt>
          <cx:pt idx="87841">5</cx:pt>
          <cx:pt idx="87842">3</cx:pt>
          <cx:pt idx="87843">0</cx:pt>
          <cx:pt idx="87844">0</cx:pt>
          <cx:pt idx="87845">1</cx:pt>
          <cx:pt idx="87846">3</cx:pt>
          <cx:pt idx="87847">3</cx:pt>
          <cx:pt idx="87848">3</cx:pt>
          <cx:pt idx="87849">3</cx:pt>
          <cx:pt idx="87850">3</cx:pt>
          <cx:pt idx="87851">3</cx:pt>
          <cx:pt idx="87852">2</cx:pt>
          <cx:pt idx="87853">4</cx:pt>
          <cx:pt idx="87854">2</cx:pt>
          <cx:pt idx="87855">1</cx:pt>
          <cx:pt idx="87856">2</cx:pt>
          <cx:pt idx="87857">1</cx:pt>
          <cx:pt idx="87858">4</cx:pt>
          <cx:pt idx="87859">5</cx:pt>
          <cx:pt idx="87860">4</cx:pt>
          <cx:pt idx="87861">3</cx:pt>
          <cx:pt idx="87862">3</cx:pt>
          <cx:pt idx="87863">4</cx:pt>
          <cx:pt idx="87864">3</cx:pt>
          <cx:pt idx="87865">1</cx:pt>
          <cx:pt idx="87866">2</cx:pt>
          <cx:pt idx="87867">4</cx:pt>
          <cx:pt idx="87868">4</cx:pt>
          <cx:pt idx="87869">3</cx:pt>
          <cx:pt idx="87870">2</cx:pt>
          <cx:pt idx="87871">4</cx:pt>
          <cx:pt idx="87872">4</cx:pt>
          <cx:pt idx="87873">0</cx:pt>
          <cx:pt idx="87874">2</cx:pt>
          <cx:pt idx="87875">1</cx:pt>
          <cx:pt idx="87876">2</cx:pt>
          <cx:pt idx="87877">1</cx:pt>
          <cx:pt idx="87878">5</cx:pt>
          <cx:pt idx="87879">2</cx:pt>
          <cx:pt idx="87880">5</cx:pt>
          <cx:pt idx="87881">2</cx:pt>
          <cx:pt idx="87882">3</cx:pt>
          <cx:pt idx="87883">1</cx:pt>
          <cx:pt idx="87884">3</cx:pt>
          <cx:pt idx="87885">3</cx:pt>
          <cx:pt idx="87886">1</cx:pt>
          <cx:pt idx="87887">2</cx:pt>
          <cx:pt idx="87888">3</cx:pt>
          <cx:pt idx="87889">2</cx:pt>
          <cx:pt idx="87890">4</cx:pt>
          <cx:pt idx="87891">3</cx:pt>
          <cx:pt idx="87892">3</cx:pt>
          <cx:pt idx="87893">1</cx:pt>
          <cx:pt idx="87894">2</cx:pt>
          <cx:pt idx="87895">4</cx:pt>
          <cx:pt idx="87896">2</cx:pt>
          <cx:pt idx="87897">5</cx:pt>
          <cx:pt idx="87898">1</cx:pt>
          <cx:pt idx="87899">0</cx:pt>
          <cx:pt idx="87900">3</cx:pt>
          <cx:pt idx="87901">2</cx:pt>
          <cx:pt idx="87902">3</cx:pt>
          <cx:pt idx="87903">1</cx:pt>
          <cx:pt idx="87904">5</cx:pt>
          <cx:pt idx="87905">4</cx:pt>
          <cx:pt idx="87906">3</cx:pt>
          <cx:pt idx="87907">4</cx:pt>
          <cx:pt idx="87908">3</cx:pt>
          <cx:pt idx="87909">1</cx:pt>
          <cx:pt idx="87910">4</cx:pt>
          <cx:pt idx="87911">4</cx:pt>
          <cx:pt idx="87912">2</cx:pt>
          <cx:pt idx="87913">3</cx:pt>
          <cx:pt idx="87914">5</cx:pt>
          <cx:pt idx="87915">2</cx:pt>
          <cx:pt idx="87916">2</cx:pt>
          <cx:pt idx="87917">2</cx:pt>
          <cx:pt idx="87918">1</cx:pt>
          <cx:pt idx="87919">4</cx:pt>
          <cx:pt idx="87920">5</cx:pt>
          <cx:pt idx="87921">4</cx:pt>
          <cx:pt idx="87922">4</cx:pt>
          <cx:pt idx="87923">3</cx:pt>
          <cx:pt idx="87924">3</cx:pt>
          <cx:pt idx="87925">1</cx:pt>
          <cx:pt idx="87926">3</cx:pt>
          <cx:pt idx="87927">0</cx:pt>
          <cx:pt idx="87928">2</cx:pt>
          <cx:pt idx="87929">5</cx:pt>
          <cx:pt idx="87930">2</cx:pt>
          <cx:pt idx="87931">3</cx:pt>
          <cx:pt idx="87932">3</cx:pt>
          <cx:pt idx="87933">0</cx:pt>
          <cx:pt idx="87934">3</cx:pt>
          <cx:pt idx="87935">0</cx:pt>
          <cx:pt idx="87936">4</cx:pt>
          <cx:pt idx="87937">3</cx:pt>
          <cx:pt idx="87938">5</cx:pt>
          <cx:pt idx="87939">2</cx:pt>
          <cx:pt idx="87940">1</cx:pt>
          <cx:pt idx="87941">1</cx:pt>
          <cx:pt idx="87942">3</cx:pt>
          <cx:pt idx="87943">4</cx:pt>
          <cx:pt idx="87944">0</cx:pt>
          <cx:pt idx="87945">5</cx:pt>
          <cx:pt idx="87946">4</cx:pt>
          <cx:pt idx="87947">4</cx:pt>
          <cx:pt idx="87948">1</cx:pt>
          <cx:pt idx="87949">4</cx:pt>
          <cx:pt idx="87950">0</cx:pt>
          <cx:pt idx="87951">4</cx:pt>
          <cx:pt idx="87952">2</cx:pt>
          <cx:pt idx="87953">4</cx:pt>
          <cx:pt idx="87954">2</cx:pt>
          <cx:pt idx="87955">2</cx:pt>
          <cx:pt idx="87956">2</cx:pt>
          <cx:pt idx="87957">4</cx:pt>
          <cx:pt idx="87958">3</cx:pt>
          <cx:pt idx="87959">2</cx:pt>
          <cx:pt idx="87960">3</cx:pt>
          <cx:pt idx="87961">5</cx:pt>
          <cx:pt idx="87962">1</cx:pt>
          <cx:pt idx="87963">4</cx:pt>
          <cx:pt idx="87964">2</cx:pt>
          <cx:pt idx="87965">2</cx:pt>
          <cx:pt idx="87966">3</cx:pt>
          <cx:pt idx="87967">4</cx:pt>
          <cx:pt idx="87968">3</cx:pt>
          <cx:pt idx="87969">2</cx:pt>
          <cx:pt idx="87970">5</cx:pt>
          <cx:pt idx="87971">5</cx:pt>
          <cx:pt idx="87972">1</cx:pt>
          <cx:pt idx="87973">5</cx:pt>
          <cx:pt idx="87974">1</cx:pt>
          <cx:pt idx="87975">3</cx:pt>
          <cx:pt idx="87976">0</cx:pt>
          <cx:pt idx="87977">4</cx:pt>
          <cx:pt idx="87978">5</cx:pt>
          <cx:pt idx="87979">2</cx:pt>
          <cx:pt idx="87980">2</cx:pt>
          <cx:pt idx="87981">4</cx:pt>
          <cx:pt idx="87982">2</cx:pt>
          <cx:pt idx="87983">3</cx:pt>
          <cx:pt idx="87984">3</cx:pt>
          <cx:pt idx="87985">3</cx:pt>
          <cx:pt idx="87986">2</cx:pt>
          <cx:pt idx="87987">2</cx:pt>
          <cx:pt idx="87988">3</cx:pt>
          <cx:pt idx="87989">1</cx:pt>
          <cx:pt idx="87990">5</cx:pt>
          <cx:pt idx="87991">1</cx:pt>
          <cx:pt idx="87992">4</cx:pt>
          <cx:pt idx="87993">5</cx:pt>
          <cx:pt idx="87994">3</cx:pt>
          <cx:pt idx="87995">3</cx:pt>
          <cx:pt idx="87996">2</cx:pt>
          <cx:pt idx="87997">2</cx:pt>
          <cx:pt idx="87998">1</cx:pt>
          <cx:pt idx="87999">2</cx:pt>
          <cx:pt idx="88000">2</cx:pt>
          <cx:pt idx="88001">2</cx:pt>
          <cx:pt idx="88002">3</cx:pt>
          <cx:pt idx="88003">2</cx:pt>
          <cx:pt idx="88004">2</cx:pt>
          <cx:pt idx="88005">2</cx:pt>
          <cx:pt idx="88006">4</cx:pt>
          <cx:pt idx="88007">1</cx:pt>
          <cx:pt idx="88008">2</cx:pt>
          <cx:pt idx="88009">5</cx:pt>
          <cx:pt idx="88010">4</cx:pt>
          <cx:pt idx="88011">5</cx:pt>
          <cx:pt idx="88012">1</cx:pt>
          <cx:pt idx="88013">2</cx:pt>
          <cx:pt idx="88014">1</cx:pt>
          <cx:pt idx="88015">3</cx:pt>
          <cx:pt idx="88016">3</cx:pt>
          <cx:pt idx="88017">2</cx:pt>
          <cx:pt idx="88018">5</cx:pt>
          <cx:pt idx="88019">3</cx:pt>
          <cx:pt idx="88020">1</cx:pt>
          <cx:pt idx="88021">4</cx:pt>
          <cx:pt idx="88022">3</cx:pt>
          <cx:pt idx="88023">3</cx:pt>
          <cx:pt idx="88024">2</cx:pt>
          <cx:pt idx="88025">4</cx:pt>
          <cx:pt idx="88026">1</cx:pt>
          <cx:pt idx="88027">0</cx:pt>
          <cx:pt idx="88028">2</cx:pt>
          <cx:pt idx="88029">5</cx:pt>
          <cx:pt idx="88030">4</cx:pt>
          <cx:pt idx="88031">3</cx:pt>
          <cx:pt idx="88032">2</cx:pt>
          <cx:pt idx="88033">4</cx:pt>
          <cx:pt idx="88034">2</cx:pt>
          <cx:pt idx="88035">5</cx:pt>
          <cx:pt idx="88036">3</cx:pt>
          <cx:pt idx="88037">1</cx:pt>
          <cx:pt idx="88038">3</cx:pt>
          <cx:pt idx="88039">2</cx:pt>
          <cx:pt idx="88040">4</cx:pt>
          <cx:pt idx="88041">5</cx:pt>
          <cx:pt idx="88042">3</cx:pt>
          <cx:pt idx="88043">2</cx:pt>
          <cx:pt idx="88044">2</cx:pt>
          <cx:pt idx="88045">4</cx:pt>
          <cx:pt idx="88046">2</cx:pt>
          <cx:pt idx="88047">4</cx:pt>
          <cx:pt idx="88048">2</cx:pt>
          <cx:pt idx="88049">2</cx:pt>
          <cx:pt idx="88050">2</cx:pt>
          <cx:pt idx="88051">2</cx:pt>
          <cx:pt idx="88052">1</cx:pt>
          <cx:pt idx="88053">2</cx:pt>
          <cx:pt idx="88054">3</cx:pt>
          <cx:pt idx="88055">4</cx:pt>
          <cx:pt idx="88056">3</cx:pt>
          <cx:pt idx="88057">4</cx:pt>
          <cx:pt idx="88058">3</cx:pt>
          <cx:pt idx="88059">4</cx:pt>
          <cx:pt idx="88060">3</cx:pt>
          <cx:pt idx="88061">2</cx:pt>
          <cx:pt idx="88062">1</cx:pt>
          <cx:pt idx="88063">2</cx:pt>
          <cx:pt idx="88064">1</cx:pt>
          <cx:pt idx="88065">4</cx:pt>
          <cx:pt idx="88066">2</cx:pt>
          <cx:pt idx="88067">3</cx:pt>
          <cx:pt idx="88068">4</cx:pt>
          <cx:pt idx="88069">2</cx:pt>
          <cx:pt idx="88070">3</cx:pt>
          <cx:pt idx="88071">4</cx:pt>
          <cx:pt idx="88072">4</cx:pt>
          <cx:pt idx="88073">1</cx:pt>
          <cx:pt idx="88074">0</cx:pt>
          <cx:pt idx="88075">4</cx:pt>
          <cx:pt idx="88076">5</cx:pt>
          <cx:pt idx="88077">1</cx:pt>
          <cx:pt idx="88078">0</cx:pt>
          <cx:pt idx="88079">4</cx:pt>
          <cx:pt idx="88080">3</cx:pt>
          <cx:pt idx="88081">5</cx:pt>
          <cx:pt idx="88082">2</cx:pt>
          <cx:pt idx="88083">2</cx:pt>
          <cx:pt idx="88084">3</cx:pt>
          <cx:pt idx="88085">1</cx:pt>
          <cx:pt idx="88086">4</cx:pt>
          <cx:pt idx="88087">1</cx:pt>
          <cx:pt idx="88088">3</cx:pt>
          <cx:pt idx="88089">1</cx:pt>
          <cx:pt idx="88090">2</cx:pt>
          <cx:pt idx="88091">2</cx:pt>
          <cx:pt idx="88092">4</cx:pt>
          <cx:pt idx="88093">4</cx:pt>
          <cx:pt idx="88094">4</cx:pt>
          <cx:pt idx="88095">4</cx:pt>
          <cx:pt idx="88096">1</cx:pt>
          <cx:pt idx="88097">3</cx:pt>
          <cx:pt idx="88098">4</cx:pt>
          <cx:pt idx="88099">3</cx:pt>
          <cx:pt idx="88100">2</cx:pt>
          <cx:pt idx="88101">4</cx:pt>
          <cx:pt idx="88102">3</cx:pt>
          <cx:pt idx="88103">2</cx:pt>
          <cx:pt idx="88104">2</cx:pt>
          <cx:pt idx="88105">3</cx:pt>
          <cx:pt idx="88106">5</cx:pt>
          <cx:pt idx="88107">1</cx:pt>
          <cx:pt idx="88108">5</cx:pt>
          <cx:pt idx="88109">3</cx:pt>
          <cx:pt idx="88110">2</cx:pt>
          <cx:pt idx="88111">3</cx:pt>
          <cx:pt idx="88112">4</cx:pt>
          <cx:pt idx="88113">3</cx:pt>
          <cx:pt idx="88114">3</cx:pt>
          <cx:pt idx="88115">4</cx:pt>
          <cx:pt idx="88116">4</cx:pt>
          <cx:pt idx="88117">4</cx:pt>
          <cx:pt idx="88118">2</cx:pt>
          <cx:pt idx="88119">4</cx:pt>
          <cx:pt idx="88120">4</cx:pt>
          <cx:pt idx="88121">1</cx:pt>
          <cx:pt idx="88122">3</cx:pt>
          <cx:pt idx="88123">4</cx:pt>
          <cx:pt idx="88124">2</cx:pt>
          <cx:pt idx="88125">2</cx:pt>
          <cx:pt idx="88126">2</cx:pt>
          <cx:pt idx="88127">5</cx:pt>
          <cx:pt idx="88128">2</cx:pt>
          <cx:pt idx="88129">0</cx:pt>
          <cx:pt idx="88130">4</cx:pt>
          <cx:pt idx="88131">3</cx:pt>
          <cx:pt idx="88132">2</cx:pt>
          <cx:pt idx="88133">2</cx:pt>
          <cx:pt idx="88134">3</cx:pt>
          <cx:pt idx="88135">1</cx:pt>
          <cx:pt idx="88136">2</cx:pt>
          <cx:pt idx="88137">3</cx:pt>
          <cx:pt idx="88138">5</cx:pt>
          <cx:pt idx="88139">3</cx:pt>
          <cx:pt idx="88140">2</cx:pt>
          <cx:pt idx="88141">2</cx:pt>
          <cx:pt idx="88142">2</cx:pt>
          <cx:pt idx="88143">3</cx:pt>
          <cx:pt idx="88144">1</cx:pt>
          <cx:pt idx="88145">4</cx:pt>
          <cx:pt idx="88146">5</cx:pt>
          <cx:pt idx="88147">0</cx:pt>
          <cx:pt idx="88148">3</cx:pt>
          <cx:pt idx="88149">1</cx:pt>
          <cx:pt idx="88150">3</cx:pt>
          <cx:pt idx="88151">1</cx:pt>
          <cx:pt idx="88152">2</cx:pt>
          <cx:pt idx="88153">4</cx:pt>
          <cx:pt idx="88154">4</cx:pt>
          <cx:pt idx="88155">4</cx:pt>
          <cx:pt idx="88156">2</cx:pt>
          <cx:pt idx="88157">5</cx:pt>
          <cx:pt idx="88158">2</cx:pt>
          <cx:pt idx="88159">4</cx:pt>
          <cx:pt idx="88160">1</cx:pt>
          <cx:pt idx="88161">3</cx:pt>
          <cx:pt idx="88162">1</cx:pt>
          <cx:pt idx="88163">3</cx:pt>
          <cx:pt idx="88164">2</cx:pt>
          <cx:pt idx="88165">5</cx:pt>
          <cx:pt idx="88166">4</cx:pt>
          <cx:pt idx="88167">3</cx:pt>
          <cx:pt idx="88168">3</cx:pt>
          <cx:pt idx="88169">5</cx:pt>
          <cx:pt idx="88170">5</cx:pt>
          <cx:pt idx="88171">3</cx:pt>
          <cx:pt idx="88172">4</cx:pt>
          <cx:pt idx="88173">2</cx:pt>
          <cx:pt idx="88174">4</cx:pt>
          <cx:pt idx="88175">3</cx:pt>
          <cx:pt idx="88176">3</cx:pt>
          <cx:pt idx="88177">3</cx:pt>
          <cx:pt idx="88178">2</cx:pt>
          <cx:pt idx="88179">2</cx:pt>
          <cx:pt idx="88180">1</cx:pt>
          <cx:pt idx="88181">5</cx:pt>
          <cx:pt idx="88182">2</cx:pt>
          <cx:pt idx="88183">2</cx:pt>
          <cx:pt idx="88184">1</cx:pt>
          <cx:pt idx="88185">1</cx:pt>
          <cx:pt idx="88186">4</cx:pt>
          <cx:pt idx="88187">3</cx:pt>
          <cx:pt idx="88188">3</cx:pt>
          <cx:pt idx="88189">0</cx:pt>
          <cx:pt idx="88190">5</cx:pt>
          <cx:pt idx="88191">0</cx:pt>
          <cx:pt idx="88192">3</cx:pt>
          <cx:pt idx="88193">3</cx:pt>
          <cx:pt idx="88194">2</cx:pt>
          <cx:pt idx="88195">5</cx:pt>
          <cx:pt idx="88196">1</cx:pt>
          <cx:pt idx="88197">4</cx:pt>
          <cx:pt idx="88198">3</cx:pt>
          <cx:pt idx="88199">3</cx:pt>
          <cx:pt idx="88200">4</cx:pt>
          <cx:pt idx="88201">5</cx:pt>
          <cx:pt idx="88202">5</cx:pt>
          <cx:pt idx="88203">5</cx:pt>
          <cx:pt idx="88204">3</cx:pt>
          <cx:pt idx="88205">2</cx:pt>
          <cx:pt idx="88206">5</cx:pt>
          <cx:pt idx="88207">2</cx:pt>
          <cx:pt idx="88208">3</cx:pt>
          <cx:pt idx="88209">2</cx:pt>
          <cx:pt idx="88210">5</cx:pt>
          <cx:pt idx="88211">4</cx:pt>
          <cx:pt idx="88212">2</cx:pt>
          <cx:pt idx="88213">2</cx:pt>
          <cx:pt idx="88214">2</cx:pt>
          <cx:pt idx="88215">5</cx:pt>
          <cx:pt idx="88216">1</cx:pt>
          <cx:pt idx="88217">1</cx:pt>
          <cx:pt idx="88218">2</cx:pt>
          <cx:pt idx="88219">3</cx:pt>
          <cx:pt idx="88220">4</cx:pt>
          <cx:pt idx="88221">5</cx:pt>
          <cx:pt idx="88222">2</cx:pt>
          <cx:pt idx="88223">1</cx:pt>
          <cx:pt idx="88224">5</cx:pt>
          <cx:pt idx="88225">3</cx:pt>
          <cx:pt idx="88226">1</cx:pt>
          <cx:pt idx="88227">4</cx:pt>
          <cx:pt idx="88228">4</cx:pt>
          <cx:pt idx="88229">4</cx:pt>
          <cx:pt idx="88230">4</cx:pt>
          <cx:pt idx="88231">3</cx:pt>
          <cx:pt idx="88232">4</cx:pt>
          <cx:pt idx="88233">2</cx:pt>
          <cx:pt idx="88234">3</cx:pt>
          <cx:pt idx="88235">2</cx:pt>
          <cx:pt idx="88236">2</cx:pt>
          <cx:pt idx="88237">3</cx:pt>
          <cx:pt idx="88238">2</cx:pt>
          <cx:pt idx="88239">4</cx:pt>
          <cx:pt idx="88240">3</cx:pt>
          <cx:pt idx="88241">1</cx:pt>
          <cx:pt idx="88242">5</cx:pt>
          <cx:pt idx="88243">2</cx:pt>
          <cx:pt idx="88244">2</cx:pt>
          <cx:pt idx="88245">5</cx:pt>
          <cx:pt idx="88246">5</cx:pt>
          <cx:pt idx="88247">4</cx:pt>
          <cx:pt idx="88248">4</cx:pt>
          <cx:pt idx="88249">1</cx:pt>
          <cx:pt idx="88250">3</cx:pt>
          <cx:pt idx="88251">5</cx:pt>
          <cx:pt idx="88252">4</cx:pt>
          <cx:pt idx="88253">4</cx:pt>
          <cx:pt idx="88254">1</cx:pt>
          <cx:pt idx="88255">4</cx:pt>
          <cx:pt idx="88256">3</cx:pt>
          <cx:pt idx="88257">1</cx:pt>
          <cx:pt idx="88258">1</cx:pt>
          <cx:pt idx="88259">3</cx:pt>
          <cx:pt idx="88260">5</cx:pt>
          <cx:pt idx="88261">1</cx:pt>
          <cx:pt idx="88262">4</cx:pt>
          <cx:pt idx="88263">1</cx:pt>
          <cx:pt idx="88264">0</cx:pt>
          <cx:pt idx="88265">3</cx:pt>
          <cx:pt idx="88266">4</cx:pt>
          <cx:pt idx="88267">4</cx:pt>
          <cx:pt idx="88268">2</cx:pt>
          <cx:pt idx="88269">3</cx:pt>
          <cx:pt idx="88270">4</cx:pt>
          <cx:pt idx="88271">3</cx:pt>
          <cx:pt idx="88272">3</cx:pt>
          <cx:pt idx="88273">2</cx:pt>
          <cx:pt idx="88274">4</cx:pt>
          <cx:pt idx="88275">5</cx:pt>
          <cx:pt idx="88276">4</cx:pt>
          <cx:pt idx="88277">5</cx:pt>
          <cx:pt idx="88278">0</cx:pt>
          <cx:pt idx="88279">5</cx:pt>
          <cx:pt idx="88280">1</cx:pt>
          <cx:pt idx="88281">5</cx:pt>
          <cx:pt idx="88282">1</cx:pt>
          <cx:pt idx="88283">5</cx:pt>
          <cx:pt idx="88284">2</cx:pt>
          <cx:pt idx="88285">4</cx:pt>
          <cx:pt idx="88286">4</cx:pt>
          <cx:pt idx="88287">4</cx:pt>
          <cx:pt idx="88288">2</cx:pt>
          <cx:pt idx="88289">1</cx:pt>
          <cx:pt idx="88290">3</cx:pt>
          <cx:pt idx="88291">2</cx:pt>
          <cx:pt idx="88292">2</cx:pt>
          <cx:pt idx="88293">4</cx:pt>
          <cx:pt idx="88294">2</cx:pt>
          <cx:pt idx="88295">3</cx:pt>
          <cx:pt idx="88296">5</cx:pt>
          <cx:pt idx="88297">1</cx:pt>
          <cx:pt idx="88298">4</cx:pt>
          <cx:pt idx="88299">3</cx:pt>
          <cx:pt idx="88300">5</cx:pt>
          <cx:pt idx="88301">1</cx:pt>
          <cx:pt idx="88302">1</cx:pt>
          <cx:pt idx="88303">2</cx:pt>
          <cx:pt idx="88304">5</cx:pt>
          <cx:pt idx="88305">3</cx:pt>
          <cx:pt idx="88306">3</cx:pt>
          <cx:pt idx="88307">1</cx:pt>
          <cx:pt idx="88308">2</cx:pt>
          <cx:pt idx="88309">5</cx:pt>
          <cx:pt idx="88310">2</cx:pt>
          <cx:pt idx="88311">2</cx:pt>
          <cx:pt idx="88312">3</cx:pt>
          <cx:pt idx="88313">2</cx:pt>
          <cx:pt idx="88314">5</cx:pt>
          <cx:pt idx="88315">2</cx:pt>
          <cx:pt idx="88316">3</cx:pt>
          <cx:pt idx="88317">4</cx:pt>
          <cx:pt idx="88318">3</cx:pt>
          <cx:pt idx="88319">3</cx:pt>
          <cx:pt idx="88320">1</cx:pt>
          <cx:pt idx="88321">2</cx:pt>
          <cx:pt idx="88322">3</cx:pt>
          <cx:pt idx="88323">4</cx:pt>
          <cx:pt idx="88324">1</cx:pt>
          <cx:pt idx="88325">0</cx:pt>
          <cx:pt idx="88326">4</cx:pt>
          <cx:pt idx="88327">3</cx:pt>
          <cx:pt idx="88328">2</cx:pt>
          <cx:pt idx="88329">4</cx:pt>
          <cx:pt idx="88330">4</cx:pt>
          <cx:pt idx="88331">2</cx:pt>
          <cx:pt idx="88332">2</cx:pt>
          <cx:pt idx="88333">4</cx:pt>
          <cx:pt idx="88334">1</cx:pt>
          <cx:pt idx="88335">1</cx:pt>
          <cx:pt idx="88336">5</cx:pt>
          <cx:pt idx="88337">4</cx:pt>
          <cx:pt idx="88338">4</cx:pt>
          <cx:pt idx="88339">2</cx:pt>
          <cx:pt idx="88340">5</cx:pt>
          <cx:pt idx="88341">5</cx:pt>
          <cx:pt idx="88342">5</cx:pt>
          <cx:pt idx="88343">3</cx:pt>
          <cx:pt idx="88344">3</cx:pt>
          <cx:pt idx="88345">2</cx:pt>
          <cx:pt idx="88346">2</cx:pt>
          <cx:pt idx="88347">4</cx:pt>
          <cx:pt idx="88348">4</cx:pt>
          <cx:pt idx="88349">2</cx:pt>
          <cx:pt idx="88350">2</cx:pt>
          <cx:pt idx="88351">3</cx:pt>
          <cx:pt idx="88352">4</cx:pt>
          <cx:pt idx="88353">3</cx:pt>
          <cx:pt idx="88354">2</cx:pt>
          <cx:pt idx="88355">5</cx:pt>
          <cx:pt idx="88356">3</cx:pt>
          <cx:pt idx="88357">5</cx:pt>
          <cx:pt idx="88358">5</cx:pt>
          <cx:pt idx="88359">4</cx:pt>
          <cx:pt idx="88360">5</cx:pt>
          <cx:pt idx="88361">2</cx:pt>
          <cx:pt idx="88362">2</cx:pt>
          <cx:pt idx="88363">4</cx:pt>
          <cx:pt idx="88364">4</cx:pt>
          <cx:pt idx="88365">3</cx:pt>
          <cx:pt idx="88366">2</cx:pt>
          <cx:pt idx="88367">3</cx:pt>
          <cx:pt idx="88368">1</cx:pt>
          <cx:pt idx="88369">5</cx:pt>
          <cx:pt idx="88370">3</cx:pt>
          <cx:pt idx="88371">5</cx:pt>
          <cx:pt idx="88372">1</cx:pt>
          <cx:pt idx="88373">4</cx:pt>
          <cx:pt idx="88374">3</cx:pt>
          <cx:pt idx="88375">3</cx:pt>
          <cx:pt idx="88376">3</cx:pt>
          <cx:pt idx="88377">4</cx:pt>
          <cx:pt idx="88378">1</cx:pt>
          <cx:pt idx="88379">1</cx:pt>
          <cx:pt idx="88380">1</cx:pt>
          <cx:pt idx="88381">2</cx:pt>
          <cx:pt idx="88382">2</cx:pt>
          <cx:pt idx="88383">1</cx:pt>
          <cx:pt idx="88384">2</cx:pt>
          <cx:pt idx="88385">4</cx:pt>
          <cx:pt idx="88386">3</cx:pt>
          <cx:pt idx="88387">2</cx:pt>
          <cx:pt idx="88388">4</cx:pt>
          <cx:pt idx="88389">3</cx:pt>
          <cx:pt idx="88390">3</cx:pt>
          <cx:pt idx="88391">3</cx:pt>
          <cx:pt idx="88392">1</cx:pt>
          <cx:pt idx="88393">3</cx:pt>
          <cx:pt idx="88394">5</cx:pt>
          <cx:pt idx="88395">1</cx:pt>
          <cx:pt idx="88396">1</cx:pt>
          <cx:pt idx="88397">3</cx:pt>
          <cx:pt idx="88398">3</cx:pt>
          <cx:pt idx="88399">3</cx:pt>
          <cx:pt idx="88400">0</cx:pt>
          <cx:pt idx="88401">3</cx:pt>
          <cx:pt idx="88402">2</cx:pt>
          <cx:pt idx="88403">2</cx:pt>
          <cx:pt idx="88404">2</cx:pt>
          <cx:pt idx="88405">4</cx:pt>
          <cx:pt idx="88406">2</cx:pt>
          <cx:pt idx="88407">1</cx:pt>
          <cx:pt idx="88408">5</cx:pt>
          <cx:pt idx="88409">5</cx:pt>
          <cx:pt idx="88410">5</cx:pt>
          <cx:pt idx="88411">3</cx:pt>
          <cx:pt idx="88412">1</cx:pt>
          <cx:pt idx="88413">0</cx:pt>
          <cx:pt idx="88414">4</cx:pt>
          <cx:pt idx="88415">3</cx:pt>
          <cx:pt idx="88416">0</cx:pt>
          <cx:pt idx="88417">2</cx:pt>
          <cx:pt idx="88418">1</cx:pt>
          <cx:pt idx="88419">3</cx:pt>
          <cx:pt idx="88420">1</cx:pt>
          <cx:pt idx="88421">2</cx:pt>
          <cx:pt idx="88422">2</cx:pt>
          <cx:pt idx="88423">5</cx:pt>
          <cx:pt idx="88424">3</cx:pt>
          <cx:pt idx="88425">1</cx:pt>
          <cx:pt idx="88426">1</cx:pt>
          <cx:pt idx="88427">5</cx:pt>
          <cx:pt idx="88428">4</cx:pt>
          <cx:pt idx="88429">2</cx:pt>
          <cx:pt idx="88430">3</cx:pt>
          <cx:pt idx="88431">3</cx:pt>
          <cx:pt idx="88432">3</cx:pt>
          <cx:pt idx="88433">3</cx:pt>
          <cx:pt idx="88434">3</cx:pt>
          <cx:pt idx="88435">2</cx:pt>
          <cx:pt idx="88436">2</cx:pt>
          <cx:pt idx="88437">3</cx:pt>
          <cx:pt idx="88438">3</cx:pt>
          <cx:pt idx="88439">3</cx:pt>
          <cx:pt idx="88440">5</cx:pt>
          <cx:pt idx="88441">5</cx:pt>
          <cx:pt idx="88442">1</cx:pt>
          <cx:pt idx="88443">2</cx:pt>
          <cx:pt idx="88444">4</cx:pt>
          <cx:pt idx="88445">3</cx:pt>
          <cx:pt idx="88446">5</cx:pt>
          <cx:pt idx="88447">2</cx:pt>
          <cx:pt idx="88448">2</cx:pt>
          <cx:pt idx="88449">1</cx:pt>
          <cx:pt idx="88450">3</cx:pt>
          <cx:pt idx="88451">2</cx:pt>
          <cx:pt idx="88452">3</cx:pt>
          <cx:pt idx="88453">4</cx:pt>
          <cx:pt idx="88454">3</cx:pt>
          <cx:pt idx="88455">3</cx:pt>
          <cx:pt idx="88456">2</cx:pt>
          <cx:pt idx="88457">3</cx:pt>
          <cx:pt idx="88458">1</cx:pt>
          <cx:pt idx="88459">2</cx:pt>
          <cx:pt idx="88460">3</cx:pt>
          <cx:pt idx="88461">1</cx:pt>
          <cx:pt idx="88462">3</cx:pt>
          <cx:pt idx="88463">0</cx:pt>
          <cx:pt idx="88464">5</cx:pt>
          <cx:pt idx="88465">2</cx:pt>
          <cx:pt idx="88466">1</cx:pt>
          <cx:pt idx="88467">4</cx:pt>
          <cx:pt idx="88468">1</cx:pt>
          <cx:pt idx="88469">1</cx:pt>
          <cx:pt idx="88470">3</cx:pt>
          <cx:pt idx="88471">4</cx:pt>
          <cx:pt idx="88472">3</cx:pt>
          <cx:pt idx="88473">4</cx:pt>
          <cx:pt idx="88474">4</cx:pt>
          <cx:pt idx="88475">0</cx:pt>
          <cx:pt idx="88476">4</cx:pt>
          <cx:pt idx="88477">3</cx:pt>
          <cx:pt idx="88478">1</cx:pt>
          <cx:pt idx="88479">3</cx:pt>
          <cx:pt idx="88480">1</cx:pt>
          <cx:pt idx="88481">5</cx:pt>
          <cx:pt idx="88482">1</cx:pt>
          <cx:pt idx="88483">2</cx:pt>
          <cx:pt idx="88484">5</cx:pt>
          <cx:pt idx="88485">1</cx:pt>
          <cx:pt idx="88486">3</cx:pt>
          <cx:pt idx="88487">3</cx:pt>
          <cx:pt idx="88488">2</cx:pt>
          <cx:pt idx="88489">0</cx:pt>
          <cx:pt idx="88490">1</cx:pt>
          <cx:pt idx="88491">1</cx:pt>
          <cx:pt idx="88492">4</cx:pt>
          <cx:pt idx="88493">4</cx:pt>
          <cx:pt idx="88494">1</cx:pt>
          <cx:pt idx="88495">4</cx:pt>
          <cx:pt idx="88496">4</cx:pt>
          <cx:pt idx="88497">3</cx:pt>
          <cx:pt idx="88498">3</cx:pt>
          <cx:pt idx="88499">4</cx:pt>
          <cx:pt idx="88500">5</cx:pt>
          <cx:pt idx="88501">1</cx:pt>
          <cx:pt idx="88502">2</cx:pt>
          <cx:pt idx="88503">4</cx:pt>
          <cx:pt idx="88504">1</cx:pt>
          <cx:pt idx="88505">1</cx:pt>
          <cx:pt idx="88506">1</cx:pt>
          <cx:pt idx="88507">2</cx:pt>
          <cx:pt idx="88508">2</cx:pt>
          <cx:pt idx="88509">0</cx:pt>
          <cx:pt idx="88510">4</cx:pt>
          <cx:pt idx="88511">2</cx:pt>
          <cx:pt idx="88512">4</cx:pt>
          <cx:pt idx="88513">2</cx:pt>
          <cx:pt idx="88514">3</cx:pt>
          <cx:pt idx="88515">3</cx:pt>
          <cx:pt idx="88516">1</cx:pt>
          <cx:pt idx="88517">2</cx:pt>
          <cx:pt idx="88518">3</cx:pt>
          <cx:pt idx="88519">2</cx:pt>
          <cx:pt idx="88520">4</cx:pt>
          <cx:pt idx="88521">3</cx:pt>
          <cx:pt idx="88522">3</cx:pt>
          <cx:pt idx="88523">2</cx:pt>
          <cx:pt idx="88524">2</cx:pt>
          <cx:pt idx="88525">5</cx:pt>
          <cx:pt idx="88526">2</cx:pt>
          <cx:pt idx="88527">1</cx:pt>
          <cx:pt idx="88528">2</cx:pt>
          <cx:pt idx="88529">4</cx:pt>
          <cx:pt idx="88530">4</cx:pt>
          <cx:pt idx="88531">3</cx:pt>
          <cx:pt idx="88532">0</cx:pt>
          <cx:pt idx="88533">3</cx:pt>
          <cx:pt idx="88534">4</cx:pt>
          <cx:pt idx="88535">5</cx:pt>
          <cx:pt idx="88536">4</cx:pt>
          <cx:pt idx="88537">4</cx:pt>
          <cx:pt idx="88538">5</cx:pt>
          <cx:pt idx="88539">3</cx:pt>
          <cx:pt idx="88540">2</cx:pt>
          <cx:pt idx="88541">3</cx:pt>
          <cx:pt idx="88542">2</cx:pt>
          <cx:pt idx="88543">5</cx:pt>
          <cx:pt idx="88544">2</cx:pt>
          <cx:pt idx="88545">3</cx:pt>
          <cx:pt idx="88546">5</cx:pt>
          <cx:pt idx="88547">1</cx:pt>
          <cx:pt idx="88548">2</cx:pt>
          <cx:pt idx="88549">4</cx:pt>
          <cx:pt idx="88550">3</cx:pt>
          <cx:pt idx="88551">4</cx:pt>
          <cx:pt idx="88552">4</cx:pt>
          <cx:pt idx="88553">1</cx:pt>
          <cx:pt idx="88554">3</cx:pt>
          <cx:pt idx="88555">5</cx:pt>
          <cx:pt idx="88556">1</cx:pt>
          <cx:pt idx="88557">4</cx:pt>
          <cx:pt idx="88558">2</cx:pt>
          <cx:pt idx="88559">4</cx:pt>
          <cx:pt idx="88560">4</cx:pt>
          <cx:pt idx="88561">4</cx:pt>
          <cx:pt idx="88562">2</cx:pt>
          <cx:pt idx="88563">4</cx:pt>
          <cx:pt idx="88564">4</cx:pt>
          <cx:pt idx="88565">2</cx:pt>
          <cx:pt idx="88566">3</cx:pt>
          <cx:pt idx="88567">1</cx:pt>
          <cx:pt idx="88568">4</cx:pt>
          <cx:pt idx="88569">0</cx:pt>
          <cx:pt idx="88570">4</cx:pt>
          <cx:pt idx="88571">3</cx:pt>
          <cx:pt idx="88572">3</cx:pt>
          <cx:pt idx="88573">5</cx:pt>
          <cx:pt idx="88574">5</cx:pt>
          <cx:pt idx="88575">1</cx:pt>
          <cx:pt idx="88576">3</cx:pt>
          <cx:pt idx="88577">5</cx:pt>
          <cx:pt idx="88578">2</cx:pt>
          <cx:pt idx="88579">1</cx:pt>
          <cx:pt idx="88580">1</cx:pt>
          <cx:pt idx="88581">3</cx:pt>
          <cx:pt idx="88582">5</cx:pt>
          <cx:pt idx="88583">3</cx:pt>
          <cx:pt idx="88584">4</cx:pt>
          <cx:pt idx="88585">1</cx:pt>
          <cx:pt idx="88586">2</cx:pt>
          <cx:pt idx="88587">2</cx:pt>
          <cx:pt idx="88588">4</cx:pt>
          <cx:pt idx="88589">3</cx:pt>
          <cx:pt idx="88590">1</cx:pt>
          <cx:pt idx="88591">1</cx:pt>
          <cx:pt idx="88592">3</cx:pt>
          <cx:pt idx="88593">4</cx:pt>
          <cx:pt idx="88594">4</cx:pt>
          <cx:pt idx="88595">1</cx:pt>
          <cx:pt idx="88596">5</cx:pt>
          <cx:pt idx="88597">1</cx:pt>
          <cx:pt idx="88598">2</cx:pt>
          <cx:pt idx="88599">0</cx:pt>
          <cx:pt idx="88600">5</cx:pt>
          <cx:pt idx="88601">1</cx:pt>
          <cx:pt idx="88602">3</cx:pt>
          <cx:pt idx="88603">3</cx:pt>
          <cx:pt idx="88604">2</cx:pt>
          <cx:pt idx="88605">3</cx:pt>
          <cx:pt idx="88606">3</cx:pt>
          <cx:pt idx="88607">2</cx:pt>
          <cx:pt idx="88608">2</cx:pt>
          <cx:pt idx="88609">2</cx:pt>
          <cx:pt idx="88610">3</cx:pt>
          <cx:pt idx="88611">0</cx:pt>
          <cx:pt idx="88612">2</cx:pt>
          <cx:pt idx="88613">3</cx:pt>
          <cx:pt idx="88614">5</cx:pt>
          <cx:pt idx="88615">3</cx:pt>
          <cx:pt idx="88616">2</cx:pt>
          <cx:pt idx="88617">3</cx:pt>
          <cx:pt idx="88618">1</cx:pt>
          <cx:pt idx="88619">0</cx:pt>
          <cx:pt idx="88620">2</cx:pt>
          <cx:pt idx="88621">3</cx:pt>
          <cx:pt idx="88622">2</cx:pt>
          <cx:pt idx="88623">2</cx:pt>
          <cx:pt idx="88624">3</cx:pt>
          <cx:pt idx="88625">2</cx:pt>
          <cx:pt idx="88626">4</cx:pt>
          <cx:pt idx="88627">5</cx:pt>
          <cx:pt idx="88628">4</cx:pt>
          <cx:pt idx="88629">4</cx:pt>
          <cx:pt idx="88630">5</cx:pt>
          <cx:pt idx="88631">1</cx:pt>
          <cx:pt idx="88632">4</cx:pt>
          <cx:pt idx="88633">1</cx:pt>
          <cx:pt idx="88634">2</cx:pt>
          <cx:pt idx="88635">2</cx:pt>
          <cx:pt idx="88636">2</cx:pt>
          <cx:pt idx="88637">3</cx:pt>
          <cx:pt idx="88638">3</cx:pt>
          <cx:pt idx="88639">2</cx:pt>
          <cx:pt idx="88640">2</cx:pt>
          <cx:pt idx="88641">2</cx:pt>
          <cx:pt idx="88642">0</cx:pt>
          <cx:pt idx="88643">2</cx:pt>
          <cx:pt idx="88644">2</cx:pt>
          <cx:pt idx="88645">3</cx:pt>
          <cx:pt idx="88646">4</cx:pt>
          <cx:pt idx="88647">4</cx:pt>
          <cx:pt idx="88648">1</cx:pt>
          <cx:pt idx="88649">5</cx:pt>
          <cx:pt idx="88650">3</cx:pt>
          <cx:pt idx="88651">5</cx:pt>
          <cx:pt idx="88652">2</cx:pt>
          <cx:pt idx="88653">5</cx:pt>
          <cx:pt idx="88654">2</cx:pt>
          <cx:pt idx="88655">1</cx:pt>
          <cx:pt idx="88656">2</cx:pt>
          <cx:pt idx="88657">2</cx:pt>
          <cx:pt idx="88658">4</cx:pt>
          <cx:pt idx="88659">1</cx:pt>
          <cx:pt idx="88660">4</cx:pt>
          <cx:pt idx="88661">2</cx:pt>
          <cx:pt idx="88662">5</cx:pt>
          <cx:pt idx="88663">2</cx:pt>
          <cx:pt idx="88664">4</cx:pt>
          <cx:pt idx="88665">4</cx:pt>
          <cx:pt idx="88666">2</cx:pt>
          <cx:pt idx="88667">3</cx:pt>
          <cx:pt idx="88668">3</cx:pt>
          <cx:pt idx="88669">2</cx:pt>
          <cx:pt idx="88670">4</cx:pt>
          <cx:pt idx="88671">5</cx:pt>
          <cx:pt idx="88672">3</cx:pt>
          <cx:pt idx="88673">4</cx:pt>
          <cx:pt idx="88674">3</cx:pt>
          <cx:pt idx="88675">4</cx:pt>
          <cx:pt idx="88676">2</cx:pt>
          <cx:pt idx="88677">4</cx:pt>
          <cx:pt idx="88678">1</cx:pt>
          <cx:pt idx="88679">3</cx:pt>
          <cx:pt idx="88680">1</cx:pt>
          <cx:pt idx="88681">2</cx:pt>
          <cx:pt idx="88682">3</cx:pt>
          <cx:pt idx="88683">4</cx:pt>
          <cx:pt idx="88684">2</cx:pt>
          <cx:pt idx="88685">1</cx:pt>
          <cx:pt idx="88686">0</cx:pt>
          <cx:pt idx="88687">3</cx:pt>
          <cx:pt idx="88688">1</cx:pt>
          <cx:pt idx="88689">2</cx:pt>
          <cx:pt idx="88690">2</cx:pt>
          <cx:pt idx="88691">1</cx:pt>
          <cx:pt idx="88692">2</cx:pt>
          <cx:pt idx="88693">3</cx:pt>
          <cx:pt idx="88694">1</cx:pt>
          <cx:pt idx="88695">5</cx:pt>
          <cx:pt idx="88696">1</cx:pt>
          <cx:pt idx="88697">1</cx:pt>
          <cx:pt idx="88698">4</cx:pt>
          <cx:pt idx="88699">5</cx:pt>
          <cx:pt idx="88700">5</cx:pt>
          <cx:pt idx="88701">5</cx:pt>
          <cx:pt idx="88702">1</cx:pt>
          <cx:pt idx="88703">0</cx:pt>
          <cx:pt idx="88704">1</cx:pt>
          <cx:pt idx="88705">4</cx:pt>
          <cx:pt idx="88706">1</cx:pt>
          <cx:pt idx="88707">1</cx:pt>
          <cx:pt idx="88708">2</cx:pt>
          <cx:pt idx="88709">3</cx:pt>
          <cx:pt idx="88710">3</cx:pt>
          <cx:pt idx="88711">0</cx:pt>
          <cx:pt idx="88712">1</cx:pt>
          <cx:pt idx="88713">1</cx:pt>
          <cx:pt idx="88714">3</cx:pt>
          <cx:pt idx="88715">5</cx:pt>
          <cx:pt idx="88716">3</cx:pt>
          <cx:pt idx="88717">1</cx:pt>
          <cx:pt idx="88718">1</cx:pt>
          <cx:pt idx="88719">2</cx:pt>
          <cx:pt idx="88720">0</cx:pt>
          <cx:pt idx="88721">4</cx:pt>
          <cx:pt idx="88722">3</cx:pt>
          <cx:pt idx="88723">3</cx:pt>
          <cx:pt idx="88724">3</cx:pt>
          <cx:pt idx="88725">5</cx:pt>
          <cx:pt idx="88726">5</cx:pt>
          <cx:pt idx="88727">2</cx:pt>
          <cx:pt idx="88728">4</cx:pt>
          <cx:pt idx="88729">1</cx:pt>
          <cx:pt idx="88730">5</cx:pt>
          <cx:pt idx="88731">1</cx:pt>
          <cx:pt idx="88732">1</cx:pt>
          <cx:pt idx="88733">3</cx:pt>
          <cx:pt idx="88734">4</cx:pt>
          <cx:pt idx="88735">1</cx:pt>
          <cx:pt idx="88736">1</cx:pt>
          <cx:pt idx="88737">4</cx:pt>
          <cx:pt idx="88738">3</cx:pt>
          <cx:pt idx="88739">2</cx:pt>
          <cx:pt idx="88740">2</cx:pt>
          <cx:pt idx="88741">0</cx:pt>
          <cx:pt idx="88742">3</cx:pt>
          <cx:pt idx="88743">5</cx:pt>
          <cx:pt idx="88744">1</cx:pt>
          <cx:pt idx="88745">0</cx:pt>
          <cx:pt idx="88746">3</cx:pt>
          <cx:pt idx="88747">5</cx:pt>
          <cx:pt idx="88748">1</cx:pt>
          <cx:pt idx="88749">2</cx:pt>
          <cx:pt idx="88750">4</cx:pt>
          <cx:pt idx="88751">3</cx:pt>
          <cx:pt idx="88752">2</cx:pt>
          <cx:pt idx="88753">2</cx:pt>
          <cx:pt idx="88754">4</cx:pt>
          <cx:pt idx="88755">4</cx:pt>
          <cx:pt idx="88756">2</cx:pt>
          <cx:pt idx="88757">3</cx:pt>
          <cx:pt idx="88758">5</cx:pt>
          <cx:pt idx="88759">4</cx:pt>
          <cx:pt idx="88760">2</cx:pt>
          <cx:pt idx="88761">3</cx:pt>
          <cx:pt idx="88762">1</cx:pt>
          <cx:pt idx="88763">2</cx:pt>
          <cx:pt idx="88764">5</cx:pt>
          <cx:pt idx="88765">3</cx:pt>
          <cx:pt idx="88766">3</cx:pt>
          <cx:pt idx="88767">1</cx:pt>
          <cx:pt idx="88768">1</cx:pt>
          <cx:pt idx="88769">3</cx:pt>
          <cx:pt idx="88770">3</cx:pt>
          <cx:pt idx="88771">3</cx:pt>
          <cx:pt idx="88772">5</cx:pt>
          <cx:pt idx="88773">4</cx:pt>
          <cx:pt idx="88774">4</cx:pt>
          <cx:pt idx="88775">4</cx:pt>
          <cx:pt idx="88776">3</cx:pt>
          <cx:pt idx="88777">2</cx:pt>
          <cx:pt idx="88778">3</cx:pt>
          <cx:pt idx="88779">1</cx:pt>
          <cx:pt idx="88780">4</cx:pt>
          <cx:pt idx="88781">1</cx:pt>
          <cx:pt idx="88782">1</cx:pt>
          <cx:pt idx="88783">2</cx:pt>
          <cx:pt idx="88784">5</cx:pt>
          <cx:pt idx="88785">2</cx:pt>
          <cx:pt idx="88786">3</cx:pt>
          <cx:pt idx="88787">2</cx:pt>
          <cx:pt idx="88788">4</cx:pt>
          <cx:pt idx="88789">2</cx:pt>
          <cx:pt idx="88790">3</cx:pt>
          <cx:pt idx="88791">2</cx:pt>
          <cx:pt idx="88792">5</cx:pt>
          <cx:pt idx="88793">2</cx:pt>
          <cx:pt idx="88794">4</cx:pt>
          <cx:pt idx="88795">4</cx:pt>
          <cx:pt idx="88796">2</cx:pt>
          <cx:pt idx="88797">3</cx:pt>
          <cx:pt idx="88798">2</cx:pt>
          <cx:pt idx="88799">0</cx:pt>
          <cx:pt idx="88800">4</cx:pt>
          <cx:pt idx="88801">1</cx:pt>
          <cx:pt idx="88802">3</cx:pt>
          <cx:pt idx="88803">2</cx:pt>
          <cx:pt idx="88804">4</cx:pt>
          <cx:pt idx="88805">2</cx:pt>
          <cx:pt idx="88806">3</cx:pt>
          <cx:pt idx="88807">5</cx:pt>
          <cx:pt idx="88808">5</cx:pt>
          <cx:pt idx="88809">2</cx:pt>
          <cx:pt idx="88810">1</cx:pt>
          <cx:pt idx="88811">3</cx:pt>
          <cx:pt idx="88812">4</cx:pt>
          <cx:pt idx="88813">5</cx:pt>
          <cx:pt idx="88814">4</cx:pt>
          <cx:pt idx="88815">4</cx:pt>
          <cx:pt idx="88816">0</cx:pt>
          <cx:pt idx="88817">2</cx:pt>
          <cx:pt idx="88818">4</cx:pt>
          <cx:pt idx="88819">1</cx:pt>
          <cx:pt idx="88820">4</cx:pt>
          <cx:pt idx="88821">5</cx:pt>
          <cx:pt idx="88822">2</cx:pt>
          <cx:pt idx="88823">1</cx:pt>
          <cx:pt idx="88824">4</cx:pt>
          <cx:pt idx="88825">1</cx:pt>
          <cx:pt idx="88826">3</cx:pt>
          <cx:pt idx="88827">1</cx:pt>
          <cx:pt idx="88828">4</cx:pt>
          <cx:pt idx="88829">4</cx:pt>
          <cx:pt idx="88830">2</cx:pt>
          <cx:pt idx="88831">3</cx:pt>
          <cx:pt idx="88832">1</cx:pt>
          <cx:pt idx="88833">2</cx:pt>
          <cx:pt idx="88834">4</cx:pt>
          <cx:pt idx="88835">3</cx:pt>
          <cx:pt idx="88836">4</cx:pt>
          <cx:pt idx="88837">2</cx:pt>
          <cx:pt idx="88838">4</cx:pt>
          <cx:pt idx="88839">0</cx:pt>
          <cx:pt idx="88840">3</cx:pt>
          <cx:pt idx="88841">2</cx:pt>
          <cx:pt idx="88842">5</cx:pt>
          <cx:pt idx="88843">2</cx:pt>
          <cx:pt idx="88844">3</cx:pt>
          <cx:pt idx="88845">5</cx:pt>
          <cx:pt idx="88846">1</cx:pt>
          <cx:pt idx="88847">4</cx:pt>
          <cx:pt idx="88848">4</cx:pt>
          <cx:pt idx="88849">3</cx:pt>
          <cx:pt idx="88850">5</cx:pt>
          <cx:pt idx="88851">1</cx:pt>
          <cx:pt idx="88852">3</cx:pt>
          <cx:pt idx="88853">2</cx:pt>
          <cx:pt idx="88854">5</cx:pt>
          <cx:pt idx="88855">4</cx:pt>
          <cx:pt idx="88856">1</cx:pt>
          <cx:pt idx="88857">3</cx:pt>
          <cx:pt idx="88858">5</cx:pt>
          <cx:pt idx="88859">4</cx:pt>
          <cx:pt idx="88860">5</cx:pt>
          <cx:pt idx="88861">5</cx:pt>
          <cx:pt idx="88862">3</cx:pt>
          <cx:pt idx="88863">4</cx:pt>
          <cx:pt idx="88864">3</cx:pt>
          <cx:pt idx="88865">3</cx:pt>
          <cx:pt idx="88866">2</cx:pt>
          <cx:pt idx="88867">2</cx:pt>
          <cx:pt idx="88868">5</cx:pt>
          <cx:pt idx="88869">2</cx:pt>
          <cx:pt idx="88870">3</cx:pt>
          <cx:pt idx="88871">4</cx:pt>
          <cx:pt idx="88872">1</cx:pt>
          <cx:pt idx="88873">3</cx:pt>
          <cx:pt idx="88874">2</cx:pt>
          <cx:pt idx="88875">4</cx:pt>
          <cx:pt idx="88876">5</cx:pt>
          <cx:pt idx="88877">1</cx:pt>
          <cx:pt idx="88878">5</cx:pt>
          <cx:pt idx="88879">1</cx:pt>
          <cx:pt idx="88880">2</cx:pt>
          <cx:pt idx="88881">1</cx:pt>
          <cx:pt idx="88882">3</cx:pt>
          <cx:pt idx="88883">1</cx:pt>
          <cx:pt idx="88884">2</cx:pt>
          <cx:pt idx="88885">2</cx:pt>
          <cx:pt idx="88886">1</cx:pt>
          <cx:pt idx="88887">2</cx:pt>
          <cx:pt idx="88888">3</cx:pt>
          <cx:pt idx="88889">2</cx:pt>
          <cx:pt idx="88890">1</cx:pt>
          <cx:pt idx="88891">2</cx:pt>
          <cx:pt idx="88892">1</cx:pt>
          <cx:pt idx="88893">1</cx:pt>
          <cx:pt idx="88894">4</cx:pt>
          <cx:pt idx="88895">3</cx:pt>
          <cx:pt idx="88896">2</cx:pt>
          <cx:pt idx="88897">5</cx:pt>
          <cx:pt idx="88898">3</cx:pt>
          <cx:pt idx="88899">4</cx:pt>
          <cx:pt idx="88900">3</cx:pt>
          <cx:pt idx="88901">4</cx:pt>
          <cx:pt idx="88902">1</cx:pt>
          <cx:pt idx="88903">0</cx:pt>
          <cx:pt idx="88904">2</cx:pt>
          <cx:pt idx="88905">1</cx:pt>
          <cx:pt idx="88906">4</cx:pt>
          <cx:pt idx="88907">3</cx:pt>
          <cx:pt idx="88908">2</cx:pt>
          <cx:pt idx="88909">2</cx:pt>
          <cx:pt idx="88910">4</cx:pt>
          <cx:pt idx="88911">3</cx:pt>
          <cx:pt idx="88912">4</cx:pt>
          <cx:pt idx="88913">3</cx:pt>
          <cx:pt idx="88914">5</cx:pt>
          <cx:pt idx="88915">5</cx:pt>
          <cx:pt idx="88916">1</cx:pt>
          <cx:pt idx="88917">2</cx:pt>
          <cx:pt idx="88918">5</cx:pt>
          <cx:pt idx="88919">3</cx:pt>
          <cx:pt idx="88920">3</cx:pt>
          <cx:pt idx="88921">4</cx:pt>
          <cx:pt idx="88922">2</cx:pt>
          <cx:pt idx="88923">5</cx:pt>
          <cx:pt idx="88924">1</cx:pt>
          <cx:pt idx="88925">3</cx:pt>
          <cx:pt idx="88926">4</cx:pt>
          <cx:pt idx="88927">4</cx:pt>
          <cx:pt idx="88928">2</cx:pt>
          <cx:pt idx="88929">1</cx:pt>
          <cx:pt idx="88930">3</cx:pt>
          <cx:pt idx="88931">3</cx:pt>
          <cx:pt idx="88932">5</cx:pt>
          <cx:pt idx="88933">5</cx:pt>
          <cx:pt idx="88934">2</cx:pt>
          <cx:pt idx="88935">2</cx:pt>
          <cx:pt idx="88936">4</cx:pt>
          <cx:pt idx="88937">5</cx:pt>
          <cx:pt idx="88938">1</cx:pt>
          <cx:pt idx="88939">5</cx:pt>
          <cx:pt idx="88940">3</cx:pt>
          <cx:pt idx="88941">5</cx:pt>
          <cx:pt idx="88942">1</cx:pt>
          <cx:pt idx="88943">1</cx:pt>
          <cx:pt idx="88944">3</cx:pt>
          <cx:pt idx="88945">1</cx:pt>
          <cx:pt idx="88946">5</cx:pt>
          <cx:pt idx="88947">4</cx:pt>
          <cx:pt idx="88948">3</cx:pt>
          <cx:pt idx="88949">4</cx:pt>
          <cx:pt idx="88950">2</cx:pt>
          <cx:pt idx="88951">5</cx:pt>
          <cx:pt idx="88952">1</cx:pt>
          <cx:pt idx="88953">4</cx:pt>
          <cx:pt idx="88954">3</cx:pt>
          <cx:pt idx="88955">4</cx:pt>
          <cx:pt idx="88956">4</cx:pt>
          <cx:pt idx="88957">5</cx:pt>
          <cx:pt idx="88958">1</cx:pt>
          <cx:pt idx="88959">5</cx:pt>
          <cx:pt idx="88960">1</cx:pt>
          <cx:pt idx="88961">3</cx:pt>
          <cx:pt idx="88962">2</cx:pt>
          <cx:pt idx="88963">4</cx:pt>
          <cx:pt idx="88964">1</cx:pt>
          <cx:pt idx="88965">3</cx:pt>
          <cx:pt idx="88966">1</cx:pt>
          <cx:pt idx="88967">3</cx:pt>
          <cx:pt idx="88968">1</cx:pt>
          <cx:pt idx="88969">3</cx:pt>
          <cx:pt idx="88970">2</cx:pt>
          <cx:pt idx="88971">2</cx:pt>
          <cx:pt idx="88972">2</cx:pt>
          <cx:pt idx="88973">3</cx:pt>
          <cx:pt idx="88974">3</cx:pt>
          <cx:pt idx="88975">2</cx:pt>
          <cx:pt idx="88976">4</cx:pt>
          <cx:pt idx="88977">1</cx:pt>
          <cx:pt idx="88978">4</cx:pt>
          <cx:pt idx="88979">2</cx:pt>
          <cx:pt idx="88980">5</cx:pt>
          <cx:pt idx="88981">1</cx:pt>
          <cx:pt idx="88982">1</cx:pt>
          <cx:pt idx="88983">4</cx:pt>
          <cx:pt idx="88984">4</cx:pt>
          <cx:pt idx="88985">2</cx:pt>
          <cx:pt idx="88986">3</cx:pt>
          <cx:pt idx="88987">5</cx:pt>
          <cx:pt idx="88988">3</cx:pt>
          <cx:pt idx="88989">3</cx:pt>
          <cx:pt idx="88990">2</cx:pt>
          <cx:pt idx="88991">1</cx:pt>
          <cx:pt idx="88992">1</cx:pt>
          <cx:pt idx="88993">5</cx:pt>
          <cx:pt idx="88994">2</cx:pt>
          <cx:pt idx="88995">3</cx:pt>
          <cx:pt idx="88996">5</cx:pt>
          <cx:pt idx="88997">2</cx:pt>
          <cx:pt idx="88998">5</cx:pt>
          <cx:pt idx="88999">2</cx:pt>
          <cx:pt idx="89000">5</cx:pt>
          <cx:pt idx="89001">5</cx:pt>
          <cx:pt idx="89002">2</cx:pt>
          <cx:pt idx="89003">2</cx:pt>
          <cx:pt idx="89004">5</cx:pt>
          <cx:pt idx="89005">3</cx:pt>
          <cx:pt idx="89006">3</cx:pt>
          <cx:pt idx="89007">3</cx:pt>
          <cx:pt idx="89008">5</cx:pt>
          <cx:pt idx="89009">2</cx:pt>
          <cx:pt idx="89010">5</cx:pt>
          <cx:pt idx="89011">2</cx:pt>
          <cx:pt idx="89012">3</cx:pt>
          <cx:pt idx="89013">1</cx:pt>
          <cx:pt idx="89014">5</cx:pt>
          <cx:pt idx="89015">4</cx:pt>
          <cx:pt idx="89016">3</cx:pt>
          <cx:pt idx="89017">3</cx:pt>
          <cx:pt idx="89018">4</cx:pt>
          <cx:pt idx="89019">0</cx:pt>
          <cx:pt idx="89020">1</cx:pt>
          <cx:pt idx="89021">2</cx:pt>
          <cx:pt idx="89022">5</cx:pt>
          <cx:pt idx="89023">4</cx:pt>
          <cx:pt idx="89024">1</cx:pt>
          <cx:pt idx="89025">3</cx:pt>
          <cx:pt idx="89026">2</cx:pt>
          <cx:pt idx="89027">3</cx:pt>
          <cx:pt idx="89028">3</cx:pt>
          <cx:pt idx="89029">2</cx:pt>
          <cx:pt idx="89030">2</cx:pt>
          <cx:pt idx="89031">4</cx:pt>
          <cx:pt idx="89032">2</cx:pt>
          <cx:pt idx="89033">4</cx:pt>
          <cx:pt idx="89034">2</cx:pt>
          <cx:pt idx="89035">2</cx:pt>
          <cx:pt idx="89036">1</cx:pt>
          <cx:pt idx="89037">4</cx:pt>
          <cx:pt idx="89038">3</cx:pt>
          <cx:pt idx="89039">1</cx:pt>
          <cx:pt idx="89040">1</cx:pt>
          <cx:pt idx="89041">4</cx:pt>
          <cx:pt idx="89042">5</cx:pt>
          <cx:pt idx="89043">3</cx:pt>
          <cx:pt idx="89044">2</cx:pt>
          <cx:pt idx="89045">0</cx:pt>
          <cx:pt idx="89046">5</cx:pt>
          <cx:pt idx="89047">3</cx:pt>
          <cx:pt idx="89048">3</cx:pt>
          <cx:pt idx="89049">3</cx:pt>
          <cx:pt idx="89050">2</cx:pt>
          <cx:pt idx="89051">5</cx:pt>
          <cx:pt idx="89052">2</cx:pt>
          <cx:pt idx="89053">3</cx:pt>
          <cx:pt idx="89054">1</cx:pt>
          <cx:pt idx="89055">2</cx:pt>
          <cx:pt idx="89056">3</cx:pt>
          <cx:pt idx="89057">2</cx:pt>
          <cx:pt idx="89058">3</cx:pt>
          <cx:pt idx="89059">1</cx:pt>
          <cx:pt idx="89060">4</cx:pt>
          <cx:pt idx="89061">3</cx:pt>
          <cx:pt idx="89062">4</cx:pt>
          <cx:pt idx="89063">1</cx:pt>
          <cx:pt idx="89064">2</cx:pt>
          <cx:pt idx="89065">4</cx:pt>
          <cx:pt idx="89066">4</cx:pt>
          <cx:pt idx="89067">5</cx:pt>
          <cx:pt idx="89068">2</cx:pt>
          <cx:pt idx="89069">5</cx:pt>
          <cx:pt idx="89070">4</cx:pt>
          <cx:pt idx="89071">3</cx:pt>
          <cx:pt idx="89072">3</cx:pt>
          <cx:pt idx="89073">4</cx:pt>
          <cx:pt idx="89074">3</cx:pt>
          <cx:pt idx="89075">2</cx:pt>
          <cx:pt idx="89076">3</cx:pt>
          <cx:pt idx="89077">4</cx:pt>
          <cx:pt idx="89078">4</cx:pt>
          <cx:pt idx="89079">3</cx:pt>
          <cx:pt idx="89080">1</cx:pt>
          <cx:pt idx="89081">4</cx:pt>
          <cx:pt idx="89082">2</cx:pt>
          <cx:pt idx="89083">4</cx:pt>
          <cx:pt idx="89084">4</cx:pt>
          <cx:pt idx="89085">2</cx:pt>
          <cx:pt idx="89086">5</cx:pt>
          <cx:pt idx="89087">3</cx:pt>
          <cx:pt idx="89088">3</cx:pt>
          <cx:pt idx="89089">4</cx:pt>
          <cx:pt idx="89090">3</cx:pt>
          <cx:pt idx="89091">5</cx:pt>
          <cx:pt idx="89092">2</cx:pt>
          <cx:pt idx="89093">2</cx:pt>
          <cx:pt idx="89094">2</cx:pt>
          <cx:pt idx="89095">3</cx:pt>
          <cx:pt idx="89096">2</cx:pt>
          <cx:pt idx="89097">2</cx:pt>
          <cx:pt idx="89098">3</cx:pt>
          <cx:pt idx="89099">4</cx:pt>
          <cx:pt idx="89100">3</cx:pt>
          <cx:pt idx="89101">3</cx:pt>
          <cx:pt idx="89102">5</cx:pt>
          <cx:pt idx="89103">1</cx:pt>
          <cx:pt idx="89104">1</cx:pt>
          <cx:pt idx="89105">3</cx:pt>
          <cx:pt idx="89106">3</cx:pt>
          <cx:pt idx="89107">4</cx:pt>
          <cx:pt idx="89108">4</cx:pt>
          <cx:pt idx="89109">2</cx:pt>
          <cx:pt idx="89110">5</cx:pt>
          <cx:pt idx="89111">3</cx:pt>
          <cx:pt idx="89112">4</cx:pt>
          <cx:pt idx="89113">1</cx:pt>
          <cx:pt idx="89114">3</cx:pt>
          <cx:pt idx="89115">2</cx:pt>
          <cx:pt idx="89116">1</cx:pt>
          <cx:pt idx="89117">3</cx:pt>
          <cx:pt idx="89118">1</cx:pt>
          <cx:pt idx="89119">3</cx:pt>
          <cx:pt idx="89120">4</cx:pt>
          <cx:pt idx="89121">3</cx:pt>
          <cx:pt idx="89122">5</cx:pt>
          <cx:pt idx="89123">5</cx:pt>
          <cx:pt idx="89124">2</cx:pt>
          <cx:pt idx="89125">3</cx:pt>
          <cx:pt idx="89126">5</cx:pt>
          <cx:pt idx="89127">5</cx:pt>
          <cx:pt idx="89128">1</cx:pt>
          <cx:pt idx="89129">2</cx:pt>
          <cx:pt idx="89130">3</cx:pt>
          <cx:pt idx="89131">4</cx:pt>
          <cx:pt idx="89132">3</cx:pt>
          <cx:pt idx="89133">4</cx:pt>
          <cx:pt idx="89134">3</cx:pt>
          <cx:pt idx="89135">3</cx:pt>
          <cx:pt idx="89136">2</cx:pt>
          <cx:pt idx="89137">0</cx:pt>
          <cx:pt idx="89138">5</cx:pt>
          <cx:pt idx="89139">4</cx:pt>
          <cx:pt idx="89140">4</cx:pt>
          <cx:pt idx="89141">3</cx:pt>
          <cx:pt idx="89142">2</cx:pt>
          <cx:pt idx="89143">4</cx:pt>
          <cx:pt idx="89144">0</cx:pt>
          <cx:pt idx="89145">2</cx:pt>
          <cx:pt idx="89146">5</cx:pt>
          <cx:pt idx="89147">4</cx:pt>
          <cx:pt idx="89148">3</cx:pt>
          <cx:pt idx="89149">4</cx:pt>
          <cx:pt idx="89150">3</cx:pt>
          <cx:pt idx="89151">3</cx:pt>
          <cx:pt idx="89152">5</cx:pt>
          <cx:pt idx="89153">3</cx:pt>
          <cx:pt idx="89154">2</cx:pt>
          <cx:pt idx="89155">1</cx:pt>
          <cx:pt idx="89156">4</cx:pt>
          <cx:pt idx="89157">4</cx:pt>
          <cx:pt idx="89158">1</cx:pt>
          <cx:pt idx="89159">2</cx:pt>
          <cx:pt idx="89160">3</cx:pt>
          <cx:pt idx="89161">3</cx:pt>
          <cx:pt idx="89162">3</cx:pt>
          <cx:pt idx="89163">3</cx:pt>
          <cx:pt idx="89164">3</cx:pt>
          <cx:pt idx="89165">1</cx:pt>
          <cx:pt idx="89166">2</cx:pt>
          <cx:pt idx="89167">2</cx:pt>
          <cx:pt idx="89168">5</cx:pt>
          <cx:pt idx="89169">2</cx:pt>
          <cx:pt idx="89170">5</cx:pt>
          <cx:pt idx="89171">3</cx:pt>
          <cx:pt idx="89172">1</cx:pt>
          <cx:pt idx="89173">0</cx:pt>
          <cx:pt idx="89174">5</cx:pt>
          <cx:pt idx="89175">2</cx:pt>
          <cx:pt idx="89176">1</cx:pt>
          <cx:pt idx="89177">3</cx:pt>
          <cx:pt idx="89178">5</cx:pt>
          <cx:pt idx="89179">5</cx:pt>
          <cx:pt idx="89180">1</cx:pt>
          <cx:pt idx="89181">4</cx:pt>
          <cx:pt idx="89182">0</cx:pt>
          <cx:pt idx="89183">4</cx:pt>
          <cx:pt idx="89184">0</cx:pt>
          <cx:pt idx="89185">2</cx:pt>
          <cx:pt idx="89186">4</cx:pt>
          <cx:pt idx="89187">4</cx:pt>
          <cx:pt idx="89188">2</cx:pt>
          <cx:pt idx="89189">2</cx:pt>
          <cx:pt idx="89190">2</cx:pt>
          <cx:pt idx="89191">1</cx:pt>
          <cx:pt idx="89192">5</cx:pt>
          <cx:pt idx="89193">2</cx:pt>
          <cx:pt idx="89194">2</cx:pt>
          <cx:pt idx="89195">3</cx:pt>
          <cx:pt idx="89196">4</cx:pt>
          <cx:pt idx="89197">1</cx:pt>
          <cx:pt idx="89198">2</cx:pt>
          <cx:pt idx="89199">1</cx:pt>
          <cx:pt idx="89200">3</cx:pt>
          <cx:pt idx="89201">1</cx:pt>
          <cx:pt idx="89202">3</cx:pt>
          <cx:pt idx="89203">5</cx:pt>
          <cx:pt idx="89204">5</cx:pt>
          <cx:pt idx="89205">3</cx:pt>
          <cx:pt idx="89206">2</cx:pt>
          <cx:pt idx="89207">2</cx:pt>
          <cx:pt idx="89208">4</cx:pt>
          <cx:pt idx="89209">1</cx:pt>
          <cx:pt idx="89210">3</cx:pt>
          <cx:pt idx="89211">4</cx:pt>
          <cx:pt idx="89212">2</cx:pt>
          <cx:pt idx="89213">1</cx:pt>
          <cx:pt idx="89214">2</cx:pt>
          <cx:pt idx="89215">2</cx:pt>
          <cx:pt idx="89216">5</cx:pt>
          <cx:pt idx="89217">2</cx:pt>
          <cx:pt idx="89218">1</cx:pt>
          <cx:pt idx="89219">5</cx:pt>
          <cx:pt idx="89220">5</cx:pt>
          <cx:pt idx="89221">3</cx:pt>
          <cx:pt idx="89222">4</cx:pt>
          <cx:pt idx="89223">3</cx:pt>
          <cx:pt idx="89224">5</cx:pt>
          <cx:pt idx="89225">5</cx:pt>
          <cx:pt idx="89226">4</cx:pt>
          <cx:pt idx="89227">1</cx:pt>
          <cx:pt idx="89228">5</cx:pt>
          <cx:pt idx="89229">4</cx:pt>
          <cx:pt idx="89230">2</cx:pt>
          <cx:pt idx="89231">1</cx:pt>
          <cx:pt idx="89232">3</cx:pt>
          <cx:pt idx="89233">5</cx:pt>
          <cx:pt idx="89234">2</cx:pt>
          <cx:pt idx="89235">4</cx:pt>
          <cx:pt idx="89236">5</cx:pt>
          <cx:pt idx="89237">4</cx:pt>
          <cx:pt idx="89238">2</cx:pt>
          <cx:pt idx="89239">5</cx:pt>
          <cx:pt idx="89240">2</cx:pt>
          <cx:pt idx="89241">0</cx:pt>
          <cx:pt idx="89242">2</cx:pt>
          <cx:pt idx="89243">2</cx:pt>
          <cx:pt idx="89244">1</cx:pt>
          <cx:pt idx="89245">5</cx:pt>
          <cx:pt idx="89246">4</cx:pt>
          <cx:pt idx="89247">5</cx:pt>
          <cx:pt idx="89248">1</cx:pt>
          <cx:pt idx="89249">0</cx:pt>
          <cx:pt idx="89250">2</cx:pt>
          <cx:pt idx="89251">4</cx:pt>
          <cx:pt idx="89252">5</cx:pt>
          <cx:pt idx="89253">2</cx:pt>
          <cx:pt idx="89254">4</cx:pt>
          <cx:pt idx="89255">3</cx:pt>
          <cx:pt idx="89256">4</cx:pt>
          <cx:pt idx="89257">1</cx:pt>
          <cx:pt idx="89258">1</cx:pt>
          <cx:pt idx="89259">3</cx:pt>
          <cx:pt idx="89260">1</cx:pt>
          <cx:pt idx="89261">4</cx:pt>
          <cx:pt idx="89262">3</cx:pt>
          <cx:pt idx="89263">4</cx:pt>
          <cx:pt idx="89264">5</cx:pt>
          <cx:pt idx="89265">3</cx:pt>
          <cx:pt idx="89266">1</cx:pt>
          <cx:pt idx="89267">1</cx:pt>
          <cx:pt idx="89268">2</cx:pt>
          <cx:pt idx="89269">1</cx:pt>
          <cx:pt idx="89270">4</cx:pt>
          <cx:pt idx="89271">2</cx:pt>
          <cx:pt idx="89272">0</cx:pt>
          <cx:pt idx="89273">3</cx:pt>
          <cx:pt idx="89274">1</cx:pt>
          <cx:pt idx="89275">3</cx:pt>
          <cx:pt idx="89276">2</cx:pt>
          <cx:pt idx="89277">3</cx:pt>
          <cx:pt idx="89278">3</cx:pt>
          <cx:pt idx="89279">1</cx:pt>
          <cx:pt idx="89280">3</cx:pt>
          <cx:pt idx="89281">2</cx:pt>
          <cx:pt idx="89282">5</cx:pt>
          <cx:pt idx="89283">2</cx:pt>
          <cx:pt idx="89284">5</cx:pt>
          <cx:pt idx="89285">1</cx:pt>
          <cx:pt idx="89286">3</cx:pt>
          <cx:pt idx="89287">4</cx:pt>
          <cx:pt idx="89288">2</cx:pt>
          <cx:pt idx="89289">3</cx:pt>
          <cx:pt idx="89290">4</cx:pt>
          <cx:pt idx="89291">2</cx:pt>
          <cx:pt idx="89292">3</cx:pt>
          <cx:pt idx="89293">4</cx:pt>
          <cx:pt idx="89294">1</cx:pt>
          <cx:pt idx="89295">1</cx:pt>
          <cx:pt idx="89296">4</cx:pt>
          <cx:pt idx="89297">5</cx:pt>
          <cx:pt idx="89298">3</cx:pt>
          <cx:pt idx="89299">5</cx:pt>
          <cx:pt idx="89300">2</cx:pt>
          <cx:pt idx="89301">3</cx:pt>
          <cx:pt idx="89302">4</cx:pt>
          <cx:pt idx="89303">3</cx:pt>
          <cx:pt idx="89304">3</cx:pt>
          <cx:pt idx="89305">3</cx:pt>
          <cx:pt idx="89306">3</cx:pt>
          <cx:pt idx="89307">2</cx:pt>
          <cx:pt idx="89308">2</cx:pt>
          <cx:pt idx="89309">2</cx:pt>
          <cx:pt idx="89310">5</cx:pt>
          <cx:pt idx="89311">3</cx:pt>
          <cx:pt idx="89312">3</cx:pt>
          <cx:pt idx="89313">1</cx:pt>
          <cx:pt idx="89314">3</cx:pt>
          <cx:pt idx="89315">5</cx:pt>
          <cx:pt idx="89316">3</cx:pt>
          <cx:pt idx="89317">4</cx:pt>
          <cx:pt idx="89318">5</cx:pt>
          <cx:pt idx="89319">0</cx:pt>
          <cx:pt idx="89320">0</cx:pt>
          <cx:pt idx="89321">1</cx:pt>
          <cx:pt idx="89322">5</cx:pt>
          <cx:pt idx="89323">2</cx:pt>
          <cx:pt idx="89324">2</cx:pt>
          <cx:pt idx="89325">2</cx:pt>
          <cx:pt idx="89326">2</cx:pt>
          <cx:pt idx="89327">2</cx:pt>
          <cx:pt idx="89328">3</cx:pt>
          <cx:pt idx="89329">2</cx:pt>
          <cx:pt idx="89330">2</cx:pt>
          <cx:pt idx="89331">0</cx:pt>
          <cx:pt idx="89332">2</cx:pt>
          <cx:pt idx="89333">5</cx:pt>
          <cx:pt idx="89334">3</cx:pt>
          <cx:pt idx="89335">4</cx:pt>
          <cx:pt idx="89336">5</cx:pt>
          <cx:pt idx="89337">2</cx:pt>
          <cx:pt idx="89338">5</cx:pt>
          <cx:pt idx="89339">4</cx:pt>
          <cx:pt idx="89340">1</cx:pt>
          <cx:pt idx="89341">3</cx:pt>
          <cx:pt idx="89342">2</cx:pt>
          <cx:pt idx="89343">3</cx:pt>
          <cx:pt idx="89344">4</cx:pt>
          <cx:pt idx="89345">2</cx:pt>
          <cx:pt idx="89346">4</cx:pt>
          <cx:pt idx="89347">2</cx:pt>
          <cx:pt idx="89348">3</cx:pt>
          <cx:pt idx="89349">1</cx:pt>
          <cx:pt idx="89350">2</cx:pt>
          <cx:pt idx="89351">3</cx:pt>
          <cx:pt idx="89352">4</cx:pt>
          <cx:pt idx="89353">3</cx:pt>
          <cx:pt idx="89354">4</cx:pt>
          <cx:pt idx="89355">5</cx:pt>
          <cx:pt idx="89356">3</cx:pt>
          <cx:pt idx="89357">0</cx:pt>
          <cx:pt idx="89358">4</cx:pt>
          <cx:pt idx="89359">4</cx:pt>
          <cx:pt idx="89360">3</cx:pt>
          <cx:pt idx="89361">5</cx:pt>
          <cx:pt idx="89362">1</cx:pt>
          <cx:pt idx="89363">0</cx:pt>
          <cx:pt idx="89364">4</cx:pt>
          <cx:pt idx="89365">2</cx:pt>
          <cx:pt idx="89366">1</cx:pt>
          <cx:pt idx="89367">2</cx:pt>
          <cx:pt idx="89368">2</cx:pt>
          <cx:pt idx="89369">2</cx:pt>
          <cx:pt idx="89370">4</cx:pt>
          <cx:pt idx="89371">2</cx:pt>
          <cx:pt idx="89372">4</cx:pt>
          <cx:pt idx="89373">3</cx:pt>
          <cx:pt idx="89374">3</cx:pt>
          <cx:pt idx="89375">2</cx:pt>
          <cx:pt idx="89376">4</cx:pt>
          <cx:pt idx="89377">5</cx:pt>
          <cx:pt idx="89378">5</cx:pt>
          <cx:pt idx="89379">5</cx:pt>
          <cx:pt idx="89380">3</cx:pt>
          <cx:pt idx="89381">5</cx:pt>
          <cx:pt idx="89382">4</cx:pt>
          <cx:pt idx="89383">4</cx:pt>
          <cx:pt idx="89384">2</cx:pt>
          <cx:pt idx="89385">1</cx:pt>
          <cx:pt idx="89386">1</cx:pt>
          <cx:pt idx="89387">3</cx:pt>
          <cx:pt idx="89388">1</cx:pt>
          <cx:pt idx="89389">5</cx:pt>
          <cx:pt idx="89390">2</cx:pt>
          <cx:pt idx="89391">2</cx:pt>
          <cx:pt idx="89392">3</cx:pt>
          <cx:pt idx="89393">5</cx:pt>
          <cx:pt idx="89394">4</cx:pt>
          <cx:pt idx="89395">2</cx:pt>
          <cx:pt idx="89396">3</cx:pt>
          <cx:pt idx="89397">3</cx:pt>
          <cx:pt idx="89398">5</cx:pt>
          <cx:pt idx="89399">1</cx:pt>
          <cx:pt idx="89400">4</cx:pt>
          <cx:pt idx="89401">3</cx:pt>
          <cx:pt idx="89402">1</cx:pt>
          <cx:pt idx="89403">2</cx:pt>
          <cx:pt idx="89404">5</cx:pt>
          <cx:pt idx="89405">4</cx:pt>
          <cx:pt idx="89406">2</cx:pt>
          <cx:pt idx="89407">1</cx:pt>
          <cx:pt idx="89408">2</cx:pt>
          <cx:pt idx="89409">2</cx:pt>
          <cx:pt idx="89410">4</cx:pt>
          <cx:pt idx="89411">2</cx:pt>
          <cx:pt idx="89412">3</cx:pt>
          <cx:pt idx="89413">5</cx:pt>
          <cx:pt idx="89414">4</cx:pt>
          <cx:pt idx="89415">2</cx:pt>
          <cx:pt idx="89416">5</cx:pt>
          <cx:pt idx="89417">3</cx:pt>
          <cx:pt idx="89418">3</cx:pt>
          <cx:pt idx="89419">4</cx:pt>
          <cx:pt idx="89420">2</cx:pt>
          <cx:pt idx="89421">2</cx:pt>
          <cx:pt idx="89422">1</cx:pt>
          <cx:pt idx="89423">2</cx:pt>
          <cx:pt idx="89424">5</cx:pt>
          <cx:pt idx="89425">2</cx:pt>
          <cx:pt idx="89426">4</cx:pt>
          <cx:pt idx="89427">5</cx:pt>
          <cx:pt idx="89428">4</cx:pt>
          <cx:pt idx="89429">2</cx:pt>
          <cx:pt idx="89430">3</cx:pt>
          <cx:pt idx="89431">2</cx:pt>
          <cx:pt idx="89432">4</cx:pt>
          <cx:pt idx="89433">1</cx:pt>
          <cx:pt idx="89434">1</cx:pt>
          <cx:pt idx="89435">3</cx:pt>
          <cx:pt idx="89436">4</cx:pt>
          <cx:pt idx="89437">1</cx:pt>
          <cx:pt idx="89438">4</cx:pt>
          <cx:pt idx="89439">4</cx:pt>
          <cx:pt idx="89440">5</cx:pt>
          <cx:pt idx="89441">3</cx:pt>
          <cx:pt idx="89442">2</cx:pt>
          <cx:pt idx="89443">1</cx:pt>
          <cx:pt idx="89444">2</cx:pt>
          <cx:pt idx="89445">2</cx:pt>
          <cx:pt idx="89446">5</cx:pt>
          <cx:pt idx="89447">3</cx:pt>
          <cx:pt idx="89448">0</cx:pt>
          <cx:pt idx="89449">3</cx:pt>
          <cx:pt idx="89450">3</cx:pt>
          <cx:pt idx="89451">2</cx:pt>
          <cx:pt idx="89452">2</cx:pt>
          <cx:pt idx="89453">4</cx:pt>
          <cx:pt idx="89454">3</cx:pt>
          <cx:pt idx="89455">0</cx:pt>
          <cx:pt idx="89456">5</cx:pt>
          <cx:pt idx="89457">2</cx:pt>
          <cx:pt idx="89458">2</cx:pt>
          <cx:pt idx="89459">3</cx:pt>
          <cx:pt idx="89460">2</cx:pt>
          <cx:pt idx="89461">0</cx:pt>
          <cx:pt idx="89462">2</cx:pt>
          <cx:pt idx="89463">2</cx:pt>
          <cx:pt idx="89464">5</cx:pt>
          <cx:pt idx="89465">5</cx:pt>
          <cx:pt idx="89466">2</cx:pt>
          <cx:pt idx="89467">4</cx:pt>
          <cx:pt idx="89468">4</cx:pt>
          <cx:pt idx="89469">2</cx:pt>
          <cx:pt idx="89470">0</cx:pt>
          <cx:pt idx="89471">2</cx:pt>
          <cx:pt idx="89472">4</cx:pt>
          <cx:pt idx="89473">3</cx:pt>
          <cx:pt idx="89474">3</cx:pt>
          <cx:pt idx="89475">4</cx:pt>
          <cx:pt idx="89476">3</cx:pt>
          <cx:pt idx="89477">3</cx:pt>
          <cx:pt idx="89478">3</cx:pt>
          <cx:pt idx="89479">2</cx:pt>
          <cx:pt idx="89480">2</cx:pt>
          <cx:pt idx="89481">1</cx:pt>
          <cx:pt idx="89482">2</cx:pt>
          <cx:pt idx="89483">2</cx:pt>
          <cx:pt idx="89484">2</cx:pt>
          <cx:pt idx="89485">1</cx:pt>
          <cx:pt idx="89486">4</cx:pt>
          <cx:pt idx="89487">3</cx:pt>
          <cx:pt idx="89488">5</cx:pt>
          <cx:pt idx="89489">2</cx:pt>
          <cx:pt idx="89490">2</cx:pt>
          <cx:pt idx="89491">4</cx:pt>
          <cx:pt idx="89492">2</cx:pt>
          <cx:pt idx="89493">1</cx:pt>
          <cx:pt idx="89494">4</cx:pt>
          <cx:pt idx="89495">3</cx:pt>
          <cx:pt idx="89496">1</cx:pt>
          <cx:pt idx="89497">3</cx:pt>
          <cx:pt idx="89498">3</cx:pt>
          <cx:pt idx="89499">2</cx:pt>
          <cx:pt idx="89500">3</cx:pt>
          <cx:pt idx="89501">4</cx:pt>
          <cx:pt idx="89502">1</cx:pt>
          <cx:pt idx="89503">5</cx:pt>
          <cx:pt idx="89504">2</cx:pt>
          <cx:pt idx="89505">2</cx:pt>
          <cx:pt idx="89506">2</cx:pt>
          <cx:pt idx="89507">2</cx:pt>
          <cx:pt idx="89508">2</cx:pt>
          <cx:pt idx="89509">3</cx:pt>
          <cx:pt idx="89510">1</cx:pt>
          <cx:pt idx="89511">1</cx:pt>
          <cx:pt idx="89512">4</cx:pt>
          <cx:pt idx="89513">5</cx:pt>
          <cx:pt idx="89514">2</cx:pt>
          <cx:pt idx="89515">4</cx:pt>
          <cx:pt idx="89516">2</cx:pt>
          <cx:pt idx="89517">2</cx:pt>
          <cx:pt idx="89518">1</cx:pt>
          <cx:pt idx="89519">2</cx:pt>
          <cx:pt idx="89520">2</cx:pt>
          <cx:pt idx="89521">1</cx:pt>
          <cx:pt idx="89522">5</cx:pt>
          <cx:pt idx="89523">3</cx:pt>
          <cx:pt idx="89524">3</cx:pt>
          <cx:pt idx="89525">5</cx:pt>
          <cx:pt idx="89526">3</cx:pt>
          <cx:pt idx="89527">5</cx:pt>
          <cx:pt idx="89528">1</cx:pt>
          <cx:pt idx="89529">1</cx:pt>
          <cx:pt idx="89530">1</cx:pt>
          <cx:pt idx="89531">3</cx:pt>
          <cx:pt idx="89532">5</cx:pt>
          <cx:pt idx="89533">3</cx:pt>
          <cx:pt idx="89534">2</cx:pt>
          <cx:pt idx="89535">5</cx:pt>
          <cx:pt idx="89536">3</cx:pt>
          <cx:pt idx="89537">2</cx:pt>
          <cx:pt idx="89538">4</cx:pt>
          <cx:pt idx="89539">3</cx:pt>
          <cx:pt idx="89540">3</cx:pt>
          <cx:pt idx="89541">1</cx:pt>
          <cx:pt idx="89542">5</cx:pt>
          <cx:pt idx="89543">4</cx:pt>
          <cx:pt idx="89544">2</cx:pt>
          <cx:pt idx="89545">4</cx:pt>
          <cx:pt idx="89546">3</cx:pt>
          <cx:pt idx="89547">1</cx:pt>
          <cx:pt idx="89548">3</cx:pt>
          <cx:pt idx="89549">5</cx:pt>
          <cx:pt idx="89550">2</cx:pt>
          <cx:pt idx="89551">3</cx:pt>
          <cx:pt idx="89552">4</cx:pt>
          <cx:pt idx="89553">0</cx:pt>
          <cx:pt idx="89554">4</cx:pt>
          <cx:pt idx="89555">4</cx:pt>
          <cx:pt idx="89556">3</cx:pt>
          <cx:pt idx="89557">0</cx:pt>
          <cx:pt idx="89558">4</cx:pt>
          <cx:pt idx="89559">2</cx:pt>
          <cx:pt idx="89560">4</cx:pt>
          <cx:pt idx="89561">2</cx:pt>
          <cx:pt idx="89562">0</cx:pt>
          <cx:pt idx="89563">2</cx:pt>
          <cx:pt idx="89564">3</cx:pt>
          <cx:pt idx="89565">4</cx:pt>
          <cx:pt idx="89566">2</cx:pt>
          <cx:pt idx="89567">3</cx:pt>
          <cx:pt idx="89568">5</cx:pt>
          <cx:pt idx="89569">3</cx:pt>
          <cx:pt idx="89570">4</cx:pt>
          <cx:pt idx="89571">3</cx:pt>
          <cx:pt idx="89572">2</cx:pt>
          <cx:pt idx="89573">4</cx:pt>
          <cx:pt idx="89574">3</cx:pt>
          <cx:pt idx="89575">1</cx:pt>
          <cx:pt idx="89576">1</cx:pt>
          <cx:pt idx="89577">4</cx:pt>
          <cx:pt idx="89578">4</cx:pt>
          <cx:pt idx="89579">5</cx:pt>
          <cx:pt idx="89580">5</cx:pt>
          <cx:pt idx="89581">2</cx:pt>
          <cx:pt idx="89582">2</cx:pt>
          <cx:pt idx="89583">0</cx:pt>
          <cx:pt idx="89584">4</cx:pt>
          <cx:pt idx="89585">2</cx:pt>
          <cx:pt idx="89586">4</cx:pt>
          <cx:pt idx="89587">2</cx:pt>
          <cx:pt idx="89588">3</cx:pt>
          <cx:pt idx="89589">3</cx:pt>
          <cx:pt idx="89590">5</cx:pt>
          <cx:pt idx="89591">5</cx:pt>
          <cx:pt idx="89592">2</cx:pt>
          <cx:pt idx="89593">1</cx:pt>
          <cx:pt idx="89594">2</cx:pt>
          <cx:pt idx="89595">1</cx:pt>
          <cx:pt idx="89596">1</cx:pt>
          <cx:pt idx="89597">4</cx:pt>
          <cx:pt idx="89598">2</cx:pt>
          <cx:pt idx="89599">1</cx:pt>
          <cx:pt idx="89600">3</cx:pt>
          <cx:pt idx="89601">2</cx:pt>
          <cx:pt idx="89602">4</cx:pt>
          <cx:pt idx="89603">5</cx:pt>
          <cx:pt idx="89604">2</cx:pt>
          <cx:pt idx="89605">2</cx:pt>
          <cx:pt idx="89606">1</cx:pt>
          <cx:pt idx="89607">3</cx:pt>
          <cx:pt idx="89608">5</cx:pt>
          <cx:pt idx="89609">1</cx:pt>
          <cx:pt idx="89610">3</cx:pt>
          <cx:pt idx="89611">1</cx:pt>
          <cx:pt idx="89612">3</cx:pt>
          <cx:pt idx="89613">2</cx:pt>
          <cx:pt idx="89614">5</cx:pt>
          <cx:pt idx="89615">3</cx:pt>
          <cx:pt idx="89616">2</cx:pt>
          <cx:pt idx="89617">4</cx:pt>
          <cx:pt idx="89618">4</cx:pt>
          <cx:pt idx="89619">2</cx:pt>
          <cx:pt idx="89620">5</cx:pt>
          <cx:pt idx="89621">1</cx:pt>
          <cx:pt idx="89622">1</cx:pt>
          <cx:pt idx="89623">1</cx:pt>
          <cx:pt idx="89624">3</cx:pt>
          <cx:pt idx="89625">5</cx:pt>
          <cx:pt idx="89626">3</cx:pt>
          <cx:pt idx="89627">5</cx:pt>
          <cx:pt idx="89628">4</cx:pt>
          <cx:pt idx="89629">2</cx:pt>
          <cx:pt idx="89630">3</cx:pt>
          <cx:pt idx="89631">2</cx:pt>
          <cx:pt idx="89632">4</cx:pt>
          <cx:pt idx="89633">2</cx:pt>
          <cx:pt idx="89634">2</cx:pt>
          <cx:pt idx="89635">3</cx:pt>
          <cx:pt idx="89636">0</cx:pt>
          <cx:pt idx="89637">1</cx:pt>
          <cx:pt idx="89638">4</cx:pt>
          <cx:pt idx="89639">1</cx:pt>
          <cx:pt idx="89640">2</cx:pt>
          <cx:pt idx="89641">4</cx:pt>
          <cx:pt idx="89642">1</cx:pt>
          <cx:pt idx="89643">2</cx:pt>
          <cx:pt idx="89644">3</cx:pt>
          <cx:pt idx="89645">2</cx:pt>
          <cx:pt idx="89646">2</cx:pt>
          <cx:pt idx="89647">1</cx:pt>
          <cx:pt idx="89648">4</cx:pt>
          <cx:pt idx="89649">0</cx:pt>
          <cx:pt idx="89650">3</cx:pt>
          <cx:pt idx="89651">3</cx:pt>
          <cx:pt idx="89652">0</cx:pt>
          <cx:pt idx="89653">3</cx:pt>
          <cx:pt idx="89654">5</cx:pt>
          <cx:pt idx="89655">4</cx:pt>
          <cx:pt idx="89656">4</cx:pt>
          <cx:pt idx="89657">2</cx:pt>
          <cx:pt idx="89658">1</cx:pt>
          <cx:pt idx="89659">1</cx:pt>
          <cx:pt idx="89660">3</cx:pt>
          <cx:pt idx="89661">2</cx:pt>
          <cx:pt idx="89662">2</cx:pt>
          <cx:pt idx="89663">4</cx:pt>
          <cx:pt idx="89664">0</cx:pt>
          <cx:pt idx="89665">1</cx:pt>
          <cx:pt idx="89666">5</cx:pt>
          <cx:pt idx="89667">5</cx:pt>
          <cx:pt idx="89668">1</cx:pt>
          <cx:pt idx="89669">4</cx:pt>
          <cx:pt idx="89670">3</cx:pt>
          <cx:pt idx="89671">5</cx:pt>
          <cx:pt idx="89672">4</cx:pt>
          <cx:pt idx="89673">2</cx:pt>
          <cx:pt idx="89674">4</cx:pt>
          <cx:pt idx="89675">1</cx:pt>
          <cx:pt idx="89676">3</cx:pt>
          <cx:pt idx="89677">3</cx:pt>
          <cx:pt idx="89678">2</cx:pt>
          <cx:pt idx="89679">3</cx:pt>
          <cx:pt idx="89680">3</cx:pt>
          <cx:pt idx="89681">3</cx:pt>
          <cx:pt idx="89682">3</cx:pt>
          <cx:pt idx="89683">4</cx:pt>
          <cx:pt idx="89684">1</cx:pt>
          <cx:pt idx="89685">3</cx:pt>
          <cx:pt idx="89686">4</cx:pt>
          <cx:pt idx="89687">5</cx:pt>
          <cx:pt idx="89688">2</cx:pt>
          <cx:pt idx="89689">4</cx:pt>
          <cx:pt idx="89690">2</cx:pt>
          <cx:pt idx="89691">4</cx:pt>
          <cx:pt idx="89692">5</cx:pt>
          <cx:pt idx="89693">2</cx:pt>
          <cx:pt idx="89694">3</cx:pt>
          <cx:pt idx="89695">4</cx:pt>
          <cx:pt idx="89696">5</cx:pt>
          <cx:pt idx="89697">1</cx:pt>
          <cx:pt idx="89698">4</cx:pt>
          <cx:pt idx="89699">4</cx:pt>
          <cx:pt idx="89700">3</cx:pt>
          <cx:pt idx="89701">3</cx:pt>
          <cx:pt idx="89702">4</cx:pt>
          <cx:pt idx="89703">1</cx:pt>
          <cx:pt idx="89704">2</cx:pt>
          <cx:pt idx="89705">1</cx:pt>
          <cx:pt idx="89706">2</cx:pt>
          <cx:pt idx="89707">3</cx:pt>
          <cx:pt idx="89708">0</cx:pt>
          <cx:pt idx="89709">4</cx:pt>
          <cx:pt idx="89710">3</cx:pt>
          <cx:pt idx="89711">5</cx:pt>
          <cx:pt idx="89712">3</cx:pt>
          <cx:pt idx="89713">0</cx:pt>
          <cx:pt idx="89714">3</cx:pt>
          <cx:pt idx="89715">1</cx:pt>
          <cx:pt idx="89716">3</cx:pt>
          <cx:pt idx="89717">3</cx:pt>
          <cx:pt idx="89718">1</cx:pt>
          <cx:pt idx="89719">4</cx:pt>
          <cx:pt idx="89720">3</cx:pt>
          <cx:pt idx="89721">4</cx:pt>
          <cx:pt idx="89722">4</cx:pt>
          <cx:pt idx="89723">5</cx:pt>
          <cx:pt idx="89724">3</cx:pt>
          <cx:pt idx="89725">1</cx:pt>
          <cx:pt idx="89726">2</cx:pt>
          <cx:pt idx="89727">3</cx:pt>
          <cx:pt idx="89728">3</cx:pt>
          <cx:pt idx="89729">2</cx:pt>
          <cx:pt idx="89730">4</cx:pt>
          <cx:pt idx="89731">5</cx:pt>
          <cx:pt idx="89732">4</cx:pt>
          <cx:pt idx="89733">2</cx:pt>
          <cx:pt idx="89734">3</cx:pt>
          <cx:pt idx="89735">1</cx:pt>
          <cx:pt idx="89736">2</cx:pt>
          <cx:pt idx="89737">4</cx:pt>
          <cx:pt idx="89738">4</cx:pt>
          <cx:pt idx="89739">4</cx:pt>
          <cx:pt idx="89740">3</cx:pt>
          <cx:pt idx="89741">1</cx:pt>
          <cx:pt idx="89742">5</cx:pt>
          <cx:pt idx="89743">5</cx:pt>
          <cx:pt idx="89744">1</cx:pt>
          <cx:pt idx="89745">4</cx:pt>
          <cx:pt idx="89746">2</cx:pt>
          <cx:pt idx="89747">2</cx:pt>
          <cx:pt idx="89748">3</cx:pt>
          <cx:pt idx="89749">0</cx:pt>
          <cx:pt idx="89750">4</cx:pt>
          <cx:pt idx="89751">2</cx:pt>
          <cx:pt idx="89752">0</cx:pt>
          <cx:pt idx="89753">2</cx:pt>
          <cx:pt idx="89754">3</cx:pt>
          <cx:pt idx="89755">4</cx:pt>
          <cx:pt idx="89756">1</cx:pt>
          <cx:pt idx="89757">5</cx:pt>
          <cx:pt idx="89758">5</cx:pt>
          <cx:pt idx="89759">4</cx:pt>
          <cx:pt idx="89760">2</cx:pt>
          <cx:pt idx="89761">5</cx:pt>
          <cx:pt idx="89762">2</cx:pt>
          <cx:pt idx="89763">2</cx:pt>
          <cx:pt idx="89764">3</cx:pt>
          <cx:pt idx="89765">1</cx:pt>
          <cx:pt idx="89766">2</cx:pt>
          <cx:pt idx="89767">0</cx:pt>
          <cx:pt idx="89768">1</cx:pt>
          <cx:pt idx="89769">0</cx:pt>
          <cx:pt idx="89770">5</cx:pt>
          <cx:pt idx="89771">3</cx:pt>
          <cx:pt idx="89772">3</cx:pt>
          <cx:pt idx="89773">3</cx:pt>
          <cx:pt idx="89774">3</cx:pt>
          <cx:pt idx="89775">5</cx:pt>
          <cx:pt idx="89776">1</cx:pt>
          <cx:pt idx="89777">4</cx:pt>
          <cx:pt idx="89778">0</cx:pt>
          <cx:pt idx="89779">2</cx:pt>
          <cx:pt idx="89780">3</cx:pt>
          <cx:pt idx="89781">1</cx:pt>
          <cx:pt idx="89782">4</cx:pt>
          <cx:pt idx="89783">4</cx:pt>
          <cx:pt idx="89784">2</cx:pt>
          <cx:pt idx="89785">3</cx:pt>
          <cx:pt idx="89786">2</cx:pt>
          <cx:pt idx="89787">3</cx:pt>
          <cx:pt idx="89788">2</cx:pt>
          <cx:pt idx="89789">4</cx:pt>
          <cx:pt idx="89790">3</cx:pt>
          <cx:pt idx="89791">5</cx:pt>
          <cx:pt idx="89792">3</cx:pt>
          <cx:pt idx="89793">1</cx:pt>
          <cx:pt idx="89794">0</cx:pt>
          <cx:pt idx="89795">4</cx:pt>
          <cx:pt idx="89796">5</cx:pt>
          <cx:pt idx="89797">4</cx:pt>
          <cx:pt idx="89798">1</cx:pt>
          <cx:pt idx="89799">3</cx:pt>
          <cx:pt idx="89800">1</cx:pt>
          <cx:pt idx="89801">4</cx:pt>
          <cx:pt idx="89802">3</cx:pt>
          <cx:pt idx="89803">2</cx:pt>
          <cx:pt idx="89804">2</cx:pt>
          <cx:pt idx="89805">2</cx:pt>
          <cx:pt idx="89806">4</cx:pt>
          <cx:pt idx="89807">3</cx:pt>
          <cx:pt idx="89808">2</cx:pt>
          <cx:pt idx="89809">4</cx:pt>
          <cx:pt idx="89810">5</cx:pt>
          <cx:pt idx="89811">4</cx:pt>
          <cx:pt idx="89812">5</cx:pt>
          <cx:pt idx="89813">3</cx:pt>
          <cx:pt idx="89814">2</cx:pt>
          <cx:pt idx="89815">3</cx:pt>
          <cx:pt idx="89816">3</cx:pt>
          <cx:pt idx="89817">2</cx:pt>
          <cx:pt idx="89818">3</cx:pt>
          <cx:pt idx="89819">2</cx:pt>
          <cx:pt idx="89820">4</cx:pt>
          <cx:pt idx="89821">2</cx:pt>
          <cx:pt idx="89822">5</cx:pt>
          <cx:pt idx="89823">4</cx:pt>
          <cx:pt idx="89824">2</cx:pt>
          <cx:pt idx="89825">1</cx:pt>
          <cx:pt idx="89826">3</cx:pt>
          <cx:pt idx="89827">2</cx:pt>
          <cx:pt idx="89828">5</cx:pt>
          <cx:pt idx="89829">3</cx:pt>
          <cx:pt idx="89830">2</cx:pt>
          <cx:pt idx="89831">4</cx:pt>
          <cx:pt idx="89832">3</cx:pt>
          <cx:pt idx="89833">4</cx:pt>
          <cx:pt idx="89834">1</cx:pt>
          <cx:pt idx="89835">1</cx:pt>
          <cx:pt idx="89836">5</cx:pt>
          <cx:pt idx="89837">1</cx:pt>
          <cx:pt idx="89838">3</cx:pt>
          <cx:pt idx="89839">3</cx:pt>
          <cx:pt idx="89840">3</cx:pt>
          <cx:pt idx="89841">2</cx:pt>
          <cx:pt idx="89842">2</cx:pt>
          <cx:pt idx="89843">1</cx:pt>
          <cx:pt idx="89844">1</cx:pt>
          <cx:pt idx="89845">4</cx:pt>
          <cx:pt idx="89846">1</cx:pt>
          <cx:pt idx="89847">2</cx:pt>
          <cx:pt idx="89848">4</cx:pt>
          <cx:pt idx="89849">2</cx:pt>
          <cx:pt idx="89850">3</cx:pt>
          <cx:pt idx="89851">3</cx:pt>
          <cx:pt idx="89852">3</cx:pt>
          <cx:pt idx="89853">5</cx:pt>
          <cx:pt idx="89854">2</cx:pt>
          <cx:pt idx="89855">2</cx:pt>
          <cx:pt idx="89856">1</cx:pt>
          <cx:pt idx="89857">4</cx:pt>
          <cx:pt idx="89858">2</cx:pt>
          <cx:pt idx="89859">4</cx:pt>
          <cx:pt idx="89860">3</cx:pt>
          <cx:pt idx="89861">0</cx:pt>
          <cx:pt idx="89862">5</cx:pt>
          <cx:pt idx="89863">5</cx:pt>
          <cx:pt idx="89864">2</cx:pt>
          <cx:pt idx="89865">1</cx:pt>
          <cx:pt idx="89866">3</cx:pt>
          <cx:pt idx="89867">1</cx:pt>
          <cx:pt idx="89868">2</cx:pt>
          <cx:pt idx="89869">1</cx:pt>
          <cx:pt idx="89870">4</cx:pt>
          <cx:pt idx="89871">2</cx:pt>
          <cx:pt idx="89872">3</cx:pt>
          <cx:pt idx="89873">3</cx:pt>
          <cx:pt idx="89874">4</cx:pt>
          <cx:pt idx="89875">2</cx:pt>
          <cx:pt idx="89876">4</cx:pt>
          <cx:pt idx="89877">2</cx:pt>
          <cx:pt idx="89878">1</cx:pt>
          <cx:pt idx="89879">2</cx:pt>
          <cx:pt idx="89880">4</cx:pt>
          <cx:pt idx="89881">1</cx:pt>
          <cx:pt idx="89882">1</cx:pt>
          <cx:pt idx="89883">5</cx:pt>
          <cx:pt idx="89884">5</cx:pt>
          <cx:pt idx="89885">5</cx:pt>
          <cx:pt idx="89886">3</cx:pt>
          <cx:pt idx="89887">1</cx:pt>
          <cx:pt idx="89888">3</cx:pt>
          <cx:pt idx="89889">2</cx:pt>
          <cx:pt idx="89890">0</cx:pt>
          <cx:pt idx="89891">2</cx:pt>
          <cx:pt idx="89892">0</cx:pt>
          <cx:pt idx="89893">2</cx:pt>
          <cx:pt idx="89894">3</cx:pt>
          <cx:pt idx="89895">4</cx:pt>
          <cx:pt idx="89896">1</cx:pt>
          <cx:pt idx="89897">3</cx:pt>
          <cx:pt idx="89898">2</cx:pt>
          <cx:pt idx="89899">3</cx:pt>
          <cx:pt idx="89900">1</cx:pt>
          <cx:pt idx="89901">4</cx:pt>
          <cx:pt idx="89902">5</cx:pt>
          <cx:pt idx="89903">1</cx:pt>
          <cx:pt idx="89904">5</cx:pt>
          <cx:pt idx="89905">5</cx:pt>
          <cx:pt idx="89906">4</cx:pt>
          <cx:pt idx="89907">1</cx:pt>
          <cx:pt idx="89908">0</cx:pt>
          <cx:pt idx="89909">2</cx:pt>
          <cx:pt idx="89910">5</cx:pt>
          <cx:pt idx="89911">4</cx:pt>
          <cx:pt idx="89912">2</cx:pt>
          <cx:pt idx="89913">3</cx:pt>
          <cx:pt idx="89914">3</cx:pt>
          <cx:pt idx="89915">3</cx:pt>
          <cx:pt idx="89916">1</cx:pt>
          <cx:pt idx="89917">3</cx:pt>
          <cx:pt idx="89918">2</cx:pt>
          <cx:pt idx="89919">5</cx:pt>
          <cx:pt idx="89920">5</cx:pt>
          <cx:pt idx="89921">4</cx:pt>
          <cx:pt idx="89922">4</cx:pt>
          <cx:pt idx="89923">5</cx:pt>
          <cx:pt idx="89924">3</cx:pt>
          <cx:pt idx="89925">2</cx:pt>
          <cx:pt idx="89926">3</cx:pt>
          <cx:pt idx="89927">4</cx:pt>
          <cx:pt idx="89928">1</cx:pt>
          <cx:pt idx="89929">3</cx:pt>
          <cx:pt idx="89930">0</cx:pt>
          <cx:pt idx="89931">3</cx:pt>
          <cx:pt idx="89932">5</cx:pt>
          <cx:pt idx="89933">0</cx:pt>
          <cx:pt idx="89934">0</cx:pt>
          <cx:pt idx="89935">0</cx:pt>
          <cx:pt idx="89936">4</cx:pt>
          <cx:pt idx="89937">5</cx:pt>
          <cx:pt idx="89938">4</cx:pt>
          <cx:pt idx="89939">1</cx:pt>
          <cx:pt idx="89940">5</cx:pt>
          <cx:pt idx="89941">3</cx:pt>
          <cx:pt idx="89942">1</cx:pt>
          <cx:pt idx="89943">1</cx:pt>
          <cx:pt idx="89944">5</cx:pt>
          <cx:pt idx="89945">3</cx:pt>
          <cx:pt idx="89946">3</cx:pt>
          <cx:pt idx="89947">2</cx:pt>
          <cx:pt idx="89948">2</cx:pt>
          <cx:pt idx="89949">3</cx:pt>
          <cx:pt idx="89950">4</cx:pt>
          <cx:pt idx="89951">2</cx:pt>
          <cx:pt idx="89952">2</cx:pt>
          <cx:pt idx="89953">2</cx:pt>
          <cx:pt idx="89954">1</cx:pt>
          <cx:pt idx="89955">3</cx:pt>
          <cx:pt idx="89956">1</cx:pt>
          <cx:pt idx="89957">5</cx:pt>
          <cx:pt idx="89958">2</cx:pt>
          <cx:pt idx="89959">5</cx:pt>
          <cx:pt idx="89960">5</cx:pt>
          <cx:pt idx="89961">3</cx:pt>
          <cx:pt idx="89962">2</cx:pt>
          <cx:pt idx="89963">2</cx:pt>
          <cx:pt idx="89964">5</cx:pt>
          <cx:pt idx="89965">2</cx:pt>
          <cx:pt idx="89966">2</cx:pt>
          <cx:pt idx="89967">1</cx:pt>
          <cx:pt idx="89968">2</cx:pt>
          <cx:pt idx="89969">5</cx:pt>
          <cx:pt idx="89970">4</cx:pt>
          <cx:pt idx="89971">5</cx:pt>
          <cx:pt idx="89972">4</cx:pt>
          <cx:pt idx="89973">3</cx:pt>
          <cx:pt idx="89974">3</cx:pt>
          <cx:pt idx="89975">2</cx:pt>
          <cx:pt idx="89976">1</cx:pt>
          <cx:pt idx="89977">3</cx:pt>
          <cx:pt idx="89978">4</cx:pt>
          <cx:pt idx="89979">4</cx:pt>
          <cx:pt idx="89980">1</cx:pt>
          <cx:pt idx="89981">5</cx:pt>
          <cx:pt idx="89982">2</cx:pt>
          <cx:pt idx="89983">2</cx:pt>
          <cx:pt idx="89984">4</cx:pt>
          <cx:pt idx="89985">2</cx:pt>
          <cx:pt idx="89986">5</cx:pt>
          <cx:pt idx="89987">3</cx:pt>
          <cx:pt idx="89988">1</cx:pt>
          <cx:pt idx="89989">5</cx:pt>
          <cx:pt idx="89990">3</cx:pt>
          <cx:pt idx="89991">1</cx:pt>
          <cx:pt idx="89992">1</cx:pt>
          <cx:pt idx="89993">3</cx:pt>
          <cx:pt idx="89994">3</cx:pt>
          <cx:pt idx="89995">5</cx:pt>
          <cx:pt idx="89996">4</cx:pt>
          <cx:pt idx="89997">1</cx:pt>
          <cx:pt idx="89998">4</cx:pt>
          <cx:pt idx="89999">4</cx:pt>
          <cx:pt idx="90000">0</cx:pt>
          <cx:pt idx="90001">2</cx:pt>
          <cx:pt idx="90002">4</cx:pt>
          <cx:pt idx="90003">1</cx:pt>
          <cx:pt idx="90004">4</cx:pt>
          <cx:pt idx="90005">2</cx:pt>
          <cx:pt idx="90006">4</cx:pt>
          <cx:pt idx="90007">1</cx:pt>
          <cx:pt idx="90008">5</cx:pt>
          <cx:pt idx="90009">3</cx:pt>
          <cx:pt idx="90010">3</cx:pt>
          <cx:pt idx="90011">5</cx:pt>
          <cx:pt idx="90012">4</cx:pt>
          <cx:pt idx="90013">5</cx:pt>
          <cx:pt idx="90014">4</cx:pt>
          <cx:pt idx="90015">1</cx:pt>
          <cx:pt idx="90016">4</cx:pt>
          <cx:pt idx="90017">3</cx:pt>
          <cx:pt idx="90018">1</cx:pt>
          <cx:pt idx="90019">4</cx:pt>
          <cx:pt idx="90020">3</cx:pt>
          <cx:pt idx="90021">3</cx:pt>
          <cx:pt idx="90022">3</cx:pt>
          <cx:pt idx="90023">5</cx:pt>
          <cx:pt idx="90024">5</cx:pt>
          <cx:pt idx="90025">5</cx:pt>
          <cx:pt idx="90026">1</cx:pt>
          <cx:pt idx="90027">2</cx:pt>
          <cx:pt idx="90028">5</cx:pt>
          <cx:pt idx="90029">4</cx:pt>
          <cx:pt idx="90030">5</cx:pt>
          <cx:pt idx="90031">2</cx:pt>
          <cx:pt idx="90032">2</cx:pt>
          <cx:pt idx="90033">5</cx:pt>
          <cx:pt idx="90034">2</cx:pt>
          <cx:pt idx="90035">3</cx:pt>
          <cx:pt idx="90036">4</cx:pt>
          <cx:pt idx="90037">3</cx:pt>
          <cx:pt idx="90038">5</cx:pt>
          <cx:pt idx="90039">2</cx:pt>
          <cx:pt idx="90040">1</cx:pt>
          <cx:pt idx="90041">5</cx:pt>
          <cx:pt idx="90042">1</cx:pt>
          <cx:pt idx="90043">2</cx:pt>
          <cx:pt idx="90044">0</cx:pt>
          <cx:pt idx="90045">4</cx:pt>
          <cx:pt idx="90046">3</cx:pt>
          <cx:pt idx="90047">3</cx:pt>
          <cx:pt idx="90048">3</cx:pt>
          <cx:pt idx="90049">4</cx:pt>
          <cx:pt idx="90050">3</cx:pt>
          <cx:pt idx="90051">2</cx:pt>
          <cx:pt idx="90052">1</cx:pt>
          <cx:pt idx="90053">5</cx:pt>
          <cx:pt idx="90054">1</cx:pt>
          <cx:pt idx="90055">5</cx:pt>
          <cx:pt idx="90056">4</cx:pt>
          <cx:pt idx="90057">1</cx:pt>
          <cx:pt idx="90058">1</cx:pt>
          <cx:pt idx="90059">1</cx:pt>
          <cx:pt idx="90060">3</cx:pt>
          <cx:pt idx="90061">4</cx:pt>
          <cx:pt idx="90062">3</cx:pt>
          <cx:pt idx="90063">2</cx:pt>
          <cx:pt idx="90064">3</cx:pt>
          <cx:pt idx="90065">5</cx:pt>
          <cx:pt idx="90066">4</cx:pt>
          <cx:pt idx="90067">2</cx:pt>
          <cx:pt idx="90068">3</cx:pt>
          <cx:pt idx="90069">3</cx:pt>
          <cx:pt idx="90070">2</cx:pt>
          <cx:pt idx="90071">3</cx:pt>
          <cx:pt idx="90072">2</cx:pt>
          <cx:pt idx="90073">1</cx:pt>
          <cx:pt idx="90074">3</cx:pt>
          <cx:pt idx="90075">2</cx:pt>
          <cx:pt idx="90076">4</cx:pt>
          <cx:pt idx="90077">2</cx:pt>
          <cx:pt idx="90078">1</cx:pt>
          <cx:pt idx="90079">1</cx:pt>
          <cx:pt idx="90080">4</cx:pt>
          <cx:pt idx="90081">5</cx:pt>
          <cx:pt idx="90082">3</cx:pt>
          <cx:pt idx="90083">2</cx:pt>
          <cx:pt idx="90084">3</cx:pt>
          <cx:pt idx="90085">4</cx:pt>
          <cx:pt idx="90086">2</cx:pt>
          <cx:pt idx="90087">1</cx:pt>
          <cx:pt idx="90088">5</cx:pt>
          <cx:pt idx="90089">1</cx:pt>
          <cx:pt idx="90090">3</cx:pt>
          <cx:pt idx="90091">4</cx:pt>
          <cx:pt idx="90092">4</cx:pt>
          <cx:pt idx="90093">0</cx:pt>
          <cx:pt idx="90094">1</cx:pt>
          <cx:pt idx="90095">5</cx:pt>
          <cx:pt idx="90096">3</cx:pt>
          <cx:pt idx="90097">1</cx:pt>
          <cx:pt idx="90098">2</cx:pt>
          <cx:pt idx="90099">0</cx:pt>
          <cx:pt idx="90100">5</cx:pt>
          <cx:pt idx="90101">0</cx:pt>
          <cx:pt idx="90102">1</cx:pt>
          <cx:pt idx="90103">1</cx:pt>
          <cx:pt idx="90104">2</cx:pt>
          <cx:pt idx="90105">1</cx:pt>
          <cx:pt idx="90106">2</cx:pt>
          <cx:pt idx="90107">4</cx:pt>
          <cx:pt idx="90108">2</cx:pt>
          <cx:pt idx="90109">2</cx:pt>
          <cx:pt idx="90110">5</cx:pt>
          <cx:pt idx="90111">2</cx:pt>
          <cx:pt idx="90112">4</cx:pt>
          <cx:pt idx="90113">4</cx:pt>
          <cx:pt idx="90114">3</cx:pt>
          <cx:pt idx="90115">1</cx:pt>
          <cx:pt idx="90116">1</cx:pt>
          <cx:pt idx="90117">2</cx:pt>
          <cx:pt idx="90118">3</cx:pt>
          <cx:pt idx="90119">3</cx:pt>
          <cx:pt idx="90120">3</cx:pt>
          <cx:pt idx="90121">5</cx:pt>
          <cx:pt idx="90122">4</cx:pt>
          <cx:pt idx="90123">5</cx:pt>
          <cx:pt idx="90124">0</cx:pt>
          <cx:pt idx="90125">1</cx:pt>
          <cx:pt idx="90126">3</cx:pt>
          <cx:pt idx="90127">1</cx:pt>
          <cx:pt idx="90128">3</cx:pt>
          <cx:pt idx="90129">2</cx:pt>
          <cx:pt idx="90130">3</cx:pt>
          <cx:pt idx="90131">3</cx:pt>
          <cx:pt idx="90132">4</cx:pt>
          <cx:pt idx="90133">2</cx:pt>
          <cx:pt idx="90134">1</cx:pt>
          <cx:pt idx="90135">2</cx:pt>
          <cx:pt idx="90136">1</cx:pt>
          <cx:pt idx="90137">2</cx:pt>
          <cx:pt idx="90138">4</cx:pt>
          <cx:pt idx="90139">4</cx:pt>
          <cx:pt idx="90140">1</cx:pt>
          <cx:pt idx="90141">2</cx:pt>
          <cx:pt idx="90142">5</cx:pt>
          <cx:pt idx="90143">5</cx:pt>
          <cx:pt idx="90144">1</cx:pt>
          <cx:pt idx="90145">5</cx:pt>
          <cx:pt idx="90146">4</cx:pt>
          <cx:pt idx="90147">4</cx:pt>
          <cx:pt idx="90148">3</cx:pt>
          <cx:pt idx="90149">4</cx:pt>
          <cx:pt idx="90150">3</cx:pt>
          <cx:pt idx="90151">4</cx:pt>
          <cx:pt idx="90152">2</cx:pt>
          <cx:pt idx="90153">4</cx:pt>
          <cx:pt idx="90154">4</cx:pt>
          <cx:pt idx="90155">3</cx:pt>
          <cx:pt idx="90156">2</cx:pt>
          <cx:pt idx="90157">2</cx:pt>
          <cx:pt idx="90158">5</cx:pt>
          <cx:pt idx="90159">3</cx:pt>
          <cx:pt idx="90160">1</cx:pt>
          <cx:pt idx="90161">5</cx:pt>
          <cx:pt idx="90162">1</cx:pt>
          <cx:pt idx="90163">1</cx:pt>
          <cx:pt idx="90164">2</cx:pt>
          <cx:pt idx="90165">2</cx:pt>
          <cx:pt idx="90166">4</cx:pt>
          <cx:pt idx="90167">4</cx:pt>
          <cx:pt idx="90168">1</cx:pt>
          <cx:pt idx="90169">3</cx:pt>
          <cx:pt idx="90170">4</cx:pt>
          <cx:pt idx="90171">3</cx:pt>
          <cx:pt idx="90172">2</cx:pt>
          <cx:pt idx="90173">1</cx:pt>
          <cx:pt idx="90174">3</cx:pt>
          <cx:pt idx="90175">3</cx:pt>
          <cx:pt idx="90176">3</cx:pt>
          <cx:pt idx="90177">2</cx:pt>
          <cx:pt idx="90178">5</cx:pt>
          <cx:pt idx="90179">1</cx:pt>
          <cx:pt idx="90180">0</cx:pt>
          <cx:pt idx="90181">4</cx:pt>
          <cx:pt idx="90182">5</cx:pt>
          <cx:pt idx="90183">5</cx:pt>
          <cx:pt idx="90184">3</cx:pt>
          <cx:pt idx="90185">2</cx:pt>
          <cx:pt idx="90186">1</cx:pt>
          <cx:pt idx="90187">4</cx:pt>
          <cx:pt idx="90188">1</cx:pt>
          <cx:pt idx="90189">5</cx:pt>
          <cx:pt idx="90190">3</cx:pt>
          <cx:pt idx="90191">5</cx:pt>
          <cx:pt idx="90192">2</cx:pt>
          <cx:pt idx="90193">3</cx:pt>
          <cx:pt idx="90194">4</cx:pt>
          <cx:pt idx="90195">1</cx:pt>
          <cx:pt idx="90196">5</cx:pt>
          <cx:pt idx="90197">3</cx:pt>
          <cx:pt idx="90198">3</cx:pt>
          <cx:pt idx="90199">5</cx:pt>
          <cx:pt idx="90200">2</cx:pt>
          <cx:pt idx="90201">1</cx:pt>
          <cx:pt idx="90202">5</cx:pt>
          <cx:pt idx="90203">3</cx:pt>
          <cx:pt idx="90204">5</cx:pt>
          <cx:pt idx="90205">3</cx:pt>
          <cx:pt idx="90206">2</cx:pt>
          <cx:pt idx="90207">3</cx:pt>
          <cx:pt idx="90208">4</cx:pt>
          <cx:pt idx="90209">2</cx:pt>
          <cx:pt idx="90210">0</cx:pt>
          <cx:pt idx="90211">1</cx:pt>
          <cx:pt idx="90212">0</cx:pt>
          <cx:pt idx="90213">3</cx:pt>
          <cx:pt idx="90214">5</cx:pt>
          <cx:pt idx="90215">1</cx:pt>
          <cx:pt idx="90216">2</cx:pt>
          <cx:pt idx="90217">3</cx:pt>
          <cx:pt idx="90218">0</cx:pt>
          <cx:pt idx="90219">4</cx:pt>
          <cx:pt idx="90220">3</cx:pt>
          <cx:pt idx="90221">1</cx:pt>
          <cx:pt idx="90222">2</cx:pt>
          <cx:pt idx="90223">2</cx:pt>
          <cx:pt idx="90224">3</cx:pt>
          <cx:pt idx="90225">3</cx:pt>
          <cx:pt idx="90226">4</cx:pt>
          <cx:pt idx="90227">2</cx:pt>
          <cx:pt idx="90228">1</cx:pt>
          <cx:pt idx="90229">2</cx:pt>
          <cx:pt idx="90230">3</cx:pt>
          <cx:pt idx="90231">5</cx:pt>
          <cx:pt idx="90232">1</cx:pt>
          <cx:pt idx="90233">4</cx:pt>
          <cx:pt idx="90234">4</cx:pt>
          <cx:pt idx="90235">1</cx:pt>
          <cx:pt idx="90236">4</cx:pt>
          <cx:pt idx="90237">1</cx:pt>
          <cx:pt idx="90238">5</cx:pt>
          <cx:pt idx="90239">5</cx:pt>
          <cx:pt idx="90240">1</cx:pt>
          <cx:pt idx="90241">3</cx:pt>
          <cx:pt idx="90242">2</cx:pt>
          <cx:pt idx="90243">5</cx:pt>
          <cx:pt idx="90244">5</cx:pt>
          <cx:pt idx="90245">5</cx:pt>
          <cx:pt idx="90246">0</cx:pt>
          <cx:pt idx="90247">5</cx:pt>
          <cx:pt idx="90248">5</cx:pt>
          <cx:pt idx="90249">5</cx:pt>
          <cx:pt idx="90250">5</cx:pt>
          <cx:pt idx="90251">2</cx:pt>
          <cx:pt idx="90252">5</cx:pt>
          <cx:pt idx="90253">5</cx:pt>
          <cx:pt idx="90254">2</cx:pt>
          <cx:pt idx="90255">4</cx:pt>
          <cx:pt idx="90256">4</cx:pt>
          <cx:pt idx="90257">5</cx:pt>
          <cx:pt idx="90258">5</cx:pt>
          <cx:pt idx="90259">2</cx:pt>
          <cx:pt idx="90260">2</cx:pt>
          <cx:pt idx="90261">4</cx:pt>
          <cx:pt idx="90262">3</cx:pt>
          <cx:pt idx="90263">5</cx:pt>
          <cx:pt idx="90264">5</cx:pt>
          <cx:pt idx="90265">3</cx:pt>
          <cx:pt idx="90266">2</cx:pt>
          <cx:pt idx="90267">2</cx:pt>
          <cx:pt idx="90268">2</cx:pt>
          <cx:pt idx="90269">1</cx:pt>
          <cx:pt idx="90270">2</cx:pt>
          <cx:pt idx="90271">5</cx:pt>
          <cx:pt idx="90272">5</cx:pt>
          <cx:pt idx="90273">3</cx:pt>
          <cx:pt idx="90274">1</cx:pt>
          <cx:pt idx="90275">2</cx:pt>
          <cx:pt idx="90276">2</cx:pt>
          <cx:pt idx="90277">5</cx:pt>
          <cx:pt idx="90278">2</cx:pt>
          <cx:pt idx="90279">3</cx:pt>
          <cx:pt idx="90280">5</cx:pt>
          <cx:pt idx="90281">1</cx:pt>
          <cx:pt idx="90282">4</cx:pt>
          <cx:pt idx="90283">3</cx:pt>
          <cx:pt idx="90284">4</cx:pt>
          <cx:pt idx="90285">2</cx:pt>
          <cx:pt idx="90286">1</cx:pt>
          <cx:pt idx="90287">4</cx:pt>
          <cx:pt idx="90288">2</cx:pt>
          <cx:pt idx="90289">5</cx:pt>
          <cx:pt idx="90290">5</cx:pt>
          <cx:pt idx="90291">2</cx:pt>
          <cx:pt idx="90292">2</cx:pt>
          <cx:pt idx="90293">5</cx:pt>
          <cx:pt idx="90294">2</cx:pt>
          <cx:pt idx="90295">3</cx:pt>
          <cx:pt idx="90296">0</cx:pt>
          <cx:pt idx="90297">5</cx:pt>
          <cx:pt idx="90298">4</cx:pt>
          <cx:pt idx="90299">3</cx:pt>
          <cx:pt idx="90300">4</cx:pt>
          <cx:pt idx="90301">3</cx:pt>
          <cx:pt idx="90302">1</cx:pt>
          <cx:pt idx="90303">2</cx:pt>
          <cx:pt idx="90304">2</cx:pt>
          <cx:pt idx="90305">2</cx:pt>
          <cx:pt idx="90306">1</cx:pt>
          <cx:pt idx="90307">2</cx:pt>
          <cx:pt idx="90308">4</cx:pt>
          <cx:pt idx="90309">5</cx:pt>
          <cx:pt idx="90310">2</cx:pt>
          <cx:pt idx="90311">4</cx:pt>
          <cx:pt idx="90312">2</cx:pt>
          <cx:pt idx="90313">5</cx:pt>
          <cx:pt idx="90314">4</cx:pt>
          <cx:pt idx="90315">5</cx:pt>
          <cx:pt idx="90316">3</cx:pt>
          <cx:pt idx="90317">0</cx:pt>
          <cx:pt idx="90318">3</cx:pt>
          <cx:pt idx="90319">1</cx:pt>
          <cx:pt idx="90320">2</cx:pt>
          <cx:pt idx="90321">5</cx:pt>
          <cx:pt idx="90322">5</cx:pt>
          <cx:pt idx="90323">1</cx:pt>
          <cx:pt idx="90324">3</cx:pt>
          <cx:pt idx="90325">3</cx:pt>
          <cx:pt idx="90326">4</cx:pt>
          <cx:pt idx="90327">4</cx:pt>
          <cx:pt idx="90328">4</cx:pt>
          <cx:pt idx="90329">2</cx:pt>
          <cx:pt idx="90330">4</cx:pt>
          <cx:pt idx="90331">4</cx:pt>
          <cx:pt idx="90332">4</cx:pt>
          <cx:pt idx="90333">3</cx:pt>
          <cx:pt idx="90334">4</cx:pt>
          <cx:pt idx="90335">1</cx:pt>
          <cx:pt idx="90336">4</cx:pt>
          <cx:pt idx="90337">2</cx:pt>
          <cx:pt idx="90338">4</cx:pt>
          <cx:pt idx="90339">2</cx:pt>
          <cx:pt idx="90340">4</cx:pt>
          <cx:pt idx="90341">3</cx:pt>
          <cx:pt idx="90342">5</cx:pt>
          <cx:pt idx="90343">2</cx:pt>
          <cx:pt idx="90344">3</cx:pt>
          <cx:pt idx="90345">3</cx:pt>
          <cx:pt idx="90346">1</cx:pt>
          <cx:pt idx="90347">2</cx:pt>
          <cx:pt idx="90348">4</cx:pt>
          <cx:pt idx="90349">1</cx:pt>
          <cx:pt idx="90350">1</cx:pt>
          <cx:pt idx="90351">5</cx:pt>
          <cx:pt idx="90352">4</cx:pt>
          <cx:pt idx="90353">4</cx:pt>
          <cx:pt idx="90354">4</cx:pt>
          <cx:pt idx="90355">5</cx:pt>
          <cx:pt idx="90356">5</cx:pt>
          <cx:pt idx="90357">1</cx:pt>
          <cx:pt idx="90358">3</cx:pt>
          <cx:pt idx="90359">1</cx:pt>
          <cx:pt idx="90360">4</cx:pt>
          <cx:pt idx="90361">2</cx:pt>
          <cx:pt idx="90362">1</cx:pt>
          <cx:pt idx="90363">2</cx:pt>
          <cx:pt idx="90364">2</cx:pt>
          <cx:pt idx="90365">2</cx:pt>
          <cx:pt idx="90366">3</cx:pt>
          <cx:pt idx="90367">5</cx:pt>
          <cx:pt idx="90368">3</cx:pt>
          <cx:pt idx="90369">3</cx:pt>
          <cx:pt idx="90370">2</cx:pt>
          <cx:pt idx="90371">2</cx:pt>
          <cx:pt idx="90372">5</cx:pt>
          <cx:pt idx="90373">1</cx:pt>
          <cx:pt idx="90374">4</cx:pt>
          <cx:pt idx="90375">4</cx:pt>
          <cx:pt idx="90376">1</cx:pt>
          <cx:pt idx="90377">4</cx:pt>
          <cx:pt idx="90378">5</cx:pt>
          <cx:pt idx="90379">1</cx:pt>
          <cx:pt idx="90380">0</cx:pt>
          <cx:pt idx="90381">4</cx:pt>
          <cx:pt idx="90382">5</cx:pt>
          <cx:pt idx="90383">1</cx:pt>
          <cx:pt idx="90384">4</cx:pt>
          <cx:pt idx="90385">5</cx:pt>
          <cx:pt idx="90386">2</cx:pt>
          <cx:pt idx="90387">3</cx:pt>
          <cx:pt idx="90388">3</cx:pt>
          <cx:pt idx="90389">4</cx:pt>
          <cx:pt idx="90390">0</cx:pt>
          <cx:pt idx="90391">5</cx:pt>
          <cx:pt idx="90392">1</cx:pt>
          <cx:pt idx="90393">5</cx:pt>
          <cx:pt idx="90394">0</cx:pt>
          <cx:pt idx="90395">1</cx:pt>
          <cx:pt idx="90396">0</cx:pt>
          <cx:pt idx="90397">5</cx:pt>
          <cx:pt idx="90398">1</cx:pt>
          <cx:pt idx="90399">1</cx:pt>
          <cx:pt idx="90400">5</cx:pt>
          <cx:pt idx="90401">4</cx:pt>
          <cx:pt idx="90402">4</cx:pt>
          <cx:pt idx="90403">2</cx:pt>
          <cx:pt idx="90404">4</cx:pt>
          <cx:pt idx="90405">5</cx:pt>
          <cx:pt idx="90406">3</cx:pt>
          <cx:pt idx="90407">3</cx:pt>
          <cx:pt idx="90408">5</cx:pt>
          <cx:pt idx="90409">2</cx:pt>
          <cx:pt idx="90410">5</cx:pt>
          <cx:pt idx="90411">1</cx:pt>
          <cx:pt idx="90412">3</cx:pt>
          <cx:pt idx="90413">4</cx:pt>
          <cx:pt idx="90414">5</cx:pt>
          <cx:pt idx="90415">2</cx:pt>
          <cx:pt idx="90416">3</cx:pt>
          <cx:pt idx="90417">5</cx:pt>
          <cx:pt idx="90418">3</cx:pt>
          <cx:pt idx="90419">5</cx:pt>
          <cx:pt idx="90420">4</cx:pt>
          <cx:pt idx="90421">3</cx:pt>
          <cx:pt idx="90422">1</cx:pt>
          <cx:pt idx="90423">4</cx:pt>
          <cx:pt idx="90424">1</cx:pt>
          <cx:pt idx="90425">4</cx:pt>
          <cx:pt idx="90426">2</cx:pt>
          <cx:pt idx="90427">2</cx:pt>
          <cx:pt idx="90428">4</cx:pt>
          <cx:pt idx="90429">3</cx:pt>
          <cx:pt idx="90430">2</cx:pt>
          <cx:pt idx="90431">0</cx:pt>
          <cx:pt idx="90432">0</cx:pt>
          <cx:pt idx="90433">2</cx:pt>
          <cx:pt idx="90434">4</cx:pt>
          <cx:pt idx="90435">4</cx:pt>
          <cx:pt idx="90436">3</cx:pt>
          <cx:pt idx="90437">4</cx:pt>
          <cx:pt idx="90438">2</cx:pt>
          <cx:pt idx="90439">5</cx:pt>
          <cx:pt idx="90440">0</cx:pt>
          <cx:pt idx="90441">1</cx:pt>
          <cx:pt idx="90442">1</cx:pt>
          <cx:pt idx="90443">1</cx:pt>
          <cx:pt idx="90444">3</cx:pt>
          <cx:pt idx="90445">4</cx:pt>
          <cx:pt idx="90446">4</cx:pt>
          <cx:pt idx="90447">2</cx:pt>
          <cx:pt idx="90448">5</cx:pt>
          <cx:pt idx="90449">0</cx:pt>
          <cx:pt idx="90450">0</cx:pt>
          <cx:pt idx="90451">2</cx:pt>
          <cx:pt idx="90452">2</cx:pt>
          <cx:pt idx="90453">1</cx:pt>
          <cx:pt idx="90454">3</cx:pt>
          <cx:pt idx="90455">4</cx:pt>
          <cx:pt idx="90456">1</cx:pt>
          <cx:pt idx="90457">2</cx:pt>
          <cx:pt idx="90458">5</cx:pt>
          <cx:pt idx="90459">2</cx:pt>
          <cx:pt idx="90460">1</cx:pt>
          <cx:pt idx="90461">2</cx:pt>
          <cx:pt idx="90462">4</cx:pt>
          <cx:pt idx="90463">4</cx:pt>
          <cx:pt idx="90464">5</cx:pt>
          <cx:pt idx="90465">3</cx:pt>
          <cx:pt idx="90466">1</cx:pt>
          <cx:pt idx="90467">5</cx:pt>
          <cx:pt idx="90468">0</cx:pt>
          <cx:pt idx="90469">3</cx:pt>
          <cx:pt idx="90470">5</cx:pt>
          <cx:pt idx="90471">3</cx:pt>
          <cx:pt idx="90472">4</cx:pt>
          <cx:pt idx="90473">3</cx:pt>
          <cx:pt idx="90474">4</cx:pt>
          <cx:pt idx="90475">5</cx:pt>
          <cx:pt idx="90476">1</cx:pt>
          <cx:pt idx="90477">2</cx:pt>
          <cx:pt idx="90478">3</cx:pt>
          <cx:pt idx="90479">3</cx:pt>
          <cx:pt idx="90480">1</cx:pt>
          <cx:pt idx="90481">2</cx:pt>
          <cx:pt idx="90482">5</cx:pt>
          <cx:pt idx="90483">2</cx:pt>
          <cx:pt idx="90484">1</cx:pt>
          <cx:pt idx="90485">5</cx:pt>
          <cx:pt idx="90486">4</cx:pt>
          <cx:pt idx="90487">2</cx:pt>
          <cx:pt idx="90488">3</cx:pt>
          <cx:pt idx="90489">5</cx:pt>
          <cx:pt idx="90490">3</cx:pt>
          <cx:pt idx="90491">2</cx:pt>
          <cx:pt idx="90492">1</cx:pt>
          <cx:pt idx="90493">1</cx:pt>
          <cx:pt idx="90494">2</cx:pt>
          <cx:pt idx="90495">1</cx:pt>
          <cx:pt idx="90496">1</cx:pt>
          <cx:pt idx="90497">3</cx:pt>
          <cx:pt idx="90498">3</cx:pt>
          <cx:pt idx="90499">3</cx:pt>
          <cx:pt idx="90500">2</cx:pt>
          <cx:pt idx="90501">1</cx:pt>
          <cx:pt idx="90502">5</cx:pt>
          <cx:pt idx="90503">0</cx:pt>
          <cx:pt idx="90504">1</cx:pt>
          <cx:pt idx="90505">1</cx:pt>
          <cx:pt idx="90506">5</cx:pt>
          <cx:pt idx="90507">1</cx:pt>
          <cx:pt idx="90508">1</cx:pt>
          <cx:pt idx="90509">5</cx:pt>
          <cx:pt idx="90510">4</cx:pt>
          <cx:pt idx="90511">5</cx:pt>
          <cx:pt idx="90512">4</cx:pt>
          <cx:pt idx="90513">4</cx:pt>
          <cx:pt idx="90514">5</cx:pt>
          <cx:pt idx="90515">0</cx:pt>
          <cx:pt idx="90516">1</cx:pt>
          <cx:pt idx="90517">2</cx:pt>
          <cx:pt idx="90518">1</cx:pt>
          <cx:pt idx="90519">3</cx:pt>
          <cx:pt idx="90520">4</cx:pt>
          <cx:pt idx="90521">1</cx:pt>
          <cx:pt idx="90522">2</cx:pt>
          <cx:pt idx="90523">2</cx:pt>
          <cx:pt idx="90524">3</cx:pt>
          <cx:pt idx="90525">2</cx:pt>
          <cx:pt idx="90526">4</cx:pt>
          <cx:pt idx="90527">0</cx:pt>
          <cx:pt idx="90528">3</cx:pt>
          <cx:pt idx="90529">4</cx:pt>
          <cx:pt idx="90530">3</cx:pt>
          <cx:pt idx="90531">4</cx:pt>
          <cx:pt idx="90532">0</cx:pt>
          <cx:pt idx="90533">1</cx:pt>
          <cx:pt idx="90534">5</cx:pt>
          <cx:pt idx="90535">3</cx:pt>
          <cx:pt idx="90536">2</cx:pt>
          <cx:pt idx="90537">3</cx:pt>
          <cx:pt idx="90538">4</cx:pt>
          <cx:pt idx="90539">3</cx:pt>
          <cx:pt idx="90540">1</cx:pt>
          <cx:pt idx="90541">1</cx:pt>
          <cx:pt idx="90542">2</cx:pt>
          <cx:pt idx="90543">2</cx:pt>
          <cx:pt idx="90544">1</cx:pt>
          <cx:pt idx="90545">5</cx:pt>
          <cx:pt idx="90546">3</cx:pt>
          <cx:pt idx="90547">3</cx:pt>
          <cx:pt idx="90548">3</cx:pt>
          <cx:pt idx="90549">5</cx:pt>
          <cx:pt idx="90550">5</cx:pt>
          <cx:pt idx="90551">4</cx:pt>
          <cx:pt idx="90552">2</cx:pt>
          <cx:pt idx="90553">2</cx:pt>
          <cx:pt idx="90554">4</cx:pt>
          <cx:pt idx="90555">5</cx:pt>
          <cx:pt idx="90556">5</cx:pt>
          <cx:pt idx="90557">3</cx:pt>
          <cx:pt idx="90558">3</cx:pt>
          <cx:pt idx="90559">1</cx:pt>
          <cx:pt idx="90560">4</cx:pt>
          <cx:pt idx="90561">1</cx:pt>
          <cx:pt idx="90562">2</cx:pt>
          <cx:pt idx="90563">4</cx:pt>
          <cx:pt idx="90564">2</cx:pt>
          <cx:pt idx="90565">4</cx:pt>
          <cx:pt idx="90566">5</cx:pt>
          <cx:pt idx="90567">5</cx:pt>
          <cx:pt idx="90568">3</cx:pt>
          <cx:pt idx="90569">2</cx:pt>
          <cx:pt idx="90570">2</cx:pt>
          <cx:pt idx="90571">5</cx:pt>
          <cx:pt idx="90572">2</cx:pt>
          <cx:pt idx="90573">1</cx:pt>
          <cx:pt idx="90574">4</cx:pt>
          <cx:pt idx="90575">4</cx:pt>
          <cx:pt idx="90576">2</cx:pt>
          <cx:pt idx="90577">2</cx:pt>
          <cx:pt idx="90578">5</cx:pt>
          <cx:pt idx="90579">4</cx:pt>
          <cx:pt idx="90580">1</cx:pt>
          <cx:pt idx="90581">1</cx:pt>
          <cx:pt idx="90582">2</cx:pt>
          <cx:pt idx="90583">2</cx:pt>
          <cx:pt idx="90584">0</cx:pt>
          <cx:pt idx="90585">5</cx:pt>
          <cx:pt idx="90586">3</cx:pt>
          <cx:pt idx="90587">4</cx:pt>
          <cx:pt idx="90588">4</cx:pt>
          <cx:pt idx="90589">3</cx:pt>
          <cx:pt idx="90590">1</cx:pt>
          <cx:pt idx="90591">3</cx:pt>
          <cx:pt idx="90592">2</cx:pt>
          <cx:pt idx="90593">2</cx:pt>
          <cx:pt idx="90594">2</cx:pt>
          <cx:pt idx="90595">3</cx:pt>
          <cx:pt idx="90596">5</cx:pt>
          <cx:pt idx="90597">5</cx:pt>
          <cx:pt idx="90598">4</cx:pt>
          <cx:pt idx="90599">5</cx:pt>
          <cx:pt idx="90600">5</cx:pt>
          <cx:pt idx="90601">4</cx:pt>
          <cx:pt idx="90602">3</cx:pt>
          <cx:pt idx="90603">4</cx:pt>
          <cx:pt idx="90604">4</cx:pt>
          <cx:pt idx="90605">3</cx:pt>
          <cx:pt idx="90606">1</cx:pt>
          <cx:pt idx="90607">2</cx:pt>
          <cx:pt idx="90608">4</cx:pt>
          <cx:pt idx="90609">4</cx:pt>
          <cx:pt idx="90610">4</cx:pt>
          <cx:pt idx="90611">3</cx:pt>
          <cx:pt idx="90612">3</cx:pt>
          <cx:pt idx="90613">1</cx:pt>
          <cx:pt idx="90614">3</cx:pt>
          <cx:pt idx="90615">1</cx:pt>
          <cx:pt idx="90616">1</cx:pt>
          <cx:pt idx="90617">5</cx:pt>
          <cx:pt idx="90618">1</cx:pt>
          <cx:pt idx="90619">4</cx:pt>
          <cx:pt idx="90620">4</cx:pt>
          <cx:pt idx="90621">3</cx:pt>
          <cx:pt idx="90622">4</cx:pt>
          <cx:pt idx="90623">2</cx:pt>
          <cx:pt idx="90624">3</cx:pt>
          <cx:pt idx="90625">3</cx:pt>
          <cx:pt idx="90626">4</cx:pt>
          <cx:pt idx="90627">2</cx:pt>
          <cx:pt idx="90628">2</cx:pt>
          <cx:pt idx="90629">3</cx:pt>
          <cx:pt idx="90630">5</cx:pt>
          <cx:pt idx="90631">3</cx:pt>
          <cx:pt idx="90632">5</cx:pt>
          <cx:pt idx="90633">1</cx:pt>
          <cx:pt idx="90634">0</cx:pt>
          <cx:pt idx="90635">5</cx:pt>
          <cx:pt idx="90636">4</cx:pt>
          <cx:pt idx="90637">1</cx:pt>
          <cx:pt idx="90638">5</cx:pt>
          <cx:pt idx="90639">3</cx:pt>
          <cx:pt idx="90640">2</cx:pt>
          <cx:pt idx="90641">3</cx:pt>
          <cx:pt idx="90642">4</cx:pt>
          <cx:pt idx="90643">4</cx:pt>
          <cx:pt idx="90644">3</cx:pt>
          <cx:pt idx="90645">5</cx:pt>
          <cx:pt idx="90646">2</cx:pt>
          <cx:pt idx="90647">3</cx:pt>
          <cx:pt idx="90648">3</cx:pt>
          <cx:pt idx="90649">0</cx:pt>
          <cx:pt idx="90650">1</cx:pt>
          <cx:pt idx="90651">3</cx:pt>
          <cx:pt idx="90652">5</cx:pt>
          <cx:pt idx="90653">4</cx:pt>
          <cx:pt idx="90654">2</cx:pt>
          <cx:pt idx="90655">3</cx:pt>
          <cx:pt idx="90656">2</cx:pt>
          <cx:pt idx="90657">5</cx:pt>
          <cx:pt idx="90658">4</cx:pt>
          <cx:pt idx="90659">3</cx:pt>
          <cx:pt idx="90660">2</cx:pt>
          <cx:pt idx="90661">3</cx:pt>
          <cx:pt idx="90662">4</cx:pt>
          <cx:pt idx="90663">1</cx:pt>
          <cx:pt idx="90664">3</cx:pt>
          <cx:pt idx="90665">2</cx:pt>
          <cx:pt idx="90666">4</cx:pt>
          <cx:pt idx="90667">5</cx:pt>
          <cx:pt idx="90668">3</cx:pt>
          <cx:pt idx="90669">2</cx:pt>
          <cx:pt idx="90670">0</cx:pt>
          <cx:pt idx="90671">1</cx:pt>
          <cx:pt idx="90672">3</cx:pt>
          <cx:pt idx="90673">1</cx:pt>
          <cx:pt idx="90674">2</cx:pt>
          <cx:pt idx="90675">2</cx:pt>
          <cx:pt idx="90676">5</cx:pt>
          <cx:pt idx="90677">4</cx:pt>
          <cx:pt idx="90678">5</cx:pt>
          <cx:pt idx="90679">4</cx:pt>
          <cx:pt idx="90680">3</cx:pt>
          <cx:pt idx="90681">3</cx:pt>
          <cx:pt idx="90682">1</cx:pt>
          <cx:pt idx="90683">2</cx:pt>
          <cx:pt idx="90684">3</cx:pt>
          <cx:pt idx="90685">3</cx:pt>
          <cx:pt idx="90686">2</cx:pt>
          <cx:pt idx="90687">3</cx:pt>
          <cx:pt idx="90688">3</cx:pt>
          <cx:pt idx="90689">5</cx:pt>
          <cx:pt idx="90690">2</cx:pt>
          <cx:pt idx="90691">1</cx:pt>
          <cx:pt idx="90692">3</cx:pt>
          <cx:pt idx="90693">4</cx:pt>
          <cx:pt idx="90694">1</cx:pt>
          <cx:pt idx="90695">4</cx:pt>
          <cx:pt idx="90696">2</cx:pt>
          <cx:pt idx="90697">4</cx:pt>
          <cx:pt idx="90698">5</cx:pt>
          <cx:pt idx="90699">2</cx:pt>
          <cx:pt idx="90700">2</cx:pt>
          <cx:pt idx="90701">4</cx:pt>
          <cx:pt idx="90702">3</cx:pt>
          <cx:pt idx="90703">2</cx:pt>
          <cx:pt idx="90704">3</cx:pt>
          <cx:pt idx="90705">0</cx:pt>
          <cx:pt idx="90706">4</cx:pt>
          <cx:pt idx="90707">3</cx:pt>
          <cx:pt idx="90708">4</cx:pt>
          <cx:pt idx="90709">4</cx:pt>
          <cx:pt idx="90710">4</cx:pt>
          <cx:pt idx="90711">2</cx:pt>
          <cx:pt idx="90712">3</cx:pt>
          <cx:pt idx="90713">1</cx:pt>
          <cx:pt idx="90714">5</cx:pt>
          <cx:pt idx="90715">4</cx:pt>
          <cx:pt idx="90716">0</cx:pt>
          <cx:pt idx="90717">3</cx:pt>
          <cx:pt idx="90718">5</cx:pt>
          <cx:pt idx="90719">3</cx:pt>
          <cx:pt idx="90720">2</cx:pt>
          <cx:pt idx="90721">1</cx:pt>
          <cx:pt idx="90722">1</cx:pt>
          <cx:pt idx="90723">4</cx:pt>
          <cx:pt idx="90724">3</cx:pt>
          <cx:pt idx="90725">2</cx:pt>
          <cx:pt idx="90726">4</cx:pt>
          <cx:pt idx="90727">5</cx:pt>
          <cx:pt idx="90728">2</cx:pt>
          <cx:pt idx="90729">5</cx:pt>
          <cx:pt idx="90730">3</cx:pt>
          <cx:pt idx="90731">3</cx:pt>
          <cx:pt idx="90732">1</cx:pt>
          <cx:pt idx="90733">4</cx:pt>
          <cx:pt idx="90734">1</cx:pt>
          <cx:pt idx="90735">3</cx:pt>
          <cx:pt idx="90736">3</cx:pt>
          <cx:pt idx="90737">1</cx:pt>
          <cx:pt idx="90738">1</cx:pt>
          <cx:pt idx="90739">2</cx:pt>
          <cx:pt idx="90740">1</cx:pt>
          <cx:pt idx="90741">2</cx:pt>
          <cx:pt idx="90742">4</cx:pt>
          <cx:pt idx="90743">3</cx:pt>
          <cx:pt idx="90744">5</cx:pt>
          <cx:pt idx="90745">3</cx:pt>
          <cx:pt idx="90746">4</cx:pt>
          <cx:pt idx="90747">4</cx:pt>
          <cx:pt idx="90748">3</cx:pt>
          <cx:pt idx="90749">5</cx:pt>
          <cx:pt idx="90750">2</cx:pt>
          <cx:pt idx="90751">2</cx:pt>
          <cx:pt idx="90752">2</cx:pt>
          <cx:pt idx="90753">4</cx:pt>
          <cx:pt idx="90754">1</cx:pt>
          <cx:pt idx="90755">2</cx:pt>
          <cx:pt idx="90756">1</cx:pt>
          <cx:pt idx="90757">4</cx:pt>
          <cx:pt idx="90758">5</cx:pt>
          <cx:pt idx="90759">2</cx:pt>
          <cx:pt idx="90760">3</cx:pt>
          <cx:pt idx="90761">5</cx:pt>
          <cx:pt idx="90762">4</cx:pt>
          <cx:pt idx="90763">2</cx:pt>
          <cx:pt idx="90764">3</cx:pt>
          <cx:pt idx="90765">2</cx:pt>
          <cx:pt idx="90766">0</cx:pt>
          <cx:pt idx="90767">0</cx:pt>
          <cx:pt idx="90768">3</cx:pt>
          <cx:pt idx="90769">4</cx:pt>
          <cx:pt idx="90770">3</cx:pt>
          <cx:pt idx="90771">3</cx:pt>
          <cx:pt idx="90772">3</cx:pt>
          <cx:pt idx="90773">2</cx:pt>
          <cx:pt idx="90774">2</cx:pt>
          <cx:pt idx="90775">3</cx:pt>
          <cx:pt idx="90776">1</cx:pt>
          <cx:pt idx="90777">2</cx:pt>
          <cx:pt idx="90778">2</cx:pt>
          <cx:pt idx="90779">3</cx:pt>
          <cx:pt idx="90780">1</cx:pt>
          <cx:pt idx="90781">4</cx:pt>
          <cx:pt idx="90782">3</cx:pt>
          <cx:pt idx="90783">1</cx:pt>
          <cx:pt idx="90784">5</cx:pt>
          <cx:pt idx="90785">3</cx:pt>
          <cx:pt idx="90786">5</cx:pt>
          <cx:pt idx="90787">4</cx:pt>
          <cx:pt idx="90788">1</cx:pt>
          <cx:pt idx="90789">3</cx:pt>
          <cx:pt idx="90790">0</cx:pt>
          <cx:pt idx="90791">2</cx:pt>
          <cx:pt idx="90792">1</cx:pt>
          <cx:pt idx="90793">3</cx:pt>
          <cx:pt idx="90794">3</cx:pt>
          <cx:pt idx="90795">4</cx:pt>
          <cx:pt idx="90796">4</cx:pt>
          <cx:pt idx="90797">5</cx:pt>
          <cx:pt idx="90798">2</cx:pt>
          <cx:pt idx="90799">2</cx:pt>
          <cx:pt idx="90800">2</cx:pt>
          <cx:pt idx="90801">4</cx:pt>
          <cx:pt idx="90802">1</cx:pt>
          <cx:pt idx="90803">2</cx:pt>
          <cx:pt idx="90804">5</cx:pt>
          <cx:pt idx="90805">5</cx:pt>
          <cx:pt idx="90806">3</cx:pt>
          <cx:pt idx="90807">4</cx:pt>
          <cx:pt idx="90808">0</cx:pt>
          <cx:pt idx="90809">3</cx:pt>
          <cx:pt idx="90810">2</cx:pt>
          <cx:pt idx="90811">5</cx:pt>
          <cx:pt idx="90812">1</cx:pt>
          <cx:pt idx="90813">1</cx:pt>
          <cx:pt idx="90814">3</cx:pt>
          <cx:pt idx="90815">2</cx:pt>
          <cx:pt idx="90816">4</cx:pt>
          <cx:pt idx="90817">3</cx:pt>
          <cx:pt idx="90818">4</cx:pt>
          <cx:pt idx="90819">4</cx:pt>
          <cx:pt idx="90820">2</cx:pt>
          <cx:pt idx="90821">4</cx:pt>
          <cx:pt idx="90822">4</cx:pt>
          <cx:pt idx="90823">1</cx:pt>
          <cx:pt idx="90824">1</cx:pt>
          <cx:pt idx="90825">4</cx:pt>
          <cx:pt idx="90826">2</cx:pt>
          <cx:pt idx="90827">2</cx:pt>
          <cx:pt idx="90828">3</cx:pt>
          <cx:pt idx="90829">4</cx:pt>
          <cx:pt idx="90830">0</cx:pt>
          <cx:pt idx="90831">2</cx:pt>
          <cx:pt idx="90832">5</cx:pt>
          <cx:pt idx="90833">3</cx:pt>
          <cx:pt idx="90834">0</cx:pt>
          <cx:pt idx="90835">3</cx:pt>
          <cx:pt idx="90836">4</cx:pt>
          <cx:pt idx="90837">1</cx:pt>
          <cx:pt idx="90838">4</cx:pt>
          <cx:pt idx="90839">5</cx:pt>
          <cx:pt idx="90840">5</cx:pt>
          <cx:pt idx="90841">4</cx:pt>
          <cx:pt idx="90842">5</cx:pt>
          <cx:pt idx="90843">4</cx:pt>
          <cx:pt idx="90844">0</cx:pt>
          <cx:pt idx="90845">3</cx:pt>
          <cx:pt idx="90846">4</cx:pt>
          <cx:pt idx="90847">2</cx:pt>
          <cx:pt idx="90848">2</cx:pt>
          <cx:pt idx="90849">2</cx:pt>
          <cx:pt idx="90850">3</cx:pt>
          <cx:pt idx="90851">5</cx:pt>
          <cx:pt idx="90852">3</cx:pt>
          <cx:pt idx="90853">2</cx:pt>
          <cx:pt idx="90854">2</cx:pt>
          <cx:pt idx="90855">5</cx:pt>
          <cx:pt idx="90856">4</cx:pt>
          <cx:pt idx="90857">4</cx:pt>
          <cx:pt idx="90858">2</cx:pt>
          <cx:pt idx="90859">4</cx:pt>
          <cx:pt idx="90860">3</cx:pt>
          <cx:pt idx="90861">3</cx:pt>
          <cx:pt idx="90862">5</cx:pt>
          <cx:pt idx="90863">1</cx:pt>
          <cx:pt idx="90864">1</cx:pt>
          <cx:pt idx="90865">2</cx:pt>
          <cx:pt idx="90866">2</cx:pt>
          <cx:pt idx="90867">3</cx:pt>
          <cx:pt idx="90868">2</cx:pt>
          <cx:pt idx="90869">5</cx:pt>
          <cx:pt idx="90870">4</cx:pt>
          <cx:pt idx="90871">5</cx:pt>
          <cx:pt idx="90872">3</cx:pt>
          <cx:pt idx="90873">4</cx:pt>
          <cx:pt idx="90874">3</cx:pt>
          <cx:pt idx="90875">4</cx:pt>
          <cx:pt idx="90876">5</cx:pt>
          <cx:pt idx="90877">3</cx:pt>
          <cx:pt idx="90878">1</cx:pt>
          <cx:pt idx="90879">4</cx:pt>
          <cx:pt idx="90880">2</cx:pt>
          <cx:pt idx="90881">4</cx:pt>
          <cx:pt idx="90882">2</cx:pt>
          <cx:pt idx="90883">3</cx:pt>
          <cx:pt idx="90884">5</cx:pt>
          <cx:pt idx="90885">4</cx:pt>
          <cx:pt idx="90886">2</cx:pt>
          <cx:pt idx="90887">1</cx:pt>
          <cx:pt idx="90888">5</cx:pt>
          <cx:pt idx="90889">3</cx:pt>
          <cx:pt idx="90890">2</cx:pt>
          <cx:pt idx="90891">2</cx:pt>
          <cx:pt idx="90892">3</cx:pt>
          <cx:pt idx="90893">3</cx:pt>
          <cx:pt idx="90894">5</cx:pt>
          <cx:pt idx="90895">1</cx:pt>
          <cx:pt idx="90896">2</cx:pt>
          <cx:pt idx="90897">5</cx:pt>
          <cx:pt idx="90898">5</cx:pt>
          <cx:pt idx="90899">2</cx:pt>
          <cx:pt idx="90900">2</cx:pt>
          <cx:pt idx="90901">2</cx:pt>
          <cx:pt idx="90902">5</cx:pt>
          <cx:pt idx="90903">5</cx:pt>
          <cx:pt idx="90904">1</cx:pt>
          <cx:pt idx="90905">5</cx:pt>
          <cx:pt idx="90906">4</cx:pt>
          <cx:pt idx="90907">1</cx:pt>
          <cx:pt idx="90908">3</cx:pt>
          <cx:pt idx="90909">2</cx:pt>
          <cx:pt idx="90910">4</cx:pt>
          <cx:pt idx="90911">3</cx:pt>
          <cx:pt idx="90912">2</cx:pt>
          <cx:pt idx="90913">5</cx:pt>
          <cx:pt idx="90914">2</cx:pt>
          <cx:pt idx="90915">2</cx:pt>
          <cx:pt idx="90916">4</cx:pt>
          <cx:pt idx="90917">1</cx:pt>
          <cx:pt idx="90918">4</cx:pt>
          <cx:pt idx="90919">3</cx:pt>
          <cx:pt idx="90920">5</cx:pt>
          <cx:pt idx="90921">2</cx:pt>
          <cx:pt idx="90922">2</cx:pt>
          <cx:pt idx="90923">2</cx:pt>
          <cx:pt idx="90924">2</cx:pt>
          <cx:pt idx="90925">4</cx:pt>
          <cx:pt idx="90926">1</cx:pt>
          <cx:pt idx="90927">4</cx:pt>
          <cx:pt idx="90928">2</cx:pt>
          <cx:pt idx="90929">3</cx:pt>
          <cx:pt idx="90930">0</cx:pt>
          <cx:pt idx="90931">2</cx:pt>
          <cx:pt idx="90932">0</cx:pt>
          <cx:pt idx="90933">3</cx:pt>
          <cx:pt idx="90934">3</cx:pt>
          <cx:pt idx="90935">1</cx:pt>
          <cx:pt idx="90936">4</cx:pt>
          <cx:pt idx="90937">1</cx:pt>
          <cx:pt idx="90938">3</cx:pt>
          <cx:pt idx="90939">0</cx:pt>
          <cx:pt idx="90940">4</cx:pt>
          <cx:pt idx="90941">3</cx:pt>
          <cx:pt idx="90942">1</cx:pt>
          <cx:pt idx="90943">1</cx:pt>
          <cx:pt idx="90944">4</cx:pt>
          <cx:pt idx="90945">4</cx:pt>
          <cx:pt idx="90946">5</cx:pt>
          <cx:pt idx="90947">5</cx:pt>
          <cx:pt idx="90948">5</cx:pt>
          <cx:pt idx="90949">5</cx:pt>
          <cx:pt idx="90950">4</cx:pt>
          <cx:pt idx="90951">4</cx:pt>
          <cx:pt idx="90952">3</cx:pt>
          <cx:pt idx="90953">1</cx:pt>
          <cx:pt idx="90954">2</cx:pt>
          <cx:pt idx="90955">3</cx:pt>
          <cx:pt idx="90956">5</cx:pt>
          <cx:pt idx="90957">2</cx:pt>
          <cx:pt idx="90958">3</cx:pt>
          <cx:pt idx="90959">3</cx:pt>
          <cx:pt idx="90960">2</cx:pt>
          <cx:pt idx="90961">4</cx:pt>
          <cx:pt idx="90962">0</cx:pt>
          <cx:pt idx="90963">5</cx:pt>
          <cx:pt idx="90964">4</cx:pt>
          <cx:pt idx="90965">1</cx:pt>
          <cx:pt idx="90966">4</cx:pt>
          <cx:pt idx="90967">2</cx:pt>
          <cx:pt idx="90968">4</cx:pt>
          <cx:pt idx="90969">3</cx:pt>
          <cx:pt idx="90970">4</cx:pt>
          <cx:pt idx="90971">1</cx:pt>
          <cx:pt idx="90972">5</cx:pt>
          <cx:pt idx="90973">3</cx:pt>
          <cx:pt idx="90974">3</cx:pt>
          <cx:pt idx="90975">4</cx:pt>
          <cx:pt idx="90976">2</cx:pt>
          <cx:pt idx="90977">5</cx:pt>
          <cx:pt idx="90978">3</cx:pt>
          <cx:pt idx="90979">3</cx:pt>
          <cx:pt idx="90980">4</cx:pt>
          <cx:pt idx="90981">4</cx:pt>
          <cx:pt idx="90982">3</cx:pt>
          <cx:pt idx="90983">0</cx:pt>
          <cx:pt idx="90984">4</cx:pt>
          <cx:pt idx="90985">2</cx:pt>
          <cx:pt idx="90986">1</cx:pt>
          <cx:pt idx="90987">2</cx:pt>
          <cx:pt idx="90988">3</cx:pt>
          <cx:pt idx="90989">5</cx:pt>
          <cx:pt idx="90990">3</cx:pt>
          <cx:pt idx="90991">3</cx:pt>
          <cx:pt idx="90992">4</cx:pt>
          <cx:pt idx="90993">2</cx:pt>
          <cx:pt idx="90994">2</cx:pt>
          <cx:pt idx="90995">3</cx:pt>
          <cx:pt idx="90996">4</cx:pt>
          <cx:pt idx="90997">2</cx:pt>
          <cx:pt idx="90998">3</cx:pt>
          <cx:pt idx="90999">1</cx:pt>
          <cx:pt idx="91000">3</cx:pt>
          <cx:pt idx="91001">4</cx:pt>
          <cx:pt idx="91002">5</cx:pt>
          <cx:pt idx="91003">3</cx:pt>
          <cx:pt idx="91004">2</cx:pt>
          <cx:pt idx="91005">3</cx:pt>
          <cx:pt idx="91006">0</cx:pt>
          <cx:pt idx="91007">3</cx:pt>
          <cx:pt idx="91008">3</cx:pt>
          <cx:pt idx="91009">1</cx:pt>
          <cx:pt idx="91010">2</cx:pt>
          <cx:pt idx="91011">5</cx:pt>
          <cx:pt idx="91012">1</cx:pt>
          <cx:pt idx="91013">4</cx:pt>
          <cx:pt idx="91014">3</cx:pt>
          <cx:pt idx="91015">2</cx:pt>
          <cx:pt idx="91016">4</cx:pt>
          <cx:pt idx="91017">1</cx:pt>
          <cx:pt idx="91018">4</cx:pt>
          <cx:pt idx="91019">5</cx:pt>
          <cx:pt idx="91020">3</cx:pt>
          <cx:pt idx="91021">3</cx:pt>
          <cx:pt idx="91022">2</cx:pt>
          <cx:pt idx="91023">2</cx:pt>
          <cx:pt idx="91024">4</cx:pt>
          <cx:pt idx="91025">1</cx:pt>
          <cx:pt idx="91026">2</cx:pt>
          <cx:pt idx="91027">3</cx:pt>
          <cx:pt idx="91028">0</cx:pt>
          <cx:pt idx="91029">5</cx:pt>
          <cx:pt idx="91030">4</cx:pt>
          <cx:pt idx="91031">4</cx:pt>
          <cx:pt idx="91032">3</cx:pt>
          <cx:pt idx="91033">1</cx:pt>
          <cx:pt idx="91034">4</cx:pt>
          <cx:pt idx="91035">3</cx:pt>
          <cx:pt idx="91036">4</cx:pt>
          <cx:pt idx="91037">2</cx:pt>
          <cx:pt idx="91038">2</cx:pt>
          <cx:pt idx="91039">2</cx:pt>
          <cx:pt idx="91040">1</cx:pt>
          <cx:pt idx="91041">5</cx:pt>
          <cx:pt idx="91042">5</cx:pt>
          <cx:pt idx="91043">4</cx:pt>
          <cx:pt idx="91044">2</cx:pt>
          <cx:pt idx="91045">2</cx:pt>
          <cx:pt idx="91046">1</cx:pt>
          <cx:pt idx="91047">3</cx:pt>
          <cx:pt idx="91048">5</cx:pt>
          <cx:pt idx="91049">1</cx:pt>
          <cx:pt idx="91050">4</cx:pt>
          <cx:pt idx="91051">1</cx:pt>
          <cx:pt idx="91052">3</cx:pt>
          <cx:pt idx="91053">4</cx:pt>
          <cx:pt idx="91054">3</cx:pt>
          <cx:pt idx="91055">3</cx:pt>
          <cx:pt idx="91056">5</cx:pt>
          <cx:pt idx="91057">2</cx:pt>
          <cx:pt idx="91058">2</cx:pt>
          <cx:pt idx="91059">5</cx:pt>
          <cx:pt idx="91060">5</cx:pt>
          <cx:pt idx="91061">3</cx:pt>
          <cx:pt idx="91062">5</cx:pt>
          <cx:pt idx="91063">3</cx:pt>
          <cx:pt idx="91064">2</cx:pt>
          <cx:pt idx="91065">2</cx:pt>
          <cx:pt idx="91066">3</cx:pt>
          <cx:pt idx="91067">3</cx:pt>
          <cx:pt idx="91068">0</cx:pt>
          <cx:pt idx="91069">1</cx:pt>
          <cx:pt idx="91070">2</cx:pt>
          <cx:pt idx="91071">1</cx:pt>
          <cx:pt idx="91072">3</cx:pt>
          <cx:pt idx="91073">3</cx:pt>
          <cx:pt idx="91074">2</cx:pt>
          <cx:pt idx="91075">2</cx:pt>
          <cx:pt idx="91076">2</cx:pt>
          <cx:pt idx="91077">1</cx:pt>
          <cx:pt idx="91078">2</cx:pt>
          <cx:pt idx="91079">1</cx:pt>
          <cx:pt idx="91080">1</cx:pt>
          <cx:pt idx="91081">3</cx:pt>
          <cx:pt idx="91082">1</cx:pt>
          <cx:pt idx="91083">3</cx:pt>
          <cx:pt idx="91084">1</cx:pt>
          <cx:pt idx="91085">1</cx:pt>
          <cx:pt idx="91086">4</cx:pt>
          <cx:pt idx="91087">4</cx:pt>
          <cx:pt idx="91088">5</cx:pt>
          <cx:pt idx="91089">2</cx:pt>
          <cx:pt idx="91090">3</cx:pt>
          <cx:pt idx="91091">5</cx:pt>
          <cx:pt idx="91092">4</cx:pt>
          <cx:pt idx="91093">1</cx:pt>
          <cx:pt idx="91094">2</cx:pt>
          <cx:pt idx="91095">4</cx:pt>
          <cx:pt idx="91096">4</cx:pt>
          <cx:pt idx="91097">4</cx:pt>
          <cx:pt idx="91098">0</cx:pt>
          <cx:pt idx="91099">1</cx:pt>
          <cx:pt idx="91100">2</cx:pt>
          <cx:pt idx="91101">2</cx:pt>
          <cx:pt idx="91102">2</cx:pt>
          <cx:pt idx="91103">5</cx:pt>
          <cx:pt idx="91104">5</cx:pt>
          <cx:pt idx="91105">4</cx:pt>
          <cx:pt idx="91106">3</cx:pt>
          <cx:pt idx="91107">3</cx:pt>
          <cx:pt idx="91108">4</cx:pt>
          <cx:pt idx="91109">2</cx:pt>
          <cx:pt idx="91110">2</cx:pt>
          <cx:pt idx="91111">5</cx:pt>
          <cx:pt idx="91112">2</cx:pt>
          <cx:pt idx="91113">5</cx:pt>
          <cx:pt idx="91114">1</cx:pt>
          <cx:pt idx="91115">2</cx:pt>
          <cx:pt idx="91116">3</cx:pt>
          <cx:pt idx="91117">3</cx:pt>
          <cx:pt idx="91118">2</cx:pt>
          <cx:pt idx="91119">1</cx:pt>
          <cx:pt idx="91120">1</cx:pt>
          <cx:pt idx="91121">3</cx:pt>
          <cx:pt idx="91122">2</cx:pt>
          <cx:pt idx="91123">4</cx:pt>
          <cx:pt idx="91124">3</cx:pt>
          <cx:pt idx="91125">2</cx:pt>
          <cx:pt idx="91126">1</cx:pt>
          <cx:pt idx="91127">3</cx:pt>
          <cx:pt idx="91128">5</cx:pt>
          <cx:pt idx="91129">1</cx:pt>
          <cx:pt idx="91130">1</cx:pt>
          <cx:pt idx="91131">1</cx:pt>
          <cx:pt idx="91132">2</cx:pt>
          <cx:pt idx="91133">4</cx:pt>
          <cx:pt idx="91134">4</cx:pt>
          <cx:pt idx="91135">5</cx:pt>
          <cx:pt idx="91136">1</cx:pt>
          <cx:pt idx="91137">4</cx:pt>
          <cx:pt idx="91138">5</cx:pt>
          <cx:pt idx="91139">3</cx:pt>
          <cx:pt idx="91140">2</cx:pt>
          <cx:pt idx="91141">2</cx:pt>
          <cx:pt idx="91142">4</cx:pt>
          <cx:pt idx="91143">3</cx:pt>
          <cx:pt idx="91144">3</cx:pt>
          <cx:pt idx="91145">4</cx:pt>
          <cx:pt idx="91146">5</cx:pt>
          <cx:pt idx="91147">4</cx:pt>
          <cx:pt idx="91148">5</cx:pt>
          <cx:pt idx="91149">2</cx:pt>
          <cx:pt idx="91150">3</cx:pt>
          <cx:pt idx="91151">5</cx:pt>
          <cx:pt idx="91152">1</cx:pt>
          <cx:pt idx="91153">0</cx:pt>
          <cx:pt idx="91154">4</cx:pt>
          <cx:pt idx="91155">2</cx:pt>
          <cx:pt idx="91156">4</cx:pt>
          <cx:pt idx="91157">4</cx:pt>
          <cx:pt idx="91158">3</cx:pt>
          <cx:pt idx="91159">2</cx:pt>
          <cx:pt idx="91160">1</cx:pt>
          <cx:pt idx="91161">2</cx:pt>
          <cx:pt idx="91162">3</cx:pt>
          <cx:pt idx="91163">3</cx:pt>
          <cx:pt idx="91164">2</cx:pt>
          <cx:pt idx="91165">2</cx:pt>
          <cx:pt idx="91166">2</cx:pt>
          <cx:pt idx="91167">3</cx:pt>
          <cx:pt idx="91168">2</cx:pt>
          <cx:pt idx="91169">4</cx:pt>
          <cx:pt idx="91170">3</cx:pt>
          <cx:pt idx="91171">4</cx:pt>
          <cx:pt idx="91172">5</cx:pt>
          <cx:pt idx="91173">4</cx:pt>
          <cx:pt idx="91174">5</cx:pt>
          <cx:pt idx="91175">4</cx:pt>
          <cx:pt idx="91176">2</cx:pt>
          <cx:pt idx="91177">1</cx:pt>
          <cx:pt idx="91178">1</cx:pt>
          <cx:pt idx="91179">4</cx:pt>
          <cx:pt idx="91180">2</cx:pt>
          <cx:pt idx="91181">1</cx:pt>
          <cx:pt idx="91182">2</cx:pt>
          <cx:pt idx="91183">1</cx:pt>
          <cx:pt idx="91184">4</cx:pt>
          <cx:pt idx="91185">3</cx:pt>
          <cx:pt idx="91186">2</cx:pt>
          <cx:pt idx="91187">2</cx:pt>
          <cx:pt idx="91188">1</cx:pt>
          <cx:pt idx="91189">2</cx:pt>
          <cx:pt idx="91190">3</cx:pt>
          <cx:pt idx="91191">0</cx:pt>
          <cx:pt idx="91192">1</cx:pt>
          <cx:pt idx="91193">1</cx:pt>
          <cx:pt idx="91194">1</cx:pt>
          <cx:pt idx="91195">4</cx:pt>
          <cx:pt idx="91196">1</cx:pt>
          <cx:pt idx="91197">5</cx:pt>
          <cx:pt idx="91198">5</cx:pt>
          <cx:pt idx="91199">2</cx:pt>
          <cx:pt idx="91200">4</cx:pt>
          <cx:pt idx="91201">5</cx:pt>
          <cx:pt idx="91202">2</cx:pt>
          <cx:pt idx="91203">2</cx:pt>
          <cx:pt idx="91204">2</cx:pt>
          <cx:pt idx="91205">1</cx:pt>
          <cx:pt idx="91206">3</cx:pt>
          <cx:pt idx="91207">3</cx:pt>
          <cx:pt idx="91208">1</cx:pt>
          <cx:pt idx="91209">3</cx:pt>
          <cx:pt idx="91210">5</cx:pt>
          <cx:pt idx="91211">4</cx:pt>
          <cx:pt idx="91212">1</cx:pt>
          <cx:pt idx="91213">5</cx:pt>
          <cx:pt idx="91214">2</cx:pt>
          <cx:pt idx="91215">2</cx:pt>
          <cx:pt idx="91216">4</cx:pt>
          <cx:pt idx="91217">2</cx:pt>
          <cx:pt idx="91218">4</cx:pt>
          <cx:pt idx="91219">4</cx:pt>
          <cx:pt idx="91220">4</cx:pt>
          <cx:pt idx="91221">4</cx:pt>
          <cx:pt idx="91222">3</cx:pt>
          <cx:pt idx="91223">3</cx:pt>
          <cx:pt idx="91224">0</cx:pt>
          <cx:pt idx="91225">3</cx:pt>
          <cx:pt idx="91226">5</cx:pt>
          <cx:pt idx="91227">3</cx:pt>
          <cx:pt idx="91228">1</cx:pt>
          <cx:pt idx="91229">3</cx:pt>
          <cx:pt idx="91230">3</cx:pt>
          <cx:pt idx="91231">3</cx:pt>
          <cx:pt idx="91232">5</cx:pt>
          <cx:pt idx="91233">1</cx:pt>
          <cx:pt idx="91234">1</cx:pt>
          <cx:pt idx="91235">2</cx:pt>
          <cx:pt idx="91236">4</cx:pt>
          <cx:pt idx="91237">1</cx:pt>
          <cx:pt idx="91238">4</cx:pt>
          <cx:pt idx="91239">4</cx:pt>
          <cx:pt idx="91240">4</cx:pt>
          <cx:pt idx="91241">3</cx:pt>
          <cx:pt idx="91242">3</cx:pt>
          <cx:pt idx="91243">4</cx:pt>
          <cx:pt idx="91244">0</cx:pt>
          <cx:pt idx="91245">4</cx:pt>
          <cx:pt idx="91246">2</cx:pt>
          <cx:pt idx="91247">1</cx:pt>
          <cx:pt idx="91248">1</cx:pt>
          <cx:pt idx="91249">4</cx:pt>
          <cx:pt idx="91250">1</cx:pt>
          <cx:pt idx="91251">2</cx:pt>
          <cx:pt idx="91252">2</cx:pt>
          <cx:pt idx="91253">5</cx:pt>
          <cx:pt idx="91254">4</cx:pt>
          <cx:pt idx="91255">5</cx:pt>
          <cx:pt idx="91256">2</cx:pt>
          <cx:pt idx="91257">3</cx:pt>
          <cx:pt idx="91258">3</cx:pt>
          <cx:pt idx="91259">1</cx:pt>
          <cx:pt idx="91260">3</cx:pt>
          <cx:pt idx="91261">5</cx:pt>
          <cx:pt idx="91262">3</cx:pt>
          <cx:pt idx="91263">1</cx:pt>
          <cx:pt idx="91264">2</cx:pt>
          <cx:pt idx="91265">2</cx:pt>
          <cx:pt idx="91266">3</cx:pt>
          <cx:pt idx="91267">1</cx:pt>
          <cx:pt idx="91268">4</cx:pt>
          <cx:pt idx="91269">3</cx:pt>
          <cx:pt idx="91270">1</cx:pt>
          <cx:pt idx="91271">3</cx:pt>
          <cx:pt idx="91272">1</cx:pt>
          <cx:pt idx="91273">3</cx:pt>
          <cx:pt idx="91274">5</cx:pt>
          <cx:pt idx="91275">5</cx:pt>
          <cx:pt idx="91276">5</cx:pt>
          <cx:pt idx="91277">3</cx:pt>
          <cx:pt idx="91278">2</cx:pt>
          <cx:pt idx="91279">3</cx:pt>
          <cx:pt idx="91280">4</cx:pt>
          <cx:pt idx="91281">3</cx:pt>
          <cx:pt idx="91282">3</cx:pt>
          <cx:pt idx="91283">3</cx:pt>
          <cx:pt idx="91284">4</cx:pt>
          <cx:pt idx="91285">4</cx:pt>
          <cx:pt idx="91286">1</cx:pt>
          <cx:pt idx="91287">2</cx:pt>
          <cx:pt idx="91288">1</cx:pt>
          <cx:pt idx="91289">4</cx:pt>
          <cx:pt idx="91290">3</cx:pt>
          <cx:pt idx="91291">4</cx:pt>
          <cx:pt idx="91292">1</cx:pt>
          <cx:pt idx="91293">1</cx:pt>
          <cx:pt idx="91294">3</cx:pt>
          <cx:pt idx="91295">1</cx:pt>
          <cx:pt idx="91296">1</cx:pt>
          <cx:pt idx="91297">2</cx:pt>
          <cx:pt idx="91298">4</cx:pt>
          <cx:pt idx="91299">2</cx:pt>
          <cx:pt idx="91300">1</cx:pt>
          <cx:pt idx="91301">0</cx:pt>
          <cx:pt idx="91302">4</cx:pt>
          <cx:pt idx="91303">3</cx:pt>
          <cx:pt idx="91304">2</cx:pt>
          <cx:pt idx="91305">2</cx:pt>
          <cx:pt idx="91306">3</cx:pt>
          <cx:pt idx="91307">1</cx:pt>
          <cx:pt idx="91308">1</cx:pt>
          <cx:pt idx="91309">2</cx:pt>
          <cx:pt idx="91310">4</cx:pt>
          <cx:pt idx="91311">3</cx:pt>
          <cx:pt idx="91312">2</cx:pt>
          <cx:pt idx="91313">4</cx:pt>
          <cx:pt idx="91314">4</cx:pt>
          <cx:pt idx="91315">2</cx:pt>
          <cx:pt idx="91316">2</cx:pt>
          <cx:pt idx="91317">5</cx:pt>
          <cx:pt idx="91318">3</cx:pt>
          <cx:pt idx="91319">4</cx:pt>
          <cx:pt idx="91320">3</cx:pt>
          <cx:pt idx="91321">5</cx:pt>
          <cx:pt idx="91322">2</cx:pt>
          <cx:pt idx="91323">3</cx:pt>
          <cx:pt idx="91324">3</cx:pt>
          <cx:pt idx="91325">3</cx:pt>
          <cx:pt idx="91326">3</cx:pt>
          <cx:pt idx="91327">4</cx:pt>
          <cx:pt idx="91328">3</cx:pt>
          <cx:pt idx="91329">4</cx:pt>
          <cx:pt idx="91330">1</cx:pt>
          <cx:pt idx="91331">0</cx:pt>
          <cx:pt idx="91332">2</cx:pt>
          <cx:pt idx="91333">2</cx:pt>
          <cx:pt idx="91334">3</cx:pt>
          <cx:pt idx="91335">3</cx:pt>
          <cx:pt idx="91336">0</cx:pt>
          <cx:pt idx="91337">5</cx:pt>
          <cx:pt idx="91338">4</cx:pt>
          <cx:pt idx="91339">2</cx:pt>
          <cx:pt idx="91340">1</cx:pt>
          <cx:pt idx="91341">1</cx:pt>
          <cx:pt idx="91342">3</cx:pt>
          <cx:pt idx="91343">2</cx:pt>
          <cx:pt idx="91344">4</cx:pt>
          <cx:pt idx="91345">1</cx:pt>
          <cx:pt idx="91346">3</cx:pt>
          <cx:pt idx="91347">1</cx:pt>
          <cx:pt idx="91348">5</cx:pt>
          <cx:pt idx="91349">4</cx:pt>
          <cx:pt idx="91350">2</cx:pt>
          <cx:pt idx="91351">3</cx:pt>
          <cx:pt idx="91352">1</cx:pt>
          <cx:pt idx="91353">2</cx:pt>
          <cx:pt idx="91354">1</cx:pt>
          <cx:pt idx="91355">5</cx:pt>
          <cx:pt idx="91356">3</cx:pt>
          <cx:pt idx="91357">0</cx:pt>
          <cx:pt idx="91358">3</cx:pt>
          <cx:pt idx="91359">2</cx:pt>
          <cx:pt idx="91360">4</cx:pt>
          <cx:pt idx="91361">4</cx:pt>
          <cx:pt idx="91362">2</cx:pt>
          <cx:pt idx="91363">4</cx:pt>
          <cx:pt idx="91364">5</cx:pt>
          <cx:pt idx="91365">1</cx:pt>
          <cx:pt idx="91366">2</cx:pt>
          <cx:pt idx="91367">1</cx:pt>
          <cx:pt idx="91368">1</cx:pt>
          <cx:pt idx="91369">2</cx:pt>
          <cx:pt idx="91370">1</cx:pt>
          <cx:pt idx="91371">2</cx:pt>
          <cx:pt idx="91372">3</cx:pt>
          <cx:pt idx="91373">4</cx:pt>
          <cx:pt idx="91374">5</cx:pt>
          <cx:pt idx="91375">4</cx:pt>
          <cx:pt idx="91376">4</cx:pt>
          <cx:pt idx="91377">2</cx:pt>
          <cx:pt idx="91378">3</cx:pt>
          <cx:pt idx="91379">3</cx:pt>
          <cx:pt idx="91380">3</cx:pt>
          <cx:pt idx="91381">4</cx:pt>
          <cx:pt idx="91382">5</cx:pt>
          <cx:pt idx="91383">3</cx:pt>
          <cx:pt idx="91384">2</cx:pt>
          <cx:pt idx="91385">1</cx:pt>
          <cx:pt idx="91386">3</cx:pt>
          <cx:pt idx="91387">5</cx:pt>
          <cx:pt idx="91388">4</cx:pt>
          <cx:pt idx="91389">4</cx:pt>
          <cx:pt idx="91390">1</cx:pt>
          <cx:pt idx="91391">5</cx:pt>
          <cx:pt idx="91392">2</cx:pt>
          <cx:pt idx="91393">1</cx:pt>
          <cx:pt idx="91394">5</cx:pt>
          <cx:pt idx="91395">3</cx:pt>
          <cx:pt idx="91396">2</cx:pt>
          <cx:pt idx="91397">1</cx:pt>
          <cx:pt idx="91398">2</cx:pt>
          <cx:pt idx="91399">3</cx:pt>
          <cx:pt idx="91400">4</cx:pt>
          <cx:pt idx="91401">5</cx:pt>
          <cx:pt idx="91402">2</cx:pt>
          <cx:pt idx="91403">3</cx:pt>
          <cx:pt idx="91404">4</cx:pt>
          <cx:pt idx="91405">5</cx:pt>
          <cx:pt idx="91406">4</cx:pt>
          <cx:pt idx="91407">1</cx:pt>
          <cx:pt idx="91408">2</cx:pt>
          <cx:pt idx="91409">4</cx:pt>
          <cx:pt idx="91410">4</cx:pt>
          <cx:pt idx="91411">2</cx:pt>
          <cx:pt idx="91412">5</cx:pt>
          <cx:pt idx="91413">4</cx:pt>
          <cx:pt idx="91414">2</cx:pt>
          <cx:pt idx="91415">2</cx:pt>
          <cx:pt idx="91416">0</cx:pt>
          <cx:pt idx="91417">4</cx:pt>
          <cx:pt idx="91418">2</cx:pt>
          <cx:pt idx="91419">3</cx:pt>
          <cx:pt idx="91420">1</cx:pt>
          <cx:pt idx="91421">1</cx:pt>
          <cx:pt idx="91422">2</cx:pt>
          <cx:pt idx="91423">1</cx:pt>
          <cx:pt idx="91424">2</cx:pt>
          <cx:pt idx="91425">1</cx:pt>
          <cx:pt idx="91426">2</cx:pt>
          <cx:pt idx="91427">5</cx:pt>
          <cx:pt idx="91428">2</cx:pt>
          <cx:pt idx="91429">2</cx:pt>
          <cx:pt idx="91430">2</cx:pt>
          <cx:pt idx="91431">2</cx:pt>
          <cx:pt idx="91432">2</cx:pt>
          <cx:pt idx="91433">4</cx:pt>
          <cx:pt idx="91434">3</cx:pt>
          <cx:pt idx="91435">2</cx:pt>
          <cx:pt idx="91436">4</cx:pt>
          <cx:pt idx="91437">3</cx:pt>
          <cx:pt idx="91438">4</cx:pt>
          <cx:pt idx="91439">2</cx:pt>
          <cx:pt idx="91440">3</cx:pt>
          <cx:pt idx="91441">4</cx:pt>
          <cx:pt idx="91442">4</cx:pt>
          <cx:pt idx="91443">1</cx:pt>
          <cx:pt idx="91444">4</cx:pt>
          <cx:pt idx="91445">5</cx:pt>
          <cx:pt idx="91446">3</cx:pt>
          <cx:pt idx="91447">0</cx:pt>
          <cx:pt idx="91448">2</cx:pt>
          <cx:pt idx="91449">3</cx:pt>
          <cx:pt idx="91450">0</cx:pt>
          <cx:pt idx="91451">2</cx:pt>
          <cx:pt idx="91452">2</cx:pt>
          <cx:pt idx="91453">3</cx:pt>
          <cx:pt idx="91454">0</cx:pt>
          <cx:pt idx="91455">5</cx:pt>
          <cx:pt idx="91456">2</cx:pt>
          <cx:pt idx="91457">1</cx:pt>
          <cx:pt idx="91458">2</cx:pt>
          <cx:pt idx="91459">1</cx:pt>
          <cx:pt idx="91460">2</cx:pt>
          <cx:pt idx="91461">3</cx:pt>
          <cx:pt idx="91462">3</cx:pt>
          <cx:pt idx="91463">2</cx:pt>
          <cx:pt idx="91464">2</cx:pt>
          <cx:pt idx="91465">3</cx:pt>
          <cx:pt idx="91466">2</cx:pt>
          <cx:pt idx="91467">3</cx:pt>
          <cx:pt idx="91468">2</cx:pt>
          <cx:pt idx="91469">0</cx:pt>
          <cx:pt idx="91470">0</cx:pt>
          <cx:pt idx="91471">1</cx:pt>
          <cx:pt idx="91472">5</cx:pt>
          <cx:pt idx="91473">2</cx:pt>
          <cx:pt idx="91474">2</cx:pt>
          <cx:pt idx="91475">2</cx:pt>
          <cx:pt idx="91476">4</cx:pt>
          <cx:pt idx="91477">2</cx:pt>
          <cx:pt idx="91478">4</cx:pt>
          <cx:pt idx="91479">4</cx:pt>
          <cx:pt idx="91480">2</cx:pt>
          <cx:pt idx="91481">4</cx:pt>
          <cx:pt idx="91482">5</cx:pt>
          <cx:pt idx="91483">2</cx:pt>
          <cx:pt idx="91484">1</cx:pt>
          <cx:pt idx="91485">2</cx:pt>
          <cx:pt idx="91486">2</cx:pt>
          <cx:pt idx="91487">2</cx:pt>
          <cx:pt idx="91488">3</cx:pt>
          <cx:pt idx="91489">5</cx:pt>
          <cx:pt idx="91490">4</cx:pt>
          <cx:pt idx="91491">4</cx:pt>
          <cx:pt idx="91492">1</cx:pt>
          <cx:pt idx="91493">1</cx:pt>
          <cx:pt idx="91494">5</cx:pt>
          <cx:pt idx="91495">2</cx:pt>
          <cx:pt idx="91496">4</cx:pt>
          <cx:pt idx="91497">3</cx:pt>
          <cx:pt idx="91498">3</cx:pt>
          <cx:pt idx="91499">2</cx:pt>
          <cx:pt idx="91500">5</cx:pt>
          <cx:pt idx="91501">4</cx:pt>
          <cx:pt idx="91502">1</cx:pt>
          <cx:pt idx="91503">4</cx:pt>
          <cx:pt idx="91504">4</cx:pt>
          <cx:pt idx="91505">4</cx:pt>
          <cx:pt idx="91506">2</cx:pt>
          <cx:pt idx="91507">2</cx:pt>
          <cx:pt idx="91508">2</cx:pt>
          <cx:pt idx="91509">3</cx:pt>
          <cx:pt idx="91510">1</cx:pt>
          <cx:pt idx="91511">4</cx:pt>
          <cx:pt idx="91512">2</cx:pt>
          <cx:pt idx="91513">3</cx:pt>
          <cx:pt idx="91514">3</cx:pt>
          <cx:pt idx="91515">2</cx:pt>
          <cx:pt idx="91516">2</cx:pt>
          <cx:pt idx="91517">3</cx:pt>
          <cx:pt idx="91518">3</cx:pt>
          <cx:pt idx="91519">2</cx:pt>
          <cx:pt idx="91520">2</cx:pt>
          <cx:pt idx="91521">5</cx:pt>
          <cx:pt idx="91522">3</cx:pt>
          <cx:pt idx="91523">1</cx:pt>
          <cx:pt idx="91524">3</cx:pt>
          <cx:pt idx="91525">1</cx:pt>
          <cx:pt idx="91526">0</cx:pt>
          <cx:pt idx="91527">3</cx:pt>
          <cx:pt idx="91528">3</cx:pt>
          <cx:pt idx="91529">1</cx:pt>
          <cx:pt idx="91530">2</cx:pt>
          <cx:pt idx="91531">3</cx:pt>
          <cx:pt idx="91532">2</cx:pt>
          <cx:pt idx="91533">2</cx:pt>
          <cx:pt idx="91534">2</cx:pt>
          <cx:pt idx="91535">2</cx:pt>
          <cx:pt idx="91536">5</cx:pt>
          <cx:pt idx="91537">3</cx:pt>
          <cx:pt idx="91538">5</cx:pt>
          <cx:pt idx="91539">5</cx:pt>
          <cx:pt idx="91540">2</cx:pt>
          <cx:pt idx="91541">3</cx:pt>
          <cx:pt idx="91542">1</cx:pt>
          <cx:pt idx="91543">5</cx:pt>
          <cx:pt idx="91544">2</cx:pt>
          <cx:pt idx="91545">2</cx:pt>
          <cx:pt idx="91546">1</cx:pt>
          <cx:pt idx="91547">4</cx:pt>
          <cx:pt idx="91548">4</cx:pt>
          <cx:pt idx="91549">2</cx:pt>
          <cx:pt idx="91550">1</cx:pt>
          <cx:pt idx="91551">4</cx:pt>
          <cx:pt idx="91552">2</cx:pt>
          <cx:pt idx="91553">3</cx:pt>
          <cx:pt idx="91554">2</cx:pt>
          <cx:pt idx="91555">3</cx:pt>
          <cx:pt idx="91556">5</cx:pt>
          <cx:pt idx="91557">4</cx:pt>
          <cx:pt idx="91558">2</cx:pt>
          <cx:pt idx="91559">2</cx:pt>
          <cx:pt idx="91560">4</cx:pt>
          <cx:pt idx="91561">3</cx:pt>
          <cx:pt idx="91562">1</cx:pt>
          <cx:pt idx="91563">1</cx:pt>
          <cx:pt idx="91564">4</cx:pt>
          <cx:pt idx="91565">2</cx:pt>
          <cx:pt idx="91566">2</cx:pt>
          <cx:pt idx="91567">4</cx:pt>
          <cx:pt idx="91568">2</cx:pt>
          <cx:pt idx="91569">3</cx:pt>
          <cx:pt idx="91570">4</cx:pt>
          <cx:pt idx="91571">4</cx:pt>
          <cx:pt idx="91572">5</cx:pt>
          <cx:pt idx="91573">4</cx:pt>
          <cx:pt idx="91574">4</cx:pt>
          <cx:pt idx="91575">5</cx:pt>
          <cx:pt idx="91576">3</cx:pt>
          <cx:pt idx="91577">2</cx:pt>
          <cx:pt idx="91578">5</cx:pt>
          <cx:pt idx="91579">2</cx:pt>
          <cx:pt idx="91580">0</cx:pt>
          <cx:pt idx="91581">2</cx:pt>
          <cx:pt idx="91582">2</cx:pt>
          <cx:pt idx="91583">2</cx:pt>
          <cx:pt idx="91584">5</cx:pt>
          <cx:pt idx="91585">1</cx:pt>
          <cx:pt idx="91586">2</cx:pt>
          <cx:pt idx="91587">3</cx:pt>
          <cx:pt idx="91588">3</cx:pt>
          <cx:pt idx="91589">4</cx:pt>
          <cx:pt idx="91590">5</cx:pt>
          <cx:pt idx="91591">5</cx:pt>
          <cx:pt idx="91592">1</cx:pt>
          <cx:pt idx="91593">2</cx:pt>
          <cx:pt idx="91594">4</cx:pt>
          <cx:pt idx="91595">4</cx:pt>
          <cx:pt idx="91596">4</cx:pt>
          <cx:pt idx="91597">1</cx:pt>
          <cx:pt idx="91598">4</cx:pt>
          <cx:pt idx="91599">3</cx:pt>
          <cx:pt idx="91600">4</cx:pt>
          <cx:pt idx="91601">3</cx:pt>
          <cx:pt idx="91602">4</cx:pt>
          <cx:pt idx="91603">5</cx:pt>
          <cx:pt idx="91604">5</cx:pt>
          <cx:pt idx="91605">4</cx:pt>
          <cx:pt idx="91606">4</cx:pt>
          <cx:pt idx="91607">3</cx:pt>
          <cx:pt idx="91608">4</cx:pt>
          <cx:pt idx="91609">3</cx:pt>
          <cx:pt idx="91610">1</cx:pt>
          <cx:pt idx="91611">4</cx:pt>
          <cx:pt idx="91612">2</cx:pt>
          <cx:pt idx="91613">2</cx:pt>
          <cx:pt idx="91614">5</cx:pt>
          <cx:pt idx="91615">4</cx:pt>
          <cx:pt idx="91616">5</cx:pt>
          <cx:pt idx="91617">4</cx:pt>
          <cx:pt idx="91618">5</cx:pt>
          <cx:pt idx="91619">1</cx:pt>
          <cx:pt idx="91620">2</cx:pt>
          <cx:pt idx="91621">5</cx:pt>
          <cx:pt idx="91622">3</cx:pt>
          <cx:pt idx="91623">2</cx:pt>
          <cx:pt idx="91624">2</cx:pt>
          <cx:pt idx="91625">5</cx:pt>
          <cx:pt idx="91626">5</cx:pt>
          <cx:pt idx="91627">3</cx:pt>
          <cx:pt idx="91628">2</cx:pt>
          <cx:pt idx="91629">2</cx:pt>
          <cx:pt idx="91630">1</cx:pt>
          <cx:pt idx="91631">2</cx:pt>
          <cx:pt idx="91632">4</cx:pt>
          <cx:pt idx="91633">5</cx:pt>
          <cx:pt idx="91634">0</cx:pt>
          <cx:pt idx="91635">5</cx:pt>
          <cx:pt idx="91636">4</cx:pt>
          <cx:pt idx="91637">4</cx:pt>
          <cx:pt idx="91638">3</cx:pt>
          <cx:pt idx="91639">5</cx:pt>
          <cx:pt idx="91640">4</cx:pt>
          <cx:pt idx="91641">2</cx:pt>
          <cx:pt idx="91642">2</cx:pt>
          <cx:pt idx="91643">5</cx:pt>
          <cx:pt idx="91644">2</cx:pt>
          <cx:pt idx="91645">2</cx:pt>
          <cx:pt idx="91646">5</cx:pt>
          <cx:pt idx="91647">3</cx:pt>
          <cx:pt idx="91648">1</cx:pt>
          <cx:pt idx="91649">3</cx:pt>
          <cx:pt idx="91650">3</cx:pt>
          <cx:pt idx="91651">2</cx:pt>
          <cx:pt idx="91652">4</cx:pt>
          <cx:pt idx="91653">2</cx:pt>
          <cx:pt idx="91654">0</cx:pt>
          <cx:pt idx="91655">4</cx:pt>
          <cx:pt idx="91656">3</cx:pt>
          <cx:pt idx="91657">1</cx:pt>
          <cx:pt idx="91658">2</cx:pt>
          <cx:pt idx="91659">3</cx:pt>
          <cx:pt idx="91660">3</cx:pt>
          <cx:pt idx="91661">2</cx:pt>
          <cx:pt idx="91662">4</cx:pt>
          <cx:pt idx="91663">3</cx:pt>
          <cx:pt idx="91664">2</cx:pt>
          <cx:pt idx="91665">4</cx:pt>
          <cx:pt idx="91666">4</cx:pt>
          <cx:pt idx="91667">2</cx:pt>
          <cx:pt idx="91668">2</cx:pt>
          <cx:pt idx="91669">3</cx:pt>
          <cx:pt idx="91670">1</cx:pt>
          <cx:pt idx="91671">2</cx:pt>
          <cx:pt idx="91672">2</cx:pt>
          <cx:pt idx="91673">2</cx:pt>
          <cx:pt idx="91674">0</cx:pt>
          <cx:pt idx="91675">4</cx:pt>
          <cx:pt idx="91676">3</cx:pt>
          <cx:pt idx="91677">2</cx:pt>
          <cx:pt idx="91678">4</cx:pt>
          <cx:pt idx="91679">3</cx:pt>
          <cx:pt idx="91680">1</cx:pt>
          <cx:pt idx="91681">5</cx:pt>
          <cx:pt idx="91682">2</cx:pt>
          <cx:pt idx="91683">5</cx:pt>
          <cx:pt idx="91684">1</cx:pt>
          <cx:pt idx="91685">4</cx:pt>
          <cx:pt idx="91686">1</cx:pt>
          <cx:pt idx="91687">5</cx:pt>
          <cx:pt idx="91688">4</cx:pt>
          <cx:pt idx="91689">1</cx:pt>
          <cx:pt idx="91690">5</cx:pt>
          <cx:pt idx="91691">3</cx:pt>
          <cx:pt idx="91692">3</cx:pt>
          <cx:pt idx="91693">2</cx:pt>
          <cx:pt idx="91694">3</cx:pt>
          <cx:pt idx="91695">5</cx:pt>
          <cx:pt idx="91696">1</cx:pt>
          <cx:pt idx="91697">5</cx:pt>
          <cx:pt idx="91698">4</cx:pt>
          <cx:pt idx="91699">1</cx:pt>
          <cx:pt idx="91700">1</cx:pt>
          <cx:pt idx="91701">2</cx:pt>
          <cx:pt idx="91702">0</cx:pt>
          <cx:pt idx="91703">1</cx:pt>
          <cx:pt idx="91704">5</cx:pt>
          <cx:pt idx="91705">5</cx:pt>
          <cx:pt idx="91706">0</cx:pt>
          <cx:pt idx="91707">2</cx:pt>
          <cx:pt idx="91708">1</cx:pt>
          <cx:pt idx="91709">2</cx:pt>
          <cx:pt idx="91710">1</cx:pt>
          <cx:pt idx="91711">5</cx:pt>
          <cx:pt idx="91712">5</cx:pt>
          <cx:pt idx="91713">4</cx:pt>
          <cx:pt idx="91714">1</cx:pt>
          <cx:pt idx="91715">5</cx:pt>
          <cx:pt idx="91716">5</cx:pt>
          <cx:pt idx="91717">4</cx:pt>
          <cx:pt idx="91718">0</cx:pt>
          <cx:pt idx="91719">5</cx:pt>
          <cx:pt idx="91720">0</cx:pt>
          <cx:pt idx="91721">1</cx:pt>
          <cx:pt idx="91722">3</cx:pt>
          <cx:pt idx="91723">2</cx:pt>
          <cx:pt idx="91724">4</cx:pt>
          <cx:pt idx="91725">5</cx:pt>
          <cx:pt idx="91726">3</cx:pt>
          <cx:pt idx="91727">2</cx:pt>
          <cx:pt idx="91728">4</cx:pt>
          <cx:pt idx="91729">4</cx:pt>
          <cx:pt idx="91730">3</cx:pt>
          <cx:pt idx="91731">1</cx:pt>
          <cx:pt idx="91732">4</cx:pt>
          <cx:pt idx="91733">4</cx:pt>
          <cx:pt idx="91734">3</cx:pt>
          <cx:pt idx="91735">5</cx:pt>
          <cx:pt idx="91736">2</cx:pt>
          <cx:pt idx="91737">4</cx:pt>
          <cx:pt idx="91738">1</cx:pt>
          <cx:pt idx="91739">4</cx:pt>
          <cx:pt idx="91740">0</cx:pt>
          <cx:pt idx="91741">3</cx:pt>
          <cx:pt idx="91742">2</cx:pt>
          <cx:pt idx="91743">5</cx:pt>
          <cx:pt idx="91744">3</cx:pt>
          <cx:pt idx="91745">0</cx:pt>
          <cx:pt idx="91746">5</cx:pt>
          <cx:pt idx="91747">0</cx:pt>
          <cx:pt idx="91748">1</cx:pt>
          <cx:pt idx="91749">2</cx:pt>
          <cx:pt idx="91750">5</cx:pt>
          <cx:pt idx="91751">5</cx:pt>
          <cx:pt idx="91752">2</cx:pt>
          <cx:pt idx="91753">3</cx:pt>
          <cx:pt idx="91754">1</cx:pt>
          <cx:pt idx="91755">2</cx:pt>
          <cx:pt idx="91756">1</cx:pt>
          <cx:pt idx="91757">3</cx:pt>
          <cx:pt idx="91758">2</cx:pt>
          <cx:pt idx="91759">3</cx:pt>
          <cx:pt idx="91760">3</cx:pt>
          <cx:pt idx="91761">4</cx:pt>
          <cx:pt idx="91762">2</cx:pt>
          <cx:pt idx="91763">3</cx:pt>
          <cx:pt idx="91764">3</cx:pt>
          <cx:pt idx="91765">5</cx:pt>
          <cx:pt idx="91766">4</cx:pt>
          <cx:pt idx="91767">4</cx:pt>
          <cx:pt idx="91768">4</cx:pt>
          <cx:pt idx="91769">3</cx:pt>
          <cx:pt idx="91770">2</cx:pt>
          <cx:pt idx="91771">2</cx:pt>
          <cx:pt idx="91772">3</cx:pt>
          <cx:pt idx="91773">2</cx:pt>
          <cx:pt idx="91774">5</cx:pt>
          <cx:pt idx="91775">3</cx:pt>
          <cx:pt idx="91776">4</cx:pt>
          <cx:pt idx="91777">2</cx:pt>
          <cx:pt idx="91778">2</cx:pt>
          <cx:pt idx="91779">2</cx:pt>
          <cx:pt idx="91780">2</cx:pt>
          <cx:pt idx="91781">1</cx:pt>
          <cx:pt idx="91782">4</cx:pt>
          <cx:pt idx="91783">5</cx:pt>
          <cx:pt idx="91784">3</cx:pt>
          <cx:pt idx="91785">2</cx:pt>
          <cx:pt idx="91786">4</cx:pt>
          <cx:pt idx="91787">2</cx:pt>
          <cx:pt idx="91788">1</cx:pt>
          <cx:pt idx="91789">4</cx:pt>
          <cx:pt idx="91790">3</cx:pt>
          <cx:pt idx="91791">5</cx:pt>
          <cx:pt idx="91792">1</cx:pt>
          <cx:pt idx="91793">1</cx:pt>
          <cx:pt idx="91794">4</cx:pt>
          <cx:pt idx="91795">5</cx:pt>
          <cx:pt idx="91796">3</cx:pt>
          <cx:pt idx="91797">1</cx:pt>
          <cx:pt idx="91798">2</cx:pt>
          <cx:pt idx="91799">2</cx:pt>
          <cx:pt idx="91800">4</cx:pt>
          <cx:pt idx="91801">5</cx:pt>
          <cx:pt idx="91802">2</cx:pt>
          <cx:pt idx="91803">5</cx:pt>
          <cx:pt idx="91804">5</cx:pt>
          <cx:pt idx="91805">3</cx:pt>
          <cx:pt idx="91806">2</cx:pt>
          <cx:pt idx="91807">3</cx:pt>
          <cx:pt idx="91808">1</cx:pt>
          <cx:pt idx="91809">4</cx:pt>
          <cx:pt idx="91810">4</cx:pt>
          <cx:pt idx="91811">3</cx:pt>
          <cx:pt idx="91812">3</cx:pt>
          <cx:pt idx="91813">3</cx:pt>
          <cx:pt idx="91814">4</cx:pt>
          <cx:pt idx="91815">4</cx:pt>
          <cx:pt idx="91816">1</cx:pt>
          <cx:pt idx="91817">2</cx:pt>
          <cx:pt idx="91818">2</cx:pt>
          <cx:pt idx="91819">4</cx:pt>
          <cx:pt idx="91820">2</cx:pt>
          <cx:pt idx="91821">3</cx:pt>
          <cx:pt idx="91822">3</cx:pt>
          <cx:pt idx="91823">5</cx:pt>
          <cx:pt idx="91824">3</cx:pt>
          <cx:pt idx="91825">0</cx:pt>
          <cx:pt idx="91826">4</cx:pt>
          <cx:pt idx="91827">1</cx:pt>
          <cx:pt idx="91828">2</cx:pt>
          <cx:pt idx="91829">1</cx:pt>
          <cx:pt idx="91830">3</cx:pt>
          <cx:pt idx="91831">3</cx:pt>
          <cx:pt idx="91832">2</cx:pt>
          <cx:pt idx="91833">4</cx:pt>
          <cx:pt idx="91834">1</cx:pt>
          <cx:pt idx="91835">1</cx:pt>
          <cx:pt idx="91836">5</cx:pt>
          <cx:pt idx="91837">3</cx:pt>
          <cx:pt idx="91838">2</cx:pt>
          <cx:pt idx="91839">2</cx:pt>
          <cx:pt idx="91840">2</cx:pt>
          <cx:pt idx="91841">2</cx:pt>
          <cx:pt idx="91842">1</cx:pt>
          <cx:pt idx="91843">2</cx:pt>
          <cx:pt idx="91844">2</cx:pt>
          <cx:pt idx="91845">3</cx:pt>
          <cx:pt idx="91846">4</cx:pt>
          <cx:pt idx="91847">3</cx:pt>
          <cx:pt idx="91848">4</cx:pt>
          <cx:pt idx="91849">4</cx:pt>
          <cx:pt idx="91850">4</cx:pt>
          <cx:pt idx="91851">2</cx:pt>
          <cx:pt idx="91852">4</cx:pt>
          <cx:pt idx="91853">5</cx:pt>
          <cx:pt idx="91854">3</cx:pt>
          <cx:pt idx="91855">5</cx:pt>
          <cx:pt idx="91856">2</cx:pt>
          <cx:pt idx="91857">1</cx:pt>
          <cx:pt idx="91858">1</cx:pt>
          <cx:pt idx="91859">2</cx:pt>
          <cx:pt idx="91860">5</cx:pt>
          <cx:pt idx="91861">2</cx:pt>
          <cx:pt idx="91862">4</cx:pt>
          <cx:pt idx="91863">2</cx:pt>
          <cx:pt idx="91864">0</cx:pt>
          <cx:pt idx="91865">4</cx:pt>
          <cx:pt idx="91866">2</cx:pt>
          <cx:pt idx="91867">0</cx:pt>
          <cx:pt idx="91868">4</cx:pt>
          <cx:pt idx="91869">4</cx:pt>
          <cx:pt idx="91870">3</cx:pt>
          <cx:pt idx="91871">4</cx:pt>
          <cx:pt idx="91872">1</cx:pt>
          <cx:pt idx="91873">2</cx:pt>
          <cx:pt idx="91874">3</cx:pt>
          <cx:pt idx="91875">4</cx:pt>
          <cx:pt idx="91876">2</cx:pt>
          <cx:pt idx="91877">5</cx:pt>
          <cx:pt idx="91878">2</cx:pt>
          <cx:pt idx="91879">3</cx:pt>
          <cx:pt idx="91880">1</cx:pt>
          <cx:pt idx="91881">2</cx:pt>
          <cx:pt idx="91882">5</cx:pt>
          <cx:pt idx="91883">1</cx:pt>
          <cx:pt idx="91884">2</cx:pt>
          <cx:pt idx="91885">3</cx:pt>
          <cx:pt idx="91886">1</cx:pt>
          <cx:pt idx="91887">5</cx:pt>
          <cx:pt idx="91888">3</cx:pt>
          <cx:pt idx="91889">3</cx:pt>
          <cx:pt idx="91890">0</cx:pt>
          <cx:pt idx="91891">3</cx:pt>
          <cx:pt idx="91892">3</cx:pt>
          <cx:pt idx="91893">4</cx:pt>
          <cx:pt idx="91894">3</cx:pt>
          <cx:pt idx="91895">4</cx:pt>
          <cx:pt idx="91896">1</cx:pt>
          <cx:pt idx="91897">3</cx:pt>
          <cx:pt idx="91898">3</cx:pt>
          <cx:pt idx="91899">4</cx:pt>
          <cx:pt idx="91900">5</cx:pt>
          <cx:pt idx="91901">4</cx:pt>
          <cx:pt idx="91902">1</cx:pt>
          <cx:pt idx="91903">4</cx:pt>
          <cx:pt idx="91904">4</cx:pt>
          <cx:pt idx="91905">2</cx:pt>
          <cx:pt idx="91906">5</cx:pt>
          <cx:pt idx="91907">1</cx:pt>
          <cx:pt idx="91908">3</cx:pt>
          <cx:pt idx="91909">1</cx:pt>
          <cx:pt idx="91910">4</cx:pt>
          <cx:pt idx="91911">2</cx:pt>
          <cx:pt idx="91912">1</cx:pt>
          <cx:pt idx="91913">4</cx:pt>
          <cx:pt idx="91914">2</cx:pt>
          <cx:pt idx="91915">2</cx:pt>
          <cx:pt idx="91916">3</cx:pt>
          <cx:pt idx="91917">2</cx:pt>
          <cx:pt idx="91918">5</cx:pt>
          <cx:pt idx="91919">3</cx:pt>
          <cx:pt idx="91920">3</cx:pt>
          <cx:pt idx="91921">1</cx:pt>
          <cx:pt idx="91922">4</cx:pt>
          <cx:pt idx="91923">0</cx:pt>
          <cx:pt idx="91924">1</cx:pt>
          <cx:pt idx="91925">3</cx:pt>
          <cx:pt idx="91926">4</cx:pt>
          <cx:pt idx="91927">2</cx:pt>
          <cx:pt idx="91928">0</cx:pt>
          <cx:pt idx="91929">5</cx:pt>
          <cx:pt idx="91930">5</cx:pt>
          <cx:pt idx="91931">4</cx:pt>
          <cx:pt idx="91932">0</cx:pt>
          <cx:pt idx="91933">4</cx:pt>
          <cx:pt idx="91934">3</cx:pt>
          <cx:pt idx="91935">5</cx:pt>
          <cx:pt idx="91936">4</cx:pt>
          <cx:pt idx="91937">2</cx:pt>
          <cx:pt idx="91938">3</cx:pt>
          <cx:pt idx="91939">1</cx:pt>
          <cx:pt idx="91940">2</cx:pt>
          <cx:pt idx="91941">1</cx:pt>
          <cx:pt idx="91942">1</cx:pt>
          <cx:pt idx="91943">3</cx:pt>
          <cx:pt idx="91944">3</cx:pt>
          <cx:pt idx="91945">4</cx:pt>
          <cx:pt idx="91946">2</cx:pt>
          <cx:pt idx="91947">0</cx:pt>
          <cx:pt idx="91948">4</cx:pt>
          <cx:pt idx="91949">0</cx:pt>
          <cx:pt idx="91950">4</cx:pt>
          <cx:pt idx="91951">4</cx:pt>
          <cx:pt idx="91952">3</cx:pt>
          <cx:pt idx="91953">5</cx:pt>
          <cx:pt idx="91954">2</cx:pt>
          <cx:pt idx="91955">1</cx:pt>
          <cx:pt idx="91956">1</cx:pt>
          <cx:pt idx="91957">1</cx:pt>
          <cx:pt idx="91958">1</cx:pt>
          <cx:pt idx="91959">3</cx:pt>
          <cx:pt idx="91960">5</cx:pt>
          <cx:pt idx="91961">3</cx:pt>
          <cx:pt idx="91962">5</cx:pt>
          <cx:pt idx="91963">4</cx:pt>
          <cx:pt idx="91964">3</cx:pt>
          <cx:pt idx="91965">4</cx:pt>
          <cx:pt idx="91966">2</cx:pt>
          <cx:pt idx="91967">5</cx:pt>
          <cx:pt idx="91968">3</cx:pt>
          <cx:pt idx="91969">5</cx:pt>
          <cx:pt idx="91970">4</cx:pt>
          <cx:pt idx="91971">3</cx:pt>
          <cx:pt idx="91972">1</cx:pt>
          <cx:pt idx="91973">5</cx:pt>
          <cx:pt idx="91974">4</cx:pt>
          <cx:pt idx="91975">2</cx:pt>
          <cx:pt idx="91976">2</cx:pt>
          <cx:pt idx="91977">4</cx:pt>
          <cx:pt idx="91978">4</cx:pt>
          <cx:pt idx="91979">3</cx:pt>
          <cx:pt idx="91980">1</cx:pt>
          <cx:pt idx="91981">0</cx:pt>
          <cx:pt idx="91982">3</cx:pt>
          <cx:pt idx="91983">2</cx:pt>
          <cx:pt idx="91984">1</cx:pt>
          <cx:pt idx="91985">3</cx:pt>
          <cx:pt idx="91986">1</cx:pt>
          <cx:pt idx="91987">2</cx:pt>
          <cx:pt idx="91988">3</cx:pt>
          <cx:pt idx="91989">3</cx:pt>
          <cx:pt idx="91990">3</cx:pt>
          <cx:pt idx="91991">2</cx:pt>
          <cx:pt idx="91992">1</cx:pt>
          <cx:pt idx="91993">4</cx:pt>
          <cx:pt idx="91994">4</cx:pt>
          <cx:pt idx="91995">4</cx:pt>
          <cx:pt idx="91996">2</cx:pt>
          <cx:pt idx="91997">2</cx:pt>
          <cx:pt idx="91998">5</cx:pt>
          <cx:pt idx="91999">1</cx:pt>
          <cx:pt idx="92000">4</cx:pt>
          <cx:pt idx="92001">3</cx:pt>
          <cx:pt idx="92002">3</cx:pt>
          <cx:pt idx="92003">2</cx:pt>
          <cx:pt idx="92004">4</cx:pt>
          <cx:pt idx="92005">4</cx:pt>
          <cx:pt idx="92006">3</cx:pt>
          <cx:pt idx="92007">4</cx:pt>
          <cx:pt idx="92008">4</cx:pt>
          <cx:pt idx="92009">3</cx:pt>
          <cx:pt idx="92010">5</cx:pt>
          <cx:pt idx="92011">3</cx:pt>
          <cx:pt idx="92012">5</cx:pt>
          <cx:pt idx="92013">3</cx:pt>
          <cx:pt idx="92014">1</cx:pt>
          <cx:pt idx="92015">4</cx:pt>
          <cx:pt idx="92016">4</cx:pt>
          <cx:pt idx="92017">4</cx:pt>
          <cx:pt idx="92018">2</cx:pt>
          <cx:pt idx="92019">3</cx:pt>
          <cx:pt idx="92020">2</cx:pt>
          <cx:pt idx="92021">1</cx:pt>
          <cx:pt idx="92022">4</cx:pt>
          <cx:pt idx="92023">0</cx:pt>
          <cx:pt idx="92024">3</cx:pt>
          <cx:pt idx="92025">4</cx:pt>
          <cx:pt idx="92026">2</cx:pt>
          <cx:pt idx="92027">3</cx:pt>
          <cx:pt idx="92028">3</cx:pt>
          <cx:pt idx="92029">3</cx:pt>
          <cx:pt idx="92030">4</cx:pt>
          <cx:pt idx="92031">2</cx:pt>
          <cx:pt idx="92032">3</cx:pt>
          <cx:pt idx="92033">3</cx:pt>
          <cx:pt idx="92034">5</cx:pt>
          <cx:pt idx="92035">5</cx:pt>
          <cx:pt idx="92036">2</cx:pt>
          <cx:pt idx="92037">5</cx:pt>
          <cx:pt idx="92038">4</cx:pt>
          <cx:pt idx="92039">1</cx:pt>
          <cx:pt idx="92040">3</cx:pt>
          <cx:pt idx="92041">1</cx:pt>
          <cx:pt idx="92042">3</cx:pt>
          <cx:pt idx="92043">2</cx:pt>
          <cx:pt idx="92044">3</cx:pt>
          <cx:pt idx="92045">2</cx:pt>
          <cx:pt idx="92046">4</cx:pt>
          <cx:pt idx="92047">1</cx:pt>
          <cx:pt idx="92048">3</cx:pt>
          <cx:pt idx="92049">5</cx:pt>
          <cx:pt idx="92050">2</cx:pt>
          <cx:pt idx="92051">4</cx:pt>
          <cx:pt idx="92052">1</cx:pt>
          <cx:pt idx="92053">4</cx:pt>
          <cx:pt idx="92054">4</cx:pt>
          <cx:pt idx="92055">4</cx:pt>
          <cx:pt idx="92056">5</cx:pt>
          <cx:pt idx="92057">5</cx:pt>
          <cx:pt idx="92058">1</cx:pt>
          <cx:pt idx="92059">3</cx:pt>
          <cx:pt idx="92060">3</cx:pt>
          <cx:pt idx="92061">5</cx:pt>
          <cx:pt idx="92062">3</cx:pt>
          <cx:pt idx="92063">3</cx:pt>
          <cx:pt idx="92064">2</cx:pt>
          <cx:pt idx="92065">3</cx:pt>
          <cx:pt idx="92066">1</cx:pt>
          <cx:pt idx="92067">2</cx:pt>
          <cx:pt idx="92068">1</cx:pt>
          <cx:pt idx="92069">2</cx:pt>
          <cx:pt idx="92070">5</cx:pt>
          <cx:pt idx="92071">1</cx:pt>
          <cx:pt idx="92072">1</cx:pt>
          <cx:pt idx="92073">1</cx:pt>
          <cx:pt idx="92074">4</cx:pt>
          <cx:pt idx="92075">2</cx:pt>
          <cx:pt idx="92076">1</cx:pt>
          <cx:pt idx="92077">4</cx:pt>
          <cx:pt idx="92078">5</cx:pt>
          <cx:pt idx="92079">2</cx:pt>
          <cx:pt idx="92080">4</cx:pt>
          <cx:pt idx="92081">4</cx:pt>
          <cx:pt idx="92082">4</cx:pt>
          <cx:pt idx="92083">1</cx:pt>
          <cx:pt idx="92084">1</cx:pt>
          <cx:pt idx="92085">1</cx:pt>
          <cx:pt idx="92086">3</cx:pt>
          <cx:pt idx="92087">2</cx:pt>
          <cx:pt idx="92088">4</cx:pt>
          <cx:pt idx="92089">3</cx:pt>
          <cx:pt idx="92090">5</cx:pt>
          <cx:pt idx="92091">4</cx:pt>
          <cx:pt idx="92092">2</cx:pt>
          <cx:pt idx="92093">2</cx:pt>
          <cx:pt idx="92094">1</cx:pt>
          <cx:pt idx="92095">3</cx:pt>
          <cx:pt idx="92096">4</cx:pt>
          <cx:pt idx="92097">2</cx:pt>
          <cx:pt idx="92098">5</cx:pt>
          <cx:pt idx="92099">4</cx:pt>
          <cx:pt idx="92100">2</cx:pt>
          <cx:pt idx="92101">3</cx:pt>
          <cx:pt idx="92102">4</cx:pt>
          <cx:pt idx="92103">5</cx:pt>
          <cx:pt idx="92104">1</cx:pt>
          <cx:pt idx="92105">1</cx:pt>
          <cx:pt idx="92106">3</cx:pt>
          <cx:pt idx="92107">2</cx:pt>
          <cx:pt idx="92108">1</cx:pt>
          <cx:pt idx="92109">3</cx:pt>
          <cx:pt idx="92110">2</cx:pt>
          <cx:pt idx="92111">3</cx:pt>
          <cx:pt idx="92112">0</cx:pt>
          <cx:pt idx="92113">4</cx:pt>
          <cx:pt idx="92114">2</cx:pt>
          <cx:pt idx="92115">1</cx:pt>
          <cx:pt idx="92116">2</cx:pt>
          <cx:pt idx="92117">1</cx:pt>
          <cx:pt idx="92118">4</cx:pt>
          <cx:pt idx="92119">4</cx:pt>
          <cx:pt idx="92120">2</cx:pt>
          <cx:pt idx="92121">5</cx:pt>
          <cx:pt idx="92122">3</cx:pt>
          <cx:pt idx="92123">3</cx:pt>
          <cx:pt idx="92124">1</cx:pt>
          <cx:pt idx="92125">4</cx:pt>
          <cx:pt idx="92126">2</cx:pt>
          <cx:pt idx="92127">5</cx:pt>
          <cx:pt idx="92128">4</cx:pt>
          <cx:pt idx="92129">4</cx:pt>
          <cx:pt idx="92130">3</cx:pt>
          <cx:pt idx="92131">2</cx:pt>
          <cx:pt idx="92132">4</cx:pt>
          <cx:pt idx="92133">1</cx:pt>
          <cx:pt idx="92134">2</cx:pt>
          <cx:pt idx="92135">1</cx:pt>
          <cx:pt idx="92136">1</cx:pt>
          <cx:pt idx="92137">4</cx:pt>
          <cx:pt idx="92138">4</cx:pt>
          <cx:pt idx="92139">2</cx:pt>
          <cx:pt idx="92140">5</cx:pt>
          <cx:pt idx="92141">3</cx:pt>
          <cx:pt idx="92142">4</cx:pt>
          <cx:pt idx="92143">5</cx:pt>
          <cx:pt idx="92144">5</cx:pt>
          <cx:pt idx="92145">3</cx:pt>
          <cx:pt idx="92146">1</cx:pt>
          <cx:pt idx="92147">2</cx:pt>
          <cx:pt idx="92148">4</cx:pt>
          <cx:pt idx="92149">3</cx:pt>
          <cx:pt idx="92150">3</cx:pt>
          <cx:pt idx="92151">5</cx:pt>
          <cx:pt idx="92152">1</cx:pt>
          <cx:pt idx="92153">0</cx:pt>
          <cx:pt idx="92154">2</cx:pt>
          <cx:pt idx="92155">4</cx:pt>
          <cx:pt idx="92156">5</cx:pt>
          <cx:pt idx="92157">4</cx:pt>
          <cx:pt idx="92158">4</cx:pt>
          <cx:pt idx="92159">2</cx:pt>
          <cx:pt idx="92160">5</cx:pt>
          <cx:pt idx="92161">1</cx:pt>
          <cx:pt idx="92162">3</cx:pt>
          <cx:pt idx="92163">1</cx:pt>
          <cx:pt idx="92164">1</cx:pt>
          <cx:pt idx="92165">2</cx:pt>
          <cx:pt idx="92166">4</cx:pt>
          <cx:pt idx="92167">3</cx:pt>
          <cx:pt idx="92168">0</cx:pt>
          <cx:pt idx="92169">3</cx:pt>
          <cx:pt idx="92170">3</cx:pt>
          <cx:pt idx="92171">5</cx:pt>
          <cx:pt idx="92172">2</cx:pt>
          <cx:pt idx="92173">2</cx:pt>
          <cx:pt idx="92174">3</cx:pt>
          <cx:pt idx="92175">5</cx:pt>
          <cx:pt idx="92176">3</cx:pt>
          <cx:pt idx="92177">4</cx:pt>
          <cx:pt idx="92178">3</cx:pt>
          <cx:pt idx="92179">5</cx:pt>
          <cx:pt idx="92180">3</cx:pt>
          <cx:pt idx="92181">3</cx:pt>
          <cx:pt idx="92182">0</cx:pt>
          <cx:pt idx="92183">4</cx:pt>
          <cx:pt idx="92184">0</cx:pt>
          <cx:pt idx="92185">2</cx:pt>
          <cx:pt idx="92186">3</cx:pt>
          <cx:pt idx="92187">5</cx:pt>
          <cx:pt idx="92188">1</cx:pt>
          <cx:pt idx="92189">1</cx:pt>
          <cx:pt idx="92190">1</cx:pt>
          <cx:pt idx="92191">5</cx:pt>
          <cx:pt idx="92192">4</cx:pt>
          <cx:pt idx="92193">1</cx:pt>
          <cx:pt idx="92194">2</cx:pt>
          <cx:pt idx="92195">1</cx:pt>
          <cx:pt idx="92196">5</cx:pt>
          <cx:pt idx="92197">5</cx:pt>
          <cx:pt idx="92198">2</cx:pt>
          <cx:pt idx="92199">4</cx:pt>
          <cx:pt idx="92200">5</cx:pt>
          <cx:pt idx="92201">1</cx:pt>
          <cx:pt idx="92202">3</cx:pt>
          <cx:pt idx="92203">2</cx:pt>
          <cx:pt idx="92204">3</cx:pt>
          <cx:pt idx="92205">3</cx:pt>
          <cx:pt idx="92206">2</cx:pt>
          <cx:pt idx="92207">3</cx:pt>
          <cx:pt idx="92208">1</cx:pt>
          <cx:pt idx="92209">1</cx:pt>
          <cx:pt idx="92210">3</cx:pt>
          <cx:pt idx="92211">5</cx:pt>
          <cx:pt idx="92212">4</cx:pt>
          <cx:pt idx="92213">3</cx:pt>
          <cx:pt idx="92214">1</cx:pt>
          <cx:pt idx="92215">0</cx:pt>
          <cx:pt idx="92216">2</cx:pt>
          <cx:pt idx="92217">4</cx:pt>
          <cx:pt idx="92218">3</cx:pt>
          <cx:pt idx="92219">2</cx:pt>
          <cx:pt idx="92220">4</cx:pt>
          <cx:pt idx="92221">2</cx:pt>
          <cx:pt idx="92222">2</cx:pt>
          <cx:pt idx="92223">2</cx:pt>
          <cx:pt idx="92224">0</cx:pt>
          <cx:pt idx="92225">5</cx:pt>
          <cx:pt idx="92226">4</cx:pt>
          <cx:pt idx="92227">5</cx:pt>
          <cx:pt idx="92228">4</cx:pt>
          <cx:pt idx="92229">3</cx:pt>
          <cx:pt idx="92230">4</cx:pt>
          <cx:pt idx="92231">2</cx:pt>
          <cx:pt idx="92232">2</cx:pt>
          <cx:pt idx="92233">4</cx:pt>
          <cx:pt idx="92234">5</cx:pt>
          <cx:pt idx="92235">4</cx:pt>
          <cx:pt idx="92236">2</cx:pt>
          <cx:pt idx="92237">2</cx:pt>
          <cx:pt idx="92238">1</cx:pt>
          <cx:pt idx="92239">4</cx:pt>
          <cx:pt idx="92240">4</cx:pt>
          <cx:pt idx="92241">2</cx:pt>
          <cx:pt idx="92242">3</cx:pt>
          <cx:pt idx="92243">3</cx:pt>
          <cx:pt idx="92244">2</cx:pt>
          <cx:pt idx="92245">1</cx:pt>
          <cx:pt idx="92246">4</cx:pt>
          <cx:pt idx="92247">2</cx:pt>
          <cx:pt idx="92248">4</cx:pt>
          <cx:pt idx="92249">3</cx:pt>
          <cx:pt idx="92250">1</cx:pt>
          <cx:pt idx="92251">2</cx:pt>
          <cx:pt idx="92252">2</cx:pt>
          <cx:pt idx="92253">3</cx:pt>
          <cx:pt idx="92254">4</cx:pt>
          <cx:pt idx="92255">3</cx:pt>
          <cx:pt idx="92256">2</cx:pt>
          <cx:pt idx="92257">1</cx:pt>
          <cx:pt idx="92258">2</cx:pt>
          <cx:pt idx="92259">1</cx:pt>
          <cx:pt idx="92260">3</cx:pt>
          <cx:pt idx="92261">1</cx:pt>
          <cx:pt idx="92262">3</cx:pt>
          <cx:pt idx="92263">2</cx:pt>
          <cx:pt idx="92264">4</cx:pt>
          <cx:pt idx="92265">1</cx:pt>
          <cx:pt idx="92266">3</cx:pt>
          <cx:pt idx="92267">5</cx:pt>
          <cx:pt idx="92268">2</cx:pt>
          <cx:pt idx="92269">4</cx:pt>
          <cx:pt idx="92270">2</cx:pt>
          <cx:pt idx="92271">3</cx:pt>
          <cx:pt idx="92272">1</cx:pt>
          <cx:pt idx="92273">4</cx:pt>
          <cx:pt idx="92274">4</cx:pt>
          <cx:pt idx="92275">1</cx:pt>
          <cx:pt idx="92276">2</cx:pt>
          <cx:pt idx="92277">2</cx:pt>
          <cx:pt idx="92278">5</cx:pt>
          <cx:pt idx="92279">3</cx:pt>
          <cx:pt idx="92280">5</cx:pt>
          <cx:pt idx="92281">5</cx:pt>
          <cx:pt idx="92282">4</cx:pt>
          <cx:pt idx="92283">3</cx:pt>
          <cx:pt idx="92284">1</cx:pt>
          <cx:pt idx="92285">4</cx:pt>
          <cx:pt idx="92286">5</cx:pt>
          <cx:pt idx="92287">4</cx:pt>
          <cx:pt idx="92288">2</cx:pt>
          <cx:pt idx="92289">2</cx:pt>
          <cx:pt idx="92290">5</cx:pt>
          <cx:pt idx="92291">2</cx:pt>
          <cx:pt idx="92292">0</cx:pt>
          <cx:pt idx="92293">4</cx:pt>
          <cx:pt idx="92294">2</cx:pt>
          <cx:pt idx="92295">3</cx:pt>
          <cx:pt idx="92296">3</cx:pt>
          <cx:pt idx="92297">1</cx:pt>
          <cx:pt idx="92298">3</cx:pt>
          <cx:pt idx="92299">3</cx:pt>
          <cx:pt idx="92300">5</cx:pt>
          <cx:pt idx="92301">5</cx:pt>
          <cx:pt idx="92302">3</cx:pt>
          <cx:pt idx="92303">3</cx:pt>
          <cx:pt idx="92304">4</cx:pt>
          <cx:pt idx="92305">3</cx:pt>
          <cx:pt idx="92306">3</cx:pt>
          <cx:pt idx="92307">2</cx:pt>
          <cx:pt idx="92308">1</cx:pt>
          <cx:pt idx="92309">5</cx:pt>
          <cx:pt idx="92310">5</cx:pt>
          <cx:pt idx="92311">4</cx:pt>
          <cx:pt idx="92312">1</cx:pt>
          <cx:pt idx="92313">4</cx:pt>
          <cx:pt idx="92314">3</cx:pt>
          <cx:pt idx="92315">2</cx:pt>
          <cx:pt idx="92316">0</cx:pt>
          <cx:pt idx="92317">3</cx:pt>
          <cx:pt idx="92318">3</cx:pt>
          <cx:pt idx="92319">5</cx:pt>
          <cx:pt idx="92320">2</cx:pt>
          <cx:pt idx="92321">3</cx:pt>
          <cx:pt idx="92322">0</cx:pt>
          <cx:pt idx="92323">1</cx:pt>
          <cx:pt idx="92324">2</cx:pt>
          <cx:pt idx="92325">3</cx:pt>
          <cx:pt idx="92326">3</cx:pt>
          <cx:pt idx="92327">2</cx:pt>
          <cx:pt idx="92328">3</cx:pt>
          <cx:pt idx="92329">4</cx:pt>
          <cx:pt idx="92330">2</cx:pt>
          <cx:pt idx="92331">3</cx:pt>
          <cx:pt idx="92332">3</cx:pt>
          <cx:pt idx="92333">2</cx:pt>
          <cx:pt idx="92334">1</cx:pt>
          <cx:pt idx="92335">4</cx:pt>
          <cx:pt idx="92336">4</cx:pt>
          <cx:pt idx="92337">4</cx:pt>
          <cx:pt idx="92338">2</cx:pt>
          <cx:pt idx="92339">1</cx:pt>
          <cx:pt idx="92340">4</cx:pt>
          <cx:pt idx="92341">2</cx:pt>
          <cx:pt idx="92342">4</cx:pt>
          <cx:pt idx="92343">4</cx:pt>
          <cx:pt idx="92344">4</cx:pt>
          <cx:pt idx="92345">4</cx:pt>
          <cx:pt idx="92346">3</cx:pt>
          <cx:pt idx="92347">1</cx:pt>
          <cx:pt idx="92348">2</cx:pt>
          <cx:pt idx="92349">3</cx:pt>
          <cx:pt idx="92350">3</cx:pt>
          <cx:pt idx="92351">3</cx:pt>
          <cx:pt idx="92352">4</cx:pt>
          <cx:pt idx="92353">4</cx:pt>
          <cx:pt idx="92354">4</cx:pt>
          <cx:pt idx="92355">1</cx:pt>
          <cx:pt idx="92356">4</cx:pt>
          <cx:pt idx="92357">2</cx:pt>
          <cx:pt idx="92358">5</cx:pt>
          <cx:pt idx="92359">1</cx:pt>
          <cx:pt idx="92360">3</cx:pt>
          <cx:pt idx="92361">5</cx:pt>
          <cx:pt idx="92362">0</cx:pt>
          <cx:pt idx="92363">4</cx:pt>
          <cx:pt idx="92364">2</cx:pt>
          <cx:pt idx="92365">2</cx:pt>
          <cx:pt idx="92366">3</cx:pt>
          <cx:pt idx="92367">0</cx:pt>
          <cx:pt idx="92368">3</cx:pt>
          <cx:pt idx="92369">1</cx:pt>
          <cx:pt idx="92370">2</cx:pt>
          <cx:pt idx="92371">3</cx:pt>
          <cx:pt idx="92372">3</cx:pt>
          <cx:pt idx="92373">2</cx:pt>
          <cx:pt idx="92374">2</cx:pt>
          <cx:pt idx="92375">1</cx:pt>
          <cx:pt idx="92376">2</cx:pt>
          <cx:pt idx="92377">5</cx:pt>
          <cx:pt idx="92378">1</cx:pt>
          <cx:pt idx="92379">4</cx:pt>
          <cx:pt idx="92380">2</cx:pt>
          <cx:pt idx="92381">4</cx:pt>
          <cx:pt idx="92382">3</cx:pt>
          <cx:pt idx="92383">2</cx:pt>
          <cx:pt idx="92384">2</cx:pt>
          <cx:pt idx="92385">1</cx:pt>
          <cx:pt idx="92386">3</cx:pt>
          <cx:pt idx="92387">2</cx:pt>
          <cx:pt idx="92388">3</cx:pt>
          <cx:pt idx="92389">2</cx:pt>
          <cx:pt idx="92390">5</cx:pt>
          <cx:pt idx="92391">3</cx:pt>
          <cx:pt idx="92392">4</cx:pt>
          <cx:pt idx="92393">4</cx:pt>
          <cx:pt idx="92394">1</cx:pt>
          <cx:pt idx="92395">2</cx:pt>
          <cx:pt idx="92396">3</cx:pt>
          <cx:pt idx="92397">1</cx:pt>
          <cx:pt idx="92398">3</cx:pt>
          <cx:pt idx="92399">3</cx:pt>
          <cx:pt idx="92400">5</cx:pt>
          <cx:pt idx="92401">3</cx:pt>
          <cx:pt idx="92402">5</cx:pt>
          <cx:pt idx="92403">2</cx:pt>
          <cx:pt idx="92404">3</cx:pt>
          <cx:pt idx="92405">1</cx:pt>
          <cx:pt idx="92406">3</cx:pt>
          <cx:pt idx="92407">2</cx:pt>
          <cx:pt idx="92408">2</cx:pt>
          <cx:pt idx="92409">2</cx:pt>
          <cx:pt idx="92410">1</cx:pt>
          <cx:pt idx="92411">4</cx:pt>
          <cx:pt idx="92412">3</cx:pt>
          <cx:pt idx="92413">2</cx:pt>
          <cx:pt idx="92414">4</cx:pt>
          <cx:pt idx="92415">2</cx:pt>
          <cx:pt idx="92416">5</cx:pt>
          <cx:pt idx="92417">3</cx:pt>
          <cx:pt idx="92418">1</cx:pt>
          <cx:pt idx="92419">2</cx:pt>
          <cx:pt idx="92420">1</cx:pt>
          <cx:pt idx="92421">5</cx:pt>
          <cx:pt idx="92422">4</cx:pt>
          <cx:pt idx="92423">3</cx:pt>
          <cx:pt idx="92424">2</cx:pt>
          <cx:pt idx="92425">3</cx:pt>
          <cx:pt idx="92426">2</cx:pt>
          <cx:pt idx="92427">5</cx:pt>
          <cx:pt idx="92428">1</cx:pt>
          <cx:pt idx="92429">3</cx:pt>
          <cx:pt idx="92430">1</cx:pt>
          <cx:pt idx="92431">3</cx:pt>
          <cx:pt idx="92432">3</cx:pt>
          <cx:pt idx="92433">3</cx:pt>
          <cx:pt idx="92434">2</cx:pt>
          <cx:pt idx="92435">5</cx:pt>
          <cx:pt idx="92436">5</cx:pt>
          <cx:pt idx="92437">2</cx:pt>
          <cx:pt idx="92438">0</cx:pt>
          <cx:pt idx="92439">1</cx:pt>
          <cx:pt idx="92440">2</cx:pt>
          <cx:pt idx="92441">1</cx:pt>
          <cx:pt idx="92442">4</cx:pt>
          <cx:pt idx="92443">3</cx:pt>
          <cx:pt idx="92444">2</cx:pt>
          <cx:pt idx="92445">2</cx:pt>
          <cx:pt idx="92446">2</cx:pt>
          <cx:pt idx="92447">2</cx:pt>
          <cx:pt idx="92448">3</cx:pt>
          <cx:pt idx="92449">2</cx:pt>
          <cx:pt idx="92450">1</cx:pt>
          <cx:pt idx="92451">3</cx:pt>
          <cx:pt idx="92452">2</cx:pt>
          <cx:pt idx="92453">5</cx:pt>
          <cx:pt idx="92454">2</cx:pt>
          <cx:pt idx="92455">2</cx:pt>
          <cx:pt idx="92456">4</cx:pt>
          <cx:pt idx="92457">1</cx:pt>
          <cx:pt idx="92458">0</cx:pt>
          <cx:pt idx="92459">3</cx:pt>
          <cx:pt idx="92460">4</cx:pt>
          <cx:pt idx="92461">2</cx:pt>
          <cx:pt idx="92462">3</cx:pt>
          <cx:pt idx="92463">4</cx:pt>
          <cx:pt idx="92464">2</cx:pt>
          <cx:pt idx="92465">2</cx:pt>
          <cx:pt idx="92466">3</cx:pt>
          <cx:pt idx="92467">3</cx:pt>
          <cx:pt idx="92468">5</cx:pt>
          <cx:pt idx="92469">4</cx:pt>
          <cx:pt idx="92470">1</cx:pt>
          <cx:pt idx="92471">2</cx:pt>
          <cx:pt idx="92472">3</cx:pt>
          <cx:pt idx="92473">3</cx:pt>
          <cx:pt idx="92474">3</cx:pt>
          <cx:pt idx="92475">2</cx:pt>
          <cx:pt idx="92476">3</cx:pt>
          <cx:pt idx="92477">1</cx:pt>
          <cx:pt idx="92478">1</cx:pt>
          <cx:pt idx="92479">2</cx:pt>
          <cx:pt idx="92480">1</cx:pt>
          <cx:pt idx="92481">0</cx:pt>
          <cx:pt idx="92482">2</cx:pt>
          <cx:pt idx="92483">2</cx:pt>
          <cx:pt idx="92484">1</cx:pt>
          <cx:pt idx="92485">2</cx:pt>
          <cx:pt idx="92486">0</cx:pt>
          <cx:pt idx="92487">3</cx:pt>
          <cx:pt idx="92488">5</cx:pt>
          <cx:pt idx="92489">1</cx:pt>
          <cx:pt idx="92490">2</cx:pt>
          <cx:pt idx="92491">2</cx:pt>
          <cx:pt idx="92492">3</cx:pt>
          <cx:pt idx="92493">3</cx:pt>
          <cx:pt idx="92494">3</cx:pt>
          <cx:pt idx="92495">4</cx:pt>
          <cx:pt idx="92496">2</cx:pt>
          <cx:pt idx="92497">3</cx:pt>
          <cx:pt idx="92498">2</cx:pt>
          <cx:pt idx="92499">1</cx:pt>
          <cx:pt idx="92500">3</cx:pt>
          <cx:pt idx="92501">2</cx:pt>
          <cx:pt idx="92502">1</cx:pt>
          <cx:pt idx="92503">2</cx:pt>
          <cx:pt idx="92504">4</cx:pt>
          <cx:pt idx="92505">2</cx:pt>
          <cx:pt idx="92506">2</cx:pt>
          <cx:pt idx="92507">4</cx:pt>
          <cx:pt idx="92508">2</cx:pt>
          <cx:pt idx="92509">4</cx:pt>
          <cx:pt idx="92510">3</cx:pt>
          <cx:pt idx="92511">3</cx:pt>
          <cx:pt idx="92512">1</cx:pt>
          <cx:pt idx="92513">2</cx:pt>
          <cx:pt idx="92514">1</cx:pt>
          <cx:pt idx="92515">5</cx:pt>
          <cx:pt idx="92516">5</cx:pt>
          <cx:pt idx="92517">4</cx:pt>
          <cx:pt idx="92518">5</cx:pt>
          <cx:pt idx="92519">2</cx:pt>
          <cx:pt idx="92520">5</cx:pt>
          <cx:pt idx="92521">2</cx:pt>
          <cx:pt idx="92522">4</cx:pt>
          <cx:pt idx="92523">5</cx:pt>
          <cx:pt idx="92524">3</cx:pt>
          <cx:pt idx="92525">4</cx:pt>
          <cx:pt idx="92526">1</cx:pt>
          <cx:pt idx="92527">1</cx:pt>
          <cx:pt idx="92528">4</cx:pt>
          <cx:pt idx="92529">2</cx:pt>
          <cx:pt idx="92530">1</cx:pt>
          <cx:pt idx="92531">5</cx:pt>
          <cx:pt idx="92532">3</cx:pt>
          <cx:pt idx="92533">3</cx:pt>
          <cx:pt idx="92534">4</cx:pt>
          <cx:pt idx="92535">1</cx:pt>
          <cx:pt idx="92536">5</cx:pt>
          <cx:pt idx="92537">1</cx:pt>
          <cx:pt idx="92538">3</cx:pt>
          <cx:pt idx="92539">2</cx:pt>
          <cx:pt idx="92540">2</cx:pt>
          <cx:pt idx="92541">4</cx:pt>
          <cx:pt idx="92542">5</cx:pt>
          <cx:pt idx="92543">5</cx:pt>
          <cx:pt idx="92544">4</cx:pt>
          <cx:pt idx="92545">5</cx:pt>
          <cx:pt idx="92546">4</cx:pt>
          <cx:pt idx="92547">3</cx:pt>
          <cx:pt idx="92548">4</cx:pt>
          <cx:pt idx="92549">2</cx:pt>
          <cx:pt idx="92550">2</cx:pt>
          <cx:pt idx="92551">3</cx:pt>
          <cx:pt idx="92552">3</cx:pt>
          <cx:pt idx="92553">4</cx:pt>
          <cx:pt idx="92554">4</cx:pt>
          <cx:pt idx="92555">2</cx:pt>
          <cx:pt idx="92556">2</cx:pt>
          <cx:pt idx="92557">2</cx:pt>
          <cx:pt idx="92558">2</cx:pt>
          <cx:pt idx="92559">2</cx:pt>
          <cx:pt idx="92560">1</cx:pt>
          <cx:pt idx="92561">2</cx:pt>
          <cx:pt idx="92562">1</cx:pt>
          <cx:pt idx="92563">0</cx:pt>
          <cx:pt idx="92564">2</cx:pt>
          <cx:pt idx="92565">2</cx:pt>
          <cx:pt idx="92566">4</cx:pt>
          <cx:pt idx="92567">2</cx:pt>
          <cx:pt idx="92568">2</cx:pt>
          <cx:pt idx="92569">1</cx:pt>
          <cx:pt idx="92570">5</cx:pt>
          <cx:pt idx="92571">3</cx:pt>
          <cx:pt idx="92572">1</cx:pt>
          <cx:pt idx="92573">1</cx:pt>
          <cx:pt idx="92574">3</cx:pt>
          <cx:pt idx="92575">4</cx:pt>
          <cx:pt idx="92576">3</cx:pt>
          <cx:pt idx="92577">5</cx:pt>
          <cx:pt idx="92578">1</cx:pt>
          <cx:pt idx="92579">1</cx:pt>
          <cx:pt idx="92580">4</cx:pt>
          <cx:pt idx="92581">1</cx:pt>
          <cx:pt idx="92582">2</cx:pt>
          <cx:pt idx="92583">1</cx:pt>
          <cx:pt idx="92584">2</cx:pt>
          <cx:pt idx="92585">4</cx:pt>
          <cx:pt idx="92586">5</cx:pt>
          <cx:pt idx="92587">2</cx:pt>
          <cx:pt idx="92588">2</cx:pt>
          <cx:pt idx="92589">4</cx:pt>
          <cx:pt idx="92590">1</cx:pt>
          <cx:pt idx="92591">3</cx:pt>
          <cx:pt idx="92592">3</cx:pt>
          <cx:pt idx="92593">5</cx:pt>
          <cx:pt idx="92594">2</cx:pt>
          <cx:pt idx="92595">2</cx:pt>
          <cx:pt idx="92596">2</cx:pt>
          <cx:pt idx="92597">5</cx:pt>
          <cx:pt idx="92598">4</cx:pt>
          <cx:pt idx="92599">2</cx:pt>
          <cx:pt idx="92600">2</cx:pt>
          <cx:pt idx="92601">3</cx:pt>
          <cx:pt idx="92602">1</cx:pt>
          <cx:pt idx="92603">0</cx:pt>
          <cx:pt idx="92604">1</cx:pt>
          <cx:pt idx="92605">2</cx:pt>
          <cx:pt idx="92606">3</cx:pt>
          <cx:pt idx="92607">4</cx:pt>
          <cx:pt idx="92608">2</cx:pt>
          <cx:pt idx="92609">2</cx:pt>
          <cx:pt idx="92610">3</cx:pt>
          <cx:pt idx="92611">5</cx:pt>
          <cx:pt idx="92612">2</cx:pt>
          <cx:pt idx="92613">5</cx:pt>
          <cx:pt idx="92614">4</cx:pt>
          <cx:pt idx="92615">1</cx:pt>
          <cx:pt idx="92616">5</cx:pt>
          <cx:pt idx="92617">3</cx:pt>
          <cx:pt idx="92618">1</cx:pt>
          <cx:pt idx="92619">2</cx:pt>
          <cx:pt idx="92620">3</cx:pt>
          <cx:pt idx="92621">2</cx:pt>
          <cx:pt idx="92622">5</cx:pt>
          <cx:pt idx="92623">2</cx:pt>
          <cx:pt idx="92624">3</cx:pt>
          <cx:pt idx="92625">2</cx:pt>
          <cx:pt idx="92626">3</cx:pt>
          <cx:pt idx="92627">4</cx:pt>
          <cx:pt idx="92628">3</cx:pt>
          <cx:pt idx="92629">1</cx:pt>
          <cx:pt idx="92630">2</cx:pt>
          <cx:pt idx="92631">3</cx:pt>
          <cx:pt idx="92632">3</cx:pt>
          <cx:pt idx="92633">2</cx:pt>
          <cx:pt idx="92634">4</cx:pt>
          <cx:pt idx="92635">3</cx:pt>
          <cx:pt idx="92636">3</cx:pt>
          <cx:pt idx="92637">3</cx:pt>
          <cx:pt idx="92638">2</cx:pt>
          <cx:pt idx="92639">1</cx:pt>
          <cx:pt idx="92640">4</cx:pt>
          <cx:pt idx="92641">4</cx:pt>
          <cx:pt idx="92642">1</cx:pt>
          <cx:pt idx="92643">3</cx:pt>
          <cx:pt idx="92644">4</cx:pt>
          <cx:pt idx="92645">5</cx:pt>
          <cx:pt idx="92646">3</cx:pt>
          <cx:pt idx="92647">3</cx:pt>
          <cx:pt idx="92648">3</cx:pt>
          <cx:pt idx="92649">2</cx:pt>
          <cx:pt idx="92650">3</cx:pt>
          <cx:pt idx="92651">2</cx:pt>
          <cx:pt idx="92652">1</cx:pt>
          <cx:pt idx="92653">3</cx:pt>
          <cx:pt idx="92654">3</cx:pt>
          <cx:pt idx="92655">3</cx:pt>
          <cx:pt idx="92656">4</cx:pt>
          <cx:pt idx="92657">4</cx:pt>
          <cx:pt idx="92658">2</cx:pt>
          <cx:pt idx="92659">4</cx:pt>
          <cx:pt idx="92660">2</cx:pt>
          <cx:pt idx="92661">2</cx:pt>
          <cx:pt idx="92662">3</cx:pt>
          <cx:pt idx="92663">2</cx:pt>
          <cx:pt idx="92664">2</cx:pt>
          <cx:pt idx="92665">5</cx:pt>
          <cx:pt idx="92666">3</cx:pt>
          <cx:pt idx="92667">4</cx:pt>
          <cx:pt idx="92668">1</cx:pt>
          <cx:pt idx="92669">3</cx:pt>
          <cx:pt idx="92670">0</cx:pt>
          <cx:pt idx="92671">1</cx:pt>
          <cx:pt idx="92672">1</cx:pt>
          <cx:pt idx="92673">1</cx:pt>
          <cx:pt idx="92674">2</cx:pt>
          <cx:pt idx="92675">4</cx:pt>
          <cx:pt idx="92676">4</cx:pt>
          <cx:pt idx="92677">1</cx:pt>
          <cx:pt idx="92678">2</cx:pt>
          <cx:pt idx="92679">2</cx:pt>
          <cx:pt idx="92680">4</cx:pt>
          <cx:pt idx="92681">2</cx:pt>
          <cx:pt idx="92682">2</cx:pt>
          <cx:pt idx="92683">2</cx:pt>
          <cx:pt idx="92684">3</cx:pt>
          <cx:pt idx="92685">2</cx:pt>
          <cx:pt idx="92686">3</cx:pt>
          <cx:pt idx="92687">3</cx:pt>
          <cx:pt idx="92688">1</cx:pt>
          <cx:pt idx="92689">3</cx:pt>
          <cx:pt idx="92690">4</cx:pt>
          <cx:pt idx="92691">1</cx:pt>
          <cx:pt idx="92692">3</cx:pt>
          <cx:pt idx="92693">2</cx:pt>
          <cx:pt idx="92694">5</cx:pt>
          <cx:pt idx="92695">3</cx:pt>
          <cx:pt idx="92696">1</cx:pt>
          <cx:pt idx="92697">3</cx:pt>
          <cx:pt idx="92698">3</cx:pt>
          <cx:pt idx="92699">2</cx:pt>
          <cx:pt idx="92700">2</cx:pt>
          <cx:pt idx="92701">1</cx:pt>
          <cx:pt idx="92702">2</cx:pt>
          <cx:pt idx="92703">4</cx:pt>
          <cx:pt idx="92704">2</cx:pt>
          <cx:pt idx="92705">4</cx:pt>
          <cx:pt idx="92706">5</cx:pt>
          <cx:pt idx="92707">2</cx:pt>
          <cx:pt idx="92708">4</cx:pt>
          <cx:pt idx="92709">2</cx:pt>
          <cx:pt idx="92710">5</cx:pt>
          <cx:pt idx="92711">2</cx:pt>
          <cx:pt idx="92712">3</cx:pt>
          <cx:pt idx="92713">5</cx:pt>
          <cx:pt idx="92714">2</cx:pt>
          <cx:pt idx="92715">1</cx:pt>
          <cx:pt idx="92716">4</cx:pt>
          <cx:pt idx="92717">1</cx:pt>
          <cx:pt idx="92718">3</cx:pt>
          <cx:pt idx="92719">5</cx:pt>
          <cx:pt idx="92720">5</cx:pt>
          <cx:pt idx="92721">4</cx:pt>
          <cx:pt idx="92722">4</cx:pt>
          <cx:pt idx="92723">2</cx:pt>
          <cx:pt idx="92724">4</cx:pt>
          <cx:pt idx="92725">4</cx:pt>
          <cx:pt idx="92726">1</cx:pt>
          <cx:pt idx="92727">4</cx:pt>
          <cx:pt idx="92728">1</cx:pt>
          <cx:pt idx="92729">0</cx:pt>
          <cx:pt idx="92730">2</cx:pt>
          <cx:pt idx="92731">2</cx:pt>
          <cx:pt idx="92732">4</cx:pt>
          <cx:pt idx="92733">1</cx:pt>
          <cx:pt idx="92734">3</cx:pt>
          <cx:pt idx="92735">3</cx:pt>
          <cx:pt idx="92736">3</cx:pt>
          <cx:pt idx="92737">3</cx:pt>
          <cx:pt idx="92738">1</cx:pt>
          <cx:pt idx="92739">4</cx:pt>
          <cx:pt idx="92740">5</cx:pt>
          <cx:pt idx="92741">1</cx:pt>
          <cx:pt idx="92742">3</cx:pt>
          <cx:pt idx="92743">2</cx:pt>
          <cx:pt idx="92744">1</cx:pt>
          <cx:pt idx="92745">4</cx:pt>
          <cx:pt idx="92746">2</cx:pt>
          <cx:pt idx="92747">3</cx:pt>
          <cx:pt idx="92748">3</cx:pt>
          <cx:pt idx="92749">1</cx:pt>
          <cx:pt idx="92750">3</cx:pt>
          <cx:pt idx="92751">5</cx:pt>
          <cx:pt idx="92752">4</cx:pt>
          <cx:pt idx="92753">3</cx:pt>
          <cx:pt idx="92754">5</cx:pt>
          <cx:pt idx="92755">5</cx:pt>
          <cx:pt idx="92756">1</cx:pt>
          <cx:pt idx="92757">4</cx:pt>
          <cx:pt idx="92758">4</cx:pt>
          <cx:pt idx="92759">2</cx:pt>
          <cx:pt idx="92760">4</cx:pt>
          <cx:pt idx="92761">3</cx:pt>
          <cx:pt idx="92762">5</cx:pt>
          <cx:pt idx="92763">3</cx:pt>
          <cx:pt idx="92764">1</cx:pt>
          <cx:pt idx="92765">1</cx:pt>
          <cx:pt idx="92766">5</cx:pt>
          <cx:pt idx="92767">5</cx:pt>
          <cx:pt idx="92768">5</cx:pt>
          <cx:pt idx="92769">4</cx:pt>
          <cx:pt idx="92770">1</cx:pt>
          <cx:pt idx="92771">2</cx:pt>
          <cx:pt idx="92772">4</cx:pt>
          <cx:pt idx="92773">4</cx:pt>
          <cx:pt idx="92774">1</cx:pt>
          <cx:pt idx="92775">0</cx:pt>
          <cx:pt idx="92776">3</cx:pt>
          <cx:pt idx="92777">1</cx:pt>
          <cx:pt idx="92778">2</cx:pt>
          <cx:pt idx="92779">3</cx:pt>
          <cx:pt idx="92780">4</cx:pt>
          <cx:pt idx="92781">3</cx:pt>
          <cx:pt idx="92782">2</cx:pt>
          <cx:pt idx="92783">3</cx:pt>
          <cx:pt idx="92784">1</cx:pt>
          <cx:pt idx="92785">1</cx:pt>
          <cx:pt idx="92786">1</cx:pt>
          <cx:pt idx="92787">2</cx:pt>
          <cx:pt idx="92788">5</cx:pt>
          <cx:pt idx="92789">3</cx:pt>
          <cx:pt idx="92790">2</cx:pt>
          <cx:pt idx="92791">2</cx:pt>
          <cx:pt idx="92792">0</cx:pt>
          <cx:pt idx="92793">0</cx:pt>
          <cx:pt idx="92794">5</cx:pt>
          <cx:pt idx="92795">1</cx:pt>
          <cx:pt idx="92796">1</cx:pt>
          <cx:pt idx="92797">3</cx:pt>
          <cx:pt idx="92798">3</cx:pt>
          <cx:pt idx="92799">2</cx:pt>
          <cx:pt idx="92800">1</cx:pt>
          <cx:pt idx="92801">5</cx:pt>
          <cx:pt idx="92802">1</cx:pt>
          <cx:pt idx="92803">1</cx:pt>
          <cx:pt idx="92804">0</cx:pt>
          <cx:pt idx="92805">5</cx:pt>
          <cx:pt idx="92806">1</cx:pt>
          <cx:pt idx="92807">1</cx:pt>
          <cx:pt idx="92808">1</cx:pt>
          <cx:pt idx="92809">2</cx:pt>
          <cx:pt idx="92810">1</cx:pt>
          <cx:pt idx="92811">2</cx:pt>
          <cx:pt idx="92812">2</cx:pt>
          <cx:pt idx="92813">5</cx:pt>
          <cx:pt idx="92814">3</cx:pt>
          <cx:pt idx="92815">4</cx:pt>
          <cx:pt idx="92816">1</cx:pt>
          <cx:pt idx="92817">1</cx:pt>
          <cx:pt idx="92818">1</cx:pt>
          <cx:pt idx="92819">5</cx:pt>
          <cx:pt idx="92820">2</cx:pt>
          <cx:pt idx="92821">4</cx:pt>
          <cx:pt idx="92822">3</cx:pt>
          <cx:pt idx="92823">1</cx:pt>
          <cx:pt idx="92824">2</cx:pt>
          <cx:pt idx="92825">3</cx:pt>
          <cx:pt idx="92826">4</cx:pt>
          <cx:pt idx="92827">5</cx:pt>
          <cx:pt idx="92828">2</cx:pt>
          <cx:pt idx="92829">4</cx:pt>
          <cx:pt idx="92830">2</cx:pt>
          <cx:pt idx="92831">1</cx:pt>
          <cx:pt idx="92832">2</cx:pt>
          <cx:pt idx="92833">3</cx:pt>
          <cx:pt idx="92834">1</cx:pt>
          <cx:pt idx="92835">3</cx:pt>
          <cx:pt idx="92836">3</cx:pt>
          <cx:pt idx="92837">3</cx:pt>
          <cx:pt idx="92838">4</cx:pt>
          <cx:pt idx="92839">5</cx:pt>
          <cx:pt idx="92840">2</cx:pt>
          <cx:pt idx="92841">1</cx:pt>
          <cx:pt idx="92842">2</cx:pt>
          <cx:pt idx="92843">1</cx:pt>
          <cx:pt idx="92844">2</cx:pt>
          <cx:pt idx="92845">1</cx:pt>
          <cx:pt idx="92846">5</cx:pt>
          <cx:pt idx="92847">3</cx:pt>
          <cx:pt idx="92848">2</cx:pt>
          <cx:pt idx="92849">1</cx:pt>
          <cx:pt idx="92850">3</cx:pt>
          <cx:pt idx="92851">3</cx:pt>
          <cx:pt idx="92852">1</cx:pt>
          <cx:pt idx="92853">2</cx:pt>
          <cx:pt idx="92854">3</cx:pt>
          <cx:pt idx="92855">2</cx:pt>
          <cx:pt idx="92856">1</cx:pt>
          <cx:pt idx="92857">2</cx:pt>
          <cx:pt idx="92858">2</cx:pt>
          <cx:pt idx="92859">3</cx:pt>
          <cx:pt idx="92860">0</cx:pt>
          <cx:pt idx="92861">0</cx:pt>
          <cx:pt idx="92862">3</cx:pt>
          <cx:pt idx="92863">3</cx:pt>
          <cx:pt idx="92864">3</cx:pt>
          <cx:pt idx="92865">1</cx:pt>
          <cx:pt idx="92866">2</cx:pt>
          <cx:pt idx="92867">3</cx:pt>
          <cx:pt idx="92868">4</cx:pt>
          <cx:pt idx="92869">3</cx:pt>
          <cx:pt idx="92870">1</cx:pt>
          <cx:pt idx="92871">2</cx:pt>
          <cx:pt idx="92872">1</cx:pt>
          <cx:pt idx="92873">4</cx:pt>
          <cx:pt idx="92874">5</cx:pt>
          <cx:pt idx="92875">3</cx:pt>
          <cx:pt idx="92876">3</cx:pt>
          <cx:pt idx="92877">1</cx:pt>
          <cx:pt idx="92878">5</cx:pt>
          <cx:pt idx="92879">4</cx:pt>
          <cx:pt idx="92880">4</cx:pt>
          <cx:pt idx="92881">3</cx:pt>
          <cx:pt idx="92882">1</cx:pt>
          <cx:pt idx="92883">1</cx:pt>
          <cx:pt idx="92884">5</cx:pt>
          <cx:pt idx="92885">3</cx:pt>
          <cx:pt idx="92886">1</cx:pt>
          <cx:pt idx="92887">2</cx:pt>
          <cx:pt idx="92888">1</cx:pt>
          <cx:pt idx="92889">2</cx:pt>
          <cx:pt idx="92890">4</cx:pt>
          <cx:pt idx="92891">2</cx:pt>
          <cx:pt idx="92892">1</cx:pt>
          <cx:pt idx="92893">1</cx:pt>
          <cx:pt idx="92894">5</cx:pt>
          <cx:pt idx="92895">3</cx:pt>
          <cx:pt idx="92896">4</cx:pt>
          <cx:pt idx="92897">0</cx:pt>
          <cx:pt idx="92898">2</cx:pt>
          <cx:pt idx="92899">1</cx:pt>
          <cx:pt idx="92900">4</cx:pt>
          <cx:pt idx="92901">5</cx:pt>
          <cx:pt idx="92902">5</cx:pt>
          <cx:pt idx="92903">1</cx:pt>
          <cx:pt idx="92904">1</cx:pt>
          <cx:pt idx="92905">5</cx:pt>
          <cx:pt idx="92906">2</cx:pt>
          <cx:pt idx="92907">2</cx:pt>
          <cx:pt idx="92908">5</cx:pt>
          <cx:pt idx="92909">4</cx:pt>
          <cx:pt idx="92910">1</cx:pt>
          <cx:pt idx="92911">5</cx:pt>
          <cx:pt idx="92912">1</cx:pt>
          <cx:pt idx="92913">0</cx:pt>
          <cx:pt idx="92914">3</cx:pt>
          <cx:pt idx="92915">3</cx:pt>
          <cx:pt idx="92916">5</cx:pt>
          <cx:pt idx="92917">4</cx:pt>
          <cx:pt idx="92918">2</cx:pt>
          <cx:pt idx="92919">4</cx:pt>
          <cx:pt idx="92920">3</cx:pt>
          <cx:pt idx="92921">2</cx:pt>
          <cx:pt idx="92922">3</cx:pt>
          <cx:pt idx="92923">2</cx:pt>
          <cx:pt idx="92924">4</cx:pt>
          <cx:pt idx="92925">2</cx:pt>
          <cx:pt idx="92926">1</cx:pt>
          <cx:pt idx="92927">3</cx:pt>
          <cx:pt idx="92928">2</cx:pt>
          <cx:pt idx="92929">3</cx:pt>
          <cx:pt idx="92930">2</cx:pt>
          <cx:pt idx="92931">4</cx:pt>
          <cx:pt idx="92932">3</cx:pt>
          <cx:pt idx="92933">1</cx:pt>
          <cx:pt idx="92934">4</cx:pt>
          <cx:pt idx="92935">1</cx:pt>
          <cx:pt idx="92936">2</cx:pt>
          <cx:pt idx="92937">3</cx:pt>
          <cx:pt idx="92938">1</cx:pt>
          <cx:pt idx="92939">5</cx:pt>
          <cx:pt idx="92940">0</cx:pt>
          <cx:pt idx="92941">3</cx:pt>
          <cx:pt idx="92942">2</cx:pt>
          <cx:pt idx="92943">2</cx:pt>
          <cx:pt idx="92944">5</cx:pt>
          <cx:pt idx="92945">2</cx:pt>
          <cx:pt idx="92946">1</cx:pt>
          <cx:pt idx="92947">2</cx:pt>
          <cx:pt idx="92948">0</cx:pt>
          <cx:pt idx="92949">1</cx:pt>
          <cx:pt idx="92950">5</cx:pt>
          <cx:pt idx="92951">2</cx:pt>
          <cx:pt idx="92952">5</cx:pt>
          <cx:pt idx="92953">4</cx:pt>
          <cx:pt idx="92954">2</cx:pt>
          <cx:pt idx="92955">5</cx:pt>
          <cx:pt idx="92956">3</cx:pt>
          <cx:pt idx="92957">4</cx:pt>
          <cx:pt idx="92958">3</cx:pt>
          <cx:pt idx="92959">2</cx:pt>
          <cx:pt idx="92960">3</cx:pt>
          <cx:pt idx="92961">3</cx:pt>
          <cx:pt idx="92962">1</cx:pt>
          <cx:pt idx="92963">4</cx:pt>
          <cx:pt idx="92964">2</cx:pt>
          <cx:pt idx="92965">5</cx:pt>
          <cx:pt idx="92966">2</cx:pt>
          <cx:pt idx="92967">1</cx:pt>
          <cx:pt idx="92968">2</cx:pt>
          <cx:pt idx="92969">3</cx:pt>
          <cx:pt idx="92970">4</cx:pt>
          <cx:pt idx="92971">3</cx:pt>
          <cx:pt idx="92972">2</cx:pt>
          <cx:pt idx="92973">3</cx:pt>
          <cx:pt idx="92974">5</cx:pt>
          <cx:pt idx="92975">4</cx:pt>
          <cx:pt idx="92976">3</cx:pt>
          <cx:pt idx="92977">2</cx:pt>
          <cx:pt idx="92978">5</cx:pt>
          <cx:pt idx="92979">2</cx:pt>
          <cx:pt idx="92980">3</cx:pt>
          <cx:pt idx="92981">3</cx:pt>
          <cx:pt idx="92982">3</cx:pt>
          <cx:pt idx="92983">5</cx:pt>
          <cx:pt idx="92984">4</cx:pt>
          <cx:pt idx="92985">4</cx:pt>
          <cx:pt idx="92986">2</cx:pt>
          <cx:pt idx="92987">2</cx:pt>
          <cx:pt idx="92988">3</cx:pt>
          <cx:pt idx="92989">5</cx:pt>
          <cx:pt idx="92990">5</cx:pt>
          <cx:pt idx="92991">1</cx:pt>
          <cx:pt idx="92992">3</cx:pt>
          <cx:pt idx="92993">5</cx:pt>
          <cx:pt idx="92994">2</cx:pt>
          <cx:pt idx="92995">4</cx:pt>
          <cx:pt idx="92996">2</cx:pt>
          <cx:pt idx="92997">2</cx:pt>
          <cx:pt idx="92998">3</cx:pt>
          <cx:pt idx="92999">3</cx:pt>
          <cx:pt idx="93000">2</cx:pt>
          <cx:pt idx="93001">2</cx:pt>
          <cx:pt idx="93002">5</cx:pt>
          <cx:pt idx="93003">1</cx:pt>
          <cx:pt idx="93004">5</cx:pt>
          <cx:pt idx="93005">3</cx:pt>
          <cx:pt idx="93006">2</cx:pt>
          <cx:pt idx="93007">5</cx:pt>
          <cx:pt idx="93008">0</cx:pt>
          <cx:pt idx="93009">3</cx:pt>
          <cx:pt idx="93010">2</cx:pt>
          <cx:pt idx="93011">1</cx:pt>
          <cx:pt idx="93012">2</cx:pt>
          <cx:pt idx="93013">3</cx:pt>
          <cx:pt idx="93014">3</cx:pt>
          <cx:pt idx="93015">3</cx:pt>
          <cx:pt idx="93016">3</cx:pt>
          <cx:pt idx="93017">3</cx:pt>
          <cx:pt idx="93018">1</cx:pt>
          <cx:pt idx="93019">2</cx:pt>
          <cx:pt idx="93020">2</cx:pt>
          <cx:pt idx="93021">5</cx:pt>
          <cx:pt idx="93022">2</cx:pt>
          <cx:pt idx="93023">2</cx:pt>
          <cx:pt idx="93024">5</cx:pt>
          <cx:pt idx="93025">4</cx:pt>
          <cx:pt idx="93026">4</cx:pt>
          <cx:pt idx="93027">4</cx:pt>
          <cx:pt idx="93028">4</cx:pt>
          <cx:pt idx="93029">2</cx:pt>
          <cx:pt idx="93030">3</cx:pt>
          <cx:pt idx="93031">2</cx:pt>
          <cx:pt idx="93032">5</cx:pt>
          <cx:pt idx="93033">1</cx:pt>
          <cx:pt idx="93034">2</cx:pt>
          <cx:pt idx="93035">4</cx:pt>
          <cx:pt idx="93036">4</cx:pt>
          <cx:pt idx="93037">0</cx:pt>
          <cx:pt idx="93038">2</cx:pt>
          <cx:pt idx="93039">2</cx:pt>
          <cx:pt idx="93040">5</cx:pt>
          <cx:pt idx="93041">5</cx:pt>
          <cx:pt idx="93042">3</cx:pt>
          <cx:pt idx="93043">2</cx:pt>
          <cx:pt idx="93044">2</cx:pt>
          <cx:pt idx="93045">0</cx:pt>
          <cx:pt idx="93046">5</cx:pt>
          <cx:pt idx="93047">1</cx:pt>
          <cx:pt idx="93048">2</cx:pt>
          <cx:pt idx="93049">5</cx:pt>
          <cx:pt idx="93050">5</cx:pt>
          <cx:pt idx="93051">2</cx:pt>
          <cx:pt idx="93052">3</cx:pt>
          <cx:pt idx="93053">0</cx:pt>
          <cx:pt idx="93054">3</cx:pt>
          <cx:pt idx="93055">1</cx:pt>
          <cx:pt idx="93056">2</cx:pt>
          <cx:pt idx="93057">2</cx:pt>
          <cx:pt idx="93058">4</cx:pt>
          <cx:pt idx="93059">2</cx:pt>
          <cx:pt idx="93060">2</cx:pt>
          <cx:pt idx="93061">3</cx:pt>
          <cx:pt idx="93062">2</cx:pt>
          <cx:pt idx="93063">2</cx:pt>
          <cx:pt idx="93064">3</cx:pt>
          <cx:pt idx="93065">3</cx:pt>
          <cx:pt idx="93066">2</cx:pt>
          <cx:pt idx="93067">3</cx:pt>
          <cx:pt idx="93068">2</cx:pt>
          <cx:pt idx="93069">4</cx:pt>
          <cx:pt idx="93070">2</cx:pt>
          <cx:pt idx="93071">3</cx:pt>
          <cx:pt idx="93072">2</cx:pt>
          <cx:pt idx="93073">3</cx:pt>
          <cx:pt idx="93074">1</cx:pt>
          <cx:pt idx="93075">5</cx:pt>
          <cx:pt idx="93076">5</cx:pt>
          <cx:pt idx="93077">4</cx:pt>
          <cx:pt idx="93078">4</cx:pt>
          <cx:pt idx="93079">1</cx:pt>
          <cx:pt idx="93080">2</cx:pt>
          <cx:pt idx="93081">3</cx:pt>
          <cx:pt idx="93082">0</cx:pt>
          <cx:pt idx="93083">3</cx:pt>
          <cx:pt idx="93084">5</cx:pt>
          <cx:pt idx="93085">1</cx:pt>
          <cx:pt idx="93086">3</cx:pt>
          <cx:pt idx="93087">4</cx:pt>
          <cx:pt idx="93088">1</cx:pt>
          <cx:pt idx="93089">4</cx:pt>
          <cx:pt idx="93090">0</cx:pt>
          <cx:pt idx="93091">2</cx:pt>
          <cx:pt idx="93092">4</cx:pt>
          <cx:pt idx="93093">1</cx:pt>
          <cx:pt idx="93094">3</cx:pt>
          <cx:pt idx="93095">3</cx:pt>
          <cx:pt idx="93096">5</cx:pt>
          <cx:pt idx="93097">3</cx:pt>
          <cx:pt idx="93098">1</cx:pt>
          <cx:pt idx="93099">3</cx:pt>
          <cx:pt idx="93100">1</cx:pt>
          <cx:pt idx="93101">4</cx:pt>
          <cx:pt idx="93102">1</cx:pt>
          <cx:pt idx="93103">2</cx:pt>
          <cx:pt idx="93104">3</cx:pt>
          <cx:pt idx="93105">3</cx:pt>
          <cx:pt idx="93106">5</cx:pt>
          <cx:pt idx="93107">3</cx:pt>
          <cx:pt idx="93108">3</cx:pt>
          <cx:pt idx="93109">2</cx:pt>
          <cx:pt idx="93110">2</cx:pt>
          <cx:pt idx="93111">3</cx:pt>
          <cx:pt idx="93112">1</cx:pt>
          <cx:pt idx="93113">4</cx:pt>
          <cx:pt idx="93114">2</cx:pt>
          <cx:pt idx="93115">4</cx:pt>
          <cx:pt idx="93116">5</cx:pt>
          <cx:pt idx="93117">2</cx:pt>
          <cx:pt idx="93118">2</cx:pt>
          <cx:pt idx="93119">2</cx:pt>
          <cx:pt idx="93120">3</cx:pt>
          <cx:pt idx="93121">2</cx:pt>
          <cx:pt idx="93122">5</cx:pt>
          <cx:pt idx="93123">5</cx:pt>
          <cx:pt idx="93124">5</cx:pt>
          <cx:pt idx="93125">3</cx:pt>
          <cx:pt idx="93126">2</cx:pt>
          <cx:pt idx="93127">4</cx:pt>
          <cx:pt idx="93128">5</cx:pt>
          <cx:pt idx="93129">5</cx:pt>
          <cx:pt idx="93130">5</cx:pt>
          <cx:pt idx="93131">3</cx:pt>
          <cx:pt idx="93132">3</cx:pt>
          <cx:pt idx="93133">3</cx:pt>
          <cx:pt idx="93134">1</cx:pt>
          <cx:pt idx="93135">3</cx:pt>
          <cx:pt idx="93136">5</cx:pt>
          <cx:pt idx="93137">4</cx:pt>
          <cx:pt idx="93138">3</cx:pt>
          <cx:pt idx="93139">4</cx:pt>
          <cx:pt idx="93140">3</cx:pt>
          <cx:pt idx="93141">1</cx:pt>
          <cx:pt idx="93142">1</cx:pt>
          <cx:pt idx="93143">4</cx:pt>
          <cx:pt idx="93144">3</cx:pt>
          <cx:pt idx="93145">3</cx:pt>
          <cx:pt idx="93146">3</cx:pt>
          <cx:pt idx="93147">5</cx:pt>
          <cx:pt idx="93148">1</cx:pt>
          <cx:pt idx="93149">0</cx:pt>
          <cx:pt idx="93150">2</cx:pt>
          <cx:pt idx="93151">4</cx:pt>
          <cx:pt idx="93152">2</cx:pt>
          <cx:pt idx="93153">4</cx:pt>
          <cx:pt idx="93154">4</cx:pt>
          <cx:pt idx="93155">4</cx:pt>
          <cx:pt idx="93156">3</cx:pt>
          <cx:pt idx="93157">2</cx:pt>
          <cx:pt idx="93158">0</cx:pt>
          <cx:pt idx="93159">4</cx:pt>
          <cx:pt idx="93160">5</cx:pt>
          <cx:pt idx="93161">2</cx:pt>
          <cx:pt idx="93162">4</cx:pt>
          <cx:pt idx="93163">1</cx:pt>
          <cx:pt idx="93164">0</cx:pt>
          <cx:pt idx="93165">1</cx:pt>
          <cx:pt idx="93166">2</cx:pt>
          <cx:pt idx="93167">1</cx:pt>
          <cx:pt idx="93168">0</cx:pt>
          <cx:pt idx="93169">2</cx:pt>
          <cx:pt idx="93170">2</cx:pt>
          <cx:pt idx="93171">4</cx:pt>
          <cx:pt idx="93172">2</cx:pt>
          <cx:pt idx="93173">0</cx:pt>
          <cx:pt idx="93174">3</cx:pt>
          <cx:pt idx="93175">2</cx:pt>
          <cx:pt idx="93176">2</cx:pt>
          <cx:pt idx="93177">3</cx:pt>
          <cx:pt idx="93178">2</cx:pt>
          <cx:pt idx="93179">2</cx:pt>
          <cx:pt idx="93180">2</cx:pt>
          <cx:pt idx="93181">2</cx:pt>
          <cx:pt idx="93182">4</cx:pt>
          <cx:pt idx="93183">1</cx:pt>
          <cx:pt idx="93184">2</cx:pt>
          <cx:pt idx="93185">1</cx:pt>
          <cx:pt idx="93186">2</cx:pt>
          <cx:pt idx="93187">1</cx:pt>
          <cx:pt idx="93188">5</cx:pt>
          <cx:pt idx="93189">2</cx:pt>
          <cx:pt idx="93190">3</cx:pt>
          <cx:pt idx="93191">2</cx:pt>
          <cx:pt idx="93192">2</cx:pt>
          <cx:pt idx="93193">3</cx:pt>
          <cx:pt idx="93194">1</cx:pt>
          <cx:pt idx="93195">5</cx:pt>
          <cx:pt idx="93196">4</cx:pt>
          <cx:pt idx="93197">1</cx:pt>
          <cx:pt idx="93198">5</cx:pt>
          <cx:pt idx="93199">1</cx:pt>
          <cx:pt idx="93200">2</cx:pt>
          <cx:pt idx="93201">3</cx:pt>
          <cx:pt idx="93202">3</cx:pt>
          <cx:pt idx="93203">3</cx:pt>
          <cx:pt idx="93204">5</cx:pt>
          <cx:pt idx="93205">3</cx:pt>
          <cx:pt idx="93206">3</cx:pt>
          <cx:pt idx="93207">2</cx:pt>
          <cx:pt idx="93208">3</cx:pt>
          <cx:pt idx="93209">1</cx:pt>
          <cx:pt idx="93210">4</cx:pt>
          <cx:pt idx="93211">0</cx:pt>
          <cx:pt idx="93212">5</cx:pt>
          <cx:pt idx="93213">4</cx:pt>
          <cx:pt idx="93214">4</cx:pt>
          <cx:pt idx="93215">3</cx:pt>
          <cx:pt idx="93216">3</cx:pt>
          <cx:pt idx="93217">2</cx:pt>
          <cx:pt idx="93218">4</cx:pt>
          <cx:pt idx="93219">3</cx:pt>
          <cx:pt idx="93220">1</cx:pt>
          <cx:pt idx="93221">4</cx:pt>
          <cx:pt idx="93222">5</cx:pt>
          <cx:pt idx="93223">5</cx:pt>
          <cx:pt idx="93224">1</cx:pt>
          <cx:pt idx="93225">5</cx:pt>
          <cx:pt idx="93226">3</cx:pt>
          <cx:pt idx="93227">2</cx:pt>
          <cx:pt idx="93228">2</cx:pt>
          <cx:pt idx="93229">3</cx:pt>
          <cx:pt idx="93230">4</cx:pt>
          <cx:pt idx="93231">1</cx:pt>
          <cx:pt idx="93232">1</cx:pt>
          <cx:pt idx="93233">5</cx:pt>
          <cx:pt idx="93234">4</cx:pt>
          <cx:pt idx="93235">3</cx:pt>
          <cx:pt idx="93236">5</cx:pt>
          <cx:pt idx="93237">1</cx:pt>
          <cx:pt idx="93238">3</cx:pt>
          <cx:pt idx="93239">1</cx:pt>
          <cx:pt idx="93240">5</cx:pt>
          <cx:pt idx="93241">1</cx:pt>
          <cx:pt idx="93242">3</cx:pt>
          <cx:pt idx="93243">2</cx:pt>
          <cx:pt idx="93244">2</cx:pt>
          <cx:pt idx="93245">3</cx:pt>
          <cx:pt idx="93246">4</cx:pt>
          <cx:pt idx="93247">4</cx:pt>
          <cx:pt idx="93248">3</cx:pt>
          <cx:pt idx="93249">4</cx:pt>
          <cx:pt idx="93250">1</cx:pt>
          <cx:pt idx="93251">5</cx:pt>
          <cx:pt idx="93252">1</cx:pt>
          <cx:pt idx="93253">4</cx:pt>
          <cx:pt idx="93254">4</cx:pt>
          <cx:pt idx="93255">1</cx:pt>
          <cx:pt idx="93256">5</cx:pt>
          <cx:pt idx="93257">5</cx:pt>
          <cx:pt idx="93258">0</cx:pt>
          <cx:pt idx="93259">4</cx:pt>
          <cx:pt idx="93260">5</cx:pt>
          <cx:pt idx="93261">4</cx:pt>
          <cx:pt idx="93262">3</cx:pt>
          <cx:pt idx="93263">2</cx:pt>
          <cx:pt idx="93264">2</cx:pt>
          <cx:pt idx="93265">1</cx:pt>
          <cx:pt idx="93266">0</cx:pt>
          <cx:pt idx="93267">3</cx:pt>
          <cx:pt idx="93268">2</cx:pt>
          <cx:pt idx="93269">3</cx:pt>
          <cx:pt idx="93270">4</cx:pt>
          <cx:pt idx="93271">5</cx:pt>
          <cx:pt idx="93272">4</cx:pt>
          <cx:pt idx="93273">4</cx:pt>
          <cx:pt idx="93274">1</cx:pt>
          <cx:pt idx="93275">4</cx:pt>
          <cx:pt idx="93276">5</cx:pt>
          <cx:pt idx="93277">1</cx:pt>
          <cx:pt idx="93278">1</cx:pt>
          <cx:pt idx="93279">3</cx:pt>
          <cx:pt idx="93280">0</cx:pt>
          <cx:pt idx="93281">3</cx:pt>
          <cx:pt idx="93282">3</cx:pt>
          <cx:pt idx="93283">2</cx:pt>
          <cx:pt idx="93284">4</cx:pt>
          <cx:pt idx="93285">4</cx:pt>
          <cx:pt idx="93286">2</cx:pt>
          <cx:pt idx="93287">4</cx:pt>
          <cx:pt idx="93288">2</cx:pt>
          <cx:pt idx="93289">1</cx:pt>
          <cx:pt idx="93290">2</cx:pt>
          <cx:pt idx="93291">4</cx:pt>
          <cx:pt idx="93292">3</cx:pt>
          <cx:pt idx="93293">4</cx:pt>
          <cx:pt idx="93294">4</cx:pt>
          <cx:pt idx="93295">3</cx:pt>
          <cx:pt idx="93296">3</cx:pt>
          <cx:pt idx="93297">3</cx:pt>
          <cx:pt idx="93298">0</cx:pt>
          <cx:pt idx="93299">1</cx:pt>
          <cx:pt idx="93300">1</cx:pt>
          <cx:pt idx="93301">2</cx:pt>
          <cx:pt idx="93302">4</cx:pt>
          <cx:pt idx="93303">1</cx:pt>
          <cx:pt idx="93304">1</cx:pt>
          <cx:pt idx="93305">2</cx:pt>
          <cx:pt idx="93306">3</cx:pt>
          <cx:pt idx="93307">5</cx:pt>
          <cx:pt idx="93308">3</cx:pt>
          <cx:pt idx="93309">3</cx:pt>
          <cx:pt idx="93310">4</cx:pt>
          <cx:pt idx="93311">1</cx:pt>
          <cx:pt idx="93312">1</cx:pt>
          <cx:pt idx="93313">1</cx:pt>
          <cx:pt idx="93314">5</cx:pt>
          <cx:pt idx="93315">3</cx:pt>
          <cx:pt idx="93316">2</cx:pt>
          <cx:pt idx="93317">1</cx:pt>
          <cx:pt idx="93318">2</cx:pt>
          <cx:pt idx="93319">2</cx:pt>
          <cx:pt idx="93320">2</cx:pt>
          <cx:pt idx="93321">4</cx:pt>
          <cx:pt idx="93322">1</cx:pt>
          <cx:pt idx="93323">3</cx:pt>
          <cx:pt idx="93324">3</cx:pt>
          <cx:pt idx="93325">4</cx:pt>
          <cx:pt idx="93326">5</cx:pt>
          <cx:pt idx="93327">2</cx:pt>
          <cx:pt idx="93328">1</cx:pt>
          <cx:pt idx="93329">1</cx:pt>
          <cx:pt idx="93330">5</cx:pt>
          <cx:pt idx="93331">2</cx:pt>
          <cx:pt idx="93332">2</cx:pt>
          <cx:pt idx="93333">5</cx:pt>
          <cx:pt idx="93334">5</cx:pt>
          <cx:pt idx="93335">3</cx:pt>
          <cx:pt idx="93336">2</cx:pt>
          <cx:pt idx="93337">2</cx:pt>
          <cx:pt idx="93338">2</cx:pt>
          <cx:pt idx="93339">5</cx:pt>
          <cx:pt idx="93340">2</cx:pt>
          <cx:pt idx="93341">1</cx:pt>
          <cx:pt idx="93342">2</cx:pt>
          <cx:pt idx="93343">1</cx:pt>
          <cx:pt idx="93344">1</cx:pt>
          <cx:pt idx="93345">1</cx:pt>
          <cx:pt idx="93346">3</cx:pt>
          <cx:pt idx="93347">2</cx:pt>
          <cx:pt idx="93348">4</cx:pt>
          <cx:pt idx="93349">4</cx:pt>
          <cx:pt idx="93350">2</cx:pt>
          <cx:pt idx="93351">2</cx:pt>
          <cx:pt idx="93352">1</cx:pt>
          <cx:pt idx="93353">3</cx:pt>
          <cx:pt idx="93354">5</cx:pt>
          <cx:pt idx="93355">2</cx:pt>
          <cx:pt idx="93356">2</cx:pt>
          <cx:pt idx="93357">5</cx:pt>
          <cx:pt idx="93358">2</cx:pt>
          <cx:pt idx="93359">4</cx:pt>
          <cx:pt idx="93360">3</cx:pt>
          <cx:pt idx="93361">5</cx:pt>
          <cx:pt idx="93362">2</cx:pt>
          <cx:pt idx="93363">1</cx:pt>
          <cx:pt idx="93364">2</cx:pt>
          <cx:pt idx="93365">2</cx:pt>
          <cx:pt idx="93366">3</cx:pt>
          <cx:pt idx="93367">4</cx:pt>
          <cx:pt idx="93368">4</cx:pt>
          <cx:pt idx="93369">2</cx:pt>
          <cx:pt idx="93370">2</cx:pt>
          <cx:pt idx="93371">5</cx:pt>
          <cx:pt idx="93372">5</cx:pt>
          <cx:pt idx="93373">4</cx:pt>
          <cx:pt idx="93374">5</cx:pt>
          <cx:pt idx="93375">5</cx:pt>
          <cx:pt idx="93376">1</cx:pt>
          <cx:pt idx="93377">4</cx:pt>
          <cx:pt idx="93378">2</cx:pt>
          <cx:pt idx="93379">4</cx:pt>
          <cx:pt idx="93380">4</cx:pt>
          <cx:pt idx="93381">2</cx:pt>
          <cx:pt idx="93382">3</cx:pt>
          <cx:pt idx="93383">3</cx:pt>
          <cx:pt idx="93384">2</cx:pt>
          <cx:pt idx="93385">2</cx:pt>
          <cx:pt idx="93386">2</cx:pt>
          <cx:pt idx="93387">3</cx:pt>
          <cx:pt idx="93388">2</cx:pt>
          <cx:pt idx="93389">1</cx:pt>
          <cx:pt idx="93390">0</cx:pt>
          <cx:pt idx="93391">4</cx:pt>
          <cx:pt idx="93392">2</cx:pt>
          <cx:pt idx="93393">1</cx:pt>
          <cx:pt idx="93394">5</cx:pt>
          <cx:pt idx="93395">4</cx:pt>
          <cx:pt idx="93396">3</cx:pt>
          <cx:pt idx="93397">3</cx:pt>
          <cx:pt idx="93398">5</cx:pt>
          <cx:pt idx="93399">3</cx:pt>
          <cx:pt idx="93400">1</cx:pt>
          <cx:pt idx="93401">2</cx:pt>
          <cx:pt idx="93402">4</cx:pt>
          <cx:pt idx="93403">4</cx:pt>
          <cx:pt idx="93404">5</cx:pt>
          <cx:pt idx="93405">2</cx:pt>
          <cx:pt idx="93406">1</cx:pt>
          <cx:pt idx="93407">3</cx:pt>
          <cx:pt idx="93408">4</cx:pt>
          <cx:pt idx="93409">2</cx:pt>
          <cx:pt idx="93410">4</cx:pt>
          <cx:pt idx="93411">2</cx:pt>
          <cx:pt idx="93412">5</cx:pt>
          <cx:pt idx="93413">3</cx:pt>
          <cx:pt idx="93414">1</cx:pt>
          <cx:pt idx="93415">2</cx:pt>
          <cx:pt idx="93416">2</cx:pt>
          <cx:pt idx="93417">3</cx:pt>
          <cx:pt idx="93418">1</cx:pt>
          <cx:pt idx="93419">3</cx:pt>
          <cx:pt idx="93420">4</cx:pt>
          <cx:pt idx="93421">3</cx:pt>
          <cx:pt idx="93422">2</cx:pt>
          <cx:pt idx="93423">2</cx:pt>
          <cx:pt idx="93424">4</cx:pt>
          <cx:pt idx="93425">5</cx:pt>
          <cx:pt idx="93426">4</cx:pt>
          <cx:pt idx="93427">2</cx:pt>
          <cx:pt idx="93428">4</cx:pt>
          <cx:pt idx="93429">4</cx:pt>
          <cx:pt idx="93430">3</cx:pt>
          <cx:pt idx="93431">1</cx:pt>
          <cx:pt idx="93432">5</cx:pt>
          <cx:pt idx="93433">4</cx:pt>
          <cx:pt idx="93434">0</cx:pt>
          <cx:pt idx="93435">2</cx:pt>
          <cx:pt idx="93436">3</cx:pt>
          <cx:pt idx="93437">2</cx:pt>
          <cx:pt idx="93438">1</cx:pt>
          <cx:pt idx="93439">3</cx:pt>
          <cx:pt idx="93440">5</cx:pt>
          <cx:pt idx="93441">2</cx:pt>
          <cx:pt idx="93442">1</cx:pt>
          <cx:pt idx="93443">4</cx:pt>
          <cx:pt idx="93444">4</cx:pt>
          <cx:pt idx="93445">5</cx:pt>
          <cx:pt idx="93446">1</cx:pt>
          <cx:pt idx="93447">5</cx:pt>
          <cx:pt idx="93448">2</cx:pt>
          <cx:pt idx="93449">2</cx:pt>
          <cx:pt idx="93450">2</cx:pt>
          <cx:pt idx="93451">3</cx:pt>
          <cx:pt idx="93452">1</cx:pt>
          <cx:pt idx="93453">4</cx:pt>
          <cx:pt idx="93454">3</cx:pt>
          <cx:pt idx="93455">2</cx:pt>
          <cx:pt idx="93456">5</cx:pt>
          <cx:pt idx="93457">3</cx:pt>
          <cx:pt idx="93458">3</cx:pt>
          <cx:pt idx="93459">3</cx:pt>
          <cx:pt idx="93460">3</cx:pt>
          <cx:pt idx="93461">5</cx:pt>
          <cx:pt idx="93462">3</cx:pt>
          <cx:pt idx="93463">4</cx:pt>
          <cx:pt idx="93464">5</cx:pt>
          <cx:pt idx="93465">2</cx:pt>
          <cx:pt idx="93466">5</cx:pt>
          <cx:pt idx="93467">4</cx:pt>
          <cx:pt idx="93468">4</cx:pt>
          <cx:pt idx="93469">4</cx:pt>
          <cx:pt idx="93470">3</cx:pt>
          <cx:pt idx="93471">3</cx:pt>
          <cx:pt idx="93472">1</cx:pt>
          <cx:pt idx="93473">2</cx:pt>
          <cx:pt idx="93474">0</cx:pt>
          <cx:pt idx="93475">5</cx:pt>
          <cx:pt idx="93476">3</cx:pt>
          <cx:pt idx="93477">5</cx:pt>
          <cx:pt idx="93478">4</cx:pt>
          <cx:pt idx="93479">2</cx:pt>
          <cx:pt idx="93480">4</cx:pt>
          <cx:pt idx="93481">1</cx:pt>
          <cx:pt idx="93482">2</cx:pt>
          <cx:pt idx="93483">2</cx:pt>
          <cx:pt idx="93484">1</cx:pt>
          <cx:pt idx="93485">5</cx:pt>
          <cx:pt idx="93486">4</cx:pt>
          <cx:pt idx="93487">3</cx:pt>
          <cx:pt idx="93488">5</cx:pt>
          <cx:pt idx="93489">1</cx:pt>
          <cx:pt idx="93490">4</cx:pt>
          <cx:pt idx="93491">2</cx:pt>
          <cx:pt idx="93492">2</cx:pt>
          <cx:pt idx="93493">5</cx:pt>
          <cx:pt idx="93494">4</cx:pt>
          <cx:pt idx="93495">2</cx:pt>
          <cx:pt idx="93496">2</cx:pt>
          <cx:pt idx="93497">3</cx:pt>
          <cx:pt idx="93498">3</cx:pt>
          <cx:pt idx="93499">2</cx:pt>
          <cx:pt idx="93500">2</cx:pt>
          <cx:pt idx="93501">1</cx:pt>
          <cx:pt idx="93502">1</cx:pt>
          <cx:pt idx="93503">2</cx:pt>
          <cx:pt idx="93504">3</cx:pt>
          <cx:pt idx="93505">2</cx:pt>
          <cx:pt idx="93506">3</cx:pt>
          <cx:pt idx="93507">4</cx:pt>
          <cx:pt idx="93508">4</cx:pt>
          <cx:pt idx="93509">4</cx:pt>
          <cx:pt idx="93510">2</cx:pt>
          <cx:pt idx="93511">5</cx:pt>
          <cx:pt idx="93512">2</cx:pt>
          <cx:pt idx="93513">5</cx:pt>
          <cx:pt idx="93514">4</cx:pt>
          <cx:pt idx="93515">4</cx:pt>
          <cx:pt idx="93516">1</cx:pt>
          <cx:pt idx="93517">2</cx:pt>
          <cx:pt idx="93518">2</cx:pt>
          <cx:pt idx="93519">3</cx:pt>
          <cx:pt idx="93520">1</cx:pt>
          <cx:pt idx="93521">4</cx:pt>
          <cx:pt idx="93522">2</cx:pt>
          <cx:pt idx="93523">3</cx:pt>
          <cx:pt idx="93524">3</cx:pt>
          <cx:pt idx="93525">3</cx:pt>
          <cx:pt idx="93526">3</cx:pt>
          <cx:pt idx="93527">4</cx:pt>
          <cx:pt idx="93528">2</cx:pt>
          <cx:pt idx="93529">5</cx:pt>
          <cx:pt idx="93530">2</cx:pt>
          <cx:pt idx="93531">0</cx:pt>
          <cx:pt idx="93532">2</cx:pt>
          <cx:pt idx="93533">3</cx:pt>
          <cx:pt idx="93534">5</cx:pt>
          <cx:pt idx="93535">4</cx:pt>
          <cx:pt idx="93536">4</cx:pt>
          <cx:pt idx="93537">1</cx:pt>
          <cx:pt idx="93538">4</cx:pt>
          <cx:pt idx="93539">4</cx:pt>
          <cx:pt idx="93540">4</cx:pt>
          <cx:pt idx="93541">4</cx:pt>
          <cx:pt idx="93542">2</cx:pt>
          <cx:pt idx="93543">2</cx:pt>
          <cx:pt idx="93544">2</cx:pt>
          <cx:pt idx="93545">3</cx:pt>
          <cx:pt idx="93546">4</cx:pt>
          <cx:pt idx="93547">5</cx:pt>
          <cx:pt idx="93548">2</cx:pt>
          <cx:pt idx="93549">5</cx:pt>
          <cx:pt idx="93550">5</cx:pt>
          <cx:pt idx="93551">2</cx:pt>
          <cx:pt idx="93552">1</cx:pt>
          <cx:pt idx="93553">3</cx:pt>
          <cx:pt idx="93554">2</cx:pt>
          <cx:pt idx="93555">2</cx:pt>
          <cx:pt idx="93556">3</cx:pt>
          <cx:pt idx="93557">1</cx:pt>
          <cx:pt idx="93558">4</cx:pt>
          <cx:pt idx="93559">3</cx:pt>
          <cx:pt idx="93560">5</cx:pt>
          <cx:pt idx="93561">2</cx:pt>
          <cx:pt idx="93562">2</cx:pt>
          <cx:pt idx="93563">4</cx:pt>
          <cx:pt idx="93564">5</cx:pt>
          <cx:pt idx="93565">2</cx:pt>
          <cx:pt idx="93566">2</cx:pt>
          <cx:pt idx="93567">2</cx:pt>
          <cx:pt idx="93568">0</cx:pt>
          <cx:pt idx="93569">2</cx:pt>
          <cx:pt idx="93570">3</cx:pt>
          <cx:pt idx="93571">1</cx:pt>
          <cx:pt idx="93572">4</cx:pt>
          <cx:pt idx="93573">1</cx:pt>
          <cx:pt idx="93574">2</cx:pt>
          <cx:pt idx="93575">4</cx:pt>
          <cx:pt idx="93576">3</cx:pt>
          <cx:pt idx="93577">3</cx:pt>
          <cx:pt idx="93578">3</cx:pt>
          <cx:pt idx="93579">4</cx:pt>
          <cx:pt idx="93580">4</cx:pt>
          <cx:pt idx="93581">3</cx:pt>
          <cx:pt idx="93582">5</cx:pt>
          <cx:pt idx="93583">3</cx:pt>
          <cx:pt idx="93584">3</cx:pt>
          <cx:pt idx="93585">4</cx:pt>
          <cx:pt idx="93586">1</cx:pt>
          <cx:pt idx="93587">5</cx:pt>
          <cx:pt idx="93588">3</cx:pt>
          <cx:pt idx="93589">2</cx:pt>
          <cx:pt idx="93590">3</cx:pt>
          <cx:pt idx="93591">2</cx:pt>
          <cx:pt idx="93592">3</cx:pt>
          <cx:pt idx="93593">3</cx:pt>
          <cx:pt idx="93594">4</cx:pt>
          <cx:pt idx="93595">2</cx:pt>
          <cx:pt idx="93596">2</cx:pt>
          <cx:pt idx="93597">3</cx:pt>
          <cx:pt idx="93598">4</cx:pt>
          <cx:pt idx="93599">4</cx:pt>
          <cx:pt idx="93600">0</cx:pt>
          <cx:pt idx="93601">4</cx:pt>
          <cx:pt idx="93602">1</cx:pt>
          <cx:pt idx="93603">2</cx:pt>
          <cx:pt idx="93604">3</cx:pt>
          <cx:pt idx="93605">2</cx:pt>
          <cx:pt idx="93606">4</cx:pt>
          <cx:pt idx="93607">1</cx:pt>
          <cx:pt idx="93608">1</cx:pt>
          <cx:pt idx="93609">3</cx:pt>
          <cx:pt idx="93610">4</cx:pt>
          <cx:pt idx="93611">5</cx:pt>
          <cx:pt idx="93612">2</cx:pt>
          <cx:pt idx="93613">2</cx:pt>
          <cx:pt idx="93614">4</cx:pt>
          <cx:pt idx="93615">3</cx:pt>
          <cx:pt idx="93616">3</cx:pt>
          <cx:pt idx="93617">5</cx:pt>
          <cx:pt idx="93618">1</cx:pt>
          <cx:pt idx="93619">3</cx:pt>
          <cx:pt idx="93620">2</cx:pt>
          <cx:pt idx="93621">4</cx:pt>
          <cx:pt idx="93622">2</cx:pt>
          <cx:pt idx="93623">2</cx:pt>
          <cx:pt idx="93624">1</cx:pt>
          <cx:pt idx="93625">5</cx:pt>
          <cx:pt idx="93626">3</cx:pt>
          <cx:pt idx="93627">5</cx:pt>
          <cx:pt idx="93628">3</cx:pt>
          <cx:pt idx="93629">2</cx:pt>
          <cx:pt idx="93630">4</cx:pt>
          <cx:pt idx="93631">3</cx:pt>
          <cx:pt idx="93632">3</cx:pt>
          <cx:pt idx="93633">1</cx:pt>
          <cx:pt idx="93634">0</cx:pt>
          <cx:pt idx="93635">4</cx:pt>
          <cx:pt idx="93636">0</cx:pt>
          <cx:pt idx="93637">0</cx:pt>
          <cx:pt idx="93638">1</cx:pt>
          <cx:pt idx="93639">0</cx:pt>
          <cx:pt idx="93640">2</cx:pt>
          <cx:pt idx="93641">5</cx:pt>
          <cx:pt idx="93642">3</cx:pt>
          <cx:pt idx="93643">5</cx:pt>
          <cx:pt idx="93644">2</cx:pt>
          <cx:pt idx="93645">5</cx:pt>
          <cx:pt idx="93646">2</cx:pt>
          <cx:pt idx="93647">4</cx:pt>
          <cx:pt idx="93648">4</cx:pt>
          <cx:pt idx="93649">4</cx:pt>
          <cx:pt idx="93650">4</cx:pt>
          <cx:pt idx="93651">4</cx:pt>
          <cx:pt idx="93652">2</cx:pt>
          <cx:pt idx="93653">5</cx:pt>
          <cx:pt idx="93654">1</cx:pt>
          <cx:pt idx="93655">5</cx:pt>
          <cx:pt idx="93656">4</cx:pt>
          <cx:pt idx="93657">1</cx:pt>
          <cx:pt idx="93658">1</cx:pt>
          <cx:pt idx="93659">2</cx:pt>
          <cx:pt idx="93660">5</cx:pt>
          <cx:pt idx="93661">3</cx:pt>
          <cx:pt idx="93662">2</cx:pt>
          <cx:pt idx="93663">3</cx:pt>
          <cx:pt idx="93664">1</cx:pt>
          <cx:pt idx="93665">5</cx:pt>
          <cx:pt idx="93666">2</cx:pt>
          <cx:pt idx="93667">1</cx:pt>
          <cx:pt idx="93668">4</cx:pt>
          <cx:pt idx="93669">2</cx:pt>
          <cx:pt idx="93670">0</cx:pt>
          <cx:pt idx="93671">2</cx:pt>
          <cx:pt idx="93672">2</cx:pt>
          <cx:pt idx="93673">3</cx:pt>
          <cx:pt idx="93674">2</cx:pt>
          <cx:pt idx="93675">5</cx:pt>
          <cx:pt idx="93676">4</cx:pt>
          <cx:pt idx="93677">2</cx:pt>
          <cx:pt idx="93678">3</cx:pt>
          <cx:pt idx="93679">1</cx:pt>
          <cx:pt idx="93680">2</cx:pt>
          <cx:pt idx="93681">1</cx:pt>
          <cx:pt idx="93682">3</cx:pt>
          <cx:pt idx="93683">0</cx:pt>
          <cx:pt idx="93684">4</cx:pt>
          <cx:pt idx="93685">3</cx:pt>
          <cx:pt idx="93686">3</cx:pt>
          <cx:pt idx="93687">1</cx:pt>
          <cx:pt idx="93688">2</cx:pt>
          <cx:pt idx="93689">2</cx:pt>
          <cx:pt idx="93690">1</cx:pt>
          <cx:pt idx="93691">2</cx:pt>
          <cx:pt idx="93692">2</cx:pt>
          <cx:pt idx="93693">5</cx:pt>
          <cx:pt idx="93694">4</cx:pt>
          <cx:pt idx="93695">2</cx:pt>
          <cx:pt idx="93696">3</cx:pt>
          <cx:pt idx="93697">4</cx:pt>
          <cx:pt idx="93698">3</cx:pt>
          <cx:pt idx="93699">1</cx:pt>
          <cx:pt idx="93700">2</cx:pt>
          <cx:pt idx="93701">3</cx:pt>
          <cx:pt idx="93702">1</cx:pt>
          <cx:pt idx="93703">5</cx:pt>
          <cx:pt idx="93704">1</cx:pt>
          <cx:pt idx="93705">2</cx:pt>
          <cx:pt idx="93706">4</cx:pt>
          <cx:pt idx="93707">2</cx:pt>
          <cx:pt idx="93708">1</cx:pt>
          <cx:pt idx="93709">2</cx:pt>
          <cx:pt idx="93710">1</cx:pt>
          <cx:pt idx="93711">4</cx:pt>
          <cx:pt idx="93712">2</cx:pt>
          <cx:pt idx="93713">4</cx:pt>
          <cx:pt idx="93714">1</cx:pt>
          <cx:pt idx="93715">2</cx:pt>
          <cx:pt idx="93716">1</cx:pt>
          <cx:pt idx="93717">3</cx:pt>
          <cx:pt idx="93718">1</cx:pt>
          <cx:pt idx="93719">1</cx:pt>
          <cx:pt idx="93720">3</cx:pt>
          <cx:pt idx="93721">2</cx:pt>
          <cx:pt idx="93722">1</cx:pt>
          <cx:pt idx="93723">4</cx:pt>
          <cx:pt idx="93724">0</cx:pt>
          <cx:pt idx="93725">2</cx:pt>
          <cx:pt idx="93726">2</cx:pt>
          <cx:pt idx="93727">4</cx:pt>
          <cx:pt idx="93728">3</cx:pt>
          <cx:pt idx="93729">2</cx:pt>
          <cx:pt idx="93730">3</cx:pt>
          <cx:pt idx="93731">2</cx:pt>
          <cx:pt idx="93732">4</cx:pt>
          <cx:pt idx="93733">2</cx:pt>
          <cx:pt idx="93734">5</cx:pt>
          <cx:pt idx="93735">3</cx:pt>
          <cx:pt idx="93736">2</cx:pt>
          <cx:pt idx="93737">1</cx:pt>
          <cx:pt idx="93738">4</cx:pt>
          <cx:pt idx="93739">2</cx:pt>
          <cx:pt idx="93740">1</cx:pt>
          <cx:pt idx="93741">2</cx:pt>
          <cx:pt idx="93742">1</cx:pt>
          <cx:pt idx="93743">3</cx:pt>
          <cx:pt idx="93744">4</cx:pt>
          <cx:pt idx="93745">4</cx:pt>
          <cx:pt idx="93746">3</cx:pt>
          <cx:pt idx="93747">1</cx:pt>
          <cx:pt idx="93748">1</cx:pt>
          <cx:pt idx="93749">1</cx:pt>
          <cx:pt idx="93750">3</cx:pt>
          <cx:pt idx="93751">1</cx:pt>
          <cx:pt idx="93752">1</cx:pt>
          <cx:pt idx="93753">0</cx:pt>
          <cx:pt idx="93754">3</cx:pt>
          <cx:pt idx="93755">2</cx:pt>
          <cx:pt idx="93756">5</cx:pt>
          <cx:pt idx="93757">4</cx:pt>
          <cx:pt idx="93758">2</cx:pt>
          <cx:pt idx="93759">3</cx:pt>
          <cx:pt idx="93760">2</cx:pt>
          <cx:pt idx="93761">2</cx:pt>
          <cx:pt idx="93762">4</cx:pt>
          <cx:pt idx="93763">4</cx:pt>
          <cx:pt idx="93764">5</cx:pt>
          <cx:pt idx="93765">3</cx:pt>
          <cx:pt idx="93766">1</cx:pt>
          <cx:pt idx="93767">4</cx:pt>
          <cx:pt idx="93768">4</cx:pt>
          <cx:pt idx="93769">3</cx:pt>
          <cx:pt idx="93770">1</cx:pt>
          <cx:pt idx="93771">1</cx:pt>
          <cx:pt idx="93772">3</cx:pt>
          <cx:pt idx="93773">2</cx:pt>
          <cx:pt idx="93774">4</cx:pt>
          <cx:pt idx="93775">3</cx:pt>
          <cx:pt idx="93776">5</cx:pt>
          <cx:pt idx="93777">2</cx:pt>
          <cx:pt idx="93778">2</cx:pt>
          <cx:pt idx="93779">1</cx:pt>
          <cx:pt idx="93780">3</cx:pt>
          <cx:pt idx="93781">5</cx:pt>
          <cx:pt idx="93782">4</cx:pt>
          <cx:pt idx="93783">1</cx:pt>
          <cx:pt idx="93784">3</cx:pt>
          <cx:pt idx="93785">5</cx:pt>
          <cx:pt idx="93786">3</cx:pt>
          <cx:pt idx="93787">0</cx:pt>
          <cx:pt idx="93788">2</cx:pt>
          <cx:pt idx="93789">4</cx:pt>
          <cx:pt idx="93790">1</cx:pt>
          <cx:pt idx="93791">3</cx:pt>
          <cx:pt idx="93792">5</cx:pt>
          <cx:pt idx="93793">3</cx:pt>
          <cx:pt idx="93794">3</cx:pt>
          <cx:pt idx="93795">0</cx:pt>
          <cx:pt idx="93796">4</cx:pt>
          <cx:pt idx="93797">2</cx:pt>
          <cx:pt idx="93798">4</cx:pt>
          <cx:pt idx="93799">5</cx:pt>
          <cx:pt idx="93800">4</cx:pt>
          <cx:pt idx="93801">2</cx:pt>
          <cx:pt idx="93802">2</cx:pt>
          <cx:pt idx="93803">4</cx:pt>
          <cx:pt idx="93804">3</cx:pt>
          <cx:pt idx="93805">1</cx:pt>
          <cx:pt idx="93806">2</cx:pt>
          <cx:pt idx="93807">3</cx:pt>
          <cx:pt idx="93808">0</cx:pt>
          <cx:pt idx="93809">5</cx:pt>
          <cx:pt idx="93810">1</cx:pt>
          <cx:pt idx="93811">4</cx:pt>
          <cx:pt idx="93812">4</cx:pt>
          <cx:pt idx="93813">3</cx:pt>
          <cx:pt idx="93814">3</cx:pt>
          <cx:pt idx="93815">5</cx:pt>
          <cx:pt idx="93816">1</cx:pt>
          <cx:pt idx="93817">4</cx:pt>
          <cx:pt idx="93818">4</cx:pt>
          <cx:pt idx="93819">3</cx:pt>
          <cx:pt idx="93820">2</cx:pt>
          <cx:pt idx="93821">4</cx:pt>
          <cx:pt idx="93822">4</cx:pt>
          <cx:pt idx="93823">3</cx:pt>
          <cx:pt idx="93824">3</cx:pt>
          <cx:pt idx="93825">3</cx:pt>
          <cx:pt idx="93826">5</cx:pt>
          <cx:pt idx="93827">3</cx:pt>
          <cx:pt idx="93828">3</cx:pt>
          <cx:pt idx="93829">2</cx:pt>
          <cx:pt idx="93830">5</cx:pt>
          <cx:pt idx="93831">5</cx:pt>
          <cx:pt idx="93832">4</cx:pt>
          <cx:pt idx="93833">3</cx:pt>
          <cx:pt idx="93834">3</cx:pt>
          <cx:pt idx="93835">4</cx:pt>
          <cx:pt idx="93836">1</cx:pt>
          <cx:pt idx="93837">3</cx:pt>
          <cx:pt idx="93838">4</cx:pt>
          <cx:pt idx="93839">2</cx:pt>
          <cx:pt idx="93840">1</cx:pt>
          <cx:pt idx="93841">4</cx:pt>
          <cx:pt idx="93842">1</cx:pt>
          <cx:pt idx="93843">0</cx:pt>
          <cx:pt idx="93844">1</cx:pt>
          <cx:pt idx="93845">3</cx:pt>
          <cx:pt idx="93846">2</cx:pt>
          <cx:pt idx="93847">5</cx:pt>
          <cx:pt idx="93848">4</cx:pt>
          <cx:pt idx="93849">3</cx:pt>
          <cx:pt idx="93850">2</cx:pt>
          <cx:pt idx="93851">3</cx:pt>
          <cx:pt idx="93852">3</cx:pt>
          <cx:pt idx="93853">5</cx:pt>
          <cx:pt idx="93854">1</cx:pt>
          <cx:pt idx="93855">2</cx:pt>
          <cx:pt idx="93856">2</cx:pt>
          <cx:pt idx="93857">4</cx:pt>
          <cx:pt idx="93858">2</cx:pt>
          <cx:pt idx="93859">1</cx:pt>
          <cx:pt idx="93860">2</cx:pt>
          <cx:pt idx="93861">4</cx:pt>
          <cx:pt idx="93862">2</cx:pt>
          <cx:pt idx="93863">2</cx:pt>
          <cx:pt idx="93864">3</cx:pt>
          <cx:pt idx="93865">5</cx:pt>
          <cx:pt idx="93866">3</cx:pt>
          <cx:pt idx="93867">2</cx:pt>
          <cx:pt idx="93868">5</cx:pt>
          <cx:pt idx="93869">1</cx:pt>
          <cx:pt idx="93870">3</cx:pt>
          <cx:pt idx="93871">3</cx:pt>
          <cx:pt idx="93872">5</cx:pt>
          <cx:pt idx="93873">2</cx:pt>
          <cx:pt idx="93874">2</cx:pt>
          <cx:pt idx="93875">1</cx:pt>
          <cx:pt idx="93876">2</cx:pt>
          <cx:pt idx="93877">2</cx:pt>
          <cx:pt idx="93878">4</cx:pt>
          <cx:pt idx="93879">2</cx:pt>
          <cx:pt idx="93880">4</cx:pt>
          <cx:pt idx="93881">2</cx:pt>
          <cx:pt idx="93882">1</cx:pt>
          <cx:pt idx="93883">2</cx:pt>
          <cx:pt idx="93884">2</cx:pt>
          <cx:pt idx="93885">3</cx:pt>
          <cx:pt idx="93886">2</cx:pt>
          <cx:pt idx="93887">5</cx:pt>
          <cx:pt idx="93888">1</cx:pt>
          <cx:pt idx="93889">2</cx:pt>
          <cx:pt idx="93890">0</cx:pt>
          <cx:pt idx="93891">1</cx:pt>
          <cx:pt idx="93892">1</cx:pt>
          <cx:pt idx="93893">3</cx:pt>
          <cx:pt idx="93894">2</cx:pt>
          <cx:pt idx="93895">5</cx:pt>
          <cx:pt idx="93896">3</cx:pt>
          <cx:pt idx="93897">5</cx:pt>
          <cx:pt idx="93898">1</cx:pt>
          <cx:pt idx="93899">1</cx:pt>
          <cx:pt idx="93900">4</cx:pt>
          <cx:pt idx="93901">2</cx:pt>
          <cx:pt idx="93902">1</cx:pt>
          <cx:pt idx="93903">3</cx:pt>
          <cx:pt idx="93904">2</cx:pt>
          <cx:pt idx="93905">3</cx:pt>
          <cx:pt idx="93906">2</cx:pt>
          <cx:pt idx="93907">2</cx:pt>
          <cx:pt idx="93908">3</cx:pt>
          <cx:pt idx="93909">1</cx:pt>
          <cx:pt idx="93910">2</cx:pt>
          <cx:pt idx="93911">1</cx:pt>
          <cx:pt idx="93912">3</cx:pt>
          <cx:pt idx="93913">1</cx:pt>
          <cx:pt idx="93914">1</cx:pt>
          <cx:pt idx="93915">3</cx:pt>
          <cx:pt idx="93916">2</cx:pt>
          <cx:pt idx="93917">3</cx:pt>
          <cx:pt idx="93918">2</cx:pt>
          <cx:pt idx="93919">5</cx:pt>
          <cx:pt idx="93920">5</cx:pt>
          <cx:pt idx="93921">2</cx:pt>
          <cx:pt idx="93922">3</cx:pt>
          <cx:pt idx="93923">3</cx:pt>
          <cx:pt idx="93924">3</cx:pt>
          <cx:pt idx="93925">3</cx:pt>
          <cx:pt idx="93926">4</cx:pt>
          <cx:pt idx="93927">2</cx:pt>
          <cx:pt idx="93928">2</cx:pt>
          <cx:pt idx="93929">2</cx:pt>
          <cx:pt idx="93930">1</cx:pt>
          <cx:pt idx="93931">2</cx:pt>
          <cx:pt idx="93932">4</cx:pt>
          <cx:pt idx="93933">2</cx:pt>
          <cx:pt idx="93934">3</cx:pt>
          <cx:pt idx="93935">2</cx:pt>
          <cx:pt idx="93936">0</cx:pt>
          <cx:pt idx="93937">2</cx:pt>
          <cx:pt idx="93938">4</cx:pt>
          <cx:pt idx="93939">4</cx:pt>
          <cx:pt idx="93940">3</cx:pt>
          <cx:pt idx="93941">1</cx:pt>
          <cx:pt idx="93942">4</cx:pt>
          <cx:pt idx="93943">1</cx:pt>
          <cx:pt idx="93944">3</cx:pt>
          <cx:pt idx="93945">1</cx:pt>
          <cx:pt idx="93946">1</cx:pt>
          <cx:pt idx="93947">2</cx:pt>
          <cx:pt idx="93948">2</cx:pt>
          <cx:pt idx="93949">3</cx:pt>
          <cx:pt idx="93950">3</cx:pt>
          <cx:pt idx="93951">3</cx:pt>
          <cx:pt idx="93952">2</cx:pt>
          <cx:pt idx="93953">2</cx:pt>
          <cx:pt idx="93954">1</cx:pt>
          <cx:pt idx="93955">3</cx:pt>
          <cx:pt idx="93956">4</cx:pt>
          <cx:pt idx="93957">2</cx:pt>
          <cx:pt idx="93958">0</cx:pt>
          <cx:pt idx="93959">3</cx:pt>
          <cx:pt idx="93960">4</cx:pt>
          <cx:pt idx="93961">1</cx:pt>
          <cx:pt idx="93962">4</cx:pt>
          <cx:pt idx="93963">3</cx:pt>
          <cx:pt idx="93964">5</cx:pt>
          <cx:pt idx="93965">3</cx:pt>
          <cx:pt idx="93966">3</cx:pt>
          <cx:pt idx="93967">2</cx:pt>
          <cx:pt idx="93968">5</cx:pt>
          <cx:pt idx="93969">2</cx:pt>
          <cx:pt idx="93970">1</cx:pt>
          <cx:pt idx="93971">5</cx:pt>
          <cx:pt idx="93972">3</cx:pt>
          <cx:pt idx="93973">2</cx:pt>
          <cx:pt idx="93974">2</cx:pt>
          <cx:pt idx="93975">1</cx:pt>
          <cx:pt idx="93976">3</cx:pt>
          <cx:pt idx="93977">1</cx:pt>
          <cx:pt idx="93978">2</cx:pt>
          <cx:pt idx="93979">3</cx:pt>
          <cx:pt idx="93980">2</cx:pt>
          <cx:pt idx="93981">2</cx:pt>
          <cx:pt idx="93982">5</cx:pt>
          <cx:pt idx="93983">3</cx:pt>
          <cx:pt idx="93984">3</cx:pt>
          <cx:pt idx="93985">1</cx:pt>
          <cx:pt idx="93986">5</cx:pt>
          <cx:pt idx="93987">1</cx:pt>
          <cx:pt idx="93988">3</cx:pt>
          <cx:pt idx="93989">5</cx:pt>
          <cx:pt idx="93990">3</cx:pt>
          <cx:pt idx="93991">3</cx:pt>
          <cx:pt idx="93992">2</cx:pt>
          <cx:pt idx="93993">1</cx:pt>
          <cx:pt idx="93994">3</cx:pt>
          <cx:pt idx="93995">5</cx:pt>
          <cx:pt idx="93996">5</cx:pt>
          <cx:pt idx="93997">1</cx:pt>
          <cx:pt idx="93998">4</cx:pt>
          <cx:pt idx="93999">4</cx:pt>
          <cx:pt idx="94000">2</cx:pt>
          <cx:pt idx="94001">2</cx:pt>
          <cx:pt idx="94002">2</cx:pt>
          <cx:pt idx="94003">3</cx:pt>
          <cx:pt idx="94004">2</cx:pt>
          <cx:pt idx="94005">2</cx:pt>
          <cx:pt idx="94006">3</cx:pt>
          <cx:pt idx="94007">5</cx:pt>
          <cx:pt idx="94008">2</cx:pt>
          <cx:pt idx="94009">1</cx:pt>
          <cx:pt idx="94010">0</cx:pt>
          <cx:pt idx="94011">3</cx:pt>
          <cx:pt idx="94012">1</cx:pt>
          <cx:pt idx="94013">3</cx:pt>
          <cx:pt idx="94014">2</cx:pt>
          <cx:pt idx="94015">2</cx:pt>
          <cx:pt idx="94016">2</cx:pt>
          <cx:pt idx="94017">4</cx:pt>
          <cx:pt idx="94018">3</cx:pt>
          <cx:pt idx="94019">1</cx:pt>
          <cx:pt idx="94020">1</cx:pt>
          <cx:pt idx="94021">4</cx:pt>
          <cx:pt idx="94022">1</cx:pt>
          <cx:pt idx="94023">0</cx:pt>
          <cx:pt idx="94024">5</cx:pt>
          <cx:pt idx="94025">1</cx:pt>
          <cx:pt idx="94026">1</cx:pt>
          <cx:pt idx="94027">2</cx:pt>
          <cx:pt idx="94028">5</cx:pt>
          <cx:pt idx="94029">4</cx:pt>
          <cx:pt idx="94030">3</cx:pt>
          <cx:pt idx="94031">2</cx:pt>
          <cx:pt idx="94032">2</cx:pt>
          <cx:pt idx="94033">2</cx:pt>
          <cx:pt idx="94034">4</cx:pt>
          <cx:pt idx="94035">2</cx:pt>
          <cx:pt idx="94036">4</cx:pt>
          <cx:pt idx="94037">3</cx:pt>
          <cx:pt idx="94038">3</cx:pt>
          <cx:pt idx="94039">0</cx:pt>
          <cx:pt idx="94040">5</cx:pt>
          <cx:pt idx="94041">3</cx:pt>
          <cx:pt idx="94042">4</cx:pt>
          <cx:pt idx="94043">4</cx:pt>
          <cx:pt idx="94044">2</cx:pt>
          <cx:pt idx="94045">4</cx:pt>
          <cx:pt idx="94046">3</cx:pt>
          <cx:pt idx="94047">2</cx:pt>
          <cx:pt idx="94048">3</cx:pt>
          <cx:pt idx="94049">3</cx:pt>
          <cx:pt idx="94050">3</cx:pt>
          <cx:pt idx="94051">5</cx:pt>
          <cx:pt idx="94052">3</cx:pt>
          <cx:pt idx="94053">1</cx:pt>
          <cx:pt idx="94054">3</cx:pt>
          <cx:pt idx="94055">3</cx:pt>
          <cx:pt idx="94056">2</cx:pt>
          <cx:pt idx="94057">3</cx:pt>
          <cx:pt idx="94058">3</cx:pt>
          <cx:pt idx="94059">0</cx:pt>
          <cx:pt idx="94060">2</cx:pt>
          <cx:pt idx="94061">0</cx:pt>
          <cx:pt idx="94062">4</cx:pt>
          <cx:pt idx="94063">4</cx:pt>
          <cx:pt idx="94064">5</cx:pt>
          <cx:pt idx="94065">5</cx:pt>
          <cx:pt idx="94066">1</cx:pt>
          <cx:pt idx="94067">2</cx:pt>
          <cx:pt idx="94068">5</cx:pt>
          <cx:pt idx="94069">3</cx:pt>
          <cx:pt idx="94070">2</cx:pt>
          <cx:pt idx="94071">2</cx:pt>
          <cx:pt idx="94072">3</cx:pt>
          <cx:pt idx="94073">2</cx:pt>
          <cx:pt idx="94074">3</cx:pt>
          <cx:pt idx="94075">4</cx:pt>
          <cx:pt idx="94076">4</cx:pt>
          <cx:pt idx="94077">3</cx:pt>
          <cx:pt idx="94078">4</cx:pt>
          <cx:pt idx="94079">2</cx:pt>
          <cx:pt idx="94080">0</cx:pt>
          <cx:pt idx="94081">3</cx:pt>
          <cx:pt idx="94082">1</cx:pt>
          <cx:pt idx="94083">3</cx:pt>
          <cx:pt idx="94084">4</cx:pt>
          <cx:pt idx="94085">3</cx:pt>
          <cx:pt idx="94086">3</cx:pt>
          <cx:pt idx="94087">3</cx:pt>
          <cx:pt idx="94088">2</cx:pt>
          <cx:pt idx="94089">3</cx:pt>
          <cx:pt idx="94090">1</cx:pt>
          <cx:pt idx="94091">2</cx:pt>
          <cx:pt idx="94092">2</cx:pt>
          <cx:pt idx="94093">5</cx:pt>
          <cx:pt idx="94094">1</cx:pt>
          <cx:pt idx="94095">2</cx:pt>
          <cx:pt idx="94096">2</cx:pt>
          <cx:pt idx="94097">2</cx:pt>
          <cx:pt idx="94098">4</cx:pt>
          <cx:pt idx="94099">0</cx:pt>
          <cx:pt idx="94100">2</cx:pt>
          <cx:pt idx="94101">1</cx:pt>
          <cx:pt idx="94102">4</cx:pt>
          <cx:pt idx="94103">2</cx:pt>
          <cx:pt idx="94104">5</cx:pt>
          <cx:pt idx="94105">1</cx:pt>
          <cx:pt idx="94106">1</cx:pt>
          <cx:pt idx="94107">4</cx:pt>
          <cx:pt idx="94108">3</cx:pt>
          <cx:pt idx="94109">3</cx:pt>
          <cx:pt idx="94110">3</cx:pt>
          <cx:pt idx="94111">3</cx:pt>
          <cx:pt idx="94112">4</cx:pt>
          <cx:pt idx="94113">3</cx:pt>
          <cx:pt idx="94114">3</cx:pt>
          <cx:pt idx="94115">3</cx:pt>
          <cx:pt idx="94116">4</cx:pt>
          <cx:pt idx="94117">4</cx:pt>
          <cx:pt idx="94118">5</cx:pt>
          <cx:pt idx="94119">3</cx:pt>
          <cx:pt idx="94120">3</cx:pt>
          <cx:pt idx="94121">5</cx:pt>
          <cx:pt idx="94122">3</cx:pt>
          <cx:pt idx="94123">2</cx:pt>
          <cx:pt idx="94124">2</cx:pt>
          <cx:pt idx="94125">3</cx:pt>
          <cx:pt idx="94126">2</cx:pt>
          <cx:pt idx="94127">2</cx:pt>
          <cx:pt idx="94128">2</cx:pt>
          <cx:pt idx="94129">2</cx:pt>
          <cx:pt idx="94130">1</cx:pt>
          <cx:pt idx="94131">3</cx:pt>
          <cx:pt idx="94132">3</cx:pt>
          <cx:pt idx="94133">1</cx:pt>
          <cx:pt idx="94134">2</cx:pt>
          <cx:pt idx="94135">3</cx:pt>
          <cx:pt idx="94136">4</cx:pt>
          <cx:pt idx="94137">2</cx:pt>
          <cx:pt idx="94138">3</cx:pt>
          <cx:pt idx="94139">2</cx:pt>
          <cx:pt idx="94140">2</cx:pt>
          <cx:pt idx="94141">3</cx:pt>
          <cx:pt idx="94142">1</cx:pt>
          <cx:pt idx="94143">3</cx:pt>
          <cx:pt idx="94144">3</cx:pt>
          <cx:pt idx="94145">3</cx:pt>
          <cx:pt idx="94146">5</cx:pt>
          <cx:pt idx="94147">1</cx:pt>
          <cx:pt idx="94148">3</cx:pt>
          <cx:pt idx="94149">4</cx:pt>
          <cx:pt idx="94150">5</cx:pt>
          <cx:pt idx="94151">5</cx:pt>
          <cx:pt idx="94152">3</cx:pt>
          <cx:pt idx="94153">2</cx:pt>
          <cx:pt idx="94154">4</cx:pt>
          <cx:pt idx="94155">3</cx:pt>
          <cx:pt idx="94156">2</cx:pt>
          <cx:pt idx="94157">3</cx:pt>
          <cx:pt idx="94158">0</cx:pt>
          <cx:pt idx="94159">1</cx:pt>
          <cx:pt idx="94160">3</cx:pt>
          <cx:pt idx="94161">4</cx:pt>
          <cx:pt idx="94162">1</cx:pt>
          <cx:pt idx="94163">4</cx:pt>
          <cx:pt idx="94164">5</cx:pt>
          <cx:pt idx="94165">2</cx:pt>
          <cx:pt idx="94166">2</cx:pt>
          <cx:pt idx="94167">5</cx:pt>
          <cx:pt idx="94168">2</cx:pt>
          <cx:pt idx="94169">3</cx:pt>
          <cx:pt idx="94170">2</cx:pt>
          <cx:pt idx="94171">2</cx:pt>
          <cx:pt idx="94172">5</cx:pt>
          <cx:pt idx="94173">3</cx:pt>
          <cx:pt idx="94174">4</cx:pt>
          <cx:pt idx="94175">3</cx:pt>
          <cx:pt idx="94176">5</cx:pt>
          <cx:pt idx="94177">5</cx:pt>
          <cx:pt idx="94178">2</cx:pt>
          <cx:pt idx="94179">3</cx:pt>
          <cx:pt idx="94180">3</cx:pt>
          <cx:pt idx="94181">1</cx:pt>
          <cx:pt idx="94182">2</cx:pt>
          <cx:pt idx="94183">4</cx:pt>
          <cx:pt idx="94184">4</cx:pt>
          <cx:pt idx="94185">3</cx:pt>
          <cx:pt idx="94186">2</cx:pt>
          <cx:pt idx="94187">4</cx:pt>
          <cx:pt idx="94188">5</cx:pt>
          <cx:pt idx="94189">3</cx:pt>
          <cx:pt idx="94190">4</cx:pt>
          <cx:pt idx="94191">4</cx:pt>
          <cx:pt idx="94192">4</cx:pt>
          <cx:pt idx="94193">4</cx:pt>
          <cx:pt idx="94194">5</cx:pt>
          <cx:pt idx="94195">1</cx:pt>
          <cx:pt idx="94196">1</cx:pt>
          <cx:pt idx="94197">5</cx:pt>
          <cx:pt idx="94198">3</cx:pt>
          <cx:pt idx="94199">3</cx:pt>
          <cx:pt idx="94200">2</cx:pt>
          <cx:pt idx="94201">3</cx:pt>
          <cx:pt idx="94202">3</cx:pt>
          <cx:pt idx="94203">2</cx:pt>
          <cx:pt idx="94204">4</cx:pt>
          <cx:pt idx="94205">5</cx:pt>
          <cx:pt idx="94206">2</cx:pt>
          <cx:pt idx="94207">2</cx:pt>
          <cx:pt idx="94208">2</cx:pt>
          <cx:pt idx="94209">2</cx:pt>
          <cx:pt idx="94210">5</cx:pt>
          <cx:pt idx="94211">2</cx:pt>
          <cx:pt idx="94212">2</cx:pt>
          <cx:pt idx="94213">2</cx:pt>
          <cx:pt idx="94214">5</cx:pt>
          <cx:pt idx="94215">3</cx:pt>
          <cx:pt idx="94216">0</cx:pt>
          <cx:pt idx="94217">2</cx:pt>
          <cx:pt idx="94218">3</cx:pt>
          <cx:pt idx="94219">1</cx:pt>
          <cx:pt idx="94220">5</cx:pt>
          <cx:pt idx="94221">2</cx:pt>
          <cx:pt idx="94222">4</cx:pt>
          <cx:pt idx="94223">4</cx:pt>
          <cx:pt idx="94224">3</cx:pt>
          <cx:pt idx="94225">3</cx:pt>
          <cx:pt idx="94226">3</cx:pt>
          <cx:pt idx="94227">3</cx:pt>
          <cx:pt idx="94228">2</cx:pt>
          <cx:pt idx="94229">4</cx:pt>
          <cx:pt idx="94230">1</cx:pt>
          <cx:pt idx="94231">5</cx:pt>
          <cx:pt idx="94232">3</cx:pt>
          <cx:pt idx="94233">1</cx:pt>
          <cx:pt idx="94234">4</cx:pt>
          <cx:pt idx="94235">3</cx:pt>
          <cx:pt idx="94236">3</cx:pt>
          <cx:pt idx="94237">2</cx:pt>
          <cx:pt idx="94238">3</cx:pt>
          <cx:pt idx="94239">4</cx:pt>
          <cx:pt idx="94240">0</cx:pt>
          <cx:pt idx="94241">5</cx:pt>
          <cx:pt idx="94242">5</cx:pt>
          <cx:pt idx="94243">1</cx:pt>
          <cx:pt idx="94244">4</cx:pt>
          <cx:pt idx="94245">2</cx:pt>
          <cx:pt idx="94246">3</cx:pt>
          <cx:pt idx="94247">1</cx:pt>
          <cx:pt idx="94248">4</cx:pt>
          <cx:pt idx="94249">4</cx:pt>
          <cx:pt idx="94250">1</cx:pt>
          <cx:pt idx="94251">1</cx:pt>
          <cx:pt idx="94252">3</cx:pt>
          <cx:pt idx="94253">4</cx:pt>
          <cx:pt idx="94254">4</cx:pt>
          <cx:pt idx="94255">2</cx:pt>
          <cx:pt idx="94256">3</cx:pt>
          <cx:pt idx="94257">3</cx:pt>
          <cx:pt idx="94258">3</cx:pt>
          <cx:pt idx="94259">3</cx:pt>
          <cx:pt idx="94260">3</cx:pt>
          <cx:pt idx="94261">4</cx:pt>
          <cx:pt idx="94262">5</cx:pt>
          <cx:pt idx="94263">2</cx:pt>
          <cx:pt idx="94264">5</cx:pt>
          <cx:pt idx="94265">2</cx:pt>
          <cx:pt idx="94266">3</cx:pt>
          <cx:pt idx="94267">4</cx:pt>
          <cx:pt idx="94268">2</cx:pt>
          <cx:pt idx="94269">3</cx:pt>
          <cx:pt idx="94270">5</cx:pt>
          <cx:pt idx="94271">3</cx:pt>
          <cx:pt idx="94272">3</cx:pt>
          <cx:pt idx="94273">2</cx:pt>
          <cx:pt idx="94274">1</cx:pt>
          <cx:pt idx="94275">2</cx:pt>
          <cx:pt idx="94276">3</cx:pt>
          <cx:pt idx="94277">1</cx:pt>
          <cx:pt idx="94278">5</cx:pt>
          <cx:pt idx="94279">5</cx:pt>
          <cx:pt idx="94280">0</cx:pt>
          <cx:pt idx="94281">3</cx:pt>
          <cx:pt idx="94282">2</cx:pt>
          <cx:pt idx="94283">3</cx:pt>
          <cx:pt idx="94284">3</cx:pt>
          <cx:pt idx="94285">3</cx:pt>
          <cx:pt idx="94286">4</cx:pt>
          <cx:pt idx="94287">3</cx:pt>
          <cx:pt idx="94288">2</cx:pt>
          <cx:pt idx="94289">2</cx:pt>
          <cx:pt idx="94290">5</cx:pt>
          <cx:pt idx="94291">1</cx:pt>
          <cx:pt idx="94292">2</cx:pt>
          <cx:pt idx="94293">0</cx:pt>
          <cx:pt idx="94294">1</cx:pt>
          <cx:pt idx="94295">4</cx:pt>
          <cx:pt idx="94296">2</cx:pt>
          <cx:pt idx="94297">3</cx:pt>
          <cx:pt idx="94298">0</cx:pt>
          <cx:pt idx="94299">3</cx:pt>
          <cx:pt idx="94300">5</cx:pt>
          <cx:pt idx="94301">4</cx:pt>
          <cx:pt idx="94302">5</cx:pt>
          <cx:pt idx="94303">2</cx:pt>
          <cx:pt idx="94304">3</cx:pt>
          <cx:pt idx="94305">4</cx:pt>
          <cx:pt idx="94306">1</cx:pt>
          <cx:pt idx="94307">5</cx:pt>
          <cx:pt idx="94308">5</cx:pt>
          <cx:pt idx="94309">5</cx:pt>
          <cx:pt idx="94310">3</cx:pt>
          <cx:pt idx="94311">5</cx:pt>
          <cx:pt idx="94312">5</cx:pt>
          <cx:pt idx="94313">5</cx:pt>
          <cx:pt idx="94314">1</cx:pt>
          <cx:pt idx="94315">1</cx:pt>
          <cx:pt idx="94316">5</cx:pt>
          <cx:pt idx="94317">5</cx:pt>
          <cx:pt idx="94318">2</cx:pt>
          <cx:pt idx="94319">1</cx:pt>
          <cx:pt idx="94320">3</cx:pt>
          <cx:pt idx="94321">5</cx:pt>
          <cx:pt idx="94322">5</cx:pt>
          <cx:pt idx="94323">1</cx:pt>
          <cx:pt idx="94324">1</cx:pt>
          <cx:pt idx="94325">3</cx:pt>
          <cx:pt idx="94326">4</cx:pt>
          <cx:pt idx="94327">4</cx:pt>
          <cx:pt idx="94328">3</cx:pt>
          <cx:pt idx="94329">4</cx:pt>
          <cx:pt idx="94330">3</cx:pt>
          <cx:pt idx="94331">4</cx:pt>
          <cx:pt idx="94332">1</cx:pt>
          <cx:pt idx="94333">1</cx:pt>
          <cx:pt idx="94334">1</cx:pt>
          <cx:pt idx="94335">5</cx:pt>
          <cx:pt idx="94336">2</cx:pt>
          <cx:pt idx="94337">1</cx:pt>
          <cx:pt idx="94338">1</cx:pt>
          <cx:pt idx="94339">4</cx:pt>
          <cx:pt idx="94340">2</cx:pt>
          <cx:pt idx="94341">1</cx:pt>
          <cx:pt idx="94342">2</cx:pt>
          <cx:pt idx="94343">1</cx:pt>
          <cx:pt idx="94344">1</cx:pt>
          <cx:pt idx="94345">1</cx:pt>
          <cx:pt idx="94346">4</cx:pt>
          <cx:pt idx="94347">2</cx:pt>
          <cx:pt idx="94348">1</cx:pt>
          <cx:pt idx="94349">4</cx:pt>
          <cx:pt idx="94350">0</cx:pt>
          <cx:pt idx="94351">4</cx:pt>
          <cx:pt idx="94352">4</cx:pt>
          <cx:pt idx="94353">1</cx:pt>
          <cx:pt idx="94354">2</cx:pt>
          <cx:pt idx="94355">1</cx:pt>
          <cx:pt idx="94356">1</cx:pt>
          <cx:pt idx="94357">1</cx:pt>
          <cx:pt idx="94358">4</cx:pt>
          <cx:pt idx="94359">4</cx:pt>
          <cx:pt idx="94360">4</cx:pt>
          <cx:pt idx="94361">0</cx:pt>
          <cx:pt idx="94362">1</cx:pt>
          <cx:pt idx="94363">3</cx:pt>
          <cx:pt idx="94364">2</cx:pt>
          <cx:pt idx="94365">4</cx:pt>
          <cx:pt idx="94366">2</cx:pt>
          <cx:pt idx="94367">2</cx:pt>
          <cx:pt idx="94368">1</cx:pt>
          <cx:pt idx="94369">2</cx:pt>
          <cx:pt idx="94370">2</cx:pt>
          <cx:pt idx="94371">3</cx:pt>
          <cx:pt idx="94372">3</cx:pt>
          <cx:pt idx="94373">2</cx:pt>
          <cx:pt idx="94374">3</cx:pt>
          <cx:pt idx="94375">1</cx:pt>
          <cx:pt idx="94376">2</cx:pt>
          <cx:pt idx="94377">4</cx:pt>
          <cx:pt idx="94378">3</cx:pt>
          <cx:pt idx="94379">3</cx:pt>
          <cx:pt idx="94380">1</cx:pt>
          <cx:pt idx="94381">4</cx:pt>
          <cx:pt idx="94382">5</cx:pt>
          <cx:pt idx="94383">3</cx:pt>
          <cx:pt idx="94384">2</cx:pt>
          <cx:pt idx="94385">3</cx:pt>
          <cx:pt idx="94386">2</cx:pt>
          <cx:pt idx="94387">5</cx:pt>
          <cx:pt idx="94388">1</cx:pt>
          <cx:pt idx="94389">1</cx:pt>
          <cx:pt idx="94390">1</cx:pt>
          <cx:pt idx="94391">1</cx:pt>
          <cx:pt idx="94392">4</cx:pt>
          <cx:pt idx="94393">5</cx:pt>
          <cx:pt idx="94394">2</cx:pt>
          <cx:pt idx="94395">2</cx:pt>
          <cx:pt idx="94396">5</cx:pt>
          <cx:pt idx="94397">1</cx:pt>
          <cx:pt idx="94398">2</cx:pt>
          <cx:pt idx="94399">1</cx:pt>
          <cx:pt idx="94400">1</cx:pt>
          <cx:pt idx="94401">2</cx:pt>
          <cx:pt idx="94402">1</cx:pt>
          <cx:pt idx="94403">0</cx:pt>
          <cx:pt idx="94404">1</cx:pt>
          <cx:pt idx="94405">2</cx:pt>
          <cx:pt idx="94406">0</cx:pt>
          <cx:pt idx="94407">4</cx:pt>
          <cx:pt idx="94408">3</cx:pt>
          <cx:pt idx="94409">1</cx:pt>
          <cx:pt idx="94410">3</cx:pt>
          <cx:pt idx="94411">2</cx:pt>
          <cx:pt idx="94412">2</cx:pt>
          <cx:pt idx="94413">2</cx:pt>
          <cx:pt idx="94414">5</cx:pt>
          <cx:pt idx="94415">2</cx:pt>
          <cx:pt idx="94416">5</cx:pt>
          <cx:pt idx="94417">1</cx:pt>
          <cx:pt idx="94418">2</cx:pt>
          <cx:pt idx="94419">3</cx:pt>
          <cx:pt idx="94420">2</cx:pt>
          <cx:pt idx="94421">2</cx:pt>
          <cx:pt idx="94422">2</cx:pt>
          <cx:pt idx="94423">2</cx:pt>
          <cx:pt idx="94424">1</cx:pt>
          <cx:pt idx="94425">1</cx:pt>
          <cx:pt idx="94426">3</cx:pt>
          <cx:pt idx="94427">2</cx:pt>
          <cx:pt idx="94428">3</cx:pt>
          <cx:pt idx="94429">4</cx:pt>
          <cx:pt idx="94430">4</cx:pt>
          <cx:pt idx="94431">3</cx:pt>
          <cx:pt idx="94432">5</cx:pt>
          <cx:pt idx="94433">4</cx:pt>
          <cx:pt idx="94434">3</cx:pt>
          <cx:pt idx="94435">4</cx:pt>
          <cx:pt idx="94436">4</cx:pt>
          <cx:pt idx="94437">2</cx:pt>
          <cx:pt idx="94438">5</cx:pt>
          <cx:pt idx="94439">2</cx:pt>
          <cx:pt idx="94440">0</cx:pt>
          <cx:pt idx="94441">3</cx:pt>
          <cx:pt idx="94442">5</cx:pt>
          <cx:pt idx="94443">1</cx:pt>
          <cx:pt idx="94444">4</cx:pt>
          <cx:pt idx="94445">5</cx:pt>
          <cx:pt idx="94446">1</cx:pt>
          <cx:pt idx="94447">1</cx:pt>
          <cx:pt idx="94448">4</cx:pt>
          <cx:pt idx="94449">3</cx:pt>
          <cx:pt idx="94450">2</cx:pt>
          <cx:pt idx="94451">3</cx:pt>
          <cx:pt idx="94452">2</cx:pt>
          <cx:pt idx="94453">5</cx:pt>
          <cx:pt idx="94454">5</cx:pt>
          <cx:pt idx="94455">0</cx:pt>
          <cx:pt idx="94456">1</cx:pt>
          <cx:pt idx="94457">2</cx:pt>
          <cx:pt idx="94458">2</cx:pt>
          <cx:pt idx="94459">3</cx:pt>
          <cx:pt idx="94460">4</cx:pt>
          <cx:pt idx="94461">5</cx:pt>
          <cx:pt idx="94462">4</cx:pt>
          <cx:pt idx="94463">2</cx:pt>
          <cx:pt idx="94464">2</cx:pt>
          <cx:pt idx="94465">4</cx:pt>
          <cx:pt idx="94466">3</cx:pt>
          <cx:pt idx="94467">1</cx:pt>
          <cx:pt idx="94468">5</cx:pt>
          <cx:pt idx="94469">4</cx:pt>
          <cx:pt idx="94470">1</cx:pt>
          <cx:pt idx="94471">5</cx:pt>
          <cx:pt idx="94472">3</cx:pt>
          <cx:pt idx="94473">1</cx:pt>
          <cx:pt idx="94474">3</cx:pt>
          <cx:pt idx="94475">1</cx:pt>
          <cx:pt idx="94476">5</cx:pt>
          <cx:pt idx="94477">3</cx:pt>
          <cx:pt idx="94478">5</cx:pt>
          <cx:pt idx="94479">1</cx:pt>
          <cx:pt idx="94480">0</cx:pt>
          <cx:pt idx="94481">4</cx:pt>
          <cx:pt idx="94482">3</cx:pt>
          <cx:pt idx="94483">1</cx:pt>
          <cx:pt idx="94484">2</cx:pt>
          <cx:pt idx="94485">0</cx:pt>
          <cx:pt idx="94486">3</cx:pt>
          <cx:pt idx="94487">4</cx:pt>
          <cx:pt idx="94488">2</cx:pt>
          <cx:pt idx="94489">4</cx:pt>
          <cx:pt idx="94490">3</cx:pt>
          <cx:pt idx="94491">1</cx:pt>
          <cx:pt idx="94492">1</cx:pt>
          <cx:pt idx="94493">4</cx:pt>
          <cx:pt idx="94494">2</cx:pt>
          <cx:pt idx="94495">4</cx:pt>
          <cx:pt idx="94496">5</cx:pt>
          <cx:pt idx="94497">3</cx:pt>
          <cx:pt idx="94498">4</cx:pt>
          <cx:pt idx="94499">3</cx:pt>
          <cx:pt idx="94500">4</cx:pt>
          <cx:pt idx="94501">2</cx:pt>
          <cx:pt idx="94502">3</cx:pt>
          <cx:pt idx="94503">5</cx:pt>
          <cx:pt idx="94504">1</cx:pt>
          <cx:pt idx="94505">3</cx:pt>
          <cx:pt idx="94506">2</cx:pt>
          <cx:pt idx="94507">2</cx:pt>
          <cx:pt idx="94508">4</cx:pt>
          <cx:pt idx="94509">5</cx:pt>
          <cx:pt idx="94510">4</cx:pt>
          <cx:pt idx="94511">4</cx:pt>
          <cx:pt idx="94512">4</cx:pt>
          <cx:pt idx="94513">1</cx:pt>
          <cx:pt idx="94514">1</cx:pt>
          <cx:pt idx="94515">2</cx:pt>
          <cx:pt idx="94516">4</cx:pt>
          <cx:pt idx="94517">2</cx:pt>
          <cx:pt idx="94518">3</cx:pt>
          <cx:pt idx="94519">3</cx:pt>
          <cx:pt idx="94520">4</cx:pt>
          <cx:pt idx="94521">1</cx:pt>
          <cx:pt idx="94522">4</cx:pt>
          <cx:pt idx="94523">1</cx:pt>
          <cx:pt idx="94524">5</cx:pt>
          <cx:pt idx="94525">0</cx:pt>
          <cx:pt idx="94526">2</cx:pt>
          <cx:pt idx="94527">3</cx:pt>
          <cx:pt idx="94528">4</cx:pt>
          <cx:pt idx="94529">0</cx:pt>
          <cx:pt idx="94530">2</cx:pt>
          <cx:pt idx="94531">2</cx:pt>
          <cx:pt idx="94532">5</cx:pt>
          <cx:pt idx="94533">2</cx:pt>
          <cx:pt idx="94534">2</cx:pt>
          <cx:pt idx="94535">3</cx:pt>
          <cx:pt idx="94536">0</cx:pt>
          <cx:pt idx="94537">3</cx:pt>
          <cx:pt idx="94538">1</cx:pt>
          <cx:pt idx="94539">4</cx:pt>
          <cx:pt idx="94540">3</cx:pt>
          <cx:pt idx="94541">1</cx:pt>
          <cx:pt idx="94542">4</cx:pt>
          <cx:pt idx="94543">2</cx:pt>
          <cx:pt idx="94544">0</cx:pt>
          <cx:pt idx="94545">4</cx:pt>
          <cx:pt idx="94546">2</cx:pt>
          <cx:pt idx="94547">2</cx:pt>
          <cx:pt idx="94548">3</cx:pt>
          <cx:pt idx="94549">2</cx:pt>
          <cx:pt idx="94550">5</cx:pt>
          <cx:pt idx="94551">3</cx:pt>
          <cx:pt idx="94552">1</cx:pt>
          <cx:pt idx="94553">5</cx:pt>
          <cx:pt idx="94554">2</cx:pt>
          <cx:pt idx="94555">4</cx:pt>
          <cx:pt idx="94556">3</cx:pt>
          <cx:pt idx="94557">3</cx:pt>
          <cx:pt idx="94558">3</cx:pt>
          <cx:pt idx="94559">0</cx:pt>
          <cx:pt idx="94560">2</cx:pt>
          <cx:pt idx="94561">5</cx:pt>
          <cx:pt idx="94562">4</cx:pt>
          <cx:pt idx="94563">2</cx:pt>
          <cx:pt idx="94564">1</cx:pt>
          <cx:pt idx="94565">4</cx:pt>
          <cx:pt idx="94566">1</cx:pt>
          <cx:pt idx="94567">2</cx:pt>
          <cx:pt idx="94568">4</cx:pt>
          <cx:pt idx="94569">3</cx:pt>
          <cx:pt idx="94570">3</cx:pt>
          <cx:pt idx="94571">1</cx:pt>
          <cx:pt idx="94572">2</cx:pt>
          <cx:pt idx="94573">2</cx:pt>
          <cx:pt idx="94574">2</cx:pt>
          <cx:pt idx="94575">5</cx:pt>
          <cx:pt idx="94576">1</cx:pt>
          <cx:pt idx="94577">5</cx:pt>
          <cx:pt idx="94578">4</cx:pt>
          <cx:pt idx="94579">1</cx:pt>
          <cx:pt idx="94580">2</cx:pt>
          <cx:pt idx="94581">3</cx:pt>
          <cx:pt idx="94582">3</cx:pt>
          <cx:pt idx="94583">5</cx:pt>
          <cx:pt idx="94584">5</cx:pt>
          <cx:pt idx="94585">2</cx:pt>
          <cx:pt idx="94586">2</cx:pt>
          <cx:pt idx="94587">3</cx:pt>
          <cx:pt idx="94588">3</cx:pt>
          <cx:pt idx="94589">2</cx:pt>
          <cx:pt idx="94590">1</cx:pt>
          <cx:pt idx="94591">1</cx:pt>
          <cx:pt idx="94592">1</cx:pt>
          <cx:pt idx="94593">4</cx:pt>
          <cx:pt idx="94594">3</cx:pt>
          <cx:pt idx="94595">5</cx:pt>
          <cx:pt idx="94596">3</cx:pt>
          <cx:pt idx="94597">1</cx:pt>
          <cx:pt idx="94598">3</cx:pt>
          <cx:pt idx="94599">1</cx:pt>
          <cx:pt idx="94600">2</cx:pt>
          <cx:pt idx="94601">1</cx:pt>
          <cx:pt idx="94602">4</cx:pt>
          <cx:pt idx="94603">3</cx:pt>
          <cx:pt idx="94604">2</cx:pt>
          <cx:pt idx="94605">5</cx:pt>
          <cx:pt idx="94606">4</cx:pt>
          <cx:pt idx="94607">5</cx:pt>
          <cx:pt idx="94608">5</cx:pt>
          <cx:pt idx="94609">4</cx:pt>
          <cx:pt idx="94610">2</cx:pt>
          <cx:pt idx="94611">2</cx:pt>
          <cx:pt idx="94612">2</cx:pt>
          <cx:pt idx="94613">1</cx:pt>
          <cx:pt idx="94614">4</cx:pt>
          <cx:pt idx="94615">3</cx:pt>
          <cx:pt idx="94616">2</cx:pt>
          <cx:pt idx="94617">5</cx:pt>
          <cx:pt idx="94618">1</cx:pt>
          <cx:pt idx="94619">4</cx:pt>
          <cx:pt idx="94620">5</cx:pt>
          <cx:pt idx="94621">3</cx:pt>
          <cx:pt idx="94622">3</cx:pt>
          <cx:pt idx="94623">2</cx:pt>
          <cx:pt idx="94624">1</cx:pt>
          <cx:pt idx="94625">2</cx:pt>
          <cx:pt idx="94626">4</cx:pt>
          <cx:pt idx="94627">2</cx:pt>
          <cx:pt idx="94628">3</cx:pt>
          <cx:pt idx="94629">2</cx:pt>
          <cx:pt idx="94630">1</cx:pt>
          <cx:pt idx="94631">3</cx:pt>
          <cx:pt idx="94632">1</cx:pt>
          <cx:pt idx="94633">5</cx:pt>
          <cx:pt idx="94634">3</cx:pt>
          <cx:pt idx="94635">3</cx:pt>
          <cx:pt idx="94636">4</cx:pt>
          <cx:pt idx="94637">3</cx:pt>
          <cx:pt idx="94638">3</cx:pt>
          <cx:pt idx="94639">4</cx:pt>
          <cx:pt idx="94640">2</cx:pt>
          <cx:pt idx="94641">2</cx:pt>
          <cx:pt idx="94642">2</cx:pt>
          <cx:pt idx="94643">1</cx:pt>
          <cx:pt idx="94644">2</cx:pt>
          <cx:pt idx="94645">4</cx:pt>
          <cx:pt idx="94646">2</cx:pt>
          <cx:pt idx="94647">4</cx:pt>
          <cx:pt idx="94648">3</cx:pt>
          <cx:pt idx="94649">5</cx:pt>
          <cx:pt idx="94650">2</cx:pt>
          <cx:pt idx="94651">2</cx:pt>
          <cx:pt idx="94652">2</cx:pt>
          <cx:pt idx="94653">2</cx:pt>
          <cx:pt idx="94654">3</cx:pt>
          <cx:pt idx="94655">4</cx:pt>
          <cx:pt idx="94656">1</cx:pt>
          <cx:pt idx="94657">1</cx:pt>
          <cx:pt idx="94658">3</cx:pt>
          <cx:pt idx="94659">3</cx:pt>
          <cx:pt idx="94660">4</cx:pt>
          <cx:pt idx="94661">3</cx:pt>
          <cx:pt idx="94662">2</cx:pt>
          <cx:pt idx="94663">3</cx:pt>
          <cx:pt idx="94664">3</cx:pt>
          <cx:pt idx="94665">1</cx:pt>
          <cx:pt idx="94666">4</cx:pt>
          <cx:pt idx="94667">4</cx:pt>
          <cx:pt idx="94668">3</cx:pt>
          <cx:pt idx="94669">4</cx:pt>
          <cx:pt idx="94670">4</cx:pt>
          <cx:pt idx="94671">4</cx:pt>
          <cx:pt idx="94672">5</cx:pt>
          <cx:pt idx="94673">3</cx:pt>
          <cx:pt idx="94674">5</cx:pt>
          <cx:pt idx="94675">5</cx:pt>
          <cx:pt idx="94676">4</cx:pt>
          <cx:pt idx="94677">1</cx:pt>
          <cx:pt idx="94678">3</cx:pt>
          <cx:pt idx="94679">5</cx:pt>
          <cx:pt idx="94680">2</cx:pt>
          <cx:pt idx="94681">5</cx:pt>
          <cx:pt idx="94682">4</cx:pt>
          <cx:pt idx="94683">2</cx:pt>
          <cx:pt idx="94684">2</cx:pt>
          <cx:pt idx="94685">0</cx:pt>
          <cx:pt idx="94686">4</cx:pt>
          <cx:pt idx="94687">3</cx:pt>
          <cx:pt idx="94688">2</cx:pt>
          <cx:pt idx="94689">3</cx:pt>
          <cx:pt idx="94690">4</cx:pt>
          <cx:pt idx="94691">3</cx:pt>
          <cx:pt idx="94692">2</cx:pt>
          <cx:pt idx="94693">2</cx:pt>
          <cx:pt idx="94694">3</cx:pt>
          <cx:pt idx="94695">3</cx:pt>
          <cx:pt idx="94696">2</cx:pt>
          <cx:pt idx="94697">1</cx:pt>
          <cx:pt idx="94698">3</cx:pt>
          <cx:pt idx="94699">2</cx:pt>
          <cx:pt idx="94700">5</cx:pt>
          <cx:pt idx="94701">2</cx:pt>
          <cx:pt idx="94702">4</cx:pt>
          <cx:pt idx="94703">3</cx:pt>
          <cx:pt idx="94704">4</cx:pt>
          <cx:pt idx="94705">3</cx:pt>
          <cx:pt idx="94706">5</cx:pt>
          <cx:pt idx="94707">2</cx:pt>
          <cx:pt idx="94708">1</cx:pt>
          <cx:pt idx="94709">3</cx:pt>
          <cx:pt idx="94710">5</cx:pt>
          <cx:pt idx="94711">5</cx:pt>
          <cx:pt idx="94712">5</cx:pt>
          <cx:pt idx="94713">2</cx:pt>
          <cx:pt idx="94714">2</cx:pt>
          <cx:pt idx="94715">4</cx:pt>
          <cx:pt idx="94716">4</cx:pt>
          <cx:pt idx="94717">4</cx:pt>
          <cx:pt idx="94718">2</cx:pt>
          <cx:pt idx="94719">3</cx:pt>
          <cx:pt idx="94720">2</cx:pt>
          <cx:pt idx="94721">4</cx:pt>
          <cx:pt idx="94722">2</cx:pt>
          <cx:pt idx="94723">3</cx:pt>
          <cx:pt idx="94724">4</cx:pt>
          <cx:pt idx="94725">3</cx:pt>
          <cx:pt idx="94726">5</cx:pt>
          <cx:pt idx="94727">5</cx:pt>
          <cx:pt idx="94728">5</cx:pt>
          <cx:pt idx="94729">0</cx:pt>
          <cx:pt idx="94730">2</cx:pt>
          <cx:pt idx="94731">3</cx:pt>
          <cx:pt idx="94732">4</cx:pt>
          <cx:pt idx="94733">3</cx:pt>
          <cx:pt idx="94734">5</cx:pt>
          <cx:pt idx="94735">3</cx:pt>
          <cx:pt idx="94736">2</cx:pt>
          <cx:pt idx="94737">3</cx:pt>
          <cx:pt idx="94738">2</cx:pt>
          <cx:pt idx="94739">2</cx:pt>
          <cx:pt idx="94740">5</cx:pt>
          <cx:pt idx="94741">2</cx:pt>
          <cx:pt idx="94742">2</cx:pt>
          <cx:pt idx="94743">2</cx:pt>
          <cx:pt idx="94744">4</cx:pt>
          <cx:pt idx="94745">5</cx:pt>
          <cx:pt idx="94746">3</cx:pt>
          <cx:pt idx="94747">2</cx:pt>
          <cx:pt idx="94748">2</cx:pt>
          <cx:pt idx="94749">2</cx:pt>
          <cx:pt idx="94750">5</cx:pt>
          <cx:pt idx="94751">2</cx:pt>
          <cx:pt idx="94752">3</cx:pt>
          <cx:pt idx="94753">3</cx:pt>
          <cx:pt idx="94754">5</cx:pt>
          <cx:pt idx="94755">2</cx:pt>
          <cx:pt idx="94756">4</cx:pt>
          <cx:pt idx="94757">3</cx:pt>
          <cx:pt idx="94758">3</cx:pt>
          <cx:pt idx="94759">5</cx:pt>
          <cx:pt idx="94760">2</cx:pt>
          <cx:pt idx="94761">5</cx:pt>
          <cx:pt idx="94762">2</cx:pt>
          <cx:pt idx="94763">1</cx:pt>
          <cx:pt idx="94764">4</cx:pt>
          <cx:pt idx="94765">5</cx:pt>
          <cx:pt idx="94766">2</cx:pt>
          <cx:pt idx="94767">2</cx:pt>
          <cx:pt idx="94768">2</cx:pt>
          <cx:pt idx="94769">3</cx:pt>
          <cx:pt idx="94770">3</cx:pt>
          <cx:pt idx="94771">3</cx:pt>
          <cx:pt idx="94772">3</cx:pt>
          <cx:pt idx="94773">3</cx:pt>
          <cx:pt idx="94774">4</cx:pt>
          <cx:pt idx="94775">1</cx:pt>
          <cx:pt idx="94776">2</cx:pt>
          <cx:pt idx="94777">2</cx:pt>
          <cx:pt idx="94778">5</cx:pt>
          <cx:pt idx="94779">3</cx:pt>
          <cx:pt idx="94780">3</cx:pt>
          <cx:pt idx="94781">4</cx:pt>
          <cx:pt idx="94782">3</cx:pt>
          <cx:pt idx="94783">1</cx:pt>
          <cx:pt idx="94784">4</cx:pt>
          <cx:pt idx="94785">1</cx:pt>
          <cx:pt idx="94786">3</cx:pt>
          <cx:pt idx="94787">1</cx:pt>
          <cx:pt idx="94788">5</cx:pt>
          <cx:pt idx="94789">5</cx:pt>
          <cx:pt idx="94790">3</cx:pt>
          <cx:pt idx="94791">1</cx:pt>
          <cx:pt idx="94792">2</cx:pt>
          <cx:pt idx="94793">4</cx:pt>
          <cx:pt idx="94794">3</cx:pt>
          <cx:pt idx="94795">1</cx:pt>
          <cx:pt idx="94796">2</cx:pt>
          <cx:pt idx="94797">5</cx:pt>
          <cx:pt idx="94798">2</cx:pt>
          <cx:pt idx="94799">2</cx:pt>
          <cx:pt idx="94800">0</cx:pt>
          <cx:pt idx="94801">2</cx:pt>
          <cx:pt idx="94802">2</cx:pt>
          <cx:pt idx="94803">5</cx:pt>
          <cx:pt idx="94804">0</cx:pt>
          <cx:pt idx="94805">4</cx:pt>
          <cx:pt idx="94806">3</cx:pt>
          <cx:pt idx="94807">4</cx:pt>
          <cx:pt idx="94808">3</cx:pt>
          <cx:pt idx="94809">5</cx:pt>
          <cx:pt idx="94810">2</cx:pt>
          <cx:pt idx="94811">0</cx:pt>
          <cx:pt idx="94812">3</cx:pt>
          <cx:pt idx="94813">0</cx:pt>
          <cx:pt idx="94814">3</cx:pt>
          <cx:pt idx="94815">1</cx:pt>
          <cx:pt idx="94816">2</cx:pt>
          <cx:pt idx="94817">3</cx:pt>
          <cx:pt idx="94818">2</cx:pt>
          <cx:pt idx="94819">3</cx:pt>
          <cx:pt idx="94820">3</cx:pt>
          <cx:pt idx="94821">5</cx:pt>
          <cx:pt idx="94822">4</cx:pt>
          <cx:pt idx="94823">2</cx:pt>
          <cx:pt idx="94824">3</cx:pt>
          <cx:pt idx="94825">1</cx:pt>
          <cx:pt idx="94826">3</cx:pt>
          <cx:pt idx="94827">0</cx:pt>
          <cx:pt idx="94828">2</cx:pt>
          <cx:pt idx="94829">5</cx:pt>
          <cx:pt idx="94830">2</cx:pt>
          <cx:pt idx="94831">3</cx:pt>
          <cx:pt idx="94832">3</cx:pt>
          <cx:pt idx="94833">3</cx:pt>
          <cx:pt idx="94834">5</cx:pt>
          <cx:pt idx="94835">1</cx:pt>
          <cx:pt idx="94836">3</cx:pt>
          <cx:pt idx="94837">2</cx:pt>
          <cx:pt idx="94838">3</cx:pt>
          <cx:pt idx="94839">5</cx:pt>
          <cx:pt idx="94840">1</cx:pt>
          <cx:pt idx="94841">2</cx:pt>
          <cx:pt idx="94842">2</cx:pt>
          <cx:pt idx="94843">2</cx:pt>
          <cx:pt idx="94844">2</cx:pt>
          <cx:pt idx="94845">3</cx:pt>
          <cx:pt idx="94846">2</cx:pt>
          <cx:pt idx="94847">1</cx:pt>
          <cx:pt idx="94848">2</cx:pt>
          <cx:pt idx="94849">3</cx:pt>
          <cx:pt idx="94850">3</cx:pt>
          <cx:pt idx="94851">3</cx:pt>
          <cx:pt idx="94852">3</cx:pt>
          <cx:pt idx="94853">1</cx:pt>
          <cx:pt idx="94854">1</cx:pt>
          <cx:pt idx="94855">2</cx:pt>
          <cx:pt idx="94856">2</cx:pt>
          <cx:pt idx="94857">5</cx:pt>
          <cx:pt idx="94858">5</cx:pt>
          <cx:pt idx="94859">3</cx:pt>
          <cx:pt idx="94860">3</cx:pt>
          <cx:pt idx="94861">3</cx:pt>
          <cx:pt idx="94862">2</cx:pt>
          <cx:pt idx="94863">1</cx:pt>
          <cx:pt idx="94864">3</cx:pt>
          <cx:pt idx="94865">3</cx:pt>
          <cx:pt idx="94866">3</cx:pt>
          <cx:pt idx="94867">2</cx:pt>
          <cx:pt idx="94868">5</cx:pt>
          <cx:pt idx="94869">2</cx:pt>
          <cx:pt idx="94870">0</cx:pt>
          <cx:pt idx="94871">2</cx:pt>
          <cx:pt idx="94872">2</cx:pt>
          <cx:pt idx="94873">2</cx:pt>
          <cx:pt idx="94874">4</cx:pt>
          <cx:pt idx="94875">1</cx:pt>
          <cx:pt idx="94876">1</cx:pt>
          <cx:pt idx="94877">1</cx:pt>
          <cx:pt idx="94878">3</cx:pt>
          <cx:pt idx="94879">5</cx:pt>
          <cx:pt idx="94880">0</cx:pt>
          <cx:pt idx="94881">4</cx:pt>
          <cx:pt idx="94882">5</cx:pt>
          <cx:pt idx="94883">2</cx:pt>
          <cx:pt idx="94884">5</cx:pt>
          <cx:pt idx="94885">2</cx:pt>
          <cx:pt idx="94886">4</cx:pt>
          <cx:pt idx="94887">2</cx:pt>
          <cx:pt idx="94888">3</cx:pt>
          <cx:pt idx="94889">5</cx:pt>
          <cx:pt idx="94890">5</cx:pt>
          <cx:pt idx="94891">2</cx:pt>
          <cx:pt idx="94892">1</cx:pt>
          <cx:pt idx="94893">2</cx:pt>
          <cx:pt idx="94894">1</cx:pt>
          <cx:pt idx="94895">3</cx:pt>
          <cx:pt idx="94896">2</cx:pt>
          <cx:pt idx="94897">2</cx:pt>
          <cx:pt idx="94898">2</cx:pt>
          <cx:pt idx="94899">3</cx:pt>
          <cx:pt idx="94900">4</cx:pt>
          <cx:pt idx="94901">0</cx:pt>
          <cx:pt idx="94902">2</cx:pt>
          <cx:pt idx="94903">2</cx:pt>
          <cx:pt idx="94904">2</cx:pt>
          <cx:pt idx="94905">0</cx:pt>
          <cx:pt idx="94906">2</cx:pt>
          <cx:pt idx="94907">3</cx:pt>
          <cx:pt idx="94908">3</cx:pt>
          <cx:pt idx="94909">4</cx:pt>
          <cx:pt idx="94910">2</cx:pt>
          <cx:pt idx="94911">5</cx:pt>
          <cx:pt idx="94912">1</cx:pt>
          <cx:pt idx="94913">2</cx:pt>
          <cx:pt idx="94914">4</cx:pt>
          <cx:pt idx="94915">4</cx:pt>
          <cx:pt idx="94916">2</cx:pt>
          <cx:pt idx="94917">3</cx:pt>
          <cx:pt idx="94918">1</cx:pt>
          <cx:pt idx="94919">5</cx:pt>
          <cx:pt idx="94920">1</cx:pt>
          <cx:pt idx="94921">4</cx:pt>
          <cx:pt idx="94922">5</cx:pt>
          <cx:pt idx="94923">4</cx:pt>
          <cx:pt idx="94924">3</cx:pt>
          <cx:pt idx="94925">5</cx:pt>
          <cx:pt idx="94926">2</cx:pt>
          <cx:pt idx="94927">5</cx:pt>
          <cx:pt idx="94928">1</cx:pt>
          <cx:pt idx="94929">5</cx:pt>
          <cx:pt idx="94930">5</cx:pt>
          <cx:pt idx="94931">2</cx:pt>
          <cx:pt idx="94932">3</cx:pt>
          <cx:pt idx="94933">3</cx:pt>
          <cx:pt idx="94934">2</cx:pt>
          <cx:pt idx="94935">4</cx:pt>
          <cx:pt idx="94936">5</cx:pt>
          <cx:pt idx="94937">5</cx:pt>
          <cx:pt idx="94938">2</cx:pt>
          <cx:pt idx="94939">4</cx:pt>
          <cx:pt idx="94940">2</cx:pt>
          <cx:pt idx="94941">2</cx:pt>
          <cx:pt idx="94942">0</cx:pt>
          <cx:pt idx="94943">4</cx:pt>
          <cx:pt idx="94944">3</cx:pt>
          <cx:pt idx="94945">5</cx:pt>
          <cx:pt idx="94946">3</cx:pt>
          <cx:pt idx="94947">4</cx:pt>
          <cx:pt idx="94948">4</cx:pt>
          <cx:pt idx="94949">1</cx:pt>
          <cx:pt idx="94950">4</cx:pt>
          <cx:pt idx="94951">2</cx:pt>
          <cx:pt idx="94952">4</cx:pt>
          <cx:pt idx="94953">1</cx:pt>
          <cx:pt idx="94954">2</cx:pt>
          <cx:pt idx="94955">3</cx:pt>
          <cx:pt idx="94956">3</cx:pt>
          <cx:pt idx="94957">2</cx:pt>
          <cx:pt idx="94958">1</cx:pt>
          <cx:pt idx="94959">4</cx:pt>
          <cx:pt idx="94960">2</cx:pt>
          <cx:pt idx="94961">2</cx:pt>
          <cx:pt idx="94962">2</cx:pt>
          <cx:pt idx="94963">1</cx:pt>
          <cx:pt idx="94964">3</cx:pt>
          <cx:pt idx="94965">3</cx:pt>
          <cx:pt idx="94966">4</cx:pt>
          <cx:pt idx="94967">4</cx:pt>
          <cx:pt idx="94968">5</cx:pt>
          <cx:pt idx="94969">3</cx:pt>
          <cx:pt idx="94970">4</cx:pt>
          <cx:pt idx="94971">2</cx:pt>
          <cx:pt idx="94972">3</cx:pt>
          <cx:pt idx="94973">0</cx:pt>
          <cx:pt idx="94974">1</cx:pt>
          <cx:pt idx="94975">4</cx:pt>
          <cx:pt idx="94976">1</cx:pt>
          <cx:pt idx="94977">4</cx:pt>
          <cx:pt idx="94978">2</cx:pt>
          <cx:pt idx="94979">2</cx:pt>
          <cx:pt idx="94980">3</cx:pt>
          <cx:pt idx="94981">3</cx:pt>
          <cx:pt idx="94982">1</cx:pt>
          <cx:pt idx="94983">5</cx:pt>
          <cx:pt idx="94984">1</cx:pt>
          <cx:pt idx="94985">4</cx:pt>
          <cx:pt idx="94986">3</cx:pt>
          <cx:pt idx="94987">4</cx:pt>
          <cx:pt idx="94988">3</cx:pt>
          <cx:pt idx="94989">1</cx:pt>
          <cx:pt idx="94990">4</cx:pt>
          <cx:pt idx="94991">4</cx:pt>
          <cx:pt idx="94992">5</cx:pt>
          <cx:pt idx="94993">2</cx:pt>
          <cx:pt idx="94994">5</cx:pt>
          <cx:pt idx="94995">2</cx:pt>
          <cx:pt idx="94996">2</cx:pt>
          <cx:pt idx="94997">1</cx:pt>
          <cx:pt idx="94998">4</cx:pt>
          <cx:pt idx="94999">1</cx:pt>
          <cx:pt idx="95000">1</cx:pt>
          <cx:pt idx="95001">4</cx:pt>
          <cx:pt idx="95002">1</cx:pt>
          <cx:pt idx="95003">5</cx:pt>
          <cx:pt idx="95004">3</cx:pt>
          <cx:pt idx="95005">3</cx:pt>
          <cx:pt idx="95006">5</cx:pt>
          <cx:pt idx="95007">2</cx:pt>
          <cx:pt idx="95008">0</cx:pt>
          <cx:pt idx="95009">2</cx:pt>
          <cx:pt idx="95010">3</cx:pt>
          <cx:pt idx="95011">5</cx:pt>
          <cx:pt idx="95012">2</cx:pt>
          <cx:pt idx="95013">5</cx:pt>
          <cx:pt idx="95014">2</cx:pt>
          <cx:pt idx="95015">2</cx:pt>
          <cx:pt idx="95016">3</cx:pt>
          <cx:pt idx="95017">2</cx:pt>
          <cx:pt idx="95018">2</cx:pt>
          <cx:pt idx="95019">3</cx:pt>
          <cx:pt idx="95020">3</cx:pt>
          <cx:pt idx="95021">1</cx:pt>
          <cx:pt idx="95022">1</cx:pt>
          <cx:pt idx="95023">2</cx:pt>
          <cx:pt idx="95024">3</cx:pt>
          <cx:pt idx="95025">4</cx:pt>
          <cx:pt idx="95026">1</cx:pt>
          <cx:pt idx="95027">3</cx:pt>
          <cx:pt idx="95028">3</cx:pt>
          <cx:pt idx="95029">2</cx:pt>
          <cx:pt idx="95030">5</cx:pt>
          <cx:pt idx="95031">3</cx:pt>
          <cx:pt idx="95032">3</cx:pt>
          <cx:pt idx="95033">2</cx:pt>
          <cx:pt idx="95034">2</cx:pt>
          <cx:pt idx="95035">3</cx:pt>
          <cx:pt idx="95036">3</cx:pt>
          <cx:pt idx="95037">3</cx:pt>
          <cx:pt idx="95038">3</cx:pt>
          <cx:pt idx="95039">4</cx:pt>
          <cx:pt idx="95040">1</cx:pt>
          <cx:pt idx="95041">5</cx:pt>
          <cx:pt idx="95042">3</cx:pt>
          <cx:pt idx="95043">1</cx:pt>
          <cx:pt idx="95044">5</cx:pt>
          <cx:pt idx="95045">5</cx:pt>
          <cx:pt idx="95046">2</cx:pt>
          <cx:pt idx="95047">3</cx:pt>
          <cx:pt idx="95048">3</cx:pt>
          <cx:pt idx="95049">3</cx:pt>
          <cx:pt idx="95050">4</cx:pt>
          <cx:pt idx="95051">4</cx:pt>
          <cx:pt idx="95052">4</cx:pt>
          <cx:pt idx="95053">1</cx:pt>
          <cx:pt idx="95054">1</cx:pt>
          <cx:pt idx="95055">3</cx:pt>
          <cx:pt idx="95056">5</cx:pt>
          <cx:pt idx="95057">2</cx:pt>
          <cx:pt idx="95058">2</cx:pt>
          <cx:pt idx="95059">3</cx:pt>
          <cx:pt idx="95060">1</cx:pt>
          <cx:pt idx="95061">1</cx:pt>
          <cx:pt idx="95062">1</cx:pt>
          <cx:pt idx="95063">3</cx:pt>
          <cx:pt idx="95064">2</cx:pt>
          <cx:pt idx="95065">2</cx:pt>
          <cx:pt idx="95066">2</cx:pt>
          <cx:pt idx="95067">3</cx:pt>
          <cx:pt idx="95068">3</cx:pt>
          <cx:pt idx="95069">3</cx:pt>
          <cx:pt idx="95070">1</cx:pt>
          <cx:pt idx="95071">4</cx:pt>
          <cx:pt idx="95072">1</cx:pt>
          <cx:pt idx="95073">5</cx:pt>
          <cx:pt idx="95074">1</cx:pt>
          <cx:pt idx="95075">3</cx:pt>
          <cx:pt idx="95076">1</cx:pt>
          <cx:pt idx="95077">3</cx:pt>
          <cx:pt idx="95078">3</cx:pt>
          <cx:pt idx="95079">4</cx:pt>
          <cx:pt idx="95080">5</cx:pt>
          <cx:pt idx="95081">4</cx:pt>
          <cx:pt idx="95082">1</cx:pt>
          <cx:pt idx="95083">3</cx:pt>
          <cx:pt idx="95084">1</cx:pt>
          <cx:pt idx="95085">0</cx:pt>
          <cx:pt idx="95086">2</cx:pt>
          <cx:pt idx="95087">2</cx:pt>
          <cx:pt idx="95088">5</cx:pt>
          <cx:pt idx="95089">4</cx:pt>
          <cx:pt idx="95090">1</cx:pt>
          <cx:pt idx="95091">3</cx:pt>
          <cx:pt idx="95092">2</cx:pt>
          <cx:pt idx="95093">3</cx:pt>
          <cx:pt idx="95094">4</cx:pt>
          <cx:pt idx="95095">5</cx:pt>
          <cx:pt idx="95096">2</cx:pt>
          <cx:pt idx="95097">3</cx:pt>
          <cx:pt idx="95098">4</cx:pt>
          <cx:pt idx="95099">3</cx:pt>
          <cx:pt idx="95100">2</cx:pt>
          <cx:pt idx="95101">4</cx:pt>
          <cx:pt idx="95102">2</cx:pt>
          <cx:pt idx="95103">5</cx:pt>
          <cx:pt idx="95104">2</cx:pt>
          <cx:pt idx="95105">4</cx:pt>
          <cx:pt idx="95106">4</cx:pt>
          <cx:pt idx="95107">2</cx:pt>
          <cx:pt idx="95108">3</cx:pt>
          <cx:pt idx="95109">4</cx:pt>
          <cx:pt idx="95110">5</cx:pt>
          <cx:pt idx="95111">3</cx:pt>
          <cx:pt idx="95112">1</cx:pt>
          <cx:pt idx="95113">1</cx:pt>
          <cx:pt idx="95114">3</cx:pt>
          <cx:pt idx="95115">3</cx:pt>
          <cx:pt idx="95116">1</cx:pt>
          <cx:pt idx="95117">1</cx:pt>
          <cx:pt idx="95118">5</cx:pt>
          <cx:pt idx="95119">3</cx:pt>
          <cx:pt idx="95120">2</cx:pt>
          <cx:pt idx="95121">1</cx:pt>
          <cx:pt idx="95122">0</cx:pt>
          <cx:pt idx="95123">3</cx:pt>
          <cx:pt idx="95124">1</cx:pt>
          <cx:pt idx="95125">2</cx:pt>
          <cx:pt idx="95126">5</cx:pt>
          <cx:pt idx="95127">2</cx:pt>
          <cx:pt idx="95128">1</cx:pt>
          <cx:pt idx="95129">1</cx:pt>
          <cx:pt idx="95130">1</cx:pt>
          <cx:pt idx="95131">4</cx:pt>
          <cx:pt idx="95132">3</cx:pt>
          <cx:pt idx="95133">0</cx:pt>
          <cx:pt idx="95134">4</cx:pt>
          <cx:pt idx="95135">2</cx:pt>
          <cx:pt idx="95136">2</cx:pt>
          <cx:pt idx="95137">3</cx:pt>
          <cx:pt idx="95138">2</cx:pt>
          <cx:pt idx="95139">1</cx:pt>
          <cx:pt idx="95140">4</cx:pt>
          <cx:pt idx="95141">1</cx:pt>
          <cx:pt idx="95142">3</cx:pt>
          <cx:pt idx="95143">4</cx:pt>
          <cx:pt idx="95144">3</cx:pt>
          <cx:pt idx="95145">3</cx:pt>
          <cx:pt idx="95146">4</cx:pt>
          <cx:pt idx="95147">5</cx:pt>
          <cx:pt idx="95148">2</cx:pt>
          <cx:pt idx="95149">0</cx:pt>
          <cx:pt idx="95150">2</cx:pt>
          <cx:pt idx="95151">3</cx:pt>
          <cx:pt idx="95152">3</cx:pt>
          <cx:pt idx="95153">3</cx:pt>
          <cx:pt idx="95154">4</cx:pt>
          <cx:pt idx="95155">3</cx:pt>
          <cx:pt idx="95156">2</cx:pt>
          <cx:pt idx="95157">2</cx:pt>
          <cx:pt idx="95158">3</cx:pt>
          <cx:pt idx="95159">2</cx:pt>
          <cx:pt idx="95160">0</cx:pt>
          <cx:pt idx="95161">4</cx:pt>
          <cx:pt idx="95162">4</cx:pt>
          <cx:pt idx="95163">2</cx:pt>
          <cx:pt idx="95164">1</cx:pt>
          <cx:pt idx="95165">2</cx:pt>
          <cx:pt idx="95166">3</cx:pt>
          <cx:pt idx="95167">1</cx:pt>
          <cx:pt idx="95168">2</cx:pt>
          <cx:pt idx="95169">3</cx:pt>
          <cx:pt idx="95170">1</cx:pt>
          <cx:pt idx="95171">1</cx:pt>
          <cx:pt idx="95172">2</cx:pt>
          <cx:pt idx="95173">5</cx:pt>
          <cx:pt idx="95174">2</cx:pt>
          <cx:pt idx="95175">5</cx:pt>
          <cx:pt idx="95176">2</cx:pt>
          <cx:pt idx="95177">3</cx:pt>
          <cx:pt idx="95178">5</cx:pt>
          <cx:pt idx="95179">4</cx:pt>
          <cx:pt idx="95180">2</cx:pt>
          <cx:pt idx="95181">2</cx:pt>
          <cx:pt idx="95182">2</cx:pt>
          <cx:pt idx="95183">4</cx:pt>
          <cx:pt idx="95184">3</cx:pt>
          <cx:pt idx="95185">2</cx:pt>
          <cx:pt idx="95186">5</cx:pt>
          <cx:pt idx="95187">3</cx:pt>
          <cx:pt idx="95188">2</cx:pt>
          <cx:pt idx="95189">1</cx:pt>
          <cx:pt idx="95190">2</cx:pt>
          <cx:pt idx="95191">3</cx:pt>
          <cx:pt idx="95192">3</cx:pt>
          <cx:pt idx="95193">2</cx:pt>
          <cx:pt idx="95194">2</cx:pt>
          <cx:pt idx="95195">2</cx:pt>
          <cx:pt idx="95196">2</cx:pt>
          <cx:pt idx="95197">3</cx:pt>
          <cx:pt idx="95198">5</cx:pt>
          <cx:pt idx="95199">3</cx:pt>
          <cx:pt idx="95200">3</cx:pt>
          <cx:pt idx="95201">2</cx:pt>
          <cx:pt idx="95202">2</cx:pt>
          <cx:pt idx="95203">1</cx:pt>
          <cx:pt idx="95204">3</cx:pt>
          <cx:pt idx="95205">5</cx:pt>
          <cx:pt idx="95206">5</cx:pt>
          <cx:pt idx="95207">2</cx:pt>
          <cx:pt idx="95208">1</cx:pt>
          <cx:pt idx="95209">4</cx:pt>
          <cx:pt idx="95210">3</cx:pt>
          <cx:pt idx="95211">4</cx:pt>
          <cx:pt idx="95212">4</cx:pt>
          <cx:pt idx="95213">5</cx:pt>
          <cx:pt idx="95214">2</cx:pt>
          <cx:pt idx="95215">4</cx:pt>
          <cx:pt idx="95216">5</cx:pt>
          <cx:pt idx="95217">3</cx:pt>
          <cx:pt idx="95218">4</cx:pt>
          <cx:pt idx="95219">2</cx:pt>
          <cx:pt idx="95220">4</cx:pt>
          <cx:pt idx="95221">2</cx:pt>
          <cx:pt idx="95222">4</cx:pt>
          <cx:pt idx="95223">3</cx:pt>
          <cx:pt idx="95224">3</cx:pt>
          <cx:pt idx="95225">4</cx:pt>
          <cx:pt idx="95226">5</cx:pt>
          <cx:pt idx="95227">4</cx:pt>
          <cx:pt idx="95228">4</cx:pt>
          <cx:pt idx="95229">4</cx:pt>
          <cx:pt idx="95230">1</cx:pt>
          <cx:pt idx="95231">3</cx:pt>
          <cx:pt idx="95232">2</cx:pt>
          <cx:pt idx="95233">2</cx:pt>
          <cx:pt idx="95234">0</cx:pt>
          <cx:pt idx="95235">4</cx:pt>
          <cx:pt idx="95236">5</cx:pt>
          <cx:pt idx="95237">2</cx:pt>
          <cx:pt idx="95238">3</cx:pt>
          <cx:pt idx="95239">3</cx:pt>
          <cx:pt idx="95240">3</cx:pt>
          <cx:pt idx="95241">3</cx:pt>
          <cx:pt idx="95242">3</cx:pt>
          <cx:pt idx="95243">2</cx:pt>
          <cx:pt idx="95244">1</cx:pt>
          <cx:pt idx="95245">1</cx:pt>
          <cx:pt idx="95246">2</cx:pt>
          <cx:pt idx="95247">3</cx:pt>
          <cx:pt idx="95248">3</cx:pt>
          <cx:pt idx="95249">3</cx:pt>
          <cx:pt idx="95250">3</cx:pt>
          <cx:pt idx="95251">3</cx:pt>
          <cx:pt idx="95252">4</cx:pt>
          <cx:pt idx="95253">4</cx:pt>
          <cx:pt idx="95254">4</cx:pt>
          <cx:pt idx="95255">1</cx:pt>
          <cx:pt idx="95256">4</cx:pt>
          <cx:pt idx="95257">5</cx:pt>
          <cx:pt idx="95258">5</cx:pt>
          <cx:pt idx="95259">0</cx:pt>
          <cx:pt idx="95260">4</cx:pt>
          <cx:pt idx="95261">1</cx:pt>
          <cx:pt idx="95262">3</cx:pt>
          <cx:pt idx="95263">2</cx:pt>
          <cx:pt idx="95264">3</cx:pt>
          <cx:pt idx="95265">1</cx:pt>
          <cx:pt idx="95266">2</cx:pt>
          <cx:pt idx="95267">2</cx:pt>
          <cx:pt idx="95268">3</cx:pt>
          <cx:pt idx="95269">5</cx:pt>
          <cx:pt idx="95270">3</cx:pt>
          <cx:pt idx="95271">4</cx:pt>
          <cx:pt idx="95272">4</cx:pt>
          <cx:pt idx="95273">2</cx:pt>
          <cx:pt idx="95274">2</cx:pt>
          <cx:pt idx="95275">3</cx:pt>
          <cx:pt idx="95276">3</cx:pt>
          <cx:pt idx="95277">1</cx:pt>
          <cx:pt idx="95278">1</cx:pt>
          <cx:pt idx="95279">4</cx:pt>
          <cx:pt idx="95280">5</cx:pt>
          <cx:pt idx="95281">3</cx:pt>
          <cx:pt idx="95282">2</cx:pt>
          <cx:pt idx="95283">4</cx:pt>
          <cx:pt idx="95284">3</cx:pt>
          <cx:pt idx="95285">5</cx:pt>
          <cx:pt idx="95286">1</cx:pt>
          <cx:pt idx="95287">2</cx:pt>
          <cx:pt idx="95288">4</cx:pt>
          <cx:pt idx="95289">4</cx:pt>
          <cx:pt idx="95290">5</cx:pt>
          <cx:pt idx="95291">5</cx:pt>
          <cx:pt idx="95292">5</cx:pt>
          <cx:pt idx="95293">3</cx:pt>
          <cx:pt idx="95294">1</cx:pt>
          <cx:pt idx="95295">2</cx:pt>
          <cx:pt idx="95296">4</cx:pt>
          <cx:pt idx="95297">4</cx:pt>
          <cx:pt idx="95298">4</cx:pt>
          <cx:pt idx="95299">3</cx:pt>
          <cx:pt idx="95300">4</cx:pt>
          <cx:pt idx="95301">3</cx:pt>
          <cx:pt idx="95302">1</cx:pt>
          <cx:pt idx="95303">2</cx:pt>
          <cx:pt idx="95304">5</cx:pt>
          <cx:pt idx="95305">4</cx:pt>
          <cx:pt idx="95306">3</cx:pt>
          <cx:pt idx="95307">5</cx:pt>
          <cx:pt idx="95308">4</cx:pt>
          <cx:pt idx="95309">1</cx:pt>
          <cx:pt idx="95310">5</cx:pt>
          <cx:pt idx="95311">0</cx:pt>
          <cx:pt idx="95312">3</cx:pt>
          <cx:pt idx="95313">3</cx:pt>
          <cx:pt idx="95314">4</cx:pt>
          <cx:pt idx="95315">2</cx:pt>
          <cx:pt idx="95316">1</cx:pt>
          <cx:pt idx="95317">1</cx:pt>
          <cx:pt idx="95318">3</cx:pt>
          <cx:pt idx="95319">2</cx:pt>
          <cx:pt idx="95320">2</cx:pt>
          <cx:pt idx="95321">1</cx:pt>
          <cx:pt idx="95322">4</cx:pt>
          <cx:pt idx="95323">3</cx:pt>
          <cx:pt idx="95324">2</cx:pt>
          <cx:pt idx="95325">1</cx:pt>
          <cx:pt idx="95326">3</cx:pt>
          <cx:pt idx="95327">4</cx:pt>
          <cx:pt idx="95328">4</cx:pt>
          <cx:pt idx="95329">5</cx:pt>
          <cx:pt idx="95330">2</cx:pt>
          <cx:pt idx="95331">1</cx:pt>
          <cx:pt idx="95332">3</cx:pt>
          <cx:pt idx="95333">5</cx:pt>
          <cx:pt idx="95334">3</cx:pt>
          <cx:pt idx="95335">2</cx:pt>
          <cx:pt idx="95336">0</cx:pt>
          <cx:pt idx="95337">5</cx:pt>
          <cx:pt idx="95338">1</cx:pt>
          <cx:pt idx="95339">3</cx:pt>
          <cx:pt idx="95340">5</cx:pt>
          <cx:pt idx="95341">4</cx:pt>
          <cx:pt idx="95342">5</cx:pt>
          <cx:pt idx="95343">0</cx:pt>
          <cx:pt idx="95344">5</cx:pt>
          <cx:pt idx="95345">2</cx:pt>
          <cx:pt idx="95346">2</cx:pt>
          <cx:pt idx="95347">1</cx:pt>
          <cx:pt idx="95348">4</cx:pt>
          <cx:pt idx="95349">4</cx:pt>
          <cx:pt idx="95350">3</cx:pt>
          <cx:pt idx="95351">2</cx:pt>
          <cx:pt idx="95352">0</cx:pt>
          <cx:pt idx="95353">2</cx:pt>
          <cx:pt idx="95354">3</cx:pt>
          <cx:pt idx="95355">1</cx:pt>
          <cx:pt idx="95356">3</cx:pt>
          <cx:pt idx="95357">2</cx:pt>
          <cx:pt idx="95358">4</cx:pt>
          <cx:pt idx="95359">3</cx:pt>
          <cx:pt idx="95360">1</cx:pt>
          <cx:pt idx="95361">1</cx:pt>
          <cx:pt idx="95362">4</cx:pt>
          <cx:pt idx="95363">4</cx:pt>
          <cx:pt idx="95364">1</cx:pt>
          <cx:pt idx="95365">1</cx:pt>
          <cx:pt idx="95366">4</cx:pt>
          <cx:pt idx="95367">2</cx:pt>
          <cx:pt idx="95368">3</cx:pt>
          <cx:pt idx="95369">3</cx:pt>
          <cx:pt idx="95370">3</cx:pt>
          <cx:pt idx="95371">3</cx:pt>
          <cx:pt idx="95372">1</cx:pt>
          <cx:pt idx="95373">5</cx:pt>
          <cx:pt idx="95374">3</cx:pt>
          <cx:pt idx="95375">1</cx:pt>
          <cx:pt idx="95376">3</cx:pt>
          <cx:pt idx="95377">3</cx:pt>
          <cx:pt idx="95378">2</cx:pt>
          <cx:pt idx="95379">3</cx:pt>
          <cx:pt idx="95380">2</cx:pt>
          <cx:pt idx="95381">4</cx:pt>
          <cx:pt idx="95382">5</cx:pt>
          <cx:pt idx="95383">3</cx:pt>
          <cx:pt idx="95384">4</cx:pt>
          <cx:pt idx="95385">5</cx:pt>
          <cx:pt idx="95386">3</cx:pt>
          <cx:pt idx="95387">3</cx:pt>
          <cx:pt idx="95388">3</cx:pt>
          <cx:pt idx="95389">0</cx:pt>
          <cx:pt idx="95390">4</cx:pt>
          <cx:pt idx="95391">4</cx:pt>
          <cx:pt idx="95392">1</cx:pt>
          <cx:pt idx="95393">3</cx:pt>
          <cx:pt idx="95394">1</cx:pt>
          <cx:pt idx="95395">3</cx:pt>
          <cx:pt idx="95396">5</cx:pt>
          <cx:pt idx="95397">4</cx:pt>
          <cx:pt idx="95398">3</cx:pt>
          <cx:pt idx="95399">5</cx:pt>
          <cx:pt idx="95400">2</cx:pt>
          <cx:pt idx="95401">5</cx:pt>
          <cx:pt idx="95402">5</cx:pt>
          <cx:pt idx="95403">2</cx:pt>
          <cx:pt idx="95404">2</cx:pt>
          <cx:pt idx="95405">1</cx:pt>
          <cx:pt idx="95406">1</cx:pt>
          <cx:pt idx="95407">0</cx:pt>
          <cx:pt idx="95408">1</cx:pt>
          <cx:pt idx="95409">1</cx:pt>
          <cx:pt idx="95410">1</cx:pt>
          <cx:pt idx="95411">2</cx:pt>
          <cx:pt idx="95412">0</cx:pt>
          <cx:pt idx="95413">3</cx:pt>
          <cx:pt idx="95414">1</cx:pt>
          <cx:pt idx="95415">3</cx:pt>
          <cx:pt idx="95416">2</cx:pt>
          <cx:pt idx="95417">1</cx:pt>
          <cx:pt idx="95418">5</cx:pt>
          <cx:pt idx="95419">3</cx:pt>
          <cx:pt idx="95420">2</cx:pt>
          <cx:pt idx="95421">1</cx:pt>
          <cx:pt idx="95422">5</cx:pt>
          <cx:pt idx="95423">2</cx:pt>
          <cx:pt idx="95424">3</cx:pt>
          <cx:pt idx="95425">2</cx:pt>
          <cx:pt idx="95426">1</cx:pt>
          <cx:pt idx="95427">2</cx:pt>
          <cx:pt idx="95428">4</cx:pt>
          <cx:pt idx="95429">3</cx:pt>
          <cx:pt idx="95430">5</cx:pt>
          <cx:pt idx="95431">2</cx:pt>
          <cx:pt idx="95432">1</cx:pt>
          <cx:pt idx="95433">2</cx:pt>
          <cx:pt idx="95434">5</cx:pt>
          <cx:pt idx="95435">2</cx:pt>
          <cx:pt idx="95436">3</cx:pt>
          <cx:pt idx="95437">3</cx:pt>
          <cx:pt idx="95438">4</cx:pt>
          <cx:pt idx="95439">1</cx:pt>
          <cx:pt idx="95440">5</cx:pt>
          <cx:pt idx="95441">1</cx:pt>
          <cx:pt idx="95442">5</cx:pt>
          <cx:pt idx="95443">2</cx:pt>
          <cx:pt idx="95444">2</cx:pt>
          <cx:pt idx="95445">2</cx:pt>
          <cx:pt idx="95446">3</cx:pt>
          <cx:pt idx="95447">3</cx:pt>
          <cx:pt idx="95448">1</cx:pt>
          <cx:pt idx="95449">4</cx:pt>
          <cx:pt idx="95450">3</cx:pt>
          <cx:pt idx="95451">3</cx:pt>
          <cx:pt idx="95452">3</cx:pt>
          <cx:pt idx="95453">3</cx:pt>
          <cx:pt idx="95454">5</cx:pt>
          <cx:pt idx="95455">3</cx:pt>
          <cx:pt idx="95456">2</cx:pt>
          <cx:pt idx="95457">2</cx:pt>
          <cx:pt idx="95458">3</cx:pt>
          <cx:pt idx="95459">1</cx:pt>
          <cx:pt idx="95460">1</cx:pt>
          <cx:pt idx="95461">4</cx:pt>
          <cx:pt idx="95462">3</cx:pt>
          <cx:pt idx="95463">2</cx:pt>
          <cx:pt idx="95464">3</cx:pt>
          <cx:pt idx="95465">4</cx:pt>
          <cx:pt idx="95466">2</cx:pt>
          <cx:pt idx="95467">3</cx:pt>
          <cx:pt idx="95468">3</cx:pt>
          <cx:pt idx="95469">1</cx:pt>
          <cx:pt idx="95470">3</cx:pt>
          <cx:pt idx="95471">3</cx:pt>
          <cx:pt idx="95472">5</cx:pt>
          <cx:pt idx="95473">1</cx:pt>
          <cx:pt idx="95474">4</cx:pt>
          <cx:pt idx="95475">5</cx:pt>
          <cx:pt idx="95476">2</cx:pt>
          <cx:pt idx="95477">3</cx:pt>
          <cx:pt idx="95478">2</cx:pt>
          <cx:pt idx="95479">1</cx:pt>
          <cx:pt idx="95480">4</cx:pt>
          <cx:pt idx="95481">5</cx:pt>
          <cx:pt idx="95482">4</cx:pt>
          <cx:pt idx="95483">3</cx:pt>
          <cx:pt idx="95484">5</cx:pt>
          <cx:pt idx="95485">3</cx:pt>
          <cx:pt idx="95486">4</cx:pt>
          <cx:pt idx="95487">2</cx:pt>
          <cx:pt idx="95488">2</cx:pt>
          <cx:pt idx="95489">1</cx:pt>
          <cx:pt idx="95490">5</cx:pt>
          <cx:pt idx="95491">5</cx:pt>
          <cx:pt idx="95492">3</cx:pt>
          <cx:pt idx="95493">1</cx:pt>
          <cx:pt idx="95494">1</cx:pt>
          <cx:pt idx="95495">0</cx:pt>
          <cx:pt idx="95496">4</cx:pt>
          <cx:pt idx="95497">5</cx:pt>
          <cx:pt idx="95498">4</cx:pt>
          <cx:pt idx="95499">3</cx:pt>
          <cx:pt idx="95500">2</cx:pt>
          <cx:pt idx="95501">4</cx:pt>
          <cx:pt idx="95502">3</cx:pt>
          <cx:pt idx="95503">1</cx:pt>
          <cx:pt idx="95504">3</cx:pt>
          <cx:pt idx="95505">4</cx:pt>
          <cx:pt idx="95506">2</cx:pt>
          <cx:pt idx="95507">4</cx:pt>
          <cx:pt idx="95508">1</cx:pt>
          <cx:pt idx="95509">2</cx:pt>
          <cx:pt idx="95510">3</cx:pt>
          <cx:pt idx="95511">5</cx:pt>
          <cx:pt idx="95512">4</cx:pt>
          <cx:pt idx="95513">5</cx:pt>
          <cx:pt idx="95514">2</cx:pt>
          <cx:pt idx="95515">2</cx:pt>
          <cx:pt idx="95516">1</cx:pt>
          <cx:pt idx="95517">0</cx:pt>
          <cx:pt idx="95518">2</cx:pt>
          <cx:pt idx="95519">4</cx:pt>
          <cx:pt idx="95520">3</cx:pt>
          <cx:pt idx="95521">4</cx:pt>
          <cx:pt idx="95522">2</cx:pt>
          <cx:pt idx="95523">3</cx:pt>
          <cx:pt idx="95524">3</cx:pt>
          <cx:pt idx="95525">4</cx:pt>
          <cx:pt idx="95526">5</cx:pt>
          <cx:pt idx="95527">5</cx:pt>
          <cx:pt idx="95528">4</cx:pt>
          <cx:pt idx="95529">1</cx:pt>
          <cx:pt idx="95530">1</cx:pt>
          <cx:pt idx="95531">4</cx:pt>
          <cx:pt idx="95532">3</cx:pt>
          <cx:pt idx="95533">4</cx:pt>
          <cx:pt idx="95534">3</cx:pt>
          <cx:pt idx="95535">0</cx:pt>
          <cx:pt idx="95536">3</cx:pt>
          <cx:pt idx="95537">3</cx:pt>
          <cx:pt idx="95538">3</cx:pt>
          <cx:pt idx="95539">3</cx:pt>
          <cx:pt idx="95540">4</cx:pt>
          <cx:pt idx="95541">3</cx:pt>
          <cx:pt idx="95542">5</cx:pt>
          <cx:pt idx="95543">4</cx:pt>
          <cx:pt idx="95544">1</cx:pt>
          <cx:pt idx="95545">4</cx:pt>
          <cx:pt idx="95546">3</cx:pt>
          <cx:pt idx="95547">5</cx:pt>
          <cx:pt idx="95548">1</cx:pt>
          <cx:pt idx="95549">2</cx:pt>
          <cx:pt idx="95550">4</cx:pt>
          <cx:pt idx="95551">1</cx:pt>
          <cx:pt idx="95552">5</cx:pt>
          <cx:pt idx="95553">3</cx:pt>
          <cx:pt idx="95554">5</cx:pt>
          <cx:pt idx="95555">3</cx:pt>
          <cx:pt idx="95556">3</cx:pt>
          <cx:pt idx="95557">2</cx:pt>
          <cx:pt idx="95558">5</cx:pt>
          <cx:pt idx="95559">3</cx:pt>
          <cx:pt idx="95560">2</cx:pt>
          <cx:pt idx="95561">2</cx:pt>
          <cx:pt idx="95562">3</cx:pt>
          <cx:pt idx="95563">3</cx:pt>
          <cx:pt idx="95564">2</cx:pt>
          <cx:pt idx="95565">2</cx:pt>
          <cx:pt idx="95566">4</cx:pt>
          <cx:pt idx="95567">0</cx:pt>
          <cx:pt idx="95568">2</cx:pt>
          <cx:pt idx="95569">4</cx:pt>
          <cx:pt idx="95570">4</cx:pt>
          <cx:pt idx="95571">3</cx:pt>
          <cx:pt idx="95572">4</cx:pt>
          <cx:pt idx="95573">1</cx:pt>
          <cx:pt idx="95574">5</cx:pt>
          <cx:pt idx="95575">1</cx:pt>
          <cx:pt idx="95576">3</cx:pt>
          <cx:pt idx="95577">3</cx:pt>
          <cx:pt idx="95578">3</cx:pt>
          <cx:pt idx="95579">3</cx:pt>
          <cx:pt idx="95580">3</cx:pt>
          <cx:pt idx="95581">2</cx:pt>
          <cx:pt idx="95582">4</cx:pt>
          <cx:pt idx="95583">1</cx:pt>
          <cx:pt idx="95584">3</cx:pt>
          <cx:pt idx="95585">5</cx:pt>
          <cx:pt idx="95586">3</cx:pt>
          <cx:pt idx="95587">0</cx:pt>
          <cx:pt idx="95588">3</cx:pt>
          <cx:pt idx="95589">3</cx:pt>
          <cx:pt idx="95590">3</cx:pt>
          <cx:pt idx="95591">3</cx:pt>
          <cx:pt idx="95592">2</cx:pt>
          <cx:pt idx="95593">3</cx:pt>
          <cx:pt idx="95594">3</cx:pt>
          <cx:pt idx="95595">4</cx:pt>
          <cx:pt idx="95596">4</cx:pt>
          <cx:pt idx="95597">5</cx:pt>
          <cx:pt idx="95598">4</cx:pt>
          <cx:pt idx="95599">2</cx:pt>
          <cx:pt idx="95600">5</cx:pt>
          <cx:pt idx="95601">3</cx:pt>
          <cx:pt idx="95602">2</cx:pt>
          <cx:pt idx="95603">5</cx:pt>
          <cx:pt idx="95604">1</cx:pt>
          <cx:pt idx="95605">2</cx:pt>
          <cx:pt idx="95606">1</cx:pt>
          <cx:pt idx="95607">4</cx:pt>
          <cx:pt idx="95608">4</cx:pt>
          <cx:pt idx="95609">2</cx:pt>
          <cx:pt idx="95610">5</cx:pt>
          <cx:pt idx="95611">3</cx:pt>
          <cx:pt idx="95612">2</cx:pt>
          <cx:pt idx="95613">1</cx:pt>
          <cx:pt idx="95614">4</cx:pt>
          <cx:pt idx="95615">2</cx:pt>
          <cx:pt idx="95616">5</cx:pt>
          <cx:pt idx="95617">2</cx:pt>
          <cx:pt idx="95618">3</cx:pt>
          <cx:pt idx="95619">1</cx:pt>
          <cx:pt idx="95620">2</cx:pt>
          <cx:pt idx="95621">4</cx:pt>
          <cx:pt idx="95622">2</cx:pt>
          <cx:pt idx="95623">1</cx:pt>
          <cx:pt idx="95624">4</cx:pt>
          <cx:pt idx="95625">5</cx:pt>
          <cx:pt idx="95626">3</cx:pt>
          <cx:pt idx="95627">5</cx:pt>
          <cx:pt idx="95628">4</cx:pt>
          <cx:pt idx="95629">3</cx:pt>
          <cx:pt idx="95630">0</cx:pt>
          <cx:pt idx="95631">2</cx:pt>
          <cx:pt idx="95632">5</cx:pt>
          <cx:pt idx="95633">3</cx:pt>
          <cx:pt idx="95634">1</cx:pt>
          <cx:pt idx="95635">4</cx:pt>
          <cx:pt idx="95636">5</cx:pt>
          <cx:pt idx="95637">2</cx:pt>
          <cx:pt idx="95638">5</cx:pt>
          <cx:pt idx="95639">2</cx:pt>
          <cx:pt idx="95640">2</cx:pt>
          <cx:pt idx="95641">1</cx:pt>
          <cx:pt idx="95642">3</cx:pt>
          <cx:pt idx="95643">4</cx:pt>
          <cx:pt idx="95644">2</cx:pt>
          <cx:pt idx="95645">4</cx:pt>
          <cx:pt idx="95646">2</cx:pt>
          <cx:pt idx="95647">2</cx:pt>
          <cx:pt idx="95648">3</cx:pt>
          <cx:pt idx="95649">3</cx:pt>
          <cx:pt idx="95650">3</cx:pt>
          <cx:pt idx="95651">2</cx:pt>
          <cx:pt idx="95652">2</cx:pt>
          <cx:pt idx="95653">3</cx:pt>
          <cx:pt idx="95654">5</cx:pt>
          <cx:pt idx="95655">3</cx:pt>
          <cx:pt idx="95656">1</cx:pt>
          <cx:pt idx="95657">5</cx:pt>
          <cx:pt idx="95658">3</cx:pt>
          <cx:pt idx="95659">0</cx:pt>
          <cx:pt idx="95660">3</cx:pt>
          <cx:pt idx="95661">2</cx:pt>
          <cx:pt idx="95662">5</cx:pt>
          <cx:pt idx="95663">2</cx:pt>
          <cx:pt idx="95664">4</cx:pt>
          <cx:pt idx="95665">5</cx:pt>
          <cx:pt idx="95666">2</cx:pt>
          <cx:pt idx="95667">5</cx:pt>
          <cx:pt idx="95668">3</cx:pt>
          <cx:pt idx="95669">5</cx:pt>
          <cx:pt idx="95670">2</cx:pt>
          <cx:pt idx="95671">2</cx:pt>
          <cx:pt idx="95672">2</cx:pt>
          <cx:pt idx="95673">2</cx:pt>
          <cx:pt idx="95674">3</cx:pt>
          <cx:pt idx="95675">3</cx:pt>
          <cx:pt idx="95676">2</cx:pt>
          <cx:pt idx="95677">2</cx:pt>
          <cx:pt idx="95678">1</cx:pt>
          <cx:pt idx="95679">3</cx:pt>
          <cx:pt idx="95680">1</cx:pt>
          <cx:pt idx="95681">2</cx:pt>
          <cx:pt idx="95682">0</cx:pt>
          <cx:pt idx="95683">3</cx:pt>
          <cx:pt idx="95684">2</cx:pt>
          <cx:pt idx="95685">4</cx:pt>
          <cx:pt idx="95686">4</cx:pt>
          <cx:pt idx="95687">3</cx:pt>
          <cx:pt idx="95688">1</cx:pt>
          <cx:pt idx="95689">1</cx:pt>
          <cx:pt idx="95690">2</cx:pt>
          <cx:pt idx="95691">4</cx:pt>
          <cx:pt idx="95692">3</cx:pt>
          <cx:pt idx="95693">5</cx:pt>
          <cx:pt idx="95694">1</cx:pt>
          <cx:pt idx="95695">2</cx:pt>
          <cx:pt idx="95696">1</cx:pt>
          <cx:pt idx="95697">4</cx:pt>
          <cx:pt idx="95698">4</cx:pt>
          <cx:pt idx="95699">3</cx:pt>
          <cx:pt idx="95700">2</cx:pt>
          <cx:pt idx="95701">3</cx:pt>
          <cx:pt idx="95702">0</cx:pt>
          <cx:pt idx="95703">4</cx:pt>
          <cx:pt idx="95704">3</cx:pt>
          <cx:pt idx="95705">4</cx:pt>
          <cx:pt idx="95706">2</cx:pt>
          <cx:pt idx="95707">4</cx:pt>
          <cx:pt idx="95708">2</cx:pt>
          <cx:pt idx="95709">1</cx:pt>
          <cx:pt idx="95710">3</cx:pt>
          <cx:pt idx="95711">3</cx:pt>
          <cx:pt idx="95712">3</cx:pt>
          <cx:pt idx="95713">3</cx:pt>
          <cx:pt idx="95714">2</cx:pt>
          <cx:pt idx="95715">2</cx:pt>
          <cx:pt idx="95716">2</cx:pt>
          <cx:pt idx="95717">3</cx:pt>
          <cx:pt idx="95718">3</cx:pt>
          <cx:pt idx="95719">4</cx:pt>
          <cx:pt idx="95720">2</cx:pt>
          <cx:pt idx="95721">4</cx:pt>
          <cx:pt idx="95722">0</cx:pt>
          <cx:pt idx="95723">1</cx:pt>
          <cx:pt idx="95724">1</cx:pt>
          <cx:pt idx="95725">3</cx:pt>
          <cx:pt idx="95726">3</cx:pt>
          <cx:pt idx="95727">4</cx:pt>
          <cx:pt idx="95728">3</cx:pt>
          <cx:pt idx="95729">4</cx:pt>
          <cx:pt idx="95730">1</cx:pt>
          <cx:pt idx="95731">3</cx:pt>
          <cx:pt idx="95732">1</cx:pt>
          <cx:pt idx="95733">3</cx:pt>
          <cx:pt idx="95734">4</cx:pt>
          <cx:pt idx="95735">2</cx:pt>
          <cx:pt idx="95736">3</cx:pt>
          <cx:pt idx="95737">5</cx:pt>
          <cx:pt idx="95738">4</cx:pt>
          <cx:pt idx="95739">1</cx:pt>
          <cx:pt idx="95740">2</cx:pt>
          <cx:pt idx="95741">2</cx:pt>
          <cx:pt idx="95742">4</cx:pt>
          <cx:pt idx="95743">4</cx:pt>
          <cx:pt idx="95744">4</cx:pt>
          <cx:pt idx="95745">3</cx:pt>
          <cx:pt idx="95746">5</cx:pt>
          <cx:pt idx="95747">3</cx:pt>
          <cx:pt idx="95748">2</cx:pt>
          <cx:pt idx="95749">3</cx:pt>
          <cx:pt idx="95750">1</cx:pt>
          <cx:pt idx="95751">3</cx:pt>
          <cx:pt idx="95752">2</cx:pt>
          <cx:pt idx="95753">3</cx:pt>
          <cx:pt idx="95754">2</cx:pt>
          <cx:pt idx="95755">2</cx:pt>
          <cx:pt idx="95756">4</cx:pt>
          <cx:pt idx="95757">2</cx:pt>
          <cx:pt idx="95758">4</cx:pt>
          <cx:pt idx="95759">3</cx:pt>
          <cx:pt idx="95760">2</cx:pt>
          <cx:pt idx="95761">3</cx:pt>
          <cx:pt idx="95762">4</cx:pt>
          <cx:pt idx="95763">1</cx:pt>
          <cx:pt idx="95764">2</cx:pt>
          <cx:pt idx="95765">5</cx:pt>
          <cx:pt idx="95766">0</cx:pt>
          <cx:pt idx="95767">4</cx:pt>
          <cx:pt idx="95768">0</cx:pt>
          <cx:pt idx="95769">4</cx:pt>
          <cx:pt idx="95770">2</cx:pt>
          <cx:pt idx="95771">1</cx:pt>
          <cx:pt idx="95772">4</cx:pt>
          <cx:pt idx="95773">4</cx:pt>
          <cx:pt idx="95774">3</cx:pt>
          <cx:pt idx="95775">2</cx:pt>
          <cx:pt idx="95776">5</cx:pt>
          <cx:pt idx="95777">5</cx:pt>
          <cx:pt idx="95778">5</cx:pt>
          <cx:pt idx="95779">3</cx:pt>
          <cx:pt idx="95780">3</cx:pt>
          <cx:pt idx="95781">3</cx:pt>
          <cx:pt idx="95782">1</cx:pt>
          <cx:pt idx="95783">2</cx:pt>
          <cx:pt idx="95784">2</cx:pt>
          <cx:pt idx="95785">3</cx:pt>
          <cx:pt idx="95786">2</cx:pt>
          <cx:pt idx="95787">3</cx:pt>
          <cx:pt idx="95788">4</cx:pt>
          <cx:pt idx="95789">4</cx:pt>
          <cx:pt idx="95790">3</cx:pt>
          <cx:pt idx="95791">1</cx:pt>
          <cx:pt idx="95792">1</cx:pt>
          <cx:pt idx="95793">1</cx:pt>
          <cx:pt idx="95794">5</cx:pt>
          <cx:pt idx="95795">2</cx:pt>
          <cx:pt idx="95796">1</cx:pt>
          <cx:pt idx="95797">5</cx:pt>
          <cx:pt idx="95798">2</cx:pt>
          <cx:pt idx="95799">1</cx:pt>
          <cx:pt idx="95800">5</cx:pt>
          <cx:pt idx="95801">2</cx:pt>
          <cx:pt idx="95802">3</cx:pt>
          <cx:pt idx="95803">5</cx:pt>
          <cx:pt idx="95804">1</cx:pt>
          <cx:pt idx="95805">2</cx:pt>
          <cx:pt idx="95806">2</cx:pt>
          <cx:pt idx="95807">4</cx:pt>
          <cx:pt idx="95808">3</cx:pt>
          <cx:pt idx="95809">2</cx:pt>
          <cx:pt idx="95810">5</cx:pt>
          <cx:pt idx="95811">5</cx:pt>
          <cx:pt idx="95812">1</cx:pt>
          <cx:pt idx="95813">1</cx:pt>
          <cx:pt idx="95814">3</cx:pt>
          <cx:pt idx="95815">3</cx:pt>
          <cx:pt idx="95816">1</cx:pt>
          <cx:pt idx="95817">1</cx:pt>
          <cx:pt idx="95818">1</cx:pt>
          <cx:pt idx="95819">3</cx:pt>
          <cx:pt idx="95820">3</cx:pt>
          <cx:pt idx="95821">1</cx:pt>
          <cx:pt idx="95822">2</cx:pt>
          <cx:pt idx="95823">4</cx:pt>
          <cx:pt idx="95824">4</cx:pt>
          <cx:pt idx="95825">4</cx:pt>
          <cx:pt idx="95826">2</cx:pt>
          <cx:pt idx="95827">0</cx:pt>
          <cx:pt idx="95828">3</cx:pt>
          <cx:pt idx="95829">5</cx:pt>
          <cx:pt idx="95830">1</cx:pt>
          <cx:pt idx="95831">5</cx:pt>
          <cx:pt idx="95832">5</cx:pt>
          <cx:pt idx="95833">4</cx:pt>
          <cx:pt idx="95834">4</cx:pt>
          <cx:pt idx="95835">2</cx:pt>
          <cx:pt idx="95836">5</cx:pt>
          <cx:pt idx="95837">5</cx:pt>
          <cx:pt idx="95838">4</cx:pt>
          <cx:pt idx="95839">4</cx:pt>
          <cx:pt idx="95840">2</cx:pt>
          <cx:pt idx="95841">3</cx:pt>
          <cx:pt idx="95842">3</cx:pt>
          <cx:pt idx="95843">0</cx:pt>
          <cx:pt idx="95844">1</cx:pt>
          <cx:pt idx="95845">5</cx:pt>
          <cx:pt idx="95846">5</cx:pt>
          <cx:pt idx="95847">2</cx:pt>
          <cx:pt idx="95848">1</cx:pt>
          <cx:pt idx="95849">1</cx:pt>
          <cx:pt idx="95850">1</cx:pt>
          <cx:pt idx="95851">3</cx:pt>
          <cx:pt idx="95852">1</cx:pt>
          <cx:pt idx="95853">0</cx:pt>
          <cx:pt idx="95854">3</cx:pt>
          <cx:pt idx="95855">2</cx:pt>
          <cx:pt idx="95856">4</cx:pt>
          <cx:pt idx="95857">5</cx:pt>
          <cx:pt idx="95858">1</cx:pt>
          <cx:pt idx="95859">1</cx:pt>
          <cx:pt idx="95860">2</cx:pt>
          <cx:pt idx="95861">3</cx:pt>
          <cx:pt idx="95862">1</cx:pt>
          <cx:pt idx="95863">3</cx:pt>
          <cx:pt idx="95864">3</cx:pt>
          <cx:pt idx="95865">4</cx:pt>
          <cx:pt idx="95866">5</cx:pt>
          <cx:pt idx="95867">2</cx:pt>
          <cx:pt idx="95868">3</cx:pt>
          <cx:pt idx="95869">2</cx:pt>
          <cx:pt idx="95870">3</cx:pt>
          <cx:pt idx="95871">4</cx:pt>
          <cx:pt idx="95872">2</cx:pt>
          <cx:pt idx="95873">5</cx:pt>
          <cx:pt idx="95874">4</cx:pt>
          <cx:pt idx="95875">2</cx:pt>
          <cx:pt idx="95876">0</cx:pt>
          <cx:pt idx="95877">1</cx:pt>
          <cx:pt idx="95878">2</cx:pt>
          <cx:pt idx="95879">4</cx:pt>
          <cx:pt idx="95880">3</cx:pt>
          <cx:pt idx="95881">1</cx:pt>
          <cx:pt idx="95882">3</cx:pt>
          <cx:pt idx="95883">4</cx:pt>
          <cx:pt idx="95884">4</cx:pt>
          <cx:pt idx="95885">0</cx:pt>
          <cx:pt idx="95886">5</cx:pt>
          <cx:pt idx="95887">3</cx:pt>
          <cx:pt idx="95888">4</cx:pt>
          <cx:pt idx="95889">5</cx:pt>
          <cx:pt idx="95890">5</cx:pt>
          <cx:pt idx="95891">4</cx:pt>
          <cx:pt idx="95892">1</cx:pt>
          <cx:pt idx="95893">3</cx:pt>
          <cx:pt idx="95894">3</cx:pt>
          <cx:pt idx="95895">3</cx:pt>
          <cx:pt idx="95896">0</cx:pt>
          <cx:pt idx="95897">2</cx:pt>
          <cx:pt idx="95898">3</cx:pt>
          <cx:pt idx="95899">3</cx:pt>
          <cx:pt idx="95900">3</cx:pt>
          <cx:pt idx="95901">3</cx:pt>
          <cx:pt idx="95902">5</cx:pt>
          <cx:pt idx="95903">3</cx:pt>
          <cx:pt idx="95904">4</cx:pt>
          <cx:pt idx="95905">3</cx:pt>
          <cx:pt idx="95906">2</cx:pt>
          <cx:pt idx="95907">3</cx:pt>
          <cx:pt idx="95908">3</cx:pt>
          <cx:pt idx="95909">4</cx:pt>
          <cx:pt idx="95910">3</cx:pt>
          <cx:pt idx="95911">5</cx:pt>
          <cx:pt idx="95912">5</cx:pt>
          <cx:pt idx="95913">2</cx:pt>
          <cx:pt idx="95914">4</cx:pt>
          <cx:pt idx="95915">1</cx:pt>
          <cx:pt idx="95916">4</cx:pt>
          <cx:pt idx="95917">1</cx:pt>
          <cx:pt idx="95918">5</cx:pt>
          <cx:pt idx="95919">3</cx:pt>
          <cx:pt idx="95920">4</cx:pt>
          <cx:pt idx="95921">2</cx:pt>
          <cx:pt idx="95922">5</cx:pt>
          <cx:pt idx="95923">4</cx:pt>
          <cx:pt idx="95924">3</cx:pt>
          <cx:pt idx="95925">3</cx:pt>
          <cx:pt idx="95926">4</cx:pt>
          <cx:pt idx="95927">5</cx:pt>
          <cx:pt idx="95928">4</cx:pt>
          <cx:pt idx="95929">5</cx:pt>
          <cx:pt idx="95930">1</cx:pt>
          <cx:pt idx="95931">2</cx:pt>
          <cx:pt idx="95932">5</cx:pt>
          <cx:pt idx="95933">5</cx:pt>
          <cx:pt idx="95934">3</cx:pt>
          <cx:pt idx="95935">1</cx:pt>
          <cx:pt idx="95936">2</cx:pt>
          <cx:pt idx="95937">5</cx:pt>
          <cx:pt idx="95938">3</cx:pt>
          <cx:pt idx="95939">5</cx:pt>
          <cx:pt idx="95940">3</cx:pt>
          <cx:pt idx="95941">2</cx:pt>
          <cx:pt idx="95942">3</cx:pt>
          <cx:pt idx="95943">4</cx:pt>
          <cx:pt idx="95944">1</cx:pt>
          <cx:pt idx="95945">1</cx:pt>
          <cx:pt idx="95946">3</cx:pt>
          <cx:pt idx="95947">1</cx:pt>
          <cx:pt idx="95948">4</cx:pt>
          <cx:pt idx="95949">4</cx:pt>
          <cx:pt idx="95950">5</cx:pt>
          <cx:pt idx="95951">2</cx:pt>
          <cx:pt idx="95952">2</cx:pt>
          <cx:pt idx="95953">1</cx:pt>
          <cx:pt idx="95954">5</cx:pt>
          <cx:pt idx="95955">4</cx:pt>
          <cx:pt idx="95956">4</cx:pt>
          <cx:pt idx="95957">1</cx:pt>
          <cx:pt idx="95958">3</cx:pt>
          <cx:pt idx="95959">4</cx:pt>
          <cx:pt idx="95960">5</cx:pt>
          <cx:pt idx="95961">5</cx:pt>
          <cx:pt idx="95962">3</cx:pt>
          <cx:pt idx="95963">4</cx:pt>
          <cx:pt idx="95964">4</cx:pt>
          <cx:pt idx="95965">3</cx:pt>
          <cx:pt idx="95966">4</cx:pt>
          <cx:pt idx="95967">3</cx:pt>
          <cx:pt idx="95968">2</cx:pt>
          <cx:pt idx="95969">3</cx:pt>
          <cx:pt idx="95970">3</cx:pt>
          <cx:pt idx="95971">2</cx:pt>
          <cx:pt idx="95972">4</cx:pt>
          <cx:pt idx="95973">1</cx:pt>
          <cx:pt idx="95974">1</cx:pt>
          <cx:pt idx="95975">3</cx:pt>
          <cx:pt idx="95976">4</cx:pt>
          <cx:pt idx="95977">3</cx:pt>
          <cx:pt idx="95978">3</cx:pt>
          <cx:pt idx="95979">2</cx:pt>
          <cx:pt idx="95980">1</cx:pt>
          <cx:pt idx="95981">3</cx:pt>
          <cx:pt idx="95982">3</cx:pt>
          <cx:pt idx="95983">3</cx:pt>
          <cx:pt idx="95984">1</cx:pt>
          <cx:pt idx="95985">5</cx:pt>
          <cx:pt idx="95986">3</cx:pt>
          <cx:pt idx="95987">5</cx:pt>
          <cx:pt idx="95988">4</cx:pt>
          <cx:pt idx="95989">0</cx:pt>
          <cx:pt idx="95990">2</cx:pt>
          <cx:pt idx="95991">3</cx:pt>
          <cx:pt idx="95992">5</cx:pt>
          <cx:pt idx="95993">1</cx:pt>
          <cx:pt idx="95994">2</cx:pt>
          <cx:pt idx="95995">4</cx:pt>
          <cx:pt idx="95996">3</cx:pt>
          <cx:pt idx="95997">2</cx:pt>
          <cx:pt idx="95998">3</cx:pt>
          <cx:pt idx="95999">4</cx:pt>
          <cx:pt idx="96000">4</cx:pt>
          <cx:pt idx="96001">1</cx:pt>
          <cx:pt idx="96002">4</cx:pt>
          <cx:pt idx="96003">1</cx:pt>
          <cx:pt idx="96004">2</cx:pt>
          <cx:pt idx="96005">3</cx:pt>
          <cx:pt idx="96006">1</cx:pt>
          <cx:pt idx="96007">2</cx:pt>
          <cx:pt idx="96008">1</cx:pt>
          <cx:pt idx="96009">2</cx:pt>
          <cx:pt idx="96010">2</cx:pt>
          <cx:pt idx="96011">2</cx:pt>
          <cx:pt idx="96012">2</cx:pt>
          <cx:pt idx="96013">3</cx:pt>
          <cx:pt idx="96014">1</cx:pt>
          <cx:pt idx="96015">5</cx:pt>
          <cx:pt idx="96016">5</cx:pt>
          <cx:pt idx="96017">4</cx:pt>
          <cx:pt idx="96018">3</cx:pt>
          <cx:pt idx="96019">2</cx:pt>
          <cx:pt idx="96020">4</cx:pt>
          <cx:pt idx="96021">0</cx:pt>
          <cx:pt idx="96022">1</cx:pt>
          <cx:pt idx="96023">3</cx:pt>
          <cx:pt idx="96024">1</cx:pt>
          <cx:pt idx="96025">2</cx:pt>
          <cx:pt idx="96026">2</cx:pt>
          <cx:pt idx="96027">1</cx:pt>
          <cx:pt idx="96028">2</cx:pt>
          <cx:pt idx="96029">1</cx:pt>
          <cx:pt idx="96030">4</cx:pt>
          <cx:pt idx="96031">2</cx:pt>
          <cx:pt idx="96032">1</cx:pt>
          <cx:pt idx="96033">2</cx:pt>
          <cx:pt idx="96034">5</cx:pt>
          <cx:pt idx="96035">3</cx:pt>
          <cx:pt idx="96036">1</cx:pt>
          <cx:pt idx="96037">5</cx:pt>
          <cx:pt idx="96038">5</cx:pt>
          <cx:pt idx="96039">5</cx:pt>
          <cx:pt idx="96040">3</cx:pt>
          <cx:pt idx="96041">1</cx:pt>
          <cx:pt idx="96042">4</cx:pt>
          <cx:pt idx="96043">5</cx:pt>
          <cx:pt idx="96044">5</cx:pt>
          <cx:pt idx="96045">1</cx:pt>
          <cx:pt idx="96046">0</cx:pt>
          <cx:pt idx="96047">5</cx:pt>
          <cx:pt idx="96048">5</cx:pt>
          <cx:pt idx="96049">1</cx:pt>
          <cx:pt idx="96050">1</cx:pt>
          <cx:pt idx="96051">3</cx:pt>
          <cx:pt idx="96052">1</cx:pt>
          <cx:pt idx="96053">2</cx:pt>
          <cx:pt idx="96054">4</cx:pt>
          <cx:pt idx="96055">1</cx:pt>
          <cx:pt idx="96056">4</cx:pt>
          <cx:pt idx="96057">3</cx:pt>
          <cx:pt idx="96058">2</cx:pt>
          <cx:pt idx="96059">3</cx:pt>
          <cx:pt idx="96060">3</cx:pt>
          <cx:pt idx="96061">2</cx:pt>
          <cx:pt idx="96062">5</cx:pt>
          <cx:pt idx="96063">4</cx:pt>
          <cx:pt idx="96064">3</cx:pt>
          <cx:pt idx="96065">3</cx:pt>
          <cx:pt idx="96066">4</cx:pt>
          <cx:pt idx="96067">4</cx:pt>
          <cx:pt idx="96068">2</cx:pt>
          <cx:pt idx="96069">2</cx:pt>
          <cx:pt idx="96070">2</cx:pt>
          <cx:pt idx="96071">5</cx:pt>
          <cx:pt idx="96072">4</cx:pt>
          <cx:pt idx="96073">3</cx:pt>
          <cx:pt idx="96074">4</cx:pt>
          <cx:pt idx="96075">4</cx:pt>
          <cx:pt idx="96076">1</cx:pt>
          <cx:pt idx="96077">5</cx:pt>
          <cx:pt idx="96078">5</cx:pt>
          <cx:pt idx="96079">2</cx:pt>
          <cx:pt idx="96080">2</cx:pt>
          <cx:pt idx="96081">4</cx:pt>
          <cx:pt idx="96082">3</cx:pt>
          <cx:pt idx="96083">2</cx:pt>
          <cx:pt idx="96084">4</cx:pt>
          <cx:pt idx="96085">4</cx:pt>
          <cx:pt idx="96086">2</cx:pt>
          <cx:pt idx="96087">2</cx:pt>
          <cx:pt idx="96088">2</cx:pt>
          <cx:pt idx="96089">1</cx:pt>
          <cx:pt idx="96090">2</cx:pt>
          <cx:pt idx="96091">3</cx:pt>
          <cx:pt idx="96092">2</cx:pt>
          <cx:pt idx="96093">4</cx:pt>
          <cx:pt idx="96094">3</cx:pt>
          <cx:pt idx="96095">3</cx:pt>
          <cx:pt idx="96096">2</cx:pt>
          <cx:pt idx="96097">3</cx:pt>
          <cx:pt idx="96098">3</cx:pt>
          <cx:pt idx="96099">2</cx:pt>
          <cx:pt idx="96100">1</cx:pt>
          <cx:pt idx="96101">5</cx:pt>
          <cx:pt idx="96102">5</cx:pt>
          <cx:pt idx="96103">5</cx:pt>
          <cx:pt idx="96104">4</cx:pt>
          <cx:pt idx="96105">3</cx:pt>
          <cx:pt idx="96106">3</cx:pt>
          <cx:pt idx="96107">2</cx:pt>
          <cx:pt idx="96108">5</cx:pt>
          <cx:pt idx="96109">3</cx:pt>
          <cx:pt idx="96110">3</cx:pt>
          <cx:pt idx="96111">2</cx:pt>
          <cx:pt idx="96112">2</cx:pt>
          <cx:pt idx="96113">1</cx:pt>
          <cx:pt idx="96114">2</cx:pt>
          <cx:pt idx="96115">1</cx:pt>
          <cx:pt idx="96116">2</cx:pt>
          <cx:pt idx="96117">2</cx:pt>
          <cx:pt idx="96118">3</cx:pt>
          <cx:pt idx="96119">1</cx:pt>
          <cx:pt idx="96120">5</cx:pt>
          <cx:pt idx="96121">4</cx:pt>
          <cx:pt idx="96122">4</cx:pt>
          <cx:pt idx="96123">3</cx:pt>
          <cx:pt idx="96124">2</cx:pt>
          <cx:pt idx="96125">5</cx:pt>
          <cx:pt idx="96126">5</cx:pt>
          <cx:pt idx="96127">3</cx:pt>
          <cx:pt idx="96128">1</cx:pt>
          <cx:pt idx="96129">3</cx:pt>
          <cx:pt idx="96130">3</cx:pt>
          <cx:pt idx="96131">3</cx:pt>
          <cx:pt idx="96132">0</cx:pt>
          <cx:pt idx="96133">4</cx:pt>
          <cx:pt idx="96134">3</cx:pt>
          <cx:pt idx="96135">2</cx:pt>
          <cx:pt idx="96136">1</cx:pt>
          <cx:pt idx="96137">3</cx:pt>
          <cx:pt idx="96138">1</cx:pt>
          <cx:pt idx="96139">5</cx:pt>
          <cx:pt idx="96140">5</cx:pt>
          <cx:pt idx="96141">4</cx:pt>
          <cx:pt idx="96142">2</cx:pt>
          <cx:pt idx="96143">4</cx:pt>
          <cx:pt idx="96144">2</cx:pt>
          <cx:pt idx="96145">3</cx:pt>
          <cx:pt idx="96146">1</cx:pt>
          <cx:pt idx="96147">1</cx:pt>
          <cx:pt idx="96148">2</cx:pt>
          <cx:pt idx="96149">2</cx:pt>
          <cx:pt idx="96150">3</cx:pt>
          <cx:pt idx="96151">1</cx:pt>
          <cx:pt idx="96152">2</cx:pt>
          <cx:pt idx="96153">4</cx:pt>
          <cx:pt idx="96154">2</cx:pt>
          <cx:pt idx="96155">1</cx:pt>
          <cx:pt idx="96156">3</cx:pt>
          <cx:pt idx="96157">3</cx:pt>
          <cx:pt idx="96158">4</cx:pt>
          <cx:pt idx="96159">3</cx:pt>
          <cx:pt idx="96160">2</cx:pt>
          <cx:pt idx="96161">3</cx:pt>
          <cx:pt idx="96162">5</cx:pt>
          <cx:pt idx="96163">2</cx:pt>
          <cx:pt idx="96164">1</cx:pt>
          <cx:pt idx="96165">2</cx:pt>
          <cx:pt idx="96166">3</cx:pt>
          <cx:pt idx="96167">1</cx:pt>
          <cx:pt idx="96168">1</cx:pt>
          <cx:pt idx="96169">5</cx:pt>
          <cx:pt idx="96170">5</cx:pt>
          <cx:pt idx="96171">5</cx:pt>
          <cx:pt idx="96172">3</cx:pt>
          <cx:pt idx="96173">1</cx:pt>
          <cx:pt idx="96174">0</cx:pt>
          <cx:pt idx="96175">4</cx:pt>
          <cx:pt idx="96176">4</cx:pt>
          <cx:pt idx="96177">5</cx:pt>
          <cx:pt idx="96178">2</cx:pt>
          <cx:pt idx="96179">1</cx:pt>
          <cx:pt idx="96180">4</cx:pt>
          <cx:pt idx="96181">5</cx:pt>
          <cx:pt idx="96182">5</cx:pt>
          <cx:pt idx="96183">2</cx:pt>
          <cx:pt idx="96184">1</cx:pt>
          <cx:pt idx="96185">2</cx:pt>
          <cx:pt idx="96186">5</cx:pt>
          <cx:pt idx="96187">5</cx:pt>
          <cx:pt idx="96188">3</cx:pt>
          <cx:pt idx="96189">2</cx:pt>
          <cx:pt idx="96190">4</cx:pt>
          <cx:pt idx="96191">5</cx:pt>
          <cx:pt idx="96192">5</cx:pt>
          <cx:pt idx="96193">2</cx:pt>
          <cx:pt idx="96194">3</cx:pt>
          <cx:pt idx="96195">3</cx:pt>
          <cx:pt idx="96196">4</cx:pt>
          <cx:pt idx="96197">1</cx:pt>
          <cx:pt idx="96198">5</cx:pt>
          <cx:pt idx="96199">5</cx:pt>
          <cx:pt idx="96200">5</cx:pt>
          <cx:pt idx="96201">1</cx:pt>
          <cx:pt idx="96202">0</cx:pt>
          <cx:pt idx="96203">5</cx:pt>
          <cx:pt idx="96204">2</cx:pt>
          <cx:pt idx="96205">5</cx:pt>
          <cx:pt idx="96206">2</cx:pt>
          <cx:pt idx="96207">4</cx:pt>
          <cx:pt idx="96208">5</cx:pt>
          <cx:pt idx="96209">2</cx:pt>
          <cx:pt idx="96210">3</cx:pt>
          <cx:pt idx="96211">2</cx:pt>
          <cx:pt idx="96212">2</cx:pt>
          <cx:pt idx="96213">4</cx:pt>
          <cx:pt idx="96214">3</cx:pt>
          <cx:pt idx="96215">1</cx:pt>
          <cx:pt idx="96216">4</cx:pt>
          <cx:pt idx="96217">4</cx:pt>
          <cx:pt idx="96218">1</cx:pt>
          <cx:pt idx="96219">5</cx:pt>
          <cx:pt idx="96220">1</cx:pt>
          <cx:pt idx="96221">0</cx:pt>
          <cx:pt idx="96222">2</cx:pt>
          <cx:pt idx="96223">0</cx:pt>
          <cx:pt idx="96224">5</cx:pt>
          <cx:pt idx="96225">3</cx:pt>
          <cx:pt idx="96226">5</cx:pt>
          <cx:pt idx="96227">3</cx:pt>
          <cx:pt idx="96228">4</cx:pt>
          <cx:pt idx="96229">1</cx:pt>
          <cx:pt idx="96230">2</cx:pt>
          <cx:pt idx="96231">5</cx:pt>
          <cx:pt idx="96232">1</cx:pt>
          <cx:pt idx="96233">4</cx:pt>
          <cx:pt idx="96234">1</cx:pt>
          <cx:pt idx="96235">2</cx:pt>
          <cx:pt idx="96236">4</cx:pt>
          <cx:pt idx="96237">4</cx:pt>
          <cx:pt idx="96238">2</cx:pt>
          <cx:pt idx="96239">5</cx:pt>
          <cx:pt idx="96240">4</cx:pt>
          <cx:pt idx="96241">4</cx:pt>
          <cx:pt idx="96242">3</cx:pt>
          <cx:pt idx="96243">4</cx:pt>
          <cx:pt idx="96244">5</cx:pt>
          <cx:pt idx="96245">0</cx:pt>
          <cx:pt idx="96246">2</cx:pt>
          <cx:pt idx="96247">1</cx:pt>
          <cx:pt idx="96248">0</cx:pt>
          <cx:pt idx="96249">1</cx:pt>
          <cx:pt idx="96250">1</cx:pt>
          <cx:pt idx="96251">2</cx:pt>
          <cx:pt idx="96252">1</cx:pt>
          <cx:pt idx="96253">4</cx:pt>
          <cx:pt idx="96254">3</cx:pt>
          <cx:pt idx="96255">4</cx:pt>
          <cx:pt idx="96256">2</cx:pt>
          <cx:pt idx="96257">1</cx:pt>
          <cx:pt idx="96258">0</cx:pt>
          <cx:pt idx="96259">1</cx:pt>
          <cx:pt idx="96260">1</cx:pt>
          <cx:pt idx="96261">1</cx:pt>
          <cx:pt idx="96262">2</cx:pt>
          <cx:pt idx="96263">3</cx:pt>
          <cx:pt idx="96264">2</cx:pt>
          <cx:pt idx="96265">4</cx:pt>
          <cx:pt idx="96266">4</cx:pt>
          <cx:pt idx="96267">1</cx:pt>
          <cx:pt idx="96268">0</cx:pt>
          <cx:pt idx="96269">4</cx:pt>
          <cx:pt idx="96270">4</cx:pt>
          <cx:pt idx="96271">2</cx:pt>
          <cx:pt idx="96272">4</cx:pt>
          <cx:pt idx="96273">3</cx:pt>
          <cx:pt idx="96274">3</cx:pt>
          <cx:pt idx="96275">3</cx:pt>
          <cx:pt idx="96276">3</cx:pt>
          <cx:pt idx="96277">2</cx:pt>
          <cx:pt idx="96278">1</cx:pt>
          <cx:pt idx="96279">4</cx:pt>
          <cx:pt idx="96280">4</cx:pt>
          <cx:pt idx="96281">2</cx:pt>
          <cx:pt idx="96282">5</cx:pt>
          <cx:pt idx="96283">5</cx:pt>
          <cx:pt idx="96284">1</cx:pt>
          <cx:pt idx="96285">3</cx:pt>
          <cx:pt idx="96286">5</cx:pt>
          <cx:pt idx="96287">3</cx:pt>
          <cx:pt idx="96288">1</cx:pt>
          <cx:pt idx="96289">4</cx:pt>
          <cx:pt idx="96290">1</cx:pt>
          <cx:pt idx="96291">3</cx:pt>
          <cx:pt idx="96292">1</cx:pt>
          <cx:pt idx="96293">4</cx:pt>
          <cx:pt idx="96294">3</cx:pt>
          <cx:pt idx="96295">3</cx:pt>
          <cx:pt idx="96296">2</cx:pt>
          <cx:pt idx="96297">4</cx:pt>
          <cx:pt idx="96298">1</cx:pt>
          <cx:pt idx="96299">1</cx:pt>
          <cx:pt idx="96300">5</cx:pt>
          <cx:pt idx="96301">2</cx:pt>
          <cx:pt idx="96302">5</cx:pt>
          <cx:pt idx="96303">2</cx:pt>
          <cx:pt idx="96304">2</cx:pt>
          <cx:pt idx="96305">3</cx:pt>
          <cx:pt idx="96306">2</cx:pt>
          <cx:pt idx="96307">3</cx:pt>
          <cx:pt idx="96308">4</cx:pt>
          <cx:pt idx="96309">4</cx:pt>
          <cx:pt idx="96310">2</cx:pt>
          <cx:pt idx="96311">2</cx:pt>
          <cx:pt idx="96312">2</cx:pt>
          <cx:pt idx="96313">2</cx:pt>
          <cx:pt idx="96314">1</cx:pt>
          <cx:pt idx="96315">3</cx:pt>
          <cx:pt idx="96316">1</cx:pt>
          <cx:pt idx="96317">3</cx:pt>
          <cx:pt idx="96318">3</cx:pt>
          <cx:pt idx="96319">3</cx:pt>
          <cx:pt idx="96320">5</cx:pt>
          <cx:pt idx="96321">4</cx:pt>
          <cx:pt idx="96322">4</cx:pt>
          <cx:pt idx="96323">3</cx:pt>
          <cx:pt idx="96324">5</cx:pt>
          <cx:pt idx="96325">1</cx:pt>
          <cx:pt idx="96326">4</cx:pt>
          <cx:pt idx="96327">2</cx:pt>
          <cx:pt idx="96328">2</cx:pt>
          <cx:pt idx="96329">2</cx:pt>
          <cx:pt idx="96330">4</cx:pt>
          <cx:pt idx="96331">3</cx:pt>
          <cx:pt idx="96332">2</cx:pt>
          <cx:pt idx="96333">5</cx:pt>
          <cx:pt idx="96334">5</cx:pt>
          <cx:pt idx="96335">4</cx:pt>
          <cx:pt idx="96336">1</cx:pt>
          <cx:pt idx="96337">4</cx:pt>
          <cx:pt idx="96338">3</cx:pt>
          <cx:pt idx="96339">2</cx:pt>
          <cx:pt idx="96340">4</cx:pt>
          <cx:pt idx="96341">3</cx:pt>
          <cx:pt idx="96342">5</cx:pt>
          <cx:pt idx="96343">2</cx:pt>
          <cx:pt idx="96344">4</cx:pt>
          <cx:pt idx="96345">2</cx:pt>
          <cx:pt idx="96346">3</cx:pt>
          <cx:pt idx="96347">2</cx:pt>
          <cx:pt idx="96348">5</cx:pt>
          <cx:pt idx="96349">1</cx:pt>
          <cx:pt idx="96350">5</cx:pt>
          <cx:pt idx="96351">1</cx:pt>
          <cx:pt idx="96352">1</cx:pt>
          <cx:pt idx="96353">4</cx:pt>
          <cx:pt idx="96354">4</cx:pt>
          <cx:pt idx="96355">2</cx:pt>
          <cx:pt idx="96356">4</cx:pt>
          <cx:pt idx="96357">2</cx:pt>
          <cx:pt idx="96358">3</cx:pt>
          <cx:pt idx="96359">3</cx:pt>
          <cx:pt idx="96360">4</cx:pt>
          <cx:pt idx="96361">2</cx:pt>
          <cx:pt idx="96362">2</cx:pt>
          <cx:pt idx="96363">2</cx:pt>
          <cx:pt idx="96364">3</cx:pt>
          <cx:pt idx="96365">2</cx:pt>
          <cx:pt idx="96366">4</cx:pt>
          <cx:pt idx="96367">2</cx:pt>
          <cx:pt idx="96368">1</cx:pt>
          <cx:pt idx="96369">1</cx:pt>
          <cx:pt idx="96370">1</cx:pt>
          <cx:pt idx="96371">1</cx:pt>
          <cx:pt idx="96372">1</cx:pt>
          <cx:pt idx="96373">3</cx:pt>
          <cx:pt idx="96374">3</cx:pt>
          <cx:pt idx="96375">0</cx:pt>
          <cx:pt idx="96376">5</cx:pt>
          <cx:pt idx="96377">0</cx:pt>
          <cx:pt idx="96378">1</cx:pt>
          <cx:pt idx="96379">1</cx:pt>
          <cx:pt idx="96380">1</cx:pt>
          <cx:pt idx="96381">3</cx:pt>
          <cx:pt idx="96382">1</cx:pt>
          <cx:pt idx="96383">1</cx:pt>
          <cx:pt idx="96384">2</cx:pt>
          <cx:pt idx="96385">2</cx:pt>
          <cx:pt idx="96386">4</cx:pt>
          <cx:pt idx="96387">5</cx:pt>
          <cx:pt idx="96388">4</cx:pt>
          <cx:pt idx="96389">4</cx:pt>
          <cx:pt idx="96390">3</cx:pt>
          <cx:pt idx="96391">1</cx:pt>
          <cx:pt idx="96392">5</cx:pt>
          <cx:pt idx="96393">4</cx:pt>
          <cx:pt idx="96394">4</cx:pt>
          <cx:pt idx="96395">1</cx:pt>
          <cx:pt idx="96396">4</cx:pt>
          <cx:pt idx="96397">4</cx:pt>
          <cx:pt idx="96398">4</cx:pt>
          <cx:pt idx="96399">5</cx:pt>
          <cx:pt idx="96400">2</cx:pt>
          <cx:pt idx="96401">3</cx:pt>
          <cx:pt idx="96402">3</cx:pt>
          <cx:pt idx="96403">1</cx:pt>
          <cx:pt idx="96404">3</cx:pt>
          <cx:pt idx="96405">3</cx:pt>
          <cx:pt idx="96406">1</cx:pt>
          <cx:pt idx="96407">4</cx:pt>
          <cx:pt idx="96408">4</cx:pt>
          <cx:pt idx="96409">4</cx:pt>
          <cx:pt idx="96410">4</cx:pt>
          <cx:pt idx="96411">2</cx:pt>
          <cx:pt idx="96412">2</cx:pt>
          <cx:pt idx="96413">0</cx:pt>
          <cx:pt idx="96414">4</cx:pt>
          <cx:pt idx="96415">0</cx:pt>
          <cx:pt idx="96416">1</cx:pt>
          <cx:pt idx="96417">5</cx:pt>
          <cx:pt idx="96418">2</cx:pt>
          <cx:pt idx="96419">3</cx:pt>
          <cx:pt idx="96420">2</cx:pt>
          <cx:pt idx="96421">1</cx:pt>
          <cx:pt idx="96422">0</cx:pt>
          <cx:pt idx="96423">5</cx:pt>
          <cx:pt idx="96424">4</cx:pt>
          <cx:pt idx="96425">1</cx:pt>
          <cx:pt idx="96426">5</cx:pt>
          <cx:pt idx="96427">5</cx:pt>
          <cx:pt idx="96428">5</cx:pt>
          <cx:pt idx="96429">1</cx:pt>
          <cx:pt idx="96430">5</cx:pt>
          <cx:pt idx="96431">2</cx:pt>
          <cx:pt idx="96432">5</cx:pt>
          <cx:pt idx="96433">3</cx:pt>
          <cx:pt idx="96434">2</cx:pt>
          <cx:pt idx="96435">1</cx:pt>
          <cx:pt idx="96436">4</cx:pt>
          <cx:pt idx="96437">3</cx:pt>
          <cx:pt idx="96438">3</cx:pt>
          <cx:pt idx="96439">4</cx:pt>
          <cx:pt idx="96440">2</cx:pt>
          <cx:pt idx="96441">0</cx:pt>
          <cx:pt idx="96442">4</cx:pt>
          <cx:pt idx="96443">1</cx:pt>
          <cx:pt idx="96444">2</cx:pt>
          <cx:pt idx="96445">2</cx:pt>
          <cx:pt idx="96446">3</cx:pt>
          <cx:pt idx="96447">4</cx:pt>
          <cx:pt idx="96448">4</cx:pt>
          <cx:pt idx="96449">3</cx:pt>
          <cx:pt idx="96450">2</cx:pt>
          <cx:pt idx="96451">4</cx:pt>
          <cx:pt idx="96452">5</cx:pt>
          <cx:pt idx="96453">3</cx:pt>
          <cx:pt idx="96454">2</cx:pt>
          <cx:pt idx="96455">0</cx:pt>
          <cx:pt idx="96456">1</cx:pt>
          <cx:pt idx="96457">3</cx:pt>
          <cx:pt idx="96458">1</cx:pt>
          <cx:pt idx="96459">5</cx:pt>
          <cx:pt idx="96460">3</cx:pt>
          <cx:pt idx="96461">2</cx:pt>
          <cx:pt idx="96462">3</cx:pt>
          <cx:pt idx="96463">5</cx:pt>
          <cx:pt idx="96464">2</cx:pt>
          <cx:pt idx="96465">2</cx:pt>
          <cx:pt idx="96466">3</cx:pt>
          <cx:pt idx="96467">5</cx:pt>
          <cx:pt idx="96468">2</cx:pt>
          <cx:pt idx="96469">5</cx:pt>
          <cx:pt idx="96470">0</cx:pt>
          <cx:pt idx="96471">3</cx:pt>
          <cx:pt idx="96472">5</cx:pt>
          <cx:pt idx="96473">3</cx:pt>
          <cx:pt idx="96474">2</cx:pt>
          <cx:pt idx="96475">3</cx:pt>
          <cx:pt idx="96476">2</cx:pt>
          <cx:pt idx="96477">1</cx:pt>
          <cx:pt idx="96478">2</cx:pt>
          <cx:pt idx="96479">2</cx:pt>
          <cx:pt idx="96480">3</cx:pt>
          <cx:pt idx="96481">5</cx:pt>
          <cx:pt idx="96482">5</cx:pt>
          <cx:pt idx="96483">3</cx:pt>
          <cx:pt idx="96484">3</cx:pt>
          <cx:pt idx="96485">2</cx:pt>
          <cx:pt idx="96486">3</cx:pt>
          <cx:pt idx="96487">1</cx:pt>
          <cx:pt idx="96488">2</cx:pt>
          <cx:pt idx="96489">0</cx:pt>
          <cx:pt idx="96490">2</cx:pt>
          <cx:pt idx="96491">2</cx:pt>
          <cx:pt idx="96492">3</cx:pt>
          <cx:pt idx="96493">2</cx:pt>
          <cx:pt idx="96494">5</cx:pt>
          <cx:pt idx="96495">4</cx:pt>
          <cx:pt idx="96496">0</cx:pt>
          <cx:pt idx="96497">4</cx:pt>
          <cx:pt idx="96498">2</cx:pt>
          <cx:pt idx="96499">5</cx:pt>
          <cx:pt idx="96500">4</cx:pt>
          <cx:pt idx="96501">2</cx:pt>
          <cx:pt idx="96502">3</cx:pt>
          <cx:pt idx="96503">2</cx:pt>
          <cx:pt idx="96504">2</cx:pt>
          <cx:pt idx="96505">3</cx:pt>
          <cx:pt idx="96506">2</cx:pt>
          <cx:pt idx="96507">4</cx:pt>
          <cx:pt idx="96508">2</cx:pt>
          <cx:pt idx="96509">2</cx:pt>
          <cx:pt idx="96510">1</cx:pt>
          <cx:pt idx="96511">4</cx:pt>
          <cx:pt idx="96512">5</cx:pt>
          <cx:pt idx="96513">3</cx:pt>
          <cx:pt idx="96514">1</cx:pt>
          <cx:pt idx="96515">3</cx:pt>
          <cx:pt idx="96516">2</cx:pt>
          <cx:pt idx="96517">3</cx:pt>
          <cx:pt idx="96518">0</cx:pt>
          <cx:pt idx="96519">2</cx:pt>
          <cx:pt idx="96520">1</cx:pt>
          <cx:pt idx="96521">1</cx:pt>
          <cx:pt idx="96522">4</cx:pt>
          <cx:pt idx="96523">2</cx:pt>
          <cx:pt idx="96524">3</cx:pt>
          <cx:pt idx="96525">2</cx:pt>
          <cx:pt idx="96526">1</cx:pt>
          <cx:pt idx="96527">4</cx:pt>
          <cx:pt idx="96528">4</cx:pt>
          <cx:pt idx="96529">2</cx:pt>
          <cx:pt idx="96530">2</cx:pt>
          <cx:pt idx="96531">5</cx:pt>
          <cx:pt idx="96532">1</cx:pt>
          <cx:pt idx="96533">3</cx:pt>
          <cx:pt idx="96534">3</cx:pt>
          <cx:pt idx="96535">4</cx:pt>
          <cx:pt idx="96536">4</cx:pt>
          <cx:pt idx="96537">5</cx:pt>
          <cx:pt idx="96538">1</cx:pt>
          <cx:pt idx="96539">1</cx:pt>
          <cx:pt idx="96540">3</cx:pt>
          <cx:pt idx="96541">2</cx:pt>
          <cx:pt idx="96542">0</cx:pt>
          <cx:pt idx="96543">3</cx:pt>
          <cx:pt idx="96544">5</cx:pt>
          <cx:pt idx="96545">1</cx:pt>
          <cx:pt idx="96546">2</cx:pt>
          <cx:pt idx="96547">2</cx:pt>
          <cx:pt idx="96548">4</cx:pt>
          <cx:pt idx="96549">1</cx:pt>
          <cx:pt idx="96550">4</cx:pt>
          <cx:pt idx="96551">3</cx:pt>
          <cx:pt idx="96552">2</cx:pt>
          <cx:pt idx="96553">1</cx:pt>
          <cx:pt idx="96554">4</cx:pt>
          <cx:pt idx="96555">2</cx:pt>
          <cx:pt idx="96556">3</cx:pt>
          <cx:pt idx="96557">3</cx:pt>
          <cx:pt idx="96558">2</cx:pt>
          <cx:pt idx="96559">0</cx:pt>
          <cx:pt idx="96560">2</cx:pt>
          <cx:pt idx="96561">1</cx:pt>
          <cx:pt idx="96562">4</cx:pt>
          <cx:pt idx="96563">4</cx:pt>
          <cx:pt idx="96564">5</cx:pt>
          <cx:pt idx="96565">5</cx:pt>
          <cx:pt idx="96566">2</cx:pt>
          <cx:pt idx="96567">1</cx:pt>
          <cx:pt idx="96568">4</cx:pt>
          <cx:pt idx="96569">1</cx:pt>
          <cx:pt idx="96570">2</cx:pt>
          <cx:pt idx="96571">2</cx:pt>
          <cx:pt idx="96572">5</cx:pt>
          <cx:pt idx="96573">2</cx:pt>
          <cx:pt idx="96574">2</cx:pt>
          <cx:pt idx="96575">1</cx:pt>
          <cx:pt idx="96576">1</cx:pt>
          <cx:pt idx="96577">3</cx:pt>
          <cx:pt idx="96578">5</cx:pt>
          <cx:pt idx="96579">1</cx:pt>
          <cx:pt idx="96580">0</cx:pt>
          <cx:pt idx="96581">4</cx:pt>
          <cx:pt idx="96582">3</cx:pt>
          <cx:pt idx="96583">3</cx:pt>
          <cx:pt idx="96584">3</cx:pt>
          <cx:pt idx="96585">3</cx:pt>
          <cx:pt idx="96586">3</cx:pt>
          <cx:pt idx="96587">2</cx:pt>
          <cx:pt idx="96588">3</cx:pt>
          <cx:pt idx="96589">2</cx:pt>
          <cx:pt idx="96590">3</cx:pt>
          <cx:pt idx="96591">4</cx:pt>
          <cx:pt idx="96592">0</cx:pt>
          <cx:pt idx="96593">3</cx:pt>
          <cx:pt idx="96594">5</cx:pt>
          <cx:pt idx="96595">1</cx:pt>
          <cx:pt idx="96596">2</cx:pt>
          <cx:pt idx="96597">2</cx:pt>
          <cx:pt idx="96598">0</cx:pt>
          <cx:pt idx="96599">2</cx:pt>
          <cx:pt idx="96600">3</cx:pt>
          <cx:pt idx="96601">5</cx:pt>
          <cx:pt idx="96602">0</cx:pt>
          <cx:pt idx="96603">3</cx:pt>
          <cx:pt idx="96604">3</cx:pt>
          <cx:pt idx="96605">1</cx:pt>
          <cx:pt idx="96606">5</cx:pt>
          <cx:pt idx="96607">1</cx:pt>
          <cx:pt idx="96608">5</cx:pt>
          <cx:pt idx="96609">3</cx:pt>
          <cx:pt idx="96610">4</cx:pt>
          <cx:pt idx="96611">4</cx:pt>
          <cx:pt idx="96612">2</cx:pt>
          <cx:pt idx="96613">5</cx:pt>
          <cx:pt idx="96614">2</cx:pt>
          <cx:pt idx="96615">2</cx:pt>
          <cx:pt idx="96616">4</cx:pt>
          <cx:pt idx="96617">3</cx:pt>
          <cx:pt idx="96618">3</cx:pt>
          <cx:pt idx="96619">2</cx:pt>
          <cx:pt idx="96620">3</cx:pt>
          <cx:pt idx="96621">5</cx:pt>
          <cx:pt idx="96622">3</cx:pt>
          <cx:pt idx="96623">3</cx:pt>
          <cx:pt idx="96624">2</cx:pt>
          <cx:pt idx="96625">4</cx:pt>
          <cx:pt idx="96626">3</cx:pt>
          <cx:pt idx="96627">0</cx:pt>
          <cx:pt idx="96628">3</cx:pt>
          <cx:pt idx="96629">2</cx:pt>
          <cx:pt idx="96630">3</cx:pt>
          <cx:pt idx="96631">2</cx:pt>
          <cx:pt idx="96632">4</cx:pt>
          <cx:pt idx="96633">2</cx:pt>
          <cx:pt idx="96634">2</cx:pt>
          <cx:pt idx="96635">1</cx:pt>
          <cx:pt idx="96636">5</cx:pt>
          <cx:pt idx="96637">2</cx:pt>
          <cx:pt idx="96638">2</cx:pt>
          <cx:pt idx="96639">5</cx:pt>
          <cx:pt idx="96640">5</cx:pt>
          <cx:pt idx="96641">4</cx:pt>
          <cx:pt idx="96642">3</cx:pt>
          <cx:pt idx="96643">2</cx:pt>
          <cx:pt idx="96644">3</cx:pt>
          <cx:pt idx="96645">1</cx:pt>
          <cx:pt idx="96646">3</cx:pt>
          <cx:pt idx="96647">3</cx:pt>
          <cx:pt idx="96648">3</cx:pt>
          <cx:pt idx="96649">0</cx:pt>
          <cx:pt idx="96650">4</cx:pt>
          <cx:pt idx="96651">2</cx:pt>
          <cx:pt idx="96652">2</cx:pt>
          <cx:pt idx="96653">5</cx:pt>
          <cx:pt idx="96654">2</cx:pt>
          <cx:pt idx="96655">2</cx:pt>
          <cx:pt idx="96656">3</cx:pt>
          <cx:pt idx="96657">1</cx:pt>
          <cx:pt idx="96658">2</cx:pt>
          <cx:pt idx="96659">2</cx:pt>
          <cx:pt idx="96660">3</cx:pt>
          <cx:pt idx="96661">1</cx:pt>
          <cx:pt idx="96662">4</cx:pt>
          <cx:pt idx="96663">3</cx:pt>
          <cx:pt idx="96664">2</cx:pt>
          <cx:pt idx="96665">5</cx:pt>
          <cx:pt idx="96666">2</cx:pt>
          <cx:pt idx="96667">2</cx:pt>
          <cx:pt idx="96668">2</cx:pt>
          <cx:pt idx="96669">0</cx:pt>
          <cx:pt idx="96670">3</cx:pt>
          <cx:pt idx="96671">5</cx:pt>
          <cx:pt idx="96672">2</cx:pt>
          <cx:pt idx="96673">2</cx:pt>
          <cx:pt idx="96674">2</cx:pt>
          <cx:pt idx="96675">5</cx:pt>
          <cx:pt idx="96676">5</cx:pt>
          <cx:pt idx="96677">1</cx:pt>
          <cx:pt idx="96678">5</cx:pt>
          <cx:pt idx="96679">2</cx:pt>
          <cx:pt idx="96680">2</cx:pt>
          <cx:pt idx="96681">2</cx:pt>
          <cx:pt idx="96682">2</cx:pt>
          <cx:pt idx="96683">1</cx:pt>
          <cx:pt idx="96684">4</cx:pt>
          <cx:pt idx="96685">5</cx:pt>
          <cx:pt idx="96686">4</cx:pt>
          <cx:pt idx="96687">2</cx:pt>
          <cx:pt idx="96688">2</cx:pt>
          <cx:pt idx="96689">2</cx:pt>
          <cx:pt idx="96690">4</cx:pt>
          <cx:pt idx="96691">2</cx:pt>
          <cx:pt idx="96692">2</cx:pt>
          <cx:pt idx="96693">2</cx:pt>
          <cx:pt idx="96694">1</cx:pt>
          <cx:pt idx="96695">4</cx:pt>
          <cx:pt idx="96696">3</cx:pt>
          <cx:pt idx="96697">3</cx:pt>
          <cx:pt idx="96698">5</cx:pt>
          <cx:pt idx="96699">2</cx:pt>
          <cx:pt idx="96700">3</cx:pt>
          <cx:pt idx="96701">3</cx:pt>
          <cx:pt idx="96702">2</cx:pt>
          <cx:pt idx="96703">2</cx:pt>
          <cx:pt idx="96704">2</cx:pt>
          <cx:pt idx="96705">1</cx:pt>
          <cx:pt idx="96706">4</cx:pt>
          <cx:pt idx="96707">2</cx:pt>
          <cx:pt idx="96708">2</cx:pt>
          <cx:pt idx="96709">2</cx:pt>
          <cx:pt idx="96710">5</cx:pt>
          <cx:pt idx="96711">2</cx:pt>
          <cx:pt idx="96712">5</cx:pt>
          <cx:pt idx="96713">0</cx:pt>
          <cx:pt idx="96714">1</cx:pt>
          <cx:pt idx="96715">3</cx:pt>
          <cx:pt idx="96716">4</cx:pt>
          <cx:pt idx="96717">2</cx:pt>
          <cx:pt idx="96718">4</cx:pt>
          <cx:pt idx="96719">3</cx:pt>
          <cx:pt idx="96720">0</cx:pt>
          <cx:pt idx="96721">4</cx:pt>
          <cx:pt idx="96722">2</cx:pt>
          <cx:pt idx="96723">3</cx:pt>
          <cx:pt idx="96724">5</cx:pt>
          <cx:pt idx="96725">3</cx:pt>
          <cx:pt idx="96726">1</cx:pt>
          <cx:pt idx="96727">2</cx:pt>
          <cx:pt idx="96728">0</cx:pt>
          <cx:pt idx="96729">3</cx:pt>
          <cx:pt idx="96730">2</cx:pt>
          <cx:pt idx="96731">3</cx:pt>
          <cx:pt idx="96732">4</cx:pt>
          <cx:pt idx="96733">3</cx:pt>
          <cx:pt idx="96734">1</cx:pt>
          <cx:pt idx="96735">1</cx:pt>
          <cx:pt idx="96736">3</cx:pt>
          <cx:pt idx="96737">2</cx:pt>
          <cx:pt idx="96738">2</cx:pt>
          <cx:pt idx="96739">5</cx:pt>
          <cx:pt idx="96740">3</cx:pt>
          <cx:pt idx="96741">2</cx:pt>
          <cx:pt idx="96742">2</cx:pt>
          <cx:pt idx="96743">2</cx:pt>
          <cx:pt idx="96744">2</cx:pt>
          <cx:pt idx="96745">5</cx:pt>
          <cx:pt idx="96746">5</cx:pt>
          <cx:pt idx="96747">1</cx:pt>
          <cx:pt idx="96748">3</cx:pt>
          <cx:pt idx="96749">3</cx:pt>
          <cx:pt idx="96750">2</cx:pt>
          <cx:pt idx="96751">2</cx:pt>
          <cx:pt idx="96752">2</cx:pt>
          <cx:pt idx="96753">4</cx:pt>
          <cx:pt idx="96754">2</cx:pt>
          <cx:pt idx="96755">4</cx:pt>
          <cx:pt idx="96756">1</cx:pt>
          <cx:pt idx="96757">1</cx:pt>
          <cx:pt idx="96758">4</cx:pt>
          <cx:pt idx="96759">1</cx:pt>
          <cx:pt idx="96760">3</cx:pt>
          <cx:pt idx="96761">3</cx:pt>
          <cx:pt idx="96762">4</cx:pt>
          <cx:pt idx="96763">2</cx:pt>
          <cx:pt idx="96764">3</cx:pt>
          <cx:pt idx="96765">2</cx:pt>
          <cx:pt idx="96766">4</cx:pt>
          <cx:pt idx="96767">5</cx:pt>
          <cx:pt idx="96768">2</cx:pt>
          <cx:pt idx="96769">4</cx:pt>
          <cx:pt idx="96770">1</cx:pt>
          <cx:pt idx="96771">4</cx:pt>
          <cx:pt idx="96772">1</cx:pt>
          <cx:pt idx="96773">1</cx:pt>
          <cx:pt idx="96774">3</cx:pt>
          <cx:pt idx="96775">2</cx:pt>
          <cx:pt idx="96776">3</cx:pt>
          <cx:pt idx="96777">3</cx:pt>
          <cx:pt idx="96778">0</cx:pt>
          <cx:pt idx="96779">5</cx:pt>
          <cx:pt idx="96780">3</cx:pt>
          <cx:pt idx="96781">1</cx:pt>
          <cx:pt idx="96782">3</cx:pt>
          <cx:pt idx="96783">3</cx:pt>
          <cx:pt idx="96784">2</cx:pt>
          <cx:pt idx="96785">3</cx:pt>
          <cx:pt idx="96786">4</cx:pt>
          <cx:pt idx="96787">5</cx:pt>
          <cx:pt idx="96788">3</cx:pt>
          <cx:pt idx="96789">3</cx:pt>
          <cx:pt idx="96790">1</cx:pt>
          <cx:pt idx="96791">2</cx:pt>
          <cx:pt idx="96792">2</cx:pt>
          <cx:pt idx="96793">0</cx:pt>
          <cx:pt idx="96794">2</cx:pt>
          <cx:pt idx="96795">1</cx:pt>
          <cx:pt idx="96796">3</cx:pt>
          <cx:pt idx="96797">5</cx:pt>
          <cx:pt idx="96798">2</cx:pt>
          <cx:pt idx="96799">4</cx:pt>
          <cx:pt idx="96800">3</cx:pt>
          <cx:pt idx="96801">1</cx:pt>
          <cx:pt idx="96802">2</cx:pt>
          <cx:pt idx="96803">4</cx:pt>
          <cx:pt idx="96804">2</cx:pt>
          <cx:pt idx="96805">4</cx:pt>
          <cx:pt idx="96806">3</cx:pt>
          <cx:pt idx="96807">5</cx:pt>
          <cx:pt idx="96808">2</cx:pt>
          <cx:pt idx="96809">2</cx:pt>
          <cx:pt idx="96810">4</cx:pt>
          <cx:pt idx="96811">1</cx:pt>
          <cx:pt idx="96812">5</cx:pt>
          <cx:pt idx="96813">4</cx:pt>
          <cx:pt idx="96814">2</cx:pt>
          <cx:pt idx="96815">2</cx:pt>
          <cx:pt idx="96816">5</cx:pt>
          <cx:pt idx="96817">4</cx:pt>
          <cx:pt idx="96818">2</cx:pt>
          <cx:pt idx="96819">1</cx:pt>
          <cx:pt idx="96820">3</cx:pt>
          <cx:pt idx="96821">3</cx:pt>
          <cx:pt idx="96822">3</cx:pt>
          <cx:pt idx="96823">3</cx:pt>
          <cx:pt idx="96824">3</cx:pt>
          <cx:pt idx="96825">2</cx:pt>
          <cx:pt idx="96826">2</cx:pt>
          <cx:pt idx="96827">1</cx:pt>
          <cx:pt idx="96828">2</cx:pt>
          <cx:pt idx="96829">2</cx:pt>
          <cx:pt idx="96830">3</cx:pt>
          <cx:pt idx="96831">1</cx:pt>
          <cx:pt idx="96832">5</cx:pt>
          <cx:pt idx="96833">5</cx:pt>
          <cx:pt idx="96834">4</cx:pt>
          <cx:pt idx="96835">5</cx:pt>
          <cx:pt idx="96836">5</cx:pt>
          <cx:pt idx="96837">1</cx:pt>
          <cx:pt idx="96838">2</cx:pt>
          <cx:pt idx="96839">4</cx:pt>
          <cx:pt idx="96840">1</cx:pt>
          <cx:pt idx="96841">4</cx:pt>
          <cx:pt idx="96842">4</cx:pt>
          <cx:pt idx="96843">3</cx:pt>
          <cx:pt idx="96844">2</cx:pt>
          <cx:pt idx="96845">3</cx:pt>
          <cx:pt idx="96846">3</cx:pt>
          <cx:pt idx="96847">4</cx:pt>
          <cx:pt idx="96848">2</cx:pt>
          <cx:pt idx="96849">1</cx:pt>
          <cx:pt idx="96850">3</cx:pt>
          <cx:pt idx="96851">0</cx:pt>
          <cx:pt idx="96852">3</cx:pt>
          <cx:pt idx="96853">0</cx:pt>
          <cx:pt idx="96854">1</cx:pt>
          <cx:pt idx="96855">2</cx:pt>
          <cx:pt idx="96856">2</cx:pt>
          <cx:pt idx="96857">2</cx:pt>
          <cx:pt idx="96858">3</cx:pt>
          <cx:pt idx="96859">2</cx:pt>
          <cx:pt idx="96860">5</cx:pt>
          <cx:pt idx="96861">4</cx:pt>
          <cx:pt idx="96862">4</cx:pt>
          <cx:pt idx="96863">4</cx:pt>
          <cx:pt idx="96864">1</cx:pt>
          <cx:pt idx="96865">1</cx:pt>
          <cx:pt idx="96866">3</cx:pt>
          <cx:pt idx="96867">1</cx:pt>
          <cx:pt idx="96868">4</cx:pt>
          <cx:pt idx="96869">3</cx:pt>
          <cx:pt idx="96870">3</cx:pt>
          <cx:pt idx="96871">2</cx:pt>
          <cx:pt idx="96872">1</cx:pt>
          <cx:pt idx="96873">4</cx:pt>
          <cx:pt idx="96874">5</cx:pt>
          <cx:pt idx="96875">5</cx:pt>
          <cx:pt idx="96876">3</cx:pt>
          <cx:pt idx="96877">2</cx:pt>
          <cx:pt idx="96878">5</cx:pt>
          <cx:pt idx="96879">2</cx:pt>
          <cx:pt idx="96880">4</cx:pt>
          <cx:pt idx="96881">3</cx:pt>
          <cx:pt idx="96882">2</cx:pt>
          <cx:pt idx="96883">2</cx:pt>
          <cx:pt idx="96884">3</cx:pt>
          <cx:pt idx="96885">1</cx:pt>
          <cx:pt idx="96886">2</cx:pt>
          <cx:pt idx="96887">5</cx:pt>
          <cx:pt idx="96888">3</cx:pt>
          <cx:pt idx="96889">1</cx:pt>
          <cx:pt idx="96890">5</cx:pt>
          <cx:pt idx="96891">1</cx:pt>
          <cx:pt idx="96892">4</cx:pt>
          <cx:pt idx="96893">3</cx:pt>
          <cx:pt idx="96894">5</cx:pt>
          <cx:pt idx="96895">2</cx:pt>
          <cx:pt idx="96896">2</cx:pt>
          <cx:pt idx="96897">1</cx:pt>
          <cx:pt idx="96898">5</cx:pt>
          <cx:pt idx="96899">1</cx:pt>
          <cx:pt idx="96900">2</cx:pt>
          <cx:pt idx="96901">3</cx:pt>
          <cx:pt idx="96902">4</cx:pt>
          <cx:pt idx="96903">2</cx:pt>
          <cx:pt idx="96904">4</cx:pt>
          <cx:pt idx="96905">5</cx:pt>
          <cx:pt idx="96906">2</cx:pt>
          <cx:pt idx="96907">5</cx:pt>
          <cx:pt idx="96908">4</cx:pt>
          <cx:pt idx="96909">3</cx:pt>
          <cx:pt idx="96910">3</cx:pt>
          <cx:pt idx="96911">3</cx:pt>
          <cx:pt idx="96912">5</cx:pt>
          <cx:pt idx="96913">4</cx:pt>
          <cx:pt idx="96914">0</cx:pt>
          <cx:pt idx="96915">2</cx:pt>
          <cx:pt idx="96916">3</cx:pt>
          <cx:pt idx="96917">3</cx:pt>
          <cx:pt idx="96918">4</cx:pt>
          <cx:pt idx="96919">4</cx:pt>
          <cx:pt idx="96920">2</cx:pt>
          <cx:pt idx="96921">5</cx:pt>
          <cx:pt idx="96922">1</cx:pt>
          <cx:pt idx="96923">1</cx:pt>
          <cx:pt idx="96924">2</cx:pt>
          <cx:pt idx="96925">4</cx:pt>
          <cx:pt idx="96926">4</cx:pt>
          <cx:pt idx="96927">3</cx:pt>
          <cx:pt idx="96928">3</cx:pt>
          <cx:pt idx="96929">5</cx:pt>
          <cx:pt idx="96930">4</cx:pt>
          <cx:pt idx="96931">1</cx:pt>
          <cx:pt idx="96932">5</cx:pt>
          <cx:pt idx="96933">4</cx:pt>
          <cx:pt idx="96934">4</cx:pt>
          <cx:pt idx="96935">2</cx:pt>
          <cx:pt idx="96936">2</cx:pt>
          <cx:pt idx="96937">5</cx:pt>
          <cx:pt idx="96938">5</cx:pt>
          <cx:pt idx="96939">3</cx:pt>
          <cx:pt idx="96940">2</cx:pt>
          <cx:pt idx="96941">3</cx:pt>
          <cx:pt idx="96942">3</cx:pt>
          <cx:pt idx="96943">2</cx:pt>
          <cx:pt idx="96944">1</cx:pt>
          <cx:pt idx="96945">3</cx:pt>
          <cx:pt idx="96946">2</cx:pt>
          <cx:pt idx="96947">3</cx:pt>
          <cx:pt idx="96948">1</cx:pt>
          <cx:pt idx="96949">5</cx:pt>
          <cx:pt idx="96950">5</cx:pt>
          <cx:pt idx="96951">0</cx:pt>
          <cx:pt idx="96952">1</cx:pt>
          <cx:pt idx="96953">3</cx:pt>
          <cx:pt idx="96954">1</cx:pt>
          <cx:pt idx="96955">5</cx:pt>
          <cx:pt idx="96956">0</cx:pt>
          <cx:pt idx="96957">4</cx:pt>
          <cx:pt idx="96958">2</cx:pt>
          <cx:pt idx="96959">2</cx:pt>
          <cx:pt idx="96960">4</cx:pt>
          <cx:pt idx="96961">1</cx:pt>
          <cx:pt idx="96962">2</cx:pt>
          <cx:pt idx="96963">3</cx:pt>
          <cx:pt idx="96964">2</cx:pt>
          <cx:pt idx="96965">5</cx:pt>
          <cx:pt idx="96966">2</cx:pt>
          <cx:pt idx="96967">4</cx:pt>
          <cx:pt idx="96968">3</cx:pt>
          <cx:pt idx="96969">2</cx:pt>
          <cx:pt idx="96970">2</cx:pt>
          <cx:pt idx="96971">3</cx:pt>
          <cx:pt idx="96972">4</cx:pt>
          <cx:pt idx="96973">4</cx:pt>
          <cx:pt idx="96974">1</cx:pt>
          <cx:pt idx="96975">5</cx:pt>
          <cx:pt idx="96976">4</cx:pt>
          <cx:pt idx="96977">3</cx:pt>
          <cx:pt idx="96978">2</cx:pt>
          <cx:pt idx="96979">3</cx:pt>
          <cx:pt idx="96980">1</cx:pt>
          <cx:pt idx="96981">1</cx:pt>
          <cx:pt idx="96982">0</cx:pt>
          <cx:pt idx="96983">2</cx:pt>
          <cx:pt idx="96984">1</cx:pt>
          <cx:pt idx="96985">3</cx:pt>
          <cx:pt idx="96986">0</cx:pt>
          <cx:pt idx="96987">5</cx:pt>
          <cx:pt idx="96988">1</cx:pt>
          <cx:pt idx="96989">1</cx:pt>
          <cx:pt idx="96990">3</cx:pt>
          <cx:pt idx="96991">4</cx:pt>
          <cx:pt idx="96992">1</cx:pt>
          <cx:pt idx="96993">4</cx:pt>
          <cx:pt idx="96994">2</cx:pt>
          <cx:pt idx="96995">4</cx:pt>
          <cx:pt idx="96996">5</cx:pt>
          <cx:pt idx="96997">3</cx:pt>
          <cx:pt idx="96998">2</cx:pt>
          <cx:pt idx="96999">2</cx:pt>
          <cx:pt idx="97000">3</cx:pt>
          <cx:pt idx="97001">3</cx:pt>
          <cx:pt idx="97002">1</cx:pt>
          <cx:pt idx="97003">3</cx:pt>
          <cx:pt idx="97004">3</cx:pt>
          <cx:pt idx="97005">1</cx:pt>
          <cx:pt idx="97006">5</cx:pt>
          <cx:pt idx="97007">2</cx:pt>
          <cx:pt idx="97008">3</cx:pt>
          <cx:pt idx="97009">0</cx:pt>
          <cx:pt idx="97010">1</cx:pt>
          <cx:pt idx="97011">4</cx:pt>
          <cx:pt idx="97012">5</cx:pt>
          <cx:pt idx="97013">2</cx:pt>
          <cx:pt idx="97014">3</cx:pt>
          <cx:pt idx="97015">4</cx:pt>
          <cx:pt idx="97016">4</cx:pt>
          <cx:pt idx="97017">3</cx:pt>
          <cx:pt idx="97018">3</cx:pt>
          <cx:pt idx="97019">5</cx:pt>
          <cx:pt idx="97020">3</cx:pt>
          <cx:pt idx="97021">3</cx:pt>
          <cx:pt idx="97022">4</cx:pt>
          <cx:pt idx="97023">1</cx:pt>
          <cx:pt idx="97024">0</cx:pt>
          <cx:pt idx="97025">5</cx:pt>
          <cx:pt idx="97026">1</cx:pt>
          <cx:pt idx="97027">5</cx:pt>
          <cx:pt idx="97028">5</cx:pt>
          <cx:pt idx="97029">1</cx:pt>
          <cx:pt idx="97030">2</cx:pt>
          <cx:pt idx="97031">5</cx:pt>
          <cx:pt idx="97032">3</cx:pt>
          <cx:pt idx="97033">1</cx:pt>
          <cx:pt idx="97034">5</cx:pt>
          <cx:pt idx="97035">2</cx:pt>
          <cx:pt idx="97036">3</cx:pt>
          <cx:pt idx="97037">5</cx:pt>
          <cx:pt idx="97038">1</cx:pt>
          <cx:pt idx="97039">1</cx:pt>
          <cx:pt idx="97040">2</cx:pt>
          <cx:pt idx="97041">2</cx:pt>
          <cx:pt idx="97042">4</cx:pt>
          <cx:pt idx="97043">3</cx:pt>
          <cx:pt idx="97044">2</cx:pt>
          <cx:pt idx="97045">2</cx:pt>
          <cx:pt idx="97046">2</cx:pt>
          <cx:pt idx="97047">3</cx:pt>
          <cx:pt idx="97048">4</cx:pt>
          <cx:pt idx="97049">5</cx:pt>
          <cx:pt idx="97050">5</cx:pt>
          <cx:pt idx="97051">3</cx:pt>
          <cx:pt idx="97052">1</cx:pt>
          <cx:pt idx="97053">3</cx:pt>
          <cx:pt idx="97054">1</cx:pt>
          <cx:pt idx="97055">3</cx:pt>
          <cx:pt idx="97056">3</cx:pt>
          <cx:pt idx="97057">3</cx:pt>
          <cx:pt idx="97058">1</cx:pt>
          <cx:pt idx="97059">3</cx:pt>
          <cx:pt idx="97060">4</cx:pt>
          <cx:pt idx="97061">2</cx:pt>
          <cx:pt idx="97062">3</cx:pt>
          <cx:pt idx="97063">1</cx:pt>
          <cx:pt idx="97064">2</cx:pt>
          <cx:pt idx="97065">3</cx:pt>
          <cx:pt idx="97066">3</cx:pt>
          <cx:pt idx="97067">4</cx:pt>
          <cx:pt idx="97068">4</cx:pt>
          <cx:pt idx="97069">2</cx:pt>
          <cx:pt idx="97070">3</cx:pt>
          <cx:pt idx="97071">3</cx:pt>
          <cx:pt idx="97072">2</cx:pt>
          <cx:pt idx="97073">5</cx:pt>
          <cx:pt idx="97074">1</cx:pt>
          <cx:pt idx="97075">4</cx:pt>
          <cx:pt idx="97076">3</cx:pt>
          <cx:pt idx="97077">2</cx:pt>
          <cx:pt idx="97078">1</cx:pt>
          <cx:pt idx="97079">4</cx:pt>
          <cx:pt idx="97080">3</cx:pt>
          <cx:pt idx="97081">2</cx:pt>
          <cx:pt idx="97082">2</cx:pt>
          <cx:pt idx="97083">4</cx:pt>
          <cx:pt idx="97084">4</cx:pt>
          <cx:pt idx="97085">4</cx:pt>
          <cx:pt idx="97086">2</cx:pt>
          <cx:pt idx="97087">2</cx:pt>
          <cx:pt idx="97088">3</cx:pt>
          <cx:pt idx="97089">2</cx:pt>
          <cx:pt idx="97090">5</cx:pt>
          <cx:pt idx="97091">1</cx:pt>
          <cx:pt idx="97092">3</cx:pt>
          <cx:pt idx="97093">0</cx:pt>
          <cx:pt idx="97094">3</cx:pt>
          <cx:pt idx="97095">2</cx:pt>
          <cx:pt idx="97096">5</cx:pt>
          <cx:pt idx="97097">4</cx:pt>
          <cx:pt idx="97098">1</cx:pt>
          <cx:pt idx="97099">5</cx:pt>
          <cx:pt idx="97100">3</cx:pt>
          <cx:pt idx="97101">2</cx:pt>
          <cx:pt idx="97102">5</cx:pt>
          <cx:pt idx="97103">2</cx:pt>
          <cx:pt idx="97104">2</cx:pt>
          <cx:pt idx="97105">2</cx:pt>
          <cx:pt idx="97106">3</cx:pt>
          <cx:pt idx="97107">5</cx:pt>
          <cx:pt idx="97108">2</cx:pt>
          <cx:pt idx="97109">3</cx:pt>
          <cx:pt idx="97110">1</cx:pt>
          <cx:pt idx="97111">5</cx:pt>
          <cx:pt idx="97112">5</cx:pt>
          <cx:pt idx="97113">2</cx:pt>
          <cx:pt idx="97114">2</cx:pt>
          <cx:pt idx="97115">5</cx:pt>
          <cx:pt idx="97116">3</cx:pt>
          <cx:pt idx="97117">5</cx:pt>
          <cx:pt idx="97118">5</cx:pt>
          <cx:pt idx="97119">1</cx:pt>
          <cx:pt idx="97120">3</cx:pt>
          <cx:pt idx="97121">4</cx:pt>
          <cx:pt idx="97122">1</cx:pt>
          <cx:pt idx="97123">3</cx:pt>
          <cx:pt idx="97124">5</cx:pt>
          <cx:pt idx="97125">1</cx:pt>
          <cx:pt idx="97126">1</cx:pt>
          <cx:pt idx="97127">3</cx:pt>
          <cx:pt idx="97128">2</cx:pt>
          <cx:pt idx="97129">1</cx:pt>
          <cx:pt idx="97130">3</cx:pt>
          <cx:pt idx="97131">2</cx:pt>
          <cx:pt idx="97132">3</cx:pt>
          <cx:pt idx="97133">3</cx:pt>
          <cx:pt idx="97134">4</cx:pt>
          <cx:pt idx="97135">1</cx:pt>
          <cx:pt idx="97136">3</cx:pt>
          <cx:pt idx="97137">1</cx:pt>
          <cx:pt idx="97138">3</cx:pt>
          <cx:pt idx="97139">1</cx:pt>
          <cx:pt idx="97140">2</cx:pt>
          <cx:pt idx="97141">2</cx:pt>
          <cx:pt idx="97142">4</cx:pt>
          <cx:pt idx="97143">1</cx:pt>
          <cx:pt idx="97144">5</cx:pt>
          <cx:pt idx="97145">2</cx:pt>
          <cx:pt idx="97146">4</cx:pt>
          <cx:pt idx="97147">3</cx:pt>
          <cx:pt idx="97148">1</cx:pt>
          <cx:pt idx="97149">3</cx:pt>
          <cx:pt idx="97150">5</cx:pt>
          <cx:pt idx="97151">1</cx:pt>
          <cx:pt idx="97152">5</cx:pt>
          <cx:pt idx="97153">3</cx:pt>
          <cx:pt idx="97154">2</cx:pt>
          <cx:pt idx="97155">3</cx:pt>
          <cx:pt idx="97156">1</cx:pt>
          <cx:pt idx="97157">1</cx:pt>
          <cx:pt idx="97158">5</cx:pt>
          <cx:pt idx="97159">4</cx:pt>
          <cx:pt idx="97160">3</cx:pt>
          <cx:pt idx="97161">4</cx:pt>
          <cx:pt idx="97162">2</cx:pt>
          <cx:pt idx="97163">3</cx:pt>
          <cx:pt idx="97164">2</cx:pt>
          <cx:pt idx="97165">4</cx:pt>
          <cx:pt idx="97166">2</cx:pt>
          <cx:pt idx="97167">4</cx:pt>
          <cx:pt idx="97168">5</cx:pt>
          <cx:pt idx="97169">0</cx:pt>
          <cx:pt idx="97170">1</cx:pt>
          <cx:pt idx="97171">3</cx:pt>
          <cx:pt idx="97172">4</cx:pt>
          <cx:pt idx="97173">3</cx:pt>
          <cx:pt idx="97174">0</cx:pt>
          <cx:pt idx="97175">5</cx:pt>
          <cx:pt idx="97176">5</cx:pt>
          <cx:pt idx="97177">3</cx:pt>
          <cx:pt idx="97178">4</cx:pt>
          <cx:pt idx="97179">1</cx:pt>
          <cx:pt idx="97180">4</cx:pt>
          <cx:pt idx="97181">5</cx:pt>
          <cx:pt idx="97182">1</cx:pt>
          <cx:pt idx="97183">4</cx:pt>
          <cx:pt idx="97184">2</cx:pt>
          <cx:pt idx="97185">4</cx:pt>
          <cx:pt idx="97186">3</cx:pt>
          <cx:pt idx="97187">5</cx:pt>
          <cx:pt idx="97188">4</cx:pt>
          <cx:pt idx="97189">3</cx:pt>
          <cx:pt idx="97190">1</cx:pt>
          <cx:pt idx="97191">2</cx:pt>
          <cx:pt idx="97192">3</cx:pt>
          <cx:pt idx="97193">4</cx:pt>
          <cx:pt idx="97194">1</cx:pt>
          <cx:pt idx="97195">0</cx:pt>
          <cx:pt idx="97196">3</cx:pt>
          <cx:pt idx="97197">3</cx:pt>
          <cx:pt idx="97198">2</cx:pt>
          <cx:pt idx="97199">4</cx:pt>
          <cx:pt idx="97200">5</cx:pt>
          <cx:pt idx="97201">2</cx:pt>
          <cx:pt idx="97202">2</cx:pt>
          <cx:pt idx="97203">5</cx:pt>
          <cx:pt idx="97204">1</cx:pt>
          <cx:pt idx="97205">4</cx:pt>
          <cx:pt idx="97206">4</cx:pt>
          <cx:pt idx="97207">2</cx:pt>
          <cx:pt idx="97208">1</cx:pt>
          <cx:pt idx="97209">2</cx:pt>
          <cx:pt idx="97210">3</cx:pt>
          <cx:pt idx="97211">1</cx:pt>
          <cx:pt idx="97212">2</cx:pt>
          <cx:pt idx="97213">2</cx:pt>
          <cx:pt idx="97214">2</cx:pt>
          <cx:pt idx="97215">4</cx:pt>
          <cx:pt idx="97216">1</cx:pt>
          <cx:pt idx="97217">2</cx:pt>
          <cx:pt idx="97218">4</cx:pt>
          <cx:pt idx="97219">2</cx:pt>
          <cx:pt idx="97220">3</cx:pt>
          <cx:pt idx="97221">1</cx:pt>
          <cx:pt idx="97222">1</cx:pt>
          <cx:pt idx="97223">3</cx:pt>
          <cx:pt idx="97224">2</cx:pt>
          <cx:pt idx="97225">2</cx:pt>
          <cx:pt idx="97226">1</cx:pt>
          <cx:pt idx="97227">1</cx:pt>
          <cx:pt idx="97228">3</cx:pt>
          <cx:pt idx="97229">1</cx:pt>
          <cx:pt idx="97230">3</cx:pt>
          <cx:pt idx="97231">5</cx:pt>
          <cx:pt idx="97232">5</cx:pt>
          <cx:pt idx="97233">4</cx:pt>
          <cx:pt idx="97234">5</cx:pt>
          <cx:pt idx="97235">3</cx:pt>
          <cx:pt idx="97236">3</cx:pt>
          <cx:pt idx="97237">2</cx:pt>
          <cx:pt idx="97238">2</cx:pt>
          <cx:pt idx="97239">4</cx:pt>
          <cx:pt idx="97240">3</cx:pt>
          <cx:pt idx="97241">2</cx:pt>
          <cx:pt idx="97242">1</cx:pt>
          <cx:pt idx="97243">1</cx:pt>
          <cx:pt idx="97244">1</cx:pt>
          <cx:pt idx="97245">3</cx:pt>
          <cx:pt idx="97246">2</cx:pt>
          <cx:pt idx="97247">0</cx:pt>
          <cx:pt idx="97248">3</cx:pt>
          <cx:pt idx="97249">2</cx:pt>
          <cx:pt idx="97250">1</cx:pt>
          <cx:pt idx="97251">5</cx:pt>
          <cx:pt idx="97252">5</cx:pt>
          <cx:pt idx="97253">2</cx:pt>
          <cx:pt idx="97254">4</cx:pt>
          <cx:pt idx="97255">1</cx:pt>
          <cx:pt idx="97256">0</cx:pt>
          <cx:pt idx="97257">2</cx:pt>
          <cx:pt idx="97258">3</cx:pt>
          <cx:pt idx="97259">4</cx:pt>
          <cx:pt idx="97260">4</cx:pt>
          <cx:pt idx="97261">5</cx:pt>
          <cx:pt idx="97262">4</cx:pt>
          <cx:pt idx="97263">2</cx:pt>
          <cx:pt idx="97264">0</cx:pt>
          <cx:pt idx="97265">2</cx:pt>
          <cx:pt idx="97266">3</cx:pt>
          <cx:pt idx="97267">2</cx:pt>
          <cx:pt idx="97268">2</cx:pt>
          <cx:pt idx="97269">4</cx:pt>
          <cx:pt idx="97270">3</cx:pt>
          <cx:pt idx="97271">1</cx:pt>
          <cx:pt idx="97272">4</cx:pt>
          <cx:pt idx="97273">4</cx:pt>
          <cx:pt idx="97274">4</cx:pt>
          <cx:pt idx="97275">3</cx:pt>
          <cx:pt idx="97276">2</cx:pt>
          <cx:pt idx="97277">3</cx:pt>
          <cx:pt idx="97278">2</cx:pt>
          <cx:pt idx="97279">4</cx:pt>
          <cx:pt idx="97280">3</cx:pt>
          <cx:pt idx="97281">3</cx:pt>
          <cx:pt idx="97282">1</cx:pt>
          <cx:pt idx="97283">4</cx:pt>
          <cx:pt idx="97284">4</cx:pt>
          <cx:pt idx="97285">1</cx:pt>
          <cx:pt idx="97286">3</cx:pt>
          <cx:pt idx="97287">2</cx:pt>
          <cx:pt idx="97288">3</cx:pt>
          <cx:pt idx="97289">2</cx:pt>
          <cx:pt idx="97290">5</cx:pt>
          <cx:pt idx="97291">5</cx:pt>
          <cx:pt idx="97292">2</cx:pt>
          <cx:pt idx="97293">3</cx:pt>
          <cx:pt idx="97294">3</cx:pt>
          <cx:pt idx="97295">5</cx:pt>
          <cx:pt idx="97296">3</cx:pt>
          <cx:pt idx="97297">2</cx:pt>
          <cx:pt idx="97298">1</cx:pt>
          <cx:pt idx="97299">3</cx:pt>
          <cx:pt idx="97300">3</cx:pt>
          <cx:pt idx="97301">4</cx:pt>
          <cx:pt idx="97302">3</cx:pt>
          <cx:pt idx="97303">4</cx:pt>
          <cx:pt idx="97304">3</cx:pt>
          <cx:pt idx="97305">4</cx:pt>
          <cx:pt idx="97306">1</cx:pt>
          <cx:pt idx="97307">1</cx:pt>
          <cx:pt idx="97308">2</cx:pt>
          <cx:pt idx="97309">2</cx:pt>
          <cx:pt idx="97310">5</cx:pt>
          <cx:pt idx="97311">2</cx:pt>
          <cx:pt idx="97312">4</cx:pt>
          <cx:pt idx="97313">3</cx:pt>
          <cx:pt idx="97314">3</cx:pt>
          <cx:pt idx="97315">5</cx:pt>
          <cx:pt idx="97316">5</cx:pt>
          <cx:pt idx="97317">3</cx:pt>
          <cx:pt idx="97318">2</cx:pt>
          <cx:pt idx="97319">4</cx:pt>
          <cx:pt idx="97320">4</cx:pt>
          <cx:pt idx="97321">1</cx:pt>
          <cx:pt idx="97322">4</cx:pt>
          <cx:pt idx="97323">4</cx:pt>
          <cx:pt idx="97324">4</cx:pt>
          <cx:pt idx="97325">3</cx:pt>
          <cx:pt idx="97326">2</cx:pt>
          <cx:pt idx="97327">2</cx:pt>
          <cx:pt idx="97328">2</cx:pt>
          <cx:pt idx="97329">2</cx:pt>
          <cx:pt idx="97330">3</cx:pt>
          <cx:pt idx="97331">1</cx:pt>
          <cx:pt idx="97332">3</cx:pt>
          <cx:pt idx="97333">3</cx:pt>
          <cx:pt idx="97334">4</cx:pt>
          <cx:pt idx="97335">2</cx:pt>
          <cx:pt idx="97336">1</cx:pt>
          <cx:pt idx="97337">3</cx:pt>
          <cx:pt idx="97338">4</cx:pt>
          <cx:pt idx="97339">5</cx:pt>
          <cx:pt idx="97340">4</cx:pt>
          <cx:pt idx="97341">1</cx:pt>
          <cx:pt idx="97342">4</cx:pt>
          <cx:pt idx="97343">4</cx:pt>
          <cx:pt idx="97344">1</cx:pt>
          <cx:pt idx="97345">4</cx:pt>
          <cx:pt idx="97346">2</cx:pt>
          <cx:pt idx="97347">3</cx:pt>
          <cx:pt idx="97348">2</cx:pt>
          <cx:pt idx="97349">3</cx:pt>
          <cx:pt idx="97350">3</cx:pt>
          <cx:pt idx="97351">2</cx:pt>
          <cx:pt idx="97352">2</cx:pt>
          <cx:pt idx="97353">1</cx:pt>
          <cx:pt idx="97354">4</cx:pt>
          <cx:pt idx="97355">0</cx:pt>
          <cx:pt idx="97356">3</cx:pt>
          <cx:pt idx="97357">2</cx:pt>
          <cx:pt idx="97358">3</cx:pt>
          <cx:pt idx="97359">1</cx:pt>
          <cx:pt idx="97360">4</cx:pt>
          <cx:pt idx="97361">4</cx:pt>
          <cx:pt idx="97362">5</cx:pt>
          <cx:pt idx="97363">5</cx:pt>
          <cx:pt idx="97364">4</cx:pt>
          <cx:pt idx="97365">4</cx:pt>
          <cx:pt idx="97366">2</cx:pt>
          <cx:pt idx="97367">2</cx:pt>
          <cx:pt idx="97368">3</cx:pt>
          <cx:pt idx="97369">2</cx:pt>
          <cx:pt idx="97370">3</cx:pt>
          <cx:pt idx="97371">0</cx:pt>
          <cx:pt idx="97372">4</cx:pt>
          <cx:pt idx="97373">4</cx:pt>
          <cx:pt idx="97374">4</cx:pt>
          <cx:pt idx="97375">3</cx:pt>
          <cx:pt idx="97376">1</cx:pt>
          <cx:pt idx="97377">5</cx:pt>
          <cx:pt idx="97378">4</cx:pt>
          <cx:pt idx="97379">4</cx:pt>
          <cx:pt idx="97380">1</cx:pt>
          <cx:pt idx="97381">4</cx:pt>
          <cx:pt idx="97382">2</cx:pt>
          <cx:pt idx="97383">2</cx:pt>
          <cx:pt idx="97384">2</cx:pt>
          <cx:pt idx="97385">1</cx:pt>
          <cx:pt idx="97386">2</cx:pt>
          <cx:pt idx="97387">2</cx:pt>
          <cx:pt idx="97388">2</cx:pt>
          <cx:pt idx="97389">2</cx:pt>
          <cx:pt idx="97390">3</cx:pt>
          <cx:pt idx="97391">3</cx:pt>
          <cx:pt idx="97392">4</cx:pt>
          <cx:pt idx="97393">3</cx:pt>
          <cx:pt idx="97394">3</cx:pt>
          <cx:pt idx="97395">2</cx:pt>
          <cx:pt idx="97396">1</cx:pt>
          <cx:pt idx="97397">2</cx:pt>
          <cx:pt idx="97398">1</cx:pt>
          <cx:pt idx="97399">1</cx:pt>
          <cx:pt idx="97400">1</cx:pt>
          <cx:pt idx="97401">3</cx:pt>
          <cx:pt idx="97402">4</cx:pt>
          <cx:pt idx="97403">4</cx:pt>
          <cx:pt idx="97404">1</cx:pt>
          <cx:pt idx="97405">3</cx:pt>
          <cx:pt idx="97406">5</cx:pt>
          <cx:pt idx="97407">5</cx:pt>
          <cx:pt idx="97408">3</cx:pt>
          <cx:pt idx="97409">3</cx:pt>
          <cx:pt idx="97410">2</cx:pt>
          <cx:pt idx="97411">5</cx:pt>
          <cx:pt idx="97412">3</cx:pt>
          <cx:pt idx="97413">4</cx:pt>
          <cx:pt idx="97414">3</cx:pt>
          <cx:pt idx="97415">3</cx:pt>
          <cx:pt idx="97416">1</cx:pt>
          <cx:pt idx="97417">3</cx:pt>
          <cx:pt idx="97418">3</cx:pt>
          <cx:pt idx="97419">2</cx:pt>
          <cx:pt idx="97420">2</cx:pt>
          <cx:pt idx="97421">3</cx:pt>
          <cx:pt idx="97422">3</cx:pt>
          <cx:pt idx="97423">3</cx:pt>
          <cx:pt idx="97424">4</cx:pt>
          <cx:pt idx="97425">5</cx:pt>
          <cx:pt idx="97426">3</cx:pt>
          <cx:pt idx="97427">4</cx:pt>
          <cx:pt idx="97428">4</cx:pt>
          <cx:pt idx="97429">3</cx:pt>
          <cx:pt idx="97430">5</cx:pt>
          <cx:pt idx="97431">3</cx:pt>
          <cx:pt idx="97432">5</cx:pt>
          <cx:pt idx="97433">5</cx:pt>
          <cx:pt idx="97434">2</cx:pt>
          <cx:pt idx="97435">5</cx:pt>
          <cx:pt idx="97436">3</cx:pt>
          <cx:pt idx="97437">3</cx:pt>
          <cx:pt idx="97438">1</cx:pt>
          <cx:pt idx="97439">5</cx:pt>
          <cx:pt idx="97440">0</cx:pt>
          <cx:pt idx="97441">4</cx:pt>
          <cx:pt idx="97442">2</cx:pt>
          <cx:pt idx="97443">3</cx:pt>
          <cx:pt idx="97444">3</cx:pt>
          <cx:pt idx="97445">4</cx:pt>
          <cx:pt idx="97446">3</cx:pt>
          <cx:pt idx="97447">4</cx:pt>
          <cx:pt idx="97448">3</cx:pt>
          <cx:pt idx="97449">2</cx:pt>
          <cx:pt idx="97450">4</cx:pt>
          <cx:pt idx="97451">5</cx:pt>
          <cx:pt idx="97452">3</cx:pt>
          <cx:pt idx="97453">2</cx:pt>
          <cx:pt idx="97454">5</cx:pt>
          <cx:pt idx="97455">5</cx:pt>
          <cx:pt idx="97456">2</cx:pt>
          <cx:pt idx="97457">4</cx:pt>
          <cx:pt idx="97458">1</cx:pt>
          <cx:pt idx="97459">1</cx:pt>
          <cx:pt idx="97460">1</cx:pt>
          <cx:pt idx="97461">1</cx:pt>
          <cx:pt idx="97462">2</cx:pt>
          <cx:pt idx="97463">1</cx:pt>
          <cx:pt idx="97464">2</cx:pt>
          <cx:pt idx="97465">2</cx:pt>
          <cx:pt idx="97466">5</cx:pt>
          <cx:pt idx="97467">5</cx:pt>
          <cx:pt idx="97468">1</cx:pt>
          <cx:pt idx="97469">5</cx:pt>
          <cx:pt idx="97470">1</cx:pt>
          <cx:pt idx="97471">1</cx:pt>
          <cx:pt idx="97472">3</cx:pt>
          <cx:pt idx="97473">2</cx:pt>
          <cx:pt idx="97474">2</cx:pt>
          <cx:pt idx="97475">4</cx:pt>
          <cx:pt idx="97476">4</cx:pt>
          <cx:pt idx="97477">5</cx:pt>
          <cx:pt idx="97478">3</cx:pt>
          <cx:pt idx="97479">1</cx:pt>
          <cx:pt idx="97480">4</cx:pt>
          <cx:pt idx="97481">1</cx:pt>
          <cx:pt idx="97482">2</cx:pt>
          <cx:pt idx="97483">3</cx:pt>
          <cx:pt idx="97484">1</cx:pt>
          <cx:pt idx="97485">1</cx:pt>
          <cx:pt idx="97486">5</cx:pt>
          <cx:pt idx="97487">2</cx:pt>
          <cx:pt idx="97488">2</cx:pt>
          <cx:pt idx="97489">5</cx:pt>
          <cx:pt idx="97490">4</cx:pt>
          <cx:pt idx="97491">2</cx:pt>
          <cx:pt idx="97492">0</cx:pt>
          <cx:pt idx="97493">2</cx:pt>
          <cx:pt idx="97494">0</cx:pt>
          <cx:pt idx="97495">1</cx:pt>
          <cx:pt idx="97496">2</cx:pt>
          <cx:pt idx="97497">3</cx:pt>
          <cx:pt idx="97498">3</cx:pt>
          <cx:pt idx="97499">4</cx:pt>
          <cx:pt idx="97500">5</cx:pt>
          <cx:pt idx="97501">3</cx:pt>
          <cx:pt idx="97502">4</cx:pt>
          <cx:pt idx="97503">0</cx:pt>
          <cx:pt idx="97504">5</cx:pt>
          <cx:pt idx="97505">4</cx:pt>
          <cx:pt idx="97506">5</cx:pt>
          <cx:pt idx="97507">2</cx:pt>
          <cx:pt idx="97508">1</cx:pt>
          <cx:pt idx="97509">2</cx:pt>
          <cx:pt idx="97510">5</cx:pt>
          <cx:pt idx="97511">2</cx:pt>
          <cx:pt idx="97512">2</cx:pt>
          <cx:pt idx="97513">4</cx:pt>
          <cx:pt idx="97514">1</cx:pt>
          <cx:pt idx="97515">4</cx:pt>
          <cx:pt idx="97516">2</cx:pt>
          <cx:pt idx="97517">3</cx:pt>
          <cx:pt idx="97518">2</cx:pt>
          <cx:pt idx="97519">2</cx:pt>
          <cx:pt idx="97520">2</cx:pt>
          <cx:pt idx="97521">4</cx:pt>
          <cx:pt idx="97522">2</cx:pt>
          <cx:pt idx="97523">4</cx:pt>
          <cx:pt idx="97524">0</cx:pt>
          <cx:pt idx="97525">2</cx:pt>
          <cx:pt idx="97526">2</cx:pt>
          <cx:pt idx="97527">3</cx:pt>
          <cx:pt idx="97528">2</cx:pt>
          <cx:pt idx="97529">4</cx:pt>
          <cx:pt idx="97530">4</cx:pt>
          <cx:pt idx="97531">3</cx:pt>
          <cx:pt idx="97532">3</cx:pt>
          <cx:pt idx="97533">3</cx:pt>
          <cx:pt idx="97534">2</cx:pt>
          <cx:pt idx="97535">2</cx:pt>
          <cx:pt idx="97536">1</cx:pt>
          <cx:pt idx="97537">3</cx:pt>
          <cx:pt idx="97538">5</cx:pt>
          <cx:pt idx="97539">3</cx:pt>
          <cx:pt idx="97540">5</cx:pt>
          <cx:pt idx="97541">3</cx:pt>
          <cx:pt idx="97542">3</cx:pt>
          <cx:pt idx="97543">2</cx:pt>
          <cx:pt idx="97544">5</cx:pt>
          <cx:pt idx="97545">4</cx:pt>
          <cx:pt idx="97546">5</cx:pt>
          <cx:pt idx="97547">2</cx:pt>
          <cx:pt idx="97548">3</cx:pt>
          <cx:pt idx="97549">2</cx:pt>
          <cx:pt idx="97550">1</cx:pt>
          <cx:pt idx="97551">2</cx:pt>
          <cx:pt idx="97552">2</cx:pt>
          <cx:pt idx="97553">3</cx:pt>
          <cx:pt idx="97554">1</cx:pt>
          <cx:pt idx="97555">3</cx:pt>
          <cx:pt idx="97556">3</cx:pt>
          <cx:pt idx="97557">1</cx:pt>
          <cx:pt idx="97558">5</cx:pt>
          <cx:pt idx="97559">3</cx:pt>
          <cx:pt idx="97560">3</cx:pt>
          <cx:pt idx="97561">4</cx:pt>
          <cx:pt idx="97562">3</cx:pt>
          <cx:pt idx="97563">3</cx:pt>
          <cx:pt idx="97564">3</cx:pt>
          <cx:pt idx="97565">3</cx:pt>
          <cx:pt idx="97566">1</cx:pt>
          <cx:pt idx="97567">4</cx:pt>
          <cx:pt idx="97568">5</cx:pt>
          <cx:pt idx="97569">2</cx:pt>
          <cx:pt idx="97570">2</cx:pt>
          <cx:pt idx="97571">3</cx:pt>
          <cx:pt idx="97572">4</cx:pt>
          <cx:pt idx="97573">3</cx:pt>
          <cx:pt idx="97574">3</cx:pt>
          <cx:pt idx="97575">1</cx:pt>
          <cx:pt idx="97576">2</cx:pt>
          <cx:pt idx="97577">1</cx:pt>
          <cx:pt idx="97578">0</cx:pt>
          <cx:pt idx="97579">5</cx:pt>
          <cx:pt idx="97580">1</cx:pt>
          <cx:pt idx="97581">1</cx:pt>
          <cx:pt idx="97582">1</cx:pt>
          <cx:pt idx="97583">2</cx:pt>
          <cx:pt idx="97584">2</cx:pt>
          <cx:pt idx="97585">2</cx:pt>
          <cx:pt idx="97586">2</cx:pt>
          <cx:pt idx="97587">4</cx:pt>
          <cx:pt idx="97588">0</cx:pt>
          <cx:pt idx="97589">3</cx:pt>
          <cx:pt idx="97590">2</cx:pt>
          <cx:pt idx="97591">4</cx:pt>
          <cx:pt idx="97592">3</cx:pt>
          <cx:pt idx="97593">4</cx:pt>
          <cx:pt idx="97594">4</cx:pt>
          <cx:pt idx="97595">1</cx:pt>
          <cx:pt idx="97596">2</cx:pt>
          <cx:pt idx="97597">2</cx:pt>
          <cx:pt idx="97598">4</cx:pt>
          <cx:pt idx="97599">5</cx:pt>
          <cx:pt idx="97600">3</cx:pt>
          <cx:pt idx="97601">4</cx:pt>
          <cx:pt idx="97602">1</cx:pt>
          <cx:pt idx="97603">4</cx:pt>
          <cx:pt idx="97604">3</cx:pt>
          <cx:pt idx="97605">3</cx:pt>
          <cx:pt idx="97606">2</cx:pt>
          <cx:pt idx="97607">2</cx:pt>
          <cx:pt idx="97608">1</cx:pt>
          <cx:pt idx="97609">3</cx:pt>
          <cx:pt idx="97610">4</cx:pt>
          <cx:pt idx="97611">4</cx:pt>
          <cx:pt idx="97612">3</cx:pt>
          <cx:pt idx="97613">2</cx:pt>
          <cx:pt idx="97614">1</cx:pt>
          <cx:pt idx="97615">3</cx:pt>
          <cx:pt idx="97616">2</cx:pt>
          <cx:pt idx="97617">3</cx:pt>
          <cx:pt idx="97618">1</cx:pt>
          <cx:pt idx="97619">2</cx:pt>
          <cx:pt idx="97620">4</cx:pt>
          <cx:pt idx="97621">0</cx:pt>
          <cx:pt idx="97622">1</cx:pt>
          <cx:pt idx="97623">3</cx:pt>
          <cx:pt idx="97624">3</cx:pt>
          <cx:pt idx="97625">2</cx:pt>
          <cx:pt idx="97626">1</cx:pt>
          <cx:pt idx="97627">2</cx:pt>
          <cx:pt idx="97628">3</cx:pt>
          <cx:pt idx="97629">1</cx:pt>
          <cx:pt idx="97630">4</cx:pt>
          <cx:pt idx="97631">3</cx:pt>
          <cx:pt idx="97632">1</cx:pt>
          <cx:pt idx="97633">5</cx:pt>
          <cx:pt idx="97634">1</cx:pt>
          <cx:pt idx="97635">5</cx:pt>
          <cx:pt idx="97636">1</cx:pt>
          <cx:pt idx="97637">4</cx:pt>
          <cx:pt idx="97638">4</cx:pt>
          <cx:pt idx="97639">3</cx:pt>
          <cx:pt idx="97640">3</cx:pt>
          <cx:pt idx="97641">4</cx:pt>
          <cx:pt idx="97642">2</cx:pt>
          <cx:pt idx="97643">4</cx:pt>
          <cx:pt idx="97644">2</cx:pt>
          <cx:pt idx="97645">1</cx:pt>
          <cx:pt idx="97646">5</cx:pt>
          <cx:pt idx="97647">5</cx:pt>
          <cx:pt idx="97648">2</cx:pt>
          <cx:pt idx="97649">2</cx:pt>
          <cx:pt idx="97650">2</cx:pt>
          <cx:pt idx="97651">3</cx:pt>
          <cx:pt idx="97652">4</cx:pt>
          <cx:pt idx="97653">4</cx:pt>
          <cx:pt idx="97654">3</cx:pt>
          <cx:pt idx="97655">1</cx:pt>
          <cx:pt idx="97656">5</cx:pt>
          <cx:pt idx="97657">3</cx:pt>
          <cx:pt idx="97658">3</cx:pt>
          <cx:pt idx="97659">3</cx:pt>
          <cx:pt idx="97660">3</cx:pt>
          <cx:pt idx="97661">2</cx:pt>
          <cx:pt idx="97662">4</cx:pt>
          <cx:pt idx="97663">1</cx:pt>
          <cx:pt idx="97664">1</cx:pt>
          <cx:pt idx="97665">1</cx:pt>
          <cx:pt idx="97666">4</cx:pt>
          <cx:pt idx="97667">4</cx:pt>
          <cx:pt idx="97668">3</cx:pt>
          <cx:pt idx="97669">3</cx:pt>
          <cx:pt idx="97670">4</cx:pt>
          <cx:pt idx="97671">0</cx:pt>
          <cx:pt idx="97672">5</cx:pt>
          <cx:pt idx="97673">3</cx:pt>
          <cx:pt idx="97674">2</cx:pt>
          <cx:pt idx="97675">5</cx:pt>
          <cx:pt idx="97676">5</cx:pt>
          <cx:pt idx="97677">4</cx:pt>
          <cx:pt idx="97678">3</cx:pt>
          <cx:pt idx="97679">1</cx:pt>
          <cx:pt idx="97680">4</cx:pt>
          <cx:pt idx="97681">2</cx:pt>
          <cx:pt idx="97682">4</cx:pt>
          <cx:pt idx="97683">2</cx:pt>
          <cx:pt idx="97684">2</cx:pt>
          <cx:pt idx="97685">3</cx:pt>
          <cx:pt idx="97686">4</cx:pt>
          <cx:pt idx="97687">3</cx:pt>
          <cx:pt idx="97688">4</cx:pt>
          <cx:pt idx="97689">4</cx:pt>
          <cx:pt idx="97690">3</cx:pt>
          <cx:pt idx="97691">3</cx:pt>
          <cx:pt idx="97692">3</cx:pt>
          <cx:pt idx="97693">1</cx:pt>
          <cx:pt idx="97694">2</cx:pt>
          <cx:pt idx="97695">5</cx:pt>
          <cx:pt idx="97696">2</cx:pt>
          <cx:pt idx="97697">3</cx:pt>
          <cx:pt idx="97698">5</cx:pt>
          <cx:pt idx="97699">3</cx:pt>
          <cx:pt idx="97700">2</cx:pt>
          <cx:pt idx="97701">5</cx:pt>
          <cx:pt idx="97702">4</cx:pt>
          <cx:pt idx="97703">3</cx:pt>
          <cx:pt idx="97704">1</cx:pt>
          <cx:pt idx="97705">4</cx:pt>
          <cx:pt idx="97706">1</cx:pt>
          <cx:pt idx="97707">1</cx:pt>
          <cx:pt idx="97708">0</cx:pt>
          <cx:pt idx="97709">2</cx:pt>
          <cx:pt idx="97710">0</cx:pt>
          <cx:pt idx="97711">1</cx:pt>
          <cx:pt idx="97712">1</cx:pt>
          <cx:pt idx="97713">4</cx:pt>
          <cx:pt idx="97714">4</cx:pt>
          <cx:pt idx="97715">4</cx:pt>
          <cx:pt idx="97716">3</cx:pt>
          <cx:pt idx="97717">2</cx:pt>
          <cx:pt idx="97718">0</cx:pt>
          <cx:pt idx="97719">1</cx:pt>
          <cx:pt idx="97720">4</cx:pt>
          <cx:pt idx="97721">3</cx:pt>
          <cx:pt idx="97722">4</cx:pt>
          <cx:pt idx="97723">3</cx:pt>
          <cx:pt idx="97724">2</cx:pt>
          <cx:pt idx="97725">2</cx:pt>
          <cx:pt idx="97726">0</cx:pt>
          <cx:pt idx="97727">5</cx:pt>
          <cx:pt idx="97728">4</cx:pt>
          <cx:pt idx="97729">1</cx:pt>
          <cx:pt idx="97730">4</cx:pt>
          <cx:pt idx="97731">1</cx:pt>
          <cx:pt idx="97732">4</cx:pt>
          <cx:pt idx="97733">2</cx:pt>
          <cx:pt idx="97734">1</cx:pt>
          <cx:pt idx="97735">1</cx:pt>
          <cx:pt idx="97736">4</cx:pt>
          <cx:pt idx="97737">4</cx:pt>
          <cx:pt idx="97738">3</cx:pt>
          <cx:pt idx="97739">1</cx:pt>
          <cx:pt idx="97740">3</cx:pt>
          <cx:pt idx="97741">3</cx:pt>
          <cx:pt idx="97742">0</cx:pt>
          <cx:pt idx="97743">1</cx:pt>
          <cx:pt idx="97744">1</cx:pt>
          <cx:pt idx="97745">3</cx:pt>
          <cx:pt idx="97746">4</cx:pt>
          <cx:pt idx="97747">3</cx:pt>
          <cx:pt idx="97748">3</cx:pt>
          <cx:pt idx="97749">5</cx:pt>
          <cx:pt idx="97750">3</cx:pt>
          <cx:pt idx="97751">4</cx:pt>
          <cx:pt idx="97752">3</cx:pt>
          <cx:pt idx="97753">5</cx:pt>
          <cx:pt idx="97754">4</cx:pt>
          <cx:pt idx="97755">5</cx:pt>
          <cx:pt idx="97756">2</cx:pt>
          <cx:pt idx="97757">2</cx:pt>
          <cx:pt idx="97758">5</cx:pt>
          <cx:pt idx="97759">5</cx:pt>
          <cx:pt idx="97760">5</cx:pt>
          <cx:pt idx="97761">1</cx:pt>
          <cx:pt idx="97762">4</cx:pt>
          <cx:pt idx="97763">3</cx:pt>
          <cx:pt idx="97764">3</cx:pt>
          <cx:pt idx="97765">3</cx:pt>
          <cx:pt idx="97766">0</cx:pt>
          <cx:pt idx="97767">4</cx:pt>
          <cx:pt idx="97768">4</cx:pt>
          <cx:pt idx="97769">3</cx:pt>
          <cx:pt idx="97770">5</cx:pt>
          <cx:pt idx="97771">3</cx:pt>
          <cx:pt idx="97772">3</cx:pt>
          <cx:pt idx="97773">1</cx:pt>
          <cx:pt idx="97774">2</cx:pt>
          <cx:pt idx="97775">2</cx:pt>
          <cx:pt idx="97776">5</cx:pt>
          <cx:pt idx="97777">4</cx:pt>
          <cx:pt idx="97778">5</cx:pt>
          <cx:pt idx="97779">5</cx:pt>
          <cx:pt idx="97780">2</cx:pt>
          <cx:pt idx="97781">1</cx:pt>
          <cx:pt idx="97782">0</cx:pt>
          <cx:pt idx="97783">1</cx:pt>
          <cx:pt idx="97784">2</cx:pt>
          <cx:pt idx="97785">3</cx:pt>
          <cx:pt idx="97786">1</cx:pt>
          <cx:pt idx="97787">0</cx:pt>
          <cx:pt idx="97788">4</cx:pt>
          <cx:pt idx="97789">3</cx:pt>
          <cx:pt idx="97790">1</cx:pt>
          <cx:pt idx="97791">1</cx:pt>
          <cx:pt idx="97792">5</cx:pt>
          <cx:pt idx="97793">4</cx:pt>
          <cx:pt idx="97794">1</cx:pt>
          <cx:pt idx="97795">4</cx:pt>
          <cx:pt idx="97796">3</cx:pt>
          <cx:pt idx="97797">1</cx:pt>
          <cx:pt idx="97798">3</cx:pt>
          <cx:pt idx="97799">3</cx:pt>
          <cx:pt idx="97800">5</cx:pt>
          <cx:pt idx="97801">5</cx:pt>
          <cx:pt idx="97802">4</cx:pt>
          <cx:pt idx="97803">1</cx:pt>
          <cx:pt idx="97804">3</cx:pt>
          <cx:pt idx="97805">0</cx:pt>
          <cx:pt idx="97806">2</cx:pt>
          <cx:pt idx="97807">4</cx:pt>
          <cx:pt idx="97808">1</cx:pt>
          <cx:pt idx="97809">0</cx:pt>
          <cx:pt idx="97810">2</cx:pt>
          <cx:pt idx="97811">3</cx:pt>
          <cx:pt idx="97812">5</cx:pt>
          <cx:pt idx="97813">2</cx:pt>
          <cx:pt idx="97814">1</cx:pt>
          <cx:pt idx="97815">2</cx:pt>
          <cx:pt idx="97816">2</cx:pt>
          <cx:pt idx="97817">2</cx:pt>
          <cx:pt idx="97818">3</cx:pt>
          <cx:pt idx="97819">4</cx:pt>
          <cx:pt idx="97820">1</cx:pt>
          <cx:pt idx="97821">5</cx:pt>
          <cx:pt idx="97822">2</cx:pt>
          <cx:pt idx="97823">3</cx:pt>
          <cx:pt idx="97824">3</cx:pt>
          <cx:pt idx="97825">5</cx:pt>
          <cx:pt idx="97826">5</cx:pt>
          <cx:pt idx="97827">2</cx:pt>
          <cx:pt idx="97828">4</cx:pt>
          <cx:pt idx="97829">4</cx:pt>
          <cx:pt idx="97830">3</cx:pt>
          <cx:pt idx="97831">1</cx:pt>
          <cx:pt idx="97832">3</cx:pt>
          <cx:pt idx="97833">2</cx:pt>
          <cx:pt idx="97834">3</cx:pt>
          <cx:pt idx="97835">1</cx:pt>
          <cx:pt idx="97836">5</cx:pt>
          <cx:pt idx="97837">4</cx:pt>
          <cx:pt idx="97838">2</cx:pt>
          <cx:pt idx="97839">2</cx:pt>
          <cx:pt idx="97840">5</cx:pt>
          <cx:pt idx="97841">1</cx:pt>
          <cx:pt idx="97842">3</cx:pt>
          <cx:pt idx="97843">2</cx:pt>
          <cx:pt idx="97844">1</cx:pt>
          <cx:pt idx="97845">3</cx:pt>
          <cx:pt idx="97846">2</cx:pt>
          <cx:pt idx="97847">1</cx:pt>
          <cx:pt idx="97848">2</cx:pt>
          <cx:pt idx="97849">2</cx:pt>
          <cx:pt idx="97850">4</cx:pt>
          <cx:pt idx="97851">3</cx:pt>
          <cx:pt idx="97852">1</cx:pt>
          <cx:pt idx="97853">2</cx:pt>
          <cx:pt idx="97854">3</cx:pt>
          <cx:pt idx="97855">3</cx:pt>
          <cx:pt idx="97856">4</cx:pt>
          <cx:pt idx="97857">5</cx:pt>
          <cx:pt idx="97858">4</cx:pt>
          <cx:pt idx="97859">4</cx:pt>
          <cx:pt idx="97860">1</cx:pt>
          <cx:pt idx="97861">5</cx:pt>
          <cx:pt idx="97862">3</cx:pt>
          <cx:pt idx="97863">3</cx:pt>
          <cx:pt idx="97864">4</cx:pt>
          <cx:pt idx="97865">2</cx:pt>
          <cx:pt idx="97866">4</cx:pt>
          <cx:pt idx="97867">3</cx:pt>
          <cx:pt idx="97868">5</cx:pt>
          <cx:pt idx="97869">0</cx:pt>
          <cx:pt idx="97870">3</cx:pt>
          <cx:pt idx="97871">1</cx:pt>
          <cx:pt idx="97872">3</cx:pt>
          <cx:pt idx="97873">3</cx:pt>
          <cx:pt idx="97874">1</cx:pt>
          <cx:pt idx="97875">2</cx:pt>
          <cx:pt idx="97876">5</cx:pt>
          <cx:pt idx="97877">1</cx:pt>
          <cx:pt idx="97878">3</cx:pt>
          <cx:pt idx="97879">5</cx:pt>
          <cx:pt idx="97880">3</cx:pt>
          <cx:pt idx="97881">2</cx:pt>
          <cx:pt idx="97882">1</cx:pt>
          <cx:pt idx="97883">2</cx:pt>
          <cx:pt idx="97884">3</cx:pt>
          <cx:pt idx="97885">2</cx:pt>
          <cx:pt idx="97886">1</cx:pt>
          <cx:pt idx="97887">1</cx:pt>
          <cx:pt idx="97888">3</cx:pt>
          <cx:pt idx="97889">3</cx:pt>
          <cx:pt idx="97890">2</cx:pt>
          <cx:pt idx="97891">5</cx:pt>
          <cx:pt idx="97892">3</cx:pt>
          <cx:pt idx="97893">2</cx:pt>
          <cx:pt idx="97894">1</cx:pt>
          <cx:pt idx="97895">2</cx:pt>
          <cx:pt idx="97896">2</cx:pt>
          <cx:pt idx="97897">0</cx:pt>
          <cx:pt idx="97898">2</cx:pt>
          <cx:pt idx="97899">5</cx:pt>
          <cx:pt idx="97900">5</cx:pt>
          <cx:pt idx="97901">2</cx:pt>
          <cx:pt idx="97902">2</cx:pt>
          <cx:pt idx="97903">3</cx:pt>
          <cx:pt idx="97904">1</cx:pt>
          <cx:pt idx="97905">2</cx:pt>
          <cx:pt idx="97906">3</cx:pt>
          <cx:pt idx="97907">1</cx:pt>
          <cx:pt idx="97908">1</cx:pt>
          <cx:pt idx="97909">1</cx:pt>
          <cx:pt idx="97910">2</cx:pt>
          <cx:pt idx="97911">3</cx:pt>
          <cx:pt idx="97912">3</cx:pt>
          <cx:pt idx="97913">5</cx:pt>
          <cx:pt idx="97914">4</cx:pt>
          <cx:pt idx="97915">3</cx:pt>
          <cx:pt idx="97916">3</cx:pt>
          <cx:pt idx="97917">3</cx:pt>
          <cx:pt idx="97918">5</cx:pt>
          <cx:pt idx="97919">1</cx:pt>
          <cx:pt idx="97920">4</cx:pt>
          <cx:pt idx="97921">3</cx:pt>
          <cx:pt idx="97922">3</cx:pt>
          <cx:pt idx="97923">1</cx:pt>
          <cx:pt idx="97924">2</cx:pt>
          <cx:pt idx="97925">2</cx:pt>
          <cx:pt idx="97926">4</cx:pt>
          <cx:pt idx="97927">0</cx:pt>
          <cx:pt idx="97928">1</cx:pt>
          <cx:pt idx="97929">2</cx:pt>
          <cx:pt idx="97930">2</cx:pt>
          <cx:pt idx="97931">0</cx:pt>
          <cx:pt idx="97932">2</cx:pt>
          <cx:pt idx="97933">0</cx:pt>
          <cx:pt idx="97934">4</cx:pt>
          <cx:pt idx="97935">4</cx:pt>
          <cx:pt idx="97936">4</cx:pt>
          <cx:pt idx="97937">2</cx:pt>
          <cx:pt idx="97938">3</cx:pt>
          <cx:pt idx="97939">1</cx:pt>
          <cx:pt idx="97940">2</cx:pt>
          <cx:pt idx="97941">5</cx:pt>
          <cx:pt idx="97942">3</cx:pt>
          <cx:pt idx="97943">3</cx:pt>
          <cx:pt idx="97944">3</cx:pt>
          <cx:pt idx="97945">1</cx:pt>
          <cx:pt idx="97946">1</cx:pt>
          <cx:pt idx="97947">4</cx:pt>
          <cx:pt idx="97948">2</cx:pt>
          <cx:pt idx="97949">4</cx:pt>
          <cx:pt idx="97950">3</cx:pt>
          <cx:pt idx="97951">2</cx:pt>
          <cx:pt idx="97952">2</cx:pt>
          <cx:pt idx="97953">3</cx:pt>
          <cx:pt idx="97954">3</cx:pt>
          <cx:pt idx="97955">2</cx:pt>
          <cx:pt idx="97956">0</cx:pt>
          <cx:pt idx="97957">3</cx:pt>
          <cx:pt idx="97958">1</cx:pt>
          <cx:pt idx="97959">2</cx:pt>
          <cx:pt idx="97960">3</cx:pt>
          <cx:pt idx="97961">3</cx:pt>
          <cx:pt idx="97962">2</cx:pt>
          <cx:pt idx="97963">4</cx:pt>
          <cx:pt idx="97964">1</cx:pt>
          <cx:pt idx="97965">3</cx:pt>
          <cx:pt idx="97966">2</cx:pt>
          <cx:pt idx="97967">3</cx:pt>
          <cx:pt idx="97968">4</cx:pt>
          <cx:pt idx="97969">4</cx:pt>
          <cx:pt idx="97970">3</cx:pt>
          <cx:pt idx="97971">3</cx:pt>
          <cx:pt idx="97972">2</cx:pt>
          <cx:pt idx="97973">2</cx:pt>
          <cx:pt idx="97974">4</cx:pt>
          <cx:pt idx="97975">2</cx:pt>
          <cx:pt idx="97976">3</cx:pt>
          <cx:pt idx="97977">2</cx:pt>
          <cx:pt idx="97978">3</cx:pt>
          <cx:pt idx="97979">4</cx:pt>
          <cx:pt idx="97980">5</cx:pt>
          <cx:pt idx="97981">2</cx:pt>
          <cx:pt idx="97982">1</cx:pt>
          <cx:pt idx="97983">0</cx:pt>
          <cx:pt idx="97984">3</cx:pt>
          <cx:pt idx="97985">2</cx:pt>
          <cx:pt idx="97986">2</cx:pt>
          <cx:pt idx="97987">3</cx:pt>
          <cx:pt idx="97988">1</cx:pt>
          <cx:pt idx="97989">2</cx:pt>
          <cx:pt idx="97990">3</cx:pt>
          <cx:pt idx="97991">1</cx:pt>
          <cx:pt idx="97992">3</cx:pt>
          <cx:pt idx="97993">4</cx:pt>
          <cx:pt idx="97994">2</cx:pt>
          <cx:pt idx="97995">4</cx:pt>
          <cx:pt idx="97996">0</cx:pt>
          <cx:pt idx="97997">3</cx:pt>
          <cx:pt idx="97998">2</cx:pt>
          <cx:pt idx="97999">3</cx:pt>
          <cx:pt idx="98000">2</cx:pt>
          <cx:pt idx="98001">2</cx:pt>
          <cx:pt idx="98002">1</cx:pt>
          <cx:pt idx="98003">2</cx:pt>
          <cx:pt idx="98004">2</cx:pt>
          <cx:pt idx="98005">2</cx:pt>
          <cx:pt idx="98006">4</cx:pt>
          <cx:pt idx="98007">4</cx:pt>
          <cx:pt idx="98008">4</cx:pt>
          <cx:pt idx="98009">3</cx:pt>
          <cx:pt idx="98010">3</cx:pt>
          <cx:pt idx="98011">4</cx:pt>
          <cx:pt idx="98012">3</cx:pt>
          <cx:pt idx="98013">4</cx:pt>
          <cx:pt idx="98014">1</cx:pt>
          <cx:pt idx="98015">5</cx:pt>
          <cx:pt idx="98016">3</cx:pt>
          <cx:pt idx="98017">4</cx:pt>
          <cx:pt idx="98018">2</cx:pt>
          <cx:pt idx="98019">5</cx:pt>
          <cx:pt idx="98020">1</cx:pt>
          <cx:pt idx="98021">2</cx:pt>
          <cx:pt idx="98022">4</cx:pt>
          <cx:pt idx="98023">5</cx:pt>
          <cx:pt idx="98024">1</cx:pt>
          <cx:pt idx="98025">3</cx:pt>
          <cx:pt idx="98026">1</cx:pt>
          <cx:pt idx="98027">5</cx:pt>
          <cx:pt idx="98028">4</cx:pt>
          <cx:pt idx="98029">2</cx:pt>
          <cx:pt idx="98030">3</cx:pt>
          <cx:pt idx="98031">4</cx:pt>
          <cx:pt idx="98032">2</cx:pt>
          <cx:pt idx="98033">2</cx:pt>
          <cx:pt idx="98034">3</cx:pt>
          <cx:pt idx="98035">0</cx:pt>
          <cx:pt idx="98036">3</cx:pt>
          <cx:pt idx="98037">2</cx:pt>
          <cx:pt idx="98038">2</cx:pt>
          <cx:pt idx="98039">2</cx:pt>
          <cx:pt idx="98040">4</cx:pt>
          <cx:pt idx="98041">3</cx:pt>
          <cx:pt idx="98042">1</cx:pt>
          <cx:pt idx="98043">4</cx:pt>
          <cx:pt idx="98044">3</cx:pt>
          <cx:pt idx="98045">2</cx:pt>
          <cx:pt idx="98046">1</cx:pt>
          <cx:pt idx="98047">2</cx:pt>
          <cx:pt idx="98048">5</cx:pt>
          <cx:pt idx="98049">3</cx:pt>
          <cx:pt idx="98050">3</cx:pt>
          <cx:pt idx="98051">3</cx:pt>
          <cx:pt idx="98052">3</cx:pt>
          <cx:pt idx="98053">3</cx:pt>
          <cx:pt idx="98054">3</cx:pt>
          <cx:pt idx="98055">2</cx:pt>
          <cx:pt idx="98056">4</cx:pt>
          <cx:pt idx="98057">3</cx:pt>
          <cx:pt idx="98058">2</cx:pt>
          <cx:pt idx="98059">2</cx:pt>
          <cx:pt idx="98060">5</cx:pt>
          <cx:pt idx="98061">4</cx:pt>
          <cx:pt idx="98062">3</cx:pt>
          <cx:pt idx="98063">2</cx:pt>
          <cx:pt idx="98064">0</cx:pt>
          <cx:pt idx="98065">4</cx:pt>
          <cx:pt idx="98066">4</cx:pt>
          <cx:pt idx="98067">3</cx:pt>
          <cx:pt idx="98068">4</cx:pt>
          <cx:pt idx="98069">4</cx:pt>
          <cx:pt idx="98070">3</cx:pt>
          <cx:pt idx="98071">2</cx:pt>
          <cx:pt idx="98072">3</cx:pt>
          <cx:pt idx="98073">3</cx:pt>
          <cx:pt idx="98074">4</cx:pt>
          <cx:pt idx="98075">1</cx:pt>
          <cx:pt idx="98076">0</cx:pt>
          <cx:pt idx="98077">2</cx:pt>
          <cx:pt idx="98078">3</cx:pt>
          <cx:pt idx="98079">5</cx:pt>
          <cx:pt idx="98080">4</cx:pt>
          <cx:pt idx="98081">1</cx:pt>
          <cx:pt idx="98082">3</cx:pt>
          <cx:pt idx="98083">1</cx:pt>
          <cx:pt idx="98084">3</cx:pt>
          <cx:pt idx="98085">3</cx:pt>
          <cx:pt idx="98086">3</cx:pt>
          <cx:pt idx="98087">3</cx:pt>
          <cx:pt idx="98088">3</cx:pt>
          <cx:pt idx="98089">3</cx:pt>
          <cx:pt idx="98090">3</cx:pt>
          <cx:pt idx="98091">1</cx:pt>
          <cx:pt idx="98092">1</cx:pt>
          <cx:pt idx="98093">3</cx:pt>
          <cx:pt idx="98094">3</cx:pt>
          <cx:pt idx="98095">3</cx:pt>
          <cx:pt idx="98096">0</cx:pt>
          <cx:pt idx="98097">0</cx:pt>
          <cx:pt idx="98098">3</cx:pt>
          <cx:pt idx="98099">3</cx:pt>
          <cx:pt idx="98100">4</cx:pt>
          <cx:pt idx="98101">1</cx:pt>
          <cx:pt idx="98102">3</cx:pt>
          <cx:pt idx="98103">5</cx:pt>
          <cx:pt idx="98104">1</cx:pt>
          <cx:pt idx="98105">2</cx:pt>
          <cx:pt idx="98106">3</cx:pt>
          <cx:pt idx="98107">1</cx:pt>
          <cx:pt idx="98108">1</cx:pt>
          <cx:pt idx="98109">3</cx:pt>
          <cx:pt idx="98110">2</cx:pt>
          <cx:pt idx="98111">1</cx:pt>
          <cx:pt idx="98112">4</cx:pt>
          <cx:pt idx="98113">0</cx:pt>
          <cx:pt idx="98114">5</cx:pt>
          <cx:pt idx="98115">2</cx:pt>
          <cx:pt idx="98116">4</cx:pt>
          <cx:pt idx="98117">1</cx:pt>
          <cx:pt idx="98118">3</cx:pt>
          <cx:pt idx="98119">2</cx:pt>
          <cx:pt idx="98120">3</cx:pt>
          <cx:pt idx="98121">3</cx:pt>
          <cx:pt idx="98122">5</cx:pt>
          <cx:pt idx="98123">4</cx:pt>
          <cx:pt idx="98124">3</cx:pt>
          <cx:pt idx="98125">1</cx:pt>
          <cx:pt idx="98126">3</cx:pt>
          <cx:pt idx="98127">3</cx:pt>
          <cx:pt idx="98128">1</cx:pt>
          <cx:pt idx="98129">1</cx:pt>
          <cx:pt idx="98130">1</cx:pt>
          <cx:pt idx="98131">3</cx:pt>
          <cx:pt idx="98132">4</cx:pt>
          <cx:pt idx="98133">5</cx:pt>
          <cx:pt idx="98134">3</cx:pt>
          <cx:pt idx="98135">2</cx:pt>
          <cx:pt idx="98136">1</cx:pt>
          <cx:pt idx="98137">5</cx:pt>
          <cx:pt idx="98138">5</cx:pt>
          <cx:pt idx="98139">3</cx:pt>
          <cx:pt idx="98140">4</cx:pt>
          <cx:pt idx="98141">2</cx:pt>
          <cx:pt idx="98142">4</cx:pt>
          <cx:pt idx="98143">1</cx:pt>
          <cx:pt idx="98144">2</cx:pt>
          <cx:pt idx="98145">2</cx:pt>
          <cx:pt idx="98146">1</cx:pt>
          <cx:pt idx="98147">3</cx:pt>
          <cx:pt idx="98148">2</cx:pt>
          <cx:pt idx="98149">1</cx:pt>
          <cx:pt idx="98150">5</cx:pt>
          <cx:pt idx="98151">5</cx:pt>
          <cx:pt idx="98152">2</cx:pt>
          <cx:pt idx="98153">5</cx:pt>
          <cx:pt idx="98154">1</cx:pt>
          <cx:pt idx="98155">4</cx:pt>
          <cx:pt idx="98156">4</cx:pt>
          <cx:pt idx="98157">2</cx:pt>
          <cx:pt idx="98158">1</cx:pt>
          <cx:pt idx="98159">5</cx:pt>
          <cx:pt idx="98160">2</cx:pt>
          <cx:pt idx="98161">0</cx:pt>
          <cx:pt idx="98162">2</cx:pt>
          <cx:pt idx="98163">2</cx:pt>
          <cx:pt idx="98164">5</cx:pt>
          <cx:pt idx="98165">0</cx:pt>
          <cx:pt idx="98166">2</cx:pt>
          <cx:pt idx="98167">5</cx:pt>
          <cx:pt idx="98168">3</cx:pt>
          <cx:pt idx="98169">2</cx:pt>
          <cx:pt idx="98170">3</cx:pt>
          <cx:pt idx="98171">2</cx:pt>
          <cx:pt idx="98172">1</cx:pt>
          <cx:pt idx="98173">1</cx:pt>
          <cx:pt idx="98174">1</cx:pt>
          <cx:pt idx="98175">2</cx:pt>
          <cx:pt idx="98176">3</cx:pt>
          <cx:pt idx="98177">5</cx:pt>
          <cx:pt idx="98178">3</cx:pt>
          <cx:pt idx="98179">2</cx:pt>
          <cx:pt idx="98180">3</cx:pt>
          <cx:pt idx="98181">4</cx:pt>
          <cx:pt idx="98182">2</cx:pt>
          <cx:pt idx="98183">1</cx:pt>
          <cx:pt idx="98184">2</cx:pt>
          <cx:pt idx="98185">1</cx:pt>
          <cx:pt idx="98186">1</cx:pt>
          <cx:pt idx="98187">2</cx:pt>
          <cx:pt idx="98188">1</cx:pt>
          <cx:pt idx="98189">2</cx:pt>
          <cx:pt idx="98190">5</cx:pt>
          <cx:pt idx="98191">4</cx:pt>
          <cx:pt idx="98192">3</cx:pt>
          <cx:pt idx="98193">2</cx:pt>
          <cx:pt idx="98194">1</cx:pt>
          <cx:pt idx="98195">5</cx:pt>
          <cx:pt idx="98196">4</cx:pt>
          <cx:pt idx="98197">1</cx:pt>
          <cx:pt idx="98198">4</cx:pt>
          <cx:pt idx="98199">3</cx:pt>
          <cx:pt idx="98200">1</cx:pt>
          <cx:pt idx="98201">3</cx:pt>
          <cx:pt idx="98202">1</cx:pt>
          <cx:pt idx="98203">1</cx:pt>
          <cx:pt idx="98204">5</cx:pt>
          <cx:pt idx="98205">0</cx:pt>
          <cx:pt idx="98206">3</cx:pt>
          <cx:pt idx="98207">2</cx:pt>
          <cx:pt idx="98208">2</cx:pt>
          <cx:pt idx="98209">4</cx:pt>
          <cx:pt idx="98210">4</cx:pt>
          <cx:pt idx="98211">1</cx:pt>
          <cx:pt idx="98212">5</cx:pt>
          <cx:pt idx="98213">4</cx:pt>
          <cx:pt idx="98214">5</cx:pt>
          <cx:pt idx="98215">4</cx:pt>
          <cx:pt idx="98216">4</cx:pt>
          <cx:pt idx="98217">4</cx:pt>
          <cx:pt idx="98218">1</cx:pt>
          <cx:pt idx="98219">3</cx:pt>
          <cx:pt idx="98220">3</cx:pt>
          <cx:pt idx="98221">0</cx:pt>
          <cx:pt idx="98222">2</cx:pt>
          <cx:pt idx="98223">4</cx:pt>
          <cx:pt idx="98224">2</cx:pt>
          <cx:pt idx="98225">2</cx:pt>
          <cx:pt idx="98226">1</cx:pt>
          <cx:pt idx="98227">1</cx:pt>
          <cx:pt idx="98228">3</cx:pt>
          <cx:pt idx="98229">1</cx:pt>
          <cx:pt idx="98230">3</cx:pt>
          <cx:pt idx="98231">3</cx:pt>
          <cx:pt idx="98232">3</cx:pt>
          <cx:pt idx="98233">4</cx:pt>
          <cx:pt idx="98234">1</cx:pt>
          <cx:pt idx="98235">1</cx:pt>
          <cx:pt idx="98236">2</cx:pt>
          <cx:pt idx="98237">2</cx:pt>
          <cx:pt idx="98238">3</cx:pt>
          <cx:pt idx="98239">2</cx:pt>
          <cx:pt idx="98240">2</cx:pt>
          <cx:pt idx="98241">3</cx:pt>
          <cx:pt idx="98242">2</cx:pt>
          <cx:pt idx="98243">0</cx:pt>
          <cx:pt idx="98244">2</cx:pt>
          <cx:pt idx="98245">2</cx:pt>
          <cx:pt idx="98246">2</cx:pt>
          <cx:pt idx="98247">2</cx:pt>
          <cx:pt idx="98248">1</cx:pt>
          <cx:pt idx="98249">3</cx:pt>
          <cx:pt idx="98250">4</cx:pt>
          <cx:pt idx="98251">5</cx:pt>
          <cx:pt idx="98252">1</cx:pt>
          <cx:pt idx="98253">4</cx:pt>
          <cx:pt idx="98254">2</cx:pt>
          <cx:pt idx="98255">3</cx:pt>
          <cx:pt idx="98256">5</cx:pt>
          <cx:pt idx="98257">5</cx:pt>
          <cx:pt idx="98258">5</cx:pt>
          <cx:pt idx="98259">0</cx:pt>
          <cx:pt idx="98260">2</cx:pt>
          <cx:pt idx="98261">2</cx:pt>
          <cx:pt idx="98262">4</cx:pt>
          <cx:pt idx="98263">4</cx:pt>
          <cx:pt idx="98264">2</cx:pt>
          <cx:pt idx="98265">4</cx:pt>
          <cx:pt idx="98266">2</cx:pt>
          <cx:pt idx="98267">1</cx:pt>
          <cx:pt idx="98268">3</cx:pt>
          <cx:pt idx="98269">3</cx:pt>
          <cx:pt idx="98270">3</cx:pt>
          <cx:pt idx="98271">1</cx:pt>
          <cx:pt idx="98272">4</cx:pt>
          <cx:pt idx="98273">4</cx:pt>
          <cx:pt idx="98274">3</cx:pt>
          <cx:pt idx="98275">4</cx:pt>
          <cx:pt idx="98276">2</cx:pt>
          <cx:pt idx="98277">3</cx:pt>
          <cx:pt idx="98278">5</cx:pt>
          <cx:pt idx="98279">4</cx:pt>
          <cx:pt idx="98280">4</cx:pt>
          <cx:pt idx="98281">4</cx:pt>
          <cx:pt idx="98282">3</cx:pt>
          <cx:pt idx="98283">2</cx:pt>
          <cx:pt idx="98284">3</cx:pt>
          <cx:pt idx="98285">1</cx:pt>
          <cx:pt idx="98286">5</cx:pt>
          <cx:pt idx="98287">4</cx:pt>
          <cx:pt idx="98288">3</cx:pt>
          <cx:pt idx="98289">5</cx:pt>
          <cx:pt idx="98290">5</cx:pt>
          <cx:pt idx="98291">4</cx:pt>
          <cx:pt idx="98292">1</cx:pt>
          <cx:pt idx="98293">4</cx:pt>
          <cx:pt idx="98294">1</cx:pt>
          <cx:pt idx="98295">5</cx:pt>
          <cx:pt idx="98296">2</cx:pt>
          <cx:pt idx="98297">2</cx:pt>
          <cx:pt idx="98298">0</cx:pt>
          <cx:pt idx="98299">1</cx:pt>
          <cx:pt idx="98300">1</cx:pt>
          <cx:pt idx="98301">1</cx:pt>
          <cx:pt idx="98302">2</cx:pt>
          <cx:pt idx="98303">5</cx:pt>
          <cx:pt idx="98304">1</cx:pt>
          <cx:pt idx="98305">4</cx:pt>
          <cx:pt idx="98306">3</cx:pt>
          <cx:pt idx="98307">1</cx:pt>
          <cx:pt idx="98308">3</cx:pt>
          <cx:pt idx="98309">2</cx:pt>
          <cx:pt idx="98310">5</cx:pt>
          <cx:pt idx="98311">2</cx:pt>
          <cx:pt idx="98312">3</cx:pt>
          <cx:pt idx="98313">3</cx:pt>
          <cx:pt idx="98314">1</cx:pt>
          <cx:pt idx="98315">3</cx:pt>
          <cx:pt idx="98316">4</cx:pt>
          <cx:pt idx="98317">2</cx:pt>
          <cx:pt idx="98318">4</cx:pt>
          <cx:pt idx="98319">2</cx:pt>
          <cx:pt idx="98320">1</cx:pt>
          <cx:pt idx="98321">1</cx:pt>
          <cx:pt idx="98322">0</cx:pt>
          <cx:pt idx="98323">4</cx:pt>
          <cx:pt idx="98324">3</cx:pt>
          <cx:pt idx="98325">3</cx:pt>
          <cx:pt idx="98326">4</cx:pt>
          <cx:pt idx="98327">5</cx:pt>
          <cx:pt idx="98328">5</cx:pt>
          <cx:pt idx="98329">1</cx:pt>
          <cx:pt idx="98330">1</cx:pt>
          <cx:pt idx="98331">1</cx:pt>
          <cx:pt idx="98332">3</cx:pt>
          <cx:pt idx="98333">2</cx:pt>
          <cx:pt idx="98334">1</cx:pt>
          <cx:pt idx="98335">2</cx:pt>
          <cx:pt idx="98336">4</cx:pt>
          <cx:pt idx="98337">3</cx:pt>
          <cx:pt idx="98338">2</cx:pt>
          <cx:pt idx="98339">2</cx:pt>
          <cx:pt idx="98340">1</cx:pt>
          <cx:pt idx="98341">3</cx:pt>
          <cx:pt idx="98342">5</cx:pt>
          <cx:pt idx="98343">4</cx:pt>
          <cx:pt idx="98344">3</cx:pt>
          <cx:pt idx="98345">4</cx:pt>
          <cx:pt idx="98346">3</cx:pt>
          <cx:pt idx="98347">4</cx:pt>
          <cx:pt idx="98348">4</cx:pt>
          <cx:pt idx="98349">1</cx:pt>
          <cx:pt idx="98350">5</cx:pt>
          <cx:pt idx="98351">3</cx:pt>
          <cx:pt idx="98352">2</cx:pt>
          <cx:pt idx="98353">5</cx:pt>
          <cx:pt idx="98354">5</cx:pt>
          <cx:pt idx="98355">2</cx:pt>
          <cx:pt idx="98356">2</cx:pt>
          <cx:pt idx="98357">1</cx:pt>
          <cx:pt idx="98358">2</cx:pt>
          <cx:pt idx="98359">2</cx:pt>
          <cx:pt idx="98360">5</cx:pt>
          <cx:pt idx="98361">1</cx:pt>
          <cx:pt idx="98362">3</cx:pt>
          <cx:pt idx="98363">5</cx:pt>
          <cx:pt idx="98364">1</cx:pt>
          <cx:pt idx="98365">3</cx:pt>
          <cx:pt idx="98366">5</cx:pt>
          <cx:pt idx="98367">2</cx:pt>
          <cx:pt idx="98368">2</cx:pt>
          <cx:pt idx="98369">4</cx:pt>
          <cx:pt idx="98370">4</cx:pt>
          <cx:pt idx="98371">1</cx:pt>
          <cx:pt idx="98372">3</cx:pt>
          <cx:pt idx="98373">5</cx:pt>
          <cx:pt idx="98374">1</cx:pt>
          <cx:pt idx="98375">4</cx:pt>
          <cx:pt idx="98376">2</cx:pt>
          <cx:pt idx="98377">4</cx:pt>
          <cx:pt idx="98378">1</cx:pt>
          <cx:pt idx="98379">5</cx:pt>
          <cx:pt idx="98380">2</cx:pt>
          <cx:pt idx="98381">4</cx:pt>
          <cx:pt idx="98382">4</cx:pt>
          <cx:pt idx="98383">3</cx:pt>
          <cx:pt idx="98384">4</cx:pt>
          <cx:pt idx="98385">5</cx:pt>
          <cx:pt idx="98386">2</cx:pt>
          <cx:pt idx="98387">4</cx:pt>
          <cx:pt idx="98388">1</cx:pt>
          <cx:pt idx="98389">3</cx:pt>
          <cx:pt idx="98390">4</cx:pt>
          <cx:pt idx="98391">3</cx:pt>
          <cx:pt idx="98392">5</cx:pt>
          <cx:pt idx="98393">1</cx:pt>
          <cx:pt idx="98394">3</cx:pt>
          <cx:pt idx="98395">3</cx:pt>
          <cx:pt idx="98396">2</cx:pt>
          <cx:pt idx="98397">0</cx:pt>
          <cx:pt idx="98398">2</cx:pt>
          <cx:pt idx="98399">3</cx:pt>
          <cx:pt idx="98400">4</cx:pt>
          <cx:pt idx="98401">2</cx:pt>
          <cx:pt idx="98402">1</cx:pt>
          <cx:pt idx="98403">3</cx:pt>
          <cx:pt idx="98404">4</cx:pt>
          <cx:pt idx="98405">5</cx:pt>
          <cx:pt idx="98406">4</cx:pt>
          <cx:pt idx="98407">2</cx:pt>
          <cx:pt idx="98408">5</cx:pt>
          <cx:pt idx="98409">2</cx:pt>
          <cx:pt idx="98410">4</cx:pt>
          <cx:pt idx="98411">1</cx:pt>
          <cx:pt idx="98412">2</cx:pt>
          <cx:pt idx="98413">4</cx:pt>
          <cx:pt idx="98414">1</cx:pt>
          <cx:pt idx="98415">2</cx:pt>
          <cx:pt idx="98416">2</cx:pt>
          <cx:pt idx="98417">2</cx:pt>
          <cx:pt idx="98418">1</cx:pt>
          <cx:pt idx="98419">1</cx:pt>
          <cx:pt idx="98420">2</cx:pt>
          <cx:pt idx="98421">3</cx:pt>
          <cx:pt idx="98422">4</cx:pt>
          <cx:pt idx="98423">1</cx:pt>
          <cx:pt idx="98424">2</cx:pt>
          <cx:pt idx="98425">4</cx:pt>
          <cx:pt idx="98426">4</cx:pt>
          <cx:pt idx="98427">2</cx:pt>
          <cx:pt idx="98428">4</cx:pt>
          <cx:pt idx="98429">2</cx:pt>
          <cx:pt idx="98430">3</cx:pt>
          <cx:pt idx="98431">0</cx:pt>
          <cx:pt idx="98432">3</cx:pt>
          <cx:pt idx="98433">0</cx:pt>
          <cx:pt idx="98434">1</cx:pt>
          <cx:pt idx="98435">2</cx:pt>
          <cx:pt idx="98436">2</cx:pt>
          <cx:pt idx="98437">2</cx:pt>
          <cx:pt idx="98438">5</cx:pt>
          <cx:pt idx="98439">4</cx:pt>
          <cx:pt idx="98440">1</cx:pt>
          <cx:pt idx="98441">2</cx:pt>
          <cx:pt idx="98442">3</cx:pt>
          <cx:pt idx="98443">2</cx:pt>
          <cx:pt idx="98444">1</cx:pt>
          <cx:pt idx="98445">4</cx:pt>
          <cx:pt idx="98446">5</cx:pt>
          <cx:pt idx="98447">5</cx:pt>
          <cx:pt idx="98448">5</cx:pt>
          <cx:pt idx="98449">3</cx:pt>
          <cx:pt idx="98450">3</cx:pt>
          <cx:pt idx="98451">3</cx:pt>
          <cx:pt idx="98452">0</cx:pt>
          <cx:pt idx="98453">4</cx:pt>
          <cx:pt idx="98454">4</cx:pt>
          <cx:pt idx="98455">3</cx:pt>
          <cx:pt idx="98456">2</cx:pt>
          <cx:pt idx="98457">3</cx:pt>
          <cx:pt idx="98458">5</cx:pt>
          <cx:pt idx="98459">1</cx:pt>
          <cx:pt idx="98460">1</cx:pt>
          <cx:pt idx="98461">3</cx:pt>
          <cx:pt idx="98462">2</cx:pt>
          <cx:pt idx="98463">2</cx:pt>
          <cx:pt idx="98464">4</cx:pt>
          <cx:pt idx="98465">4</cx:pt>
          <cx:pt idx="98466">3</cx:pt>
          <cx:pt idx="98467">3</cx:pt>
          <cx:pt idx="98468">2</cx:pt>
          <cx:pt idx="98469">3</cx:pt>
          <cx:pt idx="98470">1</cx:pt>
          <cx:pt idx="98471">2</cx:pt>
          <cx:pt idx="98472">5</cx:pt>
          <cx:pt idx="98473">3</cx:pt>
          <cx:pt idx="98474">2</cx:pt>
          <cx:pt idx="98475">3</cx:pt>
          <cx:pt idx="98476">2</cx:pt>
          <cx:pt idx="98477">4</cx:pt>
          <cx:pt idx="98478">5</cx:pt>
          <cx:pt idx="98479">3</cx:pt>
          <cx:pt idx="98480">3</cx:pt>
          <cx:pt idx="98481">3</cx:pt>
          <cx:pt idx="98482">0</cx:pt>
          <cx:pt idx="98483">5</cx:pt>
          <cx:pt idx="98484">5</cx:pt>
          <cx:pt idx="98485">2</cx:pt>
          <cx:pt idx="98486">5</cx:pt>
          <cx:pt idx="98487">3</cx:pt>
          <cx:pt idx="98488">3</cx:pt>
          <cx:pt idx="98489">2</cx:pt>
          <cx:pt idx="98490">4</cx:pt>
          <cx:pt idx="98491">0</cx:pt>
          <cx:pt idx="98492">2</cx:pt>
          <cx:pt idx="98493">1</cx:pt>
          <cx:pt idx="98494">1</cx:pt>
          <cx:pt idx="98495">1</cx:pt>
          <cx:pt idx="98496">1</cx:pt>
          <cx:pt idx="98497">3</cx:pt>
          <cx:pt idx="98498">3</cx:pt>
          <cx:pt idx="98499">4</cx:pt>
          <cx:pt idx="98500">3</cx:pt>
          <cx:pt idx="98501">1</cx:pt>
          <cx:pt idx="98502">2</cx:pt>
          <cx:pt idx="98503">1</cx:pt>
          <cx:pt idx="98504">5</cx:pt>
          <cx:pt idx="98505">1</cx:pt>
          <cx:pt idx="98506">2</cx:pt>
          <cx:pt idx="98507">3</cx:pt>
          <cx:pt idx="98508">5</cx:pt>
          <cx:pt idx="98509">0</cx:pt>
          <cx:pt idx="98510">4</cx:pt>
          <cx:pt idx="98511">1</cx:pt>
          <cx:pt idx="98512">4</cx:pt>
          <cx:pt idx="98513">4</cx:pt>
          <cx:pt idx="98514">2</cx:pt>
          <cx:pt idx="98515">3</cx:pt>
          <cx:pt idx="98516">3</cx:pt>
          <cx:pt idx="98517">4</cx:pt>
          <cx:pt idx="98518">5</cx:pt>
          <cx:pt idx="98519">4</cx:pt>
          <cx:pt idx="98520">3</cx:pt>
          <cx:pt idx="98521">2</cx:pt>
          <cx:pt idx="98522">5</cx:pt>
          <cx:pt idx="98523">0</cx:pt>
          <cx:pt idx="98524">2</cx:pt>
          <cx:pt idx="98525">4</cx:pt>
          <cx:pt idx="98526">1</cx:pt>
          <cx:pt idx="98527">3</cx:pt>
          <cx:pt idx="98528">4</cx:pt>
          <cx:pt idx="98529">4</cx:pt>
          <cx:pt idx="98530">2</cx:pt>
          <cx:pt idx="98531">3</cx:pt>
          <cx:pt idx="98532">2</cx:pt>
          <cx:pt idx="98533">1</cx:pt>
          <cx:pt idx="98534">5</cx:pt>
          <cx:pt idx="98535">2</cx:pt>
          <cx:pt idx="98536">2</cx:pt>
          <cx:pt idx="98537">4</cx:pt>
          <cx:pt idx="98538">5</cx:pt>
          <cx:pt idx="98539">3</cx:pt>
          <cx:pt idx="98540">1</cx:pt>
          <cx:pt idx="98541">3</cx:pt>
          <cx:pt idx="98542">4</cx:pt>
          <cx:pt idx="98543">3</cx:pt>
          <cx:pt idx="98544">3</cx:pt>
          <cx:pt idx="98545">1</cx:pt>
          <cx:pt idx="98546">5</cx:pt>
          <cx:pt idx="98547">1</cx:pt>
          <cx:pt idx="98548">5</cx:pt>
          <cx:pt idx="98549">2</cx:pt>
          <cx:pt idx="98550">3</cx:pt>
          <cx:pt idx="98551">1</cx:pt>
          <cx:pt idx="98552">3</cx:pt>
          <cx:pt idx="98553">3</cx:pt>
          <cx:pt idx="98554">2</cx:pt>
          <cx:pt idx="98555">4</cx:pt>
          <cx:pt idx="98556">2</cx:pt>
          <cx:pt idx="98557">1</cx:pt>
          <cx:pt idx="98558">5</cx:pt>
          <cx:pt idx="98559">2</cx:pt>
          <cx:pt idx="98560">4</cx:pt>
          <cx:pt idx="98561">1</cx:pt>
          <cx:pt idx="98562">1</cx:pt>
          <cx:pt idx="98563">1</cx:pt>
          <cx:pt idx="98564">2</cx:pt>
          <cx:pt idx="98565">4</cx:pt>
          <cx:pt idx="98566">0</cx:pt>
          <cx:pt idx="98567">0</cx:pt>
          <cx:pt idx="98568">5</cx:pt>
          <cx:pt idx="98569">2</cx:pt>
          <cx:pt idx="98570">3</cx:pt>
          <cx:pt idx="98571">3</cx:pt>
          <cx:pt idx="98572">5</cx:pt>
          <cx:pt idx="98573">1</cx:pt>
          <cx:pt idx="98574">2</cx:pt>
          <cx:pt idx="98575">5</cx:pt>
          <cx:pt idx="98576">3</cx:pt>
          <cx:pt idx="98577">4</cx:pt>
          <cx:pt idx="98578">5</cx:pt>
          <cx:pt idx="98579">4</cx:pt>
          <cx:pt idx="98580">4</cx:pt>
          <cx:pt idx="98581">1</cx:pt>
          <cx:pt idx="98582">1</cx:pt>
          <cx:pt idx="98583">2</cx:pt>
          <cx:pt idx="98584">3</cx:pt>
          <cx:pt idx="98585">0</cx:pt>
          <cx:pt idx="98586">2</cx:pt>
          <cx:pt idx="98587">2</cx:pt>
          <cx:pt idx="98588">2</cx:pt>
          <cx:pt idx="98589">4</cx:pt>
          <cx:pt idx="98590">4</cx:pt>
          <cx:pt idx="98591">5</cx:pt>
          <cx:pt idx="98592">4</cx:pt>
          <cx:pt idx="98593">4</cx:pt>
          <cx:pt idx="98594">1</cx:pt>
          <cx:pt idx="98595">3</cx:pt>
          <cx:pt idx="98596">3</cx:pt>
          <cx:pt idx="98597">2</cx:pt>
          <cx:pt idx="98598">0</cx:pt>
          <cx:pt idx="98599">2</cx:pt>
          <cx:pt idx="98600">1</cx:pt>
          <cx:pt idx="98601">2</cx:pt>
          <cx:pt idx="98602">2</cx:pt>
          <cx:pt idx="98603">3</cx:pt>
          <cx:pt idx="98604">5</cx:pt>
          <cx:pt idx="98605">5</cx:pt>
          <cx:pt idx="98606">0</cx:pt>
          <cx:pt idx="98607">1</cx:pt>
          <cx:pt idx="98608">4</cx:pt>
          <cx:pt idx="98609">2</cx:pt>
          <cx:pt idx="98610">2</cx:pt>
          <cx:pt idx="98611">3</cx:pt>
          <cx:pt idx="98612">4</cx:pt>
          <cx:pt idx="98613">4</cx:pt>
          <cx:pt idx="98614">4</cx:pt>
          <cx:pt idx="98615">5</cx:pt>
          <cx:pt idx="98616">5</cx:pt>
          <cx:pt idx="98617">4</cx:pt>
          <cx:pt idx="98618">2</cx:pt>
          <cx:pt idx="98619">2</cx:pt>
          <cx:pt idx="98620">3</cx:pt>
          <cx:pt idx="98621">4</cx:pt>
          <cx:pt idx="98622">1</cx:pt>
          <cx:pt idx="98623">1</cx:pt>
          <cx:pt idx="98624">3</cx:pt>
          <cx:pt idx="98625">3</cx:pt>
          <cx:pt idx="98626">4</cx:pt>
          <cx:pt idx="98627">3</cx:pt>
          <cx:pt idx="98628">2</cx:pt>
          <cx:pt idx="98629">4</cx:pt>
          <cx:pt idx="98630">2</cx:pt>
          <cx:pt idx="98631">5</cx:pt>
          <cx:pt idx="98632">4</cx:pt>
          <cx:pt idx="98633">4</cx:pt>
          <cx:pt idx="98634">4</cx:pt>
          <cx:pt idx="98635">4</cx:pt>
          <cx:pt idx="98636">2</cx:pt>
          <cx:pt idx="98637">1</cx:pt>
          <cx:pt idx="98638">2</cx:pt>
          <cx:pt idx="98639">2</cx:pt>
          <cx:pt idx="98640">5</cx:pt>
          <cx:pt idx="98641">3</cx:pt>
          <cx:pt idx="98642">3</cx:pt>
          <cx:pt idx="98643">3</cx:pt>
          <cx:pt idx="98644">2</cx:pt>
          <cx:pt idx="98645">4</cx:pt>
          <cx:pt idx="98646">4</cx:pt>
          <cx:pt idx="98647">3</cx:pt>
          <cx:pt idx="98648">4</cx:pt>
          <cx:pt idx="98649">4</cx:pt>
          <cx:pt idx="98650">2</cx:pt>
          <cx:pt idx="98651">4</cx:pt>
          <cx:pt idx="98652">3</cx:pt>
          <cx:pt idx="98653">3</cx:pt>
          <cx:pt idx="98654">1</cx:pt>
          <cx:pt idx="98655">2</cx:pt>
          <cx:pt idx="98656">2</cx:pt>
          <cx:pt idx="98657">0</cx:pt>
          <cx:pt idx="98658">4</cx:pt>
          <cx:pt idx="98659">3</cx:pt>
          <cx:pt idx="98660">3</cx:pt>
          <cx:pt idx="98661">4</cx:pt>
          <cx:pt idx="98662">3</cx:pt>
          <cx:pt idx="98663">2</cx:pt>
          <cx:pt idx="98664">3</cx:pt>
          <cx:pt idx="98665">2</cx:pt>
          <cx:pt idx="98666">0</cx:pt>
          <cx:pt idx="98667">1</cx:pt>
          <cx:pt idx="98668">2</cx:pt>
          <cx:pt idx="98669">3</cx:pt>
          <cx:pt idx="98670">2</cx:pt>
          <cx:pt idx="98671">3</cx:pt>
          <cx:pt idx="98672">1</cx:pt>
          <cx:pt idx="98673">2</cx:pt>
          <cx:pt idx="98674">1</cx:pt>
          <cx:pt idx="98675">2</cx:pt>
          <cx:pt idx="98676">3</cx:pt>
          <cx:pt idx="98677">5</cx:pt>
          <cx:pt idx="98678">4</cx:pt>
          <cx:pt idx="98679">4</cx:pt>
          <cx:pt idx="98680">3</cx:pt>
          <cx:pt idx="98681">4</cx:pt>
          <cx:pt idx="98682">1</cx:pt>
          <cx:pt idx="98683">1</cx:pt>
          <cx:pt idx="98684">2</cx:pt>
          <cx:pt idx="98685">3</cx:pt>
          <cx:pt idx="98686">5</cx:pt>
          <cx:pt idx="98687">4</cx:pt>
          <cx:pt idx="98688">2</cx:pt>
          <cx:pt idx="98689">4</cx:pt>
          <cx:pt idx="98690">5</cx:pt>
          <cx:pt idx="98691">3</cx:pt>
          <cx:pt idx="98692">5</cx:pt>
          <cx:pt idx="98693">3</cx:pt>
          <cx:pt idx="98694">2</cx:pt>
          <cx:pt idx="98695">2</cx:pt>
          <cx:pt idx="98696">3</cx:pt>
          <cx:pt idx="98697">1</cx:pt>
          <cx:pt idx="98698">1</cx:pt>
          <cx:pt idx="98699">3</cx:pt>
          <cx:pt idx="98700">5</cx:pt>
          <cx:pt idx="98701">2</cx:pt>
          <cx:pt idx="98702">3</cx:pt>
          <cx:pt idx="98703">2</cx:pt>
          <cx:pt idx="98704">3</cx:pt>
          <cx:pt idx="98705">2</cx:pt>
          <cx:pt idx="98706">3</cx:pt>
          <cx:pt idx="98707">4</cx:pt>
          <cx:pt idx="98708">2</cx:pt>
          <cx:pt idx="98709">4</cx:pt>
          <cx:pt idx="98710">3</cx:pt>
          <cx:pt idx="98711">1</cx:pt>
          <cx:pt idx="98712">1</cx:pt>
          <cx:pt idx="98713">2</cx:pt>
          <cx:pt idx="98714">5</cx:pt>
          <cx:pt idx="98715">5</cx:pt>
          <cx:pt idx="98716">4</cx:pt>
          <cx:pt idx="98717">2</cx:pt>
          <cx:pt idx="98718">1</cx:pt>
          <cx:pt idx="98719">2</cx:pt>
          <cx:pt idx="98720">5</cx:pt>
          <cx:pt idx="98721">5</cx:pt>
          <cx:pt idx="98722">1</cx:pt>
          <cx:pt idx="98723">1</cx:pt>
          <cx:pt idx="98724">4</cx:pt>
          <cx:pt idx="98725">1</cx:pt>
          <cx:pt idx="98726">2</cx:pt>
          <cx:pt idx="98727">0</cx:pt>
          <cx:pt idx="98728">2</cx:pt>
          <cx:pt idx="98729">2</cx:pt>
          <cx:pt idx="98730">4</cx:pt>
          <cx:pt idx="98731">0</cx:pt>
          <cx:pt idx="98732">5</cx:pt>
          <cx:pt idx="98733">4</cx:pt>
          <cx:pt idx="98734">1</cx:pt>
          <cx:pt idx="98735">4</cx:pt>
          <cx:pt idx="98736">5</cx:pt>
          <cx:pt idx="98737">1</cx:pt>
          <cx:pt idx="98738">2</cx:pt>
          <cx:pt idx="98739">2</cx:pt>
          <cx:pt idx="98740">1</cx:pt>
          <cx:pt idx="98741">2</cx:pt>
          <cx:pt idx="98742">0</cx:pt>
          <cx:pt idx="98743">3</cx:pt>
          <cx:pt idx="98744">1</cx:pt>
          <cx:pt idx="98745">1</cx:pt>
          <cx:pt idx="98746">5</cx:pt>
          <cx:pt idx="98747">0</cx:pt>
          <cx:pt idx="98748">3</cx:pt>
          <cx:pt idx="98749">1</cx:pt>
          <cx:pt idx="98750">2</cx:pt>
          <cx:pt idx="98751">3</cx:pt>
          <cx:pt idx="98752">3</cx:pt>
          <cx:pt idx="98753">3</cx:pt>
          <cx:pt idx="98754">4</cx:pt>
          <cx:pt idx="98755">3</cx:pt>
          <cx:pt idx="98756">3</cx:pt>
          <cx:pt idx="98757">1</cx:pt>
          <cx:pt idx="98758">5</cx:pt>
          <cx:pt idx="98759">1</cx:pt>
          <cx:pt idx="98760">2</cx:pt>
          <cx:pt idx="98761">1</cx:pt>
          <cx:pt idx="98762">3</cx:pt>
          <cx:pt idx="98763">2</cx:pt>
          <cx:pt idx="98764">3</cx:pt>
          <cx:pt idx="98765">3</cx:pt>
          <cx:pt idx="98766">3</cx:pt>
          <cx:pt idx="98767">2</cx:pt>
          <cx:pt idx="98768">2</cx:pt>
          <cx:pt idx="98769">5</cx:pt>
          <cx:pt idx="98770">1</cx:pt>
          <cx:pt idx="98771">4</cx:pt>
          <cx:pt idx="98772">2</cx:pt>
          <cx:pt idx="98773">5</cx:pt>
          <cx:pt idx="98774">5</cx:pt>
          <cx:pt idx="98775">3</cx:pt>
          <cx:pt idx="98776">5</cx:pt>
          <cx:pt idx="98777">1</cx:pt>
          <cx:pt idx="98778">2</cx:pt>
          <cx:pt idx="98779">0</cx:pt>
          <cx:pt idx="98780">2</cx:pt>
          <cx:pt idx="98781">2</cx:pt>
          <cx:pt idx="98782">2</cx:pt>
          <cx:pt idx="98783">2</cx:pt>
          <cx:pt idx="98784">3</cx:pt>
          <cx:pt idx="98785">4</cx:pt>
          <cx:pt idx="98786">3</cx:pt>
          <cx:pt idx="98787">2</cx:pt>
          <cx:pt idx="98788">0</cx:pt>
          <cx:pt idx="98789">5</cx:pt>
          <cx:pt idx="98790">1</cx:pt>
          <cx:pt idx="98791">3</cx:pt>
          <cx:pt idx="98792">1</cx:pt>
          <cx:pt idx="98793">4</cx:pt>
          <cx:pt idx="98794">2</cx:pt>
          <cx:pt idx="98795">5</cx:pt>
          <cx:pt idx="98796">1</cx:pt>
          <cx:pt idx="98797">3</cx:pt>
          <cx:pt idx="98798">4</cx:pt>
          <cx:pt idx="98799">5</cx:pt>
          <cx:pt idx="98800">0</cx:pt>
          <cx:pt idx="98801">3</cx:pt>
          <cx:pt idx="98802">2</cx:pt>
          <cx:pt idx="98803">0</cx:pt>
          <cx:pt idx="98804">3</cx:pt>
          <cx:pt idx="98805">4</cx:pt>
          <cx:pt idx="98806">3</cx:pt>
          <cx:pt idx="98807">1</cx:pt>
          <cx:pt idx="98808">1</cx:pt>
          <cx:pt idx="98809">3</cx:pt>
          <cx:pt idx="98810">5</cx:pt>
          <cx:pt idx="98811">1</cx:pt>
          <cx:pt idx="98812">5</cx:pt>
          <cx:pt idx="98813">2</cx:pt>
          <cx:pt idx="98814">2</cx:pt>
          <cx:pt idx="98815">2</cx:pt>
          <cx:pt idx="98816">2</cx:pt>
          <cx:pt idx="98817">1</cx:pt>
          <cx:pt idx="98818">3</cx:pt>
          <cx:pt idx="98819">1</cx:pt>
          <cx:pt idx="98820">0</cx:pt>
          <cx:pt idx="98821">2</cx:pt>
          <cx:pt idx="98822">1</cx:pt>
          <cx:pt idx="98823">2</cx:pt>
          <cx:pt idx="98824">5</cx:pt>
          <cx:pt idx="98825">3</cx:pt>
          <cx:pt idx="98826">2</cx:pt>
          <cx:pt idx="98827">1</cx:pt>
          <cx:pt idx="98828">4</cx:pt>
          <cx:pt idx="98829">2</cx:pt>
          <cx:pt idx="98830">2</cx:pt>
          <cx:pt idx="98831">1</cx:pt>
          <cx:pt idx="98832">3</cx:pt>
          <cx:pt idx="98833">0</cx:pt>
          <cx:pt idx="98834">3</cx:pt>
          <cx:pt idx="98835">2</cx:pt>
          <cx:pt idx="98836">3</cx:pt>
          <cx:pt idx="98837">5</cx:pt>
          <cx:pt idx="98838">3</cx:pt>
          <cx:pt idx="98839">2</cx:pt>
          <cx:pt idx="98840">4</cx:pt>
          <cx:pt idx="98841">1</cx:pt>
          <cx:pt idx="98842">5</cx:pt>
          <cx:pt idx="98843">4</cx:pt>
          <cx:pt idx="98844">1</cx:pt>
          <cx:pt idx="98845">4</cx:pt>
          <cx:pt idx="98846">3</cx:pt>
          <cx:pt idx="98847">3</cx:pt>
          <cx:pt idx="98848">3</cx:pt>
          <cx:pt idx="98849">5</cx:pt>
          <cx:pt idx="98850">2</cx:pt>
          <cx:pt idx="98851">3</cx:pt>
          <cx:pt idx="98852">2</cx:pt>
          <cx:pt idx="98853">4</cx:pt>
          <cx:pt idx="98854">1</cx:pt>
          <cx:pt idx="98855">4</cx:pt>
          <cx:pt idx="98856">2</cx:pt>
          <cx:pt idx="98857">3</cx:pt>
          <cx:pt idx="98858">3</cx:pt>
          <cx:pt idx="98859">3</cx:pt>
          <cx:pt idx="98860">5</cx:pt>
          <cx:pt idx="98861">2</cx:pt>
          <cx:pt idx="98862">5</cx:pt>
          <cx:pt idx="98863">2</cx:pt>
          <cx:pt idx="98864">3</cx:pt>
          <cx:pt idx="98865">1</cx:pt>
          <cx:pt idx="98866">5</cx:pt>
          <cx:pt idx="98867">5</cx:pt>
          <cx:pt idx="98868">3</cx:pt>
          <cx:pt idx="98869">5</cx:pt>
          <cx:pt idx="98870">1</cx:pt>
          <cx:pt idx="98871">4</cx:pt>
          <cx:pt idx="98872">2</cx:pt>
          <cx:pt idx="98873">1</cx:pt>
          <cx:pt idx="98874">4</cx:pt>
          <cx:pt idx="98875">2</cx:pt>
          <cx:pt idx="98876">3</cx:pt>
          <cx:pt idx="98877">3</cx:pt>
          <cx:pt idx="98878">4</cx:pt>
          <cx:pt idx="98879">3</cx:pt>
          <cx:pt idx="98880">4</cx:pt>
          <cx:pt idx="98881">1</cx:pt>
          <cx:pt idx="98882">3</cx:pt>
          <cx:pt idx="98883">4</cx:pt>
          <cx:pt idx="98884">2</cx:pt>
          <cx:pt idx="98885">1</cx:pt>
          <cx:pt idx="98886">3</cx:pt>
          <cx:pt idx="98887">3</cx:pt>
          <cx:pt idx="98888">1</cx:pt>
          <cx:pt idx="98889">3</cx:pt>
          <cx:pt idx="98890">3</cx:pt>
          <cx:pt idx="98891">3</cx:pt>
          <cx:pt idx="98892">4</cx:pt>
          <cx:pt idx="98893">3</cx:pt>
          <cx:pt idx="98894">3</cx:pt>
          <cx:pt idx="98895">3</cx:pt>
          <cx:pt idx="98896">2</cx:pt>
          <cx:pt idx="98897">1</cx:pt>
          <cx:pt idx="98898">3</cx:pt>
          <cx:pt idx="98899">1</cx:pt>
          <cx:pt idx="98900">3</cx:pt>
          <cx:pt idx="98901">2</cx:pt>
          <cx:pt idx="98902">3</cx:pt>
          <cx:pt idx="98903">2</cx:pt>
          <cx:pt idx="98904">3</cx:pt>
          <cx:pt idx="98905">3</cx:pt>
          <cx:pt idx="98906">5</cx:pt>
          <cx:pt idx="98907">0</cx:pt>
          <cx:pt idx="98908">1</cx:pt>
          <cx:pt idx="98909">3</cx:pt>
          <cx:pt idx="98910">2</cx:pt>
          <cx:pt idx="98911">2</cx:pt>
          <cx:pt idx="98912">2</cx:pt>
          <cx:pt idx="98913">1</cx:pt>
          <cx:pt idx="98914">1</cx:pt>
          <cx:pt idx="98915">1</cx:pt>
          <cx:pt idx="98916">2</cx:pt>
          <cx:pt idx="98917">5</cx:pt>
          <cx:pt idx="98918">2</cx:pt>
          <cx:pt idx="98919">2</cx:pt>
          <cx:pt idx="98920">3</cx:pt>
          <cx:pt idx="98921">2</cx:pt>
          <cx:pt idx="98922">4</cx:pt>
          <cx:pt idx="98923">4</cx:pt>
          <cx:pt idx="98924">4</cx:pt>
          <cx:pt idx="98925">2</cx:pt>
          <cx:pt idx="98926">3</cx:pt>
          <cx:pt idx="98927">1</cx:pt>
          <cx:pt idx="98928">2</cx:pt>
          <cx:pt idx="98929">4</cx:pt>
          <cx:pt idx="98930">1</cx:pt>
          <cx:pt idx="98931">1</cx:pt>
          <cx:pt idx="98932">4</cx:pt>
          <cx:pt idx="98933">3</cx:pt>
          <cx:pt idx="98934">1</cx:pt>
          <cx:pt idx="98935">1</cx:pt>
          <cx:pt idx="98936">2</cx:pt>
          <cx:pt idx="98937">2</cx:pt>
          <cx:pt idx="98938">1</cx:pt>
          <cx:pt idx="98939">2</cx:pt>
          <cx:pt idx="98940">1</cx:pt>
          <cx:pt idx="98941">2</cx:pt>
          <cx:pt idx="98942">3</cx:pt>
          <cx:pt idx="98943">5</cx:pt>
          <cx:pt idx="98944">4</cx:pt>
          <cx:pt idx="98945">3</cx:pt>
          <cx:pt idx="98946">3</cx:pt>
          <cx:pt idx="98947">3</cx:pt>
          <cx:pt idx="98948">3</cx:pt>
          <cx:pt idx="98949">4</cx:pt>
          <cx:pt idx="98950">2</cx:pt>
          <cx:pt idx="98951">1</cx:pt>
          <cx:pt idx="98952">2</cx:pt>
          <cx:pt idx="98953">1</cx:pt>
          <cx:pt idx="98954">4</cx:pt>
          <cx:pt idx="98955">5</cx:pt>
          <cx:pt idx="98956">4</cx:pt>
          <cx:pt idx="98957">4</cx:pt>
          <cx:pt idx="98958">3</cx:pt>
          <cx:pt idx="98959">2</cx:pt>
          <cx:pt idx="98960">1</cx:pt>
          <cx:pt idx="98961">3</cx:pt>
          <cx:pt idx="98962">5</cx:pt>
          <cx:pt idx="98963">1</cx:pt>
          <cx:pt idx="98964">2</cx:pt>
          <cx:pt idx="98965">4</cx:pt>
          <cx:pt idx="98966">2</cx:pt>
          <cx:pt idx="98967">4</cx:pt>
          <cx:pt idx="98968">3</cx:pt>
          <cx:pt idx="98969">1</cx:pt>
          <cx:pt idx="98970">3</cx:pt>
          <cx:pt idx="98971">1</cx:pt>
          <cx:pt idx="98972">1</cx:pt>
          <cx:pt idx="98973">4</cx:pt>
          <cx:pt idx="98974">2</cx:pt>
          <cx:pt idx="98975">5</cx:pt>
          <cx:pt idx="98976">2</cx:pt>
          <cx:pt idx="98977">2</cx:pt>
          <cx:pt idx="98978">3</cx:pt>
          <cx:pt idx="98979">4</cx:pt>
          <cx:pt idx="98980">1</cx:pt>
          <cx:pt idx="98981">2</cx:pt>
          <cx:pt idx="98982">4</cx:pt>
          <cx:pt idx="98983">2</cx:pt>
          <cx:pt idx="98984">3</cx:pt>
          <cx:pt idx="98985">4</cx:pt>
          <cx:pt idx="98986">5</cx:pt>
          <cx:pt idx="98987">3</cx:pt>
          <cx:pt idx="98988">1</cx:pt>
          <cx:pt idx="98989">0</cx:pt>
          <cx:pt idx="98990">3</cx:pt>
          <cx:pt idx="98991">4</cx:pt>
          <cx:pt idx="98992">4</cx:pt>
          <cx:pt idx="98993">4</cx:pt>
          <cx:pt idx="98994">4</cx:pt>
          <cx:pt idx="98995">2</cx:pt>
          <cx:pt idx="98996">4</cx:pt>
          <cx:pt idx="98997">5</cx:pt>
          <cx:pt idx="98998">4</cx:pt>
          <cx:pt idx="98999">1</cx:pt>
          <cx:pt idx="99000">5</cx:pt>
          <cx:pt idx="99001">3</cx:pt>
          <cx:pt idx="99002">4</cx:pt>
          <cx:pt idx="99003">3</cx:pt>
          <cx:pt idx="99004">1</cx:pt>
          <cx:pt idx="99005">5</cx:pt>
          <cx:pt idx="99006">4</cx:pt>
          <cx:pt idx="99007">3</cx:pt>
          <cx:pt idx="99008">1</cx:pt>
          <cx:pt idx="99009">5</cx:pt>
          <cx:pt idx="99010">2</cx:pt>
          <cx:pt idx="99011">5</cx:pt>
          <cx:pt idx="99012">3</cx:pt>
          <cx:pt idx="99013">5</cx:pt>
          <cx:pt idx="99014">5</cx:pt>
          <cx:pt idx="99015">1</cx:pt>
          <cx:pt idx="99016">0</cx:pt>
          <cx:pt idx="99017">2</cx:pt>
          <cx:pt idx="99018">1</cx:pt>
          <cx:pt idx="99019">1</cx:pt>
          <cx:pt idx="99020">3</cx:pt>
          <cx:pt idx="99021">3</cx:pt>
          <cx:pt idx="99022">2</cx:pt>
          <cx:pt idx="99023">1</cx:pt>
          <cx:pt idx="99024">4</cx:pt>
          <cx:pt idx="99025">3</cx:pt>
          <cx:pt idx="99026">5</cx:pt>
          <cx:pt idx="99027">2</cx:pt>
          <cx:pt idx="99028">1</cx:pt>
          <cx:pt idx="99029">5</cx:pt>
          <cx:pt idx="99030">0</cx:pt>
          <cx:pt idx="99031">1</cx:pt>
          <cx:pt idx="99032">4</cx:pt>
          <cx:pt idx="99033">3</cx:pt>
          <cx:pt idx="99034">5</cx:pt>
          <cx:pt idx="99035">2</cx:pt>
          <cx:pt idx="99036">3</cx:pt>
          <cx:pt idx="99037">1</cx:pt>
          <cx:pt idx="99038">2</cx:pt>
          <cx:pt idx="99039">5</cx:pt>
          <cx:pt idx="99040">4</cx:pt>
          <cx:pt idx="99041">3</cx:pt>
          <cx:pt idx="99042">5</cx:pt>
          <cx:pt idx="99043">3</cx:pt>
          <cx:pt idx="99044">4</cx:pt>
          <cx:pt idx="99045">2</cx:pt>
          <cx:pt idx="99046">2</cx:pt>
          <cx:pt idx="99047">3</cx:pt>
          <cx:pt idx="99048">0</cx:pt>
          <cx:pt idx="99049">0</cx:pt>
          <cx:pt idx="99050">3</cx:pt>
          <cx:pt idx="99051">3</cx:pt>
          <cx:pt idx="99052">4</cx:pt>
          <cx:pt idx="99053">1</cx:pt>
          <cx:pt idx="99054">1</cx:pt>
          <cx:pt idx="99055">4</cx:pt>
          <cx:pt idx="99056">2</cx:pt>
          <cx:pt idx="99057">0</cx:pt>
          <cx:pt idx="99058">2</cx:pt>
          <cx:pt idx="99059">3</cx:pt>
          <cx:pt idx="99060">4</cx:pt>
          <cx:pt idx="99061">2</cx:pt>
          <cx:pt idx="99062">0</cx:pt>
          <cx:pt idx="99063">1</cx:pt>
          <cx:pt idx="99064">1</cx:pt>
          <cx:pt idx="99065">4</cx:pt>
          <cx:pt idx="99066">4</cx:pt>
          <cx:pt idx="99067">1</cx:pt>
          <cx:pt idx="99068">2</cx:pt>
          <cx:pt idx="99069">1</cx:pt>
          <cx:pt idx="99070">3</cx:pt>
          <cx:pt idx="99071">5</cx:pt>
          <cx:pt idx="99072">2</cx:pt>
          <cx:pt idx="99073">3</cx:pt>
          <cx:pt idx="99074">3</cx:pt>
          <cx:pt idx="99075">3</cx:pt>
          <cx:pt idx="99076">4</cx:pt>
          <cx:pt idx="99077">3</cx:pt>
          <cx:pt idx="99078">1</cx:pt>
          <cx:pt idx="99079">1</cx:pt>
          <cx:pt idx="99080">5</cx:pt>
          <cx:pt idx="99081">1</cx:pt>
          <cx:pt idx="99082">2</cx:pt>
          <cx:pt idx="99083">3</cx:pt>
          <cx:pt idx="99084">4</cx:pt>
          <cx:pt idx="99085">4</cx:pt>
          <cx:pt idx="99086">3</cx:pt>
          <cx:pt idx="99087">5</cx:pt>
          <cx:pt idx="99088">5</cx:pt>
          <cx:pt idx="99089">4</cx:pt>
          <cx:pt idx="99090">0</cx:pt>
          <cx:pt idx="99091">3</cx:pt>
          <cx:pt idx="99092">3</cx:pt>
          <cx:pt idx="99093">1</cx:pt>
          <cx:pt idx="99094">2</cx:pt>
          <cx:pt idx="99095">1</cx:pt>
          <cx:pt idx="99096">2</cx:pt>
          <cx:pt idx="99097">5</cx:pt>
          <cx:pt idx="99098">0</cx:pt>
          <cx:pt idx="99099">2</cx:pt>
          <cx:pt idx="99100">3</cx:pt>
          <cx:pt idx="99101">5</cx:pt>
          <cx:pt idx="99102">5</cx:pt>
          <cx:pt idx="99103">4</cx:pt>
          <cx:pt idx="99104">4</cx:pt>
          <cx:pt idx="99105">5</cx:pt>
          <cx:pt idx="99106">5</cx:pt>
          <cx:pt idx="99107">5</cx:pt>
          <cx:pt idx="99108">3</cx:pt>
          <cx:pt idx="99109">5</cx:pt>
          <cx:pt idx="99110">3</cx:pt>
          <cx:pt idx="99111">1</cx:pt>
          <cx:pt idx="99112">1</cx:pt>
          <cx:pt idx="99113">3</cx:pt>
          <cx:pt idx="99114">2</cx:pt>
          <cx:pt idx="99115">3</cx:pt>
          <cx:pt idx="99116">2</cx:pt>
          <cx:pt idx="99117">5</cx:pt>
          <cx:pt idx="99118">3</cx:pt>
          <cx:pt idx="99119">4</cx:pt>
          <cx:pt idx="99120">3</cx:pt>
          <cx:pt idx="99121">5</cx:pt>
          <cx:pt idx="99122">1</cx:pt>
          <cx:pt idx="99123">4</cx:pt>
          <cx:pt idx="99124">1</cx:pt>
          <cx:pt idx="99125">5</cx:pt>
          <cx:pt idx="99126">2</cx:pt>
          <cx:pt idx="99127">4</cx:pt>
          <cx:pt idx="99128">3</cx:pt>
          <cx:pt idx="99129">1</cx:pt>
          <cx:pt idx="99130">1</cx:pt>
          <cx:pt idx="99131">1</cx:pt>
          <cx:pt idx="99132">1</cx:pt>
          <cx:pt idx="99133">4</cx:pt>
          <cx:pt idx="99134">3</cx:pt>
          <cx:pt idx="99135">4</cx:pt>
          <cx:pt idx="99136">4</cx:pt>
          <cx:pt idx="99137">1</cx:pt>
          <cx:pt idx="99138">5</cx:pt>
          <cx:pt idx="99139">3</cx:pt>
          <cx:pt idx="99140">2</cx:pt>
          <cx:pt idx="99141">4</cx:pt>
          <cx:pt idx="99142">1</cx:pt>
          <cx:pt idx="99143">3</cx:pt>
          <cx:pt idx="99144">2</cx:pt>
          <cx:pt idx="99145">2</cx:pt>
          <cx:pt idx="99146">1</cx:pt>
          <cx:pt idx="99147">5</cx:pt>
          <cx:pt idx="99148">2</cx:pt>
          <cx:pt idx="99149">0</cx:pt>
          <cx:pt idx="99150">4</cx:pt>
          <cx:pt idx="99151">3</cx:pt>
          <cx:pt idx="99152">0</cx:pt>
          <cx:pt idx="99153">1</cx:pt>
          <cx:pt idx="99154">3</cx:pt>
          <cx:pt idx="99155">2</cx:pt>
          <cx:pt idx="99156">5</cx:pt>
          <cx:pt idx="99157">0</cx:pt>
          <cx:pt idx="99158">4</cx:pt>
          <cx:pt idx="99159">4</cx:pt>
          <cx:pt idx="99160">1</cx:pt>
          <cx:pt idx="99161">2</cx:pt>
          <cx:pt idx="99162">3</cx:pt>
          <cx:pt idx="99163">3</cx:pt>
          <cx:pt idx="99164">5</cx:pt>
          <cx:pt idx="99165">2</cx:pt>
          <cx:pt idx="99166">1</cx:pt>
          <cx:pt idx="99167">1</cx:pt>
          <cx:pt idx="99168">2</cx:pt>
          <cx:pt idx="99169">4</cx:pt>
          <cx:pt idx="99170">2</cx:pt>
          <cx:pt idx="99171">4</cx:pt>
          <cx:pt idx="99172">2</cx:pt>
          <cx:pt idx="99173">3</cx:pt>
          <cx:pt idx="99174">3</cx:pt>
          <cx:pt idx="99175">3</cx:pt>
          <cx:pt idx="99176">2</cx:pt>
          <cx:pt idx="99177">5</cx:pt>
          <cx:pt idx="99178">4</cx:pt>
          <cx:pt idx="99179">2</cx:pt>
          <cx:pt idx="99180">3</cx:pt>
          <cx:pt idx="99181">1</cx:pt>
          <cx:pt idx="99182">2</cx:pt>
          <cx:pt idx="99183">1</cx:pt>
          <cx:pt idx="99184">1</cx:pt>
          <cx:pt idx="99185">0</cx:pt>
          <cx:pt idx="99186">5</cx:pt>
          <cx:pt idx="99187">4</cx:pt>
          <cx:pt idx="99188">3</cx:pt>
          <cx:pt idx="99189">3</cx:pt>
          <cx:pt idx="99190">4</cx:pt>
          <cx:pt idx="99191">4</cx:pt>
          <cx:pt idx="99192">1</cx:pt>
          <cx:pt idx="99193">2</cx:pt>
          <cx:pt idx="99194">2</cx:pt>
          <cx:pt idx="99195">4</cx:pt>
          <cx:pt idx="99196">5</cx:pt>
          <cx:pt idx="99197">2</cx:pt>
          <cx:pt idx="99198">1</cx:pt>
          <cx:pt idx="99199">2</cx:pt>
          <cx:pt idx="99200">4</cx:pt>
          <cx:pt idx="99201">2</cx:pt>
          <cx:pt idx="99202">3</cx:pt>
          <cx:pt idx="99203">1</cx:pt>
          <cx:pt idx="99204">2</cx:pt>
          <cx:pt idx="99205">3</cx:pt>
          <cx:pt idx="99206">1</cx:pt>
          <cx:pt idx="99207">0</cx:pt>
          <cx:pt idx="99208">3</cx:pt>
          <cx:pt idx="99209">4</cx:pt>
          <cx:pt idx="99210">0</cx:pt>
          <cx:pt idx="99211">4</cx:pt>
          <cx:pt idx="99212">5</cx:pt>
          <cx:pt idx="99213">5</cx:pt>
          <cx:pt idx="99214">0</cx:pt>
          <cx:pt idx="99215">5</cx:pt>
          <cx:pt idx="99216">5</cx:pt>
          <cx:pt idx="99217">4</cx:pt>
          <cx:pt idx="99218">3</cx:pt>
          <cx:pt idx="99219">5</cx:pt>
          <cx:pt idx="99220">3</cx:pt>
          <cx:pt idx="99221">2</cx:pt>
          <cx:pt idx="99222">2</cx:pt>
          <cx:pt idx="99223">4</cx:pt>
          <cx:pt idx="99224">2</cx:pt>
          <cx:pt idx="99225">3</cx:pt>
          <cx:pt idx="99226">2</cx:pt>
          <cx:pt idx="99227">3</cx:pt>
          <cx:pt idx="99228">5</cx:pt>
          <cx:pt idx="99229">4</cx:pt>
          <cx:pt idx="99230">1</cx:pt>
          <cx:pt idx="99231">2</cx:pt>
          <cx:pt idx="99232">3</cx:pt>
          <cx:pt idx="99233">1</cx:pt>
          <cx:pt idx="99234">4</cx:pt>
          <cx:pt idx="99235">2</cx:pt>
          <cx:pt idx="99236">3</cx:pt>
          <cx:pt idx="99237">5</cx:pt>
          <cx:pt idx="99238">5</cx:pt>
          <cx:pt idx="99239">2</cx:pt>
          <cx:pt idx="99240">2</cx:pt>
          <cx:pt idx="99241">3</cx:pt>
          <cx:pt idx="99242">4</cx:pt>
          <cx:pt idx="99243">3</cx:pt>
          <cx:pt idx="99244">2</cx:pt>
          <cx:pt idx="99245">5</cx:pt>
          <cx:pt idx="99246">2</cx:pt>
          <cx:pt idx="99247">5</cx:pt>
          <cx:pt idx="99248">5</cx:pt>
          <cx:pt idx="99249">3</cx:pt>
          <cx:pt idx="99250">2</cx:pt>
          <cx:pt idx="99251">1</cx:pt>
          <cx:pt idx="99252">1</cx:pt>
          <cx:pt idx="99253">4</cx:pt>
          <cx:pt idx="99254">2</cx:pt>
          <cx:pt idx="99255">2</cx:pt>
          <cx:pt idx="99256">0</cx:pt>
          <cx:pt idx="99257">4</cx:pt>
          <cx:pt idx="99258">3</cx:pt>
          <cx:pt idx="99259">3</cx:pt>
          <cx:pt idx="99260">2</cx:pt>
          <cx:pt idx="99261">1</cx:pt>
          <cx:pt idx="99262">5</cx:pt>
          <cx:pt idx="99263">3</cx:pt>
          <cx:pt idx="99264">3</cx:pt>
          <cx:pt idx="99265">1</cx:pt>
          <cx:pt idx="99266">5</cx:pt>
          <cx:pt idx="99267">0</cx:pt>
          <cx:pt idx="99268">1</cx:pt>
          <cx:pt idx="99269">1</cx:pt>
          <cx:pt idx="99270">3</cx:pt>
          <cx:pt idx="99271">3</cx:pt>
          <cx:pt idx="99272">3</cx:pt>
          <cx:pt idx="99273">2</cx:pt>
          <cx:pt idx="99274">3</cx:pt>
          <cx:pt idx="99275">3</cx:pt>
          <cx:pt idx="99276">1</cx:pt>
          <cx:pt idx="99277">2</cx:pt>
          <cx:pt idx="99278">2</cx:pt>
          <cx:pt idx="99279">3</cx:pt>
          <cx:pt idx="99280">1</cx:pt>
          <cx:pt idx="99281">0</cx:pt>
          <cx:pt idx="99282">3</cx:pt>
          <cx:pt idx="99283">1</cx:pt>
          <cx:pt idx="99284">5</cx:pt>
          <cx:pt idx="99285">2</cx:pt>
          <cx:pt idx="99286">3</cx:pt>
          <cx:pt idx="99287">4</cx:pt>
          <cx:pt idx="99288">2</cx:pt>
          <cx:pt idx="99289">3</cx:pt>
          <cx:pt idx="99290">3</cx:pt>
          <cx:pt idx="99291">4</cx:pt>
          <cx:pt idx="99292">1</cx:pt>
          <cx:pt idx="99293">4</cx:pt>
          <cx:pt idx="99294">3</cx:pt>
          <cx:pt idx="99295">3</cx:pt>
          <cx:pt idx="99296">5</cx:pt>
          <cx:pt idx="99297">2</cx:pt>
          <cx:pt idx="99298">3</cx:pt>
          <cx:pt idx="99299">2</cx:pt>
          <cx:pt idx="99300">4</cx:pt>
          <cx:pt idx="99301">1</cx:pt>
          <cx:pt idx="99302">2</cx:pt>
          <cx:pt idx="99303">3</cx:pt>
          <cx:pt idx="99304">1</cx:pt>
          <cx:pt idx="99305">3</cx:pt>
          <cx:pt idx="99306">3</cx:pt>
          <cx:pt idx="99307">3</cx:pt>
          <cx:pt idx="99308">4</cx:pt>
          <cx:pt idx="99309">0</cx:pt>
          <cx:pt idx="99310">3</cx:pt>
          <cx:pt idx="99311">3</cx:pt>
          <cx:pt idx="99312">2</cx:pt>
          <cx:pt idx="99313">3</cx:pt>
          <cx:pt idx="99314">1</cx:pt>
          <cx:pt idx="99315">4</cx:pt>
          <cx:pt idx="99316">2</cx:pt>
          <cx:pt idx="99317">2</cx:pt>
          <cx:pt idx="99318">3</cx:pt>
          <cx:pt idx="99319">2</cx:pt>
          <cx:pt idx="99320">2</cx:pt>
          <cx:pt idx="99321">1</cx:pt>
          <cx:pt idx="99322">1</cx:pt>
          <cx:pt idx="99323">3</cx:pt>
          <cx:pt idx="99324">5</cx:pt>
          <cx:pt idx="99325">2</cx:pt>
          <cx:pt idx="99326">2</cx:pt>
          <cx:pt idx="99327">5</cx:pt>
          <cx:pt idx="99328">4</cx:pt>
          <cx:pt idx="99329">1</cx:pt>
          <cx:pt idx="99330">3</cx:pt>
          <cx:pt idx="99331">4</cx:pt>
          <cx:pt idx="99332">2</cx:pt>
          <cx:pt idx="99333">2</cx:pt>
          <cx:pt idx="99334">3</cx:pt>
          <cx:pt idx="99335">5</cx:pt>
          <cx:pt idx="99336">2</cx:pt>
          <cx:pt idx="99337">1</cx:pt>
          <cx:pt idx="99338">4</cx:pt>
          <cx:pt idx="99339">3</cx:pt>
          <cx:pt idx="99340">1</cx:pt>
          <cx:pt idx="99341">1</cx:pt>
          <cx:pt idx="99342">2</cx:pt>
          <cx:pt idx="99343">3</cx:pt>
          <cx:pt idx="99344">1</cx:pt>
          <cx:pt idx="99345">1</cx:pt>
          <cx:pt idx="99346">1</cx:pt>
          <cx:pt idx="99347">3</cx:pt>
          <cx:pt idx="99348">1</cx:pt>
          <cx:pt idx="99349">3</cx:pt>
          <cx:pt idx="99350">5</cx:pt>
          <cx:pt idx="99351">5</cx:pt>
          <cx:pt idx="99352">1</cx:pt>
          <cx:pt idx="99353">2</cx:pt>
          <cx:pt idx="99354">1</cx:pt>
          <cx:pt idx="99355">4</cx:pt>
          <cx:pt idx="99356">5</cx:pt>
          <cx:pt idx="99357">1</cx:pt>
          <cx:pt idx="99358">4</cx:pt>
          <cx:pt idx="99359">1</cx:pt>
          <cx:pt idx="99360">2</cx:pt>
          <cx:pt idx="99361">1</cx:pt>
          <cx:pt idx="99362">5</cx:pt>
          <cx:pt idx="99363">4</cx:pt>
          <cx:pt idx="99364">2</cx:pt>
          <cx:pt idx="99365">4</cx:pt>
          <cx:pt idx="99366">4</cx:pt>
          <cx:pt idx="99367">5</cx:pt>
          <cx:pt idx="99368">5</cx:pt>
          <cx:pt idx="99369">1</cx:pt>
          <cx:pt idx="99370">4</cx:pt>
          <cx:pt idx="99371">5</cx:pt>
          <cx:pt idx="99372">3</cx:pt>
          <cx:pt idx="99373">1</cx:pt>
          <cx:pt idx="99374">1</cx:pt>
          <cx:pt idx="99375">5</cx:pt>
          <cx:pt idx="99376">2</cx:pt>
          <cx:pt idx="99377">2</cx:pt>
          <cx:pt idx="99378">4</cx:pt>
          <cx:pt idx="99379">5</cx:pt>
          <cx:pt idx="99380">2</cx:pt>
          <cx:pt idx="99381">2</cx:pt>
          <cx:pt idx="99382">1</cx:pt>
          <cx:pt idx="99383">3</cx:pt>
          <cx:pt idx="99384">5</cx:pt>
          <cx:pt idx="99385">2</cx:pt>
          <cx:pt idx="99386">3</cx:pt>
          <cx:pt idx="99387">1</cx:pt>
          <cx:pt idx="99388">3</cx:pt>
          <cx:pt idx="99389">4</cx:pt>
          <cx:pt idx="99390">2</cx:pt>
          <cx:pt idx="99391">4</cx:pt>
          <cx:pt idx="99392">4</cx:pt>
          <cx:pt idx="99393">3</cx:pt>
          <cx:pt idx="99394">0</cx:pt>
          <cx:pt idx="99395">4</cx:pt>
          <cx:pt idx="99396">4</cx:pt>
          <cx:pt idx="99397">5</cx:pt>
          <cx:pt idx="99398">0</cx:pt>
          <cx:pt idx="99399">2</cx:pt>
          <cx:pt idx="99400">3</cx:pt>
          <cx:pt idx="99401">4</cx:pt>
          <cx:pt idx="99402">1</cx:pt>
          <cx:pt idx="99403">3</cx:pt>
          <cx:pt idx="99404">2</cx:pt>
          <cx:pt idx="99405">2</cx:pt>
          <cx:pt idx="99406">2</cx:pt>
          <cx:pt idx="99407">0</cx:pt>
          <cx:pt idx="99408">3</cx:pt>
          <cx:pt idx="99409">5</cx:pt>
          <cx:pt idx="99410">1</cx:pt>
          <cx:pt idx="99411">2</cx:pt>
          <cx:pt idx="99412">1</cx:pt>
          <cx:pt idx="99413">3</cx:pt>
          <cx:pt idx="99414">4</cx:pt>
          <cx:pt idx="99415">2</cx:pt>
          <cx:pt idx="99416">2</cx:pt>
          <cx:pt idx="99417">3</cx:pt>
          <cx:pt idx="99418">4</cx:pt>
          <cx:pt idx="99419">4</cx:pt>
          <cx:pt idx="99420">1</cx:pt>
          <cx:pt idx="99421">3</cx:pt>
          <cx:pt idx="99422">4</cx:pt>
          <cx:pt idx="99423">3</cx:pt>
          <cx:pt idx="99424">0</cx:pt>
          <cx:pt idx="99425">1</cx:pt>
          <cx:pt idx="99426">4</cx:pt>
          <cx:pt idx="99427">5</cx:pt>
          <cx:pt idx="99428">5</cx:pt>
          <cx:pt idx="99429">2</cx:pt>
          <cx:pt idx="99430">2</cx:pt>
          <cx:pt idx="99431">1</cx:pt>
          <cx:pt idx="99432">3</cx:pt>
          <cx:pt idx="99433">0</cx:pt>
          <cx:pt idx="99434">3</cx:pt>
          <cx:pt idx="99435">1</cx:pt>
          <cx:pt idx="99436">2</cx:pt>
          <cx:pt idx="99437">3</cx:pt>
          <cx:pt idx="99438">3</cx:pt>
          <cx:pt idx="99439">1</cx:pt>
          <cx:pt idx="99440">2</cx:pt>
          <cx:pt idx="99441">5</cx:pt>
          <cx:pt idx="99442">3</cx:pt>
          <cx:pt idx="99443">2</cx:pt>
          <cx:pt idx="99444">2</cx:pt>
          <cx:pt idx="99445">4</cx:pt>
          <cx:pt idx="99446">1</cx:pt>
          <cx:pt idx="99447">0</cx:pt>
          <cx:pt idx="99448">4</cx:pt>
          <cx:pt idx="99449">2</cx:pt>
          <cx:pt idx="99450">3</cx:pt>
          <cx:pt idx="99451">4</cx:pt>
          <cx:pt idx="99452">2</cx:pt>
          <cx:pt idx="99453">5</cx:pt>
          <cx:pt idx="99454">1</cx:pt>
          <cx:pt idx="99455">1</cx:pt>
          <cx:pt idx="99456">3</cx:pt>
          <cx:pt idx="99457">4</cx:pt>
          <cx:pt idx="99458">3</cx:pt>
          <cx:pt idx="99459">0</cx:pt>
          <cx:pt idx="99460">3</cx:pt>
          <cx:pt idx="99461">1</cx:pt>
          <cx:pt idx="99462">2</cx:pt>
          <cx:pt idx="99463">4</cx:pt>
          <cx:pt idx="99464">4</cx:pt>
          <cx:pt idx="99465">4</cx:pt>
          <cx:pt idx="99466">1</cx:pt>
          <cx:pt idx="99467">4</cx:pt>
          <cx:pt idx="99468">3</cx:pt>
          <cx:pt idx="99469">1</cx:pt>
          <cx:pt idx="99470">5</cx:pt>
          <cx:pt idx="99471">2</cx:pt>
          <cx:pt idx="99472">2</cx:pt>
          <cx:pt idx="99473">5</cx:pt>
          <cx:pt idx="99474">1</cx:pt>
          <cx:pt idx="99475">5</cx:pt>
          <cx:pt idx="99476">5</cx:pt>
          <cx:pt idx="99477">3</cx:pt>
          <cx:pt idx="99478">5</cx:pt>
          <cx:pt idx="99479">3</cx:pt>
          <cx:pt idx="99480">4</cx:pt>
          <cx:pt idx="99481">3</cx:pt>
          <cx:pt idx="99482">3</cx:pt>
          <cx:pt idx="99483">2</cx:pt>
          <cx:pt idx="99484">5</cx:pt>
          <cx:pt idx="99485">2</cx:pt>
          <cx:pt idx="99486">1</cx:pt>
          <cx:pt idx="99487">3</cx:pt>
          <cx:pt idx="99488">2</cx:pt>
          <cx:pt idx="99489">2</cx:pt>
          <cx:pt idx="99490">4</cx:pt>
          <cx:pt idx="99491">1</cx:pt>
          <cx:pt idx="99492">1</cx:pt>
          <cx:pt idx="99493">3</cx:pt>
          <cx:pt idx="99494">3</cx:pt>
          <cx:pt idx="99495">3</cx:pt>
          <cx:pt idx="99496">2</cx:pt>
          <cx:pt idx="99497">0</cx:pt>
          <cx:pt idx="99498">5</cx:pt>
          <cx:pt idx="99499">2</cx:pt>
          <cx:pt idx="99500">5</cx:pt>
          <cx:pt idx="99501">5</cx:pt>
          <cx:pt idx="99502">3</cx:pt>
          <cx:pt idx="99503">5</cx:pt>
          <cx:pt idx="99504">3</cx:pt>
          <cx:pt idx="99505">2</cx:pt>
          <cx:pt idx="99506">0</cx:pt>
          <cx:pt idx="99507">5</cx:pt>
          <cx:pt idx="99508">0</cx:pt>
          <cx:pt idx="99509">2</cx:pt>
          <cx:pt idx="99510">4</cx:pt>
          <cx:pt idx="99511">1</cx:pt>
          <cx:pt idx="99512">4</cx:pt>
          <cx:pt idx="99513">2</cx:pt>
          <cx:pt idx="99514">2</cx:pt>
          <cx:pt idx="99515">2</cx:pt>
          <cx:pt idx="99516">5</cx:pt>
          <cx:pt idx="99517">5</cx:pt>
          <cx:pt idx="99518">2</cx:pt>
          <cx:pt idx="99519">0</cx:pt>
          <cx:pt idx="99520">3</cx:pt>
          <cx:pt idx="99521">3</cx:pt>
          <cx:pt idx="99522">2</cx:pt>
          <cx:pt idx="99523">4</cx:pt>
          <cx:pt idx="99524">1</cx:pt>
          <cx:pt idx="99525">5</cx:pt>
          <cx:pt idx="99526">4</cx:pt>
          <cx:pt idx="99527">3</cx:pt>
          <cx:pt idx="99528">2</cx:pt>
          <cx:pt idx="99529">3</cx:pt>
          <cx:pt idx="99530">1</cx:pt>
          <cx:pt idx="99531">2</cx:pt>
          <cx:pt idx="99532">4</cx:pt>
          <cx:pt idx="99533">2</cx:pt>
          <cx:pt idx="99534">5</cx:pt>
          <cx:pt idx="99535">1</cx:pt>
          <cx:pt idx="99536">4</cx:pt>
          <cx:pt idx="99537">3</cx:pt>
          <cx:pt idx="99538">2</cx:pt>
          <cx:pt idx="99539">1</cx:pt>
          <cx:pt idx="99540">5</cx:pt>
          <cx:pt idx="99541">3</cx:pt>
          <cx:pt idx="99542">1</cx:pt>
          <cx:pt idx="99543">1</cx:pt>
          <cx:pt idx="99544">4</cx:pt>
          <cx:pt idx="99545">2</cx:pt>
          <cx:pt idx="99546">5</cx:pt>
          <cx:pt idx="99547">1</cx:pt>
          <cx:pt idx="99548">2</cx:pt>
          <cx:pt idx="99549">3</cx:pt>
          <cx:pt idx="99550">2</cx:pt>
          <cx:pt idx="99551">3</cx:pt>
          <cx:pt idx="99552">5</cx:pt>
          <cx:pt idx="99553">3</cx:pt>
          <cx:pt idx="99554">1</cx:pt>
          <cx:pt idx="99555">2</cx:pt>
          <cx:pt idx="99556">2</cx:pt>
          <cx:pt idx="99557">3</cx:pt>
          <cx:pt idx="99558">3</cx:pt>
          <cx:pt idx="99559">3</cx:pt>
          <cx:pt idx="99560">4</cx:pt>
          <cx:pt idx="99561">3</cx:pt>
          <cx:pt idx="99562">1</cx:pt>
          <cx:pt idx="99563">3</cx:pt>
          <cx:pt idx="99564">5</cx:pt>
          <cx:pt idx="99565">5</cx:pt>
          <cx:pt idx="99566">1</cx:pt>
          <cx:pt idx="99567">3</cx:pt>
          <cx:pt idx="99568">3</cx:pt>
          <cx:pt idx="99569">1</cx:pt>
          <cx:pt idx="99570">2</cx:pt>
          <cx:pt idx="99571">1</cx:pt>
          <cx:pt idx="99572">1</cx:pt>
          <cx:pt idx="99573">3</cx:pt>
          <cx:pt idx="99574">1</cx:pt>
          <cx:pt idx="99575">2</cx:pt>
          <cx:pt idx="99576">3</cx:pt>
          <cx:pt idx="99577">2</cx:pt>
          <cx:pt idx="99578">3</cx:pt>
          <cx:pt idx="99579">5</cx:pt>
          <cx:pt idx="99580">2</cx:pt>
          <cx:pt idx="99581">3</cx:pt>
          <cx:pt idx="99582">1</cx:pt>
          <cx:pt idx="99583">2</cx:pt>
          <cx:pt idx="99584">3</cx:pt>
          <cx:pt idx="99585">4</cx:pt>
          <cx:pt idx="99586">5</cx:pt>
          <cx:pt idx="99587">1</cx:pt>
          <cx:pt idx="99588">5</cx:pt>
          <cx:pt idx="99589">2</cx:pt>
          <cx:pt idx="99590">2</cx:pt>
          <cx:pt idx="99591">4</cx:pt>
          <cx:pt idx="99592">5</cx:pt>
          <cx:pt idx="99593">2</cx:pt>
          <cx:pt idx="99594">1</cx:pt>
          <cx:pt idx="99595">3</cx:pt>
          <cx:pt idx="99596">5</cx:pt>
          <cx:pt idx="99597">3</cx:pt>
          <cx:pt idx="99598">3</cx:pt>
          <cx:pt idx="99599">0</cx:pt>
          <cx:pt idx="99600">3</cx:pt>
          <cx:pt idx="99601">5</cx:pt>
          <cx:pt idx="99602">5</cx:pt>
          <cx:pt idx="99603">3</cx:pt>
          <cx:pt idx="99604">1</cx:pt>
          <cx:pt idx="99605">1</cx:pt>
          <cx:pt idx="99606">2</cx:pt>
          <cx:pt idx="99607">2</cx:pt>
          <cx:pt idx="99608">5</cx:pt>
          <cx:pt idx="99609">3</cx:pt>
          <cx:pt idx="99610">5</cx:pt>
          <cx:pt idx="99611">1</cx:pt>
          <cx:pt idx="99612">1</cx:pt>
          <cx:pt idx="99613">1</cx:pt>
          <cx:pt idx="99614">2</cx:pt>
          <cx:pt idx="99615">2</cx:pt>
          <cx:pt idx="99616">1</cx:pt>
          <cx:pt idx="99617">5</cx:pt>
          <cx:pt idx="99618">1</cx:pt>
          <cx:pt idx="99619">4</cx:pt>
          <cx:pt idx="99620">5</cx:pt>
          <cx:pt idx="99621">5</cx:pt>
          <cx:pt idx="99622">1</cx:pt>
          <cx:pt idx="99623">4</cx:pt>
          <cx:pt idx="99624">0</cx:pt>
          <cx:pt idx="99625">3</cx:pt>
          <cx:pt idx="99626">2</cx:pt>
          <cx:pt idx="99627">4</cx:pt>
          <cx:pt idx="99628">4</cx:pt>
          <cx:pt idx="99629">1</cx:pt>
          <cx:pt idx="99630">0</cx:pt>
          <cx:pt idx="99631">1</cx:pt>
          <cx:pt idx="99632">3</cx:pt>
          <cx:pt idx="99633">4</cx:pt>
          <cx:pt idx="99634">2</cx:pt>
          <cx:pt idx="99635">1</cx:pt>
          <cx:pt idx="99636">2</cx:pt>
          <cx:pt idx="99637">3</cx:pt>
          <cx:pt idx="99638">1</cx:pt>
          <cx:pt idx="99639">4</cx:pt>
          <cx:pt idx="99640">2</cx:pt>
          <cx:pt idx="99641">1</cx:pt>
          <cx:pt idx="99642">1</cx:pt>
          <cx:pt idx="99643">3</cx:pt>
          <cx:pt idx="99644">2</cx:pt>
          <cx:pt idx="99645">1</cx:pt>
          <cx:pt idx="99646">5</cx:pt>
          <cx:pt idx="99647">3</cx:pt>
          <cx:pt idx="99648">5</cx:pt>
          <cx:pt idx="99649">4</cx:pt>
          <cx:pt idx="99650">3</cx:pt>
          <cx:pt idx="99651">0</cx:pt>
          <cx:pt idx="99652">4</cx:pt>
          <cx:pt idx="99653">2</cx:pt>
          <cx:pt idx="99654">2</cx:pt>
          <cx:pt idx="99655">3</cx:pt>
          <cx:pt idx="99656">5</cx:pt>
          <cx:pt idx="99657">3</cx:pt>
          <cx:pt idx="99658">3</cx:pt>
          <cx:pt idx="99659">2</cx:pt>
          <cx:pt idx="99660">2</cx:pt>
          <cx:pt idx="99661">4</cx:pt>
          <cx:pt idx="99662">5</cx:pt>
          <cx:pt idx="99663">2</cx:pt>
          <cx:pt idx="99664">4</cx:pt>
          <cx:pt idx="99665">5</cx:pt>
          <cx:pt idx="99666">2</cx:pt>
          <cx:pt idx="99667">3</cx:pt>
          <cx:pt idx="99668">2</cx:pt>
          <cx:pt idx="99669">4</cx:pt>
          <cx:pt idx="99670">4</cx:pt>
          <cx:pt idx="99671">3</cx:pt>
          <cx:pt idx="99672">4</cx:pt>
          <cx:pt idx="99673">3</cx:pt>
          <cx:pt idx="99674">4</cx:pt>
          <cx:pt idx="99675">3</cx:pt>
          <cx:pt idx="99676">5</cx:pt>
          <cx:pt idx="99677">1</cx:pt>
          <cx:pt idx="99678">3</cx:pt>
          <cx:pt idx="99679">2</cx:pt>
          <cx:pt idx="99680">2</cx:pt>
          <cx:pt idx="99681">5</cx:pt>
          <cx:pt idx="99682">5</cx:pt>
          <cx:pt idx="99683">1</cx:pt>
          <cx:pt idx="99684">4</cx:pt>
          <cx:pt idx="99685">5</cx:pt>
          <cx:pt idx="99686">1</cx:pt>
          <cx:pt idx="99687">3</cx:pt>
          <cx:pt idx="99688">4</cx:pt>
          <cx:pt idx="99689">1</cx:pt>
          <cx:pt idx="99690">3</cx:pt>
          <cx:pt idx="99691">2</cx:pt>
          <cx:pt idx="99692">2</cx:pt>
          <cx:pt idx="99693">2</cx:pt>
          <cx:pt idx="99694">3</cx:pt>
          <cx:pt idx="99695">3</cx:pt>
          <cx:pt idx="99696">3</cx:pt>
          <cx:pt idx="99697">2</cx:pt>
          <cx:pt idx="99698">3</cx:pt>
          <cx:pt idx="99699">5</cx:pt>
          <cx:pt idx="99700">2</cx:pt>
          <cx:pt idx="99701">2</cx:pt>
          <cx:pt idx="99702">1</cx:pt>
          <cx:pt idx="99703">4</cx:pt>
          <cx:pt idx="99704">2</cx:pt>
          <cx:pt idx="99705">3</cx:pt>
          <cx:pt idx="99706">4</cx:pt>
          <cx:pt idx="99707">2</cx:pt>
          <cx:pt idx="99708">4</cx:pt>
          <cx:pt idx="99709">2</cx:pt>
          <cx:pt idx="99710">2</cx:pt>
          <cx:pt idx="99711">2</cx:pt>
          <cx:pt idx="99712">5</cx:pt>
          <cx:pt idx="99713">4</cx:pt>
          <cx:pt idx="99714">3</cx:pt>
          <cx:pt idx="99715">4</cx:pt>
          <cx:pt idx="99716">2</cx:pt>
          <cx:pt idx="99717">2</cx:pt>
          <cx:pt idx="99718">2</cx:pt>
          <cx:pt idx="99719">1</cx:pt>
          <cx:pt idx="99720">2</cx:pt>
          <cx:pt idx="99721">5</cx:pt>
          <cx:pt idx="99722">4</cx:pt>
          <cx:pt idx="99723">1</cx:pt>
          <cx:pt idx="99724">0</cx:pt>
          <cx:pt idx="99725">2</cx:pt>
          <cx:pt idx="99726">1</cx:pt>
          <cx:pt idx="99727">3</cx:pt>
          <cx:pt idx="99728">4</cx:pt>
          <cx:pt idx="99729">1</cx:pt>
          <cx:pt idx="99730">2</cx:pt>
          <cx:pt idx="99731">2</cx:pt>
          <cx:pt idx="99732">5</cx:pt>
          <cx:pt idx="99733">4</cx:pt>
          <cx:pt idx="99734">3</cx:pt>
          <cx:pt idx="99735">0</cx:pt>
          <cx:pt idx="99736">1</cx:pt>
          <cx:pt idx="99737">4</cx:pt>
          <cx:pt idx="99738">1</cx:pt>
          <cx:pt idx="99739">3</cx:pt>
          <cx:pt idx="99740">5</cx:pt>
          <cx:pt idx="99741">2</cx:pt>
          <cx:pt idx="99742">1</cx:pt>
          <cx:pt idx="99743">3</cx:pt>
          <cx:pt idx="99744">2</cx:pt>
          <cx:pt idx="99745">1</cx:pt>
          <cx:pt idx="99746">3</cx:pt>
          <cx:pt idx="99747">4</cx:pt>
          <cx:pt idx="99748">4</cx:pt>
          <cx:pt idx="99749">5</cx:pt>
          <cx:pt idx="99750">2</cx:pt>
          <cx:pt idx="99751">3</cx:pt>
          <cx:pt idx="99752">1</cx:pt>
          <cx:pt idx="99753">1</cx:pt>
          <cx:pt idx="99754">3</cx:pt>
          <cx:pt idx="99755">4</cx:pt>
          <cx:pt idx="99756">4</cx:pt>
          <cx:pt idx="99757">1</cx:pt>
          <cx:pt idx="99758">2</cx:pt>
          <cx:pt idx="99759">1</cx:pt>
          <cx:pt idx="99760">5</cx:pt>
          <cx:pt idx="99761">3</cx:pt>
          <cx:pt idx="99762">4</cx:pt>
          <cx:pt idx="99763">5</cx:pt>
          <cx:pt idx="99764">2</cx:pt>
          <cx:pt idx="99765">2</cx:pt>
          <cx:pt idx="99766">5</cx:pt>
          <cx:pt idx="99767">2</cx:pt>
          <cx:pt idx="99768">4</cx:pt>
          <cx:pt idx="99769">5</cx:pt>
          <cx:pt idx="99770">5</cx:pt>
          <cx:pt idx="99771">2</cx:pt>
          <cx:pt idx="99772">2</cx:pt>
          <cx:pt idx="99773">1</cx:pt>
          <cx:pt idx="99774">3</cx:pt>
          <cx:pt idx="99775">0</cx:pt>
          <cx:pt idx="99776">2</cx:pt>
          <cx:pt idx="99777">3</cx:pt>
          <cx:pt idx="99778">2</cx:pt>
          <cx:pt idx="99779">2</cx:pt>
          <cx:pt idx="99780">2</cx:pt>
          <cx:pt idx="99781">4</cx:pt>
          <cx:pt idx="99782">3</cx:pt>
          <cx:pt idx="99783">1</cx:pt>
          <cx:pt idx="99784">1</cx:pt>
          <cx:pt idx="99785">3</cx:pt>
          <cx:pt idx="99786">2</cx:pt>
          <cx:pt idx="99787">3</cx:pt>
          <cx:pt idx="99788">4</cx:pt>
          <cx:pt idx="99789">2</cx:pt>
          <cx:pt idx="99790">2</cx:pt>
          <cx:pt idx="99791">3</cx:pt>
          <cx:pt idx="99792">3</cx:pt>
          <cx:pt idx="99793">4</cx:pt>
          <cx:pt idx="99794">0</cx:pt>
          <cx:pt idx="99795">5</cx:pt>
          <cx:pt idx="99796">4</cx:pt>
          <cx:pt idx="99797">1</cx:pt>
          <cx:pt idx="99798">2</cx:pt>
          <cx:pt idx="99799">2</cx:pt>
          <cx:pt idx="99800">5</cx:pt>
          <cx:pt idx="99801">2</cx:pt>
          <cx:pt idx="99802">3</cx:pt>
          <cx:pt idx="99803">4</cx:pt>
          <cx:pt idx="99804">1</cx:pt>
          <cx:pt idx="99805">3</cx:pt>
          <cx:pt idx="99806">2</cx:pt>
          <cx:pt idx="99807">2</cx:pt>
          <cx:pt idx="99808">1</cx:pt>
          <cx:pt idx="99809">3</cx:pt>
          <cx:pt idx="99810">3</cx:pt>
          <cx:pt idx="99811">2</cx:pt>
          <cx:pt idx="99812">3</cx:pt>
          <cx:pt idx="99813">5</cx:pt>
          <cx:pt idx="99814">1</cx:pt>
          <cx:pt idx="99815">5</cx:pt>
          <cx:pt idx="99816">5</cx:pt>
          <cx:pt idx="99817">5</cx:pt>
          <cx:pt idx="99818">4</cx:pt>
          <cx:pt idx="99819">3</cx:pt>
          <cx:pt idx="99820">3</cx:pt>
          <cx:pt idx="99821">4</cx:pt>
          <cx:pt idx="99822">1</cx:pt>
          <cx:pt idx="99823">1</cx:pt>
          <cx:pt idx="99824">4</cx:pt>
          <cx:pt idx="99825">2</cx:pt>
          <cx:pt idx="99826">3</cx:pt>
          <cx:pt idx="99827">5</cx:pt>
          <cx:pt idx="99828">5</cx:pt>
          <cx:pt idx="99829">5</cx:pt>
          <cx:pt idx="99830">3</cx:pt>
          <cx:pt idx="99831">2</cx:pt>
          <cx:pt idx="99832">0</cx:pt>
          <cx:pt idx="99833">0</cx:pt>
          <cx:pt idx="99834">1</cx:pt>
          <cx:pt idx="99835">5</cx:pt>
          <cx:pt idx="99836">3</cx:pt>
          <cx:pt idx="99837">5</cx:pt>
          <cx:pt idx="99838">4</cx:pt>
          <cx:pt idx="99839">0</cx:pt>
          <cx:pt idx="99840">0</cx:pt>
          <cx:pt idx="99841">4</cx:pt>
          <cx:pt idx="99842">3</cx:pt>
          <cx:pt idx="99843">2</cx:pt>
          <cx:pt idx="99844">4</cx:pt>
          <cx:pt idx="99845">4</cx:pt>
          <cx:pt idx="99846">3</cx:pt>
          <cx:pt idx="99847">4</cx:pt>
          <cx:pt idx="99848">4</cx:pt>
          <cx:pt idx="99849">4</cx:pt>
          <cx:pt idx="99850">4</cx:pt>
          <cx:pt idx="99851">2</cx:pt>
          <cx:pt idx="99852">4</cx:pt>
          <cx:pt idx="99853">4</cx:pt>
          <cx:pt idx="99854">2</cx:pt>
          <cx:pt idx="99855">4</cx:pt>
          <cx:pt idx="99856">4</cx:pt>
          <cx:pt idx="99857">3</cx:pt>
          <cx:pt idx="99858">0</cx:pt>
          <cx:pt idx="99859">1</cx:pt>
          <cx:pt idx="99860">2</cx:pt>
          <cx:pt idx="99861">2</cx:pt>
          <cx:pt idx="99862">4</cx:pt>
          <cx:pt idx="99863">2</cx:pt>
          <cx:pt idx="99864">5</cx:pt>
          <cx:pt idx="99865">5</cx:pt>
          <cx:pt idx="99866">0</cx:pt>
          <cx:pt idx="99867">3</cx:pt>
          <cx:pt idx="99868">2</cx:pt>
          <cx:pt idx="99869">3</cx:pt>
          <cx:pt idx="99870">3</cx:pt>
          <cx:pt idx="99871">4</cx:pt>
          <cx:pt idx="99872">4</cx:pt>
          <cx:pt idx="99873">4</cx:pt>
          <cx:pt idx="99874">2</cx:pt>
          <cx:pt idx="99875">3</cx:pt>
          <cx:pt idx="99876">3</cx:pt>
          <cx:pt idx="99877">5</cx:pt>
          <cx:pt idx="99878">1</cx:pt>
          <cx:pt idx="99879">2</cx:pt>
          <cx:pt idx="99880">0</cx:pt>
          <cx:pt idx="99881">4</cx:pt>
          <cx:pt idx="99882">4</cx:pt>
          <cx:pt idx="99883">5</cx:pt>
          <cx:pt idx="99884">2</cx:pt>
          <cx:pt idx="99885">1</cx:pt>
          <cx:pt idx="99886">0</cx:pt>
          <cx:pt idx="99887">4</cx:pt>
          <cx:pt idx="99888">0</cx:pt>
          <cx:pt idx="99889">5</cx:pt>
          <cx:pt idx="99890">5</cx:pt>
          <cx:pt idx="99891">5</cx:pt>
          <cx:pt idx="99892">2</cx:pt>
          <cx:pt idx="99893">4</cx:pt>
          <cx:pt idx="99894">3</cx:pt>
          <cx:pt idx="99895">5</cx:pt>
          <cx:pt idx="99896">1</cx:pt>
          <cx:pt idx="99897">5</cx:pt>
          <cx:pt idx="99898">5</cx:pt>
          <cx:pt idx="99899">2</cx:pt>
          <cx:pt idx="99900">2</cx:pt>
          <cx:pt idx="99901">3</cx:pt>
          <cx:pt idx="99902">3</cx:pt>
          <cx:pt idx="99903">3</cx:pt>
          <cx:pt idx="99904">3</cx:pt>
          <cx:pt idx="99905">3</cx:pt>
          <cx:pt idx="99906">1</cx:pt>
          <cx:pt idx="99907">2</cx:pt>
          <cx:pt idx="99908">2</cx:pt>
          <cx:pt idx="99909">5</cx:pt>
          <cx:pt idx="99910">1</cx:pt>
          <cx:pt idx="99911">5</cx:pt>
          <cx:pt idx="99912">3</cx:pt>
          <cx:pt idx="99913">3</cx:pt>
          <cx:pt idx="99914">2</cx:pt>
          <cx:pt idx="99915">3</cx:pt>
          <cx:pt idx="99916">4</cx:pt>
          <cx:pt idx="99917">2</cx:pt>
          <cx:pt idx="99918">4</cx:pt>
          <cx:pt idx="99919">4</cx:pt>
          <cx:pt idx="99920">4</cx:pt>
          <cx:pt idx="99921">3</cx:pt>
          <cx:pt idx="99922">2</cx:pt>
          <cx:pt idx="99923">2</cx:pt>
          <cx:pt idx="99924">1</cx:pt>
          <cx:pt idx="99925">2</cx:pt>
          <cx:pt idx="99926">3</cx:pt>
          <cx:pt idx="99927">3</cx:pt>
          <cx:pt idx="99928">3</cx:pt>
          <cx:pt idx="99929">5</cx:pt>
          <cx:pt idx="99930">3</cx:pt>
          <cx:pt idx="99931">0</cx:pt>
          <cx:pt idx="99932">3</cx:pt>
          <cx:pt idx="99933">3</cx:pt>
          <cx:pt idx="99934">4</cx:pt>
          <cx:pt idx="99935">0</cx:pt>
          <cx:pt idx="99936">2</cx:pt>
          <cx:pt idx="99937">2</cx:pt>
          <cx:pt idx="99938">1</cx:pt>
          <cx:pt idx="99939">5</cx:pt>
          <cx:pt idx="99940">4</cx:pt>
          <cx:pt idx="99941">3</cx:pt>
          <cx:pt idx="99942">5</cx:pt>
          <cx:pt idx="99943">4</cx:pt>
          <cx:pt idx="99944">3</cx:pt>
          <cx:pt idx="99945">2</cx:pt>
          <cx:pt idx="99946">4</cx:pt>
          <cx:pt idx="99947">4</cx:pt>
          <cx:pt idx="99948">2</cx:pt>
          <cx:pt idx="99949">2</cx:pt>
          <cx:pt idx="99950">4</cx:pt>
          <cx:pt idx="99951">4</cx:pt>
          <cx:pt idx="99952">1</cx:pt>
          <cx:pt idx="99953">3</cx:pt>
          <cx:pt idx="99954">4</cx:pt>
          <cx:pt idx="99955">5</cx:pt>
          <cx:pt idx="99956">4</cx:pt>
          <cx:pt idx="99957">4</cx:pt>
          <cx:pt idx="99958">4</cx:pt>
          <cx:pt idx="99959">3</cx:pt>
          <cx:pt idx="99960">3</cx:pt>
          <cx:pt idx="99961">4</cx:pt>
          <cx:pt idx="99962">4</cx:pt>
          <cx:pt idx="99963">2</cx:pt>
          <cx:pt idx="99964">2</cx:pt>
          <cx:pt idx="99965">5</cx:pt>
          <cx:pt idx="99966">4</cx:pt>
          <cx:pt idx="99967">2</cx:pt>
          <cx:pt idx="99968">4</cx:pt>
          <cx:pt idx="99969">4</cx:pt>
          <cx:pt idx="99970">2</cx:pt>
          <cx:pt idx="99971">1</cx:pt>
          <cx:pt idx="99972">2</cx:pt>
          <cx:pt idx="99973">4</cx:pt>
          <cx:pt idx="99974">3</cx:pt>
          <cx:pt idx="99975">2</cx:pt>
          <cx:pt idx="99976">1</cx:pt>
          <cx:pt idx="99977">2</cx:pt>
          <cx:pt idx="99978">2</cx:pt>
          <cx:pt idx="99979">4</cx:pt>
          <cx:pt idx="99980">3</cx:pt>
          <cx:pt idx="99981">5</cx:pt>
          <cx:pt idx="99982">1</cx:pt>
          <cx:pt idx="99983">2</cx:pt>
          <cx:pt idx="99984">4</cx:pt>
          <cx:pt idx="99985">1</cx:pt>
          <cx:pt idx="99986">3</cx:pt>
          <cx:pt idx="99987">4</cx:pt>
          <cx:pt idx="99988">3</cx:pt>
          <cx:pt idx="99989">1</cx:pt>
          <cx:pt idx="99990">1</cx:pt>
          <cx:pt idx="99991">1</cx:pt>
          <cx:pt idx="99992">3</cx:pt>
          <cx:pt idx="99993">1</cx:pt>
          <cx:pt idx="99994">5</cx:pt>
          <cx:pt idx="99995">3</cx:pt>
          <cx:pt idx="99996">1</cx:pt>
          <cx:pt idx="99997">4</cx:pt>
          <cx:pt idx="99998">4</cx:pt>
          <cx:pt idx="99999">4</cx:pt>
          <cx:pt idx="100000">2</cx:pt>
          <cx:pt idx="100001">1</cx:pt>
          <cx:pt idx="100002">2</cx:pt>
          <cx:pt idx="100003">1</cx:pt>
          <cx:pt idx="100004">2</cx:pt>
          <cx:pt idx="100005">2</cx:pt>
          <cx:pt idx="100006">2</cx:pt>
          <cx:pt idx="100007">1</cx:pt>
          <cx:pt idx="100008">1</cx:pt>
          <cx:pt idx="100009">3</cx:pt>
          <cx:pt idx="100010">1</cx:pt>
          <cx:pt idx="100011">2</cx:pt>
          <cx:pt idx="100012">3</cx:pt>
          <cx:pt idx="100013">2</cx:pt>
          <cx:pt idx="100014">4</cx:pt>
          <cx:pt idx="100015">3</cx:pt>
          <cx:pt idx="100016">1</cx:pt>
          <cx:pt idx="100017">3</cx:pt>
          <cx:pt idx="100018">2</cx:pt>
          <cx:pt idx="100019">5</cx:pt>
          <cx:pt idx="100020">2</cx:pt>
          <cx:pt idx="100021">0</cx:pt>
          <cx:pt idx="100022">2</cx:pt>
          <cx:pt idx="100023">1</cx:pt>
          <cx:pt idx="100024">2</cx:pt>
          <cx:pt idx="100025">3</cx:pt>
          <cx:pt idx="100026">4</cx:pt>
          <cx:pt idx="100027">1</cx:pt>
          <cx:pt idx="100028">3</cx:pt>
          <cx:pt idx="100029">2</cx:pt>
          <cx:pt idx="100030">1</cx:pt>
          <cx:pt idx="100031">4</cx:pt>
          <cx:pt idx="100032">2</cx:pt>
          <cx:pt idx="100033">1</cx:pt>
          <cx:pt idx="100034">3</cx:pt>
          <cx:pt idx="100035">3</cx:pt>
          <cx:pt idx="100036">4</cx:pt>
          <cx:pt idx="100037">3</cx:pt>
          <cx:pt idx="100038">2</cx:pt>
          <cx:pt idx="100039">5</cx:pt>
          <cx:pt idx="100040">2</cx:pt>
          <cx:pt idx="100041">1</cx:pt>
          <cx:pt idx="100042">3</cx:pt>
          <cx:pt idx="100043">3</cx:pt>
          <cx:pt idx="100044">3</cx:pt>
          <cx:pt idx="100045">1</cx:pt>
          <cx:pt idx="100046">2</cx:pt>
          <cx:pt idx="100047">5</cx:pt>
          <cx:pt idx="100048">0</cx:pt>
          <cx:pt idx="100049">1</cx:pt>
          <cx:pt idx="100050">2</cx:pt>
          <cx:pt idx="100051">5</cx:pt>
          <cx:pt idx="100052">2</cx:pt>
          <cx:pt idx="100053">2</cx:pt>
          <cx:pt idx="100054">5</cx:pt>
          <cx:pt idx="100055">4</cx:pt>
          <cx:pt idx="100056">0</cx:pt>
          <cx:pt idx="100057">3</cx:pt>
          <cx:pt idx="100058">4</cx:pt>
          <cx:pt idx="100059">4</cx:pt>
          <cx:pt idx="100060">1</cx:pt>
          <cx:pt idx="100061">2</cx:pt>
          <cx:pt idx="100062">2</cx:pt>
          <cx:pt idx="100063">2</cx:pt>
          <cx:pt idx="100064">5</cx:pt>
          <cx:pt idx="100065">2</cx:pt>
          <cx:pt idx="100066">3</cx:pt>
          <cx:pt idx="100067">3</cx:pt>
          <cx:pt idx="100068">2</cx:pt>
          <cx:pt idx="100069">4</cx:pt>
          <cx:pt idx="100070">2</cx:pt>
          <cx:pt idx="100071">4</cx:pt>
          <cx:pt idx="100072">4</cx:pt>
          <cx:pt idx="100073">2</cx:pt>
          <cx:pt idx="100074">2</cx:pt>
          <cx:pt idx="100075">5</cx:pt>
          <cx:pt idx="100076">1</cx:pt>
          <cx:pt idx="100077">2</cx:pt>
          <cx:pt idx="100078">1</cx:pt>
          <cx:pt idx="100079">4</cx:pt>
          <cx:pt idx="100080">2</cx:pt>
          <cx:pt idx="100081">0</cx:pt>
          <cx:pt idx="100082">1</cx:pt>
          <cx:pt idx="100083">0</cx:pt>
          <cx:pt idx="100084">5</cx:pt>
          <cx:pt idx="100085">3</cx:pt>
          <cx:pt idx="100086">5</cx:pt>
          <cx:pt idx="100087">5</cx:pt>
          <cx:pt idx="100088">4</cx:pt>
          <cx:pt idx="100089">2</cx:pt>
          <cx:pt idx="100090">1</cx:pt>
          <cx:pt idx="100091">4</cx:pt>
          <cx:pt idx="100092">3</cx:pt>
          <cx:pt idx="100093">4</cx:pt>
          <cx:pt idx="100094">2</cx:pt>
          <cx:pt idx="100095">1</cx:pt>
          <cx:pt idx="100096">4</cx:pt>
          <cx:pt idx="100097">2</cx:pt>
          <cx:pt idx="100098">3</cx:pt>
          <cx:pt idx="100099">1</cx:pt>
          <cx:pt idx="100100">5</cx:pt>
          <cx:pt idx="100101">1</cx:pt>
          <cx:pt idx="100102">3</cx:pt>
          <cx:pt idx="100103">3</cx:pt>
          <cx:pt idx="100104">3</cx:pt>
          <cx:pt idx="100105">5</cx:pt>
          <cx:pt idx="100106">2</cx:pt>
          <cx:pt idx="100107">2</cx:pt>
          <cx:pt idx="100108">3</cx:pt>
          <cx:pt idx="100109">4</cx:pt>
          <cx:pt idx="100110">4</cx:pt>
          <cx:pt idx="100111">5</cx:pt>
          <cx:pt idx="100112">1</cx:pt>
          <cx:pt idx="100113">1</cx:pt>
          <cx:pt idx="100114">5</cx:pt>
          <cx:pt idx="100115">3</cx:pt>
          <cx:pt idx="100116">5</cx:pt>
          <cx:pt idx="100117">2</cx:pt>
          <cx:pt idx="100118">3</cx:pt>
          <cx:pt idx="100119">3</cx:pt>
          <cx:pt idx="100120">3</cx:pt>
          <cx:pt idx="100121">4</cx:pt>
          <cx:pt idx="100122">4</cx:pt>
          <cx:pt idx="100123">1</cx:pt>
          <cx:pt idx="100124">5</cx:pt>
          <cx:pt idx="100125">1</cx:pt>
          <cx:pt idx="100126">1</cx:pt>
          <cx:pt idx="100127">2</cx:pt>
          <cx:pt idx="100128">4</cx:pt>
          <cx:pt idx="100129">5</cx:pt>
          <cx:pt idx="100130">4</cx:pt>
          <cx:pt idx="100131">4</cx:pt>
          <cx:pt idx="100132">5</cx:pt>
          <cx:pt idx="100133">0</cx:pt>
          <cx:pt idx="100134">2</cx:pt>
          <cx:pt idx="100135">4</cx:pt>
          <cx:pt idx="100136">2</cx:pt>
          <cx:pt idx="100137">4</cx:pt>
          <cx:pt idx="100138">1</cx:pt>
          <cx:pt idx="100139">4</cx:pt>
          <cx:pt idx="100140">4</cx:pt>
          <cx:pt idx="100141">0</cx:pt>
          <cx:pt idx="100142">5</cx:pt>
          <cx:pt idx="100143">2</cx:pt>
          <cx:pt idx="100144">4</cx:pt>
          <cx:pt idx="100145">4</cx:pt>
          <cx:pt idx="100146">3</cx:pt>
          <cx:pt idx="100147">1</cx:pt>
          <cx:pt idx="100148">2</cx:pt>
          <cx:pt idx="100149">2</cx:pt>
          <cx:pt idx="100150">1</cx:pt>
          <cx:pt idx="100151">4</cx:pt>
          <cx:pt idx="100152">5</cx:pt>
          <cx:pt idx="100153">3</cx:pt>
          <cx:pt idx="100154">1</cx:pt>
          <cx:pt idx="100155">2</cx:pt>
          <cx:pt idx="100156">2</cx:pt>
          <cx:pt idx="100157">3</cx:pt>
          <cx:pt idx="100158">4</cx:pt>
          <cx:pt idx="100159">5</cx:pt>
          <cx:pt idx="100160">2</cx:pt>
          <cx:pt idx="100161">4</cx:pt>
          <cx:pt idx="100162">2</cx:pt>
          <cx:pt idx="100163">3</cx:pt>
          <cx:pt idx="100164">2</cx:pt>
          <cx:pt idx="100165">3</cx:pt>
          <cx:pt idx="100166">4</cx:pt>
          <cx:pt idx="100167">3</cx:pt>
          <cx:pt idx="100168">2</cx:pt>
          <cx:pt idx="100169">3</cx:pt>
          <cx:pt idx="100170">4</cx:pt>
          <cx:pt idx="100171">1</cx:pt>
          <cx:pt idx="100172">3</cx:pt>
          <cx:pt idx="100173">3</cx:pt>
          <cx:pt idx="100174">3</cx:pt>
          <cx:pt idx="100175">5</cx:pt>
          <cx:pt idx="100176">4</cx:pt>
          <cx:pt idx="100177">2</cx:pt>
          <cx:pt idx="100178">3</cx:pt>
          <cx:pt idx="100179">4</cx:pt>
          <cx:pt idx="100180">5</cx:pt>
          <cx:pt idx="100181">3</cx:pt>
          <cx:pt idx="100182">4</cx:pt>
          <cx:pt idx="100183">1</cx:pt>
          <cx:pt idx="100184">3</cx:pt>
          <cx:pt idx="100185">1</cx:pt>
          <cx:pt idx="100186">3</cx:pt>
          <cx:pt idx="100187">1</cx:pt>
          <cx:pt idx="100188">1</cx:pt>
          <cx:pt idx="100189">5</cx:pt>
          <cx:pt idx="100190">4</cx:pt>
          <cx:pt idx="100191">1</cx:pt>
          <cx:pt idx="100192">3</cx:pt>
          <cx:pt idx="100193">4</cx:pt>
          <cx:pt idx="100194">1</cx:pt>
          <cx:pt idx="100195">4</cx:pt>
          <cx:pt idx="100196">2</cx:pt>
          <cx:pt idx="100197">4</cx:pt>
          <cx:pt idx="100198">2</cx:pt>
          <cx:pt idx="100199">2</cx:pt>
          <cx:pt idx="100200">2</cx:pt>
          <cx:pt idx="100201">3</cx:pt>
          <cx:pt idx="100202">1</cx:pt>
          <cx:pt idx="100203">0</cx:pt>
          <cx:pt idx="100204">1</cx:pt>
          <cx:pt idx="100205">4</cx:pt>
          <cx:pt idx="100206">4</cx:pt>
          <cx:pt idx="100207">2</cx:pt>
          <cx:pt idx="100208">3</cx:pt>
          <cx:pt idx="100209">0</cx:pt>
          <cx:pt idx="100210">2</cx:pt>
          <cx:pt idx="100211">3</cx:pt>
          <cx:pt idx="100212">3</cx:pt>
          <cx:pt idx="100213">5</cx:pt>
          <cx:pt idx="100214">5</cx:pt>
          <cx:pt idx="100215">2</cx:pt>
          <cx:pt idx="100216">4</cx:pt>
          <cx:pt idx="100217">4</cx:pt>
          <cx:pt idx="100218">4</cx:pt>
          <cx:pt idx="100219">3</cx:pt>
          <cx:pt idx="100220">3</cx:pt>
          <cx:pt idx="100221">1</cx:pt>
          <cx:pt idx="100222">2</cx:pt>
          <cx:pt idx="100223">4</cx:pt>
          <cx:pt idx="100224">1</cx:pt>
          <cx:pt idx="100225">4</cx:pt>
          <cx:pt idx="100226">4</cx:pt>
          <cx:pt idx="100227">1</cx:pt>
          <cx:pt idx="100228">4</cx:pt>
          <cx:pt idx="100229">3</cx:pt>
          <cx:pt idx="100230">2</cx:pt>
          <cx:pt idx="100231">2</cx:pt>
          <cx:pt idx="100232">3</cx:pt>
          <cx:pt idx="100233">3</cx:pt>
          <cx:pt idx="100234">3</cx:pt>
          <cx:pt idx="100235">3</cx:pt>
          <cx:pt idx="100236">4</cx:pt>
          <cx:pt idx="100237">4</cx:pt>
          <cx:pt idx="100238">1</cx:pt>
          <cx:pt idx="100239">4</cx:pt>
          <cx:pt idx="100240">5</cx:pt>
          <cx:pt idx="100241">4</cx:pt>
          <cx:pt idx="100242">3</cx:pt>
          <cx:pt idx="100243">1</cx:pt>
          <cx:pt idx="100244">1</cx:pt>
          <cx:pt idx="100245">5</cx:pt>
          <cx:pt idx="100246">1</cx:pt>
          <cx:pt idx="100247">4</cx:pt>
          <cx:pt idx="100248">4</cx:pt>
          <cx:pt idx="100249">1</cx:pt>
          <cx:pt idx="100250">2</cx:pt>
          <cx:pt idx="100251">4</cx:pt>
          <cx:pt idx="100252">4</cx:pt>
          <cx:pt idx="100253">1</cx:pt>
          <cx:pt idx="100254">4</cx:pt>
          <cx:pt idx="100255">4</cx:pt>
          <cx:pt idx="100256">4</cx:pt>
          <cx:pt idx="100257">4</cx:pt>
          <cx:pt idx="100258">0</cx:pt>
          <cx:pt idx="100259">2</cx:pt>
          <cx:pt idx="100260">1</cx:pt>
          <cx:pt idx="100261">4</cx:pt>
          <cx:pt idx="100262">4</cx:pt>
          <cx:pt idx="100263">4</cx:pt>
          <cx:pt idx="100264">2</cx:pt>
          <cx:pt idx="100265">4</cx:pt>
          <cx:pt idx="100266">4</cx:pt>
          <cx:pt idx="100267">3</cx:pt>
          <cx:pt idx="100268">3</cx:pt>
          <cx:pt idx="100269">5</cx:pt>
          <cx:pt idx="100270">3</cx:pt>
          <cx:pt idx="100271">3</cx:pt>
          <cx:pt idx="100272">4</cx:pt>
          <cx:pt idx="100273">2</cx:pt>
          <cx:pt idx="100274">3</cx:pt>
          <cx:pt idx="100275">3</cx:pt>
          <cx:pt idx="100276">2</cx:pt>
          <cx:pt idx="100277">1</cx:pt>
          <cx:pt idx="100278">4</cx:pt>
          <cx:pt idx="100279">0</cx:pt>
          <cx:pt idx="100280">2</cx:pt>
          <cx:pt idx="100281">5</cx:pt>
          <cx:pt idx="100282">4</cx:pt>
          <cx:pt idx="100283">5</cx:pt>
          <cx:pt idx="100284">3</cx:pt>
          <cx:pt idx="100285">5</cx:pt>
          <cx:pt idx="100286">5</cx:pt>
          <cx:pt idx="100287">3</cx:pt>
          <cx:pt idx="100288">5</cx:pt>
          <cx:pt idx="100289">2</cx:pt>
          <cx:pt idx="100290">4</cx:pt>
          <cx:pt idx="100291">2</cx:pt>
          <cx:pt idx="100292">1</cx:pt>
          <cx:pt idx="100293">2</cx:pt>
          <cx:pt idx="100294">1</cx:pt>
          <cx:pt idx="100295">3</cx:pt>
          <cx:pt idx="100296">5</cx:pt>
          <cx:pt idx="100297">3</cx:pt>
          <cx:pt idx="100298">4</cx:pt>
          <cx:pt idx="100299">3</cx:pt>
          <cx:pt idx="100300">4</cx:pt>
          <cx:pt idx="100301">1</cx:pt>
          <cx:pt idx="100302">5</cx:pt>
          <cx:pt idx="100303">3</cx:pt>
          <cx:pt idx="100304">5</cx:pt>
          <cx:pt idx="100305">1</cx:pt>
          <cx:pt idx="100306">3</cx:pt>
          <cx:pt idx="100307">3</cx:pt>
          <cx:pt idx="100308">3</cx:pt>
          <cx:pt idx="100309">4</cx:pt>
          <cx:pt idx="100310">5</cx:pt>
          <cx:pt idx="100311">4</cx:pt>
          <cx:pt idx="100312">1</cx:pt>
          <cx:pt idx="100313">4</cx:pt>
          <cx:pt idx="100314">3</cx:pt>
          <cx:pt idx="100315">3</cx:pt>
          <cx:pt idx="100316">3</cx:pt>
          <cx:pt idx="100317">3</cx:pt>
          <cx:pt idx="100318">2</cx:pt>
          <cx:pt idx="100319">0</cx:pt>
          <cx:pt idx="100320">4</cx:pt>
          <cx:pt idx="100321">3</cx:pt>
          <cx:pt idx="100322">1</cx:pt>
          <cx:pt idx="100323">2</cx:pt>
          <cx:pt idx="100324">5</cx:pt>
          <cx:pt idx="100325">4</cx:pt>
          <cx:pt idx="100326">1</cx:pt>
          <cx:pt idx="100327">3</cx:pt>
          <cx:pt idx="100328">5</cx:pt>
          <cx:pt idx="100329">3</cx:pt>
          <cx:pt idx="100330">3</cx:pt>
          <cx:pt idx="100331">3</cx:pt>
          <cx:pt idx="100332">4</cx:pt>
          <cx:pt idx="100333">2</cx:pt>
          <cx:pt idx="100334">2</cx:pt>
          <cx:pt idx="100335">4</cx:pt>
          <cx:pt idx="100336">3</cx:pt>
          <cx:pt idx="100337">1</cx:pt>
          <cx:pt idx="100338">4</cx:pt>
          <cx:pt idx="100339">4</cx:pt>
          <cx:pt idx="100340">3</cx:pt>
          <cx:pt idx="100341">4</cx:pt>
          <cx:pt idx="100342">2</cx:pt>
          <cx:pt idx="100343">5</cx:pt>
          <cx:pt idx="100344">1</cx:pt>
          <cx:pt idx="100345">2</cx:pt>
          <cx:pt idx="100346">4</cx:pt>
          <cx:pt idx="100347">3</cx:pt>
          <cx:pt idx="100348">2</cx:pt>
          <cx:pt idx="100349">5</cx:pt>
          <cx:pt idx="100350">5</cx:pt>
          <cx:pt idx="100351">2</cx:pt>
          <cx:pt idx="100352">4</cx:pt>
          <cx:pt idx="100353">2</cx:pt>
          <cx:pt idx="100354">3</cx:pt>
          <cx:pt idx="100355">2</cx:pt>
          <cx:pt idx="100356">2</cx:pt>
          <cx:pt idx="100357">2</cx:pt>
          <cx:pt idx="100358">3</cx:pt>
          <cx:pt idx="100359">5</cx:pt>
          <cx:pt idx="100360">5</cx:pt>
          <cx:pt idx="100361">5</cx:pt>
          <cx:pt idx="100362">1</cx:pt>
          <cx:pt idx="100363">4</cx:pt>
          <cx:pt idx="100364">5</cx:pt>
          <cx:pt idx="100365">3</cx:pt>
          <cx:pt idx="100366">1</cx:pt>
          <cx:pt idx="100367">3</cx:pt>
          <cx:pt idx="100368">5</cx:pt>
          <cx:pt idx="100369">1</cx:pt>
          <cx:pt idx="100370">3</cx:pt>
          <cx:pt idx="100371">0</cx:pt>
          <cx:pt idx="100372">4</cx:pt>
          <cx:pt idx="100373">4</cx:pt>
          <cx:pt idx="100374">2</cx:pt>
          <cx:pt idx="100375">1</cx:pt>
          <cx:pt idx="100376">3</cx:pt>
          <cx:pt idx="100377">2</cx:pt>
          <cx:pt idx="100378">3</cx:pt>
          <cx:pt idx="100379">3</cx:pt>
          <cx:pt idx="100380">5</cx:pt>
          <cx:pt idx="100381">2</cx:pt>
          <cx:pt idx="100382">2</cx:pt>
          <cx:pt idx="100383">0</cx:pt>
          <cx:pt idx="100384">2</cx:pt>
          <cx:pt idx="100385">4</cx:pt>
          <cx:pt idx="100386">3</cx:pt>
          <cx:pt idx="100387">2</cx:pt>
          <cx:pt idx="100388">4</cx:pt>
          <cx:pt idx="100389">1</cx:pt>
          <cx:pt idx="100390">2</cx:pt>
          <cx:pt idx="100391">2</cx:pt>
          <cx:pt idx="100392">2</cx:pt>
          <cx:pt idx="100393">2</cx:pt>
          <cx:pt idx="100394">3</cx:pt>
          <cx:pt idx="100395">2</cx:pt>
          <cx:pt idx="100396">1</cx:pt>
          <cx:pt idx="100397">4</cx:pt>
          <cx:pt idx="100398">0</cx:pt>
          <cx:pt idx="100399">5</cx:pt>
          <cx:pt idx="100400">2</cx:pt>
          <cx:pt idx="100401">4</cx:pt>
          <cx:pt idx="100402">4</cx:pt>
          <cx:pt idx="100403">1</cx:pt>
          <cx:pt idx="100404">1</cx:pt>
          <cx:pt idx="100405">4</cx:pt>
          <cx:pt idx="100406">1</cx:pt>
          <cx:pt idx="100407">2</cx:pt>
          <cx:pt idx="100408">2</cx:pt>
          <cx:pt idx="100409">2</cx:pt>
          <cx:pt idx="100410">1</cx:pt>
          <cx:pt idx="100411">3</cx:pt>
          <cx:pt idx="100412">3</cx:pt>
          <cx:pt idx="100413">3</cx:pt>
          <cx:pt idx="100414">2</cx:pt>
          <cx:pt idx="100415">4</cx:pt>
          <cx:pt idx="100416">4</cx:pt>
          <cx:pt idx="100417">3</cx:pt>
          <cx:pt idx="100418">3</cx:pt>
          <cx:pt idx="100419">2</cx:pt>
          <cx:pt idx="100420">4</cx:pt>
          <cx:pt idx="100421">4</cx:pt>
          <cx:pt idx="100422">2</cx:pt>
          <cx:pt idx="100423">5</cx:pt>
          <cx:pt idx="100424">2</cx:pt>
          <cx:pt idx="100425">2</cx:pt>
          <cx:pt idx="100426">1</cx:pt>
          <cx:pt idx="100427">0</cx:pt>
          <cx:pt idx="100428">5</cx:pt>
          <cx:pt idx="100429">3</cx:pt>
          <cx:pt idx="100430">2</cx:pt>
          <cx:pt idx="100431">2</cx:pt>
          <cx:pt idx="100432">4</cx:pt>
          <cx:pt idx="100433">4</cx:pt>
          <cx:pt idx="100434">3</cx:pt>
          <cx:pt idx="100435">1</cx:pt>
          <cx:pt idx="100436">1</cx:pt>
          <cx:pt idx="100437">4</cx:pt>
          <cx:pt idx="100438">1</cx:pt>
          <cx:pt idx="100439">5</cx:pt>
          <cx:pt idx="100440">5</cx:pt>
          <cx:pt idx="100441">3</cx:pt>
          <cx:pt idx="100442">3</cx:pt>
          <cx:pt idx="100443">2</cx:pt>
          <cx:pt idx="100444">2</cx:pt>
          <cx:pt idx="100445">1</cx:pt>
          <cx:pt idx="100446">1</cx:pt>
          <cx:pt idx="100447">3</cx:pt>
          <cx:pt idx="100448">2</cx:pt>
          <cx:pt idx="100449">4</cx:pt>
          <cx:pt idx="100450">5</cx:pt>
          <cx:pt idx="100451">2</cx:pt>
          <cx:pt idx="100452">5</cx:pt>
          <cx:pt idx="100453">4</cx:pt>
          <cx:pt idx="100454">5</cx:pt>
          <cx:pt idx="100455">4</cx:pt>
          <cx:pt idx="100456">1</cx:pt>
          <cx:pt idx="100457">2</cx:pt>
          <cx:pt idx="100458">2</cx:pt>
          <cx:pt idx="100459">5</cx:pt>
          <cx:pt idx="100460">5</cx:pt>
          <cx:pt idx="100461">4</cx:pt>
          <cx:pt idx="100462">3</cx:pt>
          <cx:pt idx="100463">2</cx:pt>
          <cx:pt idx="100464">4</cx:pt>
          <cx:pt idx="100465">5</cx:pt>
          <cx:pt idx="100466">5</cx:pt>
          <cx:pt idx="100467">1</cx:pt>
          <cx:pt idx="100468">2</cx:pt>
          <cx:pt idx="100469">3</cx:pt>
          <cx:pt idx="100470">5</cx:pt>
          <cx:pt idx="100471">5</cx:pt>
          <cx:pt idx="100472">3</cx:pt>
          <cx:pt idx="100473">3</cx:pt>
          <cx:pt idx="100474">1</cx:pt>
          <cx:pt idx="100475">3</cx:pt>
          <cx:pt idx="100476">3</cx:pt>
          <cx:pt idx="100477">5</cx:pt>
          <cx:pt idx="100478">5</cx:pt>
          <cx:pt idx="100479">3</cx:pt>
          <cx:pt idx="100480">1</cx:pt>
          <cx:pt idx="100481">2</cx:pt>
          <cx:pt idx="100482">2</cx:pt>
          <cx:pt idx="100483">2</cx:pt>
          <cx:pt idx="100484">0</cx:pt>
          <cx:pt idx="100485">4</cx:pt>
          <cx:pt idx="100486">3</cx:pt>
          <cx:pt idx="100487">1</cx:pt>
          <cx:pt idx="100488">1</cx:pt>
          <cx:pt idx="100489">4</cx:pt>
          <cx:pt idx="100490">1</cx:pt>
          <cx:pt idx="100491">1</cx:pt>
          <cx:pt idx="100492">2</cx:pt>
          <cx:pt idx="100493">2</cx:pt>
          <cx:pt idx="100494">2</cx:pt>
          <cx:pt idx="100495">4</cx:pt>
          <cx:pt idx="100496">2</cx:pt>
          <cx:pt idx="100497">3</cx:pt>
          <cx:pt idx="100498">5</cx:pt>
          <cx:pt idx="100499">3</cx:pt>
          <cx:pt idx="100500">2</cx:pt>
          <cx:pt idx="100501">5</cx:pt>
          <cx:pt idx="100502">1</cx:pt>
          <cx:pt idx="100503">4</cx:pt>
          <cx:pt idx="100504">2</cx:pt>
          <cx:pt idx="100505">4</cx:pt>
          <cx:pt idx="100506">1</cx:pt>
          <cx:pt idx="100507">4</cx:pt>
          <cx:pt idx="100508">5</cx:pt>
          <cx:pt idx="100509">2</cx:pt>
          <cx:pt idx="100510">1</cx:pt>
          <cx:pt idx="100511">5</cx:pt>
          <cx:pt idx="100512">3</cx:pt>
          <cx:pt idx="100513">3</cx:pt>
          <cx:pt idx="100514">3</cx:pt>
          <cx:pt idx="100515">4</cx:pt>
          <cx:pt idx="100516">3</cx:pt>
          <cx:pt idx="100517">5</cx:pt>
          <cx:pt idx="100518">5</cx:pt>
          <cx:pt idx="100519">3</cx:pt>
          <cx:pt idx="100520">3</cx:pt>
          <cx:pt idx="100521">2</cx:pt>
          <cx:pt idx="100522">1</cx:pt>
          <cx:pt idx="100523">0</cx:pt>
          <cx:pt idx="100524">1</cx:pt>
          <cx:pt idx="100525">4</cx:pt>
          <cx:pt idx="100526">2</cx:pt>
          <cx:pt idx="100527">5</cx:pt>
          <cx:pt idx="100528">5</cx:pt>
          <cx:pt idx="100529">4</cx:pt>
          <cx:pt idx="100530">2</cx:pt>
          <cx:pt idx="100531">2</cx:pt>
          <cx:pt idx="100532">4</cx:pt>
          <cx:pt idx="100533">1</cx:pt>
          <cx:pt idx="100534">4</cx:pt>
          <cx:pt idx="100535">5</cx:pt>
          <cx:pt idx="100536">4</cx:pt>
          <cx:pt idx="100537">4</cx:pt>
          <cx:pt idx="100538">1</cx:pt>
          <cx:pt idx="100539">1</cx:pt>
          <cx:pt idx="100540">1</cx:pt>
          <cx:pt idx="100541">1</cx:pt>
          <cx:pt idx="100542">3</cx:pt>
          <cx:pt idx="100543">3</cx:pt>
          <cx:pt idx="100544">2</cx:pt>
          <cx:pt idx="100545">2</cx:pt>
          <cx:pt idx="100546">2</cx:pt>
          <cx:pt idx="100547">5</cx:pt>
          <cx:pt idx="100548">3</cx:pt>
          <cx:pt idx="100549">1</cx:pt>
          <cx:pt idx="100550">3</cx:pt>
          <cx:pt idx="100551">4</cx:pt>
          <cx:pt idx="100552">5</cx:pt>
          <cx:pt idx="100553">0</cx:pt>
          <cx:pt idx="100554">0</cx:pt>
          <cx:pt idx="100555">4</cx:pt>
          <cx:pt idx="100556">5</cx:pt>
          <cx:pt idx="100557">2</cx:pt>
          <cx:pt idx="100558">2</cx:pt>
          <cx:pt idx="100559">4</cx:pt>
          <cx:pt idx="100560">2</cx:pt>
          <cx:pt idx="100561">5</cx:pt>
          <cx:pt idx="100562">1</cx:pt>
          <cx:pt idx="100563">2</cx:pt>
          <cx:pt idx="100564">3</cx:pt>
          <cx:pt idx="100565">3</cx:pt>
          <cx:pt idx="100566">2</cx:pt>
          <cx:pt idx="100567">5</cx:pt>
          <cx:pt idx="100568">3</cx:pt>
          <cx:pt idx="100569">3</cx:pt>
          <cx:pt idx="100570">3</cx:pt>
          <cx:pt idx="100571">2</cx:pt>
          <cx:pt idx="100572">5</cx:pt>
          <cx:pt idx="100573">3</cx:pt>
          <cx:pt idx="100574">4</cx:pt>
          <cx:pt idx="100575">1</cx:pt>
          <cx:pt idx="100576">3</cx:pt>
          <cx:pt idx="100577">4</cx:pt>
          <cx:pt idx="100578">2</cx:pt>
          <cx:pt idx="100579">2</cx:pt>
          <cx:pt idx="100580">1</cx:pt>
          <cx:pt idx="100581">3</cx:pt>
          <cx:pt idx="100582">3</cx:pt>
          <cx:pt idx="100583">4</cx:pt>
          <cx:pt idx="100584">3</cx:pt>
          <cx:pt idx="100585">1</cx:pt>
          <cx:pt idx="100586">3</cx:pt>
          <cx:pt idx="100587">1</cx:pt>
          <cx:pt idx="100588">2</cx:pt>
          <cx:pt idx="100589">3</cx:pt>
          <cx:pt idx="100590">3</cx:pt>
          <cx:pt idx="100591">2</cx:pt>
          <cx:pt idx="100592">2</cx:pt>
          <cx:pt idx="100593">4</cx:pt>
          <cx:pt idx="100594">4</cx:pt>
          <cx:pt idx="100595">1</cx:pt>
          <cx:pt idx="100596">3</cx:pt>
          <cx:pt idx="100597">0</cx:pt>
          <cx:pt idx="100598">3</cx:pt>
          <cx:pt idx="100599">3</cx:pt>
          <cx:pt idx="100600">3</cx:pt>
          <cx:pt idx="100601">1</cx:pt>
          <cx:pt idx="100602">1</cx:pt>
          <cx:pt idx="100603">1</cx:pt>
          <cx:pt idx="100604">1</cx:pt>
          <cx:pt idx="100605">0</cx:pt>
          <cx:pt idx="100606">3</cx:pt>
          <cx:pt idx="100607">4</cx:pt>
          <cx:pt idx="100608">2</cx:pt>
          <cx:pt idx="100609">4</cx:pt>
          <cx:pt idx="100610">4</cx:pt>
          <cx:pt idx="100611">5</cx:pt>
          <cx:pt idx="100612">3</cx:pt>
          <cx:pt idx="100613">5</cx:pt>
          <cx:pt idx="100614">3</cx:pt>
          <cx:pt idx="100615">2</cx:pt>
          <cx:pt idx="100616">2</cx:pt>
          <cx:pt idx="100617">1</cx:pt>
          <cx:pt idx="100618">1</cx:pt>
          <cx:pt idx="100619">2</cx:pt>
          <cx:pt idx="100620">4</cx:pt>
          <cx:pt idx="100621">3</cx:pt>
          <cx:pt idx="100622">4</cx:pt>
          <cx:pt idx="100623">3</cx:pt>
          <cx:pt idx="100624">1</cx:pt>
          <cx:pt idx="100625">2</cx:pt>
          <cx:pt idx="100626">3</cx:pt>
          <cx:pt idx="100627">2</cx:pt>
          <cx:pt idx="100628">5</cx:pt>
          <cx:pt idx="100629">1</cx:pt>
          <cx:pt idx="100630">1</cx:pt>
          <cx:pt idx="100631">3</cx:pt>
          <cx:pt idx="100632">1</cx:pt>
          <cx:pt idx="100633">3</cx:pt>
          <cx:pt idx="100634">1</cx:pt>
          <cx:pt idx="100635">1</cx:pt>
          <cx:pt idx="100636">3</cx:pt>
          <cx:pt idx="100637">2</cx:pt>
          <cx:pt idx="100638">3</cx:pt>
          <cx:pt idx="100639">3</cx:pt>
          <cx:pt idx="100640">2</cx:pt>
          <cx:pt idx="100641">0</cx:pt>
          <cx:pt idx="100642">4</cx:pt>
          <cx:pt idx="100643">2</cx:pt>
          <cx:pt idx="100644">1</cx:pt>
          <cx:pt idx="100645">2</cx:pt>
          <cx:pt idx="100646">2</cx:pt>
          <cx:pt idx="100647">3</cx:pt>
          <cx:pt idx="100648">5</cx:pt>
          <cx:pt idx="100649">1</cx:pt>
          <cx:pt idx="100650">3</cx:pt>
          <cx:pt idx="100651">5</cx:pt>
          <cx:pt idx="100652">4</cx:pt>
          <cx:pt idx="100653">0</cx:pt>
          <cx:pt idx="100654">3</cx:pt>
          <cx:pt idx="100655">3</cx:pt>
          <cx:pt idx="100656">5</cx:pt>
          <cx:pt idx="100657">2</cx:pt>
          <cx:pt idx="100658">0</cx:pt>
          <cx:pt idx="100659">5</cx:pt>
          <cx:pt idx="100660">2</cx:pt>
          <cx:pt idx="100661">3</cx:pt>
          <cx:pt idx="100662">2</cx:pt>
          <cx:pt idx="100663">3</cx:pt>
          <cx:pt idx="100664">3</cx:pt>
          <cx:pt idx="100665">5</cx:pt>
          <cx:pt idx="100666">3</cx:pt>
          <cx:pt idx="100667">4</cx:pt>
          <cx:pt idx="100668">0</cx:pt>
          <cx:pt idx="100669">0</cx:pt>
          <cx:pt idx="100670">2</cx:pt>
          <cx:pt idx="100671">5</cx:pt>
          <cx:pt idx="100672">1</cx:pt>
          <cx:pt idx="100673">4</cx:pt>
          <cx:pt idx="100674">5</cx:pt>
          <cx:pt idx="100675">5</cx:pt>
          <cx:pt idx="100676">3</cx:pt>
          <cx:pt idx="100677">4</cx:pt>
          <cx:pt idx="100678">3</cx:pt>
          <cx:pt idx="100679">4</cx:pt>
          <cx:pt idx="100680">1</cx:pt>
          <cx:pt idx="100681">3</cx:pt>
          <cx:pt idx="100682">5</cx:pt>
          <cx:pt idx="100683">2</cx:pt>
          <cx:pt idx="100684">5</cx:pt>
          <cx:pt idx="100685">4</cx:pt>
          <cx:pt idx="100686">5</cx:pt>
          <cx:pt idx="100687">2</cx:pt>
          <cx:pt idx="100688">3</cx:pt>
          <cx:pt idx="100689">3</cx:pt>
          <cx:pt idx="100690">5</cx:pt>
          <cx:pt idx="100691">5</cx:pt>
          <cx:pt idx="100692">4</cx:pt>
          <cx:pt idx="100693">2</cx:pt>
          <cx:pt idx="100694">5</cx:pt>
          <cx:pt idx="100695">2</cx:pt>
          <cx:pt idx="100696">3</cx:pt>
          <cx:pt idx="100697">5</cx:pt>
          <cx:pt idx="100698">1</cx:pt>
          <cx:pt idx="100699">1</cx:pt>
          <cx:pt idx="100700">5</cx:pt>
          <cx:pt idx="100701">3</cx:pt>
          <cx:pt idx="100702">3</cx:pt>
          <cx:pt idx="100703">2</cx:pt>
          <cx:pt idx="100704">2</cx:pt>
          <cx:pt idx="100705">5</cx:pt>
          <cx:pt idx="100706">1</cx:pt>
          <cx:pt idx="100707">1</cx:pt>
          <cx:pt idx="100708">4</cx:pt>
          <cx:pt idx="100709">4</cx:pt>
          <cx:pt idx="100710">5</cx:pt>
          <cx:pt idx="100711">1</cx:pt>
          <cx:pt idx="100712">3</cx:pt>
          <cx:pt idx="100713">3</cx:pt>
          <cx:pt idx="100714">3</cx:pt>
          <cx:pt idx="100715">5</cx:pt>
          <cx:pt idx="100716">5</cx:pt>
          <cx:pt idx="100717">3</cx:pt>
          <cx:pt idx="100718">3</cx:pt>
          <cx:pt idx="100719">1</cx:pt>
          <cx:pt idx="100720">4</cx:pt>
          <cx:pt idx="100721">3</cx:pt>
          <cx:pt idx="100722">2</cx:pt>
          <cx:pt idx="100723">5</cx:pt>
          <cx:pt idx="100724">1</cx:pt>
          <cx:pt idx="100725">4</cx:pt>
          <cx:pt idx="100726">4</cx:pt>
          <cx:pt idx="100727">3</cx:pt>
          <cx:pt idx="100728">5</cx:pt>
          <cx:pt idx="100729">4</cx:pt>
          <cx:pt idx="100730">5</cx:pt>
          <cx:pt idx="100731">0</cx:pt>
          <cx:pt idx="100732">2</cx:pt>
          <cx:pt idx="100733">1</cx:pt>
          <cx:pt idx="100734">2</cx:pt>
          <cx:pt idx="100735">3</cx:pt>
          <cx:pt idx="100736">5</cx:pt>
          <cx:pt idx="100737">3</cx:pt>
          <cx:pt idx="100738">5</cx:pt>
          <cx:pt idx="100739">2</cx:pt>
          <cx:pt idx="100740">3</cx:pt>
          <cx:pt idx="100741">3</cx:pt>
          <cx:pt idx="100742">4</cx:pt>
          <cx:pt idx="100743">1</cx:pt>
          <cx:pt idx="100744">4</cx:pt>
          <cx:pt idx="100745">5</cx:pt>
          <cx:pt idx="100746">1</cx:pt>
          <cx:pt idx="100747">3</cx:pt>
          <cx:pt idx="100748">5</cx:pt>
          <cx:pt idx="100749">5</cx:pt>
          <cx:pt idx="100750">2</cx:pt>
          <cx:pt idx="100751">4</cx:pt>
          <cx:pt idx="100752">4</cx:pt>
          <cx:pt idx="100753">1</cx:pt>
          <cx:pt idx="100754">0</cx:pt>
          <cx:pt idx="100755">3</cx:pt>
          <cx:pt idx="100756">2</cx:pt>
          <cx:pt idx="100757">3</cx:pt>
          <cx:pt idx="100758">3</cx:pt>
          <cx:pt idx="100759">4</cx:pt>
          <cx:pt idx="100760">3</cx:pt>
          <cx:pt idx="100761">2</cx:pt>
          <cx:pt idx="100762">5</cx:pt>
          <cx:pt idx="100763">2</cx:pt>
          <cx:pt idx="100764">0</cx:pt>
          <cx:pt idx="100765">0</cx:pt>
          <cx:pt idx="100766">5</cx:pt>
          <cx:pt idx="100767">5</cx:pt>
          <cx:pt idx="100768">5</cx:pt>
          <cx:pt idx="100769">2</cx:pt>
          <cx:pt idx="100770">2</cx:pt>
          <cx:pt idx="100771">4</cx:pt>
          <cx:pt idx="100772">4</cx:pt>
          <cx:pt idx="100773">3</cx:pt>
          <cx:pt idx="100774">3</cx:pt>
          <cx:pt idx="100775">0</cx:pt>
          <cx:pt idx="100776">2</cx:pt>
          <cx:pt idx="100777">2</cx:pt>
          <cx:pt idx="100778">0</cx:pt>
          <cx:pt idx="100779">4</cx:pt>
          <cx:pt idx="100780">2</cx:pt>
          <cx:pt idx="100781">4</cx:pt>
          <cx:pt idx="100782">2</cx:pt>
          <cx:pt idx="100783">1</cx:pt>
          <cx:pt idx="100784">5</cx:pt>
          <cx:pt idx="100785">4</cx:pt>
          <cx:pt idx="100786">1</cx:pt>
          <cx:pt idx="100787">3</cx:pt>
          <cx:pt idx="100788">4</cx:pt>
          <cx:pt idx="100789">4</cx:pt>
          <cx:pt idx="100790">4</cx:pt>
          <cx:pt idx="100791">5</cx:pt>
          <cx:pt idx="100792">3</cx:pt>
          <cx:pt idx="100793">4</cx:pt>
          <cx:pt idx="100794">0</cx:pt>
          <cx:pt idx="100795">3</cx:pt>
          <cx:pt idx="100796">5</cx:pt>
          <cx:pt idx="100797">3</cx:pt>
          <cx:pt idx="100798">5</cx:pt>
          <cx:pt idx="100799">5</cx:pt>
          <cx:pt idx="100800">4</cx:pt>
          <cx:pt idx="100801">1</cx:pt>
          <cx:pt idx="100802">3</cx:pt>
          <cx:pt idx="100803">5</cx:pt>
          <cx:pt idx="100804">3</cx:pt>
          <cx:pt idx="100805">5</cx:pt>
          <cx:pt idx="100806">4</cx:pt>
          <cx:pt idx="100807">2</cx:pt>
          <cx:pt idx="100808">4</cx:pt>
          <cx:pt idx="100809">3</cx:pt>
          <cx:pt idx="100810">5</cx:pt>
          <cx:pt idx="100811">3</cx:pt>
          <cx:pt idx="100812">3</cx:pt>
          <cx:pt idx="100813">0</cx:pt>
          <cx:pt idx="100814">3</cx:pt>
          <cx:pt idx="100815">4</cx:pt>
          <cx:pt idx="100816">1</cx:pt>
          <cx:pt idx="100817">4</cx:pt>
          <cx:pt idx="100818">2</cx:pt>
          <cx:pt idx="100819">3</cx:pt>
          <cx:pt idx="100820">1</cx:pt>
          <cx:pt idx="100821">1</cx:pt>
          <cx:pt idx="100822">4</cx:pt>
          <cx:pt idx="100823">5</cx:pt>
          <cx:pt idx="100824">2</cx:pt>
          <cx:pt idx="100825">2</cx:pt>
          <cx:pt idx="100826">2</cx:pt>
          <cx:pt idx="100827">5</cx:pt>
          <cx:pt idx="100828">3</cx:pt>
          <cx:pt idx="100829">2</cx:pt>
          <cx:pt idx="100830">1</cx:pt>
          <cx:pt idx="100831">3</cx:pt>
          <cx:pt idx="100832">3</cx:pt>
          <cx:pt idx="100833">1</cx:pt>
          <cx:pt idx="100834">1</cx:pt>
          <cx:pt idx="100835">0</cx:pt>
          <cx:pt idx="100836">0</cx:pt>
          <cx:pt idx="100837">4</cx:pt>
          <cx:pt idx="100838">2</cx:pt>
          <cx:pt idx="100839">3</cx:pt>
          <cx:pt idx="100840">2</cx:pt>
          <cx:pt idx="100841">4</cx:pt>
          <cx:pt idx="100842">2</cx:pt>
          <cx:pt idx="100843">5</cx:pt>
          <cx:pt idx="100844">1</cx:pt>
          <cx:pt idx="100845">3</cx:pt>
          <cx:pt idx="100846">1</cx:pt>
          <cx:pt idx="100847">1</cx:pt>
          <cx:pt idx="100848">5</cx:pt>
          <cx:pt idx="100849">0</cx:pt>
          <cx:pt idx="100850">2</cx:pt>
          <cx:pt idx="100851">2</cx:pt>
          <cx:pt idx="100852">3</cx:pt>
          <cx:pt idx="100853">3</cx:pt>
          <cx:pt idx="100854">1</cx:pt>
          <cx:pt idx="100855">2</cx:pt>
          <cx:pt idx="100856">2</cx:pt>
          <cx:pt idx="100857">2</cx:pt>
          <cx:pt idx="100858">2</cx:pt>
          <cx:pt idx="100859">5</cx:pt>
          <cx:pt idx="100860">3</cx:pt>
          <cx:pt idx="100861">2</cx:pt>
          <cx:pt idx="100862">3</cx:pt>
          <cx:pt idx="100863">2</cx:pt>
          <cx:pt idx="100864">3</cx:pt>
          <cx:pt idx="100865">3</cx:pt>
          <cx:pt idx="100866">2</cx:pt>
          <cx:pt idx="100867">5</cx:pt>
          <cx:pt idx="100868">5</cx:pt>
          <cx:pt idx="100869">3</cx:pt>
          <cx:pt idx="100870">2</cx:pt>
          <cx:pt idx="100871">0</cx:pt>
          <cx:pt idx="100872">4</cx:pt>
          <cx:pt idx="100873">4</cx:pt>
          <cx:pt idx="100874">1</cx:pt>
          <cx:pt idx="100875">1</cx:pt>
          <cx:pt idx="100876">3</cx:pt>
          <cx:pt idx="100877">1</cx:pt>
          <cx:pt idx="100878">4</cx:pt>
          <cx:pt idx="100879">2</cx:pt>
          <cx:pt idx="100880">3</cx:pt>
          <cx:pt idx="100881">1</cx:pt>
          <cx:pt idx="100882">3</cx:pt>
          <cx:pt idx="100883">5</cx:pt>
          <cx:pt idx="100884">5</cx:pt>
          <cx:pt idx="100885">1</cx:pt>
          <cx:pt idx="100886">2</cx:pt>
          <cx:pt idx="100887">2</cx:pt>
          <cx:pt idx="100888">4</cx:pt>
          <cx:pt idx="100889">4</cx:pt>
          <cx:pt idx="100890">0</cx:pt>
          <cx:pt idx="100891">2</cx:pt>
          <cx:pt idx="100892">3</cx:pt>
          <cx:pt idx="100893">2</cx:pt>
          <cx:pt idx="100894">5</cx:pt>
          <cx:pt idx="100895">4</cx:pt>
          <cx:pt idx="100896">4</cx:pt>
          <cx:pt idx="100897">2</cx:pt>
          <cx:pt idx="100898">2</cx:pt>
          <cx:pt idx="100899">4</cx:pt>
          <cx:pt idx="100900">3</cx:pt>
          <cx:pt idx="100901">1</cx:pt>
          <cx:pt idx="100902">3</cx:pt>
          <cx:pt idx="100903">2</cx:pt>
          <cx:pt idx="100904">1</cx:pt>
          <cx:pt idx="100905">2</cx:pt>
          <cx:pt idx="100906">2</cx:pt>
          <cx:pt idx="100907">1</cx:pt>
          <cx:pt idx="100908">2</cx:pt>
          <cx:pt idx="100909">2</cx:pt>
          <cx:pt idx="100910">2</cx:pt>
          <cx:pt idx="100911">2</cx:pt>
          <cx:pt idx="100912">4</cx:pt>
          <cx:pt idx="100913">3</cx:pt>
          <cx:pt idx="100914">4</cx:pt>
          <cx:pt idx="100915">1</cx:pt>
          <cx:pt idx="100916">1</cx:pt>
          <cx:pt idx="100917">5</cx:pt>
          <cx:pt idx="100918">3</cx:pt>
          <cx:pt idx="100919">3</cx:pt>
          <cx:pt idx="100920">3</cx:pt>
          <cx:pt idx="100921">5</cx:pt>
          <cx:pt idx="100922">3</cx:pt>
          <cx:pt idx="100923">3</cx:pt>
          <cx:pt idx="100924">1</cx:pt>
          <cx:pt idx="100925">2</cx:pt>
          <cx:pt idx="100926">0</cx:pt>
          <cx:pt idx="100927">3</cx:pt>
          <cx:pt idx="100928">2</cx:pt>
          <cx:pt idx="100929">3</cx:pt>
          <cx:pt idx="100930">4</cx:pt>
          <cx:pt idx="100931">2</cx:pt>
          <cx:pt idx="100932">3</cx:pt>
          <cx:pt idx="100933">4</cx:pt>
          <cx:pt idx="100934">5</cx:pt>
          <cx:pt idx="100935">1</cx:pt>
          <cx:pt idx="100936">0</cx:pt>
          <cx:pt idx="100937">4</cx:pt>
          <cx:pt idx="100938">1</cx:pt>
          <cx:pt idx="100939">2</cx:pt>
          <cx:pt idx="100940">1</cx:pt>
          <cx:pt idx="100941">3</cx:pt>
          <cx:pt idx="100942">4</cx:pt>
          <cx:pt idx="100943">1</cx:pt>
          <cx:pt idx="100944">0</cx:pt>
          <cx:pt idx="100945">1</cx:pt>
          <cx:pt idx="100946">5</cx:pt>
          <cx:pt idx="100947">5</cx:pt>
          <cx:pt idx="100948">4</cx:pt>
          <cx:pt idx="100949">1</cx:pt>
          <cx:pt idx="100950">5</cx:pt>
          <cx:pt idx="100951">5</cx:pt>
          <cx:pt idx="100952">3</cx:pt>
          <cx:pt idx="100953">4</cx:pt>
          <cx:pt idx="100954">3</cx:pt>
          <cx:pt idx="100955">4</cx:pt>
          <cx:pt idx="100956">5</cx:pt>
          <cx:pt idx="100957">3</cx:pt>
          <cx:pt idx="100958">5</cx:pt>
          <cx:pt idx="100959">1</cx:pt>
          <cx:pt idx="100960">5</cx:pt>
          <cx:pt idx="100961">5</cx:pt>
          <cx:pt idx="100962">2</cx:pt>
          <cx:pt idx="100963">0</cx:pt>
          <cx:pt idx="100964">2</cx:pt>
          <cx:pt idx="100965">2</cx:pt>
          <cx:pt idx="100966">3</cx:pt>
          <cx:pt idx="100967">2</cx:pt>
          <cx:pt idx="100968">1</cx:pt>
          <cx:pt idx="100969">0</cx:pt>
          <cx:pt idx="100970">3</cx:pt>
          <cx:pt idx="100971">3</cx:pt>
          <cx:pt idx="100972">3</cx:pt>
          <cx:pt idx="100973">2</cx:pt>
          <cx:pt idx="100974">1</cx:pt>
          <cx:pt idx="100975">4</cx:pt>
          <cx:pt idx="100976">5</cx:pt>
          <cx:pt idx="100977">3</cx:pt>
          <cx:pt idx="100978">3</cx:pt>
          <cx:pt idx="100979">2</cx:pt>
          <cx:pt idx="100980">3</cx:pt>
          <cx:pt idx="100981">3</cx:pt>
          <cx:pt idx="100982">4</cx:pt>
          <cx:pt idx="100983">3</cx:pt>
          <cx:pt idx="100984">2</cx:pt>
          <cx:pt idx="100985">5</cx:pt>
          <cx:pt idx="100986">4</cx:pt>
          <cx:pt idx="100987">3</cx:pt>
          <cx:pt idx="100988">3</cx:pt>
          <cx:pt idx="100989">5</cx:pt>
          <cx:pt idx="100990">3</cx:pt>
          <cx:pt idx="100991">2</cx:pt>
          <cx:pt idx="100992">0</cx:pt>
          <cx:pt idx="100993">2</cx:pt>
          <cx:pt idx="100994">5</cx:pt>
          <cx:pt idx="100995">5</cx:pt>
          <cx:pt idx="100996">2</cx:pt>
          <cx:pt idx="100997">3</cx:pt>
          <cx:pt idx="100998">1</cx:pt>
          <cx:pt idx="100999">1</cx:pt>
          <cx:pt idx="101000">2</cx:pt>
          <cx:pt idx="101001">1</cx:pt>
          <cx:pt idx="101002">3</cx:pt>
          <cx:pt idx="101003">3</cx:pt>
          <cx:pt idx="101004">3</cx:pt>
          <cx:pt idx="101005">2</cx:pt>
          <cx:pt idx="101006">1</cx:pt>
          <cx:pt idx="101007">1</cx:pt>
          <cx:pt idx="101008">1</cx:pt>
          <cx:pt idx="101009">2</cx:pt>
          <cx:pt idx="101010">1</cx:pt>
          <cx:pt idx="101011">1</cx:pt>
          <cx:pt idx="101012">2</cx:pt>
          <cx:pt idx="101013">2</cx:pt>
          <cx:pt idx="101014">2</cx:pt>
          <cx:pt idx="101015">5</cx:pt>
          <cx:pt idx="101016">1</cx:pt>
          <cx:pt idx="101017">4</cx:pt>
          <cx:pt idx="101018">1</cx:pt>
          <cx:pt idx="101019">5</cx:pt>
          <cx:pt idx="101020">2</cx:pt>
          <cx:pt idx="101021">5</cx:pt>
          <cx:pt idx="101022">3</cx:pt>
          <cx:pt idx="101023">4</cx:pt>
          <cx:pt idx="101024">2</cx:pt>
          <cx:pt idx="101025">2</cx:pt>
          <cx:pt idx="101026">5</cx:pt>
          <cx:pt idx="101027">1</cx:pt>
          <cx:pt idx="101028">2</cx:pt>
          <cx:pt idx="101029">2</cx:pt>
          <cx:pt idx="101030">5</cx:pt>
          <cx:pt idx="101031">3</cx:pt>
          <cx:pt idx="101032">4</cx:pt>
          <cx:pt idx="101033">3</cx:pt>
          <cx:pt idx="101034">3</cx:pt>
          <cx:pt idx="101035">4</cx:pt>
          <cx:pt idx="101036">2</cx:pt>
          <cx:pt idx="101037">4</cx:pt>
          <cx:pt idx="101038">0</cx:pt>
          <cx:pt idx="101039">4</cx:pt>
          <cx:pt idx="101040">2</cx:pt>
          <cx:pt idx="101041">4</cx:pt>
          <cx:pt idx="101042">1</cx:pt>
          <cx:pt idx="101043">2</cx:pt>
          <cx:pt idx="101044">1</cx:pt>
          <cx:pt idx="101045">3</cx:pt>
          <cx:pt idx="101046">3</cx:pt>
          <cx:pt idx="101047">2</cx:pt>
          <cx:pt idx="101048">2</cx:pt>
          <cx:pt idx="101049">2</cx:pt>
          <cx:pt idx="101050">3</cx:pt>
          <cx:pt idx="101051">5</cx:pt>
          <cx:pt idx="101052">2</cx:pt>
          <cx:pt idx="101053">1</cx:pt>
          <cx:pt idx="101054">0</cx:pt>
          <cx:pt idx="101055">4</cx:pt>
          <cx:pt idx="101056">2</cx:pt>
          <cx:pt idx="101057">2</cx:pt>
          <cx:pt idx="101058">1</cx:pt>
          <cx:pt idx="101059">2</cx:pt>
          <cx:pt idx="101060">5</cx:pt>
          <cx:pt idx="101061">3</cx:pt>
          <cx:pt idx="101062">1</cx:pt>
          <cx:pt idx="101063">5</cx:pt>
          <cx:pt idx="101064">1</cx:pt>
          <cx:pt idx="101065">3</cx:pt>
          <cx:pt idx="101066">0</cx:pt>
          <cx:pt idx="101067">2</cx:pt>
          <cx:pt idx="101068">2</cx:pt>
          <cx:pt idx="101069">3</cx:pt>
          <cx:pt idx="101070">1</cx:pt>
          <cx:pt idx="101071">1</cx:pt>
          <cx:pt idx="101072">3</cx:pt>
          <cx:pt idx="101073">5</cx:pt>
          <cx:pt idx="101074">2</cx:pt>
          <cx:pt idx="101075">2</cx:pt>
          <cx:pt idx="101076">4</cx:pt>
          <cx:pt idx="101077">2</cx:pt>
          <cx:pt idx="101078">2</cx:pt>
          <cx:pt idx="101079">5</cx:pt>
          <cx:pt idx="101080">2</cx:pt>
          <cx:pt idx="101081">4</cx:pt>
          <cx:pt idx="101082">4</cx:pt>
          <cx:pt idx="101083">3</cx:pt>
          <cx:pt idx="101084">1</cx:pt>
          <cx:pt idx="101085">2</cx:pt>
          <cx:pt idx="101086">1</cx:pt>
          <cx:pt idx="101087">4</cx:pt>
          <cx:pt idx="101088">2</cx:pt>
          <cx:pt idx="101089">0</cx:pt>
          <cx:pt idx="101090">2</cx:pt>
          <cx:pt idx="101091">5</cx:pt>
          <cx:pt idx="101092">0</cx:pt>
          <cx:pt idx="101093">1</cx:pt>
          <cx:pt idx="101094">4</cx:pt>
          <cx:pt idx="101095">3</cx:pt>
          <cx:pt idx="101096">1</cx:pt>
          <cx:pt idx="101097">5</cx:pt>
          <cx:pt idx="101098">3</cx:pt>
          <cx:pt idx="101099">2</cx:pt>
          <cx:pt idx="101100">1</cx:pt>
          <cx:pt idx="101101">5</cx:pt>
          <cx:pt idx="101102">3</cx:pt>
          <cx:pt idx="101103">3</cx:pt>
          <cx:pt idx="101104">3</cx:pt>
          <cx:pt idx="101105">3</cx:pt>
          <cx:pt idx="101106">2</cx:pt>
          <cx:pt idx="101107">1</cx:pt>
          <cx:pt idx="101108">1</cx:pt>
          <cx:pt idx="101109">2</cx:pt>
          <cx:pt idx="101110">5</cx:pt>
          <cx:pt idx="101111">4</cx:pt>
          <cx:pt idx="101112">1</cx:pt>
          <cx:pt idx="101113">3</cx:pt>
          <cx:pt idx="101114">2</cx:pt>
          <cx:pt idx="101115">2</cx:pt>
          <cx:pt idx="101116">4</cx:pt>
          <cx:pt idx="101117">1</cx:pt>
          <cx:pt idx="101118">1</cx:pt>
          <cx:pt idx="101119">0</cx:pt>
          <cx:pt idx="101120">3</cx:pt>
          <cx:pt idx="101121">2</cx:pt>
          <cx:pt idx="101122">3</cx:pt>
          <cx:pt idx="101123">2</cx:pt>
          <cx:pt idx="101124">1</cx:pt>
          <cx:pt idx="101125">3</cx:pt>
          <cx:pt idx="101126">3</cx:pt>
          <cx:pt idx="101127">5</cx:pt>
          <cx:pt idx="101128">3</cx:pt>
          <cx:pt idx="101129">1</cx:pt>
          <cx:pt idx="101130">5</cx:pt>
          <cx:pt idx="101131">2</cx:pt>
          <cx:pt idx="101132">0</cx:pt>
          <cx:pt idx="101133">2</cx:pt>
          <cx:pt idx="101134">2</cx:pt>
          <cx:pt idx="101135">2</cx:pt>
          <cx:pt idx="101136">4</cx:pt>
          <cx:pt idx="101137">0</cx:pt>
          <cx:pt idx="101138">2</cx:pt>
          <cx:pt idx="101139">2</cx:pt>
          <cx:pt idx="101140">4</cx:pt>
          <cx:pt idx="101141">2</cx:pt>
          <cx:pt idx="101142">1</cx:pt>
          <cx:pt idx="101143">4</cx:pt>
          <cx:pt idx="101144">4</cx:pt>
          <cx:pt idx="101145">2</cx:pt>
          <cx:pt idx="101146">2</cx:pt>
          <cx:pt idx="101147">2</cx:pt>
          <cx:pt idx="101148">3</cx:pt>
          <cx:pt idx="101149">2</cx:pt>
          <cx:pt idx="101150">4</cx:pt>
          <cx:pt idx="101151">2</cx:pt>
          <cx:pt idx="101152">3</cx:pt>
          <cx:pt idx="101153">2</cx:pt>
          <cx:pt idx="101154">1</cx:pt>
          <cx:pt idx="101155">4</cx:pt>
          <cx:pt idx="101156">2</cx:pt>
          <cx:pt idx="101157">5</cx:pt>
          <cx:pt idx="101158">2</cx:pt>
          <cx:pt idx="101159">4</cx:pt>
          <cx:pt idx="101160">0</cx:pt>
          <cx:pt idx="101161">1</cx:pt>
          <cx:pt idx="101162">3</cx:pt>
          <cx:pt idx="101163">2</cx:pt>
          <cx:pt idx="101164">2</cx:pt>
          <cx:pt idx="101165">4</cx:pt>
          <cx:pt idx="101166">4</cx:pt>
          <cx:pt idx="101167">4</cx:pt>
          <cx:pt idx="101168">3</cx:pt>
          <cx:pt idx="101169">4</cx:pt>
          <cx:pt idx="101170">5</cx:pt>
          <cx:pt idx="101171">2</cx:pt>
          <cx:pt idx="101172">3</cx:pt>
          <cx:pt idx="101173">1</cx:pt>
          <cx:pt idx="101174">2</cx:pt>
          <cx:pt idx="101175">3</cx:pt>
          <cx:pt idx="101176">5</cx:pt>
          <cx:pt idx="101177">2</cx:pt>
          <cx:pt idx="101178">1</cx:pt>
          <cx:pt idx="101179">3</cx:pt>
          <cx:pt idx="101180">2</cx:pt>
          <cx:pt idx="101181">3</cx:pt>
          <cx:pt idx="101182">4</cx:pt>
          <cx:pt idx="101183">4</cx:pt>
          <cx:pt idx="101184">3</cx:pt>
          <cx:pt idx="101185">5</cx:pt>
          <cx:pt idx="101186">4</cx:pt>
          <cx:pt idx="101187">3</cx:pt>
          <cx:pt idx="101188">3</cx:pt>
          <cx:pt idx="101189">3</cx:pt>
          <cx:pt idx="101190">1</cx:pt>
          <cx:pt idx="101191">0</cx:pt>
          <cx:pt idx="101192">2</cx:pt>
          <cx:pt idx="101193">1</cx:pt>
          <cx:pt idx="101194">2</cx:pt>
          <cx:pt idx="101195">3</cx:pt>
          <cx:pt idx="101196">2</cx:pt>
          <cx:pt idx="101197">4</cx:pt>
          <cx:pt idx="101198">2</cx:pt>
          <cx:pt idx="101199">3</cx:pt>
          <cx:pt idx="101200">3</cx:pt>
          <cx:pt idx="101201">4</cx:pt>
          <cx:pt idx="101202">1</cx:pt>
          <cx:pt idx="101203">2</cx:pt>
          <cx:pt idx="101204">1</cx:pt>
          <cx:pt idx="101205">0</cx:pt>
          <cx:pt idx="101206">3</cx:pt>
          <cx:pt idx="101207">2</cx:pt>
          <cx:pt idx="101208">1</cx:pt>
          <cx:pt idx="101209">5</cx:pt>
          <cx:pt idx="101210">0</cx:pt>
          <cx:pt idx="101211">1</cx:pt>
          <cx:pt idx="101212">1</cx:pt>
          <cx:pt idx="101213">4</cx:pt>
          <cx:pt idx="101214">4</cx:pt>
          <cx:pt idx="101215">3</cx:pt>
          <cx:pt idx="101216">2</cx:pt>
          <cx:pt idx="101217">5</cx:pt>
          <cx:pt idx="101218">5</cx:pt>
          <cx:pt idx="101219">4</cx:pt>
          <cx:pt idx="101220">5</cx:pt>
          <cx:pt idx="101221">2</cx:pt>
          <cx:pt idx="101222">2</cx:pt>
          <cx:pt idx="101223">5</cx:pt>
          <cx:pt idx="101224">5</cx:pt>
          <cx:pt idx="101225">4</cx:pt>
          <cx:pt idx="101226">1</cx:pt>
          <cx:pt idx="101227">3</cx:pt>
          <cx:pt idx="101228">4</cx:pt>
          <cx:pt idx="101229">2</cx:pt>
          <cx:pt idx="101230">4</cx:pt>
          <cx:pt idx="101231">3</cx:pt>
          <cx:pt idx="101232">2</cx:pt>
          <cx:pt idx="101233">2</cx:pt>
          <cx:pt idx="101234">3</cx:pt>
          <cx:pt idx="101235">3</cx:pt>
          <cx:pt idx="101236">4</cx:pt>
          <cx:pt idx="101237">3</cx:pt>
          <cx:pt idx="101238">1</cx:pt>
          <cx:pt idx="101239">1</cx:pt>
          <cx:pt idx="101240">2</cx:pt>
          <cx:pt idx="101241">1</cx:pt>
          <cx:pt idx="101242">3</cx:pt>
          <cx:pt idx="101243">1</cx:pt>
          <cx:pt idx="101244">3</cx:pt>
          <cx:pt idx="101245">5</cx:pt>
          <cx:pt idx="101246">2</cx:pt>
          <cx:pt idx="101247">5</cx:pt>
          <cx:pt idx="101248">5</cx:pt>
          <cx:pt idx="101249">1</cx:pt>
          <cx:pt idx="101250">2</cx:pt>
          <cx:pt idx="101251">3</cx:pt>
          <cx:pt idx="101252">4</cx:pt>
          <cx:pt idx="101253">1</cx:pt>
          <cx:pt idx="101254">1</cx:pt>
          <cx:pt idx="101255">0</cx:pt>
          <cx:pt idx="101256">0</cx:pt>
          <cx:pt idx="101257">2</cx:pt>
          <cx:pt idx="101258">3</cx:pt>
          <cx:pt idx="101259">4</cx:pt>
          <cx:pt idx="101260">1</cx:pt>
          <cx:pt idx="101261">2</cx:pt>
          <cx:pt idx="101262">3</cx:pt>
          <cx:pt idx="101263">2</cx:pt>
          <cx:pt idx="101264">1</cx:pt>
          <cx:pt idx="101265">3</cx:pt>
          <cx:pt idx="101266">5</cx:pt>
          <cx:pt idx="101267">0</cx:pt>
          <cx:pt idx="101268">1</cx:pt>
          <cx:pt idx="101269">2</cx:pt>
          <cx:pt idx="101270">5</cx:pt>
          <cx:pt idx="101271">2</cx:pt>
          <cx:pt idx="101272">1</cx:pt>
          <cx:pt idx="101273">2</cx:pt>
          <cx:pt idx="101274">0</cx:pt>
          <cx:pt idx="101275">3</cx:pt>
          <cx:pt idx="101276">1</cx:pt>
          <cx:pt idx="101277">3</cx:pt>
          <cx:pt idx="101278">1</cx:pt>
          <cx:pt idx="101279">3</cx:pt>
          <cx:pt idx="101280">3</cx:pt>
          <cx:pt idx="101281">3</cx:pt>
          <cx:pt idx="101282">4</cx:pt>
          <cx:pt idx="101283">1</cx:pt>
          <cx:pt idx="101284">5</cx:pt>
          <cx:pt idx="101285">4</cx:pt>
          <cx:pt idx="101286">1</cx:pt>
          <cx:pt idx="101287">1</cx:pt>
          <cx:pt idx="101288">4</cx:pt>
          <cx:pt idx="101289">4</cx:pt>
          <cx:pt idx="101290">0</cx:pt>
          <cx:pt idx="101291">2</cx:pt>
          <cx:pt idx="101292">5</cx:pt>
          <cx:pt idx="101293">4</cx:pt>
          <cx:pt idx="101294">5</cx:pt>
          <cx:pt idx="101295">5</cx:pt>
          <cx:pt idx="101296">1</cx:pt>
          <cx:pt idx="101297">2</cx:pt>
          <cx:pt idx="101298">2</cx:pt>
          <cx:pt idx="101299">5</cx:pt>
          <cx:pt idx="101300">1</cx:pt>
          <cx:pt idx="101301">4</cx:pt>
          <cx:pt idx="101302">3</cx:pt>
          <cx:pt idx="101303">0</cx:pt>
          <cx:pt idx="101304">2</cx:pt>
          <cx:pt idx="101305">4</cx:pt>
          <cx:pt idx="101306">3</cx:pt>
          <cx:pt idx="101307">1</cx:pt>
          <cx:pt idx="101308">3</cx:pt>
          <cx:pt idx="101309">4</cx:pt>
          <cx:pt idx="101310">5</cx:pt>
          <cx:pt idx="101311">2</cx:pt>
          <cx:pt idx="101312">1</cx:pt>
          <cx:pt idx="101313">0</cx:pt>
          <cx:pt idx="101314">1</cx:pt>
          <cx:pt idx="101315">4</cx:pt>
          <cx:pt idx="101316">5</cx:pt>
          <cx:pt idx="101317">4</cx:pt>
          <cx:pt idx="101318">4</cx:pt>
          <cx:pt idx="101319">1</cx:pt>
          <cx:pt idx="101320">4</cx:pt>
          <cx:pt idx="101321">1</cx:pt>
          <cx:pt idx="101322">1</cx:pt>
          <cx:pt idx="101323">4</cx:pt>
          <cx:pt idx="101324">2</cx:pt>
          <cx:pt idx="101325">5</cx:pt>
          <cx:pt idx="101326">4</cx:pt>
          <cx:pt idx="101327">5</cx:pt>
          <cx:pt idx="101328">3</cx:pt>
          <cx:pt idx="101329">1</cx:pt>
          <cx:pt idx="101330">1</cx:pt>
          <cx:pt idx="101331">3</cx:pt>
          <cx:pt idx="101332">2</cx:pt>
          <cx:pt idx="101333">4</cx:pt>
          <cx:pt idx="101334">5</cx:pt>
          <cx:pt idx="101335">5</cx:pt>
          <cx:pt idx="101336">5</cx:pt>
          <cx:pt idx="101337">4</cx:pt>
          <cx:pt idx="101338">1</cx:pt>
          <cx:pt idx="101339">1</cx:pt>
          <cx:pt idx="101340">4</cx:pt>
          <cx:pt idx="101341">2</cx:pt>
          <cx:pt idx="101342">2</cx:pt>
          <cx:pt idx="101343">4</cx:pt>
          <cx:pt idx="101344">1</cx:pt>
          <cx:pt idx="101345">4</cx:pt>
          <cx:pt idx="101346">1</cx:pt>
          <cx:pt idx="101347">3</cx:pt>
          <cx:pt idx="101348">2</cx:pt>
          <cx:pt idx="101349">5</cx:pt>
          <cx:pt idx="101350">3</cx:pt>
          <cx:pt idx="101351">2</cx:pt>
          <cx:pt idx="101352">2</cx:pt>
          <cx:pt idx="101353">1</cx:pt>
          <cx:pt idx="101354">4</cx:pt>
          <cx:pt idx="101355">4</cx:pt>
          <cx:pt idx="101356">4</cx:pt>
          <cx:pt idx="101357">4</cx:pt>
          <cx:pt idx="101358">3</cx:pt>
          <cx:pt idx="101359">5</cx:pt>
          <cx:pt idx="101360">4</cx:pt>
          <cx:pt idx="101361">3</cx:pt>
          <cx:pt idx="101362">3</cx:pt>
          <cx:pt idx="101363">2</cx:pt>
          <cx:pt idx="101364">5</cx:pt>
          <cx:pt idx="101365">2</cx:pt>
          <cx:pt idx="101366">5</cx:pt>
          <cx:pt idx="101367">5</cx:pt>
          <cx:pt idx="101368">4</cx:pt>
          <cx:pt idx="101369">5</cx:pt>
          <cx:pt idx="101370">1</cx:pt>
          <cx:pt idx="101371">4</cx:pt>
          <cx:pt idx="101372">5</cx:pt>
          <cx:pt idx="101373">1</cx:pt>
          <cx:pt idx="101374">5</cx:pt>
          <cx:pt idx="101375">4</cx:pt>
          <cx:pt idx="101376">3</cx:pt>
          <cx:pt idx="101377">4</cx:pt>
          <cx:pt idx="101378">3</cx:pt>
          <cx:pt idx="101379">4</cx:pt>
          <cx:pt idx="101380">4</cx:pt>
          <cx:pt idx="101381">4</cx:pt>
          <cx:pt idx="101382">2</cx:pt>
          <cx:pt idx="101383">3</cx:pt>
          <cx:pt idx="101384">3</cx:pt>
          <cx:pt idx="101385">3</cx:pt>
          <cx:pt idx="101386">5</cx:pt>
          <cx:pt idx="101387">3</cx:pt>
          <cx:pt idx="101388">1</cx:pt>
          <cx:pt idx="101389">4</cx:pt>
          <cx:pt idx="101390">4</cx:pt>
          <cx:pt idx="101391">5</cx:pt>
          <cx:pt idx="101392">5</cx:pt>
          <cx:pt idx="101393">2</cx:pt>
          <cx:pt idx="101394">5</cx:pt>
          <cx:pt idx="101395">3</cx:pt>
          <cx:pt idx="101396">4</cx:pt>
          <cx:pt idx="101397">1</cx:pt>
          <cx:pt idx="101398">2</cx:pt>
          <cx:pt idx="101399">2</cx:pt>
          <cx:pt idx="101400">3</cx:pt>
          <cx:pt idx="101401">2</cx:pt>
          <cx:pt idx="101402">4</cx:pt>
          <cx:pt idx="101403">5</cx:pt>
          <cx:pt idx="101404">4</cx:pt>
          <cx:pt idx="101405">5</cx:pt>
          <cx:pt idx="101406">2</cx:pt>
          <cx:pt idx="101407">4</cx:pt>
          <cx:pt idx="101408">3</cx:pt>
          <cx:pt idx="101409">2</cx:pt>
          <cx:pt idx="101410">3</cx:pt>
          <cx:pt idx="101411">5</cx:pt>
          <cx:pt idx="101412">2</cx:pt>
          <cx:pt idx="101413">3</cx:pt>
          <cx:pt idx="101414">3</cx:pt>
          <cx:pt idx="101415">2</cx:pt>
          <cx:pt idx="101416">3</cx:pt>
          <cx:pt idx="101417">4</cx:pt>
          <cx:pt idx="101418">4</cx:pt>
          <cx:pt idx="101419">4</cx:pt>
          <cx:pt idx="101420">2</cx:pt>
          <cx:pt idx="101421">1</cx:pt>
          <cx:pt idx="101422">2</cx:pt>
          <cx:pt idx="101423">2</cx:pt>
          <cx:pt idx="101424">1</cx:pt>
          <cx:pt idx="101425">3</cx:pt>
          <cx:pt idx="101426">1</cx:pt>
          <cx:pt idx="101427">0</cx:pt>
          <cx:pt idx="101428">4</cx:pt>
          <cx:pt idx="101429">5</cx:pt>
          <cx:pt idx="101430">5</cx:pt>
          <cx:pt idx="101431">4</cx:pt>
          <cx:pt idx="101432">1</cx:pt>
          <cx:pt idx="101433">3</cx:pt>
          <cx:pt idx="101434">1</cx:pt>
          <cx:pt idx="101435">2</cx:pt>
          <cx:pt idx="101436">3</cx:pt>
          <cx:pt idx="101437">1</cx:pt>
          <cx:pt idx="101438">4</cx:pt>
          <cx:pt idx="101439">1</cx:pt>
          <cx:pt idx="101440">3</cx:pt>
          <cx:pt idx="101441">2</cx:pt>
          <cx:pt idx="101442">4</cx:pt>
          <cx:pt idx="101443">3</cx:pt>
          <cx:pt idx="101444">2</cx:pt>
          <cx:pt idx="101445">4</cx:pt>
          <cx:pt idx="101446">4</cx:pt>
          <cx:pt idx="101447">5</cx:pt>
          <cx:pt idx="101448">3</cx:pt>
          <cx:pt idx="101449">3</cx:pt>
          <cx:pt idx="101450">3</cx:pt>
          <cx:pt idx="101451">4</cx:pt>
          <cx:pt idx="101452">5</cx:pt>
          <cx:pt idx="101453">3</cx:pt>
          <cx:pt idx="101454">3</cx:pt>
          <cx:pt idx="101455">5</cx:pt>
          <cx:pt idx="101456">2</cx:pt>
          <cx:pt idx="101457">3</cx:pt>
          <cx:pt idx="101458">3</cx:pt>
          <cx:pt idx="101459">2</cx:pt>
          <cx:pt idx="101460">3</cx:pt>
          <cx:pt idx="101461">2</cx:pt>
          <cx:pt idx="101462">5</cx:pt>
          <cx:pt idx="101463">5</cx:pt>
          <cx:pt idx="101464">3</cx:pt>
          <cx:pt idx="101465">3</cx:pt>
          <cx:pt idx="101466">1</cx:pt>
          <cx:pt idx="101467">2</cx:pt>
          <cx:pt idx="101468">1</cx:pt>
          <cx:pt idx="101469">3</cx:pt>
          <cx:pt idx="101470">3</cx:pt>
          <cx:pt idx="101471">3</cx:pt>
          <cx:pt idx="101472">1</cx:pt>
          <cx:pt idx="101473">0</cx:pt>
          <cx:pt idx="101474">3</cx:pt>
          <cx:pt idx="101475">2</cx:pt>
          <cx:pt idx="101476">3</cx:pt>
          <cx:pt idx="101477">3</cx:pt>
          <cx:pt idx="101478">4</cx:pt>
          <cx:pt idx="101479">2</cx:pt>
          <cx:pt idx="101480">3</cx:pt>
          <cx:pt idx="101481">2</cx:pt>
          <cx:pt idx="101482">2</cx:pt>
          <cx:pt idx="101483">2</cx:pt>
          <cx:pt idx="101484">3</cx:pt>
          <cx:pt idx="101485">5</cx:pt>
          <cx:pt idx="101486">1</cx:pt>
          <cx:pt idx="101487">5</cx:pt>
          <cx:pt idx="101488">1</cx:pt>
          <cx:pt idx="101489">2</cx:pt>
          <cx:pt idx="101490">1</cx:pt>
          <cx:pt idx="101491">4</cx:pt>
          <cx:pt idx="101492">4</cx:pt>
          <cx:pt idx="101493">2</cx:pt>
          <cx:pt idx="101494">4</cx:pt>
          <cx:pt idx="101495">4</cx:pt>
          <cx:pt idx="101496">3</cx:pt>
          <cx:pt idx="101497">1</cx:pt>
          <cx:pt idx="101498">4</cx:pt>
          <cx:pt idx="101499">3</cx:pt>
          <cx:pt idx="101500">2</cx:pt>
          <cx:pt idx="101501">5</cx:pt>
          <cx:pt idx="101502">5</cx:pt>
          <cx:pt idx="101503">3</cx:pt>
          <cx:pt idx="101504">4</cx:pt>
          <cx:pt idx="101505">5</cx:pt>
          <cx:pt idx="101506">4</cx:pt>
          <cx:pt idx="101507">3</cx:pt>
          <cx:pt idx="101508">1</cx:pt>
          <cx:pt idx="101509">3</cx:pt>
          <cx:pt idx="101510">4</cx:pt>
          <cx:pt idx="101511">3</cx:pt>
          <cx:pt idx="101512">5</cx:pt>
          <cx:pt idx="101513">2</cx:pt>
          <cx:pt idx="101514">5</cx:pt>
          <cx:pt idx="101515">3</cx:pt>
          <cx:pt idx="101516">1</cx:pt>
          <cx:pt idx="101517">2</cx:pt>
          <cx:pt idx="101518">1</cx:pt>
          <cx:pt idx="101519">5</cx:pt>
          <cx:pt idx="101520">2</cx:pt>
          <cx:pt idx="101521">3</cx:pt>
          <cx:pt idx="101522">3</cx:pt>
          <cx:pt idx="101523">4</cx:pt>
          <cx:pt idx="101524">3</cx:pt>
          <cx:pt idx="101525">5</cx:pt>
          <cx:pt idx="101526">1</cx:pt>
          <cx:pt idx="101527">2</cx:pt>
          <cx:pt idx="101528">4</cx:pt>
          <cx:pt idx="101529">4</cx:pt>
          <cx:pt idx="101530">1</cx:pt>
          <cx:pt idx="101531">4</cx:pt>
          <cx:pt idx="101532">4</cx:pt>
          <cx:pt idx="101533">5</cx:pt>
          <cx:pt idx="101534">0</cx:pt>
          <cx:pt idx="101535">5</cx:pt>
          <cx:pt idx="101536">2</cx:pt>
          <cx:pt idx="101537">3</cx:pt>
          <cx:pt idx="101538">2</cx:pt>
          <cx:pt idx="101539">1</cx:pt>
          <cx:pt idx="101540">1</cx:pt>
          <cx:pt idx="101541">3</cx:pt>
          <cx:pt idx="101542">2</cx:pt>
          <cx:pt idx="101543">1</cx:pt>
          <cx:pt idx="101544">1</cx:pt>
          <cx:pt idx="101545">2</cx:pt>
          <cx:pt idx="101546">4</cx:pt>
          <cx:pt idx="101547">5</cx:pt>
          <cx:pt idx="101548">4</cx:pt>
          <cx:pt idx="101549">3</cx:pt>
          <cx:pt idx="101550">2</cx:pt>
          <cx:pt idx="101551">2</cx:pt>
          <cx:pt idx="101552">2</cx:pt>
          <cx:pt idx="101553">2</cx:pt>
          <cx:pt idx="101554">4</cx:pt>
          <cx:pt idx="101555">3</cx:pt>
          <cx:pt idx="101556">3</cx:pt>
          <cx:pt idx="101557">3</cx:pt>
          <cx:pt idx="101558">2</cx:pt>
          <cx:pt idx="101559">2</cx:pt>
          <cx:pt idx="101560">1</cx:pt>
          <cx:pt idx="101561">2</cx:pt>
          <cx:pt idx="101562">1</cx:pt>
          <cx:pt idx="101563">2</cx:pt>
          <cx:pt idx="101564">3</cx:pt>
          <cx:pt idx="101565">0</cx:pt>
          <cx:pt idx="101566">1</cx:pt>
          <cx:pt idx="101567">1</cx:pt>
          <cx:pt idx="101568">0</cx:pt>
          <cx:pt idx="101569">1</cx:pt>
          <cx:pt idx="101570">3</cx:pt>
          <cx:pt idx="101571">2</cx:pt>
          <cx:pt idx="101572">2</cx:pt>
          <cx:pt idx="101573">3</cx:pt>
          <cx:pt idx="101574">4</cx:pt>
          <cx:pt idx="101575">2</cx:pt>
          <cx:pt idx="101576">2</cx:pt>
          <cx:pt idx="101577">1</cx:pt>
          <cx:pt idx="101578">2</cx:pt>
          <cx:pt idx="101579">2</cx:pt>
          <cx:pt idx="101580">1</cx:pt>
          <cx:pt idx="101581">2</cx:pt>
          <cx:pt idx="101582">5</cx:pt>
          <cx:pt idx="101583">3</cx:pt>
          <cx:pt idx="101584">2</cx:pt>
          <cx:pt idx="101585">5</cx:pt>
          <cx:pt idx="101586">4</cx:pt>
          <cx:pt idx="101587">5</cx:pt>
          <cx:pt idx="101588">3</cx:pt>
          <cx:pt idx="101589">5</cx:pt>
          <cx:pt idx="101590">0</cx:pt>
          <cx:pt idx="101591">3</cx:pt>
          <cx:pt idx="101592">2</cx:pt>
          <cx:pt idx="101593">1</cx:pt>
          <cx:pt idx="101594">5</cx:pt>
          <cx:pt idx="101595">1</cx:pt>
          <cx:pt idx="101596">2</cx:pt>
          <cx:pt idx="101597">1</cx:pt>
          <cx:pt idx="101598">2</cx:pt>
          <cx:pt idx="101599">3</cx:pt>
          <cx:pt idx="101600">3</cx:pt>
          <cx:pt idx="101601">5</cx:pt>
          <cx:pt idx="101602">3</cx:pt>
          <cx:pt idx="101603">1</cx:pt>
          <cx:pt idx="101604">3</cx:pt>
          <cx:pt idx="101605">1</cx:pt>
          <cx:pt idx="101606">3</cx:pt>
          <cx:pt idx="101607">4</cx:pt>
          <cx:pt idx="101608">3</cx:pt>
          <cx:pt idx="101609">4</cx:pt>
          <cx:pt idx="101610">5</cx:pt>
          <cx:pt idx="101611">0</cx:pt>
          <cx:pt idx="101612">3</cx:pt>
          <cx:pt idx="101613">5</cx:pt>
          <cx:pt idx="101614">3</cx:pt>
          <cx:pt idx="101615">5</cx:pt>
          <cx:pt idx="101616">1</cx:pt>
          <cx:pt idx="101617">4</cx:pt>
          <cx:pt idx="101618">3</cx:pt>
          <cx:pt idx="101619">2</cx:pt>
          <cx:pt idx="101620">4</cx:pt>
          <cx:pt idx="101621">3</cx:pt>
          <cx:pt idx="101622">2</cx:pt>
          <cx:pt idx="101623">3</cx:pt>
          <cx:pt idx="101624">3</cx:pt>
          <cx:pt idx="101625">2</cx:pt>
          <cx:pt idx="101626">0</cx:pt>
          <cx:pt idx="101627">3</cx:pt>
          <cx:pt idx="101628">3</cx:pt>
          <cx:pt idx="101629">2</cx:pt>
          <cx:pt idx="101630">4</cx:pt>
          <cx:pt idx="101631">2</cx:pt>
          <cx:pt idx="101632">5</cx:pt>
          <cx:pt idx="101633">5</cx:pt>
          <cx:pt idx="101634">2</cx:pt>
          <cx:pt idx="101635">2</cx:pt>
          <cx:pt idx="101636">2</cx:pt>
          <cx:pt idx="101637">5</cx:pt>
          <cx:pt idx="101638">1</cx:pt>
          <cx:pt idx="101639">3</cx:pt>
          <cx:pt idx="101640">2</cx:pt>
          <cx:pt idx="101641">1</cx:pt>
          <cx:pt idx="101642">5</cx:pt>
          <cx:pt idx="101643">1</cx:pt>
          <cx:pt idx="101644">2</cx:pt>
          <cx:pt idx="101645">2</cx:pt>
          <cx:pt idx="101646">4</cx:pt>
          <cx:pt idx="101647">4</cx:pt>
          <cx:pt idx="101648">4</cx:pt>
          <cx:pt idx="101649">4</cx:pt>
          <cx:pt idx="101650">3</cx:pt>
          <cx:pt idx="101651">3</cx:pt>
          <cx:pt idx="101652">4</cx:pt>
          <cx:pt idx="101653">2</cx:pt>
          <cx:pt idx="101654">3</cx:pt>
          <cx:pt idx="101655">2</cx:pt>
          <cx:pt idx="101656">2</cx:pt>
          <cx:pt idx="101657">1</cx:pt>
          <cx:pt idx="101658">4</cx:pt>
          <cx:pt idx="101659">5</cx:pt>
          <cx:pt idx="101660">1</cx:pt>
          <cx:pt idx="101661">4</cx:pt>
          <cx:pt idx="101662">1</cx:pt>
          <cx:pt idx="101663">2</cx:pt>
          <cx:pt idx="101664">2</cx:pt>
          <cx:pt idx="101665">4</cx:pt>
          <cx:pt idx="101666">1</cx:pt>
          <cx:pt idx="101667">0</cx:pt>
          <cx:pt idx="101668">2</cx:pt>
          <cx:pt idx="101669">3</cx:pt>
          <cx:pt idx="101670">2</cx:pt>
          <cx:pt idx="101671">3</cx:pt>
          <cx:pt idx="101672">1</cx:pt>
          <cx:pt idx="101673">3</cx:pt>
          <cx:pt idx="101674">5</cx:pt>
          <cx:pt idx="101675">3</cx:pt>
          <cx:pt idx="101676">2</cx:pt>
          <cx:pt idx="101677">2</cx:pt>
          <cx:pt idx="101678">3</cx:pt>
          <cx:pt idx="101679">3</cx:pt>
          <cx:pt idx="101680">5</cx:pt>
          <cx:pt idx="101681">5</cx:pt>
          <cx:pt idx="101682">3</cx:pt>
          <cx:pt idx="101683">1</cx:pt>
          <cx:pt idx="101684">1</cx:pt>
          <cx:pt idx="101685">4</cx:pt>
          <cx:pt idx="101686">2</cx:pt>
          <cx:pt idx="101687">2</cx:pt>
          <cx:pt idx="101688">3</cx:pt>
          <cx:pt idx="101689">1</cx:pt>
          <cx:pt idx="101690">3</cx:pt>
          <cx:pt idx="101691">2</cx:pt>
          <cx:pt idx="101692">4</cx:pt>
          <cx:pt idx="101693">0</cx:pt>
          <cx:pt idx="101694">2</cx:pt>
          <cx:pt idx="101695">1</cx:pt>
          <cx:pt idx="101696">4</cx:pt>
          <cx:pt idx="101697">4</cx:pt>
          <cx:pt idx="101698">1</cx:pt>
          <cx:pt idx="101699">3</cx:pt>
          <cx:pt idx="101700">2</cx:pt>
          <cx:pt idx="101701">1</cx:pt>
          <cx:pt idx="101702">4</cx:pt>
          <cx:pt idx="101703">4</cx:pt>
          <cx:pt idx="101704">4</cx:pt>
          <cx:pt idx="101705">3</cx:pt>
          <cx:pt idx="101706">1</cx:pt>
          <cx:pt idx="101707">0</cx:pt>
          <cx:pt idx="101708">2</cx:pt>
          <cx:pt idx="101709">5</cx:pt>
          <cx:pt idx="101710">3</cx:pt>
          <cx:pt idx="101711">3</cx:pt>
          <cx:pt idx="101712">5</cx:pt>
          <cx:pt idx="101713">3</cx:pt>
          <cx:pt idx="101714">4</cx:pt>
          <cx:pt idx="101715">5</cx:pt>
          <cx:pt idx="101716">5</cx:pt>
          <cx:pt idx="101717">1</cx:pt>
          <cx:pt idx="101718">2</cx:pt>
          <cx:pt idx="101719">2</cx:pt>
          <cx:pt idx="101720">3</cx:pt>
          <cx:pt idx="101721">3</cx:pt>
          <cx:pt idx="101722">5</cx:pt>
          <cx:pt idx="101723">2</cx:pt>
          <cx:pt idx="101724">4</cx:pt>
          <cx:pt idx="101725">1</cx:pt>
          <cx:pt idx="101726">2</cx:pt>
          <cx:pt idx="101727">2</cx:pt>
          <cx:pt idx="101728">4</cx:pt>
          <cx:pt idx="101729">0</cx:pt>
          <cx:pt idx="101730">5</cx:pt>
          <cx:pt idx="101731">1</cx:pt>
          <cx:pt idx="101732">5</cx:pt>
          <cx:pt idx="101733">1</cx:pt>
          <cx:pt idx="101734">0</cx:pt>
          <cx:pt idx="101735">4</cx:pt>
          <cx:pt idx="101736">0</cx:pt>
          <cx:pt idx="101737">3</cx:pt>
          <cx:pt idx="101738">0</cx:pt>
          <cx:pt idx="101739">1</cx:pt>
          <cx:pt idx="101740">2</cx:pt>
          <cx:pt idx="101741">5</cx:pt>
          <cx:pt idx="101742">4</cx:pt>
          <cx:pt idx="101743">1</cx:pt>
          <cx:pt idx="101744">2</cx:pt>
          <cx:pt idx="101745">3</cx:pt>
          <cx:pt idx="101746">5</cx:pt>
          <cx:pt idx="101747">4</cx:pt>
          <cx:pt idx="101748">1</cx:pt>
          <cx:pt idx="101749">1</cx:pt>
          <cx:pt idx="101750">2</cx:pt>
          <cx:pt idx="101751">3</cx:pt>
          <cx:pt idx="101752">1</cx:pt>
          <cx:pt idx="101753">1</cx:pt>
          <cx:pt idx="101754">4</cx:pt>
          <cx:pt idx="101755">2</cx:pt>
          <cx:pt idx="101756">1</cx:pt>
          <cx:pt idx="101757">5</cx:pt>
          <cx:pt idx="101758">5</cx:pt>
          <cx:pt idx="101759">4</cx:pt>
          <cx:pt idx="101760">5</cx:pt>
          <cx:pt idx="101761">3</cx:pt>
          <cx:pt idx="101762">2</cx:pt>
          <cx:pt idx="101763">1</cx:pt>
          <cx:pt idx="101764">5</cx:pt>
          <cx:pt idx="101765">0</cx:pt>
          <cx:pt idx="101766">2</cx:pt>
          <cx:pt idx="101767">4</cx:pt>
          <cx:pt idx="101768">1</cx:pt>
          <cx:pt idx="101769">2</cx:pt>
          <cx:pt idx="101770">5</cx:pt>
          <cx:pt idx="101771">2</cx:pt>
          <cx:pt idx="101772">2</cx:pt>
          <cx:pt idx="101773">5</cx:pt>
          <cx:pt idx="101774">3</cx:pt>
          <cx:pt idx="101775">2</cx:pt>
          <cx:pt idx="101776">1</cx:pt>
          <cx:pt idx="101777">3</cx:pt>
          <cx:pt idx="101778">3</cx:pt>
          <cx:pt idx="101779">2</cx:pt>
          <cx:pt idx="101780">2</cx:pt>
          <cx:pt idx="101781">3</cx:pt>
          <cx:pt idx="101782">2</cx:pt>
          <cx:pt idx="101783">5</cx:pt>
          <cx:pt idx="101784">3</cx:pt>
          <cx:pt idx="101785">4</cx:pt>
          <cx:pt idx="101786">4</cx:pt>
          <cx:pt idx="101787">4</cx:pt>
          <cx:pt idx="101788">1</cx:pt>
          <cx:pt idx="101789">4</cx:pt>
          <cx:pt idx="101790">2</cx:pt>
          <cx:pt idx="101791">3</cx:pt>
          <cx:pt idx="101792">2</cx:pt>
          <cx:pt idx="101793">0</cx:pt>
          <cx:pt idx="101794">0</cx:pt>
          <cx:pt idx="101795">1</cx:pt>
          <cx:pt idx="101796">3</cx:pt>
          <cx:pt idx="101797">3</cx:pt>
          <cx:pt idx="101798">4</cx:pt>
          <cx:pt idx="101799">4</cx:pt>
          <cx:pt idx="101800">1</cx:pt>
          <cx:pt idx="101801">2</cx:pt>
          <cx:pt idx="101802">3</cx:pt>
          <cx:pt idx="101803">5</cx:pt>
          <cx:pt idx="101804">4</cx:pt>
          <cx:pt idx="101805">3</cx:pt>
          <cx:pt idx="101806">5</cx:pt>
          <cx:pt idx="101807">2</cx:pt>
          <cx:pt idx="101808">4</cx:pt>
          <cx:pt idx="101809">3</cx:pt>
          <cx:pt idx="101810">0</cx:pt>
          <cx:pt idx="101811">5</cx:pt>
          <cx:pt idx="101812">2</cx:pt>
          <cx:pt idx="101813">2</cx:pt>
          <cx:pt idx="101814">2</cx:pt>
          <cx:pt idx="101815">5</cx:pt>
          <cx:pt idx="101816">3</cx:pt>
          <cx:pt idx="101817">5</cx:pt>
          <cx:pt idx="101818">3</cx:pt>
          <cx:pt idx="101819">5</cx:pt>
          <cx:pt idx="101820">2</cx:pt>
          <cx:pt idx="101821">3</cx:pt>
          <cx:pt idx="101822">3</cx:pt>
          <cx:pt idx="101823">3</cx:pt>
          <cx:pt idx="101824">3</cx:pt>
          <cx:pt idx="101825">1</cx:pt>
          <cx:pt idx="101826">1</cx:pt>
          <cx:pt idx="101827">3</cx:pt>
          <cx:pt idx="101828">0</cx:pt>
          <cx:pt idx="101829">0</cx:pt>
          <cx:pt idx="101830">3</cx:pt>
          <cx:pt idx="101831">2</cx:pt>
          <cx:pt idx="101832">2</cx:pt>
          <cx:pt idx="101833">1</cx:pt>
          <cx:pt idx="101834">1</cx:pt>
          <cx:pt idx="101835">3</cx:pt>
          <cx:pt idx="101836">3</cx:pt>
          <cx:pt idx="101837">1</cx:pt>
          <cx:pt idx="101838">1</cx:pt>
          <cx:pt idx="101839">3</cx:pt>
          <cx:pt idx="101840">5</cx:pt>
          <cx:pt idx="101841">5</cx:pt>
          <cx:pt idx="101842">2</cx:pt>
          <cx:pt idx="101843">4</cx:pt>
          <cx:pt idx="101844">5</cx:pt>
          <cx:pt idx="101845">4</cx:pt>
          <cx:pt idx="101846">4</cx:pt>
          <cx:pt idx="101847">4</cx:pt>
          <cx:pt idx="101848">3</cx:pt>
          <cx:pt idx="101849">1</cx:pt>
          <cx:pt idx="101850">2</cx:pt>
          <cx:pt idx="101851">2</cx:pt>
          <cx:pt idx="101852">2</cx:pt>
          <cx:pt idx="101853">2</cx:pt>
          <cx:pt idx="101854">3</cx:pt>
          <cx:pt idx="101855">1</cx:pt>
          <cx:pt idx="101856">3</cx:pt>
          <cx:pt idx="101857">4</cx:pt>
          <cx:pt idx="101858">3</cx:pt>
          <cx:pt idx="101859">2</cx:pt>
          <cx:pt idx="101860">1</cx:pt>
          <cx:pt idx="101861">5</cx:pt>
          <cx:pt idx="101862">2</cx:pt>
          <cx:pt idx="101863">3</cx:pt>
          <cx:pt idx="101864">4</cx:pt>
          <cx:pt idx="101865">4</cx:pt>
          <cx:pt idx="101866">4</cx:pt>
          <cx:pt idx="101867">3</cx:pt>
          <cx:pt idx="101868">1</cx:pt>
          <cx:pt idx="101869">2</cx:pt>
          <cx:pt idx="101870">4</cx:pt>
          <cx:pt idx="101871">5</cx:pt>
          <cx:pt idx="101872">3</cx:pt>
          <cx:pt idx="101873">3</cx:pt>
          <cx:pt idx="101874">4</cx:pt>
          <cx:pt idx="101875">2</cx:pt>
          <cx:pt idx="101876">1</cx:pt>
          <cx:pt idx="101877">4</cx:pt>
          <cx:pt idx="101878">5</cx:pt>
          <cx:pt idx="101879">3</cx:pt>
          <cx:pt idx="101880">4</cx:pt>
          <cx:pt idx="101881">4</cx:pt>
          <cx:pt idx="101882">2</cx:pt>
          <cx:pt idx="101883">3</cx:pt>
          <cx:pt idx="101884">2</cx:pt>
          <cx:pt idx="101885">0</cx:pt>
          <cx:pt idx="101886">2</cx:pt>
          <cx:pt idx="101887">2</cx:pt>
          <cx:pt idx="101888">5</cx:pt>
          <cx:pt idx="101889">5</cx:pt>
          <cx:pt idx="101890">1</cx:pt>
          <cx:pt idx="101891">1</cx:pt>
          <cx:pt idx="101892">3</cx:pt>
          <cx:pt idx="101893">3</cx:pt>
          <cx:pt idx="101894">3</cx:pt>
          <cx:pt idx="101895">2</cx:pt>
          <cx:pt idx="101896">5</cx:pt>
          <cx:pt idx="101897">1</cx:pt>
          <cx:pt idx="101898">5</cx:pt>
          <cx:pt idx="101899">3</cx:pt>
          <cx:pt idx="101900">5</cx:pt>
          <cx:pt idx="101901">3</cx:pt>
          <cx:pt idx="101902">5</cx:pt>
          <cx:pt idx="101903">5</cx:pt>
          <cx:pt idx="101904">3</cx:pt>
          <cx:pt idx="101905">4</cx:pt>
          <cx:pt idx="101906">5</cx:pt>
          <cx:pt idx="101907">5</cx:pt>
          <cx:pt idx="101908">4</cx:pt>
          <cx:pt idx="101909">5</cx:pt>
          <cx:pt idx="101910">1</cx:pt>
          <cx:pt idx="101911">0</cx:pt>
          <cx:pt idx="101912">4</cx:pt>
          <cx:pt idx="101913">4</cx:pt>
          <cx:pt idx="101914">3</cx:pt>
          <cx:pt idx="101915">4</cx:pt>
          <cx:pt idx="101916">5</cx:pt>
          <cx:pt idx="101917">3</cx:pt>
          <cx:pt idx="101918">4</cx:pt>
          <cx:pt idx="101919">5</cx:pt>
          <cx:pt idx="101920">0</cx:pt>
          <cx:pt idx="101921">3</cx:pt>
          <cx:pt idx="101922">2</cx:pt>
          <cx:pt idx="101923">3</cx:pt>
          <cx:pt idx="101924">1</cx:pt>
          <cx:pt idx="101925">3</cx:pt>
          <cx:pt idx="101926">1</cx:pt>
          <cx:pt idx="101927">3</cx:pt>
          <cx:pt idx="101928">3</cx:pt>
          <cx:pt idx="101929">5</cx:pt>
          <cx:pt idx="101930">2</cx:pt>
          <cx:pt idx="101931">1</cx:pt>
          <cx:pt idx="101932">2</cx:pt>
          <cx:pt idx="101933">1</cx:pt>
          <cx:pt idx="101934">1</cx:pt>
          <cx:pt idx="101935">4</cx:pt>
          <cx:pt idx="101936">1</cx:pt>
          <cx:pt idx="101937">3</cx:pt>
          <cx:pt idx="101938">3</cx:pt>
          <cx:pt idx="101939">5</cx:pt>
          <cx:pt idx="101940">4</cx:pt>
          <cx:pt idx="101941">2</cx:pt>
          <cx:pt idx="101942">5</cx:pt>
          <cx:pt idx="101943">4</cx:pt>
          <cx:pt idx="101944">3</cx:pt>
          <cx:pt idx="101945">3</cx:pt>
          <cx:pt idx="101946">2</cx:pt>
          <cx:pt idx="101947">3</cx:pt>
          <cx:pt idx="101948">4</cx:pt>
          <cx:pt idx="101949">0</cx:pt>
          <cx:pt idx="101950">4</cx:pt>
          <cx:pt idx="101951">3</cx:pt>
          <cx:pt idx="101952">5</cx:pt>
          <cx:pt idx="101953">3</cx:pt>
          <cx:pt idx="101954">5</cx:pt>
          <cx:pt idx="101955">5</cx:pt>
          <cx:pt idx="101956">1</cx:pt>
          <cx:pt idx="101957">3</cx:pt>
          <cx:pt idx="101958">4</cx:pt>
          <cx:pt idx="101959">3</cx:pt>
          <cx:pt idx="101960">5</cx:pt>
          <cx:pt idx="101961">3</cx:pt>
          <cx:pt idx="101962">4</cx:pt>
          <cx:pt idx="101963">2</cx:pt>
          <cx:pt idx="101964">1</cx:pt>
          <cx:pt idx="101965">1</cx:pt>
          <cx:pt idx="101966">3</cx:pt>
          <cx:pt idx="101967">3</cx:pt>
          <cx:pt idx="101968">0</cx:pt>
          <cx:pt idx="101969">4</cx:pt>
          <cx:pt idx="101970">2</cx:pt>
          <cx:pt idx="101971">2</cx:pt>
          <cx:pt idx="101972">1</cx:pt>
          <cx:pt idx="101973">5</cx:pt>
          <cx:pt idx="101974">2</cx:pt>
          <cx:pt idx="101975">4</cx:pt>
          <cx:pt idx="101976">1</cx:pt>
          <cx:pt idx="101977">1</cx:pt>
          <cx:pt idx="101978">3</cx:pt>
          <cx:pt idx="101979">4</cx:pt>
          <cx:pt idx="101980">4</cx:pt>
          <cx:pt idx="101981">3</cx:pt>
          <cx:pt idx="101982">3</cx:pt>
          <cx:pt idx="101983">1</cx:pt>
          <cx:pt idx="101984">1</cx:pt>
          <cx:pt idx="101985">3</cx:pt>
          <cx:pt idx="101986">3</cx:pt>
          <cx:pt idx="101987">2</cx:pt>
          <cx:pt idx="101988">5</cx:pt>
          <cx:pt idx="101989">4</cx:pt>
          <cx:pt idx="101990">3</cx:pt>
          <cx:pt idx="101991">2</cx:pt>
          <cx:pt idx="101992">1</cx:pt>
          <cx:pt idx="101993">2</cx:pt>
          <cx:pt idx="101994">2</cx:pt>
          <cx:pt idx="101995">1</cx:pt>
          <cx:pt idx="101996">4</cx:pt>
          <cx:pt idx="101997">3</cx:pt>
          <cx:pt idx="101998">2</cx:pt>
          <cx:pt idx="101999">2</cx:pt>
          <cx:pt idx="102000">1</cx:pt>
          <cx:pt idx="102001">1</cx:pt>
          <cx:pt idx="102002">2</cx:pt>
          <cx:pt idx="102003">1</cx:pt>
          <cx:pt idx="102004">3</cx:pt>
          <cx:pt idx="102005">5</cx:pt>
          <cx:pt idx="102006">2</cx:pt>
          <cx:pt idx="102007">4</cx:pt>
          <cx:pt idx="102008">0</cx:pt>
          <cx:pt idx="102009">1</cx:pt>
          <cx:pt idx="102010">2</cx:pt>
          <cx:pt idx="102011">2</cx:pt>
          <cx:pt idx="102012">3</cx:pt>
          <cx:pt idx="102013">3</cx:pt>
          <cx:pt idx="102014">4</cx:pt>
          <cx:pt idx="102015">4</cx:pt>
          <cx:pt idx="102016">2</cx:pt>
          <cx:pt idx="102017">2</cx:pt>
          <cx:pt idx="102018">3</cx:pt>
          <cx:pt idx="102019">4</cx:pt>
          <cx:pt idx="102020">2</cx:pt>
          <cx:pt idx="102021">2</cx:pt>
          <cx:pt idx="102022">4</cx:pt>
          <cx:pt idx="102023">1</cx:pt>
          <cx:pt idx="102024">4</cx:pt>
          <cx:pt idx="102025">0</cx:pt>
          <cx:pt idx="102026">2</cx:pt>
          <cx:pt idx="102027">1</cx:pt>
          <cx:pt idx="102028">2</cx:pt>
          <cx:pt idx="102029">4</cx:pt>
          <cx:pt idx="102030">2</cx:pt>
          <cx:pt idx="102031">3</cx:pt>
          <cx:pt idx="102032">4</cx:pt>
          <cx:pt idx="102033">2</cx:pt>
          <cx:pt idx="102034">3</cx:pt>
          <cx:pt idx="102035">4</cx:pt>
          <cx:pt idx="102036">0</cx:pt>
          <cx:pt idx="102037">2</cx:pt>
          <cx:pt idx="102038">3</cx:pt>
          <cx:pt idx="102039">2</cx:pt>
          <cx:pt idx="102040">1</cx:pt>
          <cx:pt idx="102041">5</cx:pt>
          <cx:pt idx="102042">0</cx:pt>
          <cx:pt idx="102043">3</cx:pt>
          <cx:pt idx="102044">5</cx:pt>
          <cx:pt idx="102045">2</cx:pt>
          <cx:pt idx="102046">2</cx:pt>
          <cx:pt idx="102047">2</cx:pt>
          <cx:pt idx="102048">3</cx:pt>
          <cx:pt idx="102049">3</cx:pt>
          <cx:pt idx="102050">2</cx:pt>
          <cx:pt idx="102051">3</cx:pt>
          <cx:pt idx="102052">3</cx:pt>
          <cx:pt idx="102053">3</cx:pt>
          <cx:pt idx="102054">3</cx:pt>
          <cx:pt idx="102055">5</cx:pt>
          <cx:pt idx="102056">5</cx:pt>
          <cx:pt idx="102057">4</cx:pt>
          <cx:pt idx="102058">0</cx:pt>
          <cx:pt idx="102059">3</cx:pt>
          <cx:pt idx="102060">0</cx:pt>
          <cx:pt idx="102061">1</cx:pt>
          <cx:pt idx="102062">2</cx:pt>
          <cx:pt idx="102063">1</cx:pt>
          <cx:pt idx="102064">1</cx:pt>
          <cx:pt idx="102065">2</cx:pt>
          <cx:pt idx="102066">2</cx:pt>
          <cx:pt idx="102067">2</cx:pt>
          <cx:pt idx="102068">4</cx:pt>
          <cx:pt idx="102069">2</cx:pt>
          <cx:pt idx="102070">3</cx:pt>
          <cx:pt idx="102071">4</cx:pt>
          <cx:pt idx="102072">3</cx:pt>
          <cx:pt idx="102073">2</cx:pt>
          <cx:pt idx="102074">4</cx:pt>
          <cx:pt idx="102075">4</cx:pt>
          <cx:pt idx="102076">3</cx:pt>
          <cx:pt idx="102077">4</cx:pt>
          <cx:pt idx="102078">4</cx:pt>
          <cx:pt idx="102079">0</cx:pt>
          <cx:pt idx="102080">3</cx:pt>
          <cx:pt idx="102081">4</cx:pt>
          <cx:pt idx="102082">4</cx:pt>
          <cx:pt idx="102083">4</cx:pt>
          <cx:pt idx="102084">4</cx:pt>
          <cx:pt idx="102085">2</cx:pt>
          <cx:pt idx="102086">2</cx:pt>
          <cx:pt idx="102087">5</cx:pt>
          <cx:pt idx="102088">4</cx:pt>
          <cx:pt idx="102089">0</cx:pt>
          <cx:pt idx="102090">2</cx:pt>
          <cx:pt idx="102091">3</cx:pt>
          <cx:pt idx="102092">5</cx:pt>
          <cx:pt idx="102093">0</cx:pt>
          <cx:pt idx="102094">1</cx:pt>
          <cx:pt idx="102095">2</cx:pt>
          <cx:pt idx="102096">1</cx:pt>
          <cx:pt idx="102097">3</cx:pt>
          <cx:pt idx="102098">5</cx:pt>
          <cx:pt idx="102099">4</cx:pt>
          <cx:pt idx="102100">3</cx:pt>
          <cx:pt idx="102101">4</cx:pt>
          <cx:pt idx="102102">2</cx:pt>
          <cx:pt idx="102103">0</cx:pt>
          <cx:pt idx="102104">2</cx:pt>
          <cx:pt idx="102105">2</cx:pt>
          <cx:pt idx="102106">3</cx:pt>
          <cx:pt idx="102107">2</cx:pt>
          <cx:pt idx="102108">1</cx:pt>
          <cx:pt idx="102109">4</cx:pt>
          <cx:pt idx="102110">1</cx:pt>
          <cx:pt idx="102111">1</cx:pt>
          <cx:pt idx="102112">4</cx:pt>
          <cx:pt idx="102113">4</cx:pt>
          <cx:pt idx="102114">2</cx:pt>
          <cx:pt idx="102115">1</cx:pt>
          <cx:pt idx="102116">4</cx:pt>
          <cx:pt idx="102117">2</cx:pt>
          <cx:pt idx="102118">2</cx:pt>
          <cx:pt idx="102119">5</cx:pt>
          <cx:pt idx="102120">2</cx:pt>
          <cx:pt idx="102121">1</cx:pt>
          <cx:pt idx="102122">1</cx:pt>
          <cx:pt idx="102123">3</cx:pt>
          <cx:pt idx="102124">1</cx:pt>
          <cx:pt idx="102125">4</cx:pt>
          <cx:pt idx="102126">1</cx:pt>
          <cx:pt idx="102127">1</cx:pt>
          <cx:pt idx="102128">4</cx:pt>
          <cx:pt idx="102129">2</cx:pt>
          <cx:pt idx="102130">3</cx:pt>
          <cx:pt idx="102131">3</cx:pt>
          <cx:pt idx="102132">5</cx:pt>
          <cx:pt idx="102133">3</cx:pt>
          <cx:pt idx="102134">4</cx:pt>
          <cx:pt idx="102135">5</cx:pt>
          <cx:pt idx="102136">3</cx:pt>
          <cx:pt idx="102137">3</cx:pt>
          <cx:pt idx="102138">1</cx:pt>
          <cx:pt idx="102139">2</cx:pt>
          <cx:pt idx="102140">5</cx:pt>
          <cx:pt idx="102141">3</cx:pt>
          <cx:pt idx="102142">4</cx:pt>
          <cx:pt idx="102143">5</cx:pt>
          <cx:pt idx="102144">3</cx:pt>
          <cx:pt idx="102145">1</cx:pt>
          <cx:pt idx="102146">2</cx:pt>
          <cx:pt idx="102147">3</cx:pt>
          <cx:pt idx="102148">3</cx:pt>
          <cx:pt idx="102149">2</cx:pt>
          <cx:pt idx="102150">5</cx:pt>
          <cx:pt idx="102151">1</cx:pt>
          <cx:pt idx="102152">4</cx:pt>
          <cx:pt idx="102153">2</cx:pt>
          <cx:pt idx="102154">5</cx:pt>
          <cx:pt idx="102155">5</cx:pt>
          <cx:pt idx="102156">4</cx:pt>
          <cx:pt idx="102157">4</cx:pt>
          <cx:pt idx="102158">3</cx:pt>
          <cx:pt idx="102159">4</cx:pt>
          <cx:pt idx="102160">3</cx:pt>
          <cx:pt idx="102161">3</cx:pt>
          <cx:pt idx="102162">2</cx:pt>
          <cx:pt idx="102163">2</cx:pt>
          <cx:pt idx="102164">1</cx:pt>
          <cx:pt idx="102165">3</cx:pt>
          <cx:pt idx="102166">4</cx:pt>
          <cx:pt idx="102167">4</cx:pt>
          <cx:pt idx="102168">3</cx:pt>
          <cx:pt idx="102169">1</cx:pt>
          <cx:pt idx="102170">2</cx:pt>
          <cx:pt idx="102171">5</cx:pt>
          <cx:pt idx="102172">4</cx:pt>
          <cx:pt idx="102173">2</cx:pt>
          <cx:pt idx="102174">2</cx:pt>
          <cx:pt idx="102175">0</cx:pt>
          <cx:pt idx="102176">1</cx:pt>
          <cx:pt idx="102177">4</cx:pt>
          <cx:pt idx="102178">1</cx:pt>
          <cx:pt idx="102179">4</cx:pt>
          <cx:pt idx="102180">3</cx:pt>
          <cx:pt idx="102181">3</cx:pt>
          <cx:pt idx="102182">2</cx:pt>
          <cx:pt idx="102183">5</cx:pt>
          <cx:pt idx="102184">3</cx:pt>
          <cx:pt idx="102185">1</cx:pt>
          <cx:pt idx="102186">1</cx:pt>
          <cx:pt idx="102187">2</cx:pt>
          <cx:pt idx="102188">5</cx:pt>
          <cx:pt idx="102189">1</cx:pt>
          <cx:pt idx="102190">4</cx:pt>
          <cx:pt idx="102191">4</cx:pt>
          <cx:pt idx="102192">4</cx:pt>
          <cx:pt idx="102193">1</cx:pt>
          <cx:pt idx="102194">2</cx:pt>
          <cx:pt idx="102195">3</cx:pt>
          <cx:pt idx="102196">5</cx:pt>
          <cx:pt idx="102197">1</cx:pt>
          <cx:pt idx="102198">4</cx:pt>
          <cx:pt idx="102199">3</cx:pt>
          <cx:pt idx="102200">5</cx:pt>
          <cx:pt idx="102201">1</cx:pt>
          <cx:pt idx="102202">4</cx:pt>
          <cx:pt idx="102203">2</cx:pt>
          <cx:pt idx="102204">5</cx:pt>
          <cx:pt idx="102205">1</cx:pt>
          <cx:pt idx="102206">4</cx:pt>
          <cx:pt idx="102207">3</cx:pt>
          <cx:pt idx="102208">3</cx:pt>
          <cx:pt idx="102209">2</cx:pt>
          <cx:pt idx="102210">5</cx:pt>
          <cx:pt idx="102211">2</cx:pt>
          <cx:pt idx="102212">1</cx:pt>
          <cx:pt idx="102213">3</cx:pt>
          <cx:pt idx="102214">0</cx:pt>
          <cx:pt idx="102215">5</cx:pt>
          <cx:pt idx="102216">3</cx:pt>
          <cx:pt idx="102217">4</cx:pt>
          <cx:pt idx="102218">3</cx:pt>
          <cx:pt idx="102219">3</cx:pt>
          <cx:pt idx="102220">5</cx:pt>
          <cx:pt idx="102221">3</cx:pt>
          <cx:pt idx="102222">4</cx:pt>
          <cx:pt idx="102223">5</cx:pt>
          <cx:pt idx="102224">4</cx:pt>
          <cx:pt idx="102225">2</cx:pt>
          <cx:pt idx="102226">4</cx:pt>
          <cx:pt idx="102227">5</cx:pt>
          <cx:pt idx="102228">4</cx:pt>
          <cx:pt idx="102229">1</cx:pt>
          <cx:pt idx="102230">3</cx:pt>
          <cx:pt idx="102231">3</cx:pt>
          <cx:pt idx="102232">5</cx:pt>
          <cx:pt idx="102233">2</cx:pt>
          <cx:pt idx="102234">3</cx:pt>
          <cx:pt idx="102235">2</cx:pt>
          <cx:pt idx="102236">2</cx:pt>
          <cx:pt idx="102237">3</cx:pt>
          <cx:pt idx="102238">5</cx:pt>
          <cx:pt idx="102239">5</cx:pt>
          <cx:pt idx="102240">5</cx:pt>
          <cx:pt idx="102241">2</cx:pt>
          <cx:pt idx="102242">5</cx:pt>
          <cx:pt idx="102243">3</cx:pt>
          <cx:pt idx="102244">4</cx:pt>
          <cx:pt idx="102245">5</cx:pt>
          <cx:pt idx="102246">2</cx:pt>
          <cx:pt idx="102247">3</cx:pt>
          <cx:pt idx="102248">5</cx:pt>
          <cx:pt idx="102249">1</cx:pt>
          <cx:pt idx="102250">2</cx:pt>
          <cx:pt idx="102251">5</cx:pt>
          <cx:pt idx="102252">2</cx:pt>
          <cx:pt idx="102253">4</cx:pt>
          <cx:pt idx="102254">3</cx:pt>
          <cx:pt idx="102255">4</cx:pt>
          <cx:pt idx="102256">5</cx:pt>
          <cx:pt idx="102257">4</cx:pt>
          <cx:pt idx="102258">3</cx:pt>
          <cx:pt idx="102259">2</cx:pt>
          <cx:pt idx="102260">2</cx:pt>
          <cx:pt idx="102261">4</cx:pt>
          <cx:pt idx="102262">4</cx:pt>
          <cx:pt idx="102263">1</cx:pt>
          <cx:pt idx="102264">5</cx:pt>
          <cx:pt idx="102265">5</cx:pt>
          <cx:pt idx="102266">3</cx:pt>
          <cx:pt idx="102267">4</cx:pt>
          <cx:pt idx="102268">1</cx:pt>
          <cx:pt idx="102269">3</cx:pt>
          <cx:pt idx="102270">3</cx:pt>
          <cx:pt idx="102271">0</cx:pt>
          <cx:pt idx="102272">5</cx:pt>
          <cx:pt idx="102273">3</cx:pt>
          <cx:pt idx="102274">5</cx:pt>
          <cx:pt idx="102275">4</cx:pt>
          <cx:pt idx="102276">2</cx:pt>
          <cx:pt idx="102277">1</cx:pt>
          <cx:pt idx="102278">5</cx:pt>
          <cx:pt idx="102279">5</cx:pt>
          <cx:pt idx="102280">3</cx:pt>
          <cx:pt idx="102281">2</cx:pt>
          <cx:pt idx="102282">3</cx:pt>
          <cx:pt idx="102283">5</cx:pt>
          <cx:pt idx="102284">3</cx:pt>
          <cx:pt idx="102285">3</cx:pt>
          <cx:pt idx="102286">5</cx:pt>
          <cx:pt idx="102287">2</cx:pt>
          <cx:pt idx="102288">1</cx:pt>
          <cx:pt idx="102289">5</cx:pt>
          <cx:pt idx="102290">2</cx:pt>
          <cx:pt idx="102291">2</cx:pt>
          <cx:pt idx="102292">2</cx:pt>
          <cx:pt idx="102293">3</cx:pt>
          <cx:pt idx="102294">5</cx:pt>
          <cx:pt idx="102295">1</cx:pt>
          <cx:pt idx="102296">3</cx:pt>
          <cx:pt idx="102297">1</cx:pt>
          <cx:pt idx="102298">5</cx:pt>
          <cx:pt idx="102299">1</cx:pt>
          <cx:pt idx="102300">5</cx:pt>
          <cx:pt idx="102301">2</cx:pt>
          <cx:pt idx="102302">3</cx:pt>
          <cx:pt idx="102303">5</cx:pt>
          <cx:pt idx="102304">4</cx:pt>
          <cx:pt idx="102305">2</cx:pt>
          <cx:pt idx="102306">4</cx:pt>
          <cx:pt idx="102307">4</cx:pt>
          <cx:pt idx="102308">1</cx:pt>
          <cx:pt idx="102309">4</cx:pt>
          <cx:pt idx="102310">2</cx:pt>
          <cx:pt idx="102311">4</cx:pt>
          <cx:pt idx="102312">3</cx:pt>
          <cx:pt idx="102313">3</cx:pt>
          <cx:pt idx="102314">2</cx:pt>
          <cx:pt idx="102315">3</cx:pt>
          <cx:pt idx="102316">3</cx:pt>
          <cx:pt idx="102317">4</cx:pt>
          <cx:pt idx="102318">4</cx:pt>
          <cx:pt idx="102319">2</cx:pt>
          <cx:pt idx="102320">3</cx:pt>
          <cx:pt idx="102321">4</cx:pt>
          <cx:pt idx="102322">2</cx:pt>
          <cx:pt idx="102323">1</cx:pt>
          <cx:pt idx="102324">2</cx:pt>
          <cx:pt idx="102325">5</cx:pt>
          <cx:pt idx="102326">2</cx:pt>
          <cx:pt idx="102327">3</cx:pt>
          <cx:pt idx="102328">1</cx:pt>
          <cx:pt idx="102329">1</cx:pt>
          <cx:pt idx="102330">5</cx:pt>
          <cx:pt idx="102331">2</cx:pt>
          <cx:pt idx="102332">4</cx:pt>
          <cx:pt idx="102333">3</cx:pt>
          <cx:pt idx="102334">4</cx:pt>
          <cx:pt idx="102335">3</cx:pt>
          <cx:pt idx="102336">1</cx:pt>
          <cx:pt idx="102337">4</cx:pt>
          <cx:pt idx="102338">3</cx:pt>
          <cx:pt idx="102339">2</cx:pt>
          <cx:pt idx="102340">5</cx:pt>
          <cx:pt idx="102341">5</cx:pt>
          <cx:pt idx="102342">2</cx:pt>
          <cx:pt idx="102343">3</cx:pt>
          <cx:pt idx="102344">2</cx:pt>
          <cx:pt idx="102345">2</cx:pt>
          <cx:pt idx="102346">2</cx:pt>
          <cx:pt idx="102347">3</cx:pt>
          <cx:pt idx="102348">1</cx:pt>
          <cx:pt idx="102349">2</cx:pt>
          <cx:pt idx="102350">1</cx:pt>
          <cx:pt idx="102351">2</cx:pt>
          <cx:pt idx="102352">3</cx:pt>
          <cx:pt idx="102353">0</cx:pt>
          <cx:pt idx="102354">2</cx:pt>
          <cx:pt idx="102355">1</cx:pt>
          <cx:pt idx="102356">4</cx:pt>
          <cx:pt idx="102357">1</cx:pt>
          <cx:pt idx="102358">1</cx:pt>
          <cx:pt idx="102359">1</cx:pt>
          <cx:pt idx="102360">1</cx:pt>
          <cx:pt idx="102361">3</cx:pt>
          <cx:pt idx="102362">3</cx:pt>
          <cx:pt idx="102363">5</cx:pt>
          <cx:pt idx="102364">2</cx:pt>
          <cx:pt idx="102365">5</cx:pt>
          <cx:pt idx="102366">5</cx:pt>
          <cx:pt idx="102367">3</cx:pt>
          <cx:pt idx="102368">2</cx:pt>
          <cx:pt idx="102369">1</cx:pt>
          <cx:pt idx="102370">3</cx:pt>
          <cx:pt idx="102371">3</cx:pt>
          <cx:pt idx="102372">5</cx:pt>
          <cx:pt idx="102373">2</cx:pt>
          <cx:pt idx="102374">3</cx:pt>
          <cx:pt idx="102375">2</cx:pt>
          <cx:pt idx="102376">1</cx:pt>
          <cx:pt idx="102377">5</cx:pt>
          <cx:pt idx="102378">3</cx:pt>
          <cx:pt idx="102379">3</cx:pt>
          <cx:pt idx="102380">3</cx:pt>
          <cx:pt idx="102381">5</cx:pt>
          <cx:pt idx="102382">1</cx:pt>
          <cx:pt idx="102383">0</cx:pt>
          <cx:pt idx="102384">3</cx:pt>
          <cx:pt idx="102385">2</cx:pt>
          <cx:pt idx="102386">3</cx:pt>
          <cx:pt idx="102387">1</cx:pt>
          <cx:pt idx="102388">1</cx:pt>
          <cx:pt idx="102389">3</cx:pt>
          <cx:pt idx="102390">5</cx:pt>
          <cx:pt idx="102391">1</cx:pt>
          <cx:pt idx="102392">4</cx:pt>
          <cx:pt idx="102393">1</cx:pt>
          <cx:pt idx="102394">3</cx:pt>
          <cx:pt idx="102395">3</cx:pt>
          <cx:pt idx="102396">4</cx:pt>
          <cx:pt idx="102397">3</cx:pt>
          <cx:pt idx="102398">3</cx:pt>
          <cx:pt idx="102399">3</cx:pt>
          <cx:pt idx="102400">2</cx:pt>
          <cx:pt idx="102401">2</cx:pt>
          <cx:pt idx="102402">3</cx:pt>
          <cx:pt idx="102403">1</cx:pt>
          <cx:pt idx="102404">0</cx:pt>
          <cx:pt idx="102405">2</cx:pt>
          <cx:pt idx="102406">1</cx:pt>
          <cx:pt idx="102407">1</cx:pt>
          <cx:pt idx="102408">3</cx:pt>
          <cx:pt idx="102409">1</cx:pt>
          <cx:pt idx="102410">2</cx:pt>
          <cx:pt idx="102411">5</cx:pt>
          <cx:pt idx="102412">4</cx:pt>
          <cx:pt idx="102413">1</cx:pt>
          <cx:pt idx="102414">2</cx:pt>
          <cx:pt idx="102415">0</cx:pt>
          <cx:pt idx="102416">1</cx:pt>
          <cx:pt idx="102417">2</cx:pt>
          <cx:pt idx="102418">3</cx:pt>
          <cx:pt idx="102419">1</cx:pt>
          <cx:pt idx="102420">5</cx:pt>
          <cx:pt idx="102421">3</cx:pt>
          <cx:pt idx="102422">1</cx:pt>
          <cx:pt idx="102423">3</cx:pt>
          <cx:pt idx="102424">1</cx:pt>
          <cx:pt idx="102425">4</cx:pt>
          <cx:pt idx="102426">3</cx:pt>
          <cx:pt idx="102427">2</cx:pt>
          <cx:pt idx="102428">5</cx:pt>
          <cx:pt idx="102429">5</cx:pt>
          <cx:pt idx="102430">3</cx:pt>
          <cx:pt idx="102431">5</cx:pt>
          <cx:pt idx="102432">3</cx:pt>
          <cx:pt idx="102433">1</cx:pt>
          <cx:pt idx="102434">5</cx:pt>
          <cx:pt idx="102435">1</cx:pt>
          <cx:pt idx="102436">1</cx:pt>
          <cx:pt idx="102437">1</cx:pt>
          <cx:pt idx="102438">5</cx:pt>
          <cx:pt idx="102439">4</cx:pt>
          <cx:pt idx="102440">4</cx:pt>
          <cx:pt idx="102441">0</cx:pt>
          <cx:pt idx="102442">4</cx:pt>
          <cx:pt idx="102443">3</cx:pt>
          <cx:pt idx="102444">0</cx:pt>
          <cx:pt idx="102445">5</cx:pt>
          <cx:pt idx="102446">5</cx:pt>
          <cx:pt idx="102447">4</cx:pt>
          <cx:pt idx="102448">4</cx:pt>
          <cx:pt idx="102449">4</cx:pt>
          <cx:pt idx="102450">4</cx:pt>
          <cx:pt idx="102451">4</cx:pt>
          <cx:pt idx="102452">5</cx:pt>
          <cx:pt idx="102453">3</cx:pt>
          <cx:pt idx="102454">1</cx:pt>
          <cx:pt idx="102455">3</cx:pt>
          <cx:pt idx="102456">4</cx:pt>
          <cx:pt idx="102457">4</cx:pt>
          <cx:pt idx="102458">1</cx:pt>
          <cx:pt idx="102459">4</cx:pt>
          <cx:pt idx="102460">3</cx:pt>
          <cx:pt idx="102461">5</cx:pt>
          <cx:pt idx="102462">3</cx:pt>
          <cx:pt idx="102463">3</cx:pt>
          <cx:pt idx="102464">1</cx:pt>
          <cx:pt idx="102465">3</cx:pt>
          <cx:pt idx="102466">4</cx:pt>
          <cx:pt idx="102467">2</cx:pt>
          <cx:pt idx="102468">4</cx:pt>
          <cx:pt idx="102469">4</cx:pt>
          <cx:pt idx="102470">5</cx:pt>
          <cx:pt idx="102471">4</cx:pt>
          <cx:pt idx="102472">1</cx:pt>
          <cx:pt idx="102473">3</cx:pt>
          <cx:pt idx="102474">2</cx:pt>
          <cx:pt idx="102475">4</cx:pt>
          <cx:pt idx="102476">5</cx:pt>
          <cx:pt idx="102477">4</cx:pt>
          <cx:pt idx="102478">2</cx:pt>
          <cx:pt idx="102479">3</cx:pt>
          <cx:pt idx="102480">3</cx:pt>
          <cx:pt idx="102481">3</cx:pt>
          <cx:pt idx="102482">4</cx:pt>
          <cx:pt idx="102483">3</cx:pt>
          <cx:pt idx="102484">3</cx:pt>
          <cx:pt idx="102485">0</cx:pt>
          <cx:pt idx="102486">0</cx:pt>
          <cx:pt idx="102487">2</cx:pt>
          <cx:pt idx="102488">2</cx:pt>
          <cx:pt idx="102489">3</cx:pt>
          <cx:pt idx="102490">4</cx:pt>
          <cx:pt idx="102491">2</cx:pt>
          <cx:pt idx="102492">1</cx:pt>
          <cx:pt idx="102493">2</cx:pt>
          <cx:pt idx="102494">5</cx:pt>
          <cx:pt idx="102495">2</cx:pt>
          <cx:pt idx="102496">4</cx:pt>
          <cx:pt idx="102497">3</cx:pt>
          <cx:pt idx="102498">2</cx:pt>
          <cx:pt idx="102499">4</cx:pt>
          <cx:pt idx="102500">4</cx:pt>
          <cx:pt idx="102501">1</cx:pt>
          <cx:pt idx="102502">5</cx:pt>
          <cx:pt idx="102503">3</cx:pt>
          <cx:pt idx="102504">1</cx:pt>
          <cx:pt idx="102505">2</cx:pt>
          <cx:pt idx="102506">4</cx:pt>
          <cx:pt idx="102507">3</cx:pt>
          <cx:pt idx="102508">4</cx:pt>
          <cx:pt idx="102509">3</cx:pt>
          <cx:pt idx="102510">4</cx:pt>
          <cx:pt idx="102511">4</cx:pt>
          <cx:pt idx="102512">5</cx:pt>
          <cx:pt idx="102513">5</cx:pt>
          <cx:pt idx="102514">1</cx:pt>
          <cx:pt idx="102515">2</cx:pt>
          <cx:pt idx="102516">5</cx:pt>
          <cx:pt idx="102517">5</cx:pt>
          <cx:pt idx="102518">5</cx:pt>
          <cx:pt idx="102519">5</cx:pt>
          <cx:pt idx="102520">2</cx:pt>
          <cx:pt idx="102521">4</cx:pt>
          <cx:pt idx="102522">2</cx:pt>
          <cx:pt idx="102523">3</cx:pt>
          <cx:pt idx="102524">2</cx:pt>
          <cx:pt idx="102525">0</cx:pt>
          <cx:pt idx="102526">0</cx:pt>
          <cx:pt idx="102527">4</cx:pt>
          <cx:pt idx="102528">1</cx:pt>
          <cx:pt idx="102529">5</cx:pt>
          <cx:pt idx="102530">4</cx:pt>
          <cx:pt idx="102531">3</cx:pt>
          <cx:pt idx="102532">4</cx:pt>
          <cx:pt idx="102533">4</cx:pt>
          <cx:pt idx="102534">3</cx:pt>
          <cx:pt idx="102535">1</cx:pt>
          <cx:pt idx="102536">2</cx:pt>
          <cx:pt idx="102537">1</cx:pt>
          <cx:pt idx="102538">1</cx:pt>
          <cx:pt idx="102539">1</cx:pt>
          <cx:pt idx="102540">2</cx:pt>
          <cx:pt idx="102541">3</cx:pt>
          <cx:pt idx="102542">4</cx:pt>
          <cx:pt idx="102543">1</cx:pt>
          <cx:pt idx="102544">2</cx:pt>
          <cx:pt idx="102545">4</cx:pt>
          <cx:pt idx="102546">1</cx:pt>
          <cx:pt idx="102547">4</cx:pt>
          <cx:pt idx="102548">0</cx:pt>
          <cx:pt idx="102549">3</cx:pt>
          <cx:pt idx="102550">3</cx:pt>
          <cx:pt idx="102551">1</cx:pt>
          <cx:pt idx="102552">1</cx:pt>
          <cx:pt idx="102553">3</cx:pt>
          <cx:pt idx="102554">3</cx:pt>
          <cx:pt idx="102555">2</cx:pt>
          <cx:pt idx="102556">4</cx:pt>
          <cx:pt idx="102557">2</cx:pt>
          <cx:pt idx="102558">4</cx:pt>
          <cx:pt idx="102559">1</cx:pt>
          <cx:pt idx="102560">3</cx:pt>
          <cx:pt idx="102561">4</cx:pt>
          <cx:pt idx="102562">2</cx:pt>
          <cx:pt idx="102563">2</cx:pt>
          <cx:pt idx="102564">5</cx:pt>
          <cx:pt idx="102565">2</cx:pt>
          <cx:pt idx="102566">4</cx:pt>
          <cx:pt idx="102567">2</cx:pt>
          <cx:pt idx="102568">5</cx:pt>
          <cx:pt idx="102569">1</cx:pt>
          <cx:pt idx="102570">3</cx:pt>
          <cx:pt idx="102571">1</cx:pt>
          <cx:pt idx="102572">2</cx:pt>
          <cx:pt idx="102573">5</cx:pt>
          <cx:pt idx="102574">4</cx:pt>
          <cx:pt idx="102575">1</cx:pt>
          <cx:pt idx="102576">2</cx:pt>
          <cx:pt idx="102577">1</cx:pt>
          <cx:pt idx="102578">1</cx:pt>
          <cx:pt idx="102579">3</cx:pt>
          <cx:pt idx="102580">2</cx:pt>
          <cx:pt idx="102581">5</cx:pt>
          <cx:pt idx="102582">5</cx:pt>
          <cx:pt idx="102583">3</cx:pt>
          <cx:pt idx="102584">5</cx:pt>
          <cx:pt idx="102585">2</cx:pt>
          <cx:pt idx="102586">3</cx:pt>
          <cx:pt idx="102587">2</cx:pt>
          <cx:pt idx="102588">2</cx:pt>
          <cx:pt idx="102589">0</cx:pt>
          <cx:pt idx="102590">5</cx:pt>
          <cx:pt idx="102591">3</cx:pt>
          <cx:pt idx="102592">3</cx:pt>
          <cx:pt idx="102593">0</cx:pt>
          <cx:pt idx="102594">3</cx:pt>
          <cx:pt idx="102595">4</cx:pt>
          <cx:pt idx="102596">4</cx:pt>
          <cx:pt idx="102597">4</cx:pt>
          <cx:pt idx="102598">1</cx:pt>
          <cx:pt idx="102599">3</cx:pt>
          <cx:pt idx="102600">3</cx:pt>
          <cx:pt idx="102601">4</cx:pt>
          <cx:pt idx="102602">2</cx:pt>
          <cx:pt idx="102603">4</cx:pt>
          <cx:pt idx="102604">3</cx:pt>
          <cx:pt idx="102605">0</cx:pt>
          <cx:pt idx="102606">5</cx:pt>
          <cx:pt idx="102607">3</cx:pt>
          <cx:pt idx="102608">2</cx:pt>
          <cx:pt idx="102609">3</cx:pt>
          <cx:pt idx="102610">1</cx:pt>
          <cx:pt idx="102611">5</cx:pt>
          <cx:pt idx="102612">1</cx:pt>
          <cx:pt idx="102613">3</cx:pt>
          <cx:pt idx="102614">1</cx:pt>
          <cx:pt idx="102615">3</cx:pt>
          <cx:pt idx="102616">3</cx:pt>
          <cx:pt idx="102617">3</cx:pt>
          <cx:pt idx="102618">5</cx:pt>
          <cx:pt idx="102619">5</cx:pt>
          <cx:pt idx="102620">1</cx:pt>
          <cx:pt idx="102621">2</cx:pt>
          <cx:pt idx="102622">2</cx:pt>
          <cx:pt idx="102623">3</cx:pt>
          <cx:pt idx="102624">2</cx:pt>
          <cx:pt idx="102625">3</cx:pt>
          <cx:pt idx="102626">4</cx:pt>
          <cx:pt idx="102627">1</cx:pt>
          <cx:pt idx="102628">3</cx:pt>
          <cx:pt idx="102629">1</cx:pt>
          <cx:pt idx="102630">5</cx:pt>
          <cx:pt idx="102631">4</cx:pt>
          <cx:pt idx="102632">2</cx:pt>
          <cx:pt idx="102633">1</cx:pt>
          <cx:pt idx="102634">5</cx:pt>
          <cx:pt idx="102635">3</cx:pt>
          <cx:pt idx="102636">2</cx:pt>
          <cx:pt idx="102637">2</cx:pt>
          <cx:pt idx="102638">3</cx:pt>
          <cx:pt idx="102639">4</cx:pt>
          <cx:pt idx="102640">3</cx:pt>
          <cx:pt idx="102641">2</cx:pt>
          <cx:pt idx="102642">2</cx:pt>
          <cx:pt idx="102643">0</cx:pt>
          <cx:pt idx="102644">4</cx:pt>
          <cx:pt idx="102645">2</cx:pt>
          <cx:pt idx="102646">4</cx:pt>
          <cx:pt idx="102647">1</cx:pt>
          <cx:pt idx="102648">2</cx:pt>
          <cx:pt idx="102649">3</cx:pt>
          <cx:pt idx="102650">2</cx:pt>
          <cx:pt idx="102651">1</cx:pt>
          <cx:pt idx="102652">3</cx:pt>
          <cx:pt idx="102653">4</cx:pt>
          <cx:pt idx="102654">2</cx:pt>
          <cx:pt idx="102655">4</cx:pt>
          <cx:pt idx="102656">4</cx:pt>
          <cx:pt idx="102657">2</cx:pt>
          <cx:pt idx="102658">2</cx:pt>
          <cx:pt idx="102659">5</cx:pt>
          <cx:pt idx="102660">5</cx:pt>
          <cx:pt idx="102661">3</cx:pt>
          <cx:pt idx="102662">3</cx:pt>
          <cx:pt idx="102663">2</cx:pt>
          <cx:pt idx="102664">3</cx:pt>
          <cx:pt idx="102665">2</cx:pt>
          <cx:pt idx="102666">3</cx:pt>
          <cx:pt idx="102667">4</cx:pt>
          <cx:pt idx="102668">5</cx:pt>
          <cx:pt idx="102669">3</cx:pt>
          <cx:pt idx="102670">2</cx:pt>
          <cx:pt idx="102671">4</cx:pt>
          <cx:pt idx="102672">0</cx:pt>
          <cx:pt idx="102673">4</cx:pt>
          <cx:pt idx="102674">1</cx:pt>
          <cx:pt idx="102675">4</cx:pt>
          <cx:pt idx="102676">3</cx:pt>
          <cx:pt idx="102677">3</cx:pt>
          <cx:pt idx="102678">1</cx:pt>
          <cx:pt idx="102679">4</cx:pt>
          <cx:pt idx="102680">0</cx:pt>
          <cx:pt idx="102681">3</cx:pt>
          <cx:pt idx="102682">5</cx:pt>
          <cx:pt idx="102683">2</cx:pt>
          <cx:pt idx="102684">5</cx:pt>
          <cx:pt idx="102685">3</cx:pt>
          <cx:pt idx="102686">4</cx:pt>
          <cx:pt idx="102687">3</cx:pt>
          <cx:pt idx="102688">2</cx:pt>
          <cx:pt idx="102689">4</cx:pt>
          <cx:pt idx="102690">4</cx:pt>
          <cx:pt idx="102691">3</cx:pt>
          <cx:pt idx="102692">2</cx:pt>
          <cx:pt idx="102693">2</cx:pt>
          <cx:pt idx="102694">4</cx:pt>
          <cx:pt idx="102695">5</cx:pt>
          <cx:pt idx="102696">3</cx:pt>
          <cx:pt idx="102697">1</cx:pt>
          <cx:pt idx="102698">4</cx:pt>
          <cx:pt idx="102699">3</cx:pt>
          <cx:pt idx="102700">2</cx:pt>
          <cx:pt idx="102701">2</cx:pt>
          <cx:pt idx="102702">1</cx:pt>
          <cx:pt idx="102703">3</cx:pt>
          <cx:pt idx="102704">2</cx:pt>
          <cx:pt idx="102705">5</cx:pt>
          <cx:pt idx="102706">2</cx:pt>
          <cx:pt idx="102707">4</cx:pt>
          <cx:pt idx="102708">1</cx:pt>
          <cx:pt idx="102709">3</cx:pt>
          <cx:pt idx="102710">2</cx:pt>
          <cx:pt idx="102711">2</cx:pt>
          <cx:pt idx="102712">4</cx:pt>
          <cx:pt idx="102713">4</cx:pt>
          <cx:pt idx="102714">5</cx:pt>
          <cx:pt idx="102715">4</cx:pt>
          <cx:pt idx="102716">3</cx:pt>
          <cx:pt idx="102717">3</cx:pt>
          <cx:pt idx="102718">2</cx:pt>
          <cx:pt idx="102719">1</cx:pt>
          <cx:pt idx="102720">1</cx:pt>
          <cx:pt idx="102721">3</cx:pt>
          <cx:pt idx="102722">3</cx:pt>
          <cx:pt idx="102723">3</cx:pt>
          <cx:pt idx="102724">1</cx:pt>
          <cx:pt idx="102725">3</cx:pt>
          <cx:pt idx="102726">4</cx:pt>
          <cx:pt idx="102727">2</cx:pt>
          <cx:pt idx="102728">1</cx:pt>
          <cx:pt idx="102729">5</cx:pt>
          <cx:pt idx="102730">2</cx:pt>
          <cx:pt idx="102731">3</cx:pt>
          <cx:pt idx="102732">4</cx:pt>
          <cx:pt idx="102733">4</cx:pt>
          <cx:pt idx="102734">3</cx:pt>
          <cx:pt idx="102735">4</cx:pt>
          <cx:pt idx="102736">3</cx:pt>
          <cx:pt idx="102737">5</cx:pt>
          <cx:pt idx="102738">5</cx:pt>
          <cx:pt idx="102739">3</cx:pt>
          <cx:pt idx="102740">2</cx:pt>
          <cx:pt idx="102741">4</cx:pt>
          <cx:pt idx="102742">3</cx:pt>
          <cx:pt idx="102743">2</cx:pt>
          <cx:pt idx="102744">4</cx:pt>
          <cx:pt idx="102745">4</cx:pt>
          <cx:pt idx="102746">4</cx:pt>
          <cx:pt idx="102747">4</cx:pt>
          <cx:pt idx="102748">4</cx:pt>
          <cx:pt idx="102749">1</cx:pt>
          <cx:pt idx="102750">5</cx:pt>
          <cx:pt idx="102751">2</cx:pt>
          <cx:pt idx="102752">5</cx:pt>
          <cx:pt idx="102753">0</cx:pt>
          <cx:pt idx="102754">5</cx:pt>
          <cx:pt idx="102755">3</cx:pt>
          <cx:pt idx="102756">1</cx:pt>
          <cx:pt idx="102757">4</cx:pt>
          <cx:pt idx="102758">3</cx:pt>
          <cx:pt idx="102759">4</cx:pt>
          <cx:pt idx="102760">3</cx:pt>
          <cx:pt idx="102761">4</cx:pt>
          <cx:pt idx="102762">1</cx:pt>
          <cx:pt idx="102763">3</cx:pt>
          <cx:pt idx="102764">3</cx:pt>
          <cx:pt idx="102765">1</cx:pt>
          <cx:pt idx="102766">4</cx:pt>
          <cx:pt idx="102767">3</cx:pt>
          <cx:pt idx="102768">4</cx:pt>
          <cx:pt idx="102769">3</cx:pt>
          <cx:pt idx="102770">2</cx:pt>
          <cx:pt idx="102771">1</cx:pt>
          <cx:pt idx="102772">5</cx:pt>
          <cx:pt idx="102773">4</cx:pt>
          <cx:pt idx="102774">0</cx:pt>
          <cx:pt idx="102775">4</cx:pt>
          <cx:pt idx="102776">4</cx:pt>
          <cx:pt idx="102777">1</cx:pt>
          <cx:pt idx="102778">1</cx:pt>
          <cx:pt idx="102779">2</cx:pt>
          <cx:pt idx="102780">2</cx:pt>
          <cx:pt idx="102781">3</cx:pt>
          <cx:pt idx="102782">4</cx:pt>
          <cx:pt idx="102783">1</cx:pt>
          <cx:pt idx="102784">0</cx:pt>
          <cx:pt idx="102785">0</cx:pt>
          <cx:pt idx="102786">2</cx:pt>
          <cx:pt idx="102787">1</cx:pt>
          <cx:pt idx="102788">1</cx:pt>
          <cx:pt idx="102789">4</cx:pt>
          <cx:pt idx="102790">0</cx:pt>
          <cx:pt idx="102791">3</cx:pt>
          <cx:pt idx="102792">3</cx:pt>
          <cx:pt idx="102793">4</cx:pt>
          <cx:pt idx="102794">5</cx:pt>
          <cx:pt idx="102795">5</cx:pt>
          <cx:pt idx="102796">2</cx:pt>
          <cx:pt idx="102797">3</cx:pt>
          <cx:pt idx="102798">3</cx:pt>
          <cx:pt idx="102799">2</cx:pt>
          <cx:pt idx="102800">5</cx:pt>
          <cx:pt idx="102801">5</cx:pt>
          <cx:pt idx="102802">2</cx:pt>
          <cx:pt idx="102803">3</cx:pt>
          <cx:pt idx="102804">4</cx:pt>
          <cx:pt idx="102805">2</cx:pt>
          <cx:pt idx="102806">5</cx:pt>
          <cx:pt idx="102807">5</cx:pt>
          <cx:pt idx="102808">5</cx:pt>
          <cx:pt idx="102809">1</cx:pt>
          <cx:pt idx="102810">5</cx:pt>
          <cx:pt idx="102811">2</cx:pt>
          <cx:pt idx="102812">3</cx:pt>
          <cx:pt idx="102813">4</cx:pt>
          <cx:pt idx="102814">3</cx:pt>
          <cx:pt idx="102815">4</cx:pt>
          <cx:pt idx="102816">1</cx:pt>
          <cx:pt idx="102817">2</cx:pt>
          <cx:pt idx="102818">4</cx:pt>
          <cx:pt idx="102819">2</cx:pt>
          <cx:pt idx="102820">1</cx:pt>
          <cx:pt idx="102821">3</cx:pt>
          <cx:pt idx="102822">3</cx:pt>
          <cx:pt idx="102823">1</cx:pt>
          <cx:pt idx="102824">4</cx:pt>
          <cx:pt idx="102825">5</cx:pt>
          <cx:pt idx="102826">2</cx:pt>
          <cx:pt idx="102827">1</cx:pt>
          <cx:pt idx="102828">1</cx:pt>
          <cx:pt idx="102829">5</cx:pt>
          <cx:pt idx="102830">3</cx:pt>
          <cx:pt idx="102831">4</cx:pt>
          <cx:pt idx="102832">5</cx:pt>
          <cx:pt idx="102833">1</cx:pt>
          <cx:pt idx="102834">2</cx:pt>
          <cx:pt idx="102835">4</cx:pt>
          <cx:pt idx="102836">3</cx:pt>
          <cx:pt idx="102837">5</cx:pt>
          <cx:pt idx="102838">3</cx:pt>
          <cx:pt idx="102839">2</cx:pt>
          <cx:pt idx="102840">2</cx:pt>
          <cx:pt idx="102841">5</cx:pt>
          <cx:pt idx="102842">2</cx:pt>
          <cx:pt idx="102843">2</cx:pt>
          <cx:pt idx="102844">1</cx:pt>
          <cx:pt idx="102845">2</cx:pt>
          <cx:pt idx="102846">3</cx:pt>
          <cx:pt idx="102847">2</cx:pt>
          <cx:pt idx="102848">1</cx:pt>
          <cx:pt idx="102849">0</cx:pt>
          <cx:pt idx="102850">2</cx:pt>
          <cx:pt idx="102851">4</cx:pt>
          <cx:pt idx="102852">4</cx:pt>
          <cx:pt idx="102853">1</cx:pt>
          <cx:pt idx="102854">1</cx:pt>
          <cx:pt idx="102855">5</cx:pt>
          <cx:pt idx="102856">2</cx:pt>
          <cx:pt idx="102857">5</cx:pt>
          <cx:pt idx="102858">5</cx:pt>
          <cx:pt idx="102859">4</cx:pt>
          <cx:pt idx="102860">3</cx:pt>
          <cx:pt idx="102861">1</cx:pt>
          <cx:pt idx="102862">4</cx:pt>
          <cx:pt idx="102863">5</cx:pt>
          <cx:pt idx="102864">2</cx:pt>
          <cx:pt idx="102865">1</cx:pt>
          <cx:pt idx="102866">5</cx:pt>
          <cx:pt idx="102867">2</cx:pt>
          <cx:pt idx="102868">4</cx:pt>
          <cx:pt idx="102869">1</cx:pt>
          <cx:pt idx="102870">5</cx:pt>
          <cx:pt idx="102871">3</cx:pt>
          <cx:pt idx="102872">2</cx:pt>
          <cx:pt idx="102873">0</cx:pt>
          <cx:pt idx="102874">4</cx:pt>
          <cx:pt idx="102875">3</cx:pt>
          <cx:pt idx="102876">3</cx:pt>
          <cx:pt idx="102877">3</cx:pt>
          <cx:pt idx="102878">1</cx:pt>
          <cx:pt idx="102879">2</cx:pt>
          <cx:pt idx="102880">1</cx:pt>
          <cx:pt idx="102881">1</cx:pt>
          <cx:pt idx="102882">1</cx:pt>
          <cx:pt idx="102883">1</cx:pt>
          <cx:pt idx="102884">0</cx:pt>
          <cx:pt idx="102885">3</cx:pt>
          <cx:pt idx="102886">2</cx:pt>
          <cx:pt idx="102887">4</cx:pt>
          <cx:pt idx="102888">4</cx:pt>
          <cx:pt idx="102889">2</cx:pt>
          <cx:pt idx="102890">5</cx:pt>
          <cx:pt idx="102891">1</cx:pt>
          <cx:pt idx="102892">4</cx:pt>
          <cx:pt idx="102893">1</cx:pt>
          <cx:pt idx="102894">1</cx:pt>
          <cx:pt idx="102895">4</cx:pt>
          <cx:pt idx="102896">3</cx:pt>
          <cx:pt idx="102897">2</cx:pt>
          <cx:pt idx="102898">1</cx:pt>
          <cx:pt idx="102899">2</cx:pt>
          <cx:pt idx="102900">1</cx:pt>
          <cx:pt idx="102901">5</cx:pt>
          <cx:pt idx="102902">3</cx:pt>
          <cx:pt idx="102903">4</cx:pt>
          <cx:pt idx="102904">5</cx:pt>
          <cx:pt idx="102905">3</cx:pt>
          <cx:pt idx="102906">4</cx:pt>
          <cx:pt idx="102907">2</cx:pt>
          <cx:pt idx="102908">2</cx:pt>
          <cx:pt idx="102909">0</cx:pt>
          <cx:pt idx="102910">2</cx:pt>
          <cx:pt idx="102911">3</cx:pt>
          <cx:pt idx="102912">4</cx:pt>
          <cx:pt idx="102913">5</cx:pt>
          <cx:pt idx="102914">2</cx:pt>
          <cx:pt idx="102915">3</cx:pt>
          <cx:pt idx="102916">2</cx:pt>
          <cx:pt idx="102917">3</cx:pt>
          <cx:pt idx="102918">3</cx:pt>
          <cx:pt idx="102919">1</cx:pt>
          <cx:pt idx="102920">2</cx:pt>
          <cx:pt idx="102921">2</cx:pt>
          <cx:pt idx="102922">3</cx:pt>
          <cx:pt idx="102923">2</cx:pt>
          <cx:pt idx="102924">4</cx:pt>
          <cx:pt idx="102925">4</cx:pt>
          <cx:pt idx="102926">0</cx:pt>
          <cx:pt idx="102927">5</cx:pt>
          <cx:pt idx="102928">4</cx:pt>
          <cx:pt idx="102929">4</cx:pt>
          <cx:pt idx="102930">2</cx:pt>
          <cx:pt idx="102931">3</cx:pt>
          <cx:pt idx="102932">3</cx:pt>
          <cx:pt idx="102933">1</cx:pt>
          <cx:pt idx="102934">3</cx:pt>
          <cx:pt idx="102935">3</cx:pt>
          <cx:pt idx="102936">1</cx:pt>
          <cx:pt idx="102937">4</cx:pt>
          <cx:pt idx="102938">5</cx:pt>
          <cx:pt idx="102939">3</cx:pt>
          <cx:pt idx="102940">0</cx:pt>
          <cx:pt idx="102941">2</cx:pt>
          <cx:pt idx="102942">2</cx:pt>
          <cx:pt idx="102943">1</cx:pt>
          <cx:pt idx="102944">3</cx:pt>
          <cx:pt idx="102945">2</cx:pt>
          <cx:pt idx="102946">1</cx:pt>
          <cx:pt idx="102947">3</cx:pt>
          <cx:pt idx="102948">3</cx:pt>
          <cx:pt idx="102949">2</cx:pt>
          <cx:pt idx="102950">1</cx:pt>
          <cx:pt idx="102951">4</cx:pt>
          <cx:pt idx="102952">2</cx:pt>
          <cx:pt idx="102953">4</cx:pt>
          <cx:pt idx="102954">1</cx:pt>
          <cx:pt idx="102955">4</cx:pt>
          <cx:pt idx="102956">1</cx:pt>
          <cx:pt idx="102957">3</cx:pt>
          <cx:pt idx="102958">3</cx:pt>
          <cx:pt idx="102959">5</cx:pt>
          <cx:pt idx="102960">1</cx:pt>
          <cx:pt idx="102961">5</cx:pt>
          <cx:pt idx="102962">2</cx:pt>
          <cx:pt idx="102963">0</cx:pt>
          <cx:pt idx="102964">1</cx:pt>
          <cx:pt idx="102965">3</cx:pt>
          <cx:pt idx="102966">5</cx:pt>
          <cx:pt idx="102967">1</cx:pt>
          <cx:pt idx="102968">1</cx:pt>
          <cx:pt idx="102969">1</cx:pt>
          <cx:pt idx="102970">1</cx:pt>
          <cx:pt idx="102971">1</cx:pt>
          <cx:pt idx="102972">2</cx:pt>
          <cx:pt idx="102973">5</cx:pt>
          <cx:pt idx="102974">3</cx:pt>
          <cx:pt idx="102975">1</cx:pt>
          <cx:pt idx="102976">2</cx:pt>
          <cx:pt idx="102977">5</cx:pt>
          <cx:pt idx="102978">3</cx:pt>
          <cx:pt idx="102979">1</cx:pt>
          <cx:pt idx="102980">4</cx:pt>
          <cx:pt idx="102981">3</cx:pt>
          <cx:pt idx="102982">4</cx:pt>
          <cx:pt idx="102983">4</cx:pt>
          <cx:pt idx="102984">2</cx:pt>
          <cx:pt idx="102985">4</cx:pt>
          <cx:pt idx="102986">0</cx:pt>
          <cx:pt idx="102987">4</cx:pt>
          <cx:pt idx="102988">2</cx:pt>
          <cx:pt idx="102989">4</cx:pt>
          <cx:pt idx="102990">4</cx:pt>
          <cx:pt idx="102991">4</cx:pt>
          <cx:pt idx="102992">0</cx:pt>
          <cx:pt idx="102993">3</cx:pt>
          <cx:pt idx="102994">3</cx:pt>
          <cx:pt idx="102995">3</cx:pt>
          <cx:pt idx="102996">2</cx:pt>
          <cx:pt idx="102997">4</cx:pt>
          <cx:pt idx="102998">1</cx:pt>
          <cx:pt idx="102999">3</cx:pt>
          <cx:pt idx="103000">4</cx:pt>
          <cx:pt idx="103001">1</cx:pt>
          <cx:pt idx="103002">4</cx:pt>
          <cx:pt idx="103003">2</cx:pt>
          <cx:pt idx="103004">3</cx:pt>
          <cx:pt idx="103005">3</cx:pt>
          <cx:pt idx="103006">3</cx:pt>
          <cx:pt idx="103007">0</cx:pt>
          <cx:pt idx="103008">5</cx:pt>
          <cx:pt idx="103009">3</cx:pt>
          <cx:pt idx="103010">3</cx:pt>
          <cx:pt idx="103011">1</cx:pt>
          <cx:pt idx="103012">1</cx:pt>
          <cx:pt idx="103013">3</cx:pt>
          <cx:pt idx="103014">1</cx:pt>
          <cx:pt idx="103015">3</cx:pt>
          <cx:pt idx="103016">4</cx:pt>
          <cx:pt idx="103017">0</cx:pt>
          <cx:pt idx="103018">4</cx:pt>
          <cx:pt idx="103019">0</cx:pt>
          <cx:pt idx="103020">5</cx:pt>
          <cx:pt idx="103021">2</cx:pt>
          <cx:pt idx="103022">4</cx:pt>
          <cx:pt idx="103023">1</cx:pt>
          <cx:pt idx="103024">3</cx:pt>
          <cx:pt idx="103025">4</cx:pt>
          <cx:pt idx="103026">5</cx:pt>
          <cx:pt idx="103027">2</cx:pt>
          <cx:pt idx="103028">1</cx:pt>
          <cx:pt idx="103029">2</cx:pt>
          <cx:pt idx="103030">4</cx:pt>
          <cx:pt idx="103031">1</cx:pt>
          <cx:pt idx="103032">2</cx:pt>
          <cx:pt idx="103033">0</cx:pt>
          <cx:pt idx="103034">1</cx:pt>
          <cx:pt idx="103035">3</cx:pt>
          <cx:pt idx="103036">1</cx:pt>
          <cx:pt idx="103037">3</cx:pt>
          <cx:pt idx="103038">2</cx:pt>
          <cx:pt idx="103039">4</cx:pt>
          <cx:pt idx="103040">1</cx:pt>
          <cx:pt idx="103041">5</cx:pt>
          <cx:pt idx="103042">3</cx:pt>
          <cx:pt idx="103043">1</cx:pt>
          <cx:pt idx="103044">3</cx:pt>
          <cx:pt idx="103045">5</cx:pt>
          <cx:pt idx="103046">1</cx:pt>
          <cx:pt idx="103047">1</cx:pt>
          <cx:pt idx="103048">2</cx:pt>
          <cx:pt idx="103049">2</cx:pt>
          <cx:pt idx="103050">1</cx:pt>
          <cx:pt idx="103051">1</cx:pt>
          <cx:pt idx="103052">3</cx:pt>
          <cx:pt idx="103053">3</cx:pt>
          <cx:pt idx="103054">1</cx:pt>
          <cx:pt idx="103055">0</cx:pt>
          <cx:pt idx="103056">5</cx:pt>
          <cx:pt idx="103057">1</cx:pt>
          <cx:pt idx="103058">5</cx:pt>
          <cx:pt idx="103059">3</cx:pt>
          <cx:pt idx="103060">0</cx:pt>
          <cx:pt idx="103061">1</cx:pt>
          <cx:pt idx="103062">1</cx:pt>
          <cx:pt idx="103063">5</cx:pt>
          <cx:pt idx="103064">3</cx:pt>
          <cx:pt idx="103065">3</cx:pt>
          <cx:pt idx="103066">5</cx:pt>
          <cx:pt idx="103067">3</cx:pt>
          <cx:pt idx="103068">3</cx:pt>
          <cx:pt idx="103069">4</cx:pt>
          <cx:pt idx="103070">1</cx:pt>
          <cx:pt idx="103071">3</cx:pt>
          <cx:pt idx="103072">3</cx:pt>
          <cx:pt idx="103073">2</cx:pt>
          <cx:pt idx="103074">2</cx:pt>
          <cx:pt idx="103075">3</cx:pt>
          <cx:pt idx="103076">2</cx:pt>
          <cx:pt idx="103077">3</cx:pt>
          <cx:pt idx="103078">3</cx:pt>
          <cx:pt idx="103079">3</cx:pt>
          <cx:pt idx="103080">0</cx:pt>
          <cx:pt idx="103081">4</cx:pt>
          <cx:pt idx="103082">3</cx:pt>
          <cx:pt idx="103083">3</cx:pt>
          <cx:pt idx="103084">2</cx:pt>
          <cx:pt idx="103085">1</cx:pt>
          <cx:pt idx="103086">4</cx:pt>
          <cx:pt idx="103087">3</cx:pt>
          <cx:pt idx="103088">5</cx:pt>
          <cx:pt idx="103089">2</cx:pt>
          <cx:pt idx="103090">4</cx:pt>
          <cx:pt idx="103091">2</cx:pt>
          <cx:pt idx="103092">1</cx:pt>
          <cx:pt idx="103093">5</cx:pt>
          <cx:pt idx="103094">3</cx:pt>
          <cx:pt idx="103095">1</cx:pt>
          <cx:pt idx="103096">4</cx:pt>
          <cx:pt idx="103097">3</cx:pt>
          <cx:pt idx="103098">1</cx:pt>
          <cx:pt idx="103099">1</cx:pt>
          <cx:pt idx="103100">4</cx:pt>
          <cx:pt idx="103101">2</cx:pt>
          <cx:pt idx="103102">3</cx:pt>
          <cx:pt idx="103103">5</cx:pt>
          <cx:pt idx="103104">2</cx:pt>
          <cx:pt idx="103105">3</cx:pt>
          <cx:pt idx="103106">3</cx:pt>
          <cx:pt idx="103107">0</cx:pt>
          <cx:pt idx="103108">1</cx:pt>
          <cx:pt idx="103109">2</cx:pt>
          <cx:pt idx="103110">5</cx:pt>
          <cx:pt idx="103111">3</cx:pt>
          <cx:pt idx="103112">5</cx:pt>
          <cx:pt idx="103113">5</cx:pt>
          <cx:pt idx="103114">1</cx:pt>
          <cx:pt idx="103115">4</cx:pt>
          <cx:pt idx="103116">3</cx:pt>
          <cx:pt idx="103117">1</cx:pt>
          <cx:pt idx="103118">4</cx:pt>
          <cx:pt idx="103119">5</cx:pt>
          <cx:pt idx="103120">1</cx:pt>
          <cx:pt idx="103121">1</cx:pt>
          <cx:pt idx="103122">1</cx:pt>
          <cx:pt idx="103123">5</cx:pt>
          <cx:pt idx="103124">4</cx:pt>
          <cx:pt idx="103125">5</cx:pt>
          <cx:pt idx="103126">4</cx:pt>
          <cx:pt idx="103127">3</cx:pt>
          <cx:pt idx="103128">3</cx:pt>
          <cx:pt idx="103129">0</cx:pt>
          <cx:pt idx="103130">4</cx:pt>
          <cx:pt idx="103131">3</cx:pt>
          <cx:pt idx="103132">1</cx:pt>
          <cx:pt idx="103133">1</cx:pt>
          <cx:pt idx="103134">1</cx:pt>
          <cx:pt idx="103135">3</cx:pt>
          <cx:pt idx="103136">3</cx:pt>
          <cx:pt idx="103137">1</cx:pt>
          <cx:pt idx="103138">2</cx:pt>
          <cx:pt idx="103139">1</cx:pt>
          <cx:pt idx="103140">5</cx:pt>
          <cx:pt idx="103141">2</cx:pt>
          <cx:pt idx="103142">3</cx:pt>
          <cx:pt idx="103143">3</cx:pt>
          <cx:pt idx="103144">3</cx:pt>
          <cx:pt idx="103145">1</cx:pt>
          <cx:pt idx="103146">5</cx:pt>
          <cx:pt idx="103147">5</cx:pt>
          <cx:pt idx="103148">2</cx:pt>
          <cx:pt idx="103149">1</cx:pt>
          <cx:pt idx="103150">5</cx:pt>
          <cx:pt idx="103151">2</cx:pt>
          <cx:pt idx="103152">0</cx:pt>
          <cx:pt idx="103153">4</cx:pt>
          <cx:pt idx="103154">1</cx:pt>
          <cx:pt idx="103155">3</cx:pt>
          <cx:pt idx="103156">3</cx:pt>
          <cx:pt idx="103157">3</cx:pt>
          <cx:pt idx="103158">0</cx:pt>
          <cx:pt idx="103159">5</cx:pt>
          <cx:pt idx="103160">1</cx:pt>
          <cx:pt idx="103161">1</cx:pt>
          <cx:pt idx="103162">3</cx:pt>
          <cx:pt idx="103163">4</cx:pt>
          <cx:pt idx="103164">3</cx:pt>
          <cx:pt idx="103165">1</cx:pt>
          <cx:pt idx="103166">2</cx:pt>
          <cx:pt idx="103167">4</cx:pt>
          <cx:pt idx="103168">4</cx:pt>
          <cx:pt idx="103169">0</cx:pt>
          <cx:pt idx="103170">3</cx:pt>
          <cx:pt idx="103171">3</cx:pt>
          <cx:pt idx="103172">4</cx:pt>
          <cx:pt idx="103173">5</cx:pt>
          <cx:pt idx="103174">1</cx:pt>
          <cx:pt idx="103175">1</cx:pt>
          <cx:pt idx="103176">4</cx:pt>
          <cx:pt idx="103177">2</cx:pt>
          <cx:pt idx="103178">2</cx:pt>
          <cx:pt idx="103179">1</cx:pt>
          <cx:pt idx="103180">1</cx:pt>
          <cx:pt idx="103181">1</cx:pt>
          <cx:pt idx="103182">1</cx:pt>
          <cx:pt idx="103183">3</cx:pt>
          <cx:pt idx="103184">3</cx:pt>
          <cx:pt idx="103185">2</cx:pt>
          <cx:pt idx="103186">3</cx:pt>
          <cx:pt idx="103187">2</cx:pt>
          <cx:pt idx="103188">5</cx:pt>
          <cx:pt idx="103189">4</cx:pt>
          <cx:pt idx="103190">0</cx:pt>
          <cx:pt idx="103191">1</cx:pt>
          <cx:pt idx="103192">3</cx:pt>
          <cx:pt idx="103193">1</cx:pt>
          <cx:pt idx="103194">0</cx:pt>
          <cx:pt idx="103195">5</cx:pt>
          <cx:pt idx="103196">4</cx:pt>
          <cx:pt idx="103197">4</cx:pt>
          <cx:pt idx="103198">4</cx:pt>
          <cx:pt idx="103199">2</cx:pt>
          <cx:pt idx="103200">4</cx:pt>
          <cx:pt idx="103201">3</cx:pt>
          <cx:pt idx="103202">3</cx:pt>
          <cx:pt idx="103203">2</cx:pt>
          <cx:pt idx="103204">3</cx:pt>
          <cx:pt idx="103205">4</cx:pt>
          <cx:pt idx="103206">5</cx:pt>
          <cx:pt idx="103207">4</cx:pt>
          <cx:pt idx="103208">0</cx:pt>
          <cx:pt idx="103209">5</cx:pt>
          <cx:pt idx="103210">5</cx:pt>
          <cx:pt idx="103211">5</cx:pt>
          <cx:pt idx="103212">3</cx:pt>
          <cx:pt idx="103213">3</cx:pt>
          <cx:pt idx="103214">3</cx:pt>
          <cx:pt idx="103215">2</cx:pt>
          <cx:pt idx="103216">3</cx:pt>
          <cx:pt idx="103217">5</cx:pt>
          <cx:pt idx="103218">2</cx:pt>
          <cx:pt idx="103219">2</cx:pt>
          <cx:pt idx="103220">5</cx:pt>
          <cx:pt idx="103221">3</cx:pt>
          <cx:pt idx="103222">2</cx:pt>
          <cx:pt idx="103223">2</cx:pt>
          <cx:pt idx="103224">1</cx:pt>
          <cx:pt idx="103225">3</cx:pt>
          <cx:pt idx="103226">2</cx:pt>
          <cx:pt idx="103227">3</cx:pt>
          <cx:pt idx="103228">2</cx:pt>
          <cx:pt idx="103229">4</cx:pt>
          <cx:pt idx="103230">5</cx:pt>
          <cx:pt idx="103231">4</cx:pt>
          <cx:pt idx="103232">4</cx:pt>
          <cx:pt idx="103233">2</cx:pt>
          <cx:pt idx="103234">2</cx:pt>
          <cx:pt idx="103235">4</cx:pt>
          <cx:pt idx="103236">4</cx:pt>
          <cx:pt idx="103237">1</cx:pt>
          <cx:pt idx="103238">2</cx:pt>
          <cx:pt idx="103239">4</cx:pt>
          <cx:pt idx="103240">4</cx:pt>
          <cx:pt idx="103241">1</cx:pt>
          <cx:pt idx="103242">3</cx:pt>
          <cx:pt idx="103243">2</cx:pt>
          <cx:pt idx="103244">5</cx:pt>
          <cx:pt idx="103245">3</cx:pt>
          <cx:pt idx="103246">1</cx:pt>
          <cx:pt idx="103247">2</cx:pt>
          <cx:pt idx="103248">4</cx:pt>
          <cx:pt idx="103249">3</cx:pt>
          <cx:pt idx="103250">4</cx:pt>
          <cx:pt idx="103251">5</cx:pt>
          <cx:pt idx="103252">2</cx:pt>
          <cx:pt idx="103253">2</cx:pt>
          <cx:pt idx="103254">4</cx:pt>
          <cx:pt idx="103255">4</cx:pt>
          <cx:pt idx="103256">1</cx:pt>
          <cx:pt idx="103257">2</cx:pt>
          <cx:pt idx="103258">2</cx:pt>
          <cx:pt idx="103259">2</cx:pt>
          <cx:pt idx="103260">2</cx:pt>
          <cx:pt idx="103261">4</cx:pt>
          <cx:pt idx="103262">1</cx:pt>
          <cx:pt idx="103263">3</cx:pt>
          <cx:pt idx="103264">3</cx:pt>
          <cx:pt idx="103265">3</cx:pt>
          <cx:pt idx="103266">3</cx:pt>
          <cx:pt idx="103267">3</cx:pt>
          <cx:pt idx="103268">2</cx:pt>
          <cx:pt idx="103269">1</cx:pt>
          <cx:pt idx="103270">5</cx:pt>
          <cx:pt idx="103271">3</cx:pt>
          <cx:pt idx="103272">1</cx:pt>
          <cx:pt idx="103273">3</cx:pt>
          <cx:pt idx="103274">1</cx:pt>
          <cx:pt idx="103275">4</cx:pt>
          <cx:pt idx="103276">3</cx:pt>
          <cx:pt idx="103277">1</cx:pt>
          <cx:pt idx="103278">3</cx:pt>
          <cx:pt idx="103279">1</cx:pt>
          <cx:pt idx="103280">2</cx:pt>
          <cx:pt idx="103281">4</cx:pt>
          <cx:pt idx="103282">2</cx:pt>
          <cx:pt idx="103283">3</cx:pt>
          <cx:pt idx="103284">1</cx:pt>
          <cx:pt idx="103285">4</cx:pt>
          <cx:pt idx="103286">1</cx:pt>
          <cx:pt idx="103287">5</cx:pt>
          <cx:pt idx="103288">3</cx:pt>
          <cx:pt idx="103289">1</cx:pt>
          <cx:pt idx="103290">4</cx:pt>
          <cx:pt idx="103291">1</cx:pt>
          <cx:pt idx="103292">4</cx:pt>
          <cx:pt idx="103293">3</cx:pt>
          <cx:pt idx="103294">2</cx:pt>
          <cx:pt idx="103295">5</cx:pt>
          <cx:pt idx="103296">2</cx:pt>
          <cx:pt idx="103297">2</cx:pt>
          <cx:pt idx="103298">1</cx:pt>
          <cx:pt idx="103299">3</cx:pt>
          <cx:pt idx="103300">5</cx:pt>
          <cx:pt idx="103301">3</cx:pt>
          <cx:pt idx="103302">3</cx:pt>
          <cx:pt idx="103303">2</cx:pt>
          <cx:pt idx="103304">1</cx:pt>
          <cx:pt idx="103305">3</cx:pt>
          <cx:pt idx="103306">1</cx:pt>
          <cx:pt idx="103307">2</cx:pt>
          <cx:pt idx="103308">1</cx:pt>
          <cx:pt idx="103309">4</cx:pt>
          <cx:pt idx="103310">2</cx:pt>
          <cx:pt idx="103311">4</cx:pt>
          <cx:pt idx="103312">3</cx:pt>
          <cx:pt idx="103313">1</cx:pt>
          <cx:pt idx="103314">4</cx:pt>
          <cx:pt idx="103315">5</cx:pt>
          <cx:pt idx="103316">3</cx:pt>
          <cx:pt idx="103317">1</cx:pt>
          <cx:pt idx="103318">3</cx:pt>
          <cx:pt idx="103319">2</cx:pt>
          <cx:pt idx="103320">4</cx:pt>
          <cx:pt idx="103321">5</cx:pt>
          <cx:pt idx="103322">5</cx:pt>
          <cx:pt idx="103323">3</cx:pt>
          <cx:pt idx="103324">0</cx:pt>
          <cx:pt idx="103325">1</cx:pt>
          <cx:pt idx="103326">3</cx:pt>
          <cx:pt idx="103327">0</cx:pt>
          <cx:pt idx="103328">4</cx:pt>
          <cx:pt idx="103329">5</cx:pt>
          <cx:pt idx="103330">3</cx:pt>
          <cx:pt idx="103331">5</cx:pt>
          <cx:pt idx="103332">2</cx:pt>
          <cx:pt idx="103333">5</cx:pt>
          <cx:pt idx="103334">3</cx:pt>
          <cx:pt idx="103335">1</cx:pt>
          <cx:pt idx="103336">1</cx:pt>
          <cx:pt idx="103337">1</cx:pt>
          <cx:pt idx="103338">3</cx:pt>
          <cx:pt idx="103339">3</cx:pt>
          <cx:pt idx="103340">2</cx:pt>
          <cx:pt idx="103341">2</cx:pt>
          <cx:pt idx="103342">5</cx:pt>
          <cx:pt idx="103343">3</cx:pt>
          <cx:pt idx="103344">1</cx:pt>
          <cx:pt idx="103345">3</cx:pt>
          <cx:pt idx="103346">3</cx:pt>
          <cx:pt idx="103347">4</cx:pt>
          <cx:pt idx="103348">2</cx:pt>
          <cx:pt idx="103349">1</cx:pt>
          <cx:pt idx="103350">4</cx:pt>
          <cx:pt idx="103351">5</cx:pt>
          <cx:pt idx="103352">5</cx:pt>
          <cx:pt idx="103353">4</cx:pt>
          <cx:pt idx="103354">4</cx:pt>
          <cx:pt idx="103355">4</cx:pt>
          <cx:pt idx="103356">2</cx:pt>
          <cx:pt idx="103357">5</cx:pt>
          <cx:pt idx="103358">0</cx:pt>
          <cx:pt idx="103359">2</cx:pt>
          <cx:pt idx="103360">3</cx:pt>
          <cx:pt idx="103361">2</cx:pt>
          <cx:pt idx="103362">2</cx:pt>
          <cx:pt idx="103363">5</cx:pt>
          <cx:pt idx="103364">5</cx:pt>
          <cx:pt idx="103365">1</cx:pt>
          <cx:pt idx="103366">3</cx:pt>
          <cx:pt idx="103367">5</cx:pt>
          <cx:pt idx="103368">2</cx:pt>
          <cx:pt idx="103369">5</cx:pt>
          <cx:pt idx="103370">2</cx:pt>
          <cx:pt idx="103371">5</cx:pt>
          <cx:pt idx="103372">3</cx:pt>
          <cx:pt idx="103373">0</cx:pt>
          <cx:pt idx="103374">2</cx:pt>
          <cx:pt idx="103375">1</cx:pt>
          <cx:pt idx="103376">5</cx:pt>
          <cx:pt idx="103377">3</cx:pt>
          <cx:pt idx="103378">2</cx:pt>
          <cx:pt idx="103379">4</cx:pt>
          <cx:pt idx="103380">1</cx:pt>
          <cx:pt idx="103381">5</cx:pt>
          <cx:pt idx="103382">2</cx:pt>
          <cx:pt idx="103383">2</cx:pt>
          <cx:pt idx="103384">3</cx:pt>
          <cx:pt idx="103385">5</cx:pt>
          <cx:pt idx="103386">5</cx:pt>
          <cx:pt idx="103387">4</cx:pt>
          <cx:pt idx="103388">2</cx:pt>
          <cx:pt idx="103389">4</cx:pt>
          <cx:pt idx="103390">2</cx:pt>
          <cx:pt idx="103391">4</cx:pt>
          <cx:pt idx="103392">2</cx:pt>
          <cx:pt idx="103393">2</cx:pt>
          <cx:pt idx="103394">3</cx:pt>
          <cx:pt idx="103395">3</cx:pt>
          <cx:pt idx="103396">2</cx:pt>
          <cx:pt idx="103397">3</cx:pt>
          <cx:pt idx="103398">2</cx:pt>
          <cx:pt idx="103399">3</cx:pt>
          <cx:pt idx="103400">3</cx:pt>
          <cx:pt idx="103401">3</cx:pt>
          <cx:pt idx="103402">3</cx:pt>
          <cx:pt idx="103403">5</cx:pt>
          <cx:pt idx="103404">2</cx:pt>
          <cx:pt idx="103405">2</cx:pt>
          <cx:pt idx="103406">5</cx:pt>
          <cx:pt idx="103407">2</cx:pt>
          <cx:pt idx="103408">5</cx:pt>
          <cx:pt idx="103409">2</cx:pt>
          <cx:pt idx="103410">2</cx:pt>
          <cx:pt idx="103411">1</cx:pt>
          <cx:pt idx="103412">2</cx:pt>
          <cx:pt idx="103413">3</cx:pt>
          <cx:pt idx="103414">3</cx:pt>
          <cx:pt idx="103415">4</cx:pt>
          <cx:pt idx="103416">2</cx:pt>
          <cx:pt idx="103417">3</cx:pt>
          <cx:pt idx="103418">1</cx:pt>
          <cx:pt idx="103419">3</cx:pt>
          <cx:pt idx="103420">1</cx:pt>
          <cx:pt idx="103421">4</cx:pt>
          <cx:pt idx="103422">5</cx:pt>
          <cx:pt idx="103423">3</cx:pt>
          <cx:pt idx="103424">4</cx:pt>
          <cx:pt idx="103425">5</cx:pt>
          <cx:pt idx="103426">4</cx:pt>
          <cx:pt idx="103427">2</cx:pt>
          <cx:pt idx="103428">4</cx:pt>
          <cx:pt idx="103429">1</cx:pt>
          <cx:pt idx="103430">1</cx:pt>
          <cx:pt idx="103431">3</cx:pt>
          <cx:pt idx="103432">4</cx:pt>
          <cx:pt idx="103433">5</cx:pt>
          <cx:pt idx="103434">1</cx:pt>
          <cx:pt idx="103435">2</cx:pt>
          <cx:pt idx="103436">0</cx:pt>
          <cx:pt idx="103437">4</cx:pt>
          <cx:pt idx="103438">2</cx:pt>
          <cx:pt idx="103439">3</cx:pt>
          <cx:pt idx="103440">3</cx:pt>
          <cx:pt idx="103441">2</cx:pt>
          <cx:pt idx="103442">3</cx:pt>
          <cx:pt idx="103443">1</cx:pt>
          <cx:pt idx="103444">5</cx:pt>
          <cx:pt idx="103445">2</cx:pt>
          <cx:pt idx="103446">3</cx:pt>
          <cx:pt idx="103447">2</cx:pt>
          <cx:pt idx="103448">5</cx:pt>
          <cx:pt idx="103449">2</cx:pt>
          <cx:pt idx="103450">4</cx:pt>
          <cx:pt idx="103451">3</cx:pt>
          <cx:pt idx="103452">5</cx:pt>
          <cx:pt idx="103453">1</cx:pt>
          <cx:pt idx="103454">5</cx:pt>
          <cx:pt idx="103455">4</cx:pt>
          <cx:pt idx="103456">2</cx:pt>
          <cx:pt idx="103457">4</cx:pt>
          <cx:pt idx="103458">5</cx:pt>
          <cx:pt idx="103459">2</cx:pt>
          <cx:pt idx="103460">3</cx:pt>
          <cx:pt idx="103461">3</cx:pt>
          <cx:pt idx="103462">3</cx:pt>
          <cx:pt idx="103463">1</cx:pt>
          <cx:pt idx="103464">1</cx:pt>
          <cx:pt idx="103465">2</cx:pt>
          <cx:pt idx="103466">5</cx:pt>
          <cx:pt idx="103467">3</cx:pt>
          <cx:pt idx="103468">5</cx:pt>
          <cx:pt idx="103469">3</cx:pt>
          <cx:pt idx="103470">4</cx:pt>
          <cx:pt idx="103471">2</cx:pt>
          <cx:pt idx="103472">2</cx:pt>
          <cx:pt idx="103473">3</cx:pt>
          <cx:pt idx="103474">1</cx:pt>
          <cx:pt idx="103475">5</cx:pt>
          <cx:pt idx="103476">4</cx:pt>
          <cx:pt idx="103477">1</cx:pt>
          <cx:pt idx="103478">5</cx:pt>
          <cx:pt idx="103479">4</cx:pt>
          <cx:pt idx="103480">5</cx:pt>
          <cx:pt idx="103481">4</cx:pt>
          <cx:pt idx="103482">3</cx:pt>
          <cx:pt idx="103483">2</cx:pt>
          <cx:pt idx="103484">3</cx:pt>
          <cx:pt idx="103485">5</cx:pt>
          <cx:pt idx="103486">3</cx:pt>
          <cx:pt idx="103487">3</cx:pt>
          <cx:pt idx="103488">0</cx:pt>
          <cx:pt idx="103489">4</cx:pt>
          <cx:pt idx="103490">3</cx:pt>
          <cx:pt idx="103491">5</cx:pt>
          <cx:pt idx="103492">2</cx:pt>
          <cx:pt idx="103493">5</cx:pt>
          <cx:pt idx="103494">2</cx:pt>
          <cx:pt idx="103495">4</cx:pt>
          <cx:pt idx="103496">1</cx:pt>
          <cx:pt idx="103497">3</cx:pt>
          <cx:pt idx="103498">2</cx:pt>
          <cx:pt idx="103499">1</cx:pt>
          <cx:pt idx="103500">4</cx:pt>
          <cx:pt idx="103501">3</cx:pt>
          <cx:pt idx="103502">3</cx:pt>
          <cx:pt idx="103503">2</cx:pt>
          <cx:pt idx="103504">5</cx:pt>
          <cx:pt idx="103505">1</cx:pt>
          <cx:pt idx="103506">3</cx:pt>
          <cx:pt idx="103507">4</cx:pt>
          <cx:pt idx="103508">2</cx:pt>
          <cx:pt idx="103509">1</cx:pt>
          <cx:pt idx="103510">0</cx:pt>
          <cx:pt idx="103511">2</cx:pt>
          <cx:pt idx="103512">4</cx:pt>
          <cx:pt idx="103513">2</cx:pt>
          <cx:pt idx="103514">3</cx:pt>
          <cx:pt idx="103515">3</cx:pt>
          <cx:pt idx="103516">2</cx:pt>
          <cx:pt idx="103517">1</cx:pt>
          <cx:pt idx="103518">1</cx:pt>
          <cx:pt idx="103519">2</cx:pt>
          <cx:pt idx="103520">3</cx:pt>
          <cx:pt idx="103521">2</cx:pt>
          <cx:pt idx="103522">3</cx:pt>
          <cx:pt idx="103523">0</cx:pt>
          <cx:pt idx="103524">3</cx:pt>
          <cx:pt idx="103525">1</cx:pt>
          <cx:pt idx="103526">3</cx:pt>
          <cx:pt idx="103527">3</cx:pt>
          <cx:pt idx="103528">1</cx:pt>
          <cx:pt idx="103529">3</cx:pt>
          <cx:pt idx="103530">3</cx:pt>
          <cx:pt idx="103531">5</cx:pt>
          <cx:pt idx="103532">3</cx:pt>
          <cx:pt idx="103533">2</cx:pt>
          <cx:pt idx="103534">1</cx:pt>
          <cx:pt idx="103535">4</cx:pt>
          <cx:pt idx="103536">4</cx:pt>
          <cx:pt idx="103537">4</cx:pt>
          <cx:pt idx="103538">1</cx:pt>
          <cx:pt idx="103539">1</cx:pt>
          <cx:pt idx="103540">4</cx:pt>
          <cx:pt idx="103541">0</cx:pt>
          <cx:pt idx="103542">2</cx:pt>
          <cx:pt idx="103543">1</cx:pt>
          <cx:pt idx="103544">2</cx:pt>
          <cx:pt idx="103545">2</cx:pt>
          <cx:pt idx="103546">3</cx:pt>
          <cx:pt idx="103547">4</cx:pt>
          <cx:pt idx="103548">5</cx:pt>
          <cx:pt idx="103549">3</cx:pt>
          <cx:pt idx="103550">4</cx:pt>
          <cx:pt idx="103551">3</cx:pt>
          <cx:pt idx="103552">2</cx:pt>
          <cx:pt idx="103553">1</cx:pt>
          <cx:pt idx="103554">5</cx:pt>
          <cx:pt idx="103555">0</cx:pt>
          <cx:pt idx="103556">2</cx:pt>
          <cx:pt idx="103557">2</cx:pt>
          <cx:pt idx="103558">5</cx:pt>
          <cx:pt idx="103559">5</cx:pt>
          <cx:pt idx="103560">4</cx:pt>
          <cx:pt idx="103561">2</cx:pt>
          <cx:pt idx="103562">5</cx:pt>
          <cx:pt idx="103563">2</cx:pt>
          <cx:pt idx="103564">5</cx:pt>
          <cx:pt idx="103565">2</cx:pt>
          <cx:pt idx="103566">1</cx:pt>
          <cx:pt idx="103567">3</cx:pt>
          <cx:pt idx="103568">2</cx:pt>
          <cx:pt idx="103569">2</cx:pt>
          <cx:pt idx="103570">1</cx:pt>
          <cx:pt idx="103571">1</cx:pt>
          <cx:pt idx="103572">2</cx:pt>
          <cx:pt idx="103573">5</cx:pt>
          <cx:pt idx="103574">2</cx:pt>
          <cx:pt idx="103575">5</cx:pt>
          <cx:pt idx="103576">3</cx:pt>
          <cx:pt idx="103577">1</cx:pt>
          <cx:pt idx="103578">4</cx:pt>
          <cx:pt idx="103579">4</cx:pt>
          <cx:pt idx="103580">2</cx:pt>
          <cx:pt idx="103581">1</cx:pt>
          <cx:pt idx="103582">1</cx:pt>
          <cx:pt idx="103583">1</cx:pt>
          <cx:pt idx="103584">4</cx:pt>
          <cx:pt idx="103585">2</cx:pt>
          <cx:pt idx="103586">1</cx:pt>
          <cx:pt idx="103587">4</cx:pt>
          <cx:pt idx="103588">3</cx:pt>
          <cx:pt idx="103589">5</cx:pt>
          <cx:pt idx="103590">2</cx:pt>
          <cx:pt idx="103591">4</cx:pt>
          <cx:pt idx="103592">4</cx:pt>
          <cx:pt idx="103593">3</cx:pt>
          <cx:pt idx="103594">2</cx:pt>
          <cx:pt idx="103595">2</cx:pt>
          <cx:pt idx="103596">3</cx:pt>
          <cx:pt idx="103597">1</cx:pt>
          <cx:pt idx="103598">4</cx:pt>
          <cx:pt idx="103599">4</cx:pt>
          <cx:pt idx="103600">5</cx:pt>
          <cx:pt idx="103601">5</cx:pt>
          <cx:pt idx="103602">2</cx:pt>
          <cx:pt idx="103603">3</cx:pt>
          <cx:pt idx="103604">0</cx:pt>
          <cx:pt idx="103605">2</cx:pt>
          <cx:pt idx="103606">5</cx:pt>
          <cx:pt idx="103607">2</cx:pt>
          <cx:pt idx="103608">2</cx:pt>
          <cx:pt idx="103609">4</cx:pt>
          <cx:pt idx="103610">4</cx:pt>
          <cx:pt idx="103611">1</cx:pt>
          <cx:pt idx="103612">2</cx:pt>
          <cx:pt idx="103613">3</cx:pt>
          <cx:pt idx="103614">5</cx:pt>
          <cx:pt idx="103615">1</cx:pt>
          <cx:pt idx="103616">5</cx:pt>
          <cx:pt idx="103617">2</cx:pt>
          <cx:pt idx="103618">1</cx:pt>
          <cx:pt idx="103619">1</cx:pt>
          <cx:pt idx="103620">2</cx:pt>
          <cx:pt idx="103621">3</cx:pt>
          <cx:pt idx="103622">1</cx:pt>
          <cx:pt idx="103623">4</cx:pt>
          <cx:pt idx="103624">2</cx:pt>
          <cx:pt idx="103625">1</cx:pt>
          <cx:pt idx="103626">2</cx:pt>
          <cx:pt idx="103627">5</cx:pt>
          <cx:pt idx="103628">4</cx:pt>
          <cx:pt idx="103629">2</cx:pt>
          <cx:pt idx="103630">2</cx:pt>
          <cx:pt idx="103631">2</cx:pt>
          <cx:pt idx="103632">2</cx:pt>
          <cx:pt idx="103633">0</cx:pt>
          <cx:pt idx="103634">3</cx:pt>
          <cx:pt idx="103635">1</cx:pt>
          <cx:pt idx="103636">3</cx:pt>
          <cx:pt idx="103637">3</cx:pt>
          <cx:pt idx="103638">3</cx:pt>
          <cx:pt idx="103639">2</cx:pt>
          <cx:pt idx="103640">2</cx:pt>
          <cx:pt idx="103641">3</cx:pt>
          <cx:pt idx="103642">2</cx:pt>
          <cx:pt idx="103643">2</cx:pt>
          <cx:pt idx="103644">3</cx:pt>
          <cx:pt idx="103645">2</cx:pt>
          <cx:pt idx="103646">4</cx:pt>
          <cx:pt idx="103647">3</cx:pt>
          <cx:pt idx="103648">2</cx:pt>
          <cx:pt idx="103649">1</cx:pt>
          <cx:pt idx="103650">1</cx:pt>
          <cx:pt idx="103651">0</cx:pt>
          <cx:pt idx="103652">4</cx:pt>
          <cx:pt idx="103653">2</cx:pt>
          <cx:pt idx="103654">4</cx:pt>
          <cx:pt idx="103655">4</cx:pt>
          <cx:pt idx="103656">2</cx:pt>
          <cx:pt idx="103657">5</cx:pt>
          <cx:pt idx="103658">2</cx:pt>
          <cx:pt idx="103659">4</cx:pt>
          <cx:pt idx="103660">2</cx:pt>
          <cx:pt idx="103661">1</cx:pt>
          <cx:pt idx="103662">2</cx:pt>
          <cx:pt idx="103663">3</cx:pt>
          <cx:pt idx="103664">1</cx:pt>
          <cx:pt idx="103665">2</cx:pt>
          <cx:pt idx="103666">1</cx:pt>
          <cx:pt idx="103667">2</cx:pt>
          <cx:pt idx="103668">2</cx:pt>
          <cx:pt idx="103669">3</cx:pt>
          <cx:pt idx="103670">5</cx:pt>
          <cx:pt idx="103671">2</cx:pt>
          <cx:pt idx="103672">1</cx:pt>
          <cx:pt idx="103673">5</cx:pt>
          <cx:pt idx="103674">1</cx:pt>
          <cx:pt idx="103675">2</cx:pt>
          <cx:pt idx="103676">1</cx:pt>
          <cx:pt idx="103677">4</cx:pt>
          <cx:pt idx="103678">3</cx:pt>
          <cx:pt idx="103679">4</cx:pt>
          <cx:pt idx="103680">4</cx:pt>
          <cx:pt idx="103681">2</cx:pt>
          <cx:pt idx="103682">2</cx:pt>
          <cx:pt idx="103683">0</cx:pt>
          <cx:pt idx="103684">3</cx:pt>
          <cx:pt idx="103685">1</cx:pt>
          <cx:pt idx="103686">3</cx:pt>
          <cx:pt idx="103687">4</cx:pt>
          <cx:pt idx="103688">5</cx:pt>
          <cx:pt idx="103689">3</cx:pt>
          <cx:pt idx="103690">3</cx:pt>
          <cx:pt idx="103691">2</cx:pt>
          <cx:pt idx="103692">1</cx:pt>
          <cx:pt idx="103693">1</cx:pt>
          <cx:pt idx="103694">2</cx:pt>
          <cx:pt idx="103695">2</cx:pt>
          <cx:pt idx="103696">2</cx:pt>
          <cx:pt idx="103697">4</cx:pt>
          <cx:pt idx="103698">3</cx:pt>
          <cx:pt idx="103699">2</cx:pt>
          <cx:pt idx="103700">0</cx:pt>
          <cx:pt idx="103701">2</cx:pt>
          <cx:pt idx="103702">5</cx:pt>
          <cx:pt idx="103703">3</cx:pt>
          <cx:pt idx="103704">1</cx:pt>
          <cx:pt idx="103705">4</cx:pt>
          <cx:pt idx="103706">2</cx:pt>
          <cx:pt idx="103707">5</cx:pt>
          <cx:pt idx="103708">4</cx:pt>
          <cx:pt idx="103709">2</cx:pt>
          <cx:pt idx="103710">2</cx:pt>
          <cx:pt idx="103711">4</cx:pt>
          <cx:pt idx="103712">4</cx:pt>
          <cx:pt idx="103713">2</cx:pt>
          <cx:pt idx="103714">3</cx:pt>
          <cx:pt idx="103715">4</cx:pt>
          <cx:pt idx="103716">1</cx:pt>
          <cx:pt idx="103717">3</cx:pt>
          <cx:pt idx="103718">4</cx:pt>
          <cx:pt idx="103719">3</cx:pt>
          <cx:pt idx="103720">5</cx:pt>
          <cx:pt idx="103721">3</cx:pt>
          <cx:pt idx="103722">4</cx:pt>
          <cx:pt idx="103723">4</cx:pt>
          <cx:pt idx="103724">4</cx:pt>
          <cx:pt idx="103725">3</cx:pt>
          <cx:pt idx="103726">4</cx:pt>
          <cx:pt idx="103727">2</cx:pt>
          <cx:pt idx="103728">0</cx:pt>
          <cx:pt idx="103729">3</cx:pt>
          <cx:pt idx="103730">3</cx:pt>
          <cx:pt idx="103731">3</cx:pt>
          <cx:pt idx="103732">1</cx:pt>
          <cx:pt idx="103733">4</cx:pt>
          <cx:pt idx="103734">5</cx:pt>
          <cx:pt idx="103735">2</cx:pt>
          <cx:pt idx="103736">2</cx:pt>
          <cx:pt idx="103737">4</cx:pt>
          <cx:pt idx="103738">4</cx:pt>
          <cx:pt idx="103739">2</cx:pt>
          <cx:pt idx="103740">4</cx:pt>
          <cx:pt idx="103741">5</cx:pt>
          <cx:pt idx="103742">4</cx:pt>
          <cx:pt idx="103743">4</cx:pt>
          <cx:pt idx="103744">1</cx:pt>
          <cx:pt idx="103745">4</cx:pt>
          <cx:pt idx="103746">3</cx:pt>
          <cx:pt idx="103747">2</cx:pt>
          <cx:pt idx="103748">4</cx:pt>
          <cx:pt idx="103749">4</cx:pt>
          <cx:pt idx="103750">2</cx:pt>
          <cx:pt idx="103751">1</cx:pt>
          <cx:pt idx="103752">4</cx:pt>
          <cx:pt idx="103753">2</cx:pt>
          <cx:pt idx="103754">1</cx:pt>
          <cx:pt idx="103755">3</cx:pt>
          <cx:pt idx="103756">2</cx:pt>
          <cx:pt idx="103757">2</cx:pt>
          <cx:pt idx="103758">3</cx:pt>
          <cx:pt idx="103759">4</cx:pt>
          <cx:pt idx="103760">2</cx:pt>
          <cx:pt idx="103761">2</cx:pt>
          <cx:pt idx="103762">3</cx:pt>
          <cx:pt idx="103763">3</cx:pt>
          <cx:pt idx="103764">5</cx:pt>
          <cx:pt idx="103765">2</cx:pt>
          <cx:pt idx="103766">5</cx:pt>
          <cx:pt idx="103767">3</cx:pt>
          <cx:pt idx="103768">3</cx:pt>
          <cx:pt idx="103769">4</cx:pt>
          <cx:pt idx="103770">2</cx:pt>
          <cx:pt idx="103771">5</cx:pt>
          <cx:pt idx="103772">5</cx:pt>
          <cx:pt idx="103773">2</cx:pt>
          <cx:pt idx="103774">4</cx:pt>
          <cx:pt idx="103775">5</cx:pt>
          <cx:pt idx="103776">4</cx:pt>
          <cx:pt idx="103777">3</cx:pt>
          <cx:pt idx="103778">2</cx:pt>
          <cx:pt idx="103779">5</cx:pt>
          <cx:pt idx="103780">4</cx:pt>
          <cx:pt idx="103781">2</cx:pt>
          <cx:pt idx="103782">5</cx:pt>
          <cx:pt idx="103783">2</cx:pt>
          <cx:pt idx="103784">3</cx:pt>
          <cx:pt idx="103785">1</cx:pt>
          <cx:pt idx="103786">1</cx:pt>
          <cx:pt idx="103787">2</cx:pt>
          <cx:pt idx="103788">1</cx:pt>
          <cx:pt idx="103789">4</cx:pt>
          <cx:pt idx="103790">2</cx:pt>
          <cx:pt idx="103791">1</cx:pt>
          <cx:pt idx="103792">2</cx:pt>
          <cx:pt idx="103793">1</cx:pt>
          <cx:pt idx="103794">5</cx:pt>
          <cx:pt idx="103795">5</cx:pt>
          <cx:pt idx="103796">1</cx:pt>
          <cx:pt idx="103797">5</cx:pt>
          <cx:pt idx="103798">5</cx:pt>
          <cx:pt idx="103799">1</cx:pt>
          <cx:pt idx="103800">3</cx:pt>
          <cx:pt idx="103801">1</cx:pt>
          <cx:pt idx="103802">5</cx:pt>
          <cx:pt idx="103803">3</cx:pt>
          <cx:pt idx="103804">2</cx:pt>
          <cx:pt idx="103805">2</cx:pt>
          <cx:pt idx="103806">2</cx:pt>
          <cx:pt idx="103807">2</cx:pt>
          <cx:pt idx="103808">5</cx:pt>
          <cx:pt idx="103809">3</cx:pt>
          <cx:pt idx="103810">3</cx:pt>
          <cx:pt idx="103811">4</cx:pt>
          <cx:pt idx="103812">2</cx:pt>
          <cx:pt idx="103813">4</cx:pt>
          <cx:pt idx="103814">0</cx:pt>
          <cx:pt idx="103815">1</cx:pt>
          <cx:pt idx="103816">4</cx:pt>
          <cx:pt idx="103817">4</cx:pt>
          <cx:pt idx="103818">2</cx:pt>
          <cx:pt idx="103819">3</cx:pt>
          <cx:pt idx="103820">3</cx:pt>
          <cx:pt idx="103821">1</cx:pt>
          <cx:pt idx="103822">5</cx:pt>
          <cx:pt idx="103823">2</cx:pt>
          <cx:pt idx="103824">1</cx:pt>
          <cx:pt idx="103825">3</cx:pt>
          <cx:pt idx="103826">3</cx:pt>
          <cx:pt idx="103827">1</cx:pt>
          <cx:pt idx="103828">5</cx:pt>
          <cx:pt idx="103829">5</cx:pt>
          <cx:pt idx="103830">1</cx:pt>
          <cx:pt idx="103831">3</cx:pt>
          <cx:pt idx="103832">3</cx:pt>
          <cx:pt idx="103833">1</cx:pt>
          <cx:pt idx="103834">4</cx:pt>
          <cx:pt idx="103835">5</cx:pt>
          <cx:pt idx="103836">3</cx:pt>
          <cx:pt idx="103837">3</cx:pt>
          <cx:pt idx="103838">2</cx:pt>
          <cx:pt idx="103839">2</cx:pt>
          <cx:pt idx="103840">2</cx:pt>
          <cx:pt idx="103841">2</cx:pt>
          <cx:pt idx="103842">3</cx:pt>
          <cx:pt idx="103843">5</cx:pt>
          <cx:pt idx="103844">5</cx:pt>
          <cx:pt idx="103845">3</cx:pt>
          <cx:pt idx="103846">3</cx:pt>
          <cx:pt idx="103847">4</cx:pt>
          <cx:pt idx="103848">1</cx:pt>
          <cx:pt idx="103849">3</cx:pt>
          <cx:pt idx="103850">1</cx:pt>
          <cx:pt idx="103851">3</cx:pt>
          <cx:pt idx="103852">3</cx:pt>
          <cx:pt idx="103853">3</cx:pt>
          <cx:pt idx="103854">5</cx:pt>
          <cx:pt idx="103855">2</cx:pt>
          <cx:pt idx="103856">1</cx:pt>
          <cx:pt idx="103857">2</cx:pt>
          <cx:pt idx="103858">0</cx:pt>
          <cx:pt idx="103859">5</cx:pt>
          <cx:pt idx="103860">3</cx:pt>
          <cx:pt idx="103861">5</cx:pt>
          <cx:pt idx="103862">3</cx:pt>
          <cx:pt idx="103863">2</cx:pt>
          <cx:pt idx="103864">2</cx:pt>
          <cx:pt idx="103865">5</cx:pt>
          <cx:pt idx="103866">1</cx:pt>
          <cx:pt idx="103867">2</cx:pt>
          <cx:pt idx="103868">1</cx:pt>
          <cx:pt idx="103869">4</cx:pt>
          <cx:pt idx="103870">4</cx:pt>
          <cx:pt idx="103871">3</cx:pt>
          <cx:pt idx="103872">5</cx:pt>
          <cx:pt idx="103873">1</cx:pt>
          <cx:pt idx="103874">1</cx:pt>
          <cx:pt idx="103875">5</cx:pt>
          <cx:pt idx="103876">5</cx:pt>
          <cx:pt idx="103877">4</cx:pt>
          <cx:pt idx="103878">5</cx:pt>
          <cx:pt idx="103879">1</cx:pt>
          <cx:pt idx="103880">5</cx:pt>
          <cx:pt idx="103881">2</cx:pt>
          <cx:pt idx="103882">2</cx:pt>
          <cx:pt idx="103883">5</cx:pt>
          <cx:pt idx="103884">2</cx:pt>
          <cx:pt idx="103885">4</cx:pt>
          <cx:pt idx="103886">3</cx:pt>
          <cx:pt idx="103887">5</cx:pt>
          <cx:pt idx="103888">2</cx:pt>
          <cx:pt idx="103889">5</cx:pt>
          <cx:pt idx="103890">5</cx:pt>
          <cx:pt idx="103891">5</cx:pt>
          <cx:pt idx="103892">3</cx:pt>
          <cx:pt idx="103893">5</cx:pt>
          <cx:pt idx="103894">4</cx:pt>
          <cx:pt idx="103895">1</cx:pt>
          <cx:pt idx="103896">5</cx:pt>
          <cx:pt idx="103897">5</cx:pt>
          <cx:pt idx="103898">3</cx:pt>
          <cx:pt idx="103899">3</cx:pt>
          <cx:pt idx="103900">3</cx:pt>
          <cx:pt idx="103901">3</cx:pt>
          <cx:pt idx="103902">3</cx:pt>
          <cx:pt idx="103903">3</cx:pt>
        </cx:lvl>
      </cx:numDim>
    </cx:data>
  </cx:chartData>
  <cx:chart>
    <cx:title pos="t" align="ctr" overlay="0">
      <cx:tx>
        <cx:txData>
          <cx:v>Inflight Entertainment</cx:v>
        </cx:txData>
      </cx:tx>
      <cx:txPr>
        <a:bodyPr spcFirstLastPara="1" vertOverflow="ellipsis" horzOverflow="overflow" wrap="square" lIns="0" tIns="0" rIns="0" bIns="0" anchor="ctr" anchorCtr="1"/>
        <a:lstStyle/>
        <a:p>
          <a:pPr algn="ctr" rtl="0">
            <a:defRPr/>
          </a:pPr>
          <a:r>
            <a:rPr lang="en-US" sz="1400" b="0" i="0" u="none" strike="noStrike" baseline="0" dirty="0">
              <a:solidFill>
                <a:sysClr val="windowText" lastClr="000000">
                  <a:lumMod val="65000"/>
                  <a:lumOff val="35000"/>
                </a:sysClr>
              </a:solidFill>
              <a:latin typeface="Arial" panose="020B0604020202020204" pitchFamily="34" charset="0"/>
            </a:rPr>
            <a:t>Inflight Entertainment</a:t>
          </a:r>
        </a:p>
      </cx:txPr>
    </cx:title>
    <cx:plotArea>
      <cx:plotAreaRegion>
        <cx:series layoutId="boxWhisker" uniqueId="{A3BA2A55-E54C-4BD8-B2FB-2EF4FE72953F}" formatIdx="1">
          <cx:tx>
            <cx:txData>
              <cx:f/>
              <cx:v>Ease of Online booking</cx:v>
            </cx:txData>
          </cx:tx>
          <cx:spPr>
            <a:solidFill>
              <a:schemeClr val="tx2">
                <a:lumMod val="40000"/>
                <a:lumOff val="60000"/>
              </a:schemeClr>
            </a:solidFill>
            <a:ln>
              <a:solidFill>
                <a:schemeClr val="tx1"/>
              </a:solidFill>
            </a:ln>
          </cx:spPr>
          <cx:dataId val="0"/>
          <cx:layoutPr>
            <cx:visibility meanLine="0" meanMarker="1" nonoutliers="0" outliers="1"/>
            <cx:statistics quartileMethod="inclusive"/>
          </cx:layoutPr>
        </cx:series>
      </cx:plotAreaRegion>
      <cx:axis id="0">
        <cx:catScaling gapWidth="1"/>
        <cx:tickLabels/>
        <cx:spPr>
          <a:ln>
            <a:solidFill>
              <a:schemeClr val="tx1"/>
            </a:solidFill>
          </a:ln>
        </cx:spPr>
        <cx:txPr>
          <a:bodyPr spcFirstLastPara="1" vertOverflow="ellipsis" horzOverflow="overflow" wrap="square" lIns="0" tIns="0" rIns="0" bIns="0" anchor="ctr" anchorCtr="1"/>
          <a:lstStyle/>
          <a:p>
            <a:pPr algn="ctr" rtl="0">
              <a:defRPr/>
            </a:pPr>
            <a:endParaRPr lang="en-US" sz="900" b="0" i="0" u="none" strike="noStrike" baseline="0">
              <a:solidFill>
                <a:sysClr val="windowText" lastClr="000000">
                  <a:lumMod val="65000"/>
                  <a:lumOff val="35000"/>
                </a:sysClr>
              </a:solidFill>
              <a:latin typeface="Calibri" panose="020F0502020204030204"/>
            </a:endParaRPr>
          </a:p>
        </cx:txPr>
      </cx:axis>
      <cx:axis id="1">
        <cx:valScaling/>
        <cx:tickLabels/>
        <cx:spPr>
          <a:ln>
            <a:solidFill>
              <a:schemeClr val="tx1"/>
            </a:solidFill>
          </a:ln>
        </cx:spPr>
      </cx:axis>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356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4</a:t>
            </a:fld>
            <a:endParaRPr/>
          </a:p>
        </p:txBody>
      </p:sp>
    </p:spTree>
    <p:extLst>
      <p:ext uri="{BB962C8B-B14F-4D97-AF65-F5344CB8AC3E}">
        <p14:creationId xmlns:p14="http://schemas.microsoft.com/office/powerpoint/2010/main" val="3840739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42663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8"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2"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4"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microsoft.com/office/2014/relationships/chartEx" Target="../charts/chartEx1.xml"/><Relationship Id="rId7" Type="http://schemas.microsoft.com/office/2014/relationships/chartEx" Target="../charts/chartEx2.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png"/><Relationship Id="rId9"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pattFill prst="pct75">
          <a:fgClr>
            <a:schemeClr val="lt1"/>
          </a:fgClr>
          <a:bgClr>
            <a:schemeClr val="bg1"/>
          </a:bgClr>
        </a:pattFill>
        <a:effectLst/>
      </p:bgPr>
    </p:bg>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3" y="3475206"/>
            <a:ext cx="8477499" cy="492443"/>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dirty="0"/>
              <a:t>QBIK Airlines– Technical Presentation</a:t>
            </a:r>
            <a:endParaRPr dirty="0"/>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 1</a:t>
            </a:r>
            <a:r>
              <a:rPr lang="en-AU" sz="1400" b="0" i="0" u="none" strike="noStrike" cap="none" baseline="30000" dirty="0">
                <a:solidFill>
                  <a:schemeClr val="dk1"/>
                </a:solidFill>
                <a:latin typeface="Arial"/>
                <a:ea typeface="Arial"/>
                <a:cs typeface="Arial"/>
                <a:sym typeface="Arial"/>
              </a:rPr>
              <a:t>st</a:t>
            </a:r>
            <a:r>
              <a:rPr lang="en-AU" sz="1400" b="0" i="0" u="none" strike="noStrike" cap="none" dirty="0">
                <a:solidFill>
                  <a:schemeClr val="dk1"/>
                </a:solidFill>
                <a:latin typeface="Arial"/>
                <a:ea typeface="Arial"/>
                <a:cs typeface="Arial"/>
                <a:sym typeface="Arial"/>
              </a:rPr>
              <a:t> August, 2020</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Nidhi Kakar</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71451" y="230188"/>
            <a:ext cx="8618537" cy="492443"/>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600" dirty="0"/>
              <a:t>What factors should be considered by Qbik Airline to influence customers decision to travel by this airline</a:t>
            </a:r>
            <a:endParaRPr sz="1600" dirty="0"/>
          </a:p>
        </p:txBody>
      </p:sp>
      <p:grpSp>
        <p:nvGrpSpPr>
          <p:cNvPr id="49" name="Google Shape;49;p3"/>
          <p:cNvGrpSpPr/>
          <p:nvPr/>
        </p:nvGrpSpPr>
        <p:grpSpPr>
          <a:xfrm>
            <a:off x="865509" y="1481572"/>
            <a:ext cx="7171843" cy="1365541"/>
            <a:chOff x="883141" y="1511552"/>
            <a:chExt cx="7317948" cy="1393360"/>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2069732"/>
              <a:ext cx="3528392" cy="46344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IN" sz="1176" b="1" dirty="0">
                  <a:solidFill>
                    <a:srgbClr val="002060"/>
                  </a:solidFill>
                  <a:latin typeface="Quattrocento Sans"/>
                  <a:ea typeface="Quattrocento Sans"/>
                  <a:cs typeface="Quattrocento Sans"/>
                  <a:sym typeface="Quattrocento Sans"/>
                </a:rPr>
                <a:t>Increasing Competition has led to the need for ensuring high level customer satisfaction</a:t>
              </a:r>
              <a:endParaRPr dirty="0"/>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627557" y="1838066"/>
              <a:ext cx="3528392" cy="64807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If customer is not satisfied , it would mean losing customers resulting in lesser revenues for Qbik.</a:t>
              </a:r>
              <a:endParaRPr dirty="0"/>
            </a:p>
          </p:txBody>
        </p:sp>
      </p:grpSp>
      <p:sp>
        <p:nvSpPr>
          <p:cNvPr id="55" name="Google Shape;55;p3"/>
          <p:cNvSpPr/>
          <p:nvPr/>
        </p:nvSpPr>
        <p:spPr>
          <a:xfrm>
            <a:off x="873978" y="3175260"/>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957296" y="3541317"/>
            <a:ext cx="3457947" cy="6351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IN" sz="1176" b="1" dirty="0">
                <a:solidFill>
                  <a:srgbClr val="002060"/>
                </a:solidFill>
                <a:latin typeface="Quattrocento Sans"/>
                <a:ea typeface="Quattrocento Sans"/>
                <a:cs typeface="Quattrocento Sans"/>
                <a:sym typeface="Quattrocento Sans"/>
              </a:rPr>
              <a:t>Cost aggravation by increasing campaigns or improvising factors measuring satisfaction</a:t>
            </a:r>
            <a:endParaRPr dirty="0"/>
          </a:p>
          <a:p>
            <a:pPr marL="0" marR="0" lvl="0" indent="0" algn="ctr" rtl="0">
              <a:spcBef>
                <a:spcPts val="0"/>
              </a:spcBef>
              <a:spcAft>
                <a:spcPts val="0"/>
              </a:spcAft>
              <a:buNone/>
            </a:pPr>
            <a:endParaRPr sz="1176" b="1" dirty="0">
              <a:solidFill>
                <a:srgbClr val="002060"/>
              </a:solidFill>
              <a:latin typeface="Quattrocento Sans"/>
              <a:ea typeface="Quattrocento Sans"/>
              <a:cs typeface="Quattrocento Sans"/>
              <a:sym typeface="Quattrocento Sans"/>
            </a:endParaRPr>
          </a:p>
        </p:txBody>
      </p:sp>
      <p:sp>
        <p:nvSpPr>
          <p:cNvPr id="58" name="Google Shape;58;p3"/>
          <p:cNvSpPr/>
          <p:nvPr/>
        </p:nvSpPr>
        <p:spPr>
          <a:xfrm>
            <a:off x="4456128" y="3175260"/>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535167" y="3501878"/>
            <a:ext cx="3457947" cy="8160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Increase in cost due to campaigns or improvising factors for customers satisfaction still doesn’t ensure more customers flying by Qbik.</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71451" y="230188"/>
            <a:ext cx="8618537" cy="492443"/>
          </a:xfrm>
          <a:prstGeom prst="rect">
            <a:avLst/>
          </a:prstGeom>
          <a:noFill/>
          <a:ln>
            <a:noFill/>
          </a:ln>
        </p:spPr>
        <p:txBody>
          <a:bodyPr spcFirstLastPara="1" wrap="square" lIns="0" tIns="0" rIns="0" bIns="0" anchor="t" anchorCtr="0">
            <a:spAutoFit/>
          </a:bodyPr>
          <a:lstStyle/>
          <a:p>
            <a:pPr marL="0" lvl="0" indent="0" algn="just" rtl="0">
              <a:spcBef>
                <a:spcPts val="0"/>
              </a:spcBef>
              <a:spcAft>
                <a:spcPts val="0"/>
              </a:spcAft>
              <a:buNone/>
            </a:pPr>
            <a:r>
              <a:rPr lang="en-AU" sz="1600" dirty="0"/>
              <a:t>Customer Satisfaction can be ensured by identifying the key factors responsible for customer satisfaction</a:t>
            </a:r>
            <a:endParaRPr sz="1600" dirty="0"/>
          </a:p>
        </p:txBody>
      </p:sp>
      <p:grpSp>
        <p:nvGrpSpPr>
          <p:cNvPr id="49" name="Google Shape;49;p3"/>
          <p:cNvGrpSpPr/>
          <p:nvPr/>
        </p:nvGrpSpPr>
        <p:grpSpPr>
          <a:xfrm>
            <a:off x="865509" y="1481572"/>
            <a:ext cx="7171843" cy="1365541"/>
            <a:chOff x="883141" y="1511552"/>
            <a:chExt cx="7317948" cy="1393360"/>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2069732"/>
              <a:ext cx="3528392" cy="46344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IN" sz="1176" b="1" dirty="0">
                  <a:solidFill>
                    <a:srgbClr val="002060"/>
                  </a:solidFill>
                  <a:latin typeface="Quattrocento Sans"/>
                  <a:ea typeface="Quattrocento Sans"/>
                  <a:cs typeface="Quattrocento Sans"/>
                  <a:sym typeface="Quattrocento Sans"/>
                </a:rPr>
                <a:t>We try to identify top 2 or 3 factors which determine high customer satisfaction</a:t>
              </a:r>
              <a:endParaRPr dirty="0"/>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505190" y="1828311"/>
              <a:ext cx="3528392" cy="101733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We have been provided with the data of customer satisfaction on 16 factors. Our any of the variables important enough to determine customers choosing the airline again </a:t>
              </a:r>
              <a:endParaRPr dirty="0"/>
            </a:p>
          </p:txBody>
        </p:sp>
      </p:grpSp>
      <p:sp>
        <p:nvSpPr>
          <p:cNvPr id="55" name="Google Shape;55;p3"/>
          <p:cNvSpPr/>
          <p:nvPr/>
        </p:nvSpPr>
        <p:spPr>
          <a:xfrm>
            <a:off x="873978" y="3175260"/>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957296" y="3541317"/>
            <a:ext cx="3457947" cy="81608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IN" sz="1176" b="1" dirty="0">
                <a:solidFill>
                  <a:srgbClr val="002060"/>
                </a:solidFill>
                <a:latin typeface="Quattrocento Sans"/>
                <a:ea typeface="Quattrocento Sans"/>
                <a:cs typeface="Quattrocento Sans"/>
                <a:sym typeface="Quattrocento Sans"/>
              </a:rPr>
              <a:t>We identify if any factor is correlated to another factor and affecting customers satisfaction level together</a:t>
            </a:r>
            <a:endParaRPr dirty="0"/>
          </a:p>
          <a:p>
            <a:pPr marL="0" marR="0" lvl="0" indent="0" algn="ctr" rtl="0">
              <a:spcBef>
                <a:spcPts val="0"/>
              </a:spcBef>
              <a:spcAft>
                <a:spcPts val="0"/>
              </a:spcAft>
              <a:buNone/>
            </a:pPr>
            <a:endParaRPr sz="1176" b="1" dirty="0">
              <a:solidFill>
                <a:srgbClr val="002060"/>
              </a:solidFill>
              <a:latin typeface="Quattrocento Sans"/>
              <a:ea typeface="Quattrocento Sans"/>
              <a:cs typeface="Quattrocento Sans"/>
              <a:sym typeface="Quattrocento Sans"/>
            </a:endParaRPr>
          </a:p>
        </p:txBody>
      </p:sp>
      <p:sp>
        <p:nvSpPr>
          <p:cNvPr id="58" name="Google Shape;58;p3"/>
          <p:cNvSpPr/>
          <p:nvPr/>
        </p:nvSpPr>
        <p:spPr>
          <a:xfrm>
            <a:off x="4456128" y="3183281"/>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535167" y="3501878"/>
            <a:ext cx="3457947" cy="6351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If we find multicollinearity then those variables need to be dropped from the regression analysis </a:t>
            </a:r>
            <a:endParaRPr dirty="0"/>
          </a:p>
        </p:txBody>
      </p:sp>
      <p:sp>
        <p:nvSpPr>
          <p:cNvPr id="14" name="Google Shape;55;p3">
            <a:extLst>
              <a:ext uri="{FF2B5EF4-FFF2-40B4-BE49-F238E27FC236}">
                <a16:creationId xmlns:a16="http://schemas.microsoft.com/office/drawing/2014/main" id="{CAFE8C83-C49B-4529-8CF4-DAD52F422801}"/>
              </a:ext>
            </a:extLst>
          </p:cNvPr>
          <p:cNvSpPr/>
          <p:nvPr/>
        </p:nvSpPr>
        <p:spPr>
          <a:xfrm>
            <a:off x="882492" y="4963954"/>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15" name="Google Shape;56;p3">
            <a:extLst>
              <a:ext uri="{FF2B5EF4-FFF2-40B4-BE49-F238E27FC236}">
                <a16:creationId xmlns:a16="http://schemas.microsoft.com/office/drawing/2014/main" id="{9419F02B-DA52-4C98-B0E7-5BA9D808FD72}"/>
              </a:ext>
            </a:extLst>
          </p:cNvPr>
          <p:cNvSpPr/>
          <p:nvPr/>
        </p:nvSpPr>
        <p:spPr>
          <a:xfrm>
            <a:off x="933234" y="5346050"/>
            <a:ext cx="3457947" cy="99702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IN" sz="1176" b="1" dirty="0">
                <a:solidFill>
                  <a:srgbClr val="002060"/>
                </a:solidFill>
                <a:latin typeface="Quattrocento Sans"/>
                <a:ea typeface="Quattrocento Sans"/>
                <a:cs typeface="Quattrocento Sans"/>
                <a:sym typeface="Quattrocento Sans"/>
              </a:rPr>
              <a:t>Provided we identify the key variables responsible for customer satisfaction, then can a function be created to determine customer satisfaction level </a:t>
            </a:r>
            <a:endParaRPr dirty="0"/>
          </a:p>
          <a:p>
            <a:pPr marL="0" marR="0" lvl="0" indent="0" algn="ctr" rtl="0">
              <a:spcBef>
                <a:spcPts val="0"/>
              </a:spcBef>
              <a:spcAft>
                <a:spcPts val="0"/>
              </a:spcAft>
              <a:buNone/>
            </a:pPr>
            <a:endParaRPr sz="1176" b="1" dirty="0">
              <a:solidFill>
                <a:srgbClr val="002060"/>
              </a:solidFill>
              <a:latin typeface="Quattrocento Sans"/>
              <a:ea typeface="Quattrocento Sans"/>
              <a:cs typeface="Quattrocento Sans"/>
              <a:sym typeface="Quattrocento Sans"/>
            </a:endParaRPr>
          </a:p>
        </p:txBody>
      </p:sp>
      <p:sp>
        <p:nvSpPr>
          <p:cNvPr id="16" name="Google Shape;58;p3">
            <a:extLst>
              <a:ext uri="{FF2B5EF4-FFF2-40B4-BE49-F238E27FC236}">
                <a16:creationId xmlns:a16="http://schemas.microsoft.com/office/drawing/2014/main" id="{B1790133-3CC3-4C6B-A9A3-91553D5CDA38}"/>
              </a:ext>
            </a:extLst>
          </p:cNvPr>
          <p:cNvSpPr/>
          <p:nvPr/>
        </p:nvSpPr>
        <p:spPr>
          <a:xfrm>
            <a:off x="4437585" y="4950372"/>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18" name="Google Shape;59;p3">
            <a:extLst>
              <a:ext uri="{FF2B5EF4-FFF2-40B4-BE49-F238E27FC236}">
                <a16:creationId xmlns:a16="http://schemas.microsoft.com/office/drawing/2014/main" id="{8FFDFBAA-F2E0-4982-99E3-6218706DA8D6}"/>
              </a:ext>
            </a:extLst>
          </p:cNvPr>
          <p:cNvSpPr/>
          <p:nvPr/>
        </p:nvSpPr>
        <p:spPr>
          <a:xfrm>
            <a:off x="4488327" y="5137939"/>
            <a:ext cx="3457947" cy="997027"/>
          </a:xfrm>
          <a:prstGeom prst="rect">
            <a:avLst/>
          </a:prstGeom>
          <a:noFill/>
          <a:ln>
            <a:noFill/>
          </a:ln>
        </p:spPr>
        <p:txBody>
          <a:bodyPr spcFirstLastPara="1" wrap="square" lIns="91425" tIns="45700" rIns="91425" bIns="45700" anchor="t" anchorCtr="0">
            <a:spAutoFit/>
          </a:bodyPr>
          <a:lstStyle/>
          <a:p>
            <a:pPr lvl="0" algn="ctr"/>
            <a:r>
              <a:rPr lang="en-AU" sz="1176" b="1" dirty="0">
                <a:solidFill>
                  <a:srgbClr val="002060"/>
                </a:solidFill>
                <a:latin typeface="Quattrocento Sans"/>
                <a:ea typeface="Quattrocento Sans"/>
                <a:cs typeface="Quattrocento Sans"/>
                <a:sym typeface="Quattrocento Sans"/>
              </a:rPr>
              <a:t>We analysed the data base on the assumption that these variables are determining customer satisfaction. Provided we cannot prove this, we can conclude that customer satisfaction cannot be determined by the given factors</a:t>
            </a:r>
            <a:endParaRPr dirty="0"/>
          </a:p>
        </p:txBody>
      </p:sp>
    </p:spTree>
    <p:extLst>
      <p:ext uri="{BB962C8B-B14F-4D97-AF65-F5344CB8AC3E}">
        <p14:creationId xmlns:p14="http://schemas.microsoft.com/office/powerpoint/2010/main" val="3359358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Shape 87"/>
        <p:cNvGrpSpPr/>
        <p:nvPr/>
      </p:nvGrpSpPr>
      <p:grpSpPr>
        <a:xfrm>
          <a:off x="0" y="0"/>
          <a:ext cx="0" cy="0"/>
          <a:chOff x="0" y="0"/>
          <a:chExt cx="0" cy="0"/>
        </a:xfrm>
      </p:grpSpPr>
      <p:sp>
        <p:nvSpPr>
          <p:cNvPr id="88" name="Google Shape;88;p4"/>
          <p:cNvSpPr txBox="1">
            <a:spLocks noGrp="1"/>
          </p:cNvSpPr>
          <p:nvPr>
            <p:ph type="title"/>
          </p:nvPr>
        </p:nvSpPr>
        <p:spPr>
          <a:xfrm>
            <a:off x="171451" y="230188"/>
            <a:ext cx="8618537" cy="55399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Descriptive and Statistical Approach were taken to find out the key factors determining customer satisfaction</a:t>
            </a:r>
            <a:endParaRPr dirty="0"/>
          </a:p>
        </p:txBody>
      </p:sp>
      <p:cxnSp>
        <p:nvCxnSpPr>
          <p:cNvPr id="89" name="Google Shape;89;p4"/>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90" name="Google Shape;90;p4"/>
          <p:cNvSpPr/>
          <p:nvPr/>
        </p:nvSpPr>
        <p:spPr>
          <a:xfrm>
            <a:off x="2779646" y="1713518"/>
            <a:ext cx="3590619" cy="1647219"/>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lvl="0" algn="ctr"/>
            <a:r>
              <a:rPr lang="en-IN" b="1" dirty="0"/>
              <a:t>What factors should Airline Company take into consideration in the coming Financial Year to influence the customers decision of travelling by this Airline</a:t>
            </a:r>
            <a:endParaRPr dirty="0"/>
          </a:p>
        </p:txBody>
      </p:sp>
      <p:sp>
        <p:nvSpPr>
          <p:cNvPr id="91" name="Google Shape;91;p4"/>
          <p:cNvSpPr/>
          <p:nvPr/>
        </p:nvSpPr>
        <p:spPr>
          <a:xfrm>
            <a:off x="431217" y="4290069"/>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2" name="Google Shape;92;p4"/>
          <p:cNvCxnSpPr/>
          <p:nvPr/>
        </p:nvCxnSpPr>
        <p:spPr>
          <a:xfrm flipH="1">
            <a:off x="3385133" y="3772869"/>
            <a:ext cx="1" cy="516048"/>
          </a:xfrm>
          <a:prstGeom prst="straightConnector1">
            <a:avLst/>
          </a:prstGeom>
          <a:noFill/>
          <a:ln w="25400" cap="flat" cmpd="sng">
            <a:solidFill>
              <a:schemeClr val="accent1"/>
            </a:solidFill>
            <a:prstDash val="dash"/>
            <a:round/>
            <a:headEnd type="none" w="sm" len="sm"/>
            <a:tailEnd type="none" w="sm" len="sm"/>
          </a:ln>
        </p:spPr>
      </p:cxnSp>
      <p:sp>
        <p:nvSpPr>
          <p:cNvPr id="93" name="Google Shape;93;p4"/>
          <p:cNvSpPr/>
          <p:nvPr/>
        </p:nvSpPr>
        <p:spPr>
          <a:xfrm>
            <a:off x="4939604" y="4288917"/>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4" name="Google Shape;94;p4"/>
          <p:cNvCxnSpPr/>
          <p:nvPr/>
        </p:nvCxnSpPr>
        <p:spPr>
          <a:xfrm flipH="1">
            <a:off x="5465485" y="3771717"/>
            <a:ext cx="1" cy="516048"/>
          </a:xfrm>
          <a:prstGeom prst="straightConnector1">
            <a:avLst/>
          </a:prstGeom>
          <a:noFill/>
          <a:ln w="25400" cap="flat" cmpd="sng">
            <a:solidFill>
              <a:schemeClr val="accent1"/>
            </a:solidFill>
            <a:prstDash val="dash"/>
            <a:round/>
            <a:headEnd type="none" w="sm" len="sm"/>
            <a:tailEnd type="none" w="sm" len="sm"/>
          </a:ln>
        </p:spPr>
      </p:cxnSp>
      <p:cxnSp>
        <p:nvCxnSpPr>
          <p:cNvPr id="95" name="Google Shape;95;p4"/>
          <p:cNvCxnSpPr/>
          <p:nvPr/>
        </p:nvCxnSpPr>
        <p:spPr>
          <a:xfrm>
            <a:off x="3385133" y="3771717"/>
            <a:ext cx="2035166" cy="0"/>
          </a:xfrm>
          <a:prstGeom prst="straightConnector1">
            <a:avLst/>
          </a:prstGeom>
          <a:noFill/>
          <a:ln w="25400" cap="flat" cmpd="sng">
            <a:solidFill>
              <a:schemeClr val="accent1"/>
            </a:solidFill>
            <a:prstDash val="dash"/>
            <a:round/>
            <a:headEnd type="none" w="sm" len="sm"/>
            <a:tailEnd type="none" w="sm" len="sm"/>
          </a:ln>
        </p:spPr>
      </p:cxnSp>
      <p:cxnSp>
        <p:nvCxnSpPr>
          <p:cNvPr id="96" name="Google Shape;96;p4"/>
          <p:cNvCxnSpPr>
            <a:stCxn id="90" idx="2"/>
          </p:cNvCxnSpPr>
          <p:nvPr/>
        </p:nvCxnSpPr>
        <p:spPr>
          <a:xfrm>
            <a:off x="4574956" y="3360737"/>
            <a:ext cx="0" cy="411000"/>
          </a:xfrm>
          <a:prstGeom prst="straightConnector1">
            <a:avLst/>
          </a:prstGeom>
          <a:noFill/>
          <a:ln w="25400" cap="flat" cmpd="sng">
            <a:solidFill>
              <a:schemeClr val="accent1"/>
            </a:solidFill>
            <a:prstDash val="dash"/>
            <a:round/>
            <a:headEnd type="none" w="sm" len="sm"/>
            <a:tailEnd type="none" w="sm" len="sm"/>
          </a:ln>
        </p:spPr>
      </p:cxnSp>
      <p:sp>
        <p:nvSpPr>
          <p:cNvPr id="97" name="Google Shape;97;p4"/>
          <p:cNvSpPr txBox="1"/>
          <p:nvPr/>
        </p:nvSpPr>
        <p:spPr>
          <a:xfrm>
            <a:off x="826264" y="4861005"/>
            <a:ext cx="3084723"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a:solidFill>
                  <a:schemeClr val="dk1"/>
                </a:solidFill>
                <a:latin typeface="Arial"/>
                <a:ea typeface="Arial"/>
                <a:cs typeface="Arial"/>
                <a:sym typeface="Arial"/>
              </a:rPr>
              <a:t>STATISTICAL APPROACH #1</a:t>
            </a:r>
            <a:endParaRPr/>
          </a:p>
        </p:txBody>
      </p:sp>
      <p:sp>
        <p:nvSpPr>
          <p:cNvPr id="98" name="Google Shape;98;p4"/>
          <p:cNvSpPr txBox="1"/>
          <p:nvPr/>
        </p:nvSpPr>
        <p:spPr>
          <a:xfrm>
            <a:off x="5192551" y="4803813"/>
            <a:ext cx="3084723"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a:solidFill>
                  <a:schemeClr val="dk1"/>
                </a:solidFill>
                <a:latin typeface="Arial"/>
                <a:ea typeface="Arial"/>
                <a:cs typeface="Arial"/>
                <a:sym typeface="Arial"/>
              </a:rPr>
              <a:t>STATISTICAL APPROACH #2</a:t>
            </a:r>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29390" y="81059"/>
            <a:ext cx="8717832" cy="738664"/>
          </a:xfrm>
          <a:prstGeom prst="rect">
            <a:avLst/>
          </a:prstGeom>
          <a:noFill/>
          <a:ln>
            <a:noFill/>
          </a:ln>
        </p:spPr>
        <p:txBody>
          <a:bodyPr spcFirstLastPara="1" wrap="square" lIns="0" tIns="0" rIns="0" bIns="0" anchor="t" anchorCtr="0">
            <a:spAutoFit/>
          </a:bodyPr>
          <a:lstStyle/>
          <a:p>
            <a:pPr marL="0" lvl="0" indent="0" algn="just" rtl="0">
              <a:spcBef>
                <a:spcPts val="0"/>
              </a:spcBef>
              <a:spcAft>
                <a:spcPts val="0"/>
              </a:spcAft>
              <a:buNone/>
            </a:pPr>
            <a:r>
              <a:rPr lang="en-AU" sz="1600" dirty="0"/>
              <a:t>3 key factors could be identified responsible for customer satisfaction, enabling development of a multivariate equation capable of moderately identifying factors leading to overall customer satisfaction</a:t>
            </a:r>
            <a:endParaRPr dirty="0"/>
          </a:p>
        </p:txBody>
      </p:sp>
      <p:sp>
        <p:nvSpPr>
          <p:cNvPr id="71" name="Google Shape;71;p2"/>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Source: </a:t>
            </a:r>
            <a:r>
              <a:rPr lang="en-AU" sz="800" dirty="0">
                <a:solidFill>
                  <a:schemeClr val="dk1"/>
                </a:solidFill>
              </a:rPr>
              <a:t>Qbik Airline</a:t>
            </a:r>
            <a:r>
              <a:rPr lang="en-AU" sz="800" b="0" i="0" u="none" strike="noStrike" cap="none" dirty="0">
                <a:solidFill>
                  <a:schemeClr val="dk1"/>
                </a:solidFill>
                <a:latin typeface="Arial"/>
                <a:ea typeface="Arial"/>
                <a:cs typeface="Arial"/>
                <a:sym typeface="Arial"/>
              </a:rPr>
              <a:t> Statistical Records</a:t>
            </a:r>
            <a:endParaRPr dirty="0"/>
          </a:p>
        </p:txBody>
      </p:sp>
      <p:sp>
        <p:nvSpPr>
          <p:cNvPr id="72" name="Google Shape;72;p2"/>
          <p:cNvSpPr txBox="1"/>
          <p:nvPr/>
        </p:nvSpPr>
        <p:spPr>
          <a:xfrm>
            <a:off x="438851" y="4122500"/>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74" name="Google Shape;74;p2"/>
          <p:cNvSpPr/>
          <p:nvPr/>
        </p:nvSpPr>
        <p:spPr>
          <a:xfrm>
            <a:off x="306153" y="4122500"/>
            <a:ext cx="8121751" cy="2068975"/>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cxnSp>
        <p:nvCxnSpPr>
          <p:cNvPr id="80" name="Google Shape;80;p2"/>
          <p:cNvCxnSpPr>
            <a:cxnSpLocks/>
          </p:cNvCxnSpPr>
          <p:nvPr/>
        </p:nvCxnSpPr>
        <p:spPr>
          <a:xfrm rot="5400000">
            <a:off x="6586814" y="4956267"/>
            <a:ext cx="111300" cy="599700"/>
          </a:xfrm>
          <a:prstGeom prst="bentConnector3">
            <a:avLst>
              <a:gd name="adj1" fmla="val 50010"/>
            </a:avLst>
          </a:prstGeom>
          <a:noFill/>
          <a:ln w="12700" cap="flat" cmpd="sng">
            <a:solidFill>
              <a:schemeClr val="lt1"/>
            </a:solidFill>
            <a:prstDash val="solid"/>
            <a:miter lim="800000"/>
            <a:headEnd type="none" w="med" len="med"/>
            <a:tailEnd type="none" w="med" len="med"/>
          </a:ln>
        </p:spPr>
      </p:cxnSp>
      <p:cxnSp>
        <p:nvCxnSpPr>
          <p:cNvPr id="81" name="Google Shape;81;p2"/>
          <p:cNvCxnSpPr>
            <a:cxnSpLocks/>
          </p:cNvCxnSpPr>
          <p:nvPr/>
        </p:nvCxnSpPr>
        <p:spPr>
          <a:xfrm rot="-5400000" flipH="1">
            <a:off x="7185764" y="4957017"/>
            <a:ext cx="111300" cy="598200"/>
          </a:xfrm>
          <a:prstGeom prst="bentConnector3">
            <a:avLst>
              <a:gd name="adj1" fmla="val 50009"/>
            </a:avLst>
          </a:prstGeom>
          <a:noFill/>
          <a:ln w="12700" cap="flat" cmpd="sng">
            <a:solidFill>
              <a:schemeClr val="lt1"/>
            </a:solidFill>
            <a:prstDash val="solid"/>
            <a:miter lim="800000"/>
            <a:headEnd type="none" w="med" len="med"/>
            <a:tailEnd type="none" w="med" len="med"/>
          </a:ln>
        </p:spPr>
      </p:cxnSp>
      <p:cxnSp>
        <p:nvCxnSpPr>
          <p:cNvPr id="82" name="Google Shape;82;p2"/>
          <p:cNvCxnSpPr>
            <a:cxnSpLocks/>
          </p:cNvCxnSpPr>
          <p:nvPr/>
        </p:nvCxnSpPr>
        <p:spPr>
          <a:xfrm flipH="1">
            <a:off x="6941414" y="5200467"/>
            <a:ext cx="900" cy="111300"/>
          </a:xfrm>
          <a:prstGeom prst="straightConnector1">
            <a:avLst/>
          </a:prstGeom>
          <a:noFill/>
          <a:ln w="12700" cap="flat" cmpd="sng">
            <a:solidFill>
              <a:schemeClr val="lt1"/>
            </a:solidFill>
            <a:prstDash val="solid"/>
            <a:round/>
            <a:headEnd type="none" w="sm" len="sm"/>
            <a:tailEnd type="none" w="sm" len="sm"/>
          </a:ln>
        </p:spPr>
      </p:cxnSp>
      <p:graphicFrame>
        <p:nvGraphicFramePr>
          <p:cNvPr id="18" name="Chart 17">
            <a:extLst>
              <a:ext uri="{FF2B5EF4-FFF2-40B4-BE49-F238E27FC236}">
                <a16:creationId xmlns:a16="http://schemas.microsoft.com/office/drawing/2014/main" id="{374CEBD4-5478-46FA-8E5D-A7E0FCA416C3}"/>
              </a:ext>
            </a:extLst>
          </p:cNvPr>
          <p:cNvGraphicFramePr>
            <a:graphicFrameLocks/>
          </p:cNvGraphicFramePr>
          <p:nvPr>
            <p:extLst>
              <p:ext uri="{D42A27DB-BD31-4B8C-83A1-F6EECF244321}">
                <p14:modId xmlns:p14="http://schemas.microsoft.com/office/powerpoint/2010/main" val="2037845665"/>
              </p:ext>
            </p:extLst>
          </p:nvPr>
        </p:nvGraphicFramePr>
        <p:xfrm>
          <a:off x="129390" y="995768"/>
          <a:ext cx="8573451" cy="295068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2CFD524C-1423-4E97-91FF-5C80CE98D116}"/>
              </a:ext>
            </a:extLst>
          </p:cNvPr>
          <p:cNvSpPr txBox="1"/>
          <p:nvPr/>
        </p:nvSpPr>
        <p:spPr>
          <a:xfrm>
            <a:off x="539451" y="4637903"/>
            <a:ext cx="7550106" cy="1384995"/>
          </a:xfrm>
          <a:prstGeom prst="rect">
            <a:avLst/>
          </a:prstGeom>
          <a:noFill/>
        </p:spPr>
        <p:txBody>
          <a:bodyPr wrap="square" rtlCol="0">
            <a:spAutoFit/>
          </a:bodyPr>
          <a:lstStyle/>
          <a:p>
            <a:pPr marL="285750" indent="-285750">
              <a:buFont typeface="Arial" panose="020B0604020202020204" pitchFamily="34" charset="0"/>
              <a:buChar char="•"/>
            </a:pPr>
            <a:r>
              <a:rPr lang="en-IN" dirty="0"/>
              <a:t>The three key variables which determine passenger satisfaction for the airline are Online Boarding, Seat Comfort and Inflight Wi-Fi Service.</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US" dirty="0">
                <a:solidFill>
                  <a:schemeClr val="dk1"/>
                </a:solidFill>
              </a:rPr>
              <a:t>We do see some pre failure indications which might indicate understanding more variables to determine customer satisfaction.</a:t>
            </a: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36351069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1" y="230188"/>
            <a:ext cx="8618537" cy="276999"/>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Descriptive Statistics </a:t>
            </a:r>
            <a:r>
              <a:rPr lang="en-AU" sz="1600" dirty="0"/>
              <a:t>Analysis-</a:t>
            </a:r>
            <a:r>
              <a:rPr lang="en-AU" sz="1800" dirty="0"/>
              <a:t> 3 prime factors could be identified</a:t>
            </a:r>
            <a:endParaRPr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171451" y="3887677"/>
            <a:ext cx="8256453" cy="2303798"/>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258827" y="3887677"/>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sp>
        <p:nvSpPr>
          <p:cNvPr id="109" name="Google Shape;109;p5"/>
          <p:cNvSpPr txBox="1"/>
          <p:nvPr/>
        </p:nvSpPr>
        <p:spPr>
          <a:xfrm>
            <a:off x="328862" y="4195454"/>
            <a:ext cx="8099041" cy="954067"/>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Font typeface="Arial" panose="020B0604020202020204" pitchFamily="34" charset="0"/>
              <a:buChar char="•"/>
            </a:pPr>
            <a:r>
              <a:rPr lang="en-IN" sz="1400" dirty="0">
                <a:solidFill>
                  <a:schemeClr val="dk1"/>
                </a:solidFill>
                <a:latin typeface="Arial"/>
                <a:ea typeface="Arial"/>
                <a:cs typeface="Arial"/>
                <a:sym typeface="Arial"/>
              </a:rPr>
              <a:t>Online Boarding, Seat Comfort and Inflight Entertainment were three factors that </a:t>
            </a:r>
            <a:r>
              <a:rPr lang="en-IN" dirty="0">
                <a:solidFill>
                  <a:schemeClr val="dk1"/>
                </a:solidFill>
              </a:rPr>
              <a:t>are closely related to customer satisfaction or dissatisfaction.</a:t>
            </a: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60618C10-73AB-4511-8411-0D6CAFB2DA2B}"/>
                  </a:ext>
                </a:extLst>
              </p:cNvPr>
              <p:cNvGraphicFramePr/>
              <p:nvPr>
                <p:extLst>
                  <p:ext uri="{D42A27DB-BD31-4B8C-83A1-F6EECF244321}">
                    <p14:modId xmlns:p14="http://schemas.microsoft.com/office/powerpoint/2010/main" val="3104476015"/>
                  </p:ext>
                </p:extLst>
              </p:nvPr>
            </p:nvGraphicFramePr>
            <p:xfrm>
              <a:off x="3039762" y="879171"/>
              <a:ext cx="2780935" cy="2746645"/>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0" name="Chart 9">
                <a:extLst>
                  <a:ext uri="{FF2B5EF4-FFF2-40B4-BE49-F238E27FC236}">
                    <a16:creationId xmlns:a16="http://schemas.microsoft.com/office/drawing/2014/main" id="{60618C10-73AB-4511-8411-0D6CAFB2DA2B}"/>
                  </a:ext>
                </a:extLst>
              </p:cNvPr>
              <p:cNvPicPr>
                <a:picLocks noGrp="1" noRot="1" noChangeAspect="1" noMove="1" noResize="1" noEditPoints="1" noAdjustHandles="1" noChangeArrowheads="1" noChangeShapeType="1"/>
              </p:cNvPicPr>
              <p:nvPr/>
            </p:nvPicPr>
            <p:blipFill>
              <a:blip r:embed="rId6"/>
              <a:stretch>
                <a:fillRect/>
              </a:stretch>
            </p:blipFill>
            <p:spPr>
              <a:xfrm>
                <a:off x="3039762" y="879171"/>
                <a:ext cx="2780935" cy="274664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6B0F676B-FD99-4DDA-9509-F60386265F25}"/>
                  </a:ext>
                </a:extLst>
              </p:cNvPr>
              <p:cNvGraphicFramePr/>
              <p:nvPr>
                <p:extLst>
                  <p:ext uri="{D42A27DB-BD31-4B8C-83A1-F6EECF244321}">
                    <p14:modId xmlns:p14="http://schemas.microsoft.com/office/powerpoint/2010/main" val="2032124493"/>
                  </p:ext>
                </p:extLst>
              </p:nvPr>
            </p:nvGraphicFramePr>
            <p:xfrm>
              <a:off x="5820697" y="879171"/>
              <a:ext cx="2780935" cy="2746642"/>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1" name="Chart 10">
                <a:extLst>
                  <a:ext uri="{FF2B5EF4-FFF2-40B4-BE49-F238E27FC236}">
                    <a16:creationId xmlns:a16="http://schemas.microsoft.com/office/drawing/2014/main" id="{6B0F676B-FD99-4DDA-9509-F60386265F25}"/>
                  </a:ext>
                </a:extLst>
              </p:cNvPr>
              <p:cNvPicPr>
                <a:picLocks noGrp="1" noRot="1" noChangeAspect="1" noMove="1" noResize="1" noEditPoints="1" noAdjustHandles="1" noChangeArrowheads="1" noChangeShapeType="1"/>
              </p:cNvPicPr>
              <p:nvPr/>
            </p:nvPicPr>
            <p:blipFill>
              <a:blip r:embed="rId8"/>
              <a:stretch>
                <a:fillRect/>
              </a:stretch>
            </p:blipFill>
            <p:spPr>
              <a:xfrm>
                <a:off x="5820697" y="879171"/>
                <a:ext cx="2780935" cy="2746642"/>
              </a:xfrm>
              <a:prstGeom prst="rect">
                <a:avLst/>
              </a:prstGeom>
            </p:spPr>
          </p:pic>
        </mc:Fallback>
      </mc:AlternateContent>
      <p:pic>
        <p:nvPicPr>
          <p:cNvPr id="7" name="Picture 7" descr="A screenshot of a video game&#10;&#10;Description automatically generated">
            <a:extLst>
              <a:ext uri="{FF2B5EF4-FFF2-40B4-BE49-F238E27FC236}">
                <a16:creationId xmlns:a16="http://schemas.microsoft.com/office/drawing/2014/main" id="{AFD9F2DB-4689-44A3-A426-4119BC3A4864}"/>
              </a:ext>
            </a:extLst>
          </p:cNvPr>
          <p:cNvPicPr>
            <a:picLocks noChangeAspect="1"/>
          </p:cNvPicPr>
          <p:nvPr/>
        </p:nvPicPr>
        <p:blipFill>
          <a:blip r:embed="rId9"/>
          <a:stretch>
            <a:fillRect/>
          </a:stretch>
        </p:blipFill>
        <p:spPr>
          <a:xfrm>
            <a:off x="89813" y="935251"/>
            <a:ext cx="2955964" cy="2690497"/>
          </a:xfrm>
          <a:prstGeom prst="rect">
            <a:avLst/>
          </a:prstGeom>
        </p:spPr>
      </p:pic>
      <p:sp>
        <p:nvSpPr>
          <p:cNvPr id="12" name="Google Shape;71;p2">
            <a:extLst>
              <a:ext uri="{FF2B5EF4-FFF2-40B4-BE49-F238E27FC236}">
                <a16:creationId xmlns:a16="http://schemas.microsoft.com/office/drawing/2014/main" id="{23E6DD14-BEE5-4551-BC5B-F7E916CD42CC}"/>
              </a:ext>
            </a:extLst>
          </p:cNvPr>
          <p:cNvSpPr/>
          <p:nvPr/>
        </p:nvSpPr>
        <p:spPr>
          <a:xfrm>
            <a:off x="98296"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Source: </a:t>
            </a:r>
            <a:r>
              <a:rPr lang="en-AU" sz="800" dirty="0">
                <a:solidFill>
                  <a:schemeClr val="dk1"/>
                </a:solidFill>
              </a:rPr>
              <a:t>Qbik Airline</a:t>
            </a:r>
            <a:r>
              <a:rPr lang="en-AU" sz="800" b="0" i="0" u="none" strike="noStrike" cap="none" dirty="0">
                <a:solidFill>
                  <a:schemeClr val="dk1"/>
                </a:solidFill>
                <a:latin typeface="Arial"/>
                <a:ea typeface="Arial"/>
                <a:cs typeface="Arial"/>
                <a:sym typeface="Arial"/>
              </a:rPr>
              <a:t> Statistical Records</a:t>
            </a:r>
            <a:endParaRPr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71450" y="252996"/>
            <a:ext cx="8618537"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600" dirty="0"/>
              <a:t>Inferential Statistics – Pearson correlation between variables and satisfaction</a:t>
            </a:r>
            <a:endParaRPr sz="1600"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18" name="Google Shape;118;p6"/>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19" name="Google Shape;119;p6"/>
          <p:cNvSpPr txBox="1"/>
          <p:nvPr/>
        </p:nvSpPr>
        <p:spPr>
          <a:xfrm>
            <a:off x="5464366" y="1403666"/>
            <a:ext cx="2963538" cy="4401164"/>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Noto Sans Symbols"/>
              <a:buChar char="▪"/>
            </a:pPr>
            <a:r>
              <a:rPr lang="en-AU" dirty="0">
                <a:solidFill>
                  <a:schemeClr val="dk1"/>
                </a:solidFill>
              </a:rPr>
              <a:t>Online Boarding is 50% correlated to satisfaction making it an important variable determining customer satisfaction.</a:t>
            </a:r>
          </a:p>
          <a:p>
            <a:pPr marL="285750" marR="0" lvl="0" indent="-285750" algn="l" rtl="0">
              <a:spcBef>
                <a:spcPts val="0"/>
              </a:spcBef>
              <a:spcAft>
                <a:spcPts val="0"/>
              </a:spcAft>
              <a:buClr>
                <a:schemeClr val="dk1"/>
              </a:buClr>
              <a:buSzPts val="1400"/>
              <a:buFont typeface="Noto Sans Symbols"/>
              <a:buChar char="▪"/>
            </a:pPr>
            <a:endParaRPr lang="en-AU" dirty="0">
              <a:solidFill>
                <a:schemeClr val="dk1"/>
              </a:solidFill>
            </a:endParaRPr>
          </a:p>
          <a:p>
            <a:pPr marL="285750" marR="0" lvl="0" indent="-285750" algn="l" rtl="0">
              <a:spcBef>
                <a:spcPts val="0"/>
              </a:spcBef>
              <a:spcAft>
                <a:spcPts val="0"/>
              </a:spcAft>
              <a:buClr>
                <a:schemeClr val="dk1"/>
              </a:buClr>
              <a:buSzPts val="1400"/>
              <a:buFont typeface="Noto Sans Symbols"/>
              <a:buChar char="▪"/>
            </a:pPr>
            <a:r>
              <a:rPr lang="en-AU" dirty="0">
                <a:solidFill>
                  <a:schemeClr val="dk1"/>
                </a:solidFill>
              </a:rPr>
              <a:t>On performing Partial correlation to check for strength between online boarding and other variables, we found it closely related to Inflight Wi-Fi service , ease of online booking and seat comfort. </a:t>
            </a:r>
            <a:r>
              <a:rPr lang="en-AU" sz="1400" dirty="0">
                <a:solidFill>
                  <a:schemeClr val="dk1"/>
                </a:solidFill>
                <a:latin typeface="Arial"/>
                <a:ea typeface="Arial"/>
                <a:cs typeface="Arial"/>
                <a:sym typeface="Arial"/>
              </a:rPr>
              <a:t> </a:t>
            </a:r>
          </a:p>
          <a:p>
            <a:pPr marL="285750" marR="0" lvl="0" indent="-285750" algn="l" rtl="0">
              <a:spcBef>
                <a:spcPts val="0"/>
              </a:spcBef>
              <a:spcAft>
                <a:spcPts val="0"/>
              </a:spcAft>
              <a:buClr>
                <a:schemeClr val="dk1"/>
              </a:buClr>
              <a:buSzPts val="1400"/>
              <a:buFont typeface="Noto Sans Symbols"/>
              <a:buChar char="▪"/>
            </a:pPr>
            <a:endParaRPr lang="en-AU" dirty="0">
              <a:solidFill>
                <a:schemeClr val="dk1"/>
              </a:solidFill>
            </a:endParaRPr>
          </a:p>
          <a:p>
            <a:pPr marL="285750" marR="0" lvl="0" indent="-285750" algn="l" rtl="0">
              <a:spcBef>
                <a:spcPts val="0"/>
              </a:spcBef>
              <a:spcAft>
                <a:spcPts val="0"/>
              </a:spcAft>
              <a:buClr>
                <a:schemeClr val="dk1"/>
              </a:buClr>
              <a:buSzPts val="1400"/>
              <a:buFont typeface="Noto Sans Symbols"/>
              <a:buChar char="▪"/>
            </a:pPr>
            <a:r>
              <a:rPr lang="en-AU" dirty="0">
                <a:solidFill>
                  <a:schemeClr val="dk1"/>
                </a:solidFill>
              </a:rPr>
              <a:t>This further corroborates our confidence in the trend picked up in our descriptive statistic analysis.</a:t>
            </a:r>
            <a:endParaRPr dirty="0"/>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graphicFrame>
        <p:nvGraphicFramePr>
          <p:cNvPr id="10" name="Chart 9">
            <a:extLst>
              <a:ext uri="{FF2B5EF4-FFF2-40B4-BE49-F238E27FC236}">
                <a16:creationId xmlns:a16="http://schemas.microsoft.com/office/drawing/2014/main" id="{962A8C2D-79DF-4CA3-84C4-58C169C69235}"/>
              </a:ext>
            </a:extLst>
          </p:cNvPr>
          <p:cNvGraphicFramePr>
            <a:graphicFrameLocks/>
          </p:cNvGraphicFramePr>
          <p:nvPr>
            <p:extLst>
              <p:ext uri="{D42A27DB-BD31-4B8C-83A1-F6EECF244321}">
                <p14:modId xmlns:p14="http://schemas.microsoft.com/office/powerpoint/2010/main" val="4250258774"/>
              </p:ext>
            </p:extLst>
          </p:nvPr>
        </p:nvGraphicFramePr>
        <p:xfrm>
          <a:off x="0" y="1270589"/>
          <a:ext cx="4907743" cy="25029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491724E3-5CAA-4BEB-BBE1-9669CA988911}"/>
              </a:ext>
            </a:extLst>
          </p:cNvPr>
          <p:cNvGraphicFramePr>
            <a:graphicFrameLocks/>
          </p:cNvGraphicFramePr>
          <p:nvPr>
            <p:extLst>
              <p:ext uri="{D42A27DB-BD31-4B8C-83A1-F6EECF244321}">
                <p14:modId xmlns:p14="http://schemas.microsoft.com/office/powerpoint/2010/main" val="3209084945"/>
              </p:ext>
            </p:extLst>
          </p:nvPr>
        </p:nvGraphicFramePr>
        <p:xfrm>
          <a:off x="71873" y="3695216"/>
          <a:ext cx="4684601" cy="2649425"/>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BA9184F8-6CCF-40C5-8707-EA6822F1E2C1}"/>
              </a:ext>
            </a:extLst>
          </p:cNvPr>
          <p:cNvSpPr txBox="1"/>
          <p:nvPr/>
        </p:nvSpPr>
        <p:spPr>
          <a:xfrm>
            <a:off x="188040" y="893870"/>
            <a:ext cx="4574002" cy="307777"/>
          </a:xfrm>
          <a:prstGeom prst="rect">
            <a:avLst/>
          </a:prstGeom>
          <a:noFill/>
        </p:spPr>
        <p:txBody>
          <a:bodyPr wrap="square" rtlCol="0">
            <a:spAutoFit/>
          </a:bodyPr>
          <a:lstStyle/>
          <a:p>
            <a:r>
              <a:rPr lang="en-IN" dirty="0"/>
              <a:t>Pearson correlation between factors and satisfaction</a:t>
            </a:r>
          </a:p>
        </p:txBody>
      </p:sp>
      <p:sp>
        <p:nvSpPr>
          <p:cNvPr id="12" name="Google Shape;71;p2">
            <a:extLst>
              <a:ext uri="{FF2B5EF4-FFF2-40B4-BE49-F238E27FC236}">
                <a16:creationId xmlns:a16="http://schemas.microsoft.com/office/drawing/2014/main" id="{7CAABBB4-2B36-4C5C-80D4-7EB518681B71}"/>
              </a:ext>
            </a:extLst>
          </p:cNvPr>
          <p:cNvSpPr/>
          <p:nvPr/>
        </p:nvSpPr>
        <p:spPr>
          <a:xfrm>
            <a:off x="186527"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Source: </a:t>
            </a:r>
            <a:r>
              <a:rPr lang="en-AU" sz="800" dirty="0">
                <a:solidFill>
                  <a:schemeClr val="dk1"/>
                </a:solidFill>
              </a:rPr>
              <a:t>Qbik Airline</a:t>
            </a:r>
            <a:r>
              <a:rPr lang="en-AU" sz="800" b="0" i="0" u="none" strike="noStrike" cap="none" dirty="0">
                <a:solidFill>
                  <a:schemeClr val="dk1"/>
                </a:solidFill>
                <a:latin typeface="Arial"/>
                <a:ea typeface="Arial"/>
                <a:cs typeface="Arial"/>
                <a:sym typeface="Arial"/>
              </a:rPr>
              <a:t> Statistical Records</a:t>
            </a:r>
            <a:endParaRPr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71450" y="252996"/>
            <a:ext cx="8618537" cy="276999"/>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Inferential </a:t>
            </a:r>
            <a:r>
              <a:rPr lang="en-AU" sz="1600" dirty="0"/>
              <a:t>Statistics</a:t>
            </a:r>
            <a:r>
              <a:rPr lang="en-AU" sz="1800" dirty="0"/>
              <a:t> – Variance Inflation factor</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18" name="Google Shape;118;p6"/>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graphicFrame>
        <p:nvGraphicFramePr>
          <p:cNvPr id="2" name="Table 1">
            <a:extLst>
              <a:ext uri="{FF2B5EF4-FFF2-40B4-BE49-F238E27FC236}">
                <a16:creationId xmlns:a16="http://schemas.microsoft.com/office/drawing/2014/main" id="{6E18CE4A-914C-427E-9308-720EA1EF5C58}"/>
              </a:ext>
            </a:extLst>
          </p:cNvPr>
          <p:cNvGraphicFramePr>
            <a:graphicFrameLocks noGrp="1"/>
          </p:cNvGraphicFramePr>
          <p:nvPr>
            <p:extLst>
              <p:ext uri="{D42A27DB-BD31-4B8C-83A1-F6EECF244321}">
                <p14:modId xmlns:p14="http://schemas.microsoft.com/office/powerpoint/2010/main" val="280561182"/>
              </p:ext>
            </p:extLst>
          </p:nvPr>
        </p:nvGraphicFramePr>
        <p:xfrm>
          <a:off x="700234" y="1355536"/>
          <a:ext cx="3126512" cy="3837678"/>
        </p:xfrm>
        <a:graphic>
          <a:graphicData uri="http://schemas.openxmlformats.org/drawingml/2006/table">
            <a:tbl>
              <a:tblPr/>
              <a:tblGrid>
                <a:gridCol w="2091529">
                  <a:extLst>
                    <a:ext uri="{9D8B030D-6E8A-4147-A177-3AD203B41FA5}">
                      <a16:colId xmlns:a16="http://schemas.microsoft.com/office/drawing/2014/main" val="3567067691"/>
                    </a:ext>
                  </a:extLst>
                </a:gridCol>
                <a:gridCol w="1034983">
                  <a:extLst>
                    <a:ext uri="{9D8B030D-6E8A-4147-A177-3AD203B41FA5}">
                      <a16:colId xmlns:a16="http://schemas.microsoft.com/office/drawing/2014/main" val="2343583424"/>
                    </a:ext>
                  </a:extLst>
                </a:gridCol>
              </a:tblGrid>
              <a:tr h="172478">
                <a:tc>
                  <a:txBody>
                    <a:bodyPr/>
                    <a:lstStyle/>
                    <a:p>
                      <a:pPr algn="ctr" fontAlgn="b"/>
                      <a:endParaRPr lang="en-IN" sz="1400" b="0" i="1" u="none" strike="noStrike" dirty="0">
                        <a:solidFill>
                          <a:srgbClr val="000000"/>
                        </a:solidFill>
                        <a:effectLst/>
                        <a:latin typeface="Arial"/>
                        <a:cs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1" u="none" strike="noStrike" dirty="0">
                          <a:solidFill>
                            <a:srgbClr val="000000"/>
                          </a:solidFill>
                          <a:effectLst/>
                          <a:latin typeface="Arial"/>
                          <a:cs typeface="Arial"/>
                        </a:rPr>
                        <a:t>VI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111226985"/>
                  </a:ext>
                </a:extLst>
              </a:tr>
              <a:tr h="172478">
                <a:tc>
                  <a:txBody>
                    <a:bodyPr/>
                    <a:lstStyle/>
                    <a:p>
                      <a:pPr algn="l" fontAlgn="b"/>
                      <a:r>
                        <a:rPr lang="en-IN" sz="1400" b="0" i="0" u="none" strike="noStrike" dirty="0">
                          <a:solidFill>
                            <a:srgbClr val="000000"/>
                          </a:solidFill>
                          <a:effectLst/>
                          <a:latin typeface="Arial" panose="020B0604020202020204" pitchFamily="34" charset="0"/>
                          <a:cs typeface="Arial" panose="020B0604020202020204" pitchFamily="34" charset="0"/>
                        </a:rPr>
                        <a:t>Type-trave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1.977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4329946"/>
                  </a:ext>
                </a:extLst>
              </a:tr>
              <a:tr h="172478">
                <a:tc>
                  <a:txBody>
                    <a:bodyPr/>
                    <a:lstStyle/>
                    <a:p>
                      <a:pPr algn="l" fontAlgn="b"/>
                      <a:r>
                        <a:rPr lang="en-IN" sz="1400" b="0" i="0" u="none" strike="noStrike" dirty="0">
                          <a:solidFill>
                            <a:srgbClr val="000000"/>
                          </a:solidFill>
                          <a:effectLst/>
                          <a:latin typeface="Arial" panose="020B0604020202020204" pitchFamily="34" charset="0"/>
                          <a:cs typeface="Arial" panose="020B0604020202020204" pitchFamily="34" charset="0"/>
                        </a:rPr>
                        <a:t>Cla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1.9691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7997480"/>
                  </a:ext>
                </a:extLst>
              </a:tr>
              <a:tr h="172478">
                <a:tc>
                  <a:txBody>
                    <a:bodyPr/>
                    <a:lstStyle/>
                    <a:p>
                      <a:pPr algn="l" fontAlgn="b"/>
                      <a:r>
                        <a:rPr lang="en-IN" sz="1400" b="0" i="0" u="none" strike="noStrike" dirty="0">
                          <a:solidFill>
                            <a:srgbClr val="000000"/>
                          </a:solidFill>
                          <a:effectLst/>
                          <a:latin typeface="Arial"/>
                          <a:cs typeface="Arial"/>
                        </a:rPr>
                        <a:t>Ag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1.1579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4687227"/>
                  </a:ext>
                </a:extLst>
              </a:tr>
              <a:tr h="172478">
                <a:tc>
                  <a:txBody>
                    <a:bodyPr/>
                    <a:lstStyle/>
                    <a:p>
                      <a:pPr algn="l" fontAlgn="b"/>
                      <a:r>
                        <a:rPr lang="en-IN" sz="1400" b="0" i="0" u="none" strike="noStrike" dirty="0">
                          <a:solidFill>
                            <a:srgbClr val="000000"/>
                          </a:solidFill>
                          <a:effectLst/>
                          <a:latin typeface="Arial"/>
                          <a:cs typeface="Arial"/>
                        </a:rPr>
                        <a:t>Flight Dist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1.3417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918634"/>
                  </a:ext>
                </a:extLst>
              </a:tr>
              <a:tr h="172478">
                <a:tc>
                  <a:txBody>
                    <a:bodyPr/>
                    <a:lstStyle/>
                    <a:p>
                      <a:pPr algn="l" fontAlgn="b"/>
                      <a:r>
                        <a:rPr lang="en-IN" sz="1400" b="0" i="0" u="none" strike="noStrike" dirty="0">
                          <a:solidFill>
                            <a:srgbClr val="000000"/>
                          </a:solidFill>
                          <a:effectLst/>
                          <a:latin typeface="Arial"/>
                          <a:cs typeface="Arial"/>
                        </a:rPr>
                        <a:t>Inflight Wi-Fi servi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2.4151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1571425"/>
                  </a:ext>
                </a:extLst>
              </a:tr>
              <a:tr h="318639">
                <a:tc>
                  <a:txBody>
                    <a:bodyPr/>
                    <a:lstStyle/>
                    <a:p>
                      <a:pPr algn="l" fontAlgn="b"/>
                      <a:r>
                        <a:rPr lang="en-IN" sz="1400" b="0" i="0" u="none" strike="noStrike" dirty="0">
                          <a:solidFill>
                            <a:srgbClr val="000000"/>
                          </a:solidFill>
                          <a:effectLst/>
                          <a:latin typeface="Arial"/>
                          <a:cs typeface="Arial"/>
                        </a:rPr>
                        <a:t>Ease of Online booki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2.2008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3600857"/>
                  </a:ext>
                </a:extLst>
              </a:tr>
              <a:tr h="172478">
                <a:tc>
                  <a:txBody>
                    <a:bodyPr/>
                    <a:lstStyle/>
                    <a:p>
                      <a:pPr algn="l" fontAlgn="b"/>
                      <a:r>
                        <a:rPr lang="en-IN" sz="1400" b="0" i="0" u="none" strike="noStrike" dirty="0">
                          <a:solidFill>
                            <a:srgbClr val="000000"/>
                          </a:solidFill>
                          <a:effectLst/>
                          <a:latin typeface="Arial"/>
                          <a:cs typeface="Arial"/>
                        </a:rPr>
                        <a:t>Food and drink</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2.1680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1401641"/>
                  </a:ext>
                </a:extLst>
              </a:tr>
              <a:tr h="172478">
                <a:tc>
                  <a:txBody>
                    <a:bodyPr/>
                    <a:lstStyle/>
                    <a:p>
                      <a:pPr algn="l" fontAlgn="b"/>
                      <a:r>
                        <a:rPr lang="en-IN" sz="1400" b="0" i="0" u="none" strike="noStrike" dirty="0">
                          <a:solidFill>
                            <a:srgbClr val="000000"/>
                          </a:solidFill>
                          <a:effectLst/>
                          <a:latin typeface="Arial"/>
                          <a:cs typeface="Arial"/>
                        </a:rPr>
                        <a:t>Online boardi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1.838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9454314"/>
                  </a:ext>
                </a:extLst>
              </a:tr>
              <a:tr h="172478">
                <a:tc>
                  <a:txBody>
                    <a:bodyPr/>
                    <a:lstStyle/>
                    <a:p>
                      <a:pPr algn="l" fontAlgn="b"/>
                      <a:r>
                        <a:rPr lang="en-IN" sz="1400" b="0" i="0" u="none" strike="noStrike" dirty="0">
                          <a:solidFill>
                            <a:srgbClr val="000000"/>
                          </a:solidFill>
                          <a:effectLst/>
                          <a:latin typeface="Arial"/>
                          <a:cs typeface="Arial"/>
                        </a:rPr>
                        <a:t>Seat comfor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2.3666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7142070"/>
                  </a:ext>
                </a:extLst>
              </a:tr>
              <a:tr h="318639">
                <a:tc>
                  <a:txBody>
                    <a:bodyPr/>
                    <a:lstStyle/>
                    <a:p>
                      <a:pPr algn="l" fontAlgn="b"/>
                      <a:r>
                        <a:rPr lang="en-IN" sz="1400" b="0" i="0" u="none" strike="noStrike" dirty="0">
                          <a:solidFill>
                            <a:srgbClr val="000000"/>
                          </a:solidFill>
                          <a:effectLst/>
                          <a:latin typeface="Arial"/>
                          <a:cs typeface="Arial"/>
                        </a:rPr>
                        <a:t>Inflight entertainme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3.8538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401584040"/>
                  </a:ext>
                </a:extLst>
              </a:tr>
              <a:tr h="172478">
                <a:tc>
                  <a:txBody>
                    <a:bodyPr/>
                    <a:lstStyle/>
                    <a:p>
                      <a:pPr algn="l" fontAlgn="b"/>
                      <a:r>
                        <a:rPr lang="en-IN" sz="1400" b="0" i="0" u="none" strike="noStrike" dirty="0">
                          <a:solidFill>
                            <a:srgbClr val="000000"/>
                          </a:solidFill>
                          <a:effectLst/>
                          <a:latin typeface="Arial"/>
                          <a:cs typeface="Arial"/>
                        </a:rPr>
                        <a:t>On-board servi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1.7614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4839053"/>
                  </a:ext>
                </a:extLst>
              </a:tr>
              <a:tr h="172478">
                <a:tc>
                  <a:txBody>
                    <a:bodyPr/>
                    <a:lstStyle/>
                    <a:p>
                      <a:pPr algn="l" fontAlgn="b"/>
                      <a:r>
                        <a:rPr lang="en-IN" sz="1400" b="0" i="0" u="none" strike="noStrike" dirty="0">
                          <a:solidFill>
                            <a:srgbClr val="000000"/>
                          </a:solidFill>
                          <a:effectLst/>
                          <a:latin typeface="Arial"/>
                          <a:cs typeface="Arial"/>
                        </a:rPr>
                        <a:t>Leg room servi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1.3057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9385639"/>
                  </a:ext>
                </a:extLst>
              </a:tr>
              <a:tr h="172478">
                <a:tc>
                  <a:txBody>
                    <a:bodyPr/>
                    <a:lstStyle/>
                    <a:p>
                      <a:pPr algn="l" fontAlgn="b"/>
                      <a:r>
                        <a:rPr lang="en-IN" sz="1400" b="0" i="0" u="none" strike="noStrike" dirty="0">
                          <a:solidFill>
                            <a:srgbClr val="000000"/>
                          </a:solidFill>
                          <a:effectLst/>
                          <a:latin typeface="Arial"/>
                          <a:cs typeface="Arial"/>
                        </a:rPr>
                        <a:t>Baggage handli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1.8995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1109423"/>
                  </a:ext>
                </a:extLst>
              </a:tr>
              <a:tr h="172478">
                <a:tc>
                  <a:txBody>
                    <a:bodyPr/>
                    <a:lstStyle/>
                    <a:p>
                      <a:pPr algn="l" fontAlgn="b"/>
                      <a:r>
                        <a:rPr lang="en-IN" sz="1400" b="0" i="0" u="none" strike="noStrike" dirty="0">
                          <a:solidFill>
                            <a:srgbClr val="000000"/>
                          </a:solidFill>
                          <a:effectLst/>
                          <a:latin typeface="Arial"/>
                          <a:cs typeface="Arial"/>
                        </a:rPr>
                        <a:t>Check in servi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1.2164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3969675"/>
                  </a:ext>
                </a:extLst>
              </a:tr>
              <a:tr h="172478">
                <a:tc>
                  <a:txBody>
                    <a:bodyPr/>
                    <a:lstStyle/>
                    <a:p>
                      <a:pPr algn="l" fontAlgn="b"/>
                      <a:r>
                        <a:rPr lang="en-IN" sz="1400" b="0" i="0" u="none" strike="noStrike" dirty="0">
                          <a:solidFill>
                            <a:srgbClr val="000000"/>
                          </a:solidFill>
                          <a:effectLst/>
                          <a:latin typeface="Arial"/>
                          <a:cs typeface="Arial"/>
                        </a:rPr>
                        <a:t>Inflight servi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a:cs typeface="Arial"/>
                        </a:rPr>
                        <a:t>2.0625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4314217"/>
                  </a:ext>
                </a:extLst>
              </a:tr>
              <a:tr h="172478">
                <a:tc>
                  <a:txBody>
                    <a:bodyPr/>
                    <a:lstStyle/>
                    <a:p>
                      <a:pPr algn="l" fontAlgn="b"/>
                      <a:r>
                        <a:rPr lang="en-IN" sz="1400" b="0" i="0" u="none" strike="noStrike" dirty="0">
                          <a:solidFill>
                            <a:srgbClr val="000000"/>
                          </a:solidFill>
                          <a:effectLst/>
                          <a:latin typeface="Arial"/>
                          <a:cs typeface="Arial"/>
                        </a:rPr>
                        <a:t>Cleanline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IN" sz="1400" b="0" i="0" u="none" strike="noStrike" dirty="0">
                          <a:solidFill>
                            <a:srgbClr val="000000"/>
                          </a:solidFill>
                          <a:effectLst/>
                          <a:latin typeface="Arial" panose="020B0604020202020204" pitchFamily="34" charset="0"/>
                          <a:cs typeface="Arial" panose="020B0604020202020204" pitchFamily="34" charset="0"/>
                        </a:rPr>
                        <a:t>2.8588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154695008"/>
                  </a:ext>
                </a:extLst>
              </a:tr>
            </a:tbl>
          </a:graphicData>
        </a:graphic>
      </p:graphicFrame>
      <p:sp>
        <p:nvSpPr>
          <p:cNvPr id="3" name="TextBox 2">
            <a:extLst>
              <a:ext uri="{FF2B5EF4-FFF2-40B4-BE49-F238E27FC236}">
                <a16:creationId xmlns:a16="http://schemas.microsoft.com/office/drawing/2014/main" id="{ECD18BC1-EF36-47DF-8B1B-FB647E5610B8}"/>
              </a:ext>
            </a:extLst>
          </p:cNvPr>
          <p:cNvSpPr txBox="1"/>
          <p:nvPr/>
        </p:nvSpPr>
        <p:spPr>
          <a:xfrm>
            <a:off x="5686926" y="1660358"/>
            <a:ext cx="2430379" cy="2462213"/>
          </a:xfrm>
          <a:prstGeom prst="rect">
            <a:avLst/>
          </a:prstGeom>
          <a:noFill/>
        </p:spPr>
        <p:txBody>
          <a:bodyPr wrap="square" rtlCol="0">
            <a:spAutoFit/>
          </a:bodyPr>
          <a:lstStyle/>
          <a:p>
            <a:pPr marL="285750" indent="-285750">
              <a:buFont typeface="Arial" panose="020B0604020202020204" pitchFamily="34" charset="0"/>
              <a:buChar char="•"/>
            </a:pPr>
            <a:r>
              <a:rPr lang="en-IN" dirty="0"/>
              <a:t>Inflight entertainment and cleanliness were showing inflated correlation to satisfaction due to multicollinearity in the model</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Hence we need to remove these variables from the model to ensure a good fit.</a:t>
            </a:r>
          </a:p>
        </p:txBody>
      </p:sp>
      <p:sp>
        <p:nvSpPr>
          <p:cNvPr id="9" name="Google Shape;71;p2">
            <a:extLst>
              <a:ext uri="{FF2B5EF4-FFF2-40B4-BE49-F238E27FC236}">
                <a16:creationId xmlns:a16="http://schemas.microsoft.com/office/drawing/2014/main" id="{5C18D394-8310-4FBE-940E-DADBE4B089E9}"/>
              </a:ext>
            </a:extLst>
          </p:cNvPr>
          <p:cNvSpPr/>
          <p:nvPr/>
        </p:nvSpPr>
        <p:spPr>
          <a:xfrm>
            <a:off x="122359"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Source: </a:t>
            </a:r>
            <a:r>
              <a:rPr lang="en-AU" sz="800" dirty="0">
                <a:solidFill>
                  <a:schemeClr val="dk1"/>
                </a:solidFill>
              </a:rPr>
              <a:t>Qbik Airline</a:t>
            </a:r>
            <a:r>
              <a:rPr lang="en-AU" sz="800" b="0" i="0" u="none" strike="noStrike" cap="none" dirty="0">
                <a:solidFill>
                  <a:schemeClr val="dk1"/>
                </a:solidFill>
                <a:latin typeface="Arial"/>
                <a:ea typeface="Arial"/>
                <a:cs typeface="Arial"/>
                <a:sym typeface="Arial"/>
              </a:rPr>
              <a:t> Statistical Records</a:t>
            </a:r>
            <a:endParaRPr dirty="0"/>
          </a:p>
        </p:txBody>
      </p:sp>
    </p:spTree>
    <p:extLst>
      <p:ext uri="{BB962C8B-B14F-4D97-AF65-F5344CB8AC3E}">
        <p14:creationId xmlns:p14="http://schemas.microsoft.com/office/powerpoint/2010/main" val="23648017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4DD6F-57F4-4FC2-AFAB-6FA3D9E01900}"/>
              </a:ext>
            </a:extLst>
          </p:cNvPr>
          <p:cNvSpPr>
            <a:spLocks noGrp="1"/>
          </p:cNvSpPr>
          <p:nvPr>
            <p:ph type="title"/>
          </p:nvPr>
        </p:nvSpPr>
        <p:spPr>
          <a:xfrm>
            <a:off x="171451" y="230188"/>
            <a:ext cx="8618537" cy="246221"/>
          </a:xfrm>
        </p:spPr>
        <p:txBody>
          <a:bodyPr/>
          <a:lstStyle/>
          <a:p>
            <a:r>
              <a:rPr lang="en-IN" sz="1600" dirty="0"/>
              <a:t>Conclusion</a:t>
            </a:r>
          </a:p>
        </p:txBody>
      </p:sp>
      <p:sp>
        <p:nvSpPr>
          <p:cNvPr id="4" name="Rectangle 3">
            <a:extLst>
              <a:ext uri="{FF2B5EF4-FFF2-40B4-BE49-F238E27FC236}">
                <a16:creationId xmlns:a16="http://schemas.microsoft.com/office/drawing/2014/main" id="{3F6615A3-B2D3-4C38-B54A-C3C4E564978D}"/>
              </a:ext>
            </a:extLst>
          </p:cNvPr>
          <p:cNvSpPr/>
          <p:nvPr/>
        </p:nvSpPr>
        <p:spPr>
          <a:xfrm>
            <a:off x="376989" y="1375579"/>
            <a:ext cx="8309811" cy="3108543"/>
          </a:xfrm>
          <a:prstGeom prst="rect">
            <a:avLst/>
          </a:prstGeom>
        </p:spPr>
        <p:txBody>
          <a:bodyPr wrap="square" anchor="t">
            <a:spAutoFit/>
          </a:bodyPr>
          <a:lstStyle/>
          <a:p>
            <a:pPr marL="285750" indent="-285750" fontAlgn="base">
              <a:buFont typeface="Wingdings" panose="05000000000000000000" pitchFamily="2" charset="2"/>
              <a:buChar char="q"/>
            </a:pPr>
            <a:r>
              <a:rPr lang="en-IN" dirty="0"/>
              <a:t>Key Variables which determine passenger satisfaction for the airline are Online Boarding, Seat Comfort and Inflight Entertainment.</a:t>
            </a:r>
            <a:r>
              <a:rPr lang="en-US" dirty="0"/>
              <a:t>​</a:t>
            </a:r>
          </a:p>
          <a:p>
            <a:pPr fontAlgn="base"/>
            <a:endParaRPr lang="en-IN" dirty="0">
              <a:latin typeface="Arial" panose="020B0604020202020204" pitchFamily="34" charset="0"/>
            </a:endParaRPr>
          </a:p>
          <a:p>
            <a:pPr fontAlgn="base"/>
            <a:endParaRPr lang="en-IN" dirty="0">
              <a:latin typeface="Arial" panose="020B0604020202020204" pitchFamily="34" charset="0"/>
            </a:endParaRPr>
          </a:p>
          <a:p>
            <a:pPr marL="285750" indent="-285750" fontAlgn="base">
              <a:buFont typeface="Wingdings" panose="05000000000000000000" pitchFamily="2" charset="2"/>
              <a:buChar char="q"/>
            </a:pPr>
            <a:r>
              <a:rPr lang="en-IN" dirty="0">
                <a:latin typeface="Arial" panose="020B0604020202020204" pitchFamily="34" charset="0"/>
              </a:rPr>
              <a:t>Ease of Online Boarding accounts for 50% of passenger satisfaction independent of the control of all other independent variables .</a:t>
            </a:r>
            <a:r>
              <a:rPr lang="en-US" dirty="0">
                <a:latin typeface="Arial" panose="020B0604020202020204" pitchFamily="34" charset="0"/>
              </a:rPr>
              <a:t>​</a:t>
            </a:r>
          </a:p>
          <a:p>
            <a:pPr fontAlgn="base">
              <a:buFont typeface="Arial" panose="020B0604020202020204" pitchFamily="34" charset="0"/>
              <a:buChar char="•"/>
            </a:pPr>
            <a:endParaRPr lang="en-IN" dirty="0">
              <a:latin typeface="Arial" panose="020B0604020202020204" pitchFamily="34" charset="0"/>
            </a:endParaRPr>
          </a:p>
          <a:p>
            <a:pPr fontAlgn="base">
              <a:buFont typeface="Arial" panose="020B0604020202020204" pitchFamily="34" charset="0"/>
              <a:buChar char="•"/>
            </a:pPr>
            <a:endParaRPr lang="en-IN" dirty="0">
              <a:latin typeface="Arial" panose="020B0604020202020204" pitchFamily="34" charset="0"/>
            </a:endParaRPr>
          </a:p>
          <a:p>
            <a:pPr marL="285750" indent="-285750" fontAlgn="base">
              <a:buFont typeface="Wingdings" panose="05000000000000000000" pitchFamily="2" charset="2"/>
              <a:buChar char="q"/>
            </a:pPr>
            <a:r>
              <a:rPr lang="en-IN" dirty="0">
                <a:latin typeface="Arial" panose="020B0604020202020204" pitchFamily="34" charset="0"/>
              </a:rPr>
              <a:t>For those who responded to this survey, only 54% of the satisfaction could be explained by the variables together.</a:t>
            </a:r>
            <a:r>
              <a:rPr lang="en-US" dirty="0">
                <a:latin typeface="Arial" panose="020B0604020202020204" pitchFamily="34" charset="0"/>
              </a:rPr>
              <a:t>​</a:t>
            </a:r>
          </a:p>
          <a:p>
            <a:pPr fontAlgn="base">
              <a:buFont typeface="Arial" panose="020B0604020202020204" pitchFamily="34" charset="0"/>
              <a:buChar char="•"/>
            </a:pPr>
            <a:endParaRPr lang="en-IN" dirty="0">
              <a:latin typeface="Arial" panose="020B0604020202020204" pitchFamily="34" charset="0"/>
            </a:endParaRPr>
          </a:p>
          <a:p>
            <a:pPr fontAlgn="base"/>
            <a:endParaRPr lang="en-IN" dirty="0">
              <a:latin typeface="Arial" panose="020B0604020202020204" pitchFamily="34" charset="0"/>
            </a:endParaRPr>
          </a:p>
          <a:p>
            <a:pPr marL="285750" indent="-285750" fontAlgn="base">
              <a:buFont typeface="Wingdings" panose="05000000000000000000" pitchFamily="2" charset="2"/>
              <a:buChar char="q"/>
            </a:pPr>
            <a:r>
              <a:rPr lang="en-IN" dirty="0">
                <a:latin typeface="Arial" panose="020B0604020202020204" pitchFamily="34" charset="0"/>
              </a:rPr>
              <a:t>Root mean Square Error of  0.33 depicts that we have obtained a moderate fit of the model to our dataset. </a:t>
            </a:r>
            <a:endParaRPr lang="en-US" dirty="0">
              <a:latin typeface="Arial" panose="020B0604020202020204" pitchFamily="34" charset="0"/>
            </a:endParaRPr>
          </a:p>
        </p:txBody>
      </p:sp>
    </p:spTree>
    <p:extLst>
      <p:ext uri="{BB962C8B-B14F-4D97-AF65-F5344CB8AC3E}">
        <p14:creationId xmlns:p14="http://schemas.microsoft.com/office/powerpoint/2010/main" val="1357820354"/>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7BC9FDE08509045887E0EE69DB35776" ma:contentTypeVersion="2" ma:contentTypeDescription="Create a new document." ma:contentTypeScope="" ma:versionID="05d57df29a92ddabd953ea9b0e332a61">
  <xsd:schema xmlns:xsd="http://www.w3.org/2001/XMLSchema" xmlns:xs="http://www.w3.org/2001/XMLSchema" xmlns:p="http://schemas.microsoft.com/office/2006/metadata/properties" xmlns:ns3="cb8e2c6d-1b87-4b7d-8c59-5a129e906a85" targetNamespace="http://schemas.microsoft.com/office/2006/metadata/properties" ma:root="true" ma:fieldsID="c7f167c5ec33b498cf55830db3e4ba61" ns3:_="">
    <xsd:import namespace="cb8e2c6d-1b87-4b7d-8c59-5a129e906a85"/>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8e2c6d-1b87-4b7d-8c59-5a129e906a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1A9644-4FF5-4DEB-A532-3A0F7277D374}">
  <ds:schemaRefs>
    <ds:schemaRef ds:uri="http://schemas.microsoft.com/sharepoint/v3/contenttype/forms"/>
  </ds:schemaRefs>
</ds:datastoreItem>
</file>

<file path=customXml/itemProps2.xml><?xml version="1.0" encoding="utf-8"?>
<ds:datastoreItem xmlns:ds="http://schemas.openxmlformats.org/officeDocument/2006/customXml" ds:itemID="{A8A5C459-9F86-4550-B53C-E0E6242FDF06}">
  <ds:schemaRefs>
    <ds:schemaRef ds:uri="http://schemas.openxmlformats.org/package/2006/metadata/core-properties"/>
    <ds:schemaRef ds:uri="http://schemas.microsoft.com/office/2006/metadata/properties"/>
    <ds:schemaRef ds:uri="http://purl.org/dc/elements/1.1/"/>
    <ds:schemaRef ds:uri="http://schemas.microsoft.com/office/2006/documentManagement/types"/>
    <ds:schemaRef ds:uri="cb8e2c6d-1b87-4b7d-8c59-5a129e906a85"/>
    <ds:schemaRef ds:uri="http://www.w3.org/XML/1998/namespace"/>
    <ds:schemaRef ds:uri="http://purl.org/dc/dcmitype/"/>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AFEE12F4-F463-4331-A4D6-7B168A3818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8e2c6d-1b87-4b7d-8c59-5a129e906a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98</TotalTime>
  <Words>688</Words>
  <Application>Microsoft Office PowerPoint</Application>
  <PresentationFormat>Custom</PresentationFormat>
  <Paragraphs>94</Paragraphs>
  <Slides>9</Slides>
  <Notes>8</Notes>
  <HiddenSlides>1</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6" baseType="lpstr">
      <vt:lpstr>Arial</vt:lpstr>
      <vt:lpstr>Noto Sans Symbols</vt:lpstr>
      <vt:lpstr>Quattrocento Sans</vt:lpstr>
      <vt:lpstr>Wingdings</vt:lpstr>
      <vt:lpstr>Synergy_CF_YNR002</vt:lpstr>
      <vt:lpstr>1_Synergy_CF_YNR002</vt:lpstr>
      <vt:lpstr>TCLayout.ActiveDocument.1</vt:lpstr>
      <vt:lpstr>QBIK Airlines– Technical Presentation</vt:lpstr>
      <vt:lpstr>What factors should be considered by Qbik Airline to influence customers decision to travel by this airline</vt:lpstr>
      <vt:lpstr>Customer Satisfaction can be ensured by identifying the key factors responsible for customer satisfaction</vt:lpstr>
      <vt:lpstr>Descriptive and Statistical Approach were taken to find out the key factors determining customer satisfaction</vt:lpstr>
      <vt:lpstr>3 key factors could be identified responsible for customer satisfaction, enabling development of a multivariate equation capable of moderately identifying factors leading to overall customer satisfaction</vt:lpstr>
      <vt:lpstr>Descriptive Statistics Analysis- 3 prime factors could be identified</vt:lpstr>
      <vt:lpstr>Inferential Statistics – Pearson correlation between variables and satisfaction</vt:lpstr>
      <vt:lpstr>Inferential Statistics – Variance Inflation factor</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Nidhi Kakar</cp:lastModifiedBy>
  <cp:revision>63</cp:revision>
  <dcterms:created xsi:type="dcterms:W3CDTF">2015-09-14T11:37:31Z</dcterms:created>
  <dcterms:modified xsi:type="dcterms:W3CDTF">2020-08-01T09:3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y fmtid="{D5CDD505-2E9C-101B-9397-08002B2CF9AE}" pid="20" name="ContentTypeId">
    <vt:lpwstr>0x01010097BC9FDE08509045887E0EE69DB35776</vt:lpwstr>
  </property>
</Properties>
</file>